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3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4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5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6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7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8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9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74"/>
  </p:notesMasterIdLst>
  <p:handoutMasterIdLst>
    <p:handoutMasterId r:id="rId175"/>
  </p:handoutMasterIdLst>
  <p:sldIdLst>
    <p:sldId id="6404" r:id="rId2"/>
    <p:sldId id="636" r:id="rId3"/>
    <p:sldId id="635" r:id="rId4"/>
    <p:sldId id="6400" r:id="rId5"/>
    <p:sldId id="641" r:id="rId6"/>
    <p:sldId id="640" r:id="rId7"/>
    <p:sldId id="583" r:id="rId8"/>
    <p:sldId id="584" r:id="rId9"/>
    <p:sldId id="6401" r:id="rId10"/>
    <p:sldId id="6402" r:id="rId11"/>
    <p:sldId id="593" r:id="rId12"/>
    <p:sldId id="638" r:id="rId13"/>
    <p:sldId id="490" r:id="rId14"/>
    <p:sldId id="585" r:id="rId15"/>
    <p:sldId id="602" r:id="rId16"/>
    <p:sldId id="599" r:id="rId17"/>
    <p:sldId id="586" r:id="rId18"/>
    <p:sldId id="594" r:id="rId19"/>
    <p:sldId id="590" r:id="rId20"/>
    <p:sldId id="475" r:id="rId21"/>
    <p:sldId id="488" r:id="rId22"/>
    <p:sldId id="491" r:id="rId23"/>
    <p:sldId id="492" r:id="rId24"/>
    <p:sldId id="469" r:id="rId25"/>
    <p:sldId id="465" r:id="rId26"/>
    <p:sldId id="493" r:id="rId27"/>
    <p:sldId id="494" r:id="rId28"/>
    <p:sldId id="522" r:id="rId29"/>
    <p:sldId id="467" r:id="rId30"/>
    <p:sldId id="468" r:id="rId31"/>
    <p:sldId id="463" r:id="rId32"/>
    <p:sldId id="441" r:id="rId33"/>
    <p:sldId id="603" r:id="rId34"/>
    <p:sldId id="604" r:id="rId35"/>
    <p:sldId id="605" r:id="rId36"/>
    <p:sldId id="606" r:id="rId37"/>
    <p:sldId id="607" r:id="rId38"/>
    <p:sldId id="608" r:id="rId39"/>
    <p:sldId id="609" r:id="rId40"/>
    <p:sldId id="610" r:id="rId41"/>
    <p:sldId id="611" r:id="rId42"/>
    <p:sldId id="612" r:id="rId43"/>
    <p:sldId id="613" r:id="rId44"/>
    <p:sldId id="614" r:id="rId45"/>
    <p:sldId id="615" r:id="rId46"/>
    <p:sldId id="616" r:id="rId47"/>
    <p:sldId id="617" r:id="rId48"/>
    <p:sldId id="618" r:id="rId49"/>
    <p:sldId id="619" r:id="rId50"/>
    <p:sldId id="620" r:id="rId51"/>
    <p:sldId id="621" r:id="rId52"/>
    <p:sldId id="622" r:id="rId53"/>
    <p:sldId id="623" r:id="rId54"/>
    <p:sldId id="624" r:id="rId55"/>
    <p:sldId id="626" r:id="rId56"/>
    <p:sldId id="627" r:id="rId57"/>
    <p:sldId id="628" r:id="rId58"/>
    <p:sldId id="629" r:id="rId59"/>
    <p:sldId id="631" r:id="rId60"/>
    <p:sldId id="632" r:id="rId61"/>
    <p:sldId id="633" r:id="rId62"/>
    <p:sldId id="381" r:id="rId63"/>
    <p:sldId id="401" r:id="rId64"/>
    <p:sldId id="382" r:id="rId65"/>
    <p:sldId id="383" r:id="rId66"/>
    <p:sldId id="385" r:id="rId67"/>
    <p:sldId id="376" r:id="rId68"/>
    <p:sldId id="407" r:id="rId69"/>
    <p:sldId id="392" r:id="rId70"/>
    <p:sldId id="386" r:id="rId71"/>
    <p:sldId id="377" r:id="rId72"/>
    <p:sldId id="458" r:id="rId73"/>
    <p:sldId id="379" r:id="rId74"/>
    <p:sldId id="472" r:id="rId75"/>
    <p:sldId id="478" r:id="rId76"/>
    <p:sldId id="387" r:id="rId77"/>
    <p:sldId id="389" r:id="rId78"/>
    <p:sldId id="394" r:id="rId79"/>
    <p:sldId id="378" r:id="rId80"/>
    <p:sldId id="390" r:id="rId81"/>
    <p:sldId id="476" r:id="rId82"/>
    <p:sldId id="460" r:id="rId83"/>
    <p:sldId id="391" r:id="rId84"/>
    <p:sldId id="418" r:id="rId85"/>
    <p:sldId id="426" r:id="rId86"/>
    <p:sldId id="509" r:id="rId87"/>
    <p:sldId id="427" r:id="rId88"/>
    <p:sldId id="428" r:id="rId89"/>
    <p:sldId id="429" r:id="rId90"/>
    <p:sldId id="430" r:id="rId91"/>
    <p:sldId id="514" r:id="rId92"/>
    <p:sldId id="395" r:id="rId93"/>
    <p:sldId id="512" r:id="rId94"/>
    <p:sldId id="396" r:id="rId95"/>
    <p:sldId id="408" r:id="rId96"/>
    <p:sldId id="519" r:id="rId97"/>
    <p:sldId id="464" r:id="rId98"/>
    <p:sldId id="452" r:id="rId99"/>
    <p:sldId id="511" r:id="rId100"/>
    <p:sldId id="432" r:id="rId101"/>
    <p:sldId id="453" r:id="rId102"/>
    <p:sldId id="454" r:id="rId103"/>
    <p:sldId id="433" r:id="rId104"/>
    <p:sldId id="434" r:id="rId105"/>
    <p:sldId id="435" r:id="rId106"/>
    <p:sldId id="436" r:id="rId107"/>
    <p:sldId id="424" r:id="rId108"/>
    <p:sldId id="425" r:id="rId109"/>
    <p:sldId id="431" r:id="rId110"/>
    <p:sldId id="495" r:id="rId111"/>
    <p:sldId id="398" r:id="rId112"/>
    <p:sldId id="397" r:id="rId113"/>
    <p:sldId id="406" r:id="rId114"/>
    <p:sldId id="410" r:id="rId115"/>
    <p:sldId id="415" r:id="rId116"/>
    <p:sldId id="414" r:id="rId117"/>
    <p:sldId id="413" r:id="rId118"/>
    <p:sldId id="416" r:id="rId119"/>
    <p:sldId id="417" r:id="rId120"/>
    <p:sldId id="419" r:id="rId121"/>
    <p:sldId id="405" r:id="rId122"/>
    <p:sldId id="439" r:id="rId123"/>
    <p:sldId id="442" r:id="rId124"/>
    <p:sldId id="422" r:id="rId125"/>
    <p:sldId id="399" r:id="rId126"/>
    <p:sldId id="402" r:id="rId127"/>
    <p:sldId id="403" r:id="rId128"/>
    <p:sldId id="404" r:id="rId129"/>
    <p:sldId id="455" r:id="rId130"/>
    <p:sldId id="506" r:id="rId131"/>
    <p:sldId id="388" r:id="rId132"/>
    <p:sldId id="524" r:id="rId133"/>
    <p:sldId id="443" r:id="rId134"/>
    <p:sldId id="523" r:id="rId135"/>
    <p:sldId id="420" r:id="rId136"/>
    <p:sldId id="521" r:id="rId137"/>
    <p:sldId id="505" r:id="rId138"/>
    <p:sldId id="444" r:id="rId139"/>
    <p:sldId id="471" r:id="rId140"/>
    <p:sldId id="445" r:id="rId141"/>
    <p:sldId id="498" r:id="rId142"/>
    <p:sldId id="502" r:id="rId143"/>
    <p:sldId id="503" r:id="rId144"/>
    <p:sldId id="504" r:id="rId145"/>
    <p:sldId id="449" r:id="rId146"/>
    <p:sldId id="421" r:id="rId147"/>
    <p:sldId id="423" r:id="rId148"/>
    <p:sldId id="446" r:id="rId149"/>
    <p:sldId id="525" r:id="rId150"/>
    <p:sldId id="479" r:id="rId151"/>
    <p:sldId id="481" r:id="rId152"/>
    <p:sldId id="480" r:id="rId153"/>
    <p:sldId id="517" r:id="rId154"/>
    <p:sldId id="482" r:id="rId155"/>
    <p:sldId id="483" r:id="rId156"/>
    <p:sldId id="447" r:id="rId157"/>
    <p:sldId id="516" r:id="rId158"/>
    <p:sldId id="515" r:id="rId159"/>
    <p:sldId id="484" r:id="rId160"/>
    <p:sldId id="496" r:id="rId161"/>
    <p:sldId id="448" r:id="rId162"/>
    <p:sldId id="485" r:id="rId163"/>
    <p:sldId id="487" r:id="rId164"/>
    <p:sldId id="501" r:id="rId165"/>
    <p:sldId id="450" r:id="rId166"/>
    <p:sldId id="500" r:id="rId167"/>
    <p:sldId id="497" r:id="rId168"/>
    <p:sldId id="451" r:id="rId169"/>
    <p:sldId id="499" r:id="rId170"/>
    <p:sldId id="530" r:id="rId171"/>
    <p:sldId id="528" r:id="rId172"/>
    <p:sldId id="6405" r:id="rId173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1C24"/>
    <a:srgbClr val="4B5050"/>
    <a:srgbClr val="EC0000"/>
    <a:srgbClr val="91969B"/>
    <a:srgbClr val="6F7779"/>
    <a:srgbClr val="DEEDF2"/>
    <a:srgbClr val="000000"/>
    <a:srgbClr val="C6C6C6"/>
    <a:srgbClr val="FF3F3F"/>
    <a:srgbClr val="E6E6E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65" autoAdjust="0"/>
    <p:restoredTop sz="94291" autoAdjust="0"/>
  </p:normalViewPr>
  <p:slideViewPr>
    <p:cSldViewPr snapToGrid="0" showGuides="1">
      <p:cViewPr varScale="1">
        <p:scale>
          <a:sx n="90" d="100"/>
          <a:sy n="90" d="100"/>
        </p:scale>
        <p:origin x="972" y="72"/>
      </p:cViewPr>
      <p:guideLst/>
    </p:cSldViewPr>
  </p:slideViewPr>
  <p:outlineViewPr>
    <p:cViewPr>
      <p:scale>
        <a:sx n="33" d="100"/>
        <a:sy n="33" d="100"/>
      </p:scale>
      <p:origin x="0" y="-376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828"/>
    </p:cViewPr>
  </p:sorterViewPr>
  <p:notesViewPr>
    <p:cSldViewPr snapToGrid="0" showGuides="1">
      <p:cViewPr varScale="1">
        <p:scale>
          <a:sx n="81" d="100"/>
          <a:sy n="81" d="100"/>
        </p:scale>
        <p:origin x="1956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2" Type="http://schemas.openxmlformats.org/officeDocument/2006/relationships/slide" Target="slides/slide11.xml"/><Relationship Id="rId33" Type="http://schemas.openxmlformats.org/officeDocument/2006/relationships/slide" Target="slides/slide32.xml"/><Relationship Id="rId108" Type="http://schemas.openxmlformats.org/officeDocument/2006/relationships/slide" Target="slides/slide107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5" Type="http://schemas.openxmlformats.org/officeDocument/2006/relationships/slide" Target="slides/slide74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61" Type="http://schemas.openxmlformats.org/officeDocument/2006/relationships/slide" Target="slides/slide160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viewProps" Target="viewProps.xml"/><Relationship Id="rId172" Type="http://schemas.openxmlformats.org/officeDocument/2006/relationships/slide" Target="slides/slide171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notesMaster" Target="notesMasters/notesMaster1.xml"/><Relationship Id="rId179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26" Type="http://schemas.openxmlformats.org/officeDocument/2006/relationships/slide" Target="slides/slide25.xml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handoutMaster" Target="handoutMasters/handoutMaster1.xml"/><Relationship Id="rId16" Type="http://schemas.openxmlformats.org/officeDocument/2006/relationships/slide" Target="slides/slide15.xml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presProps" Target="presProps.xml"/><Relationship Id="rId17" Type="http://schemas.openxmlformats.org/officeDocument/2006/relationships/slide" Target="slides/slide16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24" Type="http://schemas.openxmlformats.org/officeDocument/2006/relationships/slide" Target="slides/slide123.xml"/><Relationship Id="rId70" Type="http://schemas.openxmlformats.org/officeDocument/2006/relationships/slide" Target="slides/slide69.xml"/><Relationship Id="rId91" Type="http://schemas.openxmlformats.org/officeDocument/2006/relationships/slide" Target="slides/slide90.xml"/><Relationship Id="rId145" Type="http://schemas.openxmlformats.org/officeDocument/2006/relationships/slide" Target="slides/slide144.xml"/><Relationship Id="rId166" Type="http://schemas.openxmlformats.org/officeDocument/2006/relationships/slide" Target="slides/slide165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85-4BBA-AEBA-7D5C5914FBC9}"/>
              </c:ext>
            </c:extLst>
          </c:dPt>
          <c:dPt>
            <c:idx val="1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85-4BBA-AEBA-7D5C5914FBC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85-4BBA-AEBA-7D5C5914FBC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185-4BBA-AEBA-7D5C5914FBC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8</c:v>
                </c:pt>
                <c:pt idx="1">
                  <c:v>0.22</c:v>
                </c:pt>
                <c:pt idx="2">
                  <c:v>0.25</c:v>
                </c:pt>
                <c:pt idx="3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185-4BBA-AEBA-7D5C5914FB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03-4691-85DD-794A94ED025B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03-4691-85DD-794A94ED025B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03-4691-85DD-794A94ED02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09-48EF-A0C7-E9FC90CB29C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B09-48EF-A0C7-E9FC90CB29C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</c:v>
                </c:pt>
                <c:pt idx="1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09-48EF-A0C7-E9FC90CB29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98-4BD8-AE35-41235D3BC80F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98-4BD8-AE35-41235D3BC80F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98-4BD8-AE35-41235D3BC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BE-4691-9463-1A42EA07EEC9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BE-4691-9463-1A42EA07EEC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BE-4691-9463-1A42EA07EE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51-4667-9FA4-DAEBCD389D64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B51-4667-9FA4-DAEBCD389D6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8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B51-4667-9FA4-DAEBCD389D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221-419B-BE4A-37E3E8B98A59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221-419B-BE4A-37E3E8B98A5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8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21-419B-BE4A-37E3E8B98A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41A-43F5-9F79-B27DE4AD6E67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41A-43F5-9F79-B27DE4AD6E6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8</c:v>
                </c:pt>
                <c:pt idx="1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1A-43F5-9F79-B27DE4AD6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ceita</c:v>
                </c:pt>
              </c:strCache>
            </c:strRef>
          </c:tx>
          <c:spPr>
            <a:gradFill>
              <a:gsLst>
                <a:gs pos="20000">
                  <a:schemeClr val="accent5">
                    <a:alpha val="80000"/>
                  </a:schemeClr>
                </a:gs>
                <a:gs pos="100000">
                  <a:schemeClr val="bg1">
                    <a:alpha val="50000"/>
                  </a:schemeClr>
                </a:gs>
              </a:gsLst>
              <a:lin ang="5400000" scaled="1"/>
            </a:gradFill>
            <a:ln>
              <a:noFill/>
            </a:ln>
          </c:spPr>
          <c:cat>
            <c:strRef>
              <c:f>Sheet1!$A$2:$A$33</c:f>
              <c:strCache>
                <c:ptCount val="32"/>
                <c:pt idx="0">
                  <c:v>2011 1º Trimestre</c:v>
                </c:pt>
                <c:pt idx="1">
                  <c:v>2011 2º Trimestre</c:v>
                </c:pt>
                <c:pt idx="2">
                  <c:v>2011 3º Trimestre</c:v>
                </c:pt>
                <c:pt idx="3">
                  <c:v>2011 4º Trimestre</c:v>
                </c:pt>
                <c:pt idx="4">
                  <c:v>2012 1º Trimestre</c:v>
                </c:pt>
                <c:pt idx="5">
                  <c:v>2012 2º Trimestre</c:v>
                </c:pt>
                <c:pt idx="6">
                  <c:v>2012 3º Trimestre</c:v>
                </c:pt>
                <c:pt idx="7">
                  <c:v>2012 4º Trimestre</c:v>
                </c:pt>
                <c:pt idx="8">
                  <c:v>2013 1º Trimestre</c:v>
                </c:pt>
                <c:pt idx="9">
                  <c:v>2013 2º Trimestre</c:v>
                </c:pt>
                <c:pt idx="10">
                  <c:v>2013 3º Trimestre</c:v>
                </c:pt>
                <c:pt idx="11">
                  <c:v>2013 4º Trimestre</c:v>
                </c:pt>
                <c:pt idx="12">
                  <c:v>2014 1º Trimestre</c:v>
                </c:pt>
                <c:pt idx="13">
                  <c:v>2014 2º Trimestre</c:v>
                </c:pt>
                <c:pt idx="14">
                  <c:v>2014 3º Trimestre</c:v>
                </c:pt>
                <c:pt idx="15">
                  <c:v>2014 4º Trimestre</c:v>
                </c:pt>
                <c:pt idx="16">
                  <c:v>2015 1º Trimestre</c:v>
                </c:pt>
                <c:pt idx="17">
                  <c:v>2015 2º Trimestre</c:v>
                </c:pt>
                <c:pt idx="18">
                  <c:v>2015 3º Trimestre</c:v>
                </c:pt>
                <c:pt idx="19">
                  <c:v>2015 4º Trimestre</c:v>
                </c:pt>
                <c:pt idx="20">
                  <c:v>2016 1º Trimestre</c:v>
                </c:pt>
                <c:pt idx="21">
                  <c:v>2016 2º Trimestre</c:v>
                </c:pt>
                <c:pt idx="22">
                  <c:v>2016 3º Trimestre</c:v>
                </c:pt>
                <c:pt idx="23">
                  <c:v>2016 4º Trimestre</c:v>
                </c:pt>
                <c:pt idx="24">
                  <c:v>2017 1º Trimestre</c:v>
                </c:pt>
                <c:pt idx="25">
                  <c:v>2017 2º Trimestre</c:v>
                </c:pt>
                <c:pt idx="26">
                  <c:v>2017 3º Trimestre</c:v>
                </c:pt>
                <c:pt idx="27">
                  <c:v>2017 4º Trimestre</c:v>
                </c:pt>
                <c:pt idx="28">
                  <c:v>2018 1º Trimestre</c:v>
                </c:pt>
                <c:pt idx="29">
                  <c:v>2018 2º Trimestre</c:v>
                </c:pt>
                <c:pt idx="30">
                  <c:v>2018 3º Trimestre</c:v>
                </c:pt>
                <c:pt idx="31">
                  <c:v>2018 4º Trimestre</c:v>
                </c:pt>
              </c:strCache>
            </c:strRef>
          </c:cat>
          <c:val>
            <c:numRef>
              <c:f>Sheet1!$B$2:$B$33</c:f>
              <c:numCache>
                <c:formatCode>General</c:formatCode>
                <c:ptCount val="32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8</c:v>
                </c:pt>
                <c:pt idx="5">
                  <c:v>29</c:v>
                </c:pt>
                <c:pt idx="6">
                  <c:v>40</c:v>
                </c:pt>
                <c:pt idx="7">
                  <c:v>42</c:v>
                </c:pt>
                <c:pt idx="8">
                  <c:v>48</c:v>
                </c:pt>
                <c:pt idx="9">
                  <c:v>69</c:v>
                </c:pt>
                <c:pt idx="10">
                  <c:v>97</c:v>
                </c:pt>
                <c:pt idx="11">
                  <c:v>99</c:v>
                </c:pt>
                <c:pt idx="12">
                  <c:v>120</c:v>
                </c:pt>
                <c:pt idx="13">
                  <c:v>125</c:v>
                </c:pt>
                <c:pt idx="14">
                  <c:v>56</c:v>
                </c:pt>
                <c:pt idx="15">
                  <c:v>44</c:v>
                </c:pt>
                <c:pt idx="16">
                  <c:v>38</c:v>
                </c:pt>
                <c:pt idx="17">
                  <c:v>25</c:v>
                </c:pt>
                <c:pt idx="18">
                  <c:v>14</c:v>
                </c:pt>
                <c:pt idx="19">
                  <c:v>23</c:v>
                </c:pt>
                <c:pt idx="20">
                  <c:v>25</c:v>
                </c:pt>
                <c:pt idx="21">
                  <c:v>18</c:v>
                </c:pt>
                <c:pt idx="22">
                  <c:v>12</c:v>
                </c:pt>
                <c:pt idx="23">
                  <c:v>16</c:v>
                </c:pt>
                <c:pt idx="24">
                  <c:v>14</c:v>
                </c:pt>
                <c:pt idx="25">
                  <c:v>8</c:v>
                </c:pt>
                <c:pt idx="26">
                  <c:v>13</c:v>
                </c:pt>
                <c:pt idx="27">
                  <c:v>19</c:v>
                </c:pt>
                <c:pt idx="28">
                  <c:v>28</c:v>
                </c:pt>
                <c:pt idx="29">
                  <c:v>15</c:v>
                </c:pt>
                <c:pt idx="30">
                  <c:v>16</c:v>
                </c:pt>
                <c:pt idx="3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1B-4AD4-80D0-AD7A4060FBC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Resultado Líquido (Colorido)</c:v>
                </c:pt>
              </c:strCache>
            </c:strRef>
          </c:tx>
          <c:spPr>
            <a:gradFill flip="none" rotWithShape="1">
              <a:gsLst>
                <a:gs pos="20000">
                  <a:schemeClr val="accent2">
                    <a:alpha val="50000"/>
                  </a:schemeClr>
                </a:gs>
                <a:gs pos="100000">
                  <a:schemeClr val="bg1">
                    <a:alpha val="50000"/>
                  </a:schemeClr>
                </a:gs>
              </a:gsLst>
              <a:lin ang="5400000" scaled="1"/>
              <a:tileRect/>
            </a:gradFill>
            <a:ln>
              <a:noFill/>
            </a:ln>
          </c:spPr>
          <c:cat>
            <c:strRef>
              <c:f>Sheet1!$A$2:$A$33</c:f>
              <c:strCache>
                <c:ptCount val="32"/>
                <c:pt idx="0">
                  <c:v>2011 1º Trimestre</c:v>
                </c:pt>
                <c:pt idx="1">
                  <c:v>2011 2º Trimestre</c:v>
                </c:pt>
                <c:pt idx="2">
                  <c:v>2011 3º Trimestre</c:v>
                </c:pt>
                <c:pt idx="3">
                  <c:v>2011 4º Trimestre</c:v>
                </c:pt>
                <c:pt idx="4">
                  <c:v>2012 1º Trimestre</c:v>
                </c:pt>
                <c:pt idx="5">
                  <c:v>2012 2º Trimestre</c:v>
                </c:pt>
                <c:pt idx="6">
                  <c:v>2012 3º Trimestre</c:v>
                </c:pt>
                <c:pt idx="7">
                  <c:v>2012 4º Trimestre</c:v>
                </c:pt>
                <c:pt idx="8">
                  <c:v>2013 1º Trimestre</c:v>
                </c:pt>
                <c:pt idx="9">
                  <c:v>2013 2º Trimestre</c:v>
                </c:pt>
                <c:pt idx="10">
                  <c:v>2013 3º Trimestre</c:v>
                </c:pt>
                <c:pt idx="11">
                  <c:v>2013 4º Trimestre</c:v>
                </c:pt>
                <c:pt idx="12">
                  <c:v>2014 1º Trimestre</c:v>
                </c:pt>
                <c:pt idx="13">
                  <c:v>2014 2º Trimestre</c:v>
                </c:pt>
                <c:pt idx="14">
                  <c:v>2014 3º Trimestre</c:v>
                </c:pt>
                <c:pt idx="15">
                  <c:v>2014 4º Trimestre</c:v>
                </c:pt>
                <c:pt idx="16">
                  <c:v>2015 1º Trimestre</c:v>
                </c:pt>
                <c:pt idx="17">
                  <c:v>2015 2º Trimestre</c:v>
                </c:pt>
                <c:pt idx="18">
                  <c:v>2015 3º Trimestre</c:v>
                </c:pt>
                <c:pt idx="19">
                  <c:v>2015 4º Trimestre</c:v>
                </c:pt>
                <c:pt idx="20">
                  <c:v>2016 1º Trimestre</c:v>
                </c:pt>
                <c:pt idx="21">
                  <c:v>2016 2º Trimestre</c:v>
                </c:pt>
                <c:pt idx="22">
                  <c:v>2016 3º Trimestre</c:v>
                </c:pt>
                <c:pt idx="23">
                  <c:v>2016 4º Trimestre</c:v>
                </c:pt>
                <c:pt idx="24">
                  <c:v>2017 1º Trimestre</c:v>
                </c:pt>
                <c:pt idx="25">
                  <c:v>2017 2º Trimestre</c:v>
                </c:pt>
                <c:pt idx="26">
                  <c:v>2017 3º Trimestre</c:v>
                </c:pt>
                <c:pt idx="27">
                  <c:v>2017 4º Trimestre</c:v>
                </c:pt>
                <c:pt idx="28">
                  <c:v>2018 1º Trimestre</c:v>
                </c:pt>
                <c:pt idx="29">
                  <c:v>2018 2º Trimestre</c:v>
                </c:pt>
                <c:pt idx="30">
                  <c:v>2018 3º Trimestre</c:v>
                </c:pt>
                <c:pt idx="31">
                  <c:v>2018 4º Trimestre</c:v>
                </c:pt>
              </c:strCache>
            </c:strRef>
          </c:cat>
          <c:val>
            <c:numRef>
              <c:f>Sheet1!$E$2:$E$33</c:f>
              <c:numCache>
                <c:formatCode>General</c:formatCode>
                <c:ptCount val="32"/>
                <c:pt idx="0">
                  <c:v>6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25</c:v>
                </c:pt>
                <c:pt idx="6">
                  <c:v>32</c:v>
                </c:pt>
                <c:pt idx="7">
                  <c:v>25</c:v>
                </c:pt>
                <c:pt idx="8">
                  <c:v>38</c:v>
                </c:pt>
                <c:pt idx="9">
                  <c:v>50</c:v>
                </c:pt>
                <c:pt idx="10">
                  <c:v>80</c:v>
                </c:pt>
                <c:pt idx="11">
                  <c:v>85</c:v>
                </c:pt>
                <c:pt idx="12">
                  <c:v>100</c:v>
                </c:pt>
                <c:pt idx="13">
                  <c:v>105</c:v>
                </c:pt>
                <c:pt idx="14">
                  <c:v>50</c:v>
                </c:pt>
                <c:pt idx="15">
                  <c:v>20</c:v>
                </c:pt>
                <c:pt idx="16">
                  <c:v>32</c:v>
                </c:pt>
                <c:pt idx="17">
                  <c:v>18</c:v>
                </c:pt>
                <c:pt idx="18">
                  <c:v>12</c:v>
                </c:pt>
                <c:pt idx="19">
                  <c:v>15</c:v>
                </c:pt>
                <c:pt idx="20">
                  <c:v>14</c:v>
                </c:pt>
                <c:pt idx="21">
                  <c:v>13</c:v>
                </c:pt>
                <c:pt idx="22">
                  <c:v>9</c:v>
                </c:pt>
                <c:pt idx="23">
                  <c:v>12</c:v>
                </c:pt>
                <c:pt idx="24">
                  <c:v>10</c:v>
                </c:pt>
                <c:pt idx="25">
                  <c:v>6</c:v>
                </c:pt>
                <c:pt idx="26">
                  <c:v>10</c:v>
                </c:pt>
                <c:pt idx="27">
                  <c:v>9</c:v>
                </c:pt>
                <c:pt idx="28">
                  <c:v>20</c:v>
                </c:pt>
                <c:pt idx="29">
                  <c:v>12</c:v>
                </c:pt>
                <c:pt idx="30">
                  <c:v>14</c:v>
                </c:pt>
                <c:pt idx="3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61B-4AD4-80D0-AD7A4060F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745890320"/>
        <c:axId val="-745877264"/>
      </c:area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Receita (Colorido)</c:v>
                </c:pt>
              </c:strCache>
            </c:strRef>
          </c:tx>
          <c:spPr>
            <a:ln w="9525">
              <a:solidFill>
                <a:schemeClr val="accent5"/>
              </a:solidFill>
            </a:ln>
          </c:spPr>
          <c:marker>
            <c:symbol val="circle"/>
            <c:size val="3"/>
            <c:spPr>
              <a:solidFill>
                <a:schemeClr val="accent4"/>
              </a:solidFill>
              <a:ln w="12700" cap="rnd">
                <a:noFill/>
              </a:ln>
            </c:spPr>
          </c:marker>
          <c:cat>
            <c:strRef>
              <c:f>Sheet1!$A$2:$A$33</c:f>
              <c:strCache>
                <c:ptCount val="32"/>
                <c:pt idx="0">
                  <c:v>2011 1º Trimestre</c:v>
                </c:pt>
                <c:pt idx="1">
                  <c:v>2011 2º Trimestre</c:v>
                </c:pt>
                <c:pt idx="2">
                  <c:v>2011 3º Trimestre</c:v>
                </c:pt>
                <c:pt idx="3">
                  <c:v>2011 4º Trimestre</c:v>
                </c:pt>
                <c:pt idx="4">
                  <c:v>2012 1º Trimestre</c:v>
                </c:pt>
                <c:pt idx="5">
                  <c:v>2012 2º Trimestre</c:v>
                </c:pt>
                <c:pt idx="6">
                  <c:v>2012 3º Trimestre</c:v>
                </c:pt>
                <c:pt idx="7">
                  <c:v>2012 4º Trimestre</c:v>
                </c:pt>
                <c:pt idx="8">
                  <c:v>2013 1º Trimestre</c:v>
                </c:pt>
                <c:pt idx="9">
                  <c:v>2013 2º Trimestre</c:v>
                </c:pt>
                <c:pt idx="10">
                  <c:v>2013 3º Trimestre</c:v>
                </c:pt>
                <c:pt idx="11">
                  <c:v>2013 4º Trimestre</c:v>
                </c:pt>
                <c:pt idx="12">
                  <c:v>2014 1º Trimestre</c:v>
                </c:pt>
                <c:pt idx="13">
                  <c:v>2014 2º Trimestre</c:v>
                </c:pt>
                <c:pt idx="14">
                  <c:v>2014 3º Trimestre</c:v>
                </c:pt>
                <c:pt idx="15">
                  <c:v>2014 4º Trimestre</c:v>
                </c:pt>
                <c:pt idx="16">
                  <c:v>2015 1º Trimestre</c:v>
                </c:pt>
                <c:pt idx="17">
                  <c:v>2015 2º Trimestre</c:v>
                </c:pt>
                <c:pt idx="18">
                  <c:v>2015 3º Trimestre</c:v>
                </c:pt>
                <c:pt idx="19">
                  <c:v>2015 4º Trimestre</c:v>
                </c:pt>
                <c:pt idx="20">
                  <c:v>2016 1º Trimestre</c:v>
                </c:pt>
                <c:pt idx="21">
                  <c:v>2016 2º Trimestre</c:v>
                </c:pt>
                <c:pt idx="22">
                  <c:v>2016 3º Trimestre</c:v>
                </c:pt>
                <c:pt idx="23">
                  <c:v>2016 4º Trimestre</c:v>
                </c:pt>
                <c:pt idx="24">
                  <c:v>2017 1º Trimestre</c:v>
                </c:pt>
                <c:pt idx="25">
                  <c:v>2017 2º Trimestre</c:v>
                </c:pt>
                <c:pt idx="26">
                  <c:v>2017 3º Trimestre</c:v>
                </c:pt>
                <c:pt idx="27">
                  <c:v>2017 4º Trimestre</c:v>
                </c:pt>
                <c:pt idx="28">
                  <c:v>2018 1º Trimestre</c:v>
                </c:pt>
                <c:pt idx="29">
                  <c:v>2018 2º Trimestre</c:v>
                </c:pt>
                <c:pt idx="30">
                  <c:v>2018 3º Trimestre</c:v>
                </c:pt>
                <c:pt idx="31">
                  <c:v>2018 4º Trimestre</c:v>
                </c:pt>
              </c:strCache>
            </c:strRef>
          </c:cat>
          <c:val>
            <c:numRef>
              <c:f>Sheet1!$C$2:$C$33</c:f>
              <c:numCache>
                <c:formatCode>General</c:formatCode>
                <c:ptCount val="32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14</c:v>
                </c:pt>
                <c:pt idx="4">
                  <c:v>18</c:v>
                </c:pt>
                <c:pt idx="5">
                  <c:v>29</c:v>
                </c:pt>
                <c:pt idx="6">
                  <c:v>40</c:v>
                </c:pt>
                <c:pt idx="7">
                  <c:v>42</c:v>
                </c:pt>
                <c:pt idx="8">
                  <c:v>48</c:v>
                </c:pt>
                <c:pt idx="9">
                  <c:v>69</c:v>
                </c:pt>
                <c:pt idx="10">
                  <c:v>97</c:v>
                </c:pt>
                <c:pt idx="11">
                  <c:v>99</c:v>
                </c:pt>
                <c:pt idx="12">
                  <c:v>120</c:v>
                </c:pt>
                <c:pt idx="13">
                  <c:v>125</c:v>
                </c:pt>
                <c:pt idx="14">
                  <c:v>56</c:v>
                </c:pt>
                <c:pt idx="15">
                  <c:v>44</c:v>
                </c:pt>
                <c:pt idx="16">
                  <c:v>38</c:v>
                </c:pt>
                <c:pt idx="17">
                  <c:v>25</c:v>
                </c:pt>
                <c:pt idx="18">
                  <c:v>14</c:v>
                </c:pt>
                <c:pt idx="19">
                  <c:v>23</c:v>
                </c:pt>
                <c:pt idx="20">
                  <c:v>25</c:v>
                </c:pt>
                <c:pt idx="21">
                  <c:v>18</c:v>
                </c:pt>
                <c:pt idx="22">
                  <c:v>12</c:v>
                </c:pt>
                <c:pt idx="23">
                  <c:v>16</c:v>
                </c:pt>
                <c:pt idx="24">
                  <c:v>14</c:v>
                </c:pt>
                <c:pt idx="25">
                  <c:v>8</c:v>
                </c:pt>
                <c:pt idx="26">
                  <c:v>13</c:v>
                </c:pt>
                <c:pt idx="27">
                  <c:v>19</c:v>
                </c:pt>
                <c:pt idx="28">
                  <c:v>28</c:v>
                </c:pt>
                <c:pt idx="29">
                  <c:v>15</c:v>
                </c:pt>
                <c:pt idx="30">
                  <c:v>16</c:v>
                </c:pt>
                <c:pt idx="31">
                  <c:v>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61B-4AD4-80D0-AD7A4060FBC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esultado Líquido</c:v>
                </c:pt>
              </c:strCache>
            </c:strRef>
          </c:tx>
          <c:spPr>
            <a:ln w="9525">
              <a:solidFill>
                <a:schemeClr val="accent5"/>
              </a:solidFill>
            </a:ln>
          </c:spPr>
          <c:marker>
            <c:symbol val="circle"/>
            <c:size val="3"/>
            <c:spPr>
              <a:solidFill>
                <a:schemeClr val="accent1"/>
              </a:solidFill>
              <a:ln w="12700" cap="rnd">
                <a:noFill/>
              </a:ln>
            </c:spPr>
          </c:marker>
          <c:cat>
            <c:strRef>
              <c:f>Sheet1!$A$2:$A$33</c:f>
              <c:strCache>
                <c:ptCount val="32"/>
                <c:pt idx="0">
                  <c:v>2011 1º Trimestre</c:v>
                </c:pt>
                <c:pt idx="1">
                  <c:v>2011 2º Trimestre</c:v>
                </c:pt>
                <c:pt idx="2">
                  <c:v>2011 3º Trimestre</c:v>
                </c:pt>
                <c:pt idx="3">
                  <c:v>2011 4º Trimestre</c:v>
                </c:pt>
                <c:pt idx="4">
                  <c:v>2012 1º Trimestre</c:v>
                </c:pt>
                <c:pt idx="5">
                  <c:v>2012 2º Trimestre</c:v>
                </c:pt>
                <c:pt idx="6">
                  <c:v>2012 3º Trimestre</c:v>
                </c:pt>
                <c:pt idx="7">
                  <c:v>2012 4º Trimestre</c:v>
                </c:pt>
                <c:pt idx="8">
                  <c:v>2013 1º Trimestre</c:v>
                </c:pt>
                <c:pt idx="9">
                  <c:v>2013 2º Trimestre</c:v>
                </c:pt>
                <c:pt idx="10">
                  <c:v>2013 3º Trimestre</c:v>
                </c:pt>
                <c:pt idx="11">
                  <c:v>2013 4º Trimestre</c:v>
                </c:pt>
                <c:pt idx="12">
                  <c:v>2014 1º Trimestre</c:v>
                </c:pt>
                <c:pt idx="13">
                  <c:v>2014 2º Trimestre</c:v>
                </c:pt>
                <c:pt idx="14">
                  <c:v>2014 3º Trimestre</c:v>
                </c:pt>
                <c:pt idx="15">
                  <c:v>2014 4º Trimestre</c:v>
                </c:pt>
                <c:pt idx="16">
                  <c:v>2015 1º Trimestre</c:v>
                </c:pt>
                <c:pt idx="17">
                  <c:v>2015 2º Trimestre</c:v>
                </c:pt>
                <c:pt idx="18">
                  <c:v>2015 3º Trimestre</c:v>
                </c:pt>
                <c:pt idx="19">
                  <c:v>2015 4º Trimestre</c:v>
                </c:pt>
                <c:pt idx="20">
                  <c:v>2016 1º Trimestre</c:v>
                </c:pt>
                <c:pt idx="21">
                  <c:v>2016 2º Trimestre</c:v>
                </c:pt>
                <c:pt idx="22">
                  <c:v>2016 3º Trimestre</c:v>
                </c:pt>
                <c:pt idx="23">
                  <c:v>2016 4º Trimestre</c:v>
                </c:pt>
                <c:pt idx="24">
                  <c:v>2017 1º Trimestre</c:v>
                </c:pt>
                <c:pt idx="25">
                  <c:v>2017 2º Trimestre</c:v>
                </c:pt>
                <c:pt idx="26">
                  <c:v>2017 3º Trimestre</c:v>
                </c:pt>
                <c:pt idx="27">
                  <c:v>2017 4º Trimestre</c:v>
                </c:pt>
                <c:pt idx="28">
                  <c:v>2018 1º Trimestre</c:v>
                </c:pt>
                <c:pt idx="29">
                  <c:v>2018 2º Trimestre</c:v>
                </c:pt>
                <c:pt idx="30">
                  <c:v>2018 3º Trimestre</c:v>
                </c:pt>
                <c:pt idx="31">
                  <c:v>2018 4º Trimestre</c:v>
                </c:pt>
              </c:strCache>
            </c:strRef>
          </c:cat>
          <c:val>
            <c:numRef>
              <c:f>Sheet1!$D$2:$D$33</c:f>
              <c:numCache>
                <c:formatCode>General</c:formatCode>
                <c:ptCount val="32"/>
                <c:pt idx="0">
                  <c:v>6</c:v>
                </c:pt>
                <c:pt idx="1">
                  <c:v>8</c:v>
                </c:pt>
                <c:pt idx="2">
                  <c:v>9</c:v>
                </c:pt>
                <c:pt idx="3">
                  <c:v>10</c:v>
                </c:pt>
                <c:pt idx="4">
                  <c:v>11</c:v>
                </c:pt>
                <c:pt idx="5">
                  <c:v>25</c:v>
                </c:pt>
                <c:pt idx="6">
                  <c:v>32</c:v>
                </c:pt>
                <c:pt idx="7">
                  <c:v>25</c:v>
                </c:pt>
                <c:pt idx="8">
                  <c:v>38</c:v>
                </c:pt>
                <c:pt idx="9">
                  <c:v>50</c:v>
                </c:pt>
                <c:pt idx="10">
                  <c:v>80</c:v>
                </c:pt>
                <c:pt idx="11">
                  <c:v>85</c:v>
                </c:pt>
                <c:pt idx="12">
                  <c:v>100</c:v>
                </c:pt>
                <c:pt idx="13">
                  <c:v>105</c:v>
                </c:pt>
                <c:pt idx="14">
                  <c:v>50</c:v>
                </c:pt>
                <c:pt idx="15">
                  <c:v>20</c:v>
                </c:pt>
                <c:pt idx="16">
                  <c:v>32</c:v>
                </c:pt>
                <c:pt idx="17">
                  <c:v>18</c:v>
                </c:pt>
                <c:pt idx="18">
                  <c:v>12</c:v>
                </c:pt>
                <c:pt idx="19">
                  <c:v>15</c:v>
                </c:pt>
                <c:pt idx="20">
                  <c:v>14</c:v>
                </c:pt>
                <c:pt idx="21">
                  <c:v>13</c:v>
                </c:pt>
                <c:pt idx="22">
                  <c:v>9</c:v>
                </c:pt>
                <c:pt idx="23">
                  <c:v>12</c:v>
                </c:pt>
                <c:pt idx="24">
                  <c:v>10</c:v>
                </c:pt>
                <c:pt idx="25">
                  <c:v>6</c:v>
                </c:pt>
                <c:pt idx="26">
                  <c:v>10</c:v>
                </c:pt>
                <c:pt idx="27">
                  <c:v>9</c:v>
                </c:pt>
                <c:pt idx="28">
                  <c:v>20</c:v>
                </c:pt>
                <c:pt idx="29">
                  <c:v>12</c:v>
                </c:pt>
                <c:pt idx="30">
                  <c:v>14</c:v>
                </c:pt>
                <c:pt idx="31">
                  <c:v>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61B-4AD4-80D0-AD7A4060FB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-745890320"/>
        <c:axId val="-745877264"/>
      </c:lineChart>
      <c:catAx>
        <c:axId val="-745890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>
                <a:solidFill>
                  <a:schemeClr val="accent4"/>
                </a:solidFill>
              </a:defRPr>
            </a:pPr>
            <a:endParaRPr lang="pt-BR"/>
          </a:p>
        </c:txPr>
        <c:crossAx val="-745877264"/>
        <c:crosses val="autoZero"/>
        <c:auto val="1"/>
        <c:lblAlgn val="ctr"/>
        <c:lblOffset val="100"/>
        <c:tickLblSkip val="4"/>
        <c:tickMarkSkip val="1"/>
        <c:noMultiLvlLbl val="0"/>
      </c:catAx>
      <c:valAx>
        <c:axId val="-745877264"/>
        <c:scaling>
          <c:orientation val="minMax"/>
        </c:scaling>
        <c:delete val="0"/>
        <c:axPos val="l"/>
        <c:majorGridlines>
          <c:spPr>
            <a:ln w="6350">
              <a:solidFill>
                <a:schemeClr val="accent6"/>
              </a:solidFill>
            </a:ln>
          </c:spPr>
        </c:majorGridlines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700">
                <a:solidFill>
                  <a:schemeClr val="accent4"/>
                </a:solidFill>
              </a:defRPr>
            </a:pPr>
            <a:endParaRPr lang="pt-BR"/>
          </a:p>
        </c:txPr>
        <c:crossAx val="-745890320"/>
        <c:crosses val="autoZero"/>
        <c:crossBetween val="midCat"/>
      </c:valAx>
      <c:spPr>
        <a:noFill/>
        <a:ln>
          <a:noFill/>
        </a:ln>
      </c:spPr>
    </c:plotArea>
    <c:plotVisOnly val="1"/>
    <c:dispBlanksAs val="zero"/>
    <c:showDLblsOverMax val="0"/>
  </c:chart>
  <c:txPr>
    <a:bodyPr/>
    <a:lstStyle/>
    <a:p>
      <a:pPr>
        <a:defRPr sz="1200" b="0" i="0"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37-4505-AE05-6A77EDC801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37-4505-AE05-6A77EDC8012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37-4505-AE05-6A77EDC8012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237-4505-AE05-6A77EDC8012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237-4505-AE05-6A77EDC80129}"/>
              </c:ext>
            </c:extLst>
          </c:dPt>
          <c:cat>
            <c:strRef>
              <c:f>Sheet1!$A$2:$A$6</c:f>
              <c:strCache>
                <c:ptCount val="5"/>
                <c:pt idx="0">
                  <c:v>Facebook</c:v>
                </c:pt>
                <c:pt idx="1">
                  <c:v>Youtube</c:v>
                </c:pt>
                <c:pt idx="2">
                  <c:v>Twitter</c:v>
                </c:pt>
                <c:pt idx="3">
                  <c:v>Whatsapp</c:v>
                </c:pt>
                <c:pt idx="4">
                  <c:v>Instagram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8</c:v>
                </c:pt>
                <c:pt idx="1">
                  <c:v>35</c:v>
                </c:pt>
                <c:pt idx="2">
                  <c:v>33</c:v>
                </c:pt>
                <c:pt idx="3">
                  <c:v>29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237-4505-AE05-6A77EDC8012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Facebook</c:v>
                </c:pt>
                <c:pt idx="1">
                  <c:v>Youtube</c:v>
                </c:pt>
                <c:pt idx="2">
                  <c:v>Twitter</c:v>
                </c:pt>
                <c:pt idx="3">
                  <c:v>Whatsapp</c:v>
                </c:pt>
                <c:pt idx="4">
                  <c:v>Instagram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8</c:v>
                </c:pt>
                <c:pt idx="1">
                  <c:v>68</c:v>
                </c:pt>
                <c:pt idx="2">
                  <c:v>40</c:v>
                </c:pt>
                <c:pt idx="3">
                  <c:v>38</c:v>
                </c:pt>
                <c:pt idx="4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237-4505-AE05-6A77EDC80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745888688"/>
        <c:axId val="-745888144"/>
      </c:barChart>
      <c:catAx>
        <c:axId val="-745888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5888144"/>
        <c:crosses val="autoZero"/>
        <c:auto val="1"/>
        <c:lblAlgn val="ctr"/>
        <c:lblOffset val="100"/>
        <c:noMultiLvlLbl val="0"/>
      </c:catAx>
      <c:valAx>
        <c:axId val="-745888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745888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40093004678763"/>
          <c:y val="0.94531094150880257"/>
          <c:w val="0.12204629312640268"/>
          <c:h val="5.4689095630374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AEB-4A1F-80BC-B62C3751B75C}"/>
              </c:ext>
            </c:extLst>
          </c:dPt>
          <c:dPt>
            <c:idx val="1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AEB-4A1F-80BC-B62C3751B75C}"/>
              </c:ext>
            </c:extLst>
          </c:dPt>
          <c:dPt>
            <c:idx val="2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AEB-4A1F-80BC-B62C3751B75C}"/>
              </c:ext>
            </c:extLst>
          </c:dPt>
          <c:dPt>
            <c:idx val="3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EB-4A1F-80BC-B62C3751B75C}"/>
              </c:ext>
            </c:extLst>
          </c:dPt>
          <c:dPt>
            <c:idx val="4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AEB-4A1F-80BC-B62C3751B75C}"/>
              </c:ext>
            </c:extLst>
          </c:dPt>
          <c:dPt>
            <c:idx val="5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AEB-4A1F-80BC-B62C3751B75C}"/>
              </c:ext>
            </c:extLst>
          </c:dPt>
          <c:dPt>
            <c:idx val="6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AEB-4A1F-80BC-B62C3751B75C}"/>
              </c:ext>
            </c:extLst>
          </c:dPt>
          <c:dPt>
            <c:idx val="7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AEB-4A1F-80BC-B62C3751B75C}"/>
              </c:ext>
            </c:extLst>
          </c:dPt>
          <c:dPt>
            <c:idx val="8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AEB-4A1F-80BC-B62C3751B75C}"/>
              </c:ext>
            </c:extLst>
          </c:dPt>
          <c:dPt>
            <c:idx val="9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5AEB-4A1F-80BC-B62C3751B75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cat>
          <c:val>
            <c:numRef>
              <c:f>Sheet1!$B$2:$B$11</c:f>
              <c:numCache>
                <c:formatCode>0.0%</c:formatCode>
                <c:ptCount val="10"/>
                <c:pt idx="0">
                  <c:v>1.2E-2</c:v>
                </c:pt>
                <c:pt idx="1">
                  <c:v>1.7999999999999999E-2</c:v>
                </c:pt>
                <c:pt idx="2">
                  <c:v>2.5000000000000001E-2</c:v>
                </c:pt>
                <c:pt idx="3">
                  <c:v>3.5000000000000003E-2</c:v>
                </c:pt>
                <c:pt idx="4">
                  <c:v>3.7999999999999999E-2</c:v>
                </c:pt>
                <c:pt idx="5">
                  <c:v>2.5000000000000001E-2</c:v>
                </c:pt>
                <c:pt idx="6">
                  <c:v>9.8000000000000004E-2</c:v>
                </c:pt>
                <c:pt idx="7">
                  <c:v>7.2999999999999995E-2</c:v>
                </c:pt>
                <c:pt idx="8">
                  <c:v>8.8999999999999996E-2</c:v>
                </c:pt>
                <c:pt idx="9">
                  <c:v>7.29999999999999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5AEB-4A1F-80BC-B62C3751B7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0"/>
        <c:axId val="-754263760"/>
        <c:axId val="-754261584"/>
      </c:barChart>
      <c:catAx>
        <c:axId val="-75426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54261584"/>
        <c:crosses val="autoZero"/>
        <c:auto val="1"/>
        <c:lblAlgn val="ctr"/>
        <c:lblOffset val="100"/>
        <c:noMultiLvlLbl val="0"/>
      </c:catAx>
      <c:valAx>
        <c:axId val="-754261584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-75426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>
                <a:lumMod val="20000"/>
                <a:lumOff val="8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629-4969-973C-BA4A28918734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952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629-4969-973C-BA4A28918734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.6</c:v>
                </c:pt>
                <c:pt idx="1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29-4969-973C-BA4A289187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0</c:v>
                </c:pt>
                <c:pt idx="1">
                  <c:v>85</c:v>
                </c:pt>
                <c:pt idx="2">
                  <c:v>67</c:v>
                </c:pt>
                <c:pt idx="3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6D-4258-934C-7E52DC60A80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65</c:v>
                </c:pt>
                <c:pt idx="1">
                  <c:v>53</c:v>
                </c:pt>
                <c:pt idx="2">
                  <c:v>44</c:v>
                </c:pt>
                <c:pt idx="3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6D-4258-934C-7E52DC60A80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0</c:v>
                </c:pt>
                <c:pt idx="1">
                  <c:v>25</c:v>
                </c:pt>
                <c:pt idx="2">
                  <c:v>18</c:v>
                </c:pt>
                <c:pt idx="3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6D-4258-934C-7E52DC60A8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754257232"/>
        <c:axId val="-754260496"/>
      </c:barChart>
      <c:catAx>
        <c:axId val="-754257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54260496"/>
        <c:crosses val="autoZero"/>
        <c:auto val="1"/>
        <c:lblAlgn val="ctr"/>
        <c:lblOffset val="100"/>
        <c:noMultiLvlLbl val="0"/>
      </c:catAx>
      <c:valAx>
        <c:axId val="-754260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-75425723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ucro Atu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751-475A-A07F-01748FD67C0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51-475A-A07F-01748FD67C0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51-475A-A07F-01748FD67C0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751-475A-A07F-01748FD67C0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751-475A-A07F-01748FD67C08}"/>
              </c:ext>
            </c:extLst>
          </c:dPt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B$2:$B$13</c:f>
              <c:numCache>
                <c:formatCode>0</c:formatCode>
                <c:ptCount val="12"/>
                <c:pt idx="0">
                  <c:v>38</c:v>
                </c:pt>
                <c:pt idx="1">
                  <c:v>35</c:v>
                </c:pt>
                <c:pt idx="2">
                  <c:v>33</c:v>
                </c:pt>
                <c:pt idx="3">
                  <c:v>29</c:v>
                </c:pt>
                <c:pt idx="4">
                  <c:v>15</c:v>
                </c:pt>
                <c:pt idx="5">
                  <c:v>25</c:v>
                </c:pt>
                <c:pt idx="6">
                  <c:v>32</c:v>
                </c:pt>
                <c:pt idx="7">
                  <c:v>55</c:v>
                </c:pt>
                <c:pt idx="8">
                  <c:v>35</c:v>
                </c:pt>
                <c:pt idx="9">
                  <c:v>40</c:v>
                </c:pt>
                <c:pt idx="10">
                  <c:v>45</c:v>
                </c:pt>
                <c:pt idx="1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751-475A-A07F-01748FD67C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evisto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strRef>
              <c:f>Sheet1!$A$2:$A$13</c:f>
              <c:strCache>
                <c:ptCount val="12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T</c:v>
                </c:pt>
                <c:pt idx="9">
                  <c:v>OUT</c:v>
                </c:pt>
                <c:pt idx="10">
                  <c:v>NOV</c:v>
                </c:pt>
                <c:pt idx="11">
                  <c:v>DEZ</c:v>
                </c:pt>
              </c:strCache>
            </c:strRef>
          </c:cat>
          <c:val>
            <c:numRef>
              <c:f>Sheet1!$C$2:$C$13</c:f>
              <c:numCache>
                <c:formatCode>0</c:formatCode>
                <c:ptCount val="12"/>
                <c:pt idx="0">
                  <c:v>52</c:v>
                </c:pt>
                <c:pt idx="1">
                  <c:v>45</c:v>
                </c:pt>
                <c:pt idx="2">
                  <c:v>53</c:v>
                </c:pt>
                <c:pt idx="3">
                  <c:v>35</c:v>
                </c:pt>
                <c:pt idx="4">
                  <c:v>25</c:v>
                </c:pt>
                <c:pt idx="5">
                  <c:v>32</c:v>
                </c:pt>
                <c:pt idx="6">
                  <c:v>55</c:v>
                </c:pt>
                <c:pt idx="7">
                  <c:v>80</c:v>
                </c:pt>
                <c:pt idx="8">
                  <c:v>25</c:v>
                </c:pt>
                <c:pt idx="9">
                  <c:v>24</c:v>
                </c:pt>
                <c:pt idx="10">
                  <c:v>52</c:v>
                </c:pt>
                <c:pt idx="11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751-475A-A07F-01748FD67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6"/>
        <c:axId val="-740829408"/>
        <c:axId val="-740815264"/>
      </c:barChart>
      <c:catAx>
        <c:axId val="-740829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15264"/>
        <c:crosses val="autoZero"/>
        <c:auto val="1"/>
        <c:lblAlgn val="ctr"/>
        <c:lblOffset val="100"/>
        <c:noMultiLvlLbl val="0"/>
      </c:catAx>
      <c:valAx>
        <c:axId val="-740815264"/>
        <c:scaling>
          <c:orientation val="minMax"/>
        </c:scaling>
        <c:delete val="0"/>
        <c:axPos val="l"/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0286476144745431"/>
          <c:y val="0.94466287394532855"/>
          <c:w val="0.19427060747841302"/>
          <c:h val="5.421919838522954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duto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C2-4523-BEF2-E24FC33BDE3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C2-4523-BEF2-E24FC33BDE35}"/>
              </c:ext>
            </c:extLst>
          </c:dPt>
          <c:cat>
            <c:numRef>
              <c:f>Sheet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Sheet1!$B$2:$B$3</c:f>
              <c:numCache>
                <c:formatCode>[$$-409]#,##0</c:formatCode>
                <c:ptCount val="2"/>
                <c:pt idx="0">
                  <c:v>150350</c:v>
                </c:pt>
                <c:pt idx="1">
                  <c:v>18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C2-4523-BEF2-E24FC33BDE3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duto 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Sheet1!$C$2:$C$3</c:f>
              <c:numCache>
                <c:formatCode>[$$-409]#,##0</c:formatCode>
                <c:ptCount val="2"/>
                <c:pt idx="0">
                  <c:v>280346</c:v>
                </c:pt>
                <c:pt idx="1">
                  <c:v>300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CC2-4523-BEF2-E24FC33BDE3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roduto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Sheet1!$D$2:$D$3</c:f>
              <c:numCache>
                <c:formatCode>[$$-409]#,##0</c:formatCode>
                <c:ptCount val="2"/>
                <c:pt idx="0">
                  <c:v>320355</c:v>
                </c:pt>
                <c:pt idx="1">
                  <c:v>350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CC2-4523-BEF2-E24FC33BDE3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oduto 4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Sheet1!$E$2:$E$3</c:f>
              <c:numCache>
                <c:formatCode>[$$-409]#,##0</c:formatCode>
                <c:ptCount val="2"/>
                <c:pt idx="0">
                  <c:v>342500</c:v>
                </c:pt>
                <c:pt idx="1">
                  <c:v>3705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CC2-4523-BEF2-E24FC33BDE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50"/>
        <c:axId val="-740821792"/>
        <c:axId val="-740828864"/>
      </c:barChart>
      <c:catAx>
        <c:axId val="-740821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8864"/>
        <c:crosses val="autoZero"/>
        <c:auto val="1"/>
        <c:lblAlgn val="ctr"/>
        <c:lblOffset val="100"/>
        <c:noMultiLvlLbl val="0"/>
      </c:catAx>
      <c:valAx>
        <c:axId val="-740828864"/>
        <c:scaling>
          <c:orientation val="minMax"/>
        </c:scaling>
        <c:delete val="0"/>
        <c:axPos val="b"/>
        <c:numFmt formatCode="[$$-409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1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accent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702-4AB5-9CB3-A56F4F4E96EA}"/>
              </c:ext>
            </c:extLst>
          </c:dPt>
          <c:dPt>
            <c:idx val="2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02-4AB5-9CB3-A56F4F4E96EA}"/>
              </c:ext>
            </c:extLst>
          </c:dPt>
          <c:dPt>
            <c:idx val="3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02-4AB5-9CB3-A56F4F4E96EA}"/>
              </c:ext>
            </c:extLst>
          </c:dPt>
          <c:dPt>
            <c:idx val="4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702-4AB5-9CB3-A56F4F4E96EA}"/>
              </c:ext>
            </c:extLst>
          </c:dPt>
          <c:dPt>
            <c:idx val="5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702-4AB5-9CB3-A56F4F4E96E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23</c:v>
                </c:pt>
                <c:pt idx="1">
                  <c:v>0.28000000000000003</c:v>
                </c:pt>
                <c:pt idx="2">
                  <c:v>0.65</c:v>
                </c:pt>
                <c:pt idx="3">
                  <c:v>0.43</c:v>
                </c:pt>
                <c:pt idx="4">
                  <c:v>0.28999999999999998</c:v>
                </c:pt>
                <c:pt idx="5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702-4AB5-9CB3-A56F4F4E96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30"/>
        <c:overlap val="-27"/>
        <c:axId val="-740818528"/>
        <c:axId val="-740817440"/>
      </c:barChart>
      <c:catAx>
        <c:axId val="-740818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2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-740817440"/>
        <c:crosses val="autoZero"/>
        <c:auto val="1"/>
        <c:lblAlgn val="ctr"/>
        <c:lblOffset val="100"/>
        <c:noMultiLvlLbl val="0"/>
      </c:catAx>
      <c:valAx>
        <c:axId val="-74081744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-740818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0">
          <a:solidFill>
            <a:schemeClr val="accent4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pt-B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  <c:pt idx="4">
                  <c:v>Belo Horizonte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0</c:v>
                </c:pt>
                <c:pt idx="1">
                  <c:v>85</c:v>
                </c:pt>
                <c:pt idx="2">
                  <c:v>67</c:v>
                </c:pt>
                <c:pt idx="3">
                  <c:v>85</c:v>
                </c:pt>
                <c:pt idx="4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06-486B-8E07-D2126183A2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  <c:pt idx="4">
                  <c:v>Belo Horizonte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65</c:v>
                </c:pt>
                <c:pt idx="1">
                  <c:v>53</c:v>
                </c:pt>
                <c:pt idx="2">
                  <c:v>44</c:v>
                </c:pt>
                <c:pt idx="3">
                  <c:v>33</c:v>
                </c:pt>
                <c:pt idx="4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06-486B-8E07-D2126183A22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  <c:pt idx="4">
                  <c:v>Belo Horizonte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40</c:v>
                </c:pt>
                <c:pt idx="1">
                  <c:v>25</c:v>
                </c:pt>
                <c:pt idx="2">
                  <c:v>18</c:v>
                </c:pt>
                <c:pt idx="3">
                  <c:v>49</c:v>
                </c:pt>
                <c:pt idx="4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506-486B-8E07-D2126183A22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visã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São Paulo</c:v>
                </c:pt>
                <c:pt idx="1">
                  <c:v>Rio de Janeiro</c:v>
                </c:pt>
                <c:pt idx="2">
                  <c:v>Porto Alegre</c:v>
                </c:pt>
                <c:pt idx="3">
                  <c:v>Fortaleza</c:v>
                </c:pt>
                <c:pt idx="4">
                  <c:v>Belo Horizonte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55</c:v>
                </c:pt>
                <c:pt idx="1">
                  <c:v>65</c:v>
                </c:pt>
                <c:pt idx="2">
                  <c:v>75</c:v>
                </c:pt>
                <c:pt idx="3">
                  <c:v>85</c:v>
                </c:pt>
                <c:pt idx="4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506-486B-8E07-D2126183A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740829952"/>
        <c:axId val="-740823968"/>
      </c:barChart>
      <c:catAx>
        <c:axId val="-740829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3968"/>
        <c:crosses val="autoZero"/>
        <c:auto val="1"/>
        <c:lblAlgn val="ctr"/>
        <c:lblOffset val="100"/>
        <c:noMultiLvlLbl val="0"/>
      </c:catAx>
      <c:valAx>
        <c:axId val="-7408239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995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5E2-45B8-AE9A-AE3CDB52E73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5E2-45B8-AE9A-AE3CDB52E73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5E2-45B8-AE9A-AE3CDB52E73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5E2-45B8-AE9A-AE3CDB52E73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5E2-45B8-AE9A-AE3CDB52E738}"/>
              </c:ext>
            </c:extLst>
          </c:dPt>
          <c:cat>
            <c:strRef>
              <c:f>Sheet1!$A$2:$A$7</c:f>
              <c:strCache>
                <c:ptCount val="6"/>
                <c:pt idx="0">
                  <c:v>Jan</c:v>
                </c:pt>
                <c:pt idx="1">
                  <c:v>Fev</c:v>
                </c:pt>
                <c:pt idx="2">
                  <c:v>Mar</c:v>
                </c:pt>
                <c:pt idx="3">
                  <c:v>Abr</c:v>
                </c:pt>
                <c:pt idx="4">
                  <c:v>Mai</c:v>
                </c:pt>
                <c:pt idx="5">
                  <c:v>Jun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4</c:v>
                </c:pt>
                <c:pt idx="1">
                  <c:v>55</c:v>
                </c:pt>
                <c:pt idx="2">
                  <c:v>65</c:v>
                </c:pt>
                <c:pt idx="3">
                  <c:v>72</c:v>
                </c:pt>
                <c:pt idx="4">
                  <c:v>55</c:v>
                </c:pt>
                <c:pt idx="5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E2-45B8-AE9A-AE3CDB52E7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740826688"/>
        <c:axId val="-740820704"/>
      </c:barChart>
      <c:catAx>
        <c:axId val="-74082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0704"/>
        <c:crosses val="autoZero"/>
        <c:auto val="1"/>
        <c:lblAlgn val="ctr"/>
        <c:lblOffset val="100"/>
        <c:noMultiLvlLbl val="0"/>
      </c:catAx>
      <c:valAx>
        <c:axId val="-740820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6688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DD-4198-8AA8-09EC2F4E15E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DD-4198-8AA8-09EC2F4E15E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DD-4198-8AA8-09EC2F4E15E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DD-4198-8AA8-09EC2F4E15E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FDD-4198-8AA8-09EC2F4E15E5}"/>
              </c:ext>
            </c:extLst>
          </c:dPt>
          <c:cat>
            <c:strRef>
              <c:f>Sheet1!$A$2:$A$7</c:f>
              <c:strCache>
                <c:ptCount val="6"/>
                <c:pt idx="0">
                  <c:v>Jul</c:v>
                </c:pt>
                <c:pt idx="1">
                  <c:v>Ago</c:v>
                </c:pt>
                <c:pt idx="2">
                  <c:v>Set</c:v>
                </c:pt>
                <c:pt idx="3">
                  <c:v>Out</c:v>
                </c:pt>
                <c:pt idx="4">
                  <c:v>Nov</c:v>
                </c:pt>
                <c:pt idx="5">
                  <c:v>Dez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5</c:v>
                </c:pt>
                <c:pt idx="1">
                  <c:v>66</c:v>
                </c:pt>
                <c:pt idx="2">
                  <c:v>72</c:v>
                </c:pt>
                <c:pt idx="3">
                  <c:v>52</c:v>
                </c:pt>
                <c:pt idx="4">
                  <c:v>75</c:v>
                </c:pt>
                <c:pt idx="5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FDD-4198-8AA8-09EC2F4E15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740824512"/>
        <c:axId val="-740823424"/>
      </c:barChart>
      <c:catAx>
        <c:axId val="-74082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3424"/>
        <c:crosses val="autoZero"/>
        <c:auto val="1"/>
        <c:lblAlgn val="ctr"/>
        <c:lblOffset val="100"/>
        <c:noMultiLvlLbl val="0"/>
      </c:catAx>
      <c:valAx>
        <c:axId val="-740823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0824512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rovad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7</c:v>
                </c:pt>
                <c:pt idx="1">
                  <c:v>0.4</c:v>
                </c:pt>
                <c:pt idx="2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0F-4E11-9989-69DE546ADE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ão Aprovado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Sheet1!$C$2:$C$4</c:f>
              <c:numCache>
                <c:formatCode>0%</c:formatCode>
                <c:ptCount val="3"/>
                <c:pt idx="0">
                  <c:v>0.3</c:v>
                </c:pt>
                <c:pt idx="1">
                  <c:v>0.6</c:v>
                </c:pt>
                <c:pt idx="2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0F-4E11-9989-69DE546AD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740816352"/>
        <c:axId val="-740815808"/>
      </c:barChart>
      <c:catAx>
        <c:axId val="-7408163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-740815808"/>
        <c:crosses val="autoZero"/>
        <c:auto val="1"/>
        <c:lblAlgn val="ctr"/>
        <c:lblOffset val="100"/>
        <c:noMultiLvlLbl val="0"/>
      </c:catAx>
      <c:valAx>
        <c:axId val="-7408158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-740816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pt-BR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rovad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5</c:v>
                </c:pt>
                <c:pt idx="1">
                  <c:v>0.8</c:v>
                </c:pt>
                <c:pt idx="2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ED-4269-B1CC-973BD30E9C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ão Aprovado</c:v>
                </c:pt>
              </c:strCache>
            </c:strRef>
          </c:tx>
          <c:spPr>
            <a:solidFill>
              <a:srgbClr val="EC0000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</c:numCache>
            </c:numRef>
          </c:cat>
          <c:val>
            <c:numRef>
              <c:f>Sheet1!$C$2:$C$4</c:f>
              <c:numCache>
                <c:formatCode>0%</c:formatCode>
                <c:ptCount val="3"/>
                <c:pt idx="0">
                  <c:v>0.5</c:v>
                </c:pt>
                <c:pt idx="1">
                  <c:v>0.2</c:v>
                </c:pt>
                <c:pt idx="2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ED-4269-B1CC-973BD30E9C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746778272"/>
        <c:axId val="-746772832"/>
      </c:barChart>
      <c:catAx>
        <c:axId val="-746778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-746772832"/>
        <c:crosses val="autoZero"/>
        <c:auto val="1"/>
        <c:lblAlgn val="ctr"/>
        <c:lblOffset val="100"/>
        <c:noMultiLvlLbl val="0"/>
      </c:catAx>
      <c:valAx>
        <c:axId val="-746772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pt-BR"/>
          </a:p>
        </c:txPr>
        <c:crossAx val="-746778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accent4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pt-BR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ven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EC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C0-402A-9FA3-222057D1333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C0-402A-9FA3-222057D1333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4C0-402A-9FA3-222057D1333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4C0-402A-9FA3-222057D1333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0.44</c:v>
                </c:pt>
                <c:pt idx="1">
                  <c:v>0.55000000000000004</c:v>
                </c:pt>
                <c:pt idx="2">
                  <c:v>0.65</c:v>
                </c:pt>
                <c:pt idx="3">
                  <c:v>0.72</c:v>
                </c:pt>
                <c:pt idx="4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4C0-402A-9FA3-222057D133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746777728"/>
        <c:axId val="-746779904"/>
      </c:barChart>
      <c:catAx>
        <c:axId val="-746777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50" b="0" i="0" u="none" strike="noStrike" kern="1200" baseline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pPr>
            <a:endParaRPr lang="pt-BR"/>
          </a:p>
        </c:txPr>
        <c:crossAx val="-746779904"/>
        <c:crosses val="autoZero"/>
        <c:auto val="1"/>
        <c:lblAlgn val="ctr"/>
        <c:lblOffset val="100"/>
        <c:noMultiLvlLbl val="0"/>
      </c:catAx>
      <c:valAx>
        <c:axId val="-74677990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74677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4"/>
          </a:solidFill>
          <a:latin typeface="Lato" panose="020F0502020204030203" pitchFamily="34" charset="0"/>
          <a:ea typeface="Open Sans Light" panose="020B0306030504020204" pitchFamily="34" charset="0"/>
          <a:cs typeface="Open Sans Light" panose="020B0306030504020204" pitchFamily="34" charset="0"/>
        </a:defRPr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>
                <a:lumMod val="20000"/>
                <a:lumOff val="80000"/>
              </a:schemeClr>
            </a:solidFill>
          </c:spPr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8E6-4995-8D0B-8AB388E3606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8E6-4995-8D0B-8AB388E3606C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.6</c:v>
                </c:pt>
                <c:pt idx="1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E6-4995-8D0B-8AB388E360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46-481A-8C4F-71D216EAADFD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46-481A-8C4F-71D216EAADF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246-481A-8C4F-71D216EAADFD}"/>
              </c:ext>
            </c:extLst>
          </c:dPt>
          <c:dPt>
            <c:idx val="3"/>
            <c:bubble3D val="0"/>
            <c:spPr>
              <a:solidFill>
                <a:srgbClr val="EC0000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246-481A-8C4F-71D216EAADFD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</c:v>
                </c:pt>
                <c:pt idx="1">
                  <c:v>0.18</c:v>
                </c:pt>
                <c:pt idx="2">
                  <c:v>0.14000000000000001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246-481A-8C4F-71D216EAAD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E98-47DD-95E9-1E22E00A3CA7}"/>
              </c:ext>
            </c:extLst>
          </c:dPt>
          <c:dPt>
            <c:idx val="1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98-47DD-95E9-1E22E00A3CA7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27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98-47DD-95E9-1E22E00A3CA7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E98-47DD-95E9-1E22E00A3CA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</c:v>
                </c:pt>
                <c:pt idx="1">
                  <c:v>32</c:v>
                </c:pt>
                <c:pt idx="2">
                  <c:v>39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E98-47DD-95E9-1E22E00A3C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AF-484B-9C9E-338E941F2F49}"/>
              </c:ext>
            </c:extLst>
          </c:dPt>
          <c:dPt>
            <c:idx val="1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AF-484B-9C9E-338E941F2F4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8AF-484B-9C9E-338E941F2F4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8AF-484B-9C9E-338E941F2F4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Lato" panose="020F0502020204030203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82</c:v>
                </c:pt>
                <c:pt idx="1">
                  <c:v>0.32</c:v>
                </c:pt>
                <c:pt idx="2">
                  <c:v>0.14000000000000001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AF-484B-9C9E-338E941F2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C1-40C4-9AC3-F3597613282E}"/>
              </c:ext>
            </c:extLst>
          </c:dPt>
          <c:dPt>
            <c:idx val="1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C1-40C4-9AC3-F3597613282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</c:v>
                </c:pt>
                <c:pt idx="1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C1-40C4-9AC3-F35976132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01-4091-AF42-AD0B0698ECF5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01-4091-AF42-AD0B0698ECF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</c:v>
                </c:pt>
                <c:pt idx="1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F01-4091-AF42-AD0B0698EC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EC0000"/>
            </a:solidFill>
          </c:spPr>
          <c:dPt>
            <c:idx val="0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94-47CB-9FC2-63E0903B2337}"/>
              </c:ext>
            </c:extLst>
          </c:dPt>
          <c:dPt>
            <c:idx val="1"/>
            <c:bubble3D val="0"/>
            <c:spPr>
              <a:solidFill>
                <a:srgbClr val="EC0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94-47CB-9FC2-63E0903B2337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94-47CB-9FC2-63E0903B23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12700"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D28E6C-8D45-4344-89DE-3AFB96044BD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555A721-C43A-4562-9806-D8E8D6279F87}">
      <dgm:prSet phldrT="[Text]" custT="1"/>
      <dgm:spPr>
        <a:solidFill>
          <a:srgbClr val="EC0000"/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Aft>
              <a:spcPts val="0"/>
            </a:spcAft>
          </a:pPr>
          <a:r>
            <a:rPr lang="en-US" sz="1000" b="1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João Paulo</a:t>
          </a:r>
        </a:p>
        <a:p>
          <a:pPr>
            <a:lnSpc>
              <a:spcPct val="120000"/>
            </a:lnSpc>
            <a:spcAft>
              <a:spcPts val="0"/>
            </a:spcAft>
          </a:pP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rente</a:t>
          </a: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 </a:t>
          </a: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ral</a:t>
          </a:r>
          <a:endParaRPr lang="en-US" sz="800" b="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592304EF-571E-4CA8-BE5E-189EEB2335E0}" type="parTrans" cxnId="{0602E25B-B7FC-43C5-8B8E-BC94AA3219F4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0D115665-93B7-4F33-9C5C-257FE4B64683}" type="sibTrans" cxnId="{0602E25B-B7FC-43C5-8B8E-BC94AA3219F4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7C6964A2-36F4-4662-A5C1-36EEE57B67C3}" type="asst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Aft>
              <a:spcPts val="0"/>
            </a:spcAft>
          </a:pPr>
          <a:r>
            <a:rPr lang="en-US" sz="1000" b="1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Maria </a:t>
          </a:r>
          <a:r>
            <a:rPr lang="en-US" sz="1000" b="1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fernandes</a:t>
          </a:r>
          <a:endParaRPr lang="en-US" sz="1000" b="1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>
            <a:lnSpc>
              <a:spcPct val="120000"/>
            </a:lnSpc>
            <a:spcAft>
              <a:spcPts val="0"/>
            </a:spcAft>
          </a:pP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Vice </a:t>
          </a: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Presidente</a:t>
          </a:r>
          <a:endParaRPr lang="en-US" sz="800" b="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66B9EC05-F666-424F-AC56-8E9AA39B9AF6}" type="parTrans" cxnId="{EBCED961-7D61-4E9E-8B97-35C18FF9C886}">
      <dgm:prSet/>
      <dgm:spPr>
        <a:ln w="6350">
          <a:solidFill>
            <a:schemeClr val="accent5"/>
          </a:solidFill>
          <a:tailEnd type="triangle" w="sm" len="sm"/>
        </a:ln>
      </dgm:spPr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9C511DE2-79AE-4D9E-9905-D6095324DC2F}" type="sibTrans" cxnId="{EBCED961-7D61-4E9E-8B97-35C18FF9C886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D8A2A281-E512-489A-A9CF-089F13ED527E}">
      <dgm:prSet phldrT="[Text]" custT="1"/>
      <dgm:spPr>
        <a:solidFill>
          <a:schemeClr val="accent4"/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Aft>
              <a:spcPts val="0"/>
            </a:spcAft>
          </a:pPr>
          <a:r>
            <a:rPr lang="en-US" sz="1000" b="1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Gustavo Alves</a:t>
          </a:r>
        </a:p>
        <a:p>
          <a:pPr>
            <a:lnSpc>
              <a:spcPct val="120000"/>
            </a:lnSpc>
            <a:spcAft>
              <a:spcPts val="0"/>
            </a:spcAft>
          </a:pP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de </a:t>
          </a: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Novos</a:t>
          </a: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 </a:t>
          </a: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Negócios</a:t>
          </a:r>
          <a:endParaRPr lang="en-US" sz="800" b="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27385B77-D3CB-4E1A-BF34-5F88A4546796}" type="parTrans" cxnId="{91EA2889-50DD-463F-8231-276F3B42498D}">
      <dgm:prSet/>
      <dgm:spPr>
        <a:ln w="6350">
          <a:solidFill>
            <a:schemeClr val="accent5"/>
          </a:solidFill>
          <a:tailEnd type="triangle" w="sm" len="sm"/>
        </a:ln>
      </dgm:spPr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D109EDEC-76AE-46F8-A2D4-781B46FC9759}" type="sibTrans" cxnId="{91EA2889-50DD-463F-8231-276F3B42498D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A4A11415-C62E-443A-B370-032168F35CA2}">
      <dgm:prSet phldrT="[Text]" custT="1"/>
      <dgm:spPr>
        <a:solidFill>
          <a:schemeClr val="accent4"/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Aft>
              <a:spcPts val="0"/>
            </a:spcAft>
          </a:pPr>
          <a:r>
            <a:rPr lang="en-US" sz="1000" b="1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Willian </a:t>
          </a:r>
          <a:r>
            <a:rPr lang="en-US" sz="1000" b="1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santos</a:t>
          </a:r>
          <a:endParaRPr lang="en-US" sz="1000" b="1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>
            <a:lnSpc>
              <a:spcPct val="120000"/>
            </a:lnSpc>
            <a:spcAft>
              <a:spcPts val="0"/>
            </a:spcAft>
          </a:pP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</a:t>
          </a:r>
          <a:r>
            <a:rPr lang="en-US" sz="800" b="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Comercial</a:t>
          </a:r>
          <a:endParaRPr lang="en-US" sz="800" b="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gm:t>
    </dgm:pt>
    <dgm:pt modelId="{F32BFF82-CFA2-45B6-8AB0-6117BF2D21FF}" type="parTrans" cxnId="{15040D92-C7C8-4AC7-B7F8-3036A2CF4674}">
      <dgm:prSet/>
      <dgm:spPr>
        <a:ln w="6350">
          <a:solidFill>
            <a:schemeClr val="accent5"/>
          </a:solidFill>
          <a:tailEnd type="triangle" w="sm" len="sm"/>
        </a:ln>
      </dgm:spPr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</a:endParaRPr>
        </a:p>
      </dgm:t>
    </dgm:pt>
    <dgm:pt modelId="{F0AD23B9-4A0B-4F16-BB9B-B2B812D1A59A}" type="sibTrans" cxnId="{15040D92-C7C8-4AC7-B7F8-3036A2CF4674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</a:endParaRPr>
        </a:p>
      </dgm:t>
    </dgm:pt>
    <dgm:pt modelId="{E83F49FC-C35A-4F17-BB68-A4585F705616}">
      <dgm:prSet phldrT="[Text]" custT="1"/>
      <dgm:spPr>
        <a:solidFill>
          <a:schemeClr val="accent4"/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Aft>
              <a:spcPts val="0"/>
            </a:spcAft>
          </a:pPr>
          <a:r>
            <a:rPr lang="en-US" sz="1000" b="1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Laura </a:t>
          </a:r>
          <a:r>
            <a:rPr lang="en-US" sz="1000" b="1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mendes</a:t>
          </a:r>
          <a:endParaRPr lang="en-US" sz="1000" b="1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>
            <a:lnSpc>
              <a:spcPct val="120000"/>
            </a:lnSpc>
            <a:spcAft>
              <a:spcPts val="0"/>
            </a:spcAft>
          </a:pPr>
          <a:r>
            <a:rPr lang="en-US" sz="800" b="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de Marketing Digital</a:t>
          </a:r>
        </a:p>
      </dgm:t>
    </dgm:pt>
    <dgm:pt modelId="{080425C2-F32D-4466-9A99-3FE5A80CEBEE}" type="parTrans" cxnId="{BDD19C91-B545-4922-86CB-1FAA7490194B}">
      <dgm:prSet/>
      <dgm:spPr>
        <a:ln w="6350">
          <a:solidFill>
            <a:schemeClr val="accent5"/>
          </a:solidFill>
          <a:tailEnd type="triangle" w="sm" len="sm"/>
        </a:ln>
      </dgm:spPr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</a:endParaRPr>
        </a:p>
      </dgm:t>
    </dgm:pt>
    <dgm:pt modelId="{D2C07E11-E337-4D00-82E4-FF4FC7DD7B3E}" type="sibTrans" cxnId="{BDD19C91-B545-4922-86CB-1FAA7490194B}">
      <dgm:prSet/>
      <dgm:spPr/>
      <dgm:t>
        <a:bodyPr/>
        <a:lstStyle/>
        <a:p>
          <a:pPr>
            <a:lnSpc>
              <a:spcPct val="120000"/>
            </a:lnSpc>
          </a:pPr>
          <a:endParaRPr lang="en-US" sz="900" b="1">
            <a:latin typeface="Lato" panose="020F0502020204030203" pitchFamily="34" charset="0"/>
          </a:endParaRPr>
        </a:p>
      </dgm:t>
    </dgm:pt>
    <dgm:pt modelId="{37A5C3F5-C72D-4180-A0D6-0C5BBDBA9002}" type="pres">
      <dgm:prSet presAssocID="{E2D28E6C-8D45-4344-89DE-3AFB96044BD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BB17C53-F591-4E86-B1C3-367B34DD6AC6}" type="pres">
      <dgm:prSet presAssocID="{1555A721-C43A-4562-9806-D8E8D6279F87}" presName="hierRoot1" presStyleCnt="0">
        <dgm:presLayoutVars>
          <dgm:hierBranch val="init"/>
        </dgm:presLayoutVars>
      </dgm:prSet>
      <dgm:spPr/>
    </dgm:pt>
    <dgm:pt modelId="{FFF9FEFB-F8D4-4D57-BB11-414D5CE8A84D}" type="pres">
      <dgm:prSet presAssocID="{1555A721-C43A-4562-9806-D8E8D6279F87}" presName="rootComposite1" presStyleCnt="0"/>
      <dgm:spPr/>
    </dgm:pt>
    <dgm:pt modelId="{FAE67D6F-3FA8-414F-A97C-25A4A63A834C}" type="pres">
      <dgm:prSet presAssocID="{1555A721-C43A-4562-9806-D8E8D6279F87}" presName="rootText1" presStyleLbl="node0" presStyleIdx="0" presStyleCnt="1" custScaleX="142574" custScaleY="72058">
        <dgm:presLayoutVars>
          <dgm:chPref val="3"/>
        </dgm:presLayoutVars>
      </dgm:prSet>
      <dgm:spPr/>
    </dgm:pt>
    <dgm:pt modelId="{14A0D5BE-38AE-403E-835F-5CEC75064AED}" type="pres">
      <dgm:prSet presAssocID="{1555A721-C43A-4562-9806-D8E8D6279F87}" presName="rootConnector1" presStyleLbl="node1" presStyleIdx="0" presStyleCnt="0"/>
      <dgm:spPr/>
    </dgm:pt>
    <dgm:pt modelId="{ACB42167-486D-42C0-9459-89D4A3362D5A}" type="pres">
      <dgm:prSet presAssocID="{1555A721-C43A-4562-9806-D8E8D6279F87}" presName="hierChild2" presStyleCnt="0"/>
      <dgm:spPr/>
    </dgm:pt>
    <dgm:pt modelId="{42059321-A605-4D06-A1BC-3EDC1D0CEFAE}" type="pres">
      <dgm:prSet presAssocID="{27385B77-D3CB-4E1A-BF34-5F88A4546796}" presName="Name37" presStyleLbl="parChTrans1D2" presStyleIdx="0" presStyleCnt="4"/>
      <dgm:spPr/>
    </dgm:pt>
    <dgm:pt modelId="{AA326C0B-2CB6-4DAD-8968-E8567283C69B}" type="pres">
      <dgm:prSet presAssocID="{D8A2A281-E512-489A-A9CF-089F13ED527E}" presName="hierRoot2" presStyleCnt="0">
        <dgm:presLayoutVars>
          <dgm:hierBranch val="init"/>
        </dgm:presLayoutVars>
      </dgm:prSet>
      <dgm:spPr/>
    </dgm:pt>
    <dgm:pt modelId="{F4023D27-B413-40DF-B6F2-0BD04964E0EF}" type="pres">
      <dgm:prSet presAssocID="{D8A2A281-E512-489A-A9CF-089F13ED527E}" presName="rootComposite" presStyleCnt="0"/>
      <dgm:spPr/>
    </dgm:pt>
    <dgm:pt modelId="{A16C6CC1-14E2-468D-91C3-62C84E7536ED}" type="pres">
      <dgm:prSet presAssocID="{D8A2A281-E512-489A-A9CF-089F13ED527E}" presName="rootText" presStyleLbl="node2" presStyleIdx="0" presStyleCnt="3" custScaleX="142574" custScaleY="72601" custLinFactNeighborX="-52074" custLinFactNeighborY="15541">
        <dgm:presLayoutVars>
          <dgm:chPref val="3"/>
        </dgm:presLayoutVars>
      </dgm:prSet>
      <dgm:spPr/>
    </dgm:pt>
    <dgm:pt modelId="{80A12DD4-B6BE-4AF4-B056-C3F21F77B324}" type="pres">
      <dgm:prSet presAssocID="{D8A2A281-E512-489A-A9CF-089F13ED527E}" presName="rootConnector" presStyleLbl="node2" presStyleIdx="0" presStyleCnt="3"/>
      <dgm:spPr/>
    </dgm:pt>
    <dgm:pt modelId="{76566C26-F8FF-45BB-9C69-23D766EABB04}" type="pres">
      <dgm:prSet presAssocID="{D8A2A281-E512-489A-A9CF-089F13ED527E}" presName="hierChild4" presStyleCnt="0"/>
      <dgm:spPr/>
    </dgm:pt>
    <dgm:pt modelId="{1609822B-4BCF-46D5-A7C1-BD562F737C48}" type="pres">
      <dgm:prSet presAssocID="{D8A2A281-E512-489A-A9CF-089F13ED527E}" presName="hierChild5" presStyleCnt="0"/>
      <dgm:spPr/>
    </dgm:pt>
    <dgm:pt modelId="{D34D0675-43DD-4A2C-B57B-4D41DD13241C}" type="pres">
      <dgm:prSet presAssocID="{080425C2-F32D-4466-9A99-3FE5A80CEBEE}" presName="Name37" presStyleLbl="parChTrans1D2" presStyleIdx="1" presStyleCnt="4"/>
      <dgm:spPr/>
    </dgm:pt>
    <dgm:pt modelId="{52D66D26-DA21-482B-A3BF-3EA0C1848E29}" type="pres">
      <dgm:prSet presAssocID="{E83F49FC-C35A-4F17-BB68-A4585F705616}" presName="hierRoot2" presStyleCnt="0">
        <dgm:presLayoutVars>
          <dgm:hierBranch val="init"/>
        </dgm:presLayoutVars>
      </dgm:prSet>
      <dgm:spPr/>
    </dgm:pt>
    <dgm:pt modelId="{DD797F66-5D82-48E1-A7F2-FDA2B25A7A9B}" type="pres">
      <dgm:prSet presAssocID="{E83F49FC-C35A-4F17-BB68-A4585F705616}" presName="rootComposite" presStyleCnt="0"/>
      <dgm:spPr/>
    </dgm:pt>
    <dgm:pt modelId="{9F47D52B-B747-4A55-B047-09BF7A04D211}" type="pres">
      <dgm:prSet presAssocID="{E83F49FC-C35A-4F17-BB68-A4585F705616}" presName="rootText" presStyleLbl="node2" presStyleIdx="1" presStyleCnt="3" custScaleX="142574" custScaleY="72601" custLinFactNeighborY="15541">
        <dgm:presLayoutVars>
          <dgm:chPref val="3"/>
        </dgm:presLayoutVars>
      </dgm:prSet>
      <dgm:spPr/>
    </dgm:pt>
    <dgm:pt modelId="{4E8C27EF-815F-4431-B669-C77F278C6CB2}" type="pres">
      <dgm:prSet presAssocID="{E83F49FC-C35A-4F17-BB68-A4585F705616}" presName="rootConnector" presStyleLbl="node2" presStyleIdx="1" presStyleCnt="3"/>
      <dgm:spPr/>
    </dgm:pt>
    <dgm:pt modelId="{4DE9B6A4-493E-4B60-B9ED-2884725B5E81}" type="pres">
      <dgm:prSet presAssocID="{E83F49FC-C35A-4F17-BB68-A4585F705616}" presName="hierChild4" presStyleCnt="0"/>
      <dgm:spPr/>
    </dgm:pt>
    <dgm:pt modelId="{FEACCC78-5865-4C16-9E5B-FBA67BC81A6C}" type="pres">
      <dgm:prSet presAssocID="{E83F49FC-C35A-4F17-BB68-A4585F705616}" presName="hierChild5" presStyleCnt="0"/>
      <dgm:spPr/>
    </dgm:pt>
    <dgm:pt modelId="{BE260FD5-8810-436F-9100-6D3B6B1E4097}" type="pres">
      <dgm:prSet presAssocID="{F32BFF82-CFA2-45B6-8AB0-6117BF2D21FF}" presName="Name37" presStyleLbl="parChTrans1D2" presStyleIdx="2" presStyleCnt="4"/>
      <dgm:spPr/>
    </dgm:pt>
    <dgm:pt modelId="{59A1499A-F947-4029-9B37-1413E6E9FD25}" type="pres">
      <dgm:prSet presAssocID="{A4A11415-C62E-443A-B370-032168F35CA2}" presName="hierRoot2" presStyleCnt="0">
        <dgm:presLayoutVars>
          <dgm:hierBranch val="init"/>
        </dgm:presLayoutVars>
      </dgm:prSet>
      <dgm:spPr/>
    </dgm:pt>
    <dgm:pt modelId="{E537896D-5C39-479D-8317-6842BB5BDB2E}" type="pres">
      <dgm:prSet presAssocID="{A4A11415-C62E-443A-B370-032168F35CA2}" presName="rootComposite" presStyleCnt="0"/>
      <dgm:spPr/>
    </dgm:pt>
    <dgm:pt modelId="{A93D7714-4679-4AF9-BB55-FF50E8F3798F}" type="pres">
      <dgm:prSet presAssocID="{A4A11415-C62E-443A-B370-032168F35CA2}" presName="rootText" presStyleLbl="node2" presStyleIdx="2" presStyleCnt="3" custScaleX="142574" custScaleY="72601" custLinFactNeighborX="52074" custLinFactNeighborY="15541">
        <dgm:presLayoutVars>
          <dgm:chPref val="3"/>
        </dgm:presLayoutVars>
      </dgm:prSet>
      <dgm:spPr/>
    </dgm:pt>
    <dgm:pt modelId="{81E2F70E-E865-489D-9292-E99DBC54A971}" type="pres">
      <dgm:prSet presAssocID="{A4A11415-C62E-443A-B370-032168F35CA2}" presName="rootConnector" presStyleLbl="node2" presStyleIdx="2" presStyleCnt="3"/>
      <dgm:spPr/>
    </dgm:pt>
    <dgm:pt modelId="{BBE4BD35-537B-45FB-AA4D-1CB139896542}" type="pres">
      <dgm:prSet presAssocID="{A4A11415-C62E-443A-B370-032168F35CA2}" presName="hierChild4" presStyleCnt="0"/>
      <dgm:spPr/>
    </dgm:pt>
    <dgm:pt modelId="{B6C7137E-D11B-4CA5-AEDA-B7C7C279EEC5}" type="pres">
      <dgm:prSet presAssocID="{A4A11415-C62E-443A-B370-032168F35CA2}" presName="hierChild5" presStyleCnt="0"/>
      <dgm:spPr/>
    </dgm:pt>
    <dgm:pt modelId="{C17EA5A4-C685-4E6E-83C8-DA7D04B1A9E2}" type="pres">
      <dgm:prSet presAssocID="{1555A721-C43A-4562-9806-D8E8D6279F87}" presName="hierChild3" presStyleCnt="0"/>
      <dgm:spPr/>
    </dgm:pt>
    <dgm:pt modelId="{A557DAB3-E522-4368-9EBD-078C937D2A79}" type="pres">
      <dgm:prSet presAssocID="{66B9EC05-F666-424F-AC56-8E9AA39B9AF6}" presName="Name111" presStyleLbl="parChTrans1D2" presStyleIdx="3" presStyleCnt="4"/>
      <dgm:spPr/>
    </dgm:pt>
    <dgm:pt modelId="{96AD3BEB-E037-4649-9D0F-C13442E6C478}" type="pres">
      <dgm:prSet presAssocID="{7C6964A2-36F4-4662-A5C1-36EEE57B67C3}" presName="hierRoot3" presStyleCnt="0">
        <dgm:presLayoutVars>
          <dgm:hierBranch val="init"/>
        </dgm:presLayoutVars>
      </dgm:prSet>
      <dgm:spPr/>
    </dgm:pt>
    <dgm:pt modelId="{A91400B0-AB93-4930-8F88-0F3034FBE346}" type="pres">
      <dgm:prSet presAssocID="{7C6964A2-36F4-4662-A5C1-36EEE57B67C3}" presName="rootComposite3" presStyleCnt="0"/>
      <dgm:spPr/>
    </dgm:pt>
    <dgm:pt modelId="{834D5EFE-8378-4167-A2DD-5E64A5AD8B03}" type="pres">
      <dgm:prSet presAssocID="{7C6964A2-36F4-4662-A5C1-36EEE57B67C3}" presName="rootText3" presStyleLbl="asst1" presStyleIdx="0" presStyleCnt="1" custScaleX="142574" custScaleY="72601">
        <dgm:presLayoutVars>
          <dgm:chPref val="3"/>
        </dgm:presLayoutVars>
      </dgm:prSet>
      <dgm:spPr/>
    </dgm:pt>
    <dgm:pt modelId="{3030740E-D059-4560-AA8C-9569949E26B4}" type="pres">
      <dgm:prSet presAssocID="{7C6964A2-36F4-4662-A5C1-36EEE57B67C3}" presName="rootConnector3" presStyleLbl="asst1" presStyleIdx="0" presStyleCnt="1"/>
      <dgm:spPr/>
    </dgm:pt>
    <dgm:pt modelId="{1BC6928F-FAFF-43AE-843B-E9CF041DA64F}" type="pres">
      <dgm:prSet presAssocID="{7C6964A2-36F4-4662-A5C1-36EEE57B67C3}" presName="hierChild6" presStyleCnt="0"/>
      <dgm:spPr/>
    </dgm:pt>
    <dgm:pt modelId="{8E7FB245-78EE-4FC9-AE9F-7861D89DF594}" type="pres">
      <dgm:prSet presAssocID="{7C6964A2-36F4-4662-A5C1-36EEE57B67C3}" presName="hierChild7" presStyleCnt="0"/>
      <dgm:spPr/>
    </dgm:pt>
  </dgm:ptLst>
  <dgm:cxnLst>
    <dgm:cxn modelId="{B053E408-7112-49D4-B880-97F6001661C2}" type="presOf" srcId="{E83F49FC-C35A-4F17-BB68-A4585F705616}" destId="{4E8C27EF-815F-4431-B669-C77F278C6CB2}" srcOrd="1" destOrd="0" presId="urn:microsoft.com/office/officeart/2005/8/layout/orgChart1"/>
    <dgm:cxn modelId="{289ED924-0016-4A20-B6CB-199CD08DF416}" type="presOf" srcId="{D8A2A281-E512-489A-A9CF-089F13ED527E}" destId="{A16C6CC1-14E2-468D-91C3-62C84E7536ED}" srcOrd="0" destOrd="0" presId="urn:microsoft.com/office/officeart/2005/8/layout/orgChart1"/>
    <dgm:cxn modelId="{0B95012F-6560-4F38-992C-AFD82170C35E}" type="presOf" srcId="{D8A2A281-E512-489A-A9CF-089F13ED527E}" destId="{80A12DD4-B6BE-4AF4-B056-C3F21F77B324}" srcOrd="1" destOrd="0" presId="urn:microsoft.com/office/officeart/2005/8/layout/orgChart1"/>
    <dgm:cxn modelId="{0602E25B-B7FC-43C5-8B8E-BC94AA3219F4}" srcId="{E2D28E6C-8D45-4344-89DE-3AFB96044BD7}" destId="{1555A721-C43A-4562-9806-D8E8D6279F87}" srcOrd="0" destOrd="0" parTransId="{592304EF-571E-4CA8-BE5E-189EEB2335E0}" sibTransId="{0D115665-93B7-4F33-9C5C-257FE4B64683}"/>
    <dgm:cxn modelId="{EBCED961-7D61-4E9E-8B97-35C18FF9C886}" srcId="{1555A721-C43A-4562-9806-D8E8D6279F87}" destId="{7C6964A2-36F4-4662-A5C1-36EEE57B67C3}" srcOrd="0" destOrd="0" parTransId="{66B9EC05-F666-424F-AC56-8E9AA39B9AF6}" sibTransId="{9C511DE2-79AE-4D9E-9905-D6095324DC2F}"/>
    <dgm:cxn modelId="{F37DE542-B29D-4306-84D8-CD8047879A3E}" type="presOf" srcId="{A4A11415-C62E-443A-B370-032168F35CA2}" destId="{81E2F70E-E865-489D-9292-E99DBC54A971}" srcOrd="1" destOrd="0" presId="urn:microsoft.com/office/officeart/2005/8/layout/orgChart1"/>
    <dgm:cxn modelId="{19A9B643-9C40-4FA1-84CD-D98DA8DE2FC6}" type="presOf" srcId="{080425C2-F32D-4466-9A99-3FE5A80CEBEE}" destId="{D34D0675-43DD-4A2C-B57B-4D41DD13241C}" srcOrd="0" destOrd="0" presId="urn:microsoft.com/office/officeart/2005/8/layout/orgChart1"/>
    <dgm:cxn modelId="{150E1B83-AD04-4F21-9C7B-68C0512B1B6B}" type="presOf" srcId="{1555A721-C43A-4562-9806-D8E8D6279F87}" destId="{14A0D5BE-38AE-403E-835F-5CEC75064AED}" srcOrd="1" destOrd="0" presId="urn:microsoft.com/office/officeart/2005/8/layout/orgChart1"/>
    <dgm:cxn modelId="{91EA2889-50DD-463F-8231-276F3B42498D}" srcId="{1555A721-C43A-4562-9806-D8E8D6279F87}" destId="{D8A2A281-E512-489A-A9CF-089F13ED527E}" srcOrd="1" destOrd="0" parTransId="{27385B77-D3CB-4E1A-BF34-5F88A4546796}" sibTransId="{D109EDEC-76AE-46F8-A2D4-781B46FC9759}"/>
    <dgm:cxn modelId="{BDD19C91-B545-4922-86CB-1FAA7490194B}" srcId="{1555A721-C43A-4562-9806-D8E8D6279F87}" destId="{E83F49FC-C35A-4F17-BB68-A4585F705616}" srcOrd="2" destOrd="0" parTransId="{080425C2-F32D-4466-9A99-3FE5A80CEBEE}" sibTransId="{D2C07E11-E337-4D00-82E4-FF4FC7DD7B3E}"/>
    <dgm:cxn modelId="{15040D92-C7C8-4AC7-B7F8-3036A2CF4674}" srcId="{1555A721-C43A-4562-9806-D8E8D6279F87}" destId="{A4A11415-C62E-443A-B370-032168F35CA2}" srcOrd="3" destOrd="0" parTransId="{F32BFF82-CFA2-45B6-8AB0-6117BF2D21FF}" sibTransId="{F0AD23B9-4A0B-4F16-BB9B-B2B812D1A59A}"/>
    <dgm:cxn modelId="{16660BA5-EB24-4EF5-9ACB-888DECC05ADD}" type="presOf" srcId="{E2D28E6C-8D45-4344-89DE-3AFB96044BD7}" destId="{37A5C3F5-C72D-4180-A0D6-0C5BBDBA9002}" srcOrd="0" destOrd="0" presId="urn:microsoft.com/office/officeart/2005/8/layout/orgChart1"/>
    <dgm:cxn modelId="{FCD6BFAB-B30D-40C3-9F8C-9C5FAF200BCD}" type="presOf" srcId="{7C6964A2-36F4-4662-A5C1-36EEE57B67C3}" destId="{834D5EFE-8378-4167-A2DD-5E64A5AD8B03}" srcOrd="0" destOrd="0" presId="urn:microsoft.com/office/officeart/2005/8/layout/orgChart1"/>
    <dgm:cxn modelId="{C52D2DB0-3310-4CB2-8F65-9BC7DA5CB4FF}" type="presOf" srcId="{A4A11415-C62E-443A-B370-032168F35CA2}" destId="{A93D7714-4679-4AF9-BB55-FF50E8F3798F}" srcOrd="0" destOrd="0" presId="urn:microsoft.com/office/officeart/2005/8/layout/orgChart1"/>
    <dgm:cxn modelId="{2184C2D8-366F-40EF-ACBB-F93E9893E99E}" type="presOf" srcId="{7C6964A2-36F4-4662-A5C1-36EEE57B67C3}" destId="{3030740E-D059-4560-AA8C-9569949E26B4}" srcOrd="1" destOrd="0" presId="urn:microsoft.com/office/officeart/2005/8/layout/orgChart1"/>
    <dgm:cxn modelId="{A68682E6-AECF-4998-8377-2BF6FEEB7657}" type="presOf" srcId="{F32BFF82-CFA2-45B6-8AB0-6117BF2D21FF}" destId="{BE260FD5-8810-436F-9100-6D3B6B1E4097}" srcOrd="0" destOrd="0" presId="urn:microsoft.com/office/officeart/2005/8/layout/orgChart1"/>
    <dgm:cxn modelId="{C3E990E6-3774-4D55-A222-E96B8A9E7051}" type="presOf" srcId="{1555A721-C43A-4562-9806-D8E8D6279F87}" destId="{FAE67D6F-3FA8-414F-A97C-25A4A63A834C}" srcOrd="0" destOrd="0" presId="urn:microsoft.com/office/officeart/2005/8/layout/orgChart1"/>
    <dgm:cxn modelId="{7938DFE6-E985-4E28-A1BD-4364AE2BA250}" type="presOf" srcId="{27385B77-D3CB-4E1A-BF34-5F88A4546796}" destId="{42059321-A605-4D06-A1BC-3EDC1D0CEFAE}" srcOrd="0" destOrd="0" presId="urn:microsoft.com/office/officeart/2005/8/layout/orgChart1"/>
    <dgm:cxn modelId="{CC28A0F3-0E81-43ED-82D2-1A4EFC827860}" type="presOf" srcId="{E83F49FC-C35A-4F17-BB68-A4585F705616}" destId="{9F47D52B-B747-4A55-B047-09BF7A04D211}" srcOrd="0" destOrd="0" presId="urn:microsoft.com/office/officeart/2005/8/layout/orgChart1"/>
    <dgm:cxn modelId="{DCC42FFE-623B-4FC2-9694-17C150B39197}" type="presOf" srcId="{66B9EC05-F666-424F-AC56-8E9AA39B9AF6}" destId="{A557DAB3-E522-4368-9EBD-078C937D2A79}" srcOrd="0" destOrd="0" presId="urn:microsoft.com/office/officeart/2005/8/layout/orgChart1"/>
    <dgm:cxn modelId="{5A4484F4-64F0-4ED1-89F1-82E03F8FB8AC}" type="presParOf" srcId="{37A5C3F5-C72D-4180-A0D6-0C5BBDBA9002}" destId="{5BB17C53-F591-4E86-B1C3-367B34DD6AC6}" srcOrd="0" destOrd="0" presId="urn:microsoft.com/office/officeart/2005/8/layout/orgChart1"/>
    <dgm:cxn modelId="{E7A574C1-514A-434B-AEBD-6C6A28B87ACF}" type="presParOf" srcId="{5BB17C53-F591-4E86-B1C3-367B34DD6AC6}" destId="{FFF9FEFB-F8D4-4D57-BB11-414D5CE8A84D}" srcOrd="0" destOrd="0" presId="urn:microsoft.com/office/officeart/2005/8/layout/orgChart1"/>
    <dgm:cxn modelId="{E8BD88CA-58D1-4A5E-87D0-C5CECC5FAD1F}" type="presParOf" srcId="{FFF9FEFB-F8D4-4D57-BB11-414D5CE8A84D}" destId="{FAE67D6F-3FA8-414F-A97C-25A4A63A834C}" srcOrd="0" destOrd="0" presId="urn:microsoft.com/office/officeart/2005/8/layout/orgChart1"/>
    <dgm:cxn modelId="{77F408C6-14D2-4AFC-B06C-74B7139436E0}" type="presParOf" srcId="{FFF9FEFB-F8D4-4D57-BB11-414D5CE8A84D}" destId="{14A0D5BE-38AE-403E-835F-5CEC75064AED}" srcOrd="1" destOrd="0" presId="urn:microsoft.com/office/officeart/2005/8/layout/orgChart1"/>
    <dgm:cxn modelId="{1AC7C1DF-F32B-43D5-A525-27A364BCD757}" type="presParOf" srcId="{5BB17C53-F591-4E86-B1C3-367B34DD6AC6}" destId="{ACB42167-486D-42C0-9459-89D4A3362D5A}" srcOrd="1" destOrd="0" presId="urn:microsoft.com/office/officeart/2005/8/layout/orgChart1"/>
    <dgm:cxn modelId="{5021FCB8-3625-4670-B178-0978938A6E60}" type="presParOf" srcId="{ACB42167-486D-42C0-9459-89D4A3362D5A}" destId="{42059321-A605-4D06-A1BC-3EDC1D0CEFAE}" srcOrd="0" destOrd="0" presId="urn:microsoft.com/office/officeart/2005/8/layout/orgChart1"/>
    <dgm:cxn modelId="{E40F9273-D6B0-4041-B3AC-0E4FC05F6370}" type="presParOf" srcId="{ACB42167-486D-42C0-9459-89D4A3362D5A}" destId="{AA326C0B-2CB6-4DAD-8968-E8567283C69B}" srcOrd="1" destOrd="0" presId="urn:microsoft.com/office/officeart/2005/8/layout/orgChart1"/>
    <dgm:cxn modelId="{CE8AA27A-2305-42BD-AC81-1AE115194E06}" type="presParOf" srcId="{AA326C0B-2CB6-4DAD-8968-E8567283C69B}" destId="{F4023D27-B413-40DF-B6F2-0BD04964E0EF}" srcOrd="0" destOrd="0" presId="urn:microsoft.com/office/officeart/2005/8/layout/orgChart1"/>
    <dgm:cxn modelId="{10AE321A-62E2-4BC4-B89B-2ED1F98336E0}" type="presParOf" srcId="{F4023D27-B413-40DF-B6F2-0BD04964E0EF}" destId="{A16C6CC1-14E2-468D-91C3-62C84E7536ED}" srcOrd="0" destOrd="0" presId="urn:microsoft.com/office/officeart/2005/8/layout/orgChart1"/>
    <dgm:cxn modelId="{C4495A84-E914-4C48-86AF-732292FF6FEB}" type="presParOf" srcId="{F4023D27-B413-40DF-B6F2-0BD04964E0EF}" destId="{80A12DD4-B6BE-4AF4-B056-C3F21F77B324}" srcOrd="1" destOrd="0" presId="urn:microsoft.com/office/officeart/2005/8/layout/orgChart1"/>
    <dgm:cxn modelId="{772421DD-1592-4D39-83B4-52F494B14248}" type="presParOf" srcId="{AA326C0B-2CB6-4DAD-8968-E8567283C69B}" destId="{76566C26-F8FF-45BB-9C69-23D766EABB04}" srcOrd="1" destOrd="0" presId="urn:microsoft.com/office/officeart/2005/8/layout/orgChart1"/>
    <dgm:cxn modelId="{E450332E-AFE0-4544-B7E0-4D597B5F9881}" type="presParOf" srcId="{AA326C0B-2CB6-4DAD-8968-E8567283C69B}" destId="{1609822B-4BCF-46D5-A7C1-BD562F737C48}" srcOrd="2" destOrd="0" presId="urn:microsoft.com/office/officeart/2005/8/layout/orgChart1"/>
    <dgm:cxn modelId="{44AF59B8-E674-41CD-9B7A-F94FDACE4C55}" type="presParOf" srcId="{ACB42167-486D-42C0-9459-89D4A3362D5A}" destId="{D34D0675-43DD-4A2C-B57B-4D41DD13241C}" srcOrd="2" destOrd="0" presId="urn:microsoft.com/office/officeart/2005/8/layout/orgChart1"/>
    <dgm:cxn modelId="{213C5B59-45AB-42E4-A0B4-F9473C06E791}" type="presParOf" srcId="{ACB42167-486D-42C0-9459-89D4A3362D5A}" destId="{52D66D26-DA21-482B-A3BF-3EA0C1848E29}" srcOrd="3" destOrd="0" presId="urn:microsoft.com/office/officeart/2005/8/layout/orgChart1"/>
    <dgm:cxn modelId="{D910F520-3670-4674-814C-53DBCF49831E}" type="presParOf" srcId="{52D66D26-DA21-482B-A3BF-3EA0C1848E29}" destId="{DD797F66-5D82-48E1-A7F2-FDA2B25A7A9B}" srcOrd="0" destOrd="0" presId="urn:microsoft.com/office/officeart/2005/8/layout/orgChart1"/>
    <dgm:cxn modelId="{03F366C1-05C9-4FC6-8776-63E7A02EFC73}" type="presParOf" srcId="{DD797F66-5D82-48E1-A7F2-FDA2B25A7A9B}" destId="{9F47D52B-B747-4A55-B047-09BF7A04D211}" srcOrd="0" destOrd="0" presId="urn:microsoft.com/office/officeart/2005/8/layout/orgChart1"/>
    <dgm:cxn modelId="{0A89E2C3-3B09-456A-B82B-AC75AE5483CE}" type="presParOf" srcId="{DD797F66-5D82-48E1-A7F2-FDA2B25A7A9B}" destId="{4E8C27EF-815F-4431-B669-C77F278C6CB2}" srcOrd="1" destOrd="0" presId="urn:microsoft.com/office/officeart/2005/8/layout/orgChart1"/>
    <dgm:cxn modelId="{0C2FB9F5-B66C-4E27-8635-7AEE3F92985A}" type="presParOf" srcId="{52D66D26-DA21-482B-A3BF-3EA0C1848E29}" destId="{4DE9B6A4-493E-4B60-B9ED-2884725B5E81}" srcOrd="1" destOrd="0" presId="urn:microsoft.com/office/officeart/2005/8/layout/orgChart1"/>
    <dgm:cxn modelId="{0F9B3343-559F-4288-8838-FE3996B6225A}" type="presParOf" srcId="{52D66D26-DA21-482B-A3BF-3EA0C1848E29}" destId="{FEACCC78-5865-4C16-9E5B-FBA67BC81A6C}" srcOrd="2" destOrd="0" presId="urn:microsoft.com/office/officeart/2005/8/layout/orgChart1"/>
    <dgm:cxn modelId="{2C9A7369-3CF3-46B1-A272-9BD393572804}" type="presParOf" srcId="{ACB42167-486D-42C0-9459-89D4A3362D5A}" destId="{BE260FD5-8810-436F-9100-6D3B6B1E4097}" srcOrd="4" destOrd="0" presId="urn:microsoft.com/office/officeart/2005/8/layout/orgChart1"/>
    <dgm:cxn modelId="{3EE65331-A849-47AB-AB29-4CF8C20CC947}" type="presParOf" srcId="{ACB42167-486D-42C0-9459-89D4A3362D5A}" destId="{59A1499A-F947-4029-9B37-1413E6E9FD25}" srcOrd="5" destOrd="0" presId="urn:microsoft.com/office/officeart/2005/8/layout/orgChart1"/>
    <dgm:cxn modelId="{93348A18-7F79-4210-AB9B-235FFCCFF35A}" type="presParOf" srcId="{59A1499A-F947-4029-9B37-1413E6E9FD25}" destId="{E537896D-5C39-479D-8317-6842BB5BDB2E}" srcOrd="0" destOrd="0" presId="urn:microsoft.com/office/officeart/2005/8/layout/orgChart1"/>
    <dgm:cxn modelId="{66F7FC3B-3919-4270-A965-F06AF5446455}" type="presParOf" srcId="{E537896D-5C39-479D-8317-6842BB5BDB2E}" destId="{A93D7714-4679-4AF9-BB55-FF50E8F3798F}" srcOrd="0" destOrd="0" presId="urn:microsoft.com/office/officeart/2005/8/layout/orgChart1"/>
    <dgm:cxn modelId="{18399F85-015D-42BA-A4F7-1D4B3C1B0E8A}" type="presParOf" srcId="{E537896D-5C39-479D-8317-6842BB5BDB2E}" destId="{81E2F70E-E865-489D-9292-E99DBC54A971}" srcOrd="1" destOrd="0" presId="urn:microsoft.com/office/officeart/2005/8/layout/orgChart1"/>
    <dgm:cxn modelId="{77648D72-FFFA-4358-8A4D-18434D17A7EE}" type="presParOf" srcId="{59A1499A-F947-4029-9B37-1413E6E9FD25}" destId="{BBE4BD35-537B-45FB-AA4D-1CB139896542}" srcOrd="1" destOrd="0" presId="urn:microsoft.com/office/officeart/2005/8/layout/orgChart1"/>
    <dgm:cxn modelId="{CC443097-69E0-4AE6-9E79-547793E0880B}" type="presParOf" srcId="{59A1499A-F947-4029-9B37-1413E6E9FD25}" destId="{B6C7137E-D11B-4CA5-AEDA-B7C7C279EEC5}" srcOrd="2" destOrd="0" presId="urn:microsoft.com/office/officeart/2005/8/layout/orgChart1"/>
    <dgm:cxn modelId="{1024B82C-7F12-42D0-A6E9-3FDE0A2ACE6F}" type="presParOf" srcId="{5BB17C53-F591-4E86-B1C3-367B34DD6AC6}" destId="{C17EA5A4-C685-4E6E-83C8-DA7D04B1A9E2}" srcOrd="2" destOrd="0" presId="urn:microsoft.com/office/officeart/2005/8/layout/orgChart1"/>
    <dgm:cxn modelId="{BB6B23DD-DA7B-41A1-89DE-0F661E703848}" type="presParOf" srcId="{C17EA5A4-C685-4E6E-83C8-DA7D04B1A9E2}" destId="{A557DAB3-E522-4368-9EBD-078C937D2A79}" srcOrd="0" destOrd="0" presId="urn:microsoft.com/office/officeart/2005/8/layout/orgChart1"/>
    <dgm:cxn modelId="{70FB6D10-B6EF-481B-98EF-1E905DD8543A}" type="presParOf" srcId="{C17EA5A4-C685-4E6E-83C8-DA7D04B1A9E2}" destId="{96AD3BEB-E037-4649-9D0F-C13442E6C478}" srcOrd="1" destOrd="0" presId="urn:microsoft.com/office/officeart/2005/8/layout/orgChart1"/>
    <dgm:cxn modelId="{C1F7CF1F-CE9B-4980-B045-FB33A8AB1A71}" type="presParOf" srcId="{96AD3BEB-E037-4649-9D0F-C13442E6C478}" destId="{A91400B0-AB93-4930-8F88-0F3034FBE346}" srcOrd="0" destOrd="0" presId="urn:microsoft.com/office/officeart/2005/8/layout/orgChart1"/>
    <dgm:cxn modelId="{A932033D-696C-449C-A04D-7A12DC7FD745}" type="presParOf" srcId="{A91400B0-AB93-4930-8F88-0F3034FBE346}" destId="{834D5EFE-8378-4167-A2DD-5E64A5AD8B03}" srcOrd="0" destOrd="0" presId="urn:microsoft.com/office/officeart/2005/8/layout/orgChart1"/>
    <dgm:cxn modelId="{889B20CD-1767-4A6F-944A-2C0BAA6FF31F}" type="presParOf" srcId="{A91400B0-AB93-4930-8F88-0F3034FBE346}" destId="{3030740E-D059-4560-AA8C-9569949E26B4}" srcOrd="1" destOrd="0" presId="urn:microsoft.com/office/officeart/2005/8/layout/orgChart1"/>
    <dgm:cxn modelId="{6C68EC94-3979-4C1C-A455-3B71C25B4FB3}" type="presParOf" srcId="{96AD3BEB-E037-4649-9D0F-C13442E6C478}" destId="{1BC6928F-FAFF-43AE-843B-E9CF041DA64F}" srcOrd="1" destOrd="0" presId="urn:microsoft.com/office/officeart/2005/8/layout/orgChart1"/>
    <dgm:cxn modelId="{BB780BBA-6E52-4BD3-AD5B-A2ADC75D706B}" type="presParOf" srcId="{96AD3BEB-E037-4649-9D0F-C13442E6C478}" destId="{8E7FB245-78EE-4FC9-AE9F-7861D89DF59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57DAB3-E522-4368-9EBD-078C937D2A79}">
      <dsp:nvSpPr>
        <dsp:cNvPr id="0" name=""/>
        <dsp:cNvSpPr/>
      </dsp:nvSpPr>
      <dsp:spPr>
        <a:xfrm>
          <a:off x="3531608" y="534715"/>
          <a:ext cx="155728" cy="682238"/>
        </a:xfrm>
        <a:custGeom>
          <a:avLst/>
          <a:gdLst/>
          <a:ahLst/>
          <a:cxnLst/>
          <a:rect l="0" t="0" r="0" b="0"/>
          <a:pathLst>
            <a:path>
              <a:moveTo>
                <a:pt x="155728" y="0"/>
              </a:moveTo>
              <a:lnTo>
                <a:pt x="155728" y="682238"/>
              </a:lnTo>
              <a:lnTo>
                <a:pt x="0" y="682238"/>
              </a:lnTo>
            </a:path>
          </a:pathLst>
        </a:custGeom>
        <a:noFill/>
        <a:ln w="6350" cap="flat" cmpd="sng" algn="ctr">
          <a:solidFill>
            <a:schemeClr val="accent5"/>
          </a:solidFill>
          <a:prstDash val="solid"/>
          <a:miter lim="800000"/>
          <a:tailEnd type="triangle" w="sm" len="sm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260FD5-8810-436F-9100-6D3B6B1E4097}">
      <dsp:nvSpPr>
        <dsp:cNvPr id="0" name=""/>
        <dsp:cNvSpPr/>
      </dsp:nvSpPr>
      <dsp:spPr>
        <a:xfrm>
          <a:off x="3687337" y="534715"/>
          <a:ext cx="2630060" cy="13648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9108"/>
              </a:lnTo>
              <a:lnTo>
                <a:pt x="2630060" y="1209108"/>
              </a:lnTo>
              <a:lnTo>
                <a:pt x="2630060" y="1364836"/>
              </a:lnTo>
            </a:path>
          </a:pathLst>
        </a:custGeom>
        <a:noFill/>
        <a:ln w="6350" cap="flat" cmpd="sng" algn="ctr">
          <a:solidFill>
            <a:schemeClr val="accent5"/>
          </a:solidFill>
          <a:prstDash val="solid"/>
          <a:miter lim="800000"/>
          <a:tailEnd type="triangle" w="sm" len="sm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4D0675-43DD-4A2C-B57B-4D41DD13241C}">
      <dsp:nvSpPr>
        <dsp:cNvPr id="0" name=""/>
        <dsp:cNvSpPr/>
      </dsp:nvSpPr>
      <dsp:spPr>
        <a:xfrm>
          <a:off x="3641617" y="534715"/>
          <a:ext cx="91440" cy="136483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64836"/>
              </a:lnTo>
            </a:path>
          </a:pathLst>
        </a:custGeom>
        <a:noFill/>
        <a:ln w="6350" cap="flat" cmpd="sng" algn="ctr">
          <a:solidFill>
            <a:schemeClr val="accent5"/>
          </a:solidFill>
          <a:prstDash val="solid"/>
          <a:miter lim="800000"/>
          <a:tailEnd type="triangle" w="sm" len="sm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059321-A605-4D06-A1BC-3EDC1D0CEFAE}">
      <dsp:nvSpPr>
        <dsp:cNvPr id="0" name=""/>
        <dsp:cNvSpPr/>
      </dsp:nvSpPr>
      <dsp:spPr>
        <a:xfrm>
          <a:off x="1057276" y="534715"/>
          <a:ext cx="2630060" cy="1364836"/>
        </a:xfrm>
        <a:custGeom>
          <a:avLst/>
          <a:gdLst/>
          <a:ahLst/>
          <a:cxnLst/>
          <a:rect l="0" t="0" r="0" b="0"/>
          <a:pathLst>
            <a:path>
              <a:moveTo>
                <a:pt x="2630060" y="0"/>
              </a:moveTo>
              <a:lnTo>
                <a:pt x="2630060" y="1209108"/>
              </a:lnTo>
              <a:lnTo>
                <a:pt x="0" y="1209108"/>
              </a:lnTo>
              <a:lnTo>
                <a:pt x="0" y="1364836"/>
              </a:lnTo>
            </a:path>
          </a:pathLst>
        </a:custGeom>
        <a:noFill/>
        <a:ln w="6350" cap="flat" cmpd="sng" algn="ctr">
          <a:solidFill>
            <a:schemeClr val="accent5"/>
          </a:solidFill>
          <a:prstDash val="solid"/>
          <a:miter lim="800000"/>
          <a:tailEnd type="triangle" w="sm" len="sm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E67D6F-3FA8-414F-A97C-25A4A63A834C}">
      <dsp:nvSpPr>
        <dsp:cNvPr id="0" name=""/>
        <dsp:cNvSpPr/>
      </dsp:nvSpPr>
      <dsp:spPr>
        <a:xfrm>
          <a:off x="2630060" y="360"/>
          <a:ext cx="2114553" cy="534355"/>
        </a:xfrm>
        <a:prstGeom prst="rect">
          <a:avLst/>
        </a:prstGeom>
        <a:solidFill>
          <a:srgbClr val="EC00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kern="1200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João Paulo</a:t>
          </a:r>
        </a:p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rente</a:t>
          </a: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 </a:t>
          </a: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Geral</a:t>
          </a:r>
          <a:endParaRPr lang="en-US" sz="800" b="0" kern="120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sp:txBody>
      <dsp:txXfrm>
        <a:off x="2630060" y="360"/>
        <a:ext cx="2114553" cy="534355"/>
      </dsp:txXfrm>
    </dsp:sp>
    <dsp:sp modelId="{A16C6CC1-14E2-468D-91C3-62C84E7536ED}">
      <dsp:nvSpPr>
        <dsp:cNvPr id="0" name=""/>
        <dsp:cNvSpPr/>
      </dsp:nvSpPr>
      <dsp:spPr>
        <a:xfrm>
          <a:off x="0" y="1899552"/>
          <a:ext cx="2114553" cy="538382"/>
        </a:xfrm>
        <a:prstGeom prst="rect">
          <a:avLst/>
        </a:prstGeom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kern="1200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Gustavo Alves</a:t>
          </a:r>
        </a:p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de </a:t>
          </a: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Novos</a:t>
          </a: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 </a:t>
          </a: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Negócios</a:t>
          </a:r>
          <a:endParaRPr lang="en-US" sz="800" b="0" kern="120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sp:txBody>
      <dsp:txXfrm>
        <a:off x="0" y="1899552"/>
        <a:ext cx="2114553" cy="538382"/>
      </dsp:txXfrm>
    </dsp:sp>
    <dsp:sp modelId="{9F47D52B-B747-4A55-B047-09BF7A04D211}">
      <dsp:nvSpPr>
        <dsp:cNvPr id="0" name=""/>
        <dsp:cNvSpPr/>
      </dsp:nvSpPr>
      <dsp:spPr>
        <a:xfrm>
          <a:off x="2630060" y="1899552"/>
          <a:ext cx="2114553" cy="538382"/>
        </a:xfrm>
        <a:prstGeom prst="rect">
          <a:avLst/>
        </a:prstGeom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kern="1200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Laura </a:t>
          </a:r>
          <a:r>
            <a:rPr lang="en-US" sz="1000" b="1" kern="1200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mendes</a:t>
          </a:r>
          <a:endParaRPr lang="en-US" sz="1000" b="1" kern="1200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de Marketing Digital</a:t>
          </a:r>
        </a:p>
      </dsp:txBody>
      <dsp:txXfrm>
        <a:off x="2630060" y="1899552"/>
        <a:ext cx="2114553" cy="538382"/>
      </dsp:txXfrm>
    </dsp:sp>
    <dsp:sp modelId="{A93D7714-4679-4AF9-BB55-FF50E8F3798F}">
      <dsp:nvSpPr>
        <dsp:cNvPr id="0" name=""/>
        <dsp:cNvSpPr/>
      </dsp:nvSpPr>
      <dsp:spPr>
        <a:xfrm>
          <a:off x="5260120" y="1899552"/>
          <a:ext cx="2114553" cy="538382"/>
        </a:xfrm>
        <a:prstGeom prst="rect">
          <a:avLst/>
        </a:prstGeom>
        <a:solidFill>
          <a:schemeClr val="accent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kern="1200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Willian </a:t>
          </a:r>
          <a:r>
            <a:rPr lang="en-US" sz="1000" b="1" kern="1200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santos</a:t>
          </a:r>
          <a:endParaRPr lang="en-US" sz="1000" b="1" kern="1200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Head </a:t>
          </a: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Comercial</a:t>
          </a:r>
          <a:endParaRPr lang="en-US" sz="800" b="0" kern="120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sp:txBody>
      <dsp:txXfrm>
        <a:off x="5260120" y="1899552"/>
        <a:ext cx="2114553" cy="538382"/>
      </dsp:txXfrm>
    </dsp:sp>
    <dsp:sp modelId="{834D5EFE-8378-4167-A2DD-5E64A5AD8B03}">
      <dsp:nvSpPr>
        <dsp:cNvPr id="0" name=""/>
        <dsp:cNvSpPr/>
      </dsp:nvSpPr>
      <dsp:spPr>
        <a:xfrm>
          <a:off x="1417055" y="947762"/>
          <a:ext cx="2114553" cy="538382"/>
        </a:xfrm>
        <a:prstGeom prst="rect">
          <a:avLst/>
        </a:prstGeom>
        <a:solidFill>
          <a:schemeClr val="accent3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000" b="1" kern="1200" cap="all" spc="20" baseline="0" dirty="0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Maria </a:t>
          </a:r>
          <a:r>
            <a:rPr lang="en-US" sz="1000" b="1" kern="1200" cap="all" spc="20" baseline="0" dirty="0" err="1"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rPr>
            <a:t>fernandes</a:t>
          </a:r>
          <a:endParaRPr lang="en-US" sz="1000" b="1" kern="1200" cap="all" spc="20" baseline="0" dirty="0">
            <a:latin typeface="Lato" panose="020F0502020204030203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0" lvl="0" indent="0" algn="ctr" defTabSz="444500">
            <a:lnSpc>
              <a:spcPct val="12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800" b="0" kern="1200" dirty="0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Vice </a:t>
          </a:r>
          <a:r>
            <a:rPr lang="en-US" sz="800" b="0" kern="1200" dirty="0" err="1"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Presidente</a:t>
          </a:r>
          <a:endParaRPr lang="en-US" sz="800" b="0" kern="1200" dirty="0">
            <a:latin typeface="Lato" panose="020F0502020204030203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dsp:txBody>
      <dsp:txXfrm>
        <a:off x="1417055" y="947762"/>
        <a:ext cx="2114553" cy="5383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F01BD6-766B-4D19-B75E-7E6A037A6BFB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1302AA-81B1-4225-BC36-6DD3E8E9872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844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8D3C34-4FAE-4634-9621-7C1A1531823B}" type="datetimeFigureOut">
              <a:rPr lang="en-US" smtClean="0"/>
              <a:t>8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5D1758-ED3D-4611-B861-63A1DF03220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456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408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163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371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5D1758-ED3D-4611-B861-63A1DF032208}" type="slidenum">
              <a:rPr lang="en-US" smtClean="0"/>
              <a:t>6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505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2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Agrupar 14">
            <a:extLst>
              <a:ext uri="{FF2B5EF4-FFF2-40B4-BE49-F238E27FC236}">
                <a16:creationId xmlns:a16="http://schemas.microsoft.com/office/drawing/2014/main" id="{CF7887F4-3966-4D22-B44A-0FDE243ECE3B}"/>
              </a:ext>
            </a:extLst>
          </p:cNvPr>
          <p:cNvGrpSpPr/>
          <p:nvPr userDrawn="1"/>
        </p:nvGrpSpPr>
        <p:grpSpPr>
          <a:xfrm>
            <a:off x="-16293" y="-25100"/>
            <a:ext cx="9144000" cy="5193699"/>
            <a:chOff x="-1" y="-50199"/>
            <a:chExt cx="9144000" cy="5193699"/>
          </a:xfrm>
        </p:grpSpPr>
        <p:pic>
          <p:nvPicPr>
            <p:cNvPr id="17" name="Imagem 16">
              <a:extLst>
                <a:ext uri="{FF2B5EF4-FFF2-40B4-BE49-F238E27FC236}">
                  <a16:creationId xmlns:a16="http://schemas.microsoft.com/office/drawing/2014/main" id="{0A5F0DAD-D240-44B5-A377-EF6DAB46B2E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181" t="174" b="1128"/>
            <a:stretch/>
          </p:blipFill>
          <p:spPr>
            <a:xfrm flipH="1">
              <a:off x="-1" y="-50199"/>
              <a:ext cx="9144000" cy="5193699"/>
            </a:xfrm>
            <a:prstGeom prst="rect">
              <a:avLst/>
            </a:prstGeom>
          </p:spPr>
        </p:pic>
        <p:pic>
          <p:nvPicPr>
            <p:cNvPr id="18" name="Imagem 17">
              <a:extLst>
                <a:ext uri="{FF2B5EF4-FFF2-40B4-BE49-F238E27FC236}">
                  <a16:creationId xmlns:a16="http://schemas.microsoft.com/office/drawing/2014/main" id="{96F37087-4ADF-4DF6-B1DD-33024FF76E1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183657">
              <a:off x="7530774" y="2478864"/>
              <a:ext cx="549620" cy="793680"/>
            </a:xfrm>
            <a:prstGeom prst="rect">
              <a:avLst/>
            </a:prstGeom>
          </p:spPr>
        </p:pic>
      </p:grpSp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Agrupar 12">
            <a:extLst>
              <a:ext uri="{FF2B5EF4-FFF2-40B4-BE49-F238E27FC236}">
                <a16:creationId xmlns:a16="http://schemas.microsoft.com/office/drawing/2014/main" id="{7885BF14-0167-40D8-9230-F9357C3102DB}"/>
              </a:ext>
            </a:extLst>
          </p:cNvPr>
          <p:cNvGrpSpPr/>
          <p:nvPr userDrawn="1"/>
        </p:nvGrpSpPr>
        <p:grpSpPr>
          <a:xfrm>
            <a:off x="7493683" y="2571749"/>
            <a:ext cx="591218" cy="791838"/>
            <a:chOff x="7493683" y="2571749"/>
            <a:chExt cx="591218" cy="791838"/>
          </a:xfrm>
        </p:grpSpPr>
        <p:sp>
          <p:nvSpPr>
            <p:cNvPr id="3" name="Retângulo 2">
              <a:extLst>
                <a:ext uri="{FF2B5EF4-FFF2-40B4-BE49-F238E27FC236}">
                  <a16:creationId xmlns:a16="http://schemas.microsoft.com/office/drawing/2014/main" id="{182EA8A1-40A6-4B57-B82A-A7660FFEAE65}"/>
                </a:ext>
              </a:extLst>
            </p:cNvPr>
            <p:cNvSpPr/>
            <p:nvPr userDrawn="1"/>
          </p:nvSpPr>
          <p:spPr>
            <a:xfrm>
              <a:off x="7493683" y="2571749"/>
              <a:ext cx="591218" cy="7918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pic>
          <p:nvPicPr>
            <p:cNvPr id="7" name="Gráfico 6">
              <a:extLst>
                <a:ext uri="{FF2B5EF4-FFF2-40B4-BE49-F238E27FC236}">
                  <a16:creationId xmlns:a16="http://schemas.microsoft.com/office/drawing/2014/main" id="{8101DB19-6C03-471F-B5EB-B825AB8C81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65075">
              <a:off x="7543254" y="2720892"/>
              <a:ext cx="492077" cy="359819"/>
            </a:xfrm>
            <a:prstGeom prst="rect">
              <a:avLst/>
            </a:prstGeom>
          </p:spPr>
        </p:pic>
      </p:grpSp>
      <p:sp>
        <p:nvSpPr>
          <p:cNvPr id="16" name="Retângulo 15"/>
          <p:cNvSpPr/>
          <p:nvPr userDrawn="1"/>
        </p:nvSpPr>
        <p:spPr>
          <a:xfrm>
            <a:off x="-55801" y="-54838"/>
            <a:ext cx="9255601" cy="5198338"/>
          </a:xfrm>
          <a:prstGeom prst="rect">
            <a:avLst/>
          </a:prstGeom>
          <a:solidFill>
            <a:srgbClr val="2B2D42">
              <a:alpha val="6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/>
          </a:p>
        </p:txBody>
      </p:sp>
      <p:grpSp>
        <p:nvGrpSpPr>
          <p:cNvPr id="19" name="Grupo 18"/>
          <p:cNvGrpSpPr/>
          <p:nvPr userDrawn="1"/>
        </p:nvGrpSpPr>
        <p:grpSpPr>
          <a:xfrm>
            <a:off x="634925" y="563420"/>
            <a:ext cx="3571876" cy="2964640"/>
            <a:chOff x="634925" y="563420"/>
            <a:chExt cx="3571876" cy="2964640"/>
          </a:xfrm>
          <a:solidFill>
            <a:srgbClr val="EC0000"/>
          </a:solidFill>
        </p:grpSpPr>
        <p:sp>
          <p:nvSpPr>
            <p:cNvPr id="9" name="Retângulo 8"/>
            <p:cNvSpPr/>
            <p:nvPr userDrawn="1"/>
          </p:nvSpPr>
          <p:spPr>
            <a:xfrm>
              <a:off x="634925" y="563420"/>
              <a:ext cx="3571875" cy="2964640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Triângulo retângulo 9"/>
            <p:cNvSpPr/>
            <p:nvPr userDrawn="1"/>
          </p:nvSpPr>
          <p:spPr>
            <a:xfrm rot="10800000" flipH="1">
              <a:off x="878527" y="3138101"/>
              <a:ext cx="3328274" cy="264335"/>
            </a:xfrm>
            <a:prstGeom prst="rt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12" name="Straight Connector 11"/>
          <p:cNvCxnSpPr/>
          <p:nvPr userDrawn="1"/>
        </p:nvCxnSpPr>
        <p:spPr>
          <a:xfrm>
            <a:off x="931336" y="2159000"/>
            <a:ext cx="359996" cy="0"/>
          </a:xfrm>
          <a:prstGeom prst="line">
            <a:avLst/>
          </a:prstGeom>
          <a:ln w="63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8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99638" y="713552"/>
            <a:ext cx="3247428" cy="134596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400" baseline="0">
                <a:solidFill>
                  <a:schemeClr val="bg1"/>
                </a:solidFill>
                <a:latin typeface="Lato"/>
              </a:defRPr>
            </a:lvl1pPr>
          </a:lstStyle>
          <a:p>
            <a:pPr lvl="0"/>
            <a:r>
              <a:rPr lang="pt-BR" dirty="0"/>
              <a:t>Título da apresentação</a:t>
            </a:r>
            <a:r>
              <a:rPr lang="x-none" dirty="0"/>
              <a:t>– 24pt</a:t>
            </a:r>
            <a:endParaRPr lang="en-US" dirty="0"/>
          </a:p>
        </p:txBody>
      </p:sp>
      <p:sp>
        <p:nvSpPr>
          <p:cNvPr id="39" name="Text Placeholder 28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827860" y="2308534"/>
            <a:ext cx="3219207" cy="66227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 i="1" baseline="0">
                <a:solidFill>
                  <a:schemeClr val="bg1"/>
                </a:solidFill>
                <a:latin typeface="Lato" panose="020F0502020204030203"/>
              </a:defRPr>
            </a:lvl1pPr>
          </a:lstStyle>
          <a:p>
            <a:pPr lvl="0"/>
            <a:r>
              <a:rPr lang="pt-BR" dirty="0"/>
              <a:t>Escreva aqui a descrição - ou informação da apresentação</a:t>
            </a:r>
            <a:r>
              <a:rPr lang="x-none" dirty="0"/>
              <a:t>– 11pt italic</a:t>
            </a:r>
            <a:endParaRPr lang="en-US" dirty="0"/>
          </a:p>
        </p:txBody>
      </p:sp>
      <p:sp>
        <p:nvSpPr>
          <p:cNvPr id="41" name="Text Placeholder 2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27860" y="2970805"/>
            <a:ext cx="2522971" cy="27844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000" b="1" i="0" baseline="0">
                <a:solidFill>
                  <a:schemeClr val="bg1"/>
                </a:solidFill>
                <a:latin typeface="Lato" panose="020F0502020204030203"/>
              </a:defRPr>
            </a:lvl1pPr>
          </a:lstStyle>
          <a:p>
            <a:pPr lvl="0"/>
            <a:r>
              <a:rPr lang="pt-BR" dirty="0"/>
              <a:t>Nome do responsável </a:t>
            </a:r>
            <a:r>
              <a:rPr lang="x-none" dirty="0"/>
              <a:t>– 10pt </a:t>
            </a:r>
            <a:r>
              <a:rPr lang="pt-BR" dirty="0"/>
              <a:t>Negrito</a:t>
            </a:r>
            <a:endParaRPr lang="en-US" dirty="0"/>
          </a:p>
        </p:txBody>
      </p:sp>
      <p:sp>
        <p:nvSpPr>
          <p:cNvPr id="43" name="Text Placeholder 28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27859" y="3149770"/>
            <a:ext cx="2182511" cy="26512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="0" i="0" baseline="0">
                <a:solidFill>
                  <a:schemeClr val="bg1"/>
                </a:solidFill>
                <a:latin typeface="Lato" panose="020F0502020204030203"/>
              </a:defRPr>
            </a:lvl1pPr>
          </a:lstStyle>
          <a:p>
            <a:pPr lvl="0"/>
            <a:r>
              <a:rPr lang="pt-BR" dirty="0"/>
              <a:t>Departamento</a:t>
            </a:r>
            <a:r>
              <a:rPr lang="x-none" dirty="0"/>
              <a:t>/Area – 9pt</a:t>
            </a:r>
            <a:endParaRPr lang="en-US" dirty="0"/>
          </a:p>
        </p:txBody>
      </p:sp>
      <p:sp>
        <p:nvSpPr>
          <p:cNvPr id="11" name="Text Placeholder 2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3010371" y="3160370"/>
            <a:ext cx="1036695" cy="20321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900" b="0" i="0" baseline="0">
                <a:solidFill>
                  <a:schemeClr val="bg1"/>
                </a:solidFill>
                <a:latin typeface="Lato" panose="020F0502020204030203"/>
              </a:defRPr>
            </a:lvl1pPr>
          </a:lstStyle>
          <a:p>
            <a:pPr lvl="0"/>
            <a:r>
              <a:rPr lang="pt-BR" dirty="0" err="1"/>
              <a:t>dd</a:t>
            </a:r>
            <a:r>
              <a:rPr lang="x-none" dirty="0"/>
              <a:t>/</a:t>
            </a:r>
            <a:r>
              <a:rPr lang="pt-BR" dirty="0"/>
              <a:t>mm</a:t>
            </a:r>
            <a:r>
              <a:rPr lang="x-none" dirty="0"/>
              <a:t>/</a:t>
            </a:r>
            <a:r>
              <a:rPr lang="pt-BR" dirty="0"/>
              <a:t>aa</a:t>
            </a:r>
            <a:r>
              <a:rPr lang="x-none" dirty="0"/>
              <a:t> </a:t>
            </a:r>
            <a:br>
              <a:rPr lang="x-none" dirty="0"/>
            </a:br>
            <a:r>
              <a:rPr lang="x-none" dirty="0"/>
              <a:t>- 9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647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3000"/>
    </mc:Choice>
    <mc:Fallback xmlns="">
      <p:transition advClick="0" advTm="300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redo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0" y="1543050"/>
            <a:ext cx="3152716" cy="2743200"/>
          </a:xfrm>
          <a:custGeom>
            <a:avLst/>
            <a:gdLst>
              <a:gd name="connsiteX0" fmla="*/ 0 w 9516533"/>
              <a:gd name="connsiteY0" fmla="*/ 0 h 8280400"/>
              <a:gd name="connsiteX1" fmla="*/ 5376333 w 9516533"/>
              <a:gd name="connsiteY1" fmla="*/ 0 h 8280400"/>
              <a:gd name="connsiteX2" fmla="*/ 9516533 w 9516533"/>
              <a:gd name="connsiteY2" fmla="*/ 4140200 h 8280400"/>
              <a:gd name="connsiteX3" fmla="*/ 5376333 w 9516533"/>
              <a:gd name="connsiteY3" fmla="*/ 8280400 h 8280400"/>
              <a:gd name="connsiteX4" fmla="*/ 0 w 9516533"/>
              <a:gd name="connsiteY4" fmla="*/ 8280400 h 82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6533" h="8280400">
                <a:moveTo>
                  <a:pt x="0" y="0"/>
                </a:moveTo>
                <a:lnTo>
                  <a:pt x="5376333" y="0"/>
                </a:lnTo>
                <a:cubicBezTo>
                  <a:pt x="7662902" y="0"/>
                  <a:pt x="9516533" y="1853631"/>
                  <a:pt x="9516533" y="4140200"/>
                </a:cubicBezTo>
                <a:cubicBezTo>
                  <a:pt x="9516533" y="6426769"/>
                  <a:pt x="7662902" y="8280400"/>
                  <a:pt x="5376333" y="8280400"/>
                </a:cubicBezTo>
                <a:lnTo>
                  <a:pt x="0" y="8280400"/>
                </a:lnTo>
                <a:close/>
              </a:path>
            </a:pathLst>
          </a:custGeom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0B739763-ACEB-4ABE-B120-E17E1AA032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56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86213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FD03E933-8F2F-46A1-8E43-8F22A76CC0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8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esquerd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5125C8AA-5799-415B-BAA3-262E95BF02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27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0" orient="horz" pos="972" userDrawn="1">
          <p15:clr>
            <a:srgbClr val="FBAE40"/>
          </p15:clr>
        </p15:guide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foto na direit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572001" y="0"/>
            <a:ext cx="4572000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Gráfico 6">
            <a:extLst>
              <a:ext uri="{FF2B5EF4-FFF2-40B4-BE49-F238E27FC236}">
                <a16:creationId xmlns:a16="http://schemas.microsoft.com/office/drawing/2014/main" id="{3519C528-40E5-46C4-8CBD-12F059BC37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48205" y="4611839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74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título e duas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4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7C028747-82A2-4245-9EDF-197FBCFB7F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55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3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33912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315406" y="1543050"/>
            <a:ext cx="251318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38ADB3F5-FF49-4914-9663-3AE90E9261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182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5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3725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47D895EE-520F-4C7E-8312-14CE21D8CC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25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4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3725" y="1543050"/>
            <a:ext cx="2560108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85433" y="1543050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985433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291946" y="2965967"/>
            <a:ext cx="2560108" cy="131652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3781A8FD-5015-489B-A97E-AA1AB8C2BD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7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2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508125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5988464" y="1543049"/>
            <a:ext cx="2546117" cy="1408417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áfico 3">
            <a:extLst>
              <a:ext uri="{FF2B5EF4-FFF2-40B4-BE49-F238E27FC236}">
                <a16:creationId xmlns:a16="http://schemas.microsoft.com/office/drawing/2014/main" id="{E6EE0DE5-4310-4B5E-97D8-6E9E97FE4A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96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857487"/>
            <a:ext cx="7953374" cy="202687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4129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961343" y="1754911"/>
            <a:ext cx="1204382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2B6DA82C-FCDB-4CA3-BB31-0E7EB5B7363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11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EDITAR O TÍTULO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áfico 3">
            <a:extLst>
              <a:ext uri="{FF2B5EF4-FFF2-40B4-BE49-F238E27FC236}">
                <a16:creationId xmlns:a16="http://schemas.microsoft.com/office/drawing/2014/main" id="{9589FC69-3EBB-4AFF-99AE-CAD3A81D6D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9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 userDrawn="1">
          <p15:clr>
            <a:srgbClr val="FBAE40"/>
          </p15:clr>
        </p15:guide>
        <p15:guide id="2" pos="5384" userDrawn="1">
          <p15:clr>
            <a:srgbClr val="FBAE40"/>
          </p15:clr>
        </p15:guide>
        <p15:guide id="3" pos="374" userDrawn="1">
          <p15:clr>
            <a:srgbClr val="FBAE40"/>
          </p15:clr>
        </p15:guide>
        <p15:guide id="4" orient="horz" pos="306" userDrawn="1">
          <p15:clr>
            <a:srgbClr val="FBAE40"/>
          </p15:clr>
        </p15:guide>
        <p15:guide id="5" orient="horz" pos="97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vermelh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595314" y="1543050"/>
            <a:ext cx="7953374" cy="9634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3706" y="1142482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118011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6263" y="1142482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6750568" y="1703348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5202DB4F-9AD7-4F65-8345-9D5E1003C7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86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766" y="1194045"/>
            <a:ext cx="2415741" cy="3528796"/>
          </a:xfrm>
          <a:prstGeom prst="rect">
            <a:avLst/>
          </a:prstGeom>
        </p:spPr>
      </p:pic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2156071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4323" y="1194045"/>
            <a:ext cx="2415741" cy="3528796"/>
          </a:xfrm>
          <a:prstGeom prst="rect">
            <a:avLst/>
          </a:prstGeom>
        </p:spPr>
      </p:pic>
      <p:sp>
        <p:nvSpPr>
          <p:cNvPr id="18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3788628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3811" y="1194045"/>
            <a:ext cx="2415741" cy="3528796"/>
          </a:xfrm>
          <a:prstGeom prst="rect">
            <a:avLst/>
          </a:prstGeom>
        </p:spPr>
      </p:pic>
      <p:sp>
        <p:nvSpPr>
          <p:cNvPr id="20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5438116" y="1754911"/>
            <a:ext cx="1230200" cy="2232025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32EAF0E-6E2F-4A94-AAA1-3DDA009ED79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597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0362" y="1100444"/>
            <a:ext cx="2918752" cy="4043055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5278966" y="1689100"/>
            <a:ext cx="2209799" cy="3454399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8EB82046-15B3-409E-BCB6-65EFD9569A4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3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iPhone fundo branco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8" y="185298"/>
            <a:ext cx="3129491" cy="4571407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42733" y="575841"/>
            <a:ext cx="5294843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42416" y="959101"/>
            <a:ext cx="530468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42416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800011" y="912452"/>
            <a:ext cx="1552896" cy="2917902"/>
          </a:xfrm>
          <a:custGeom>
            <a:avLst/>
            <a:gdLst>
              <a:gd name="connsiteX0" fmla="*/ 26656 w 4082023"/>
              <a:gd name="connsiteY0" fmla="*/ 0 h 7233920"/>
              <a:gd name="connsiteX1" fmla="*/ 4055367 w 4082023"/>
              <a:gd name="connsiteY1" fmla="*/ 0 h 7233920"/>
              <a:gd name="connsiteX2" fmla="*/ 4082023 w 4082023"/>
              <a:gd name="connsiteY2" fmla="*/ 26656 h 7233920"/>
              <a:gd name="connsiteX3" fmla="*/ 4082023 w 4082023"/>
              <a:gd name="connsiteY3" fmla="*/ 7207264 h 7233920"/>
              <a:gd name="connsiteX4" fmla="*/ 4055367 w 4082023"/>
              <a:gd name="connsiteY4" fmla="*/ 7233920 h 7233920"/>
              <a:gd name="connsiteX5" fmla="*/ 26656 w 4082023"/>
              <a:gd name="connsiteY5" fmla="*/ 7233920 h 7233920"/>
              <a:gd name="connsiteX6" fmla="*/ 0 w 4082023"/>
              <a:gd name="connsiteY6" fmla="*/ 7207264 h 7233920"/>
              <a:gd name="connsiteX7" fmla="*/ 0 w 4082023"/>
              <a:gd name="connsiteY7" fmla="*/ 26656 h 7233920"/>
              <a:gd name="connsiteX8" fmla="*/ 26656 w 4082023"/>
              <a:gd name="connsiteY8" fmla="*/ 0 h 723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82023" h="7233920">
                <a:moveTo>
                  <a:pt x="26656" y="0"/>
                </a:moveTo>
                <a:lnTo>
                  <a:pt x="4055367" y="0"/>
                </a:lnTo>
                <a:cubicBezTo>
                  <a:pt x="4070091" y="0"/>
                  <a:pt x="4082023" y="11934"/>
                  <a:pt x="4082023" y="26656"/>
                </a:cubicBezTo>
                <a:lnTo>
                  <a:pt x="4082023" y="7207264"/>
                </a:lnTo>
                <a:cubicBezTo>
                  <a:pt x="4082023" y="7221986"/>
                  <a:pt x="4070091" y="7233920"/>
                  <a:pt x="4055367" y="7233920"/>
                </a:cubicBezTo>
                <a:lnTo>
                  <a:pt x="26656" y="7233920"/>
                </a:lnTo>
                <a:cubicBezTo>
                  <a:pt x="11934" y="7233920"/>
                  <a:pt x="0" y="7221986"/>
                  <a:pt x="0" y="7207264"/>
                </a:cubicBezTo>
                <a:lnTo>
                  <a:pt x="0" y="26656"/>
                </a:lnTo>
                <a:cubicBezTo>
                  <a:pt x="0" y="11934"/>
                  <a:pt x="11934" y="0"/>
                  <a:pt x="26656" y="0"/>
                </a:cubicBezTo>
                <a:close/>
              </a:path>
            </a:pathLst>
          </a:custGeom>
          <a:noFill/>
          <a:ln w="6350">
            <a:solidFill>
              <a:schemeClr val="accent1"/>
            </a:solidFill>
          </a:ln>
        </p:spPr>
        <p:txBody>
          <a:bodyPr wrap="square" lIns="0" tIns="0" rIns="0" bIns="0" anchor="ctr" anchorCtr="0">
            <a:noAutofit/>
          </a:bodyPr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E2B8D170-0376-4B4D-B6E4-91B84A0459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77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tebook mocku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595314" y="1934633"/>
            <a:ext cx="7953374" cy="187258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1535" y="1432135"/>
            <a:ext cx="5027326" cy="3049841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957511" y="1714500"/>
            <a:ext cx="3635375" cy="23241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8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2A82A648-B5A4-4D4F-A0F5-F58ADEF7F9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33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93E2F7-176F-459A-BFEA-9EA14F8AD3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7153294-FF6C-41E5-AF65-F5C0B3CC98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719BF8F-72A4-4E28-B50A-E713C4CC48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0FC21-5151-42C2-BA74-30EA22F3D8C7}" type="datetimeFigureOut">
              <a:rPr lang="pt-BR" smtClean="0"/>
              <a:t>18/08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86A043C-4CB4-4FC7-9580-6A3B5BF59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04F3ED91-8B5B-4A6D-9A07-40D539C02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5286C-FE49-4FB5-B307-5890086BE5C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8646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áfico 5">
            <a:extLst>
              <a:ext uri="{FF2B5EF4-FFF2-40B4-BE49-F238E27FC236}">
                <a16:creationId xmlns:a16="http://schemas.microsoft.com/office/drawing/2014/main" id="{F6EDF270-0CE0-4EDD-B48B-D48833C87E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6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em branc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áfico 1">
            <a:extLst>
              <a:ext uri="{FF2B5EF4-FFF2-40B4-BE49-F238E27FC236}">
                <a16:creationId xmlns:a16="http://schemas.microsoft.com/office/drawing/2014/main" id="{50D61FF6-FDA5-4A9B-B755-EF23DE1AD6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50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F4D73A74-04D6-42BA-A880-FCBD01CB2539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EC0000"/>
              </a:gs>
              <a:gs pos="100000">
                <a:srgbClr val="732645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13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EB248BEF-872E-4D0E-9AB2-0B8FDF7503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24" y="4626983"/>
            <a:ext cx="456809" cy="33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39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F4D73A74-04D6-42BA-A880-FCBD01CB2539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EC0000"/>
              </a:gs>
              <a:gs pos="100000">
                <a:srgbClr val="732645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013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1AFC9B75-E792-4BD3-BBAA-2E61167523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3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bg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39AB2A50-0D51-4AFC-9880-044B6CE758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bg1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r>
              <a:rPr lang="en-US" dirty="0"/>
              <a:t> </a:t>
            </a:r>
          </a:p>
        </p:txBody>
      </p:sp>
      <p:cxnSp>
        <p:nvCxnSpPr>
          <p:cNvPr id="6" name="Straight Connector 4">
            <a:extLst>
              <a:ext uri="{FF2B5EF4-FFF2-40B4-BE49-F238E27FC236}">
                <a16:creationId xmlns:a16="http://schemas.microsoft.com/office/drawing/2014/main" id="{968C60E6-1AD5-47F5-9B48-C8963FC9859D}"/>
              </a:ext>
            </a:extLst>
          </p:cNvPr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11">
            <a:extLst>
              <a:ext uri="{FF2B5EF4-FFF2-40B4-BE49-F238E27FC236}">
                <a16:creationId xmlns:a16="http://schemas.microsoft.com/office/drawing/2014/main" id="{B90D33D8-597F-4EEB-8308-ACDE438BB6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24" y="4626983"/>
            <a:ext cx="456809" cy="33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59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ermelho Austrá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DC7BD176-8066-4E68-B77E-FBB85E6FC1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24" y="4626983"/>
            <a:ext cx="456809" cy="33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4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pequena f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725986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C765D510-837E-4C4D-978E-A6F8E575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00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m divisão de fot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593725" y="1543050"/>
            <a:ext cx="7953375" cy="2743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84202" y="575841"/>
            <a:ext cx="7953374" cy="38326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 b="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endParaRPr lang="en-US" dirty="0"/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3725" y="959101"/>
            <a:ext cx="7953374" cy="14134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200"/>
              </a:lnSpc>
              <a:spcBef>
                <a:spcPts val="0"/>
              </a:spcBef>
              <a:buNone/>
              <a:defRPr sz="9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subtítulo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93725" y="492067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93725" y="1543050"/>
            <a:ext cx="3821113" cy="27432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 sz="1000">
                <a:solidFill>
                  <a:schemeClr val="accent5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pic>
        <p:nvPicPr>
          <p:cNvPr id="2" name="Gráfico 1">
            <a:extLst>
              <a:ext uri="{FF2B5EF4-FFF2-40B4-BE49-F238E27FC236}">
                <a16:creationId xmlns:a16="http://schemas.microsoft.com/office/drawing/2014/main" id="{A4443E71-5057-4789-808A-D57816F7A4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7805" y="4631503"/>
            <a:ext cx="450628" cy="32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87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9B88B226-165A-406E-A4FF-AF76AF35A0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 rot="5400000">
            <a:off x="-2746361" y="1939120"/>
            <a:ext cx="4598725" cy="720485"/>
          </a:xfrm>
          <a:prstGeom prst="rect">
            <a:avLst/>
          </a:prstGeom>
        </p:spPr>
      </p:pic>
      <p:sp>
        <p:nvSpPr>
          <p:cNvPr id="2" name="MSIPCMContentMarking" descr="{&quot;HashCode&quot;:1124315491,&quot;Placement&quot;:&quot;Footer&quot;,&quot;Top&quot;:378.960144,&quot;Left&quot;:240.767868,&quot;SlideWidth&quot;:720,&quot;SlideHeight&quot;:405}">
            <a:extLst>
              <a:ext uri="{FF2B5EF4-FFF2-40B4-BE49-F238E27FC236}">
                <a16:creationId xmlns:a16="http://schemas.microsoft.com/office/drawing/2014/main" id="{46FC2989-13E2-44EA-A670-3DD6780DE62F}"/>
              </a:ext>
            </a:extLst>
          </p:cNvPr>
          <p:cNvSpPr txBox="1"/>
          <p:nvPr userDrawn="1"/>
        </p:nvSpPr>
        <p:spPr>
          <a:xfrm>
            <a:off x="3057752" y="4812794"/>
            <a:ext cx="3028497" cy="33070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pt-BR" sz="1400">
                <a:solidFill>
                  <a:srgbClr val="FFFF00"/>
                </a:solidFill>
                <a:latin typeface="Calibri" panose="020F0502020204030204" pitchFamily="34" charset="0"/>
              </a:rPr>
              <a:t>Classificação da Informação: Interno</a:t>
            </a:r>
          </a:p>
        </p:txBody>
      </p:sp>
    </p:spTree>
    <p:extLst>
      <p:ext uri="{BB962C8B-B14F-4D97-AF65-F5344CB8AC3E}">
        <p14:creationId xmlns:p14="http://schemas.microsoft.com/office/powerpoint/2010/main" val="222683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67" r:id="rId2"/>
    <p:sldLayoutId id="2147483674" r:id="rId3"/>
    <p:sldLayoutId id="2147483688" r:id="rId4"/>
    <p:sldLayoutId id="2147483698" r:id="rId5"/>
    <p:sldLayoutId id="2147483699" r:id="rId6"/>
    <p:sldLayoutId id="2147483675" r:id="rId7"/>
    <p:sldLayoutId id="2147483690" r:id="rId8"/>
    <p:sldLayoutId id="2147483691" r:id="rId9"/>
    <p:sldLayoutId id="2147483689" r:id="rId10"/>
    <p:sldLayoutId id="2147483676" r:id="rId11"/>
    <p:sldLayoutId id="2147483695" r:id="rId12"/>
    <p:sldLayoutId id="2147483677" r:id="rId13"/>
    <p:sldLayoutId id="2147483678" r:id="rId14"/>
    <p:sldLayoutId id="2147483679" r:id="rId15"/>
    <p:sldLayoutId id="2147483686" r:id="rId16"/>
    <p:sldLayoutId id="2147483687" r:id="rId17"/>
    <p:sldLayoutId id="2147483693" r:id="rId18"/>
    <p:sldLayoutId id="2147483683" r:id="rId19"/>
    <p:sldLayoutId id="2147483682" r:id="rId20"/>
    <p:sldLayoutId id="2147483681" r:id="rId21"/>
    <p:sldLayoutId id="2147483692" r:id="rId22"/>
    <p:sldLayoutId id="2147483694" r:id="rId23"/>
    <p:sldLayoutId id="2147483685" r:id="rId24"/>
    <p:sldLayoutId id="2147483697" r:id="rId25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2.xml"/></Relationships>
</file>

<file path=ppt/slides/_rels/slide1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1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1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1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1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1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1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8.png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45AA7FC-3356-4369-BCC9-719152B55F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731839-B12C-4900-BCBB-6B1907EACE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6A1708AC-ADFD-416F-A518-B26ECCC173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2950D223-5472-45DF-B5A0-3A2E29BEBCAD}"/>
              </a:ext>
            </a:extLst>
          </p:cNvPr>
          <p:cNvSpPr/>
          <p:nvPr/>
        </p:nvSpPr>
        <p:spPr>
          <a:xfrm>
            <a:off x="412511" y="1471290"/>
            <a:ext cx="3382593" cy="27131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CD234EEC-61B3-457F-BE50-50872D4B7220}"/>
              </a:ext>
            </a:extLst>
          </p:cNvPr>
          <p:cNvSpPr txBox="1"/>
          <p:nvPr/>
        </p:nvSpPr>
        <p:spPr>
          <a:xfrm>
            <a:off x="501889" y="1533167"/>
            <a:ext cx="31969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dirty="0">
                <a:solidFill>
                  <a:srgbClr val="FF0000"/>
                </a:solidFill>
                <a:latin typeface="Lato" panose="020F0502020204030203"/>
              </a:rPr>
              <a:t>Título da</a:t>
            </a:r>
          </a:p>
          <a:p>
            <a:r>
              <a:rPr lang="pt-BR" sz="2400" dirty="0">
                <a:solidFill>
                  <a:srgbClr val="FF0000"/>
                </a:solidFill>
                <a:latin typeface="Lato" panose="020F0502020204030203"/>
              </a:rPr>
              <a:t>Apresentação- 24pt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6B7CF1E-B860-4BD1-801B-6B2032BE01DD}"/>
              </a:ext>
            </a:extLst>
          </p:cNvPr>
          <p:cNvSpPr txBox="1"/>
          <p:nvPr/>
        </p:nvSpPr>
        <p:spPr>
          <a:xfrm>
            <a:off x="501889" y="3020402"/>
            <a:ext cx="31969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reva aqui a descrição ou informação da</a:t>
            </a:r>
          </a:p>
          <a:p>
            <a:r>
              <a:rPr lang="pt-BR" sz="11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esentação- 11pt</a:t>
            </a: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275EE57A-51F2-4B38-AE00-9EBD6E009F4D}"/>
              </a:ext>
            </a:extLst>
          </p:cNvPr>
          <p:cNvSpPr txBox="1"/>
          <p:nvPr/>
        </p:nvSpPr>
        <p:spPr>
          <a:xfrm>
            <a:off x="501889" y="3506591"/>
            <a:ext cx="31969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e do responsável- 10pt Negrito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ED5D7B4F-476E-43ED-A651-1AF59823DBA0}"/>
              </a:ext>
            </a:extLst>
          </p:cNvPr>
          <p:cNvSpPr txBox="1"/>
          <p:nvPr/>
        </p:nvSpPr>
        <p:spPr>
          <a:xfrm>
            <a:off x="501889" y="3800034"/>
            <a:ext cx="16019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amento/Área- 9pt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4B80A57D-8D33-40AB-B600-5A84EA1B977A}"/>
              </a:ext>
            </a:extLst>
          </p:cNvPr>
          <p:cNvSpPr txBox="1"/>
          <p:nvPr/>
        </p:nvSpPr>
        <p:spPr>
          <a:xfrm>
            <a:off x="2763826" y="3778609"/>
            <a:ext cx="9350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d</a:t>
            </a:r>
            <a:r>
              <a:rPr lang="pt-BR" sz="9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mm/aa- 9pt</a:t>
            </a:r>
          </a:p>
        </p:txBody>
      </p:sp>
    </p:spTree>
    <p:extLst>
      <p:ext uri="{BB962C8B-B14F-4D97-AF65-F5344CB8AC3E}">
        <p14:creationId xmlns:p14="http://schemas.microsoft.com/office/powerpoint/2010/main" val="204919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243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5460348" y="3434980"/>
            <a:ext cx="650595" cy="196686"/>
            <a:chOff x="5460348" y="3434980"/>
            <a:chExt cx="650595" cy="196686"/>
          </a:xfrm>
        </p:grpSpPr>
        <p:cxnSp>
          <p:nvCxnSpPr>
            <p:cNvPr id="57" name="Straight Connector 56"/>
            <p:cNvCxnSpPr/>
            <p:nvPr/>
          </p:nvCxnSpPr>
          <p:spPr>
            <a:xfrm>
              <a:off x="5460348" y="3436869"/>
              <a:ext cx="6505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6109607" y="3434980"/>
              <a:ext cx="0" cy="196686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strutura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lano</a:t>
            </a:r>
            <a:r>
              <a:rPr lang="en-US" dirty="0">
                <a:solidFill>
                  <a:srgbClr val="EC0000"/>
                </a:solidFill>
              </a:rPr>
              <a:t> de </a:t>
            </a:r>
            <a:r>
              <a:rPr lang="en-US" dirty="0" err="1">
                <a:solidFill>
                  <a:srgbClr val="EC0000"/>
                </a:solidFill>
              </a:rPr>
              <a:t>negóci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013425" y="3032048"/>
            <a:ext cx="641631" cy="178850"/>
            <a:chOff x="3013425" y="3032048"/>
            <a:chExt cx="641631" cy="178850"/>
          </a:xfrm>
        </p:grpSpPr>
        <p:cxnSp>
          <p:nvCxnSpPr>
            <p:cNvPr id="19" name="Straight Connector 18"/>
            <p:cNvCxnSpPr>
              <a:endCxn id="13" idx="0"/>
            </p:cNvCxnSpPr>
            <p:nvPr/>
          </p:nvCxnSpPr>
          <p:spPr>
            <a:xfrm>
              <a:off x="3017293" y="3035626"/>
              <a:ext cx="0" cy="175272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3013425" y="3032048"/>
              <a:ext cx="641631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/>
          <p:cNvGrpSpPr/>
          <p:nvPr/>
        </p:nvGrpSpPr>
        <p:grpSpPr>
          <a:xfrm>
            <a:off x="6702390" y="1933073"/>
            <a:ext cx="1658064" cy="460064"/>
            <a:chOff x="5324462" y="1527977"/>
            <a:chExt cx="1491126" cy="460064"/>
          </a:xfrm>
        </p:grpSpPr>
        <p:sp>
          <p:nvSpPr>
            <p:cNvPr id="43" name="TextBox 42"/>
            <p:cNvSpPr txBox="1"/>
            <p:nvPr/>
          </p:nvSpPr>
          <p:spPr>
            <a:xfrm>
              <a:off x="5324476" y="152797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end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324462" y="1704950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013425" y="2060432"/>
            <a:ext cx="640960" cy="180760"/>
            <a:chOff x="3013425" y="2060432"/>
            <a:chExt cx="640960" cy="180760"/>
          </a:xfrm>
        </p:grpSpPr>
        <p:cxnSp>
          <p:nvCxnSpPr>
            <p:cNvPr id="18" name="Straight Connector 17"/>
            <p:cNvCxnSpPr>
              <a:stCxn id="12" idx="4"/>
            </p:cNvCxnSpPr>
            <p:nvPr/>
          </p:nvCxnSpPr>
          <p:spPr>
            <a:xfrm>
              <a:off x="3017293" y="2060432"/>
              <a:ext cx="0" cy="18076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3013425" y="2241192"/>
              <a:ext cx="640960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/>
          <p:cNvGrpSpPr/>
          <p:nvPr/>
        </p:nvGrpSpPr>
        <p:grpSpPr>
          <a:xfrm>
            <a:off x="5460348" y="2446766"/>
            <a:ext cx="650595" cy="182502"/>
            <a:chOff x="5460348" y="2446766"/>
            <a:chExt cx="650595" cy="182502"/>
          </a:xfrm>
        </p:grpSpPr>
        <p:cxnSp>
          <p:nvCxnSpPr>
            <p:cNvPr id="56" name="Straight Connector 55"/>
            <p:cNvCxnSpPr/>
            <p:nvPr/>
          </p:nvCxnSpPr>
          <p:spPr>
            <a:xfrm>
              <a:off x="5460348" y="2625089"/>
              <a:ext cx="6505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stCxn id="15" idx="4"/>
            </p:cNvCxnSpPr>
            <p:nvPr/>
          </p:nvCxnSpPr>
          <p:spPr>
            <a:xfrm>
              <a:off x="6109607" y="2446766"/>
              <a:ext cx="0" cy="182502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/>
          <p:cNvGrpSpPr/>
          <p:nvPr/>
        </p:nvGrpSpPr>
        <p:grpSpPr>
          <a:xfrm>
            <a:off x="6702390" y="3634689"/>
            <a:ext cx="1658064" cy="460064"/>
            <a:chOff x="5324462" y="1527977"/>
            <a:chExt cx="1491126" cy="460064"/>
          </a:xfrm>
        </p:grpSpPr>
        <p:sp>
          <p:nvSpPr>
            <p:cNvPr id="63" name="TextBox 62"/>
            <p:cNvSpPr txBox="1"/>
            <p:nvPr/>
          </p:nvSpPr>
          <p:spPr>
            <a:xfrm>
              <a:off x="5324476" y="152797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operaçõe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324462" y="1704950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744605" y="1571442"/>
            <a:ext cx="1658064" cy="460064"/>
            <a:chOff x="5324462" y="1527977"/>
            <a:chExt cx="1491126" cy="460064"/>
          </a:xfrm>
        </p:grpSpPr>
        <p:sp>
          <p:nvSpPr>
            <p:cNvPr id="68" name="TextBox 67"/>
            <p:cNvSpPr txBox="1"/>
            <p:nvPr/>
          </p:nvSpPr>
          <p:spPr>
            <a:xfrm>
              <a:off x="5324476" y="152797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nális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324462" y="1704950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744605" y="3210898"/>
            <a:ext cx="1658064" cy="460064"/>
            <a:chOff x="5324462" y="1527977"/>
            <a:chExt cx="1491126" cy="460064"/>
          </a:xfrm>
        </p:grpSpPr>
        <p:sp>
          <p:nvSpPr>
            <p:cNvPr id="71" name="TextBox 70"/>
            <p:cNvSpPr txBox="1"/>
            <p:nvPr/>
          </p:nvSpPr>
          <p:spPr>
            <a:xfrm>
              <a:off x="5324476" y="152797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stratégi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324462" y="1704950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855876" y="3610990"/>
            <a:ext cx="507462" cy="507462"/>
            <a:chOff x="5855876" y="3610990"/>
            <a:chExt cx="507462" cy="507462"/>
          </a:xfrm>
        </p:grpSpPr>
        <p:sp>
          <p:nvSpPr>
            <p:cNvPr id="17" name="Oval 16"/>
            <p:cNvSpPr/>
            <p:nvPr/>
          </p:nvSpPr>
          <p:spPr>
            <a:xfrm>
              <a:off x="5855876" y="3610990"/>
              <a:ext cx="507462" cy="50746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grpSp>
          <p:nvGrpSpPr>
            <p:cNvPr id="93" name="Group 92"/>
            <p:cNvGrpSpPr/>
            <p:nvPr/>
          </p:nvGrpSpPr>
          <p:grpSpPr>
            <a:xfrm>
              <a:off x="5984576" y="3742861"/>
              <a:ext cx="250062" cy="243720"/>
              <a:chOff x="2212975" y="1027113"/>
              <a:chExt cx="438150" cy="427038"/>
            </a:xfrm>
            <a:solidFill>
              <a:schemeClr val="bg1"/>
            </a:solidFill>
          </p:grpSpPr>
          <p:sp>
            <p:nvSpPr>
              <p:cNvPr id="94" name="Freeform 126"/>
              <p:cNvSpPr>
                <a:spLocks noEditPoints="1"/>
              </p:cNvSpPr>
              <p:nvPr/>
            </p:nvSpPr>
            <p:spPr bwMode="auto">
              <a:xfrm>
                <a:off x="2212975" y="1027113"/>
                <a:ext cx="438150" cy="427038"/>
              </a:xfrm>
              <a:custGeom>
                <a:avLst/>
                <a:gdLst>
                  <a:gd name="T0" fmla="*/ 345 w 438"/>
                  <a:gd name="T1" fmla="*/ 169 h 426"/>
                  <a:gd name="T2" fmla="*/ 424 w 438"/>
                  <a:gd name="T3" fmla="*/ 52 h 426"/>
                  <a:gd name="T4" fmla="*/ 409 w 438"/>
                  <a:gd name="T5" fmla="*/ 49 h 426"/>
                  <a:gd name="T6" fmla="*/ 360 w 438"/>
                  <a:gd name="T7" fmla="*/ 96 h 426"/>
                  <a:gd name="T8" fmla="*/ 337 w 438"/>
                  <a:gd name="T9" fmla="*/ 75 h 426"/>
                  <a:gd name="T10" fmla="*/ 383 w 438"/>
                  <a:gd name="T11" fmla="*/ 23 h 426"/>
                  <a:gd name="T12" fmla="*/ 380 w 438"/>
                  <a:gd name="T13" fmla="*/ 8 h 426"/>
                  <a:gd name="T14" fmla="*/ 288 w 438"/>
                  <a:gd name="T15" fmla="*/ 24 h 426"/>
                  <a:gd name="T16" fmla="*/ 119 w 438"/>
                  <a:gd name="T17" fmla="*/ 261 h 426"/>
                  <a:gd name="T18" fmla="*/ 31 w 438"/>
                  <a:gd name="T19" fmla="*/ 282 h 426"/>
                  <a:gd name="T20" fmla="*/ 21 w 438"/>
                  <a:gd name="T21" fmla="*/ 379 h 426"/>
                  <a:gd name="T22" fmla="*/ 75 w 438"/>
                  <a:gd name="T23" fmla="*/ 331 h 426"/>
                  <a:gd name="T24" fmla="*/ 101 w 438"/>
                  <a:gd name="T25" fmla="*/ 350 h 426"/>
                  <a:gd name="T26" fmla="*/ 55 w 438"/>
                  <a:gd name="T27" fmla="*/ 403 h 426"/>
                  <a:gd name="T28" fmla="*/ 58 w 438"/>
                  <a:gd name="T29" fmla="*/ 418 h 426"/>
                  <a:gd name="T30" fmla="*/ 93 w 438"/>
                  <a:gd name="T31" fmla="*/ 426 h 426"/>
                  <a:gd name="T32" fmla="*/ 171 w 438"/>
                  <a:gd name="T33" fmla="*/ 313 h 426"/>
                  <a:gd name="T34" fmla="*/ 137 w 438"/>
                  <a:gd name="T35" fmla="*/ 388 h 426"/>
                  <a:gd name="T36" fmla="*/ 79 w 438"/>
                  <a:gd name="T37" fmla="*/ 405 h 426"/>
                  <a:gd name="T38" fmla="*/ 115 w 438"/>
                  <a:gd name="T39" fmla="*/ 337 h 426"/>
                  <a:gd name="T40" fmla="*/ 79 w 438"/>
                  <a:gd name="T41" fmla="*/ 310 h 426"/>
                  <a:gd name="T42" fmla="*/ 27 w 438"/>
                  <a:gd name="T43" fmla="*/ 352 h 426"/>
                  <a:gd name="T44" fmla="*/ 93 w 438"/>
                  <a:gd name="T45" fmla="*/ 275 h 426"/>
                  <a:gd name="T46" fmla="*/ 128 w 438"/>
                  <a:gd name="T47" fmla="*/ 278 h 426"/>
                  <a:gd name="T48" fmla="*/ 287 w 438"/>
                  <a:gd name="T49" fmla="*/ 111 h 426"/>
                  <a:gd name="T50" fmla="*/ 345 w 438"/>
                  <a:gd name="T51" fmla="*/ 18 h 426"/>
                  <a:gd name="T52" fmla="*/ 324 w 438"/>
                  <a:gd name="T53" fmla="*/ 55 h 426"/>
                  <a:gd name="T54" fmla="*/ 344 w 438"/>
                  <a:gd name="T55" fmla="*/ 108 h 426"/>
                  <a:gd name="T56" fmla="*/ 377 w 438"/>
                  <a:gd name="T57" fmla="*/ 108 h 426"/>
                  <a:gd name="T58" fmla="*/ 394 w 438"/>
                  <a:gd name="T59" fmla="*/ 130 h 426"/>
                  <a:gd name="T60" fmla="*/ 321 w 438"/>
                  <a:gd name="T61" fmla="*/ 145 h 426"/>
                  <a:gd name="T62" fmla="*/ 154 w 438"/>
                  <a:gd name="T63" fmla="*/ 304 h 426"/>
                  <a:gd name="T64" fmla="*/ 137 w 438"/>
                  <a:gd name="T65" fmla="*/ 388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8" h="426">
                    <a:moveTo>
                      <a:pt x="320" y="165"/>
                    </a:moveTo>
                    <a:cubicBezTo>
                      <a:pt x="328" y="167"/>
                      <a:pt x="336" y="169"/>
                      <a:pt x="345" y="169"/>
                    </a:cubicBezTo>
                    <a:cubicBezTo>
                      <a:pt x="368" y="169"/>
                      <a:pt x="391" y="159"/>
                      <a:pt x="407" y="143"/>
                    </a:cubicBezTo>
                    <a:cubicBezTo>
                      <a:pt x="431" y="119"/>
                      <a:pt x="438" y="83"/>
                      <a:pt x="424" y="52"/>
                    </a:cubicBezTo>
                    <a:cubicBezTo>
                      <a:pt x="423" y="49"/>
                      <a:pt x="420" y="47"/>
                      <a:pt x="417" y="46"/>
                    </a:cubicBezTo>
                    <a:cubicBezTo>
                      <a:pt x="414" y="46"/>
                      <a:pt x="411" y="47"/>
                      <a:pt x="409" y="49"/>
                    </a:cubicBezTo>
                    <a:cubicBezTo>
                      <a:pt x="363" y="95"/>
                      <a:pt x="363" y="95"/>
                      <a:pt x="363" y="95"/>
                    </a:cubicBezTo>
                    <a:cubicBezTo>
                      <a:pt x="362" y="96"/>
                      <a:pt x="361" y="96"/>
                      <a:pt x="360" y="96"/>
                    </a:cubicBezTo>
                    <a:cubicBezTo>
                      <a:pt x="359" y="96"/>
                      <a:pt x="358" y="96"/>
                      <a:pt x="357" y="95"/>
                    </a:cubicBezTo>
                    <a:cubicBezTo>
                      <a:pt x="337" y="75"/>
                      <a:pt x="337" y="75"/>
                      <a:pt x="337" y="75"/>
                    </a:cubicBezTo>
                    <a:cubicBezTo>
                      <a:pt x="335" y="73"/>
                      <a:pt x="335" y="70"/>
                      <a:pt x="337" y="69"/>
                    </a:cubicBezTo>
                    <a:cubicBezTo>
                      <a:pt x="383" y="23"/>
                      <a:pt x="383" y="23"/>
                      <a:pt x="383" y="23"/>
                    </a:cubicBezTo>
                    <a:cubicBezTo>
                      <a:pt x="385" y="21"/>
                      <a:pt x="386" y="18"/>
                      <a:pt x="386" y="15"/>
                    </a:cubicBezTo>
                    <a:cubicBezTo>
                      <a:pt x="385" y="12"/>
                      <a:pt x="383" y="9"/>
                      <a:pt x="380" y="8"/>
                    </a:cubicBezTo>
                    <a:cubicBezTo>
                      <a:pt x="369" y="2"/>
                      <a:pt x="357" y="0"/>
                      <a:pt x="345" y="0"/>
                    </a:cubicBezTo>
                    <a:cubicBezTo>
                      <a:pt x="324" y="0"/>
                      <a:pt x="304" y="8"/>
                      <a:pt x="288" y="24"/>
                    </a:cubicBezTo>
                    <a:cubicBezTo>
                      <a:pt x="266" y="47"/>
                      <a:pt x="257" y="82"/>
                      <a:pt x="267" y="112"/>
                    </a:cubicBezTo>
                    <a:cubicBezTo>
                      <a:pt x="119" y="261"/>
                      <a:pt x="119" y="261"/>
                      <a:pt x="119" y="261"/>
                    </a:cubicBezTo>
                    <a:cubicBezTo>
                      <a:pt x="111" y="258"/>
                      <a:pt x="102" y="257"/>
                      <a:pt x="93" y="257"/>
                    </a:cubicBezTo>
                    <a:cubicBezTo>
                      <a:pt x="70" y="257"/>
                      <a:pt x="47" y="266"/>
                      <a:pt x="31" y="282"/>
                    </a:cubicBezTo>
                    <a:cubicBezTo>
                      <a:pt x="7" y="306"/>
                      <a:pt x="0" y="342"/>
                      <a:pt x="14" y="374"/>
                    </a:cubicBezTo>
                    <a:cubicBezTo>
                      <a:pt x="15" y="376"/>
                      <a:pt x="18" y="379"/>
                      <a:pt x="21" y="379"/>
                    </a:cubicBezTo>
                    <a:cubicBezTo>
                      <a:pt x="24" y="380"/>
                      <a:pt x="27" y="379"/>
                      <a:pt x="29" y="376"/>
                    </a:cubicBezTo>
                    <a:cubicBezTo>
                      <a:pt x="75" y="331"/>
                      <a:pt x="75" y="331"/>
                      <a:pt x="75" y="331"/>
                    </a:cubicBezTo>
                    <a:cubicBezTo>
                      <a:pt x="77" y="329"/>
                      <a:pt x="80" y="328"/>
                      <a:pt x="81" y="330"/>
                    </a:cubicBezTo>
                    <a:cubicBezTo>
                      <a:pt x="101" y="350"/>
                      <a:pt x="101" y="350"/>
                      <a:pt x="101" y="350"/>
                    </a:cubicBezTo>
                    <a:cubicBezTo>
                      <a:pt x="103" y="352"/>
                      <a:pt x="103" y="355"/>
                      <a:pt x="101" y="357"/>
                    </a:cubicBezTo>
                    <a:cubicBezTo>
                      <a:pt x="55" y="403"/>
                      <a:pt x="55" y="403"/>
                      <a:pt x="55" y="403"/>
                    </a:cubicBezTo>
                    <a:cubicBezTo>
                      <a:pt x="53" y="405"/>
                      <a:pt x="52" y="408"/>
                      <a:pt x="53" y="411"/>
                    </a:cubicBezTo>
                    <a:cubicBezTo>
                      <a:pt x="53" y="414"/>
                      <a:pt x="55" y="416"/>
                      <a:pt x="58" y="418"/>
                    </a:cubicBezTo>
                    <a:cubicBezTo>
                      <a:pt x="69" y="423"/>
                      <a:pt x="81" y="426"/>
                      <a:pt x="93" y="426"/>
                    </a:cubicBezTo>
                    <a:cubicBezTo>
                      <a:pt x="93" y="426"/>
                      <a:pt x="93" y="426"/>
                      <a:pt x="93" y="426"/>
                    </a:cubicBezTo>
                    <a:cubicBezTo>
                      <a:pt x="114" y="426"/>
                      <a:pt x="135" y="417"/>
                      <a:pt x="150" y="401"/>
                    </a:cubicBezTo>
                    <a:cubicBezTo>
                      <a:pt x="173" y="379"/>
                      <a:pt x="181" y="343"/>
                      <a:pt x="171" y="313"/>
                    </a:cubicBezTo>
                    <a:lnTo>
                      <a:pt x="320" y="165"/>
                    </a:lnTo>
                    <a:close/>
                    <a:moveTo>
                      <a:pt x="137" y="388"/>
                    </a:moveTo>
                    <a:cubicBezTo>
                      <a:pt x="125" y="400"/>
                      <a:pt x="109" y="407"/>
                      <a:pt x="93" y="407"/>
                    </a:cubicBezTo>
                    <a:cubicBezTo>
                      <a:pt x="88" y="407"/>
                      <a:pt x="84" y="406"/>
                      <a:pt x="79" y="405"/>
                    </a:cubicBezTo>
                    <a:cubicBezTo>
                      <a:pt x="114" y="370"/>
                      <a:pt x="114" y="370"/>
                      <a:pt x="114" y="370"/>
                    </a:cubicBezTo>
                    <a:cubicBezTo>
                      <a:pt x="123" y="361"/>
                      <a:pt x="124" y="346"/>
                      <a:pt x="115" y="337"/>
                    </a:cubicBezTo>
                    <a:cubicBezTo>
                      <a:pt x="95" y="317"/>
                      <a:pt x="95" y="317"/>
                      <a:pt x="95" y="317"/>
                    </a:cubicBezTo>
                    <a:cubicBezTo>
                      <a:pt x="91" y="312"/>
                      <a:pt x="85" y="310"/>
                      <a:pt x="79" y="310"/>
                    </a:cubicBezTo>
                    <a:cubicBezTo>
                      <a:pt x="73" y="310"/>
                      <a:pt x="66" y="313"/>
                      <a:pt x="62" y="317"/>
                    </a:cubicBezTo>
                    <a:cubicBezTo>
                      <a:pt x="27" y="352"/>
                      <a:pt x="27" y="352"/>
                      <a:pt x="27" y="352"/>
                    </a:cubicBezTo>
                    <a:cubicBezTo>
                      <a:pt x="23" y="332"/>
                      <a:pt x="29" y="311"/>
                      <a:pt x="45" y="295"/>
                    </a:cubicBezTo>
                    <a:cubicBezTo>
                      <a:pt x="57" y="283"/>
                      <a:pt x="75" y="275"/>
                      <a:pt x="93" y="275"/>
                    </a:cubicBezTo>
                    <a:cubicBezTo>
                      <a:pt x="102" y="275"/>
                      <a:pt x="110" y="277"/>
                      <a:pt x="117" y="280"/>
                    </a:cubicBezTo>
                    <a:cubicBezTo>
                      <a:pt x="121" y="282"/>
                      <a:pt x="125" y="281"/>
                      <a:pt x="128" y="278"/>
                    </a:cubicBezTo>
                    <a:cubicBezTo>
                      <a:pt x="285" y="121"/>
                      <a:pt x="285" y="121"/>
                      <a:pt x="285" y="121"/>
                    </a:cubicBezTo>
                    <a:cubicBezTo>
                      <a:pt x="287" y="118"/>
                      <a:pt x="288" y="114"/>
                      <a:pt x="287" y="111"/>
                    </a:cubicBezTo>
                    <a:cubicBezTo>
                      <a:pt x="277" y="87"/>
                      <a:pt x="283" y="56"/>
                      <a:pt x="301" y="37"/>
                    </a:cubicBezTo>
                    <a:cubicBezTo>
                      <a:pt x="313" y="25"/>
                      <a:pt x="329" y="18"/>
                      <a:pt x="345" y="18"/>
                    </a:cubicBezTo>
                    <a:cubicBezTo>
                      <a:pt x="350" y="18"/>
                      <a:pt x="355" y="19"/>
                      <a:pt x="359" y="20"/>
                    </a:cubicBezTo>
                    <a:cubicBezTo>
                      <a:pt x="324" y="55"/>
                      <a:pt x="324" y="55"/>
                      <a:pt x="324" y="55"/>
                    </a:cubicBezTo>
                    <a:cubicBezTo>
                      <a:pt x="315" y="65"/>
                      <a:pt x="315" y="79"/>
                      <a:pt x="324" y="88"/>
                    </a:cubicBezTo>
                    <a:cubicBezTo>
                      <a:pt x="344" y="108"/>
                      <a:pt x="344" y="108"/>
                      <a:pt x="344" y="108"/>
                    </a:cubicBezTo>
                    <a:cubicBezTo>
                      <a:pt x="348" y="112"/>
                      <a:pt x="354" y="115"/>
                      <a:pt x="360" y="115"/>
                    </a:cubicBezTo>
                    <a:cubicBezTo>
                      <a:pt x="366" y="115"/>
                      <a:pt x="372" y="112"/>
                      <a:pt x="377" y="108"/>
                    </a:cubicBezTo>
                    <a:cubicBezTo>
                      <a:pt x="411" y="73"/>
                      <a:pt x="411" y="73"/>
                      <a:pt x="411" y="73"/>
                    </a:cubicBezTo>
                    <a:cubicBezTo>
                      <a:pt x="415" y="93"/>
                      <a:pt x="409" y="115"/>
                      <a:pt x="394" y="130"/>
                    </a:cubicBezTo>
                    <a:cubicBezTo>
                      <a:pt x="381" y="143"/>
                      <a:pt x="363" y="150"/>
                      <a:pt x="345" y="150"/>
                    </a:cubicBezTo>
                    <a:cubicBezTo>
                      <a:pt x="337" y="150"/>
                      <a:pt x="329" y="148"/>
                      <a:pt x="321" y="145"/>
                    </a:cubicBezTo>
                    <a:cubicBezTo>
                      <a:pt x="318" y="144"/>
                      <a:pt x="314" y="144"/>
                      <a:pt x="311" y="147"/>
                    </a:cubicBezTo>
                    <a:cubicBezTo>
                      <a:pt x="154" y="304"/>
                      <a:pt x="154" y="304"/>
                      <a:pt x="154" y="304"/>
                    </a:cubicBezTo>
                    <a:cubicBezTo>
                      <a:pt x="151" y="307"/>
                      <a:pt x="150" y="311"/>
                      <a:pt x="152" y="315"/>
                    </a:cubicBezTo>
                    <a:cubicBezTo>
                      <a:pt x="162" y="339"/>
                      <a:pt x="156" y="370"/>
                      <a:pt x="137" y="38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127"/>
              <p:cNvSpPr>
                <a:spLocks/>
              </p:cNvSpPr>
              <p:nvPr/>
            </p:nvSpPr>
            <p:spPr bwMode="auto">
              <a:xfrm>
                <a:off x="2447925" y="1257300"/>
                <a:ext cx="198438" cy="193675"/>
              </a:xfrm>
              <a:custGeom>
                <a:avLst/>
                <a:gdLst>
                  <a:gd name="T0" fmla="*/ 56 w 197"/>
                  <a:gd name="T1" fmla="*/ 3 h 194"/>
                  <a:gd name="T2" fmla="*/ 43 w 197"/>
                  <a:gd name="T3" fmla="*/ 3 h 194"/>
                  <a:gd name="T4" fmla="*/ 43 w 197"/>
                  <a:gd name="T5" fmla="*/ 16 h 194"/>
                  <a:gd name="T6" fmla="*/ 174 w 197"/>
                  <a:gd name="T7" fmla="*/ 147 h 194"/>
                  <a:gd name="T8" fmla="*/ 174 w 197"/>
                  <a:gd name="T9" fmla="*/ 154 h 194"/>
                  <a:gd name="T10" fmla="*/ 155 w 197"/>
                  <a:gd name="T11" fmla="*/ 174 h 194"/>
                  <a:gd name="T12" fmla="*/ 152 w 197"/>
                  <a:gd name="T13" fmla="*/ 175 h 194"/>
                  <a:gd name="T14" fmla="*/ 152 w 197"/>
                  <a:gd name="T15" fmla="*/ 175 h 194"/>
                  <a:gd name="T16" fmla="*/ 148 w 197"/>
                  <a:gd name="T17" fmla="*/ 174 h 194"/>
                  <a:gd name="T18" fmla="*/ 17 w 197"/>
                  <a:gd name="T19" fmla="*/ 43 h 194"/>
                  <a:gd name="T20" fmla="*/ 4 w 197"/>
                  <a:gd name="T21" fmla="*/ 43 h 194"/>
                  <a:gd name="T22" fmla="*/ 4 w 197"/>
                  <a:gd name="T23" fmla="*/ 56 h 194"/>
                  <a:gd name="T24" fmla="*/ 135 w 197"/>
                  <a:gd name="T25" fmla="*/ 187 h 194"/>
                  <a:gd name="T26" fmla="*/ 152 w 197"/>
                  <a:gd name="T27" fmla="*/ 194 h 194"/>
                  <a:gd name="T28" fmla="*/ 152 w 197"/>
                  <a:gd name="T29" fmla="*/ 194 h 194"/>
                  <a:gd name="T30" fmla="*/ 169 w 197"/>
                  <a:gd name="T31" fmla="*/ 187 h 194"/>
                  <a:gd name="T32" fmla="*/ 187 w 197"/>
                  <a:gd name="T33" fmla="*/ 167 h 194"/>
                  <a:gd name="T34" fmla="*/ 187 w 197"/>
                  <a:gd name="T35" fmla="*/ 134 h 194"/>
                  <a:gd name="T36" fmla="*/ 56 w 197"/>
                  <a:gd name="T37" fmla="*/ 3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7" h="194">
                    <a:moveTo>
                      <a:pt x="56" y="3"/>
                    </a:moveTo>
                    <a:cubicBezTo>
                      <a:pt x="53" y="0"/>
                      <a:pt x="47" y="0"/>
                      <a:pt x="43" y="3"/>
                    </a:cubicBezTo>
                    <a:cubicBezTo>
                      <a:pt x="39" y="7"/>
                      <a:pt x="39" y="13"/>
                      <a:pt x="43" y="16"/>
                    </a:cubicBezTo>
                    <a:cubicBezTo>
                      <a:pt x="174" y="147"/>
                      <a:pt x="174" y="147"/>
                      <a:pt x="174" y="147"/>
                    </a:cubicBezTo>
                    <a:cubicBezTo>
                      <a:pt x="176" y="149"/>
                      <a:pt x="176" y="152"/>
                      <a:pt x="174" y="154"/>
                    </a:cubicBezTo>
                    <a:cubicBezTo>
                      <a:pt x="155" y="174"/>
                      <a:pt x="155" y="174"/>
                      <a:pt x="155" y="174"/>
                    </a:cubicBezTo>
                    <a:cubicBezTo>
                      <a:pt x="154" y="175"/>
                      <a:pt x="153" y="175"/>
                      <a:pt x="152" y="175"/>
                    </a:cubicBezTo>
                    <a:cubicBezTo>
                      <a:pt x="152" y="175"/>
                      <a:pt x="152" y="175"/>
                      <a:pt x="152" y="175"/>
                    </a:cubicBezTo>
                    <a:cubicBezTo>
                      <a:pt x="151" y="175"/>
                      <a:pt x="149" y="175"/>
                      <a:pt x="148" y="174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3" y="39"/>
                      <a:pt x="7" y="39"/>
                      <a:pt x="4" y="43"/>
                    </a:cubicBezTo>
                    <a:cubicBezTo>
                      <a:pt x="0" y="46"/>
                      <a:pt x="0" y="52"/>
                      <a:pt x="4" y="56"/>
                    </a:cubicBezTo>
                    <a:cubicBezTo>
                      <a:pt x="135" y="187"/>
                      <a:pt x="135" y="187"/>
                      <a:pt x="135" y="187"/>
                    </a:cubicBezTo>
                    <a:cubicBezTo>
                      <a:pt x="140" y="191"/>
                      <a:pt x="146" y="194"/>
                      <a:pt x="152" y="194"/>
                    </a:cubicBezTo>
                    <a:cubicBezTo>
                      <a:pt x="152" y="194"/>
                      <a:pt x="152" y="194"/>
                      <a:pt x="152" y="194"/>
                    </a:cubicBezTo>
                    <a:cubicBezTo>
                      <a:pt x="158" y="194"/>
                      <a:pt x="164" y="191"/>
                      <a:pt x="169" y="187"/>
                    </a:cubicBezTo>
                    <a:cubicBezTo>
                      <a:pt x="187" y="167"/>
                      <a:pt x="187" y="167"/>
                      <a:pt x="187" y="167"/>
                    </a:cubicBezTo>
                    <a:cubicBezTo>
                      <a:pt x="197" y="158"/>
                      <a:pt x="197" y="143"/>
                      <a:pt x="187" y="134"/>
                    </a:cubicBezTo>
                    <a:lnTo>
                      <a:pt x="56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128"/>
              <p:cNvSpPr>
                <a:spLocks noEditPoints="1"/>
              </p:cNvSpPr>
              <p:nvPr/>
            </p:nvSpPr>
            <p:spPr bwMode="auto">
              <a:xfrm>
                <a:off x="2219325" y="1027113"/>
                <a:ext cx="177800" cy="176213"/>
              </a:xfrm>
              <a:custGeom>
                <a:avLst/>
                <a:gdLst>
                  <a:gd name="T0" fmla="*/ 43 w 178"/>
                  <a:gd name="T1" fmla="*/ 83 h 177"/>
                  <a:gd name="T2" fmla="*/ 49 w 178"/>
                  <a:gd name="T3" fmla="*/ 85 h 177"/>
                  <a:gd name="T4" fmla="*/ 56 w 178"/>
                  <a:gd name="T5" fmla="*/ 83 h 177"/>
                  <a:gd name="T6" fmla="*/ 62 w 178"/>
                  <a:gd name="T7" fmla="*/ 76 h 177"/>
                  <a:gd name="T8" fmla="*/ 161 w 178"/>
                  <a:gd name="T9" fmla="*/ 174 h 177"/>
                  <a:gd name="T10" fmla="*/ 167 w 178"/>
                  <a:gd name="T11" fmla="*/ 177 h 177"/>
                  <a:gd name="T12" fmla="*/ 174 w 178"/>
                  <a:gd name="T13" fmla="*/ 174 h 177"/>
                  <a:gd name="T14" fmla="*/ 174 w 178"/>
                  <a:gd name="T15" fmla="*/ 161 h 177"/>
                  <a:gd name="T16" fmla="*/ 76 w 178"/>
                  <a:gd name="T17" fmla="*/ 63 h 177"/>
                  <a:gd name="T18" fmla="*/ 82 w 178"/>
                  <a:gd name="T19" fmla="*/ 57 h 177"/>
                  <a:gd name="T20" fmla="*/ 82 w 178"/>
                  <a:gd name="T21" fmla="*/ 43 h 177"/>
                  <a:gd name="T22" fmla="*/ 43 w 178"/>
                  <a:gd name="T23" fmla="*/ 4 h 177"/>
                  <a:gd name="T24" fmla="*/ 30 w 178"/>
                  <a:gd name="T25" fmla="*/ 4 h 177"/>
                  <a:gd name="T26" fmla="*/ 3 w 178"/>
                  <a:gd name="T27" fmla="*/ 30 h 177"/>
                  <a:gd name="T28" fmla="*/ 3 w 178"/>
                  <a:gd name="T29" fmla="*/ 43 h 177"/>
                  <a:gd name="T30" fmla="*/ 43 w 178"/>
                  <a:gd name="T31" fmla="*/ 83 h 177"/>
                  <a:gd name="T32" fmla="*/ 36 w 178"/>
                  <a:gd name="T33" fmla="*/ 24 h 177"/>
                  <a:gd name="T34" fmla="*/ 62 w 178"/>
                  <a:gd name="T35" fmla="*/ 50 h 177"/>
                  <a:gd name="T36" fmla="*/ 49 w 178"/>
                  <a:gd name="T37" fmla="*/ 63 h 177"/>
                  <a:gd name="T38" fmla="*/ 23 w 178"/>
                  <a:gd name="T39" fmla="*/ 37 h 177"/>
                  <a:gd name="T40" fmla="*/ 36 w 178"/>
                  <a:gd name="T41" fmla="*/ 24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8" h="177">
                    <a:moveTo>
                      <a:pt x="43" y="83"/>
                    </a:moveTo>
                    <a:cubicBezTo>
                      <a:pt x="45" y="85"/>
                      <a:pt x="47" y="85"/>
                      <a:pt x="49" y="85"/>
                    </a:cubicBezTo>
                    <a:cubicBezTo>
                      <a:pt x="52" y="85"/>
                      <a:pt x="54" y="85"/>
                      <a:pt x="56" y="83"/>
                    </a:cubicBezTo>
                    <a:cubicBezTo>
                      <a:pt x="62" y="76"/>
                      <a:pt x="62" y="76"/>
                      <a:pt x="62" y="76"/>
                    </a:cubicBezTo>
                    <a:cubicBezTo>
                      <a:pt x="161" y="174"/>
                      <a:pt x="161" y="174"/>
                      <a:pt x="161" y="174"/>
                    </a:cubicBezTo>
                    <a:cubicBezTo>
                      <a:pt x="163" y="176"/>
                      <a:pt x="165" y="177"/>
                      <a:pt x="167" y="177"/>
                    </a:cubicBezTo>
                    <a:cubicBezTo>
                      <a:pt x="170" y="177"/>
                      <a:pt x="172" y="176"/>
                      <a:pt x="174" y="174"/>
                    </a:cubicBezTo>
                    <a:cubicBezTo>
                      <a:pt x="178" y="171"/>
                      <a:pt x="178" y="165"/>
                      <a:pt x="174" y="161"/>
                    </a:cubicBezTo>
                    <a:cubicBezTo>
                      <a:pt x="76" y="63"/>
                      <a:pt x="76" y="63"/>
                      <a:pt x="76" y="63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6" y="53"/>
                      <a:pt x="86" y="47"/>
                      <a:pt x="82" y="43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39" y="0"/>
                      <a:pt x="33" y="0"/>
                      <a:pt x="30" y="4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0" y="34"/>
                      <a:pt x="0" y="40"/>
                      <a:pt x="3" y="43"/>
                    </a:cubicBezTo>
                    <a:lnTo>
                      <a:pt x="43" y="83"/>
                    </a:lnTo>
                    <a:close/>
                    <a:moveTo>
                      <a:pt x="36" y="24"/>
                    </a:moveTo>
                    <a:cubicBezTo>
                      <a:pt x="62" y="50"/>
                      <a:pt x="62" y="50"/>
                      <a:pt x="62" y="50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23" y="37"/>
                      <a:pt x="23" y="37"/>
                      <a:pt x="23" y="37"/>
                    </a:cubicBezTo>
                    <a:lnTo>
                      <a:pt x="36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2763562" y="3210898"/>
            <a:ext cx="507462" cy="507462"/>
            <a:chOff x="2763562" y="3210898"/>
            <a:chExt cx="507462" cy="507462"/>
          </a:xfrm>
        </p:grpSpPr>
        <p:sp>
          <p:nvSpPr>
            <p:cNvPr id="13" name="Oval 12"/>
            <p:cNvSpPr/>
            <p:nvPr/>
          </p:nvSpPr>
          <p:spPr>
            <a:xfrm>
              <a:off x="2763562" y="3210898"/>
              <a:ext cx="507462" cy="50746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grpSp>
          <p:nvGrpSpPr>
            <p:cNvPr id="97" name="Group 96"/>
            <p:cNvGrpSpPr/>
            <p:nvPr/>
          </p:nvGrpSpPr>
          <p:grpSpPr>
            <a:xfrm>
              <a:off x="2921141" y="3329715"/>
              <a:ext cx="192304" cy="269828"/>
              <a:chOff x="7912100" y="1027113"/>
              <a:chExt cx="303213" cy="425450"/>
            </a:xfrm>
            <a:solidFill>
              <a:schemeClr val="bg1"/>
            </a:solidFill>
          </p:grpSpPr>
          <p:sp>
            <p:nvSpPr>
              <p:cNvPr id="98" name="Freeform 140"/>
              <p:cNvSpPr>
                <a:spLocks/>
              </p:cNvSpPr>
              <p:nvPr/>
            </p:nvSpPr>
            <p:spPr bwMode="auto">
              <a:xfrm>
                <a:off x="7948613" y="1433513"/>
                <a:ext cx="254000" cy="19050"/>
              </a:xfrm>
              <a:custGeom>
                <a:avLst/>
                <a:gdLst>
                  <a:gd name="T0" fmla="*/ 246 w 255"/>
                  <a:gd name="T1" fmla="*/ 0 h 19"/>
                  <a:gd name="T2" fmla="*/ 10 w 255"/>
                  <a:gd name="T3" fmla="*/ 0 h 19"/>
                  <a:gd name="T4" fmla="*/ 0 w 255"/>
                  <a:gd name="T5" fmla="*/ 10 h 19"/>
                  <a:gd name="T6" fmla="*/ 10 w 255"/>
                  <a:gd name="T7" fmla="*/ 19 h 19"/>
                  <a:gd name="T8" fmla="*/ 246 w 255"/>
                  <a:gd name="T9" fmla="*/ 19 h 19"/>
                  <a:gd name="T10" fmla="*/ 255 w 255"/>
                  <a:gd name="T11" fmla="*/ 10 h 19"/>
                  <a:gd name="T12" fmla="*/ 246 w 25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" h="19">
                    <a:moveTo>
                      <a:pt x="246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5"/>
                      <a:pt x="5" y="19"/>
                      <a:pt x="10" y="19"/>
                    </a:cubicBezTo>
                    <a:cubicBezTo>
                      <a:pt x="246" y="19"/>
                      <a:pt x="246" y="19"/>
                      <a:pt x="246" y="19"/>
                    </a:cubicBezTo>
                    <a:cubicBezTo>
                      <a:pt x="251" y="19"/>
                      <a:pt x="255" y="15"/>
                      <a:pt x="255" y="10"/>
                    </a:cubicBezTo>
                    <a:cubicBezTo>
                      <a:pt x="255" y="5"/>
                      <a:pt x="251" y="0"/>
                      <a:pt x="24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41"/>
              <p:cNvSpPr>
                <a:spLocks/>
              </p:cNvSpPr>
              <p:nvPr/>
            </p:nvSpPr>
            <p:spPr bwMode="auto">
              <a:xfrm>
                <a:off x="7912100" y="1027113"/>
                <a:ext cx="277813" cy="400050"/>
              </a:xfrm>
              <a:custGeom>
                <a:avLst/>
                <a:gdLst>
                  <a:gd name="T0" fmla="*/ 68 w 278"/>
                  <a:gd name="T1" fmla="*/ 189 h 399"/>
                  <a:gd name="T2" fmla="*/ 105 w 278"/>
                  <a:gd name="T3" fmla="*/ 165 h 399"/>
                  <a:gd name="T4" fmla="*/ 134 w 278"/>
                  <a:gd name="T5" fmla="*/ 168 h 399"/>
                  <a:gd name="T6" fmla="*/ 92 w 278"/>
                  <a:gd name="T7" fmla="*/ 230 h 399"/>
                  <a:gd name="T8" fmla="*/ 40 w 278"/>
                  <a:gd name="T9" fmla="*/ 337 h 399"/>
                  <a:gd name="T10" fmla="*/ 66 w 278"/>
                  <a:gd name="T11" fmla="*/ 396 h 399"/>
                  <a:gd name="T12" fmla="*/ 72 w 278"/>
                  <a:gd name="T13" fmla="*/ 399 h 399"/>
                  <a:gd name="T14" fmla="*/ 255 w 278"/>
                  <a:gd name="T15" fmla="*/ 399 h 399"/>
                  <a:gd name="T16" fmla="*/ 265 w 278"/>
                  <a:gd name="T17" fmla="*/ 390 h 399"/>
                  <a:gd name="T18" fmla="*/ 255 w 278"/>
                  <a:gd name="T19" fmla="*/ 380 h 399"/>
                  <a:gd name="T20" fmla="*/ 76 w 278"/>
                  <a:gd name="T21" fmla="*/ 380 h 399"/>
                  <a:gd name="T22" fmla="*/ 59 w 278"/>
                  <a:gd name="T23" fmla="*/ 336 h 399"/>
                  <a:gd name="T24" fmla="*/ 104 w 278"/>
                  <a:gd name="T25" fmla="*/ 244 h 399"/>
                  <a:gd name="T26" fmla="*/ 153 w 278"/>
                  <a:gd name="T27" fmla="*/ 160 h 399"/>
                  <a:gd name="T28" fmla="*/ 170 w 278"/>
                  <a:gd name="T29" fmla="*/ 145 h 399"/>
                  <a:gd name="T30" fmla="*/ 179 w 278"/>
                  <a:gd name="T31" fmla="*/ 97 h 399"/>
                  <a:gd name="T32" fmla="*/ 166 w 278"/>
                  <a:gd name="T33" fmla="*/ 93 h 399"/>
                  <a:gd name="T34" fmla="*/ 162 w 278"/>
                  <a:gd name="T35" fmla="*/ 105 h 399"/>
                  <a:gd name="T36" fmla="*/ 155 w 278"/>
                  <a:gd name="T37" fmla="*/ 135 h 399"/>
                  <a:gd name="T38" fmla="*/ 133 w 278"/>
                  <a:gd name="T39" fmla="*/ 149 h 399"/>
                  <a:gd name="T40" fmla="*/ 110 w 278"/>
                  <a:gd name="T41" fmla="*/ 146 h 399"/>
                  <a:gd name="T42" fmla="*/ 99 w 278"/>
                  <a:gd name="T43" fmla="*/ 146 h 399"/>
                  <a:gd name="T44" fmla="*/ 58 w 278"/>
                  <a:gd name="T45" fmla="*/ 173 h 399"/>
                  <a:gd name="T46" fmla="*/ 50 w 278"/>
                  <a:gd name="T47" fmla="*/ 174 h 399"/>
                  <a:gd name="T48" fmla="*/ 25 w 278"/>
                  <a:gd name="T49" fmla="*/ 149 h 399"/>
                  <a:gd name="T50" fmla="*/ 25 w 278"/>
                  <a:gd name="T51" fmla="*/ 139 h 399"/>
                  <a:gd name="T52" fmla="*/ 26 w 278"/>
                  <a:gd name="T53" fmla="*/ 138 h 399"/>
                  <a:gd name="T54" fmla="*/ 96 w 278"/>
                  <a:gd name="T55" fmla="*/ 56 h 399"/>
                  <a:gd name="T56" fmla="*/ 96 w 278"/>
                  <a:gd name="T57" fmla="*/ 49 h 399"/>
                  <a:gd name="T58" fmla="*/ 91 w 278"/>
                  <a:gd name="T59" fmla="*/ 28 h 399"/>
                  <a:gd name="T60" fmla="*/ 149 w 278"/>
                  <a:gd name="T61" fmla="*/ 45 h 399"/>
                  <a:gd name="T62" fmla="*/ 259 w 278"/>
                  <a:gd name="T63" fmla="*/ 173 h 399"/>
                  <a:gd name="T64" fmla="*/ 233 w 278"/>
                  <a:gd name="T65" fmla="*/ 308 h 399"/>
                  <a:gd name="T66" fmla="*/ 239 w 278"/>
                  <a:gd name="T67" fmla="*/ 320 h 399"/>
                  <a:gd name="T68" fmla="*/ 242 w 278"/>
                  <a:gd name="T69" fmla="*/ 320 h 399"/>
                  <a:gd name="T70" fmla="*/ 251 w 278"/>
                  <a:gd name="T71" fmla="*/ 314 h 399"/>
                  <a:gd name="T72" fmla="*/ 278 w 278"/>
                  <a:gd name="T73" fmla="*/ 173 h 399"/>
                  <a:gd name="T74" fmla="*/ 149 w 278"/>
                  <a:gd name="T75" fmla="*/ 27 h 399"/>
                  <a:gd name="T76" fmla="*/ 84 w 278"/>
                  <a:gd name="T77" fmla="*/ 2 h 399"/>
                  <a:gd name="T78" fmla="*/ 74 w 278"/>
                  <a:gd name="T79" fmla="*/ 1 h 399"/>
                  <a:gd name="T80" fmla="*/ 69 w 278"/>
                  <a:gd name="T81" fmla="*/ 10 h 399"/>
                  <a:gd name="T82" fmla="*/ 77 w 278"/>
                  <a:gd name="T83" fmla="*/ 50 h 399"/>
                  <a:gd name="T84" fmla="*/ 14 w 278"/>
                  <a:gd name="T85" fmla="*/ 124 h 399"/>
                  <a:gd name="T86" fmla="*/ 8 w 278"/>
                  <a:gd name="T87" fmla="*/ 157 h 399"/>
                  <a:gd name="T88" fmla="*/ 45 w 278"/>
                  <a:gd name="T89" fmla="*/ 192 h 399"/>
                  <a:gd name="T90" fmla="*/ 68 w 278"/>
                  <a:gd name="T91" fmla="*/ 18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8" h="399">
                    <a:moveTo>
                      <a:pt x="68" y="189"/>
                    </a:moveTo>
                    <a:cubicBezTo>
                      <a:pt x="81" y="181"/>
                      <a:pt x="97" y="170"/>
                      <a:pt x="105" y="165"/>
                    </a:cubicBezTo>
                    <a:cubicBezTo>
                      <a:pt x="114" y="169"/>
                      <a:pt x="124" y="170"/>
                      <a:pt x="134" y="168"/>
                    </a:cubicBezTo>
                    <a:cubicBezTo>
                      <a:pt x="133" y="186"/>
                      <a:pt x="125" y="200"/>
                      <a:pt x="92" y="230"/>
                    </a:cubicBezTo>
                    <a:cubicBezTo>
                      <a:pt x="59" y="260"/>
                      <a:pt x="40" y="300"/>
                      <a:pt x="40" y="337"/>
                    </a:cubicBezTo>
                    <a:cubicBezTo>
                      <a:pt x="40" y="361"/>
                      <a:pt x="49" y="381"/>
                      <a:pt x="66" y="396"/>
                    </a:cubicBezTo>
                    <a:cubicBezTo>
                      <a:pt x="67" y="398"/>
                      <a:pt x="70" y="399"/>
                      <a:pt x="72" y="399"/>
                    </a:cubicBezTo>
                    <a:cubicBezTo>
                      <a:pt x="255" y="399"/>
                      <a:pt x="255" y="399"/>
                      <a:pt x="255" y="399"/>
                    </a:cubicBezTo>
                    <a:cubicBezTo>
                      <a:pt x="261" y="399"/>
                      <a:pt x="265" y="395"/>
                      <a:pt x="265" y="390"/>
                    </a:cubicBezTo>
                    <a:cubicBezTo>
                      <a:pt x="265" y="384"/>
                      <a:pt x="261" y="380"/>
                      <a:pt x="255" y="380"/>
                    </a:cubicBezTo>
                    <a:cubicBezTo>
                      <a:pt x="76" y="380"/>
                      <a:pt x="76" y="380"/>
                      <a:pt x="76" y="380"/>
                    </a:cubicBezTo>
                    <a:cubicBezTo>
                      <a:pt x="65" y="369"/>
                      <a:pt x="59" y="354"/>
                      <a:pt x="59" y="336"/>
                    </a:cubicBezTo>
                    <a:cubicBezTo>
                      <a:pt x="59" y="306"/>
                      <a:pt x="76" y="270"/>
                      <a:pt x="104" y="244"/>
                    </a:cubicBezTo>
                    <a:cubicBezTo>
                      <a:pt x="143" y="208"/>
                      <a:pt x="153" y="191"/>
                      <a:pt x="153" y="160"/>
                    </a:cubicBezTo>
                    <a:cubicBezTo>
                      <a:pt x="160" y="156"/>
                      <a:pt x="166" y="151"/>
                      <a:pt x="170" y="145"/>
                    </a:cubicBezTo>
                    <a:cubicBezTo>
                      <a:pt x="182" y="128"/>
                      <a:pt x="185" y="111"/>
                      <a:pt x="179" y="97"/>
                    </a:cubicBezTo>
                    <a:cubicBezTo>
                      <a:pt x="176" y="93"/>
                      <a:pt x="171" y="91"/>
                      <a:pt x="166" y="93"/>
                    </a:cubicBezTo>
                    <a:cubicBezTo>
                      <a:pt x="162" y="95"/>
                      <a:pt x="160" y="101"/>
                      <a:pt x="162" y="105"/>
                    </a:cubicBezTo>
                    <a:cubicBezTo>
                      <a:pt x="166" y="114"/>
                      <a:pt x="161" y="126"/>
                      <a:pt x="155" y="135"/>
                    </a:cubicBezTo>
                    <a:cubicBezTo>
                      <a:pt x="150" y="141"/>
                      <a:pt x="142" y="146"/>
                      <a:pt x="133" y="149"/>
                    </a:cubicBezTo>
                    <a:cubicBezTo>
                      <a:pt x="124" y="151"/>
                      <a:pt x="116" y="150"/>
                      <a:pt x="110" y="146"/>
                    </a:cubicBezTo>
                    <a:cubicBezTo>
                      <a:pt x="107" y="144"/>
                      <a:pt x="103" y="144"/>
                      <a:pt x="99" y="146"/>
                    </a:cubicBezTo>
                    <a:cubicBezTo>
                      <a:pt x="99" y="146"/>
                      <a:pt x="76" y="162"/>
                      <a:pt x="58" y="173"/>
                    </a:cubicBezTo>
                    <a:cubicBezTo>
                      <a:pt x="56" y="175"/>
                      <a:pt x="53" y="175"/>
                      <a:pt x="50" y="174"/>
                    </a:cubicBezTo>
                    <a:cubicBezTo>
                      <a:pt x="41" y="171"/>
                      <a:pt x="30" y="159"/>
                      <a:pt x="25" y="149"/>
                    </a:cubicBezTo>
                    <a:cubicBezTo>
                      <a:pt x="22" y="143"/>
                      <a:pt x="24" y="140"/>
                      <a:pt x="25" y="139"/>
                    </a:cubicBezTo>
                    <a:cubicBezTo>
                      <a:pt x="26" y="139"/>
                      <a:pt x="26" y="139"/>
                      <a:pt x="26" y="138"/>
                    </a:cubicBezTo>
                    <a:cubicBezTo>
                      <a:pt x="72" y="99"/>
                      <a:pt x="95" y="58"/>
                      <a:pt x="96" y="56"/>
                    </a:cubicBezTo>
                    <a:cubicBezTo>
                      <a:pt x="97" y="54"/>
                      <a:pt x="97" y="51"/>
                      <a:pt x="96" y="49"/>
                    </a:cubicBezTo>
                    <a:cubicBezTo>
                      <a:pt x="95" y="45"/>
                      <a:pt x="93" y="37"/>
                      <a:pt x="91" y="28"/>
                    </a:cubicBezTo>
                    <a:cubicBezTo>
                      <a:pt x="105" y="36"/>
                      <a:pt x="126" y="45"/>
                      <a:pt x="149" y="45"/>
                    </a:cubicBezTo>
                    <a:cubicBezTo>
                      <a:pt x="182" y="45"/>
                      <a:pt x="259" y="58"/>
                      <a:pt x="259" y="173"/>
                    </a:cubicBezTo>
                    <a:cubicBezTo>
                      <a:pt x="259" y="174"/>
                      <a:pt x="259" y="238"/>
                      <a:pt x="233" y="308"/>
                    </a:cubicBezTo>
                    <a:cubicBezTo>
                      <a:pt x="232" y="313"/>
                      <a:pt x="234" y="318"/>
                      <a:pt x="239" y="320"/>
                    </a:cubicBezTo>
                    <a:cubicBezTo>
                      <a:pt x="240" y="320"/>
                      <a:pt x="241" y="320"/>
                      <a:pt x="242" y="320"/>
                    </a:cubicBezTo>
                    <a:cubicBezTo>
                      <a:pt x="246" y="320"/>
                      <a:pt x="250" y="318"/>
                      <a:pt x="251" y="314"/>
                    </a:cubicBezTo>
                    <a:cubicBezTo>
                      <a:pt x="278" y="241"/>
                      <a:pt x="278" y="176"/>
                      <a:pt x="278" y="173"/>
                    </a:cubicBezTo>
                    <a:cubicBezTo>
                      <a:pt x="278" y="37"/>
                      <a:pt x="179" y="27"/>
                      <a:pt x="149" y="27"/>
                    </a:cubicBezTo>
                    <a:cubicBezTo>
                      <a:pt x="117" y="27"/>
                      <a:pt x="85" y="2"/>
                      <a:pt x="84" y="2"/>
                    </a:cubicBezTo>
                    <a:cubicBezTo>
                      <a:pt x="81" y="0"/>
                      <a:pt x="78" y="0"/>
                      <a:pt x="74" y="1"/>
                    </a:cubicBezTo>
                    <a:cubicBezTo>
                      <a:pt x="71" y="3"/>
                      <a:pt x="69" y="6"/>
                      <a:pt x="69" y="10"/>
                    </a:cubicBezTo>
                    <a:cubicBezTo>
                      <a:pt x="69" y="22"/>
                      <a:pt x="75" y="42"/>
                      <a:pt x="77" y="50"/>
                    </a:cubicBezTo>
                    <a:cubicBezTo>
                      <a:pt x="71" y="61"/>
                      <a:pt x="50" y="93"/>
                      <a:pt x="14" y="124"/>
                    </a:cubicBezTo>
                    <a:cubicBezTo>
                      <a:pt x="8" y="128"/>
                      <a:pt x="0" y="140"/>
                      <a:pt x="8" y="157"/>
                    </a:cubicBezTo>
                    <a:cubicBezTo>
                      <a:pt x="13" y="168"/>
                      <a:pt x="27" y="187"/>
                      <a:pt x="45" y="192"/>
                    </a:cubicBezTo>
                    <a:cubicBezTo>
                      <a:pt x="53" y="194"/>
                      <a:pt x="61" y="193"/>
                      <a:pt x="68" y="18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42"/>
              <p:cNvSpPr>
                <a:spLocks/>
              </p:cNvSpPr>
              <p:nvPr/>
            </p:nvSpPr>
            <p:spPr bwMode="auto">
              <a:xfrm>
                <a:off x="8053388" y="1027113"/>
                <a:ext cx="161925" cy="282575"/>
              </a:xfrm>
              <a:custGeom>
                <a:avLst/>
                <a:gdLst>
                  <a:gd name="T0" fmla="*/ 10 w 163"/>
                  <a:gd name="T1" fmla="*/ 19 h 281"/>
                  <a:gd name="T2" fmla="*/ 79 w 163"/>
                  <a:gd name="T3" fmla="*/ 36 h 281"/>
                  <a:gd name="T4" fmla="*/ 144 w 163"/>
                  <a:gd name="T5" fmla="*/ 173 h 281"/>
                  <a:gd name="T6" fmla="*/ 132 w 163"/>
                  <a:gd name="T7" fmla="*/ 269 h 281"/>
                  <a:gd name="T8" fmla="*/ 138 w 163"/>
                  <a:gd name="T9" fmla="*/ 281 h 281"/>
                  <a:gd name="T10" fmla="*/ 141 w 163"/>
                  <a:gd name="T11" fmla="*/ 281 h 281"/>
                  <a:gd name="T12" fmla="*/ 150 w 163"/>
                  <a:gd name="T13" fmla="*/ 274 h 281"/>
                  <a:gd name="T14" fmla="*/ 163 w 163"/>
                  <a:gd name="T15" fmla="*/ 173 h 281"/>
                  <a:gd name="T16" fmla="*/ 90 w 163"/>
                  <a:gd name="T17" fmla="*/ 21 h 281"/>
                  <a:gd name="T18" fmla="*/ 10 w 163"/>
                  <a:gd name="T19" fmla="*/ 0 h 281"/>
                  <a:gd name="T20" fmla="*/ 0 w 163"/>
                  <a:gd name="T21" fmla="*/ 10 h 281"/>
                  <a:gd name="T22" fmla="*/ 10 w 163"/>
                  <a:gd name="T23" fmla="*/ 19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3" h="281">
                    <a:moveTo>
                      <a:pt x="10" y="19"/>
                    </a:moveTo>
                    <a:cubicBezTo>
                      <a:pt x="40" y="19"/>
                      <a:pt x="61" y="24"/>
                      <a:pt x="79" y="36"/>
                    </a:cubicBezTo>
                    <a:cubicBezTo>
                      <a:pt x="109" y="56"/>
                      <a:pt x="144" y="97"/>
                      <a:pt x="144" y="173"/>
                    </a:cubicBezTo>
                    <a:cubicBezTo>
                      <a:pt x="144" y="192"/>
                      <a:pt x="144" y="218"/>
                      <a:pt x="132" y="269"/>
                    </a:cubicBezTo>
                    <a:cubicBezTo>
                      <a:pt x="130" y="274"/>
                      <a:pt x="133" y="279"/>
                      <a:pt x="138" y="281"/>
                    </a:cubicBezTo>
                    <a:cubicBezTo>
                      <a:pt x="139" y="281"/>
                      <a:pt x="140" y="281"/>
                      <a:pt x="141" y="281"/>
                    </a:cubicBezTo>
                    <a:cubicBezTo>
                      <a:pt x="145" y="281"/>
                      <a:pt x="149" y="278"/>
                      <a:pt x="150" y="274"/>
                    </a:cubicBezTo>
                    <a:cubicBezTo>
                      <a:pt x="163" y="220"/>
                      <a:pt x="163" y="193"/>
                      <a:pt x="163" y="173"/>
                    </a:cubicBezTo>
                    <a:cubicBezTo>
                      <a:pt x="163" y="84"/>
                      <a:pt x="117" y="39"/>
                      <a:pt x="90" y="21"/>
                    </a:cubicBezTo>
                    <a:cubicBezTo>
                      <a:pt x="68" y="6"/>
                      <a:pt x="44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10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2763562" y="1552970"/>
            <a:ext cx="507462" cy="507462"/>
            <a:chOff x="2763562" y="1552970"/>
            <a:chExt cx="507462" cy="507462"/>
          </a:xfrm>
        </p:grpSpPr>
        <p:sp>
          <p:nvSpPr>
            <p:cNvPr id="12" name="Oval 11"/>
            <p:cNvSpPr/>
            <p:nvPr/>
          </p:nvSpPr>
          <p:spPr>
            <a:xfrm>
              <a:off x="2763562" y="1552970"/>
              <a:ext cx="507462" cy="507462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2934838" y="1682081"/>
              <a:ext cx="164911" cy="249241"/>
              <a:chOff x="1498601" y="3040063"/>
              <a:chExt cx="279400" cy="422276"/>
            </a:xfrm>
            <a:solidFill>
              <a:schemeClr val="bg1"/>
            </a:solidFill>
          </p:grpSpPr>
          <p:sp>
            <p:nvSpPr>
              <p:cNvPr id="113" name="Freeform 165"/>
              <p:cNvSpPr>
                <a:spLocks/>
              </p:cNvSpPr>
              <p:nvPr/>
            </p:nvSpPr>
            <p:spPr bwMode="auto">
              <a:xfrm>
                <a:off x="1498601" y="3040063"/>
                <a:ext cx="279400" cy="17463"/>
              </a:xfrm>
              <a:custGeom>
                <a:avLst/>
                <a:gdLst>
                  <a:gd name="T0" fmla="*/ 9 w 281"/>
                  <a:gd name="T1" fmla="*/ 18 h 18"/>
                  <a:gd name="T2" fmla="*/ 272 w 281"/>
                  <a:gd name="T3" fmla="*/ 18 h 18"/>
                  <a:gd name="T4" fmla="*/ 281 w 281"/>
                  <a:gd name="T5" fmla="*/ 9 h 18"/>
                  <a:gd name="T6" fmla="*/ 272 w 281"/>
                  <a:gd name="T7" fmla="*/ 0 h 18"/>
                  <a:gd name="T8" fmla="*/ 9 w 281"/>
                  <a:gd name="T9" fmla="*/ 0 h 18"/>
                  <a:gd name="T10" fmla="*/ 0 w 281"/>
                  <a:gd name="T11" fmla="*/ 9 h 18"/>
                  <a:gd name="T12" fmla="*/ 9 w 281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1" h="18">
                    <a:moveTo>
                      <a:pt x="9" y="18"/>
                    </a:moveTo>
                    <a:cubicBezTo>
                      <a:pt x="272" y="18"/>
                      <a:pt x="272" y="18"/>
                      <a:pt x="272" y="18"/>
                    </a:cubicBezTo>
                    <a:cubicBezTo>
                      <a:pt x="277" y="18"/>
                      <a:pt x="281" y="14"/>
                      <a:pt x="281" y="9"/>
                    </a:cubicBezTo>
                    <a:cubicBezTo>
                      <a:pt x="281" y="4"/>
                      <a:pt x="277" y="0"/>
                      <a:pt x="272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66"/>
              <p:cNvSpPr>
                <a:spLocks noEditPoints="1"/>
              </p:cNvSpPr>
              <p:nvPr/>
            </p:nvSpPr>
            <p:spPr bwMode="auto">
              <a:xfrm>
                <a:off x="1511301" y="3065463"/>
                <a:ext cx="254000" cy="371475"/>
              </a:xfrm>
              <a:custGeom>
                <a:avLst/>
                <a:gdLst>
                  <a:gd name="T0" fmla="*/ 255 w 255"/>
                  <a:gd name="T1" fmla="*/ 56 h 372"/>
                  <a:gd name="T2" fmla="*/ 255 w 255"/>
                  <a:gd name="T3" fmla="*/ 9 h 372"/>
                  <a:gd name="T4" fmla="*/ 245 w 255"/>
                  <a:gd name="T5" fmla="*/ 0 h 372"/>
                  <a:gd name="T6" fmla="*/ 11 w 255"/>
                  <a:gd name="T7" fmla="*/ 0 h 372"/>
                  <a:gd name="T8" fmla="*/ 1 w 255"/>
                  <a:gd name="T9" fmla="*/ 9 h 372"/>
                  <a:gd name="T10" fmla="*/ 1 w 255"/>
                  <a:gd name="T11" fmla="*/ 56 h 372"/>
                  <a:gd name="T12" fmla="*/ 78 w 255"/>
                  <a:gd name="T13" fmla="*/ 186 h 372"/>
                  <a:gd name="T14" fmla="*/ 0 w 255"/>
                  <a:gd name="T15" fmla="*/ 316 h 372"/>
                  <a:gd name="T16" fmla="*/ 0 w 255"/>
                  <a:gd name="T17" fmla="*/ 363 h 372"/>
                  <a:gd name="T18" fmla="*/ 9 w 255"/>
                  <a:gd name="T19" fmla="*/ 372 h 372"/>
                  <a:gd name="T20" fmla="*/ 245 w 255"/>
                  <a:gd name="T21" fmla="*/ 372 h 372"/>
                  <a:gd name="T22" fmla="*/ 255 w 255"/>
                  <a:gd name="T23" fmla="*/ 363 h 372"/>
                  <a:gd name="T24" fmla="*/ 255 w 255"/>
                  <a:gd name="T25" fmla="*/ 316 h 372"/>
                  <a:gd name="T26" fmla="*/ 177 w 255"/>
                  <a:gd name="T27" fmla="*/ 186 h 372"/>
                  <a:gd name="T28" fmla="*/ 255 w 255"/>
                  <a:gd name="T29" fmla="*/ 56 h 372"/>
                  <a:gd name="T30" fmla="*/ 127 w 255"/>
                  <a:gd name="T31" fmla="*/ 297 h 372"/>
                  <a:gd name="T32" fmla="*/ 184 w 255"/>
                  <a:gd name="T33" fmla="*/ 354 h 372"/>
                  <a:gd name="T34" fmla="*/ 71 w 255"/>
                  <a:gd name="T35" fmla="*/ 354 h 372"/>
                  <a:gd name="T36" fmla="*/ 127 w 255"/>
                  <a:gd name="T37" fmla="*/ 297 h 372"/>
                  <a:gd name="T38" fmla="*/ 155 w 255"/>
                  <a:gd name="T39" fmla="*/ 178 h 372"/>
                  <a:gd name="T40" fmla="*/ 151 w 255"/>
                  <a:gd name="T41" fmla="*/ 186 h 372"/>
                  <a:gd name="T42" fmla="*/ 155 w 255"/>
                  <a:gd name="T43" fmla="*/ 194 h 372"/>
                  <a:gd name="T44" fmla="*/ 236 w 255"/>
                  <a:gd name="T45" fmla="*/ 316 h 372"/>
                  <a:gd name="T46" fmla="*/ 236 w 255"/>
                  <a:gd name="T47" fmla="*/ 354 h 372"/>
                  <a:gd name="T48" fmla="*/ 210 w 255"/>
                  <a:gd name="T49" fmla="*/ 354 h 372"/>
                  <a:gd name="T50" fmla="*/ 137 w 255"/>
                  <a:gd name="T51" fmla="*/ 280 h 372"/>
                  <a:gd name="T52" fmla="*/ 137 w 255"/>
                  <a:gd name="T53" fmla="*/ 271 h 372"/>
                  <a:gd name="T54" fmla="*/ 127 w 255"/>
                  <a:gd name="T55" fmla="*/ 262 h 372"/>
                  <a:gd name="T56" fmla="*/ 118 w 255"/>
                  <a:gd name="T57" fmla="*/ 271 h 372"/>
                  <a:gd name="T58" fmla="*/ 118 w 255"/>
                  <a:gd name="T59" fmla="*/ 280 h 372"/>
                  <a:gd name="T60" fmla="*/ 45 w 255"/>
                  <a:gd name="T61" fmla="*/ 354 h 372"/>
                  <a:gd name="T62" fmla="*/ 19 w 255"/>
                  <a:gd name="T63" fmla="*/ 354 h 372"/>
                  <a:gd name="T64" fmla="*/ 19 w 255"/>
                  <a:gd name="T65" fmla="*/ 316 h 372"/>
                  <a:gd name="T66" fmla="*/ 100 w 255"/>
                  <a:gd name="T67" fmla="*/ 194 h 372"/>
                  <a:gd name="T68" fmla="*/ 104 w 255"/>
                  <a:gd name="T69" fmla="*/ 186 h 372"/>
                  <a:gd name="T70" fmla="*/ 100 w 255"/>
                  <a:gd name="T71" fmla="*/ 178 h 372"/>
                  <a:gd name="T72" fmla="*/ 20 w 255"/>
                  <a:gd name="T73" fmla="*/ 56 h 372"/>
                  <a:gd name="T74" fmla="*/ 20 w 255"/>
                  <a:gd name="T75" fmla="*/ 19 h 372"/>
                  <a:gd name="T76" fmla="*/ 236 w 255"/>
                  <a:gd name="T77" fmla="*/ 19 h 372"/>
                  <a:gd name="T78" fmla="*/ 236 w 255"/>
                  <a:gd name="T79" fmla="*/ 56 h 372"/>
                  <a:gd name="T80" fmla="*/ 155 w 255"/>
                  <a:gd name="T81" fmla="*/ 178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5" h="372">
                    <a:moveTo>
                      <a:pt x="255" y="56"/>
                    </a:moveTo>
                    <a:cubicBezTo>
                      <a:pt x="255" y="9"/>
                      <a:pt x="255" y="9"/>
                      <a:pt x="255" y="9"/>
                    </a:cubicBezTo>
                    <a:cubicBezTo>
                      <a:pt x="255" y="4"/>
                      <a:pt x="250" y="0"/>
                      <a:pt x="245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5" y="0"/>
                      <a:pt x="1" y="4"/>
                      <a:pt x="1" y="9"/>
                    </a:cubicBezTo>
                    <a:cubicBezTo>
                      <a:pt x="1" y="56"/>
                      <a:pt x="1" y="56"/>
                      <a:pt x="1" y="56"/>
                    </a:cubicBezTo>
                    <a:cubicBezTo>
                      <a:pt x="1" y="121"/>
                      <a:pt x="48" y="165"/>
                      <a:pt x="78" y="186"/>
                    </a:cubicBezTo>
                    <a:cubicBezTo>
                      <a:pt x="45" y="210"/>
                      <a:pt x="0" y="253"/>
                      <a:pt x="0" y="316"/>
                    </a:cubicBezTo>
                    <a:cubicBezTo>
                      <a:pt x="0" y="363"/>
                      <a:pt x="0" y="363"/>
                      <a:pt x="0" y="363"/>
                    </a:cubicBezTo>
                    <a:cubicBezTo>
                      <a:pt x="0" y="368"/>
                      <a:pt x="4" y="372"/>
                      <a:pt x="9" y="372"/>
                    </a:cubicBezTo>
                    <a:cubicBezTo>
                      <a:pt x="245" y="372"/>
                      <a:pt x="245" y="372"/>
                      <a:pt x="245" y="372"/>
                    </a:cubicBezTo>
                    <a:cubicBezTo>
                      <a:pt x="250" y="372"/>
                      <a:pt x="255" y="368"/>
                      <a:pt x="255" y="363"/>
                    </a:cubicBezTo>
                    <a:cubicBezTo>
                      <a:pt x="255" y="316"/>
                      <a:pt x="255" y="316"/>
                      <a:pt x="255" y="316"/>
                    </a:cubicBezTo>
                    <a:cubicBezTo>
                      <a:pt x="255" y="252"/>
                      <a:pt x="207" y="208"/>
                      <a:pt x="177" y="186"/>
                    </a:cubicBezTo>
                    <a:cubicBezTo>
                      <a:pt x="210" y="162"/>
                      <a:pt x="255" y="119"/>
                      <a:pt x="255" y="56"/>
                    </a:cubicBezTo>
                    <a:close/>
                    <a:moveTo>
                      <a:pt x="127" y="297"/>
                    </a:moveTo>
                    <a:cubicBezTo>
                      <a:pt x="184" y="354"/>
                      <a:pt x="184" y="354"/>
                      <a:pt x="184" y="354"/>
                    </a:cubicBezTo>
                    <a:cubicBezTo>
                      <a:pt x="71" y="354"/>
                      <a:pt x="71" y="354"/>
                      <a:pt x="71" y="354"/>
                    </a:cubicBezTo>
                    <a:lnTo>
                      <a:pt x="127" y="297"/>
                    </a:lnTo>
                    <a:close/>
                    <a:moveTo>
                      <a:pt x="155" y="178"/>
                    </a:moveTo>
                    <a:cubicBezTo>
                      <a:pt x="152" y="180"/>
                      <a:pt x="151" y="183"/>
                      <a:pt x="151" y="186"/>
                    </a:cubicBezTo>
                    <a:cubicBezTo>
                      <a:pt x="151" y="189"/>
                      <a:pt x="152" y="192"/>
                      <a:pt x="155" y="194"/>
                    </a:cubicBezTo>
                    <a:cubicBezTo>
                      <a:pt x="179" y="209"/>
                      <a:pt x="236" y="252"/>
                      <a:pt x="236" y="316"/>
                    </a:cubicBezTo>
                    <a:cubicBezTo>
                      <a:pt x="236" y="354"/>
                      <a:pt x="236" y="354"/>
                      <a:pt x="236" y="354"/>
                    </a:cubicBezTo>
                    <a:cubicBezTo>
                      <a:pt x="210" y="354"/>
                      <a:pt x="210" y="354"/>
                      <a:pt x="210" y="354"/>
                    </a:cubicBezTo>
                    <a:cubicBezTo>
                      <a:pt x="137" y="280"/>
                      <a:pt x="137" y="280"/>
                      <a:pt x="137" y="280"/>
                    </a:cubicBezTo>
                    <a:cubicBezTo>
                      <a:pt x="137" y="271"/>
                      <a:pt x="137" y="271"/>
                      <a:pt x="137" y="271"/>
                    </a:cubicBezTo>
                    <a:cubicBezTo>
                      <a:pt x="137" y="266"/>
                      <a:pt x="133" y="262"/>
                      <a:pt x="127" y="262"/>
                    </a:cubicBezTo>
                    <a:cubicBezTo>
                      <a:pt x="122" y="262"/>
                      <a:pt x="118" y="266"/>
                      <a:pt x="118" y="271"/>
                    </a:cubicBezTo>
                    <a:cubicBezTo>
                      <a:pt x="118" y="280"/>
                      <a:pt x="118" y="280"/>
                      <a:pt x="118" y="280"/>
                    </a:cubicBezTo>
                    <a:cubicBezTo>
                      <a:pt x="45" y="354"/>
                      <a:pt x="45" y="354"/>
                      <a:pt x="45" y="354"/>
                    </a:cubicBezTo>
                    <a:cubicBezTo>
                      <a:pt x="19" y="354"/>
                      <a:pt x="19" y="354"/>
                      <a:pt x="19" y="354"/>
                    </a:cubicBezTo>
                    <a:cubicBezTo>
                      <a:pt x="19" y="316"/>
                      <a:pt x="19" y="316"/>
                      <a:pt x="19" y="316"/>
                    </a:cubicBezTo>
                    <a:cubicBezTo>
                      <a:pt x="19" y="254"/>
                      <a:pt x="69" y="213"/>
                      <a:pt x="100" y="194"/>
                    </a:cubicBezTo>
                    <a:cubicBezTo>
                      <a:pt x="102" y="192"/>
                      <a:pt x="104" y="189"/>
                      <a:pt x="104" y="186"/>
                    </a:cubicBezTo>
                    <a:cubicBezTo>
                      <a:pt x="104" y="183"/>
                      <a:pt x="102" y="180"/>
                      <a:pt x="100" y="178"/>
                    </a:cubicBezTo>
                    <a:cubicBezTo>
                      <a:pt x="76" y="163"/>
                      <a:pt x="20" y="121"/>
                      <a:pt x="20" y="56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36" y="19"/>
                      <a:pt x="236" y="19"/>
                      <a:pt x="236" y="19"/>
                    </a:cubicBezTo>
                    <a:cubicBezTo>
                      <a:pt x="236" y="56"/>
                      <a:pt x="236" y="56"/>
                      <a:pt x="236" y="56"/>
                    </a:cubicBezTo>
                    <a:cubicBezTo>
                      <a:pt x="236" y="118"/>
                      <a:pt x="185" y="159"/>
                      <a:pt x="155" y="1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67"/>
              <p:cNvSpPr>
                <a:spLocks noEditPoints="1"/>
              </p:cNvSpPr>
              <p:nvPr/>
            </p:nvSpPr>
            <p:spPr bwMode="auto">
              <a:xfrm>
                <a:off x="1566864" y="3155951"/>
                <a:ext cx="147638" cy="77788"/>
              </a:xfrm>
              <a:custGeom>
                <a:avLst/>
                <a:gdLst>
                  <a:gd name="T0" fmla="*/ 138 w 148"/>
                  <a:gd name="T1" fmla="*/ 0 h 78"/>
                  <a:gd name="T2" fmla="*/ 10 w 148"/>
                  <a:gd name="T3" fmla="*/ 0 h 78"/>
                  <a:gd name="T4" fmla="*/ 2 w 148"/>
                  <a:gd name="T5" fmla="*/ 5 h 78"/>
                  <a:gd name="T6" fmla="*/ 2 w 148"/>
                  <a:gd name="T7" fmla="*/ 14 h 78"/>
                  <a:gd name="T8" fmla="*/ 65 w 148"/>
                  <a:gd name="T9" fmla="*/ 75 h 78"/>
                  <a:gd name="T10" fmla="*/ 67 w 148"/>
                  <a:gd name="T11" fmla="*/ 76 h 78"/>
                  <a:gd name="T12" fmla="*/ 72 w 148"/>
                  <a:gd name="T13" fmla="*/ 78 h 78"/>
                  <a:gd name="T14" fmla="*/ 78 w 148"/>
                  <a:gd name="T15" fmla="*/ 76 h 78"/>
                  <a:gd name="T16" fmla="*/ 88 w 148"/>
                  <a:gd name="T17" fmla="*/ 69 h 78"/>
                  <a:gd name="T18" fmla="*/ 146 w 148"/>
                  <a:gd name="T19" fmla="*/ 14 h 78"/>
                  <a:gd name="T20" fmla="*/ 147 w 148"/>
                  <a:gd name="T21" fmla="*/ 5 h 78"/>
                  <a:gd name="T22" fmla="*/ 138 w 148"/>
                  <a:gd name="T23" fmla="*/ 0 h 78"/>
                  <a:gd name="T24" fmla="*/ 77 w 148"/>
                  <a:gd name="T25" fmla="*/ 54 h 78"/>
                  <a:gd name="T26" fmla="*/ 72 w 148"/>
                  <a:gd name="T27" fmla="*/ 57 h 78"/>
                  <a:gd name="T28" fmla="*/ 28 w 148"/>
                  <a:gd name="T29" fmla="*/ 19 h 78"/>
                  <a:gd name="T30" fmla="*/ 120 w 148"/>
                  <a:gd name="T31" fmla="*/ 19 h 78"/>
                  <a:gd name="T32" fmla="*/ 77 w 148"/>
                  <a:gd name="T33" fmla="*/ 5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8" h="78">
                    <a:moveTo>
                      <a:pt x="138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6" y="0"/>
                      <a:pt x="3" y="2"/>
                      <a:pt x="2" y="5"/>
                    </a:cubicBezTo>
                    <a:cubicBezTo>
                      <a:pt x="0" y="8"/>
                      <a:pt x="0" y="11"/>
                      <a:pt x="2" y="14"/>
                    </a:cubicBezTo>
                    <a:cubicBezTo>
                      <a:pt x="18" y="41"/>
                      <a:pt x="41" y="58"/>
                      <a:pt x="65" y="75"/>
                    </a:cubicBezTo>
                    <a:cubicBezTo>
                      <a:pt x="67" y="76"/>
                      <a:pt x="67" y="76"/>
                      <a:pt x="67" y="76"/>
                    </a:cubicBezTo>
                    <a:cubicBezTo>
                      <a:pt x="69" y="78"/>
                      <a:pt x="70" y="78"/>
                      <a:pt x="72" y="78"/>
                    </a:cubicBezTo>
                    <a:cubicBezTo>
                      <a:pt x="74" y="78"/>
                      <a:pt x="76" y="78"/>
                      <a:pt x="78" y="76"/>
                    </a:cubicBezTo>
                    <a:cubicBezTo>
                      <a:pt x="81" y="74"/>
                      <a:pt x="85" y="72"/>
                      <a:pt x="88" y="69"/>
                    </a:cubicBezTo>
                    <a:cubicBezTo>
                      <a:pt x="110" y="54"/>
                      <a:pt x="132" y="38"/>
                      <a:pt x="146" y="14"/>
                    </a:cubicBezTo>
                    <a:cubicBezTo>
                      <a:pt x="148" y="11"/>
                      <a:pt x="148" y="8"/>
                      <a:pt x="147" y="5"/>
                    </a:cubicBezTo>
                    <a:cubicBezTo>
                      <a:pt x="145" y="2"/>
                      <a:pt x="142" y="0"/>
                      <a:pt x="138" y="0"/>
                    </a:cubicBezTo>
                    <a:close/>
                    <a:moveTo>
                      <a:pt x="77" y="54"/>
                    </a:moveTo>
                    <a:cubicBezTo>
                      <a:pt x="76" y="55"/>
                      <a:pt x="74" y="56"/>
                      <a:pt x="72" y="57"/>
                    </a:cubicBezTo>
                    <a:cubicBezTo>
                      <a:pt x="55" y="45"/>
                      <a:pt x="40" y="34"/>
                      <a:pt x="28" y="19"/>
                    </a:cubicBezTo>
                    <a:cubicBezTo>
                      <a:pt x="120" y="19"/>
                      <a:pt x="120" y="19"/>
                      <a:pt x="120" y="19"/>
                    </a:cubicBezTo>
                    <a:cubicBezTo>
                      <a:pt x="108" y="32"/>
                      <a:pt x="93" y="43"/>
                      <a:pt x="77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68"/>
              <p:cNvSpPr>
                <a:spLocks/>
              </p:cNvSpPr>
              <p:nvPr/>
            </p:nvSpPr>
            <p:spPr bwMode="auto">
              <a:xfrm>
                <a:off x="1498601" y="3444876"/>
                <a:ext cx="279400" cy="17463"/>
              </a:xfrm>
              <a:custGeom>
                <a:avLst/>
                <a:gdLst>
                  <a:gd name="T0" fmla="*/ 272 w 281"/>
                  <a:gd name="T1" fmla="*/ 0 h 18"/>
                  <a:gd name="T2" fmla="*/ 9 w 281"/>
                  <a:gd name="T3" fmla="*/ 0 h 18"/>
                  <a:gd name="T4" fmla="*/ 0 w 281"/>
                  <a:gd name="T5" fmla="*/ 9 h 18"/>
                  <a:gd name="T6" fmla="*/ 9 w 281"/>
                  <a:gd name="T7" fmla="*/ 18 h 18"/>
                  <a:gd name="T8" fmla="*/ 272 w 281"/>
                  <a:gd name="T9" fmla="*/ 18 h 18"/>
                  <a:gd name="T10" fmla="*/ 281 w 281"/>
                  <a:gd name="T11" fmla="*/ 9 h 18"/>
                  <a:gd name="T12" fmla="*/ 272 w 281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1" h="18">
                    <a:moveTo>
                      <a:pt x="272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272" y="18"/>
                      <a:pt x="272" y="18"/>
                      <a:pt x="272" y="18"/>
                    </a:cubicBezTo>
                    <a:cubicBezTo>
                      <a:pt x="277" y="18"/>
                      <a:pt x="281" y="14"/>
                      <a:pt x="281" y="9"/>
                    </a:cubicBezTo>
                    <a:cubicBezTo>
                      <a:pt x="281" y="4"/>
                      <a:pt x="277" y="0"/>
                      <a:pt x="27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69"/>
              <p:cNvSpPr>
                <a:spLocks/>
              </p:cNvSpPr>
              <p:nvPr/>
            </p:nvSpPr>
            <p:spPr bwMode="auto">
              <a:xfrm>
                <a:off x="1628776" y="3287713"/>
                <a:ext cx="19050" cy="30163"/>
              </a:xfrm>
              <a:custGeom>
                <a:avLst/>
                <a:gdLst>
                  <a:gd name="T0" fmla="*/ 9 w 19"/>
                  <a:gd name="T1" fmla="*/ 0 h 31"/>
                  <a:gd name="T2" fmla="*/ 0 w 19"/>
                  <a:gd name="T3" fmla="*/ 9 h 31"/>
                  <a:gd name="T4" fmla="*/ 0 w 19"/>
                  <a:gd name="T5" fmla="*/ 22 h 31"/>
                  <a:gd name="T6" fmla="*/ 9 w 19"/>
                  <a:gd name="T7" fmla="*/ 31 h 31"/>
                  <a:gd name="T8" fmla="*/ 19 w 19"/>
                  <a:gd name="T9" fmla="*/ 22 h 31"/>
                  <a:gd name="T10" fmla="*/ 19 w 19"/>
                  <a:gd name="T11" fmla="*/ 9 h 31"/>
                  <a:gd name="T12" fmla="*/ 9 w 1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1">
                    <a:moveTo>
                      <a:pt x="9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7"/>
                      <a:pt x="4" y="31"/>
                      <a:pt x="9" y="31"/>
                    </a:cubicBezTo>
                    <a:cubicBezTo>
                      <a:pt x="15" y="31"/>
                      <a:pt x="19" y="27"/>
                      <a:pt x="19" y="22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4"/>
                      <a:pt x="15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170"/>
              <p:cNvSpPr>
                <a:spLocks/>
              </p:cNvSpPr>
              <p:nvPr/>
            </p:nvSpPr>
            <p:spPr bwMode="auto">
              <a:xfrm>
                <a:off x="1628776" y="3248026"/>
                <a:ext cx="19050" cy="31750"/>
              </a:xfrm>
              <a:custGeom>
                <a:avLst/>
                <a:gdLst>
                  <a:gd name="T0" fmla="*/ 9 w 19"/>
                  <a:gd name="T1" fmla="*/ 0 h 32"/>
                  <a:gd name="T2" fmla="*/ 0 w 19"/>
                  <a:gd name="T3" fmla="*/ 10 h 32"/>
                  <a:gd name="T4" fmla="*/ 0 w 19"/>
                  <a:gd name="T5" fmla="*/ 23 h 32"/>
                  <a:gd name="T6" fmla="*/ 9 w 19"/>
                  <a:gd name="T7" fmla="*/ 32 h 32"/>
                  <a:gd name="T8" fmla="*/ 19 w 19"/>
                  <a:gd name="T9" fmla="*/ 23 h 32"/>
                  <a:gd name="T10" fmla="*/ 19 w 19"/>
                  <a:gd name="T11" fmla="*/ 10 h 32"/>
                  <a:gd name="T12" fmla="*/ 9 w 19"/>
                  <a:gd name="T1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32">
                    <a:moveTo>
                      <a:pt x="9" y="0"/>
                    </a:moveTo>
                    <a:cubicBezTo>
                      <a:pt x="4" y="0"/>
                      <a:pt x="0" y="4"/>
                      <a:pt x="0" y="10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8"/>
                      <a:pt x="4" y="32"/>
                      <a:pt x="9" y="32"/>
                    </a:cubicBezTo>
                    <a:cubicBezTo>
                      <a:pt x="15" y="32"/>
                      <a:pt x="19" y="28"/>
                      <a:pt x="19" y="23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4"/>
                      <a:pt x="15" y="0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5855876" y="1939304"/>
            <a:ext cx="507462" cy="507462"/>
            <a:chOff x="5855876" y="1939304"/>
            <a:chExt cx="507462" cy="507462"/>
          </a:xfrm>
        </p:grpSpPr>
        <p:sp>
          <p:nvSpPr>
            <p:cNvPr id="15" name="Oval 14"/>
            <p:cNvSpPr/>
            <p:nvPr/>
          </p:nvSpPr>
          <p:spPr>
            <a:xfrm>
              <a:off x="5855876" y="1939304"/>
              <a:ext cx="507462" cy="507462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119" name="Group 118"/>
            <p:cNvGrpSpPr/>
            <p:nvPr/>
          </p:nvGrpSpPr>
          <p:grpSpPr>
            <a:xfrm>
              <a:off x="5967882" y="2084920"/>
              <a:ext cx="283450" cy="216230"/>
              <a:chOff x="6335713" y="3717925"/>
              <a:chExt cx="555625" cy="423863"/>
            </a:xfrm>
            <a:solidFill>
              <a:schemeClr val="bg1"/>
            </a:solidFill>
          </p:grpSpPr>
          <p:sp>
            <p:nvSpPr>
              <p:cNvPr id="120" name="Freeform 228"/>
              <p:cNvSpPr>
                <a:spLocks/>
              </p:cNvSpPr>
              <p:nvPr/>
            </p:nvSpPr>
            <p:spPr bwMode="auto">
              <a:xfrm>
                <a:off x="6624638" y="3717925"/>
                <a:ext cx="266700" cy="369888"/>
              </a:xfrm>
              <a:custGeom>
                <a:avLst/>
                <a:gdLst>
                  <a:gd name="T0" fmla="*/ 244 w 267"/>
                  <a:gd name="T1" fmla="*/ 0 h 372"/>
                  <a:gd name="T2" fmla="*/ 113 w 267"/>
                  <a:gd name="T3" fmla="*/ 0 h 372"/>
                  <a:gd name="T4" fmla="*/ 85 w 267"/>
                  <a:gd name="T5" fmla="*/ 12 h 372"/>
                  <a:gd name="T6" fmla="*/ 67 w 267"/>
                  <a:gd name="T7" fmla="*/ 30 h 372"/>
                  <a:gd name="T8" fmla="*/ 67 w 267"/>
                  <a:gd name="T9" fmla="*/ 43 h 372"/>
                  <a:gd name="T10" fmla="*/ 80 w 267"/>
                  <a:gd name="T11" fmla="*/ 43 h 372"/>
                  <a:gd name="T12" fmla="*/ 98 w 267"/>
                  <a:gd name="T13" fmla="*/ 25 h 372"/>
                  <a:gd name="T14" fmla="*/ 113 w 267"/>
                  <a:gd name="T15" fmla="*/ 19 h 372"/>
                  <a:gd name="T16" fmla="*/ 244 w 267"/>
                  <a:gd name="T17" fmla="*/ 19 h 372"/>
                  <a:gd name="T18" fmla="*/ 248 w 267"/>
                  <a:gd name="T19" fmla="*/ 22 h 372"/>
                  <a:gd name="T20" fmla="*/ 248 w 267"/>
                  <a:gd name="T21" fmla="*/ 154 h 372"/>
                  <a:gd name="T22" fmla="*/ 241 w 267"/>
                  <a:gd name="T23" fmla="*/ 170 h 372"/>
                  <a:gd name="T24" fmla="*/ 57 w 267"/>
                  <a:gd name="T25" fmla="*/ 353 h 372"/>
                  <a:gd name="T26" fmla="*/ 51 w 267"/>
                  <a:gd name="T27" fmla="*/ 353 h 372"/>
                  <a:gd name="T28" fmla="*/ 17 w 267"/>
                  <a:gd name="T29" fmla="*/ 318 h 372"/>
                  <a:gd name="T30" fmla="*/ 3 w 267"/>
                  <a:gd name="T31" fmla="*/ 318 h 372"/>
                  <a:gd name="T32" fmla="*/ 3 w 267"/>
                  <a:gd name="T33" fmla="*/ 331 h 372"/>
                  <a:gd name="T34" fmla="*/ 38 w 267"/>
                  <a:gd name="T35" fmla="*/ 366 h 372"/>
                  <a:gd name="T36" fmla="*/ 54 w 267"/>
                  <a:gd name="T37" fmla="*/ 372 h 372"/>
                  <a:gd name="T38" fmla="*/ 70 w 267"/>
                  <a:gd name="T39" fmla="*/ 366 h 372"/>
                  <a:gd name="T40" fmla="*/ 255 w 267"/>
                  <a:gd name="T41" fmla="*/ 183 h 372"/>
                  <a:gd name="T42" fmla="*/ 267 w 267"/>
                  <a:gd name="T43" fmla="*/ 154 h 372"/>
                  <a:gd name="T44" fmla="*/ 267 w 267"/>
                  <a:gd name="T45" fmla="*/ 22 h 372"/>
                  <a:gd name="T46" fmla="*/ 244 w 267"/>
                  <a:gd name="T47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7" h="372">
                    <a:moveTo>
                      <a:pt x="244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04" y="0"/>
                      <a:pt x="91" y="5"/>
                      <a:pt x="85" y="12"/>
                    </a:cubicBezTo>
                    <a:cubicBezTo>
                      <a:pt x="85" y="12"/>
                      <a:pt x="77" y="20"/>
                      <a:pt x="67" y="30"/>
                    </a:cubicBezTo>
                    <a:cubicBezTo>
                      <a:pt x="63" y="33"/>
                      <a:pt x="64" y="39"/>
                      <a:pt x="67" y="43"/>
                    </a:cubicBezTo>
                    <a:cubicBezTo>
                      <a:pt x="71" y="47"/>
                      <a:pt x="77" y="47"/>
                      <a:pt x="80" y="43"/>
                    </a:cubicBezTo>
                    <a:cubicBezTo>
                      <a:pt x="90" y="33"/>
                      <a:pt x="98" y="25"/>
                      <a:pt x="98" y="25"/>
                    </a:cubicBezTo>
                    <a:cubicBezTo>
                      <a:pt x="101" y="22"/>
                      <a:pt x="109" y="19"/>
                      <a:pt x="113" y="19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6" y="19"/>
                      <a:pt x="248" y="20"/>
                      <a:pt x="248" y="22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8" y="159"/>
                      <a:pt x="245" y="166"/>
                      <a:pt x="241" y="170"/>
                    </a:cubicBezTo>
                    <a:cubicBezTo>
                      <a:pt x="57" y="353"/>
                      <a:pt x="57" y="353"/>
                      <a:pt x="57" y="353"/>
                    </a:cubicBezTo>
                    <a:cubicBezTo>
                      <a:pt x="55" y="354"/>
                      <a:pt x="53" y="354"/>
                      <a:pt x="51" y="353"/>
                    </a:cubicBezTo>
                    <a:cubicBezTo>
                      <a:pt x="17" y="318"/>
                      <a:pt x="17" y="318"/>
                      <a:pt x="17" y="318"/>
                    </a:cubicBezTo>
                    <a:cubicBezTo>
                      <a:pt x="13" y="314"/>
                      <a:pt x="7" y="314"/>
                      <a:pt x="3" y="318"/>
                    </a:cubicBezTo>
                    <a:cubicBezTo>
                      <a:pt x="0" y="321"/>
                      <a:pt x="0" y="327"/>
                      <a:pt x="3" y="331"/>
                    </a:cubicBezTo>
                    <a:cubicBezTo>
                      <a:pt x="38" y="366"/>
                      <a:pt x="38" y="366"/>
                      <a:pt x="38" y="366"/>
                    </a:cubicBezTo>
                    <a:cubicBezTo>
                      <a:pt x="42" y="370"/>
                      <a:pt x="48" y="372"/>
                      <a:pt x="54" y="372"/>
                    </a:cubicBezTo>
                    <a:cubicBezTo>
                      <a:pt x="60" y="372"/>
                      <a:pt x="66" y="370"/>
                      <a:pt x="70" y="366"/>
                    </a:cubicBezTo>
                    <a:cubicBezTo>
                      <a:pt x="255" y="183"/>
                      <a:pt x="255" y="183"/>
                      <a:pt x="255" y="183"/>
                    </a:cubicBezTo>
                    <a:cubicBezTo>
                      <a:pt x="262" y="176"/>
                      <a:pt x="267" y="164"/>
                      <a:pt x="267" y="15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7" y="10"/>
                      <a:pt x="257" y="0"/>
                      <a:pt x="24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229"/>
              <p:cNvSpPr>
                <a:spLocks noEditPoints="1"/>
              </p:cNvSpPr>
              <p:nvPr/>
            </p:nvSpPr>
            <p:spPr bwMode="auto">
              <a:xfrm>
                <a:off x="6794501" y="3756025"/>
                <a:ext cx="57150" cy="58738"/>
              </a:xfrm>
              <a:custGeom>
                <a:avLst/>
                <a:gdLst>
                  <a:gd name="T0" fmla="*/ 58 w 58"/>
                  <a:gd name="T1" fmla="*/ 29 h 58"/>
                  <a:gd name="T2" fmla="*/ 29 w 58"/>
                  <a:gd name="T3" fmla="*/ 0 h 58"/>
                  <a:gd name="T4" fmla="*/ 0 w 58"/>
                  <a:gd name="T5" fmla="*/ 29 h 58"/>
                  <a:gd name="T6" fmla="*/ 29 w 58"/>
                  <a:gd name="T7" fmla="*/ 58 h 58"/>
                  <a:gd name="T8" fmla="*/ 58 w 58"/>
                  <a:gd name="T9" fmla="*/ 29 h 58"/>
                  <a:gd name="T10" fmla="*/ 19 w 58"/>
                  <a:gd name="T11" fmla="*/ 29 h 58"/>
                  <a:gd name="T12" fmla="*/ 29 w 58"/>
                  <a:gd name="T13" fmla="*/ 19 h 58"/>
                  <a:gd name="T14" fmla="*/ 39 w 58"/>
                  <a:gd name="T15" fmla="*/ 29 h 58"/>
                  <a:gd name="T16" fmla="*/ 29 w 58"/>
                  <a:gd name="T17" fmla="*/ 40 h 58"/>
                  <a:gd name="T18" fmla="*/ 19 w 58"/>
                  <a:gd name="T19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58" y="29"/>
                    </a:moveTo>
                    <a:cubicBezTo>
                      <a:pt x="58" y="13"/>
                      <a:pt x="45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lose/>
                    <a:moveTo>
                      <a:pt x="19" y="29"/>
                    </a:moveTo>
                    <a:cubicBezTo>
                      <a:pt x="19" y="24"/>
                      <a:pt x="23" y="19"/>
                      <a:pt x="29" y="19"/>
                    </a:cubicBezTo>
                    <a:cubicBezTo>
                      <a:pt x="35" y="19"/>
                      <a:pt x="39" y="24"/>
                      <a:pt x="39" y="29"/>
                    </a:cubicBezTo>
                    <a:cubicBezTo>
                      <a:pt x="39" y="35"/>
                      <a:pt x="35" y="40"/>
                      <a:pt x="29" y="40"/>
                    </a:cubicBezTo>
                    <a:cubicBezTo>
                      <a:pt x="23" y="40"/>
                      <a:pt x="19" y="35"/>
                      <a:pt x="19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230"/>
              <p:cNvSpPr>
                <a:spLocks noEditPoints="1"/>
              </p:cNvSpPr>
              <p:nvPr/>
            </p:nvSpPr>
            <p:spPr bwMode="auto">
              <a:xfrm>
                <a:off x="6335713" y="3770313"/>
                <a:ext cx="371475" cy="371475"/>
              </a:xfrm>
              <a:custGeom>
                <a:avLst/>
                <a:gdLst>
                  <a:gd name="T0" fmla="*/ 374 w 374"/>
                  <a:gd name="T1" fmla="*/ 154 h 373"/>
                  <a:gd name="T2" fmla="*/ 374 w 374"/>
                  <a:gd name="T3" fmla="*/ 23 h 373"/>
                  <a:gd name="T4" fmla="*/ 351 w 374"/>
                  <a:gd name="T5" fmla="*/ 0 h 373"/>
                  <a:gd name="T6" fmla="*/ 220 w 374"/>
                  <a:gd name="T7" fmla="*/ 0 h 373"/>
                  <a:gd name="T8" fmla="*/ 192 w 374"/>
                  <a:gd name="T9" fmla="*/ 13 h 373"/>
                  <a:gd name="T10" fmla="*/ 8 w 374"/>
                  <a:gd name="T11" fmla="*/ 198 h 373"/>
                  <a:gd name="T12" fmla="*/ 9 w 374"/>
                  <a:gd name="T13" fmla="*/ 230 h 373"/>
                  <a:gd name="T14" fmla="*/ 145 w 374"/>
                  <a:gd name="T15" fmla="*/ 366 h 373"/>
                  <a:gd name="T16" fmla="*/ 161 w 374"/>
                  <a:gd name="T17" fmla="*/ 373 h 373"/>
                  <a:gd name="T18" fmla="*/ 177 w 374"/>
                  <a:gd name="T19" fmla="*/ 366 h 373"/>
                  <a:gd name="T20" fmla="*/ 362 w 374"/>
                  <a:gd name="T21" fmla="*/ 183 h 373"/>
                  <a:gd name="T22" fmla="*/ 374 w 374"/>
                  <a:gd name="T23" fmla="*/ 154 h 373"/>
                  <a:gd name="T24" fmla="*/ 355 w 374"/>
                  <a:gd name="T25" fmla="*/ 154 h 373"/>
                  <a:gd name="T26" fmla="*/ 348 w 374"/>
                  <a:gd name="T27" fmla="*/ 170 h 373"/>
                  <a:gd name="T28" fmla="*/ 164 w 374"/>
                  <a:gd name="T29" fmla="*/ 353 h 373"/>
                  <a:gd name="T30" fmla="*/ 161 w 374"/>
                  <a:gd name="T31" fmla="*/ 354 h 373"/>
                  <a:gd name="T32" fmla="*/ 158 w 374"/>
                  <a:gd name="T33" fmla="*/ 353 h 373"/>
                  <a:gd name="T34" fmla="*/ 22 w 374"/>
                  <a:gd name="T35" fmla="*/ 216 h 373"/>
                  <a:gd name="T36" fmla="*/ 22 w 374"/>
                  <a:gd name="T37" fmla="*/ 211 h 373"/>
                  <a:gd name="T38" fmla="*/ 205 w 374"/>
                  <a:gd name="T39" fmla="*/ 26 h 373"/>
                  <a:gd name="T40" fmla="*/ 220 w 374"/>
                  <a:gd name="T41" fmla="*/ 19 h 373"/>
                  <a:gd name="T42" fmla="*/ 351 w 374"/>
                  <a:gd name="T43" fmla="*/ 19 h 373"/>
                  <a:gd name="T44" fmla="*/ 355 w 374"/>
                  <a:gd name="T45" fmla="*/ 23 h 373"/>
                  <a:gd name="T46" fmla="*/ 355 w 374"/>
                  <a:gd name="T47" fmla="*/ 154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4" h="373">
                    <a:moveTo>
                      <a:pt x="374" y="154"/>
                    </a:moveTo>
                    <a:cubicBezTo>
                      <a:pt x="374" y="23"/>
                      <a:pt x="374" y="23"/>
                      <a:pt x="374" y="23"/>
                    </a:cubicBezTo>
                    <a:cubicBezTo>
                      <a:pt x="374" y="10"/>
                      <a:pt x="364" y="0"/>
                      <a:pt x="351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11" y="0"/>
                      <a:pt x="198" y="6"/>
                      <a:pt x="192" y="13"/>
                    </a:cubicBezTo>
                    <a:cubicBezTo>
                      <a:pt x="8" y="198"/>
                      <a:pt x="8" y="198"/>
                      <a:pt x="8" y="198"/>
                    </a:cubicBezTo>
                    <a:cubicBezTo>
                      <a:pt x="0" y="207"/>
                      <a:pt x="0" y="221"/>
                      <a:pt x="9" y="230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9" y="370"/>
                      <a:pt x="155" y="373"/>
                      <a:pt x="161" y="373"/>
                    </a:cubicBezTo>
                    <a:cubicBezTo>
                      <a:pt x="167" y="373"/>
                      <a:pt x="173" y="371"/>
                      <a:pt x="177" y="366"/>
                    </a:cubicBezTo>
                    <a:cubicBezTo>
                      <a:pt x="362" y="183"/>
                      <a:pt x="362" y="183"/>
                      <a:pt x="362" y="183"/>
                    </a:cubicBezTo>
                    <a:cubicBezTo>
                      <a:pt x="369" y="177"/>
                      <a:pt x="374" y="164"/>
                      <a:pt x="374" y="154"/>
                    </a:cubicBezTo>
                    <a:close/>
                    <a:moveTo>
                      <a:pt x="355" y="154"/>
                    </a:moveTo>
                    <a:cubicBezTo>
                      <a:pt x="355" y="159"/>
                      <a:pt x="352" y="167"/>
                      <a:pt x="348" y="170"/>
                    </a:cubicBezTo>
                    <a:cubicBezTo>
                      <a:pt x="164" y="353"/>
                      <a:pt x="164" y="353"/>
                      <a:pt x="164" y="353"/>
                    </a:cubicBezTo>
                    <a:cubicBezTo>
                      <a:pt x="163" y="354"/>
                      <a:pt x="162" y="354"/>
                      <a:pt x="161" y="354"/>
                    </a:cubicBezTo>
                    <a:cubicBezTo>
                      <a:pt x="161" y="354"/>
                      <a:pt x="159" y="354"/>
                      <a:pt x="158" y="353"/>
                    </a:cubicBezTo>
                    <a:cubicBezTo>
                      <a:pt x="22" y="216"/>
                      <a:pt x="22" y="216"/>
                      <a:pt x="22" y="216"/>
                    </a:cubicBezTo>
                    <a:cubicBezTo>
                      <a:pt x="20" y="215"/>
                      <a:pt x="20" y="212"/>
                      <a:pt x="22" y="211"/>
                    </a:cubicBezTo>
                    <a:cubicBezTo>
                      <a:pt x="205" y="26"/>
                      <a:pt x="205" y="26"/>
                      <a:pt x="205" y="26"/>
                    </a:cubicBezTo>
                    <a:cubicBezTo>
                      <a:pt x="208" y="22"/>
                      <a:pt x="216" y="19"/>
                      <a:pt x="220" y="19"/>
                    </a:cubicBezTo>
                    <a:cubicBezTo>
                      <a:pt x="351" y="19"/>
                      <a:pt x="351" y="19"/>
                      <a:pt x="351" y="19"/>
                    </a:cubicBezTo>
                    <a:cubicBezTo>
                      <a:pt x="353" y="19"/>
                      <a:pt x="355" y="21"/>
                      <a:pt x="355" y="23"/>
                    </a:cubicBezTo>
                    <a:lnTo>
                      <a:pt x="355" y="1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231"/>
              <p:cNvSpPr>
                <a:spLocks noEditPoints="1"/>
              </p:cNvSpPr>
              <p:nvPr/>
            </p:nvSpPr>
            <p:spPr bwMode="auto">
              <a:xfrm>
                <a:off x="6610351" y="3810000"/>
                <a:ext cx="58738" cy="57150"/>
              </a:xfrm>
              <a:custGeom>
                <a:avLst/>
                <a:gdLst>
                  <a:gd name="T0" fmla="*/ 29 w 58"/>
                  <a:gd name="T1" fmla="*/ 0 h 58"/>
                  <a:gd name="T2" fmla="*/ 0 w 58"/>
                  <a:gd name="T3" fmla="*/ 29 h 58"/>
                  <a:gd name="T4" fmla="*/ 29 w 58"/>
                  <a:gd name="T5" fmla="*/ 58 h 58"/>
                  <a:gd name="T6" fmla="*/ 58 w 58"/>
                  <a:gd name="T7" fmla="*/ 29 h 58"/>
                  <a:gd name="T8" fmla="*/ 29 w 58"/>
                  <a:gd name="T9" fmla="*/ 0 h 58"/>
                  <a:gd name="T10" fmla="*/ 29 w 58"/>
                  <a:gd name="T11" fmla="*/ 39 h 58"/>
                  <a:gd name="T12" fmla="*/ 19 w 58"/>
                  <a:gd name="T13" fmla="*/ 29 h 58"/>
                  <a:gd name="T14" fmla="*/ 29 w 58"/>
                  <a:gd name="T15" fmla="*/ 18 h 58"/>
                  <a:gd name="T16" fmla="*/ 39 w 58"/>
                  <a:gd name="T17" fmla="*/ 29 h 58"/>
                  <a:gd name="T18" fmla="*/ 29 w 58"/>
                  <a:gd name="T19" fmla="*/ 3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lose/>
                    <a:moveTo>
                      <a:pt x="29" y="39"/>
                    </a:moveTo>
                    <a:cubicBezTo>
                      <a:pt x="23" y="39"/>
                      <a:pt x="19" y="34"/>
                      <a:pt x="19" y="29"/>
                    </a:cubicBezTo>
                    <a:cubicBezTo>
                      <a:pt x="19" y="23"/>
                      <a:pt x="23" y="18"/>
                      <a:pt x="29" y="18"/>
                    </a:cubicBezTo>
                    <a:cubicBezTo>
                      <a:pt x="35" y="18"/>
                      <a:pt x="39" y="23"/>
                      <a:pt x="39" y="29"/>
                    </a:cubicBezTo>
                    <a:cubicBezTo>
                      <a:pt x="39" y="34"/>
                      <a:pt x="35" y="39"/>
                      <a:pt x="29" y="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3654385" y="1670877"/>
            <a:ext cx="1820360" cy="2314766"/>
            <a:chOff x="3654385" y="1670877"/>
            <a:chExt cx="1820360" cy="2314766"/>
          </a:xfrm>
        </p:grpSpPr>
        <p:grpSp>
          <p:nvGrpSpPr>
            <p:cNvPr id="26" name="Group 25"/>
            <p:cNvGrpSpPr/>
            <p:nvPr/>
          </p:nvGrpSpPr>
          <p:grpSpPr>
            <a:xfrm>
              <a:off x="3654385" y="1670877"/>
              <a:ext cx="1820360" cy="2314766"/>
              <a:chOff x="9445626" y="4445000"/>
              <a:chExt cx="5494338" cy="6986588"/>
            </a:xfrm>
          </p:grpSpPr>
          <p:sp>
            <p:nvSpPr>
              <p:cNvPr id="27" name="Freeform 5"/>
              <p:cNvSpPr>
                <a:spLocks/>
              </p:cNvSpPr>
              <p:nvPr/>
            </p:nvSpPr>
            <p:spPr bwMode="auto">
              <a:xfrm>
                <a:off x="9445626" y="8543925"/>
                <a:ext cx="2746375" cy="2887663"/>
              </a:xfrm>
              <a:custGeom>
                <a:avLst/>
                <a:gdLst>
                  <a:gd name="T0" fmla="*/ 548 w 1730"/>
                  <a:gd name="T1" fmla="*/ 621 h 1819"/>
                  <a:gd name="T2" fmla="*/ 0 w 1730"/>
                  <a:gd name="T3" fmla="*/ 621 h 1819"/>
                  <a:gd name="T4" fmla="*/ 0 w 1730"/>
                  <a:gd name="T5" fmla="*/ 910 h 1819"/>
                  <a:gd name="T6" fmla="*/ 1730 w 1730"/>
                  <a:gd name="T7" fmla="*/ 1819 h 1819"/>
                  <a:gd name="T8" fmla="*/ 1730 w 1730"/>
                  <a:gd name="T9" fmla="*/ 0 h 1819"/>
                  <a:gd name="T10" fmla="*/ 548 w 1730"/>
                  <a:gd name="T11" fmla="*/ 621 h 1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0" h="1819">
                    <a:moveTo>
                      <a:pt x="548" y="621"/>
                    </a:moveTo>
                    <a:lnTo>
                      <a:pt x="0" y="621"/>
                    </a:lnTo>
                    <a:lnTo>
                      <a:pt x="0" y="910"/>
                    </a:lnTo>
                    <a:lnTo>
                      <a:pt x="1730" y="1819"/>
                    </a:lnTo>
                    <a:lnTo>
                      <a:pt x="1730" y="0"/>
                    </a:lnTo>
                    <a:lnTo>
                      <a:pt x="548" y="621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8" name="Freeform 6"/>
              <p:cNvSpPr>
                <a:spLocks/>
              </p:cNvSpPr>
              <p:nvPr/>
            </p:nvSpPr>
            <p:spPr bwMode="auto">
              <a:xfrm>
                <a:off x="12192001" y="8543925"/>
                <a:ext cx="2747963" cy="2887663"/>
              </a:xfrm>
              <a:custGeom>
                <a:avLst/>
                <a:gdLst>
                  <a:gd name="T0" fmla="*/ 1731 w 1731"/>
                  <a:gd name="T1" fmla="*/ 621 h 1819"/>
                  <a:gd name="T2" fmla="*/ 1182 w 1731"/>
                  <a:gd name="T3" fmla="*/ 621 h 1819"/>
                  <a:gd name="T4" fmla="*/ 0 w 1731"/>
                  <a:gd name="T5" fmla="*/ 0 h 1819"/>
                  <a:gd name="T6" fmla="*/ 0 w 1731"/>
                  <a:gd name="T7" fmla="*/ 1819 h 1819"/>
                  <a:gd name="T8" fmla="*/ 1731 w 1731"/>
                  <a:gd name="T9" fmla="*/ 910 h 1819"/>
                  <a:gd name="T10" fmla="*/ 1731 w 1731"/>
                  <a:gd name="T11" fmla="*/ 621 h 1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1" h="1819">
                    <a:moveTo>
                      <a:pt x="1731" y="621"/>
                    </a:moveTo>
                    <a:lnTo>
                      <a:pt x="1182" y="621"/>
                    </a:lnTo>
                    <a:lnTo>
                      <a:pt x="0" y="0"/>
                    </a:lnTo>
                    <a:lnTo>
                      <a:pt x="0" y="1819"/>
                    </a:lnTo>
                    <a:lnTo>
                      <a:pt x="1731" y="910"/>
                    </a:lnTo>
                    <a:lnTo>
                      <a:pt x="1731" y="621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9" name="Freeform 7"/>
              <p:cNvSpPr>
                <a:spLocks/>
              </p:cNvSpPr>
              <p:nvPr/>
            </p:nvSpPr>
            <p:spPr bwMode="auto">
              <a:xfrm>
                <a:off x="9445626" y="8088313"/>
                <a:ext cx="5494338" cy="2884488"/>
              </a:xfrm>
              <a:custGeom>
                <a:avLst/>
                <a:gdLst>
                  <a:gd name="T0" fmla="*/ 3461 w 3461"/>
                  <a:gd name="T1" fmla="*/ 908 h 1817"/>
                  <a:gd name="T2" fmla="*/ 1730 w 3461"/>
                  <a:gd name="T3" fmla="*/ 1817 h 1817"/>
                  <a:gd name="T4" fmla="*/ 0 w 3461"/>
                  <a:gd name="T5" fmla="*/ 908 h 1817"/>
                  <a:gd name="T6" fmla="*/ 1730 w 3461"/>
                  <a:gd name="T7" fmla="*/ 0 h 1817"/>
                  <a:gd name="T8" fmla="*/ 3461 w 3461"/>
                  <a:gd name="T9" fmla="*/ 908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61" h="1817">
                    <a:moveTo>
                      <a:pt x="3461" y="908"/>
                    </a:moveTo>
                    <a:lnTo>
                      <a:pt x="1730" y="1817"/>
                    </a:lnTo>
                    <a:lnTo>
                      <a:pt x="0" y="908"/>
                    </a:lnTo>
                    <a:lnTo>
                      <a:pt x="1730" y="0"/>
                    </a:lnTo>
                    <a:lnTo>
                      <a:pt x="3461" y="908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9445626" y="7331075"/>
                <a:ext cx="2746375" cy="2884488"/>
              </a:xfrm>
              <a:custGeom>
                <a:avLst/>
                <a:gdLst>
                  <a:gd name="T0" fmla="*/ 548 w 1730"/>
                  <a:gd name="T1" fmla="*/ 620 h 1817"/>
                  <a:gd name="T2" fmla="*/ 0 w 1730"/>
                  <a:gd name="T3" fmla="*/ 620 h 1817"/>
                  <a:gd name="T4" fmla="*/ 0 w 1730"/>
                  <a:gd name="T5" fmla="*/ 909 h 1817"/>
                  <a:gd name="T6" fmla="*/ 1730 w 1730"/>
                  <a:gd name="T7" fmla="*/ 1817 h 1817"/>
                  <a:gd name="T8" fmla="*/ 1730 w 1730"/>
                  <a:gd name="T9" fmla="*/ 0 h 1817"/>
                  <a:gd name="T10" fmla="*/ 548 w 1730"/>
                  <a:gd name="T11" fmla="*/ 620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0" h="1817">
                    <a:moveTo>
                      <a:pt x="548" y="620"/>
                    </a:moveTo>
                    <a:lnTo>
                      <a:pt x="0" y="620"/>
                    </a:lnTo>
                    <a:lnTo>
                      <a:pt x="0" y="909"/>
                    </a:lnTo>
                    <a:lnTo>
                      <a:pt x="1730" y="1817"/>
                    </a:lnTo>
                    <a:lnTo>
                      <a:pt x="1730" y="0"/>
                    </a:lnTo>
                    <a:lnTo>
                      <a:pt x="548" y="62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1" name="Freeform 9"/>
              <p:cNvSpPr>
                <a:spLocks/>
              </p:cNvSpPr>
              <p:nvPr/>
            </p:nvSpPr>
            <p:spPr bwMode="auto">
              <a:xfrm>
                <a:off x="12192001" y="7331075"/>
                <a:ext cx="2747963" cy="2884488"/>
              </a:xfrm>
              <a:custGeom>
                <a:avLst/>
                <a:gdLst>
                  <a:gd name="T0" fmla="*/ 1731 w 1731"/>
                  <a:gd name="T1" fmla="*/ 620 h 1817"/>
                  <a:gd name="T2" fmla="*/ 1182 w 1731"/>
                  <a:gd name="T3" fmla="*/ 620 h 1817"/>
                  <a:gd name="T4" fmla="*/ 0 w 1731"/>
                  <a:gd name="T5" fmla="*/ 0 h 1817"/>
                  <a:gd name="T6" fmla="*/ 0 w 1731"/>
                  <a:gd name="T7" fmla="*/ 1817 h 1817"/>
                  <a:gd name="T8" fmla="*/ 1731 w 1731"/>
                  <a:gd name="T9" fmla="*/ 909 h 1817"/>
                  <a:gd name="T10" fmla="*/ 1731 w 1731"/>
                  <a:gd name="T11" fmla="*/ 620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1" h="1817">
                    <a:moveTo>
                      <a:pt x="1731" y="620"/>
                    </a:moveTo>
                    <a:lnTo>
                      <a:pt x="1182" y="620"/>
                    </a:lnTo>
                    <a:lnTo>
                      <a:pt x="0" y="0"/>
                    </a:lnTo>
                    <a:lnTo>
                      <a:pt x="0" y="1817"/>
                    </a:lnTo>
                    <a:lnTo>
                      <a:pt x="1731" y="909"/>
                    </a:lnTo>
                    <a:lnTo>
                      <a:pt x="1731" y="62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2" name="Freeform 10"/>
              <p:cNvSpPr>
                <a:spLocks/>
              </p:cNvSpPr>
              <p:nvPr/>
            </p:nvSpPr>
            <p:spPr bwMode="auto">
              <a:xfrm>
                <a:off x="9445626" y="6872288"/>
                <a:ext cx="5494338" cy="2887663"/>
              </a:xfrm>
              <a:custGeom>
                <a:avLst/>
                <a:gdLst>
                  <a:gd name="T0" fmla="*/ 3461 w 3461"/>
                  <a:gd name="T1" fmla="*/ 909 h 1819"/>
                  <a:gd name="T2" fmla="*/ 1730 w 3461"/>
                  <a:gd name="T3" fmla="*/ 1819 h 1819"/>
                  <a:gd name="T4" fmla="*/ 0 w 3461"/>
                  <a:gd name="T5" fmla="*/ 909 h 1819"/>
                  <a:gd name="T6" fmla="*/ 1730 w 3461"/>
                  <a:gd name="T7" fmla="*/ 0 h 1819"/>
                  <a:gd name="T8" fmla="*/ 3461 w 3461"/>
                  <a:gd name="T9" fmla="*/ 909 h 18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61" h="1819">
                    <a:moveTo>
                      <a:pt x="3461" y="909"/>
                    </a:moveTo>
                    <a:lnTo>
                      <a:pt x="1730" y="1819"/>
                    </a:lnTo>
                    <a:lnTo>
                      <a:pt x="0" y="909"/>
                    </a:lnTo>
                    <a:lnTo>
                      <a:pt x="1730" y="0"/>
                    </a:lnTo>
                    <a:lnTo>
                      <a:pt x="3461" y="90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3" name="Freeform 11"/>
              <p:cNvSpPr>
                <a:spLocks/>
              </p:cNvSpPr>
              <p:nvPr/>
            </p:nvSpPr>
            <p:spPr bwMode="auto">
              <a:xfrm>
                <a:off x="9445626" y="6116638"/>
                <a:ext cx="2746375" cy="2886075"/>
              </a:xfrm>
              <a:custGeom>
                <a:avLst/>
                <a:gdLst>
                  <a:gd name="T0" fmla="*/ 548 w 1730"/>
                  <a:gd name="T1" fmla="*/ 621 h 1818"/>
                  <a:gd name="T2" fmla="*/ 0 w 1730"/>
                  <a:gd name="T3" fmla="*/ 621 h 1818"/>
                  <a:gd name="T4" fmla="*/ 0 w 1730"/>
                  <a:gd name="T5" fmla="*/ 910 h 1818"/>
                  <a:gd name="T6" fmla="*/ 1730 w 1730"/>
                  <a:gd name="T7" fmla="*/ 1818 h 1818"/>
                  <a:gd name="T8" fmla="*/ 1730 w 1730"/>
                  <a:gd name="T9" fmla="*/ 0 h 1818"/>
                  <a:gd name="T10" fmla="*/ 548 w 1730"/>
                  <a:gd name="T11" fmla="*/ 621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0" h="1818">
                    <a:moveTo>
                      <a:pt x="548" y="621"/>
                    </a:moveTo>
                    <a:lnTo>
                      <a:pt x="0" y="621"/>
                    </a:lnTo>
                    <a:lnTo>
                      <a:pt x="0" y="910"/>
                    </a:lnTo>
                    <a:lnTo>
                      <a:pt x="1730" y="1818"/>
                    </a:lnTo>
                    <a:lnTo>
                      <a:pt x="1730" y="0"/>
                    </a:lnTo>
                    <a:lnTo>
                      <a:pt x="548" y="621"/>
                    </a:lnTo>
                    <a:close/>
                  </a:path>
                </a:pathLst>
              </a:custGeom>
              <a:solidFill>
                <a:srgbClr val="FF3F3F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 dirty="0"/>
              </a:p>
            </p:txBody>
          </p:sp>
          <p:sp>
            <p:nvSpPr>
              <p:cNvPr id="34" name="Freeform 12"/>
              <p:cNvSpPr>
                <a:spLocks/>
              </p:cNvSpPr>
              <p:nvPr/>
            </p:nvSpPr>
            <p:spPr bwMode="auto">
              <a:xfrm>
                <a:off x="12192001" y="6116638"/>
                <a:ext cx="2747963" cy="2886075"/>
              </a:xfrm>
              <a:custGeom>
                <a:avLst/>
                <a:gdLst>
                  <a:gd name="T0" fmla="*/ 1731 w 1731"/>
                  <a:gd name="T1" fmla="*/ 621 h 1818"/>
                  <a:gd name="T2" fmla="*/ 1182 w 1731"/>
                  <a:gd name="T3" fmla="*/ 621 h 1818"/>
                  <a:gd name="T4" fmla="*/ 0 w 1731"/>
                  <a:gd name="T5" fmla="*/ 0 h 1818"/>
                  <a:gd name="T6" fmla="*/ 0 w 1731"/>
                  <a:gd name="T7" fmla="*/ 1818 h 1818"/>
                  <a:gd name="T8" fmla="*/ 1731 w 1731"/>
                  <a:gd name="T9" fmla="*/ 910 h 1818"/>
                  <a:gd name="T10" fmla="*/ 1731 w 1731"/>
                  <a:gd name="T11" fmla="*/ 621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1" h="1818">
                    <a:moveTo>
                      <a:pt x="1731" y="621"/>
                    </a:moveTo>
                    <a:lnTo>
                      <a:pt x="1182" y="621"/>
                    </a:lnTo>
                    <a:lnTo>
                      <a:pt x="0" y="0"/>
                    </a:lnTo>
                    <a:lnTo>
                      <a:pt x="0" y="1818"/>
                    </a:lnTo>
                    <a:lnTo>
                      <a:pt x="1731" y="910"/>
                    </a:lnTo>
                    <a:lnTo>
                      <a:pt x="1731" y="621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5" name="Freeform 13"/>
              <p:cNvSpPr>
                <a:spLocks/>
              </p:cNvSpPr>
              <p:nvPr/>
            </p:nvSpPr>
            <p:spPr bwMode="auto">
              <a:xfrm>
                <a:off x="9445626" y="5659438"/>
                <a:ext cx="5494338" cy="2884488"/>
              </a:xfrm>
              <a:custGeom>
                <a:avLst/>
                <a:gdLst>
                  <a:gd name="T0" fmla="*/ 3461 w 3461"/>
                  <a:gd name="T1" fmla="*/ 909 h 1817"/>
                  <a:gd name="T2" fmla="*/ 1730 w 3461"/>
                  <a:gd name="T3" fmla="*/ 1817 h 1817"/>
                  <a:gd name="T4" fmla="*/ 0 w 3461"/>
                  <a:gd name="T5" fmla="*/ 909 h 1817"/>
                  <a:gd name="T6" fmla="*/ 1730 w 3461"/>
                  <a:gd name="T7" fmla="*/ 0 h 1817"/>
                  <a:gd name="T8" fmla="*/ 3461 w 3461"/>
                  <a:gd name="T9" fmla="*/ 909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61" h="1817">
                    <a:moveTo>
                      <a:pt x="3461" y="909"/>
                    </a:moveTo>
                    <a:lnTo>
                      <a:pt x="1730" y="1817"/>
                    </a:lnTo>
                    <a:lnTo>
                      <a:pt x="0" y="909"/>
                    </a:lnTo>
                    <a:lnTo>
                      <a:pt x="1730" y="0"/>
                    </a:lnTo>
                    <a:lnTo>
                      <a:pt x="3461" y="909"/>
                    </a:lnTo>
                    <a:close/>
                  </a:path>
                </a:pathLst>
              </a:custGeom>
              <a:solidFill>
                <a:srgbClr val="EC0000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 dirty="0"/>
              </a:p>
            </p:txBody>
          </p:sp>
          <p:sp>
            <p:nvSpPr>
              <p:cNvPr id="36" name="Freeform 14"/>
              <p:cNvSpPr>
                <a:spLocks/>
              </p:cNvSpPr>
              <p:nvPr/>
            </p:nvSpPr>
            <p:spPr bwMode="auto">
              <a:xfrm>
                <a:off x="9445626" y="4903788"/>
                <a:ext cx="2746375" cy="2884488"/>
              </a:xfrm>
              <a:custGeom>
                <a:avLst/>
                <a:gdLst>
                  <a:gd name="T0" fmla="*/ 548 w 1730"/>
                  <a:gd name="T1" fmla="*/ 620 h 1817"/>
                  <a:gd name="T2" fmla="*/ 0 w 1730"/>
                  <a:gd name="T3" fmla="*/ 620 h 1817"/>
                  <a:gd name="T4" fmla="*/ 0 w 1730"/>
                  <a:gd name="T5" fmla="*/ 908 h 1817"/>
                  <a:gd name="T6" fmla="*/ 1730 w 1730"/>
                  <a:gd name="T7" fmla="*/ 1817 h 1817"/>
                  <a:gd name="T8" fmla="*/ 1730 w 1730"/>
                  <a:gd name="T9" fmla="*/ 0 h 1817"/>
                  <a:gd name="T10" fmla="*/ 548 w 1730"/>
                  <a:gd name="T11" fmla="*/ 620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0" h="1817">
                    <a:moveTo>
                      <a:pt x="548" y="620"/>
                    </a:moveTo>
                    <a:lnTo>
                      <a:pt x="0" y="620"/>
                    </a:lnTo>
                    <a:lnTo>
                      <a:pt x="0" y="908"/>
                    </a:lnTo>
                    <a:lnTo>
                      <a:pt x="1730" y="1817"/>
                    </a:lnTo>
                    <a:lnTo>
                      <a:pt x="1730" y="0"/>
                    </a:lnTo>
                    <a:lnTo>
                      <a:pt x="548" y="62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7" name="Freeform 15"/>
              <p:cNvSpPr>
                <a:spLocks/>
              </p:cNvSpPr>
              <p:nvPr/>
            </p:nvSpPr>
            <p:spPr bwMode="auto">
              <a:xfrm>
                <a:off x="12192001" y="4903788"/>
                <a:ext cx="2747963" cy="2884488"/>
              </a:xfrm>
              <a:custGeom>
                <a:avLst/>
                <a:gdLst>
                  <a:gd name="T0" fmla="*/ 1731 w 1731"/>
                  <a:gd name="T1" fmla="*/ 620 h 1817"/>
                  <a:gd name="T2" fmla="*/ 1182 w 1731"/>
                  <a:gd name="T3" fmla="*/ 620 h 1817"/>
                  <a:gd name="T4" fmla="*/ 0 w 1731"/>
                  <a:gd name="T5" fmla="*/ 0 h 1817"/>
                  <a:gd name="T6" fmla="*/ 0 w 1731"/>
                  <a:gd name="T7" fmla="*/ 1817 h 1817"/>
                  <a:gd name="T8" fmla="*/ 1731 w 1731"/>
                  <a:gd name="T9" fmla="*/ 908 h 1817"/>
                  <a:gd name="T10" fmla="*/ 1731 w 1731"/>
                  <a:gd name="T11" fmla="*/ 620 h 1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31" h="1817">
                    <a:moveTo>
                      <a:pt x="1731" y="620"/>
                    </a:moveTo>
                    <a:lnTo>
                      <a:pt x="1182" y="620"/>
                    </a:lnTo>
                    <a:lnTo>
                      <a:pt x="0" y="0"/>
                    </a:lnTo>
                    <a:lnTo>
                      <a:pt x="0" y="1817"/>
                    </a:lnTo>
                    <a:lnTo>
                      <a:pt x="1731" y="908"/>
                    </a:lnTo>
                    <a:lnTo>
                      <a:pt x="1731" y="62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8" name="Freeform 16"/>
              <p:cNvSpPr>
                <a:spLocks/>
              </p:cNvSpPr>
              <p:nvPr/>
            </p:nvSpPr>
            <p:spPr bwMode="auto">
              <a:xfrm>
                <a:off x="9445626" y="4445000"/>
                <a:ext cx="5494338" cy="2886075"/>
              </a:xfrm>
              <a:custGeom>
                <a:avLst/>
                <a:gdLst>
                  <a:gd name="T0" fmla="*/ 3461 w 3461"/>
                  <a:gd name="T1" fmla="*/ 909 h 1818"/>
                  <a:gd name="T2" fmla="*/ 1730 w 3461"/>
                  <a:gd name="T3" fmla="*/ 1818 h 1818"/>
                  <a:gd name="T4" fmla="*/ 0 w 3461"/>
                  <a:gd name="T5" fmla="*/ 909 h 1818"/>
                  <a:gd name="T6" fmla="*/ 1730 w 3461"/>
                  <a:gd name="T7" fmla="*/ 0 h 1818"/>
                  <a:gd name="T8" fmla="*/ 3461 w 3461"/>
                  <a:gd name="T9" fmla="*/ 909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61" h="1818">
                    <a:moveTo>
                      <a:pt x="3461" y="909"/>
                    </a:moveTo>
                    <a:lnTo>
                      <a:pt x="1730" y="1818"/>
                    </a:lnTo>
                    <a:lnTo>
                      <a:pt x="0" y="909"/>
                    </a:lnTo>
                    <a:lnTo>
                      <a:pt x="1730" y="0"/>
                    </a:lnTo>
                    <a:lnTo>
                      <a:pt x="3461" y="909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3867976" y="1947902"/>
              <a:ext cx="139250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lano de </a:t>
              </a:r>
            </a:p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egócios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6326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process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3739457" y="3894948"/>
            <a:ext cx="1665088" cy="832544"/>
          </a:xfrm>
          <a:custGeom>
            <a:avLst/>
            <a:gdLst>
              <a:gd name="T0" fmla="*/ 6684 w 6892"/>
              <a:gd name="T1" fmla="*/ 0 h 3446"/>
              <a:gd name="T2" fmla="*/ 3446 w 6892"/>
              <a:gd name="T3" fmla="*/ 3238 h 3446"/>
              <a:gd name="T4" fmla="*/ 208 w 6892"/>
              <a:gd name="T5" fmla="*/ 0 h 3446"/>
              <a:gd name="T6" fmla="*/ 0 w 6892"/>
              <a:gd name="T7" fmla="*/ 0 h 3446"/>
              <a:gd name="T8" fmla="*/ 1010 w 6892"/>
              <a:gd name="T9" fmla="*/ 2436 h 3446"/>
              <a:gd name="T10" fmla="*/ 3446 w 6892"/>
              <a:gd name="T11" fmla="*/ 3446 h 3446"/>
              <a:gd name="T12" fmla="*/ 5882 w 6892"/>
              <a:gd name="T13" fmla="*/ 2436 h 3446"/>
              <a:gd name="T14" fmla="*/ 6892 w 6892"/>
              <a:gd name="T15" fmla="*/ 0 h 3446"/>
              <a:gd name="T16" fmla="*/ 6684 w 6892"/>
              <a:gd name="T17" fmla="*/ 0 h 3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92" h="3446">
                <a:moveTo>
                  <a:pt x="6684" y="0"/>
                </a:moveTo>
                <a:cubicBezTo>
                  <a:pt x="6684" y="1789"/>
                  <a:pt x="5235" y="3238"/>
                  <a:pt x="3446" y="3238"/>
                </a:cubicBezTo>
                <a:cubicBezTo>
                  <a:pt x="1657" y="3238"/>
                  <a:pt x="208" y="1789"/>
                  <a:pt x="20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951"/>
                  <a:pt x="386" y="1813"/>
                  <a:pt x="1010" y="2436"/>
                </a:cubicBezTo>
                <a:cubicBezTo>
                  <a:pt x="1633" y="3060"/>
                  <a:pt x="2495" y="3446"/>
                  <a:pt x="3446" y="3446"/>
                </a:cubicBezTo>
                <a:cubicBezTo>
                  <a:pt x="4397" y="3446"/>
                  <a:pt x="5259" y="3060"/>
                  <a:pt x="5882" y="2436"/>
                </a:cubicBezTo>
                <a:cubicBezTo>
                  <a:pt x="6506" y="1813"/>
                  <a:pt x="6892" y="951"/>
                  <a:pt x="6892" y="0"/>
                </a:cubicBezTo>
                <a:lnTo>
                  <a:pt x="668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14"/>
          <p:cNvSpPr>
            <a:spLocks/>
          </p:cNvSpPr>
          <p:nvPr/>
        </p:nvSpPr>
        <p:spPr bwMode="auto">
          <a:xfrm>
            <a:off x="5124876" y="3306549"/>
            <a:ext cx="279668" cy="588400"/>
          </a:xfrm>
          <a:custGeom>
            <a:avLst/>
            <a:gdLst>
              <a:gd name="T0" fmla="*/ 146 w 1156"/>
              <a:gd name="T1" fmla="*/ 0 h 2436"/>
              <a:gd name="T2" fmla="*/ 0 w 1156"/>
              <a:gd name="T3" fmla="*/ 146 h 2436"/>
              <a:gd name="T4" fmla="*/ 948 w 1156"/>
              <a:gd name="T5" fmla="*/ 2436 h 2436"/>
              <a:gd name="T6" fmla="*/ 1156 w 1156"/>
              <a:gd name="T7" fmla="*/ 2436 h 2436"/>
              <a:gd name="T8" fmla="*/ 146 w 1156"/>
              <a:gd name="T9" fmla="*/ 0 h 2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6" h="2436">
                <a:moveTo>
                  <a:pt x="146" y="0"/>
                </a:moveTo>
                <a:cubicBezTo>
                  <a:pt x="0" y="146"/>
                  <a:pt x="0" y="146"/>
                  <a:pt x="0" y="146"/>
                </a:cubicBezTo>
                <a:cubicBezTo>
                  <a:pt x="586" y="732"/>
                  <a:pt x="948" y="1542"/>
                  <a:pt x="948" y="2436"/>
                </a:cubicBezTo>
                <a:cubicBezTo>
                  <a:pt x="1156" y="2436"/>
                  <a:pt x="1156" y="2436"/>
                  <a:pt x="1156" y="2436"/>
                </a:cubicBezTo>
                <a:cubicBezTo>
                  <a:pt x="1156" y="1485"/>
                  <a:pt x="770" y="623"/>
                  <a:pt x="146" y="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15"/>
          <p:cNvSpPr>
            <a:spLocks/>
          </p:cNvSpPr>
          <p:nvPr/>
        </p:nvSpPr>
        <p:spPr bwMode="auto">
          <a:xfrm>
            <a:off x="4572000" y="3062405"/>
            <a:ext cx="588400" cy="279668"/>
          </a:xfrm>
          <a:custGeom>
            <a:avLst/>
            <a:gdLst>
              <a:gd name="T0" fmla="*/ 2290 w 2436"/>
              <a:gd name="T1" fmla="*/ 1156 h 1156"/>
              <a:gd name="T2" fmla="*/ 2436 w 2436"/>
              <a:gd name="T3" fmla="*/ 1010 h 1156"/>
              <a:gd name="T4" fmla="*/ 0 w 2436"/>
              <a:gd name="T5" fmla="*/ 0 h 1156"/>
              <a:gd name="T6" fmla="*/ 0 w 2436"/>
              <a:gd name="T7" fmla="*/ 208 h 1156"/>
              <a:gd name="T8" fmla="*/ 2290 w 2436"/>
              <a:gd name="T9" fmla="*/ 1156 h 1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36" h="1156">
                <a:moveTo>
                  <a:pt x="2290" y="1156"/>
                </a:moveTo>
                <a:cubicBezTo>
                  <a:pt x="2436" y="1010"/>
                  <a:pt x="2436" y="1010"/>
                  <a:pt x="2436" y="1010"/>
                </a:cubicBezTo>
                <a:cubicBezTo>
                  <a:pt x="1813" y="386"/>
                  <a:pt x="951" y="0"/>
                  <a:pt x="0" y="0"/>
                </a:cubicBezTo>
                <a:cubicBezTo>
                  <a:pt x="0" y="208"/>
                  <a:pt x="0" y="208"/>
                  <a:pt x="0" y="208"/>
                </a:cubicBezTo>
                <a:cubicBezTo>
                  <a:pt x="894" y="208"/>
                  <a:pt x="1704" y="570"/>
                  <a:pt x="2290" y="1156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7" name="Freeform 16"/>
          <p:cNvSpPr>
            <a:spLocks/>
          </p:cNvSpPr>
          <p:nvPr/>
        </p:nvSpPr>
        <p:spPr bwMode="auto">
          <a:xfrm>
            <a:off x="3983600" y="3062405"/>
            <a:ext cx="588400" cy="279668"/>
          </a:xfrm>
          <a:custGeom>
            <a:avLst/>
            <a:gdLst>
              <a:gd name="T0" fmla="*/ 2436 w 2436"/>
              <a:gd name="T1" fmla="*/ 208 h 1156"/>
              <a:gd name="T2" fmla="*/ 2436 w 2436"/>
              <a:gd name="T3" fmla="*/ 0 h 1156"/>
              <a:gd name="T4" fmla="*/ 0 w 2436"/>
              <a:gd name="T5" fmla="*/ 1010 h 1156"/>
              <a:gd name="T6" fmla="*/ 146 w 2436"/>
              <a:gd name="T7" fmla="*/ 1156 h 1156"/>
              <a:gd name="T8" fmla="*/ 2436 w 2436"/>
              <a:gd name="T9" fmla="*/ 208 h 1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36" h="1156">
                <a:moveTo>
                  <a:pt x="2436" y="208"/>
                </a:moveTo>
                <a:cubicBezTo>
                  <a:pt x="2436" y="0"/>
                  <a:pt x="2436" y="0"/>
                  <a:pt x="2436" y="0"/>
                </a:cubicBezTo>
                <a:cubicBezTo>
                  <a:pt x="1485" y="0"/>
                  <a:pt x="623" y="386"/>
                  <a:pt x="0" y="1010"/>
                </a:cubicBezTo>
                <a:cubicBezTo>
                  <a:pt x="146" y="1156"/>
                  <a:pt x="146" y="1156"/>
                  <a:pt x="146" y="1156"/>
                </a:cubicBezTo>
                <a:cubicBezTo>
                  <a:pt x="732" y="570"/>
                  <a:pt x="1542" y="208"/>
                  <a:pt x="2436" y="208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8" name="Freeform 17"/>
          <p:cNvSpPr>
            <a:spLocks/>
          </p:cNvSpPr>
          <p:nvPr/>
        </p:nvSpPr>
        <p:spPr bwMode="auto">
          <a:xfrm>
            <a:off x="3739456" y="3306549"/>
            <a:ext cx="279668" cy="588400"/>
          </a:xfrm>
          <a:custGeom>
            <a:avLst/>
            <a:gdLst>
              <a:gd name="T0" fmla="*/ 1010 w 1156"/>
              <a:gd name="T1" fmla="*/ 0 h 2436"/>
              <a:gd name="T2" fmla="*/ 0 w 1156"/>
              <a:gd name="T3" fmla="*/ 2436 h 2436"/>
              <a:gd name="T4" fmla="*/ 208 w 1156"/>
              <a:gd name="T5" fmla="*/ 2436 h 2436"/>
              <a:gd name="T6" fmla="*/ 1156 w 1156"/>
              <a:gd name="T7" fmla="*/ 146 h 2436"/>
              <a:gd name="T8" fmla="*/ 1010 w 1156"/>
              <a:gd name="T9" fmla="*/ 0 h 2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56" h="2436">
                <a:moveTo>
                  <a:pt x="1010" y="0"/>
                </a:moveTo>
                <a:cubicBezTo>
                  <a:pt x="386" y="623"/>
                  <a:pt x="0" y="1485"/>
                  <a:pt x="0" y="2436"/>
                </a:cubicBezTo>
                <a:cubicBezTo>
                  <a:pt x="208" y="2436"/>
                  <a:pt x="208" y="2436"/>
                  <a:pt x="208" y="2436"/>
                </a:cubicBezTo>
                <a:cubicBezTo>
                  <a:pt x="208" y="1542"/>
                  <a:pt x="570" y="732"/>
                  <a:pt x="1156" y="146"/>
                </a:cubicBezTo>
                <a:lnTo>
                  <a:pt x="1010" y="0"/>
                </a:ln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grpSp>
        <p:nvGrpSpPr>
          <p:cNvPr id="44" name="Group 43"/>
          <p:cNvGrpSpPr/>
          <p:nvPr/>
        </p:nvGrpSpPr>
        <p:grpSpPr>
          <a:xfrm>
            <a:off x="3646209" y="3788054"/>
            <a:ext cx="222755" cy="223543"/>
            <a:chOff x="3646209" y="3788054"/>
            <a:chExt cx="222755" cy="223543"/>
          </a:xfrm>
        </p:grpSpPr>
        <p:sp>
          <p:nvSpPr>
            <p:cNvPr id="9" name="Oval 11"/>
            <p:cNvSpPr>
              <a:spLocks noChangeArrowheads="1"/>
            </p:cNvSpPr>
            <p:nvPr/>
          </p:nvSpPr>
          <p:spPr bwMode="auto">
            <a:xfrm>
              <a:off x="3646209" y="3788054"/>
              <a:ext cx="222755" cy="223543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Title 2"/>
            <p:cNvSpPr txBox="1">
              <a:spLocks/>
            </p:cNvSpPr>
            <p:nvPr/>
          </p:nvSpPr>
          <p:spPr>
            <a:xfrm>
              <a:off x="3654204" y="3838268"/>
              <a:ext cx="206764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1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882003" y="3219717"/>
            <a:ext cx="222755" cy="223543"/>
            <a:chOff x="3882003" y="3219717"/>
            <a:chExt cx="222755" cy="223543"/>
          </a:xfrm>
        </p:grpSpPr>
        <p:sp>
          <p:nvSpPr>
            <p:cNvPr id="11" name="Oval 11"/>
            <p:cNvSpPr>
              <a:spLocks noChangeArrowheads="1"/>
            </p:cNvSpPr>
            <p:nvPr/>
          </p:nvSpPr>
          <p:spPr bwMode="auto">
            <a:xfrm>
              <a:off x="3882003" y="3219717"/>
              <a:ext cx="222755" cy="223543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Title 2"/>
            <p:cNvSpPr txBox="1">
              <a:spLocks/>
            </p:cNvSpPr>
            <p:nvPr/>
          </p:nvSpPr>
          <p:spPr>
            <a:xfrm>
              <a:off x="3889999" y="3269933"/>
              <a:ext cx="206764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2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460622" y="2975537"/>
            <a:ext cx="222755" cy="223543"/>
            <a:chOff x="4460622" y="2975537"/>
            <a:chExt cx="222755" cy="223543"/>
          </a:xfrm>
        </p:grpSpPr>
        <p:sp>
          <p:nvSpPr>
            <p:cNvPr id="13" name="Oval 11"/>
            <p:cNvSpPr>
              <a:spLocks noChangeArrowheads="1"/>
            </p:cNvSpPr>
            <p:nvPr/>
          </p:nvSpPr>
          <p:spPr bwMode="auto">
            <a:xfrm>
              <a:off x="4460622" y="2975537"/>
              <a:ext cx="222755" cy="223543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6" name="Title 2"/>
            <p:cNvSpPr txBox="1">
              <a:spLocks/>
            </p:cNvSpPr>
            <p:nvPr/>
          </p:nvSpPr>
          <p:spPr>
            <a:xfrm>
              <a:off x="4468618" y="3025753"/>
              <a:ext cx="206764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3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037746" y="3219717"/>
            <a:ext cx="222755" cy="223543"/>
            <a:chOff x="5037746" y="3219717"/>
            <a:chExt cx="222755" cy="223543"/>
          </a:xfrm>
        </p:grpSpPr>
        <p:sp>
          <p:nvSpPr>
            <p:cNvPr id="12" name="Oval 11"/>
            <p:cNvSpPr>
              <a:spLocks noChangeArrowheads="1"/>
            </p:cNvSpPr>
            <p:nvPr/>
          </p:nvSpPr>
          <p:spPr bwMode="auto">
            <a:xfrm>
              <a:off x="5037746" y="3219717"/>
              <a:ext cx="222755" cy="223543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Title 2"/>
            <p:cNvSpPr txBox="1">
              <a:spLocks/>
            </p:cNvSpPr>
            <p:nvPr/>
          </p:nvSpPr>
          <p:spPr>
            <a:xfrm>
              <a:off x="5045741" y="3269933"/>
              <a:ext cx="206764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4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275036" y="3788054"/>
            <a:ext cx="222755" cy="223543"/>
            <a:chOff x="5275036" y="3788054"/>
            <a:chExt cx="222755" cy="223543"/>
          </a:xfrm>
        </p:grpSpPr>
        <p:sp>
          <p:nvSpPr>
            <p:cNvPr id="10" name="Oval 11"/>
            <p:cNvSpPr>
              <a:spLocks noChangeArrowheads="1"/>
            </p:cNvSpPr>
            <p:nvPr/>
          </p:nvSpPr>
          <p:spPr bwMode="auto">
            <a:xfrm>
              <a:off x="5275036" y="3788054"/>
              <a:ext cx="222755" cy="223543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Title 2"/>
            <p:cNvSpPr txBox="1">
              <a:spLocks/>
            </p:cNvSpPr>
            <p:nvPr/>
          </p:nvSpPr>
          <p:spPr>
            <a:xfrm>
              <a:off x="5283031" y="3838270"/>
              <a:ext cx="206764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5</a:t>
              </a:r>
            </a:p>
          </p:txBody>
        </p:sp>
      </p:grpSp>
      <p:cxnSp>
        <p:nvCxnSpPr>
          <p:cNvPr id="24" name="Straight Connector 23"/>
          <p:cNvCxnSpPr>
            <a:stCxn id="22" idx="6"/>
            <a:endCxn id="9" idx="2"/>
          </p:cNvCxnSpPr>
          <p:nvPr/>
        </p:nvCxnSpPr>
        <p:spPr>
          <a:xfrm>
            <a:off x="3519238" y="3899825"/>
            <a:ext cx="126971" cy="1"/>
          </a:xfrm>
          <a:prstGeom prst="line">
            <a:avLst/>
          </a:prstGeom>
          <a:ln w="952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20" idx="5"/>
            <a:endCxn id="11" idx="1"/>
          </p:cNvCxnSpPr>
          <p:nvPr/>
        </p:nvCxnSpPr>
        <p:spPr>
          <a:xfrm>
            <a:off x="3826635" y="3163600"/>
            <a:ext cx="87990" cy="88854"/>
          </a:xfrm>
          <a:prstGeom prst="line">
            <a:avLst/>
          </a:prstGeom>
          <a:ln w="952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2" idx="7"/>
            <a:endCxn id="21" idx="3"/>
          </p:cNvCxnSpPr>
          <p:nvPr/>
        </p:nvCxnSpPr>
        <p:spPr>
          <a:xfrm flipV="1">
            <a:off x="5227879" y="3165265"/>
            <a:ext cx="89487" cy="87189"/>
          </a:xfrm>
          <a:prstGeom prst="line">
            <a:avLst/>
          </a:prstGeom>
          <a:ln w="952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3" idx="0"/>
            <a:endCxn id="19" idx="4"/>
          </p:cNvCxnSpPr>
          <p:nvPr/>
        </p:nvCxnSpPr>
        <p:spPr>
          <a:xfrm flipV="1">
            <a:off x="4572000" y="2846524"/>
            <a:ext cx="1" cy="129013"/>
          </a:xfrm>
          <a:prstGeom prst="line">
            <a:avLst/>
          </a:prstGeom>
          <a:ln w="952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0" idx="6"/>
            <a:endCxn id="23" idx="2"/>
          </p:cNvCxnSpPr>
          <p:nvPr/>
        </p:nvCxnSpPr>
        <p:spPr>
          <a:xfrm flipV="1">
            <a:off x="5497791" y="3899825"/>
            <a:ext cx="126971" cy="1"/>
          </a:xfrm>
          <a:prstGeom prst="line">
            <a:avLst/>
          </a:prstGeom>
          <a:ln w="952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2882513" y="3581463"/>
            <a:ext cx="636725" cy="636724"/>
            <a:chOff x="2882513" y="3581463"/>
            <a:chExt cx="636725" cy="636724"/>
          </a:xfrm>
        </p:grpSpPr>
        <p:sp>
          <p:nvSpPr>
            <p:cNvPr id="22" name="Oval 21"/>
            <p:cNvSpPr/>
            <p:nvPr/>
          </p:nvSpPr>
          <p:spPr>
            <a:xfrm>
              <a:off x="2882513" y="3581463"/>
              <a:ext cx="636725" cy="636724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3063620" y="3769179"/>
              <a:ext cx="260336" cy="261290"/>
            </a:xfrm>
            <a:custGeom>
              <a:avLst/>
              <a:gdLst>
                <a:gd name="T0" fmla="*/ 289 w 353"/>
                <a:gd name="T1" fmla="*/ 0 h 354"/>
                <a:gd name="T2" fmla="*/ 243 w 353"/>
                <a:gd name="T3" fmla="*/ 19 h 354"/>
                <a:gd name="T4" fmla="*/ 27 w 353"/>
                <a:gd name="T5" fmla="*/ 236 h 354"/>
                <a:gd name="T6" fmla="*/ 0 w 353"/>
                <a:gd name="T7" fmla="*/ 354 h 354"/>
                <a:gd name="T8" fmla="*/ 118 w 353"/>
                <a:gd name="T9" fmla="*/ 327 h 354"/>
                <a:gd name="T10" fmla="*/ 334 w 353"/>
                <a:gd name="T11" fmla="*/ 110 h 354"/>
                <a:gd name="T12" fmla="*/ 353 w 353"/>
                <a:gd name="T13" fmla="*/ 65 h 354"/>
                <a:gd name="T14" fmla="*/ 289 w 353"/>
                <a:gd name="T15" fmla="*/ 0 h 354"/>
                <a:gd name="T16" fmla="*/ 104 w 353"/>
                <a:gd name="T17" fmla="*/ 312 h 354"/>
                <a:gd name="T18" fmla="*/ 48 w 353"/>
                <a:gd name="T19" fmla="*/ 325 h 354"/>
                <a:gd name="T20" fmla="*/ 48 w 353"/>
                <a:gd name="T21" fmla="*/ 305 h 354"/>
                <a:gd name="T22" fmla="*/ 29 w 353"/>
                <a:gd name="T23" fmla="*/ 305 h 354"/>
                <a:gd name="T24" fmla="*/ 42 w 353"/>
                <a:gd name="T25" fmla="*/ 249 h 354"/>
                <a:gd name="T26" fmla="*/ 104 w 353"/>
                <a:gd name="T27" fmla="*/ 249 h 354"/>
                <a:gd name="T28" fmla="*/ 104 w 353"/>
                <a:gd name="T29" fmla="*/ 312 h 354"/>
                <a:gd name="T30" fmla="*/ 120 w 353"/>
                <a:gd name="T31" fmla="*/ 301 h 354"/>
                <a:gd name="T32" fmla="*/ 120 w 353"/>
                <a:gd name="T33" fmla="*/ 241 h 354"/>
                <a:gd name="T34" fmla="*/ 112 w 353"/>
                <a:gd name="T35" fmla="*/ 233 h 354"/>
                <a:gd name="T36" fmla="*/ 52 w 353"/>
                <a:gd name="T37" fmla="*/ 233 h 354"/>
                <a:gd name="T38" fmla="*/ 225 w 353"/>
                <a:gd name="T39" fmla="*/ 60 h 354"/>
                <a:gd name="T40" fmla="*/ 293 w 353"/>
                <a:gd name="T41" fmla="*/ 128 h 354"/>
                <a:gd name="T42" fmla="*/ 120 w 353"/>
                <a:gd name="T43" fmla="*/ 301 h 354"/>
                <a:gd name="T44" fmla="*/ 323 w 353"/>
                <a:gd name="T45" fmla="*/ 99 h 354"/>
                <a:gd name="T46" fmla="*/ 305 w 353"/>
                <a:gd name="T47" fmla="*/ 117 h 354"/>
                <a:gd name="T48" fmla="*/ 236 w 353"/>
                <a:gd name="T49" fmla="*/ 49 h 354"/>
                <a:gd name="T50" fmla="*/ 255 w 353"/>
                <a:gd name="T51" fmla="*/ 31 h 354"/>
                <a:gd name="T52" fmla="*/ 289 w 353"/>
                <a:gd name="T53" fmla="*/ 16 h 354"/>
                <a:gd name="T54" fmla="*/ 337 w 353"/>
                <a:gd name="T55" fmla="*/ 65 h 354"/>
                <a:gd name="T56" fmla="*/ 323 w 353"/>
                <a:gd name="T57" fmla="*/ 9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3" h="354">
                  <a:moveTo>
                    <a:pt x="289" y="0"/>
                  </a:moveTo>
                  <a:cubicBezTo>
                    <a:pt x="271" y="0"/>
                    <a:pt x="255" y="8"/>
                    <a:pt x="243" y="19"/>
                  </a:cubicBezTo>
                  <a:cubicBezTo>
                    <a:pt x="27" y="236"/>
                    <a:pt x="27" y="236"/>
                    <a:pt x="27" y="236"/>
                  </a:cubicBezTo>
                  <a:cubicBezTo>
                    <a:pt x="0" y="354"/>
                    <a:pt x="0" y="354"/>
                    <a:pt x="0" y="354"/>
                  </a:cubicBezTo>
                  <a:cubicBezTo>
                    <a:pt x="118" y="327"/>
                    <a:pt x="118" y="327"/>
                    <a:pt x="118" y="327"/>
                  </a:cubicBezTo>
                  <a:cubicBezTo>
                    <a:pt x="334" y="110"/>
                    <a:pt x="334" y="110"/>
                    <a:pt x="334" y="110"/>
                  </a:cubicBezTo>
                  <a:cubicBezTo>
                    <a:pt x="346" y="98"/>
                    <a:pt x="353" y="82"/>
                    <a:pt x="353" y="65"/>
                  </a:cubicBezTo>
                  <a:cubicBezTo>
                    <a:pt x="353" y="29"/>
                    <a:pt x="324" y="0"/>
                    <a:pt x="289" y="0"/>
                  </a:cubicBezTo>
                  <a:moveTo>
                    <a:pt x="104" y="312"/>
                  </a:moveTo>
                  <a:cubicBezTo>
                    <a:pt x="48" y="325"/>
                    <a:pt x="48" y="325"/>
                    <a:pt x="48" y="325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29" y="305"/>
                    <a:pt x="29" y="305"/>
                    <a:pt x="29" y="305"/>
                  </a:cubicBezTo>
                  <a:cubicBezTo>
                    <a:pt x="42" y="249"/>
                    <a:pt x="42" y="249"/>
                    <a:pt x="42" y="249"/>
                  </a:cubicBezTo>
                  <a:cubicBezTo>
                    <a:pt x="104" y="249"/>
                    <a:pt x="104" y="249"/>
                    <a:pt x="104" y="249"/>
                  </a:cubicBezTo>
                  <a:lnTo>
                    <a:pt x="104" y="312"/>
                  </a:lnTo>
                  <a:close/>
                  <a:moveTo>
                    <a:pt x="120" y="301"/>
                  </a:moveTo>
                  <a:cubicBezTo>
                    <a:pt x="120" y="241"/>
                    <a:pt x="120" y="241"/>
                    <a:pt x="120" y="241"/>
                  </a:cubicBezTo>
                  <a:cubicBezTo>
                    <a:pt x="120" y="237"/>
                    <a:pt x="117" y="233"/>
                    <a:pt x="112" y="233"/>
                  </a:cubicBezTo>
                  <a:cubicBezTo>
                    <a:pt x="52" y="233"/>
                    <a:pt x="52" y="233"/>
                    <a:pt x="52" y="233"/>
                  </a:cubicBezTo>
                  <a:cubicBezTo>
                    <a:pt x="225" y="60"/>
                    <a:pt x="225" y="60"/>
                    <a:pt x="225" y="60"/>
                  </a:cubicBezTo>
                  <a:cubicBezTo>
                    <a:pt x="293" y="128"/>
                    <a:pt x="293" y="128"/>
                    <a:pt x="293" y="128"/>
                  </a:cubicBezTo>
                  <a:lnTo>
                    <a:pt x="120" y="301"/>
                  </a:lnTo>
                  <a:close/>
                  <a:moveTo>
                    <a:pt x="323" y="99"/>
                  </a:moveTo>
                  <a:cubicBezTo>
                    <a:pt x="305" y="117"/>
                    <a:pt x="305" y="117"/>
                    <a:pt x="305" y="117"/>
                  </a:cubicBezTo>
                  <a:cubicBezTo>
                    <a:pt x="236" y="49"/>
                    <a:pt x="236" y="49"/>
                    <a:pt x="236" y="49"/>
                  </a:cubicBezTo>
                  <a:cubicBezTo>
                    <a:pt x="255" y="31"/>
                    <a:pt x="255" y="31"/>
                    <a:pt x="255" y="31"/>
                  </a:cubicBezTo>
                  <a:cubicBezTo>
                    <a:pt x="255" y="31"/>
                    <a:pt x="268" y="16"/>
                    <a:pt x="289" y="16"/>
                  </a:cubicBezTo>
                  <a:cubicBezTo>
                    <a:pt x="315" y="16"/>
                    <a:pt x="337" y="38"/>
                    <a:pt x="337" y="65"/>
                  </a:cubicBezTo>
                  <a:cubicBezTo>
                    <a:pt x="337" y="78"/>
                    <a:pt x="332" y="90"/>
                    <a:pt x="323" y="9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3156" y="2620122"/>
            <a:ext cx="636725" cy="636724"/>
            <a:chOff x="3283156" y="2620122"/>
            <a:chExt cx="636725" cy="636724"/>
          </a:xfrm>
        </p:grpSpPr>
        <p:sp>
          <p:nvSpPr>
            <p:cNvPr id="20" name="Oval 19"/>
            <p:cNvSpPr/>
            <p:nvPr/>
          </p:nvSpPr>
          <p:spPr>
            <a:xfrm>
              <a:off x="3283156" y="2620122"/>
              <a:ext cx="636725" cy="636724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2" name="Freeform 84"/>
            <p:cNvSpPr>
              <a:spLocks noEditPoints="1"/>
            </p:cNvSpPr>
            <p:nvPr/>
          </p:nvSpPr>
          <p:spPr bwMode="auto">
            <a:xfrm>
              <a:off x="3471827" y="2796446"/>
              <a:ext cx="259382" cy="259382"/>
            </a:xfrm>
            <a:custGeom>
              <a:avLst/>
              <a:gdLst>
                <a:gd name="T0" fmla="*/ 324 w 353"/>
                <a:gd name="T1" fmla="*/ 137 h 353"/>
                <a:gd name="T2" fmla="*/ 318 w 353"/>
                <a:gd name="T3" fmla="*/ 85 h 353"/>
                <a:gd name="T4" fmla="*/ 285 w 353"/>
                <a:gd name="T5" fmla="*/ 35 h 353"/>
                <a:gd name="T6" fmla="*/ 268 w 353"/>
                <a:gd name="T7" fmla="*/ 35 h 353"/>
                <a:gd name="T8" fmla="*/ 216 w 353"/>
                <a:gd name="T9" fmla="*/ 29 h 353"/>
                <a:gd name="T10" fmla="*/ 200 w 353"/>
                <a:gd name="T11" fmla="*/ 0 h 353"/>
                <a:gd name="T12" fmla="*/ 141 w 353"/>
                <a:gd name="T13" fmla="*/ 12 h 353"/>
                <a:gd name="T14" fmla="*/ 100 w 353"/>
                <a:gd name="T15" fmla="*/ 44 h 353"/>
                <a:gd name="T16" fmla="*/ 76 w 353"/>
                <a:gd name="T17" fmla="*/ 32 h 353"/>
                <a:gd name="T18" fmla="*/ 35 w 353"/>
                <a:gd name="T19" fmla="*/ 68 h 353"/>
                <a:gd name="T20" fmla="*/ 44 w 353"/>
                <a:gd name="T21" fmla="*/ 100 h 353"/>
                <a:gd name="T22" fmla="*/ 12 w 353"/>
                <a:gd name="T23" fmla="*/ 141 h 353"/>
                <a:gd name="T24" fmla="*/ 0 w 353"/>
                <a:gd name="T25" fmla="*/ 200 h 353"/>
                <a:gd name="T26" fmla="*/ 29 w 353"/>
                <a:gd name="T27" fmla="*/ 216 h 353"/>
                <a:gd name="T28" fmla="*/ 35 w 353"/>
                <a:gd name="T29" fmla="*/ 268 h 353"/>
                <a:gd name="T30" fmla="*/ 68 w 353"/>
                <a:gd name="T31" fmla="*/ 318 h 353"/>
                <a:gd name="T32" fmla="*/ 85 w 353"/>
                <a:gd name="T33" fmla="*/ 318 h 353"/>
                <a:gd name="T34" fmla="*/ 137 w 353"/>
                <a:gd name="T35" fmla="*/ 324 h 353"/>
                <a:gd name="T36" fmla="*/ 153 w 353"/>
                <a:gd name="T37" fmla="*/ 353 h 353"/>
                <a:gd name="T38" fmla="*/ 212 w 353"/>
                <a:gd name="T39" fmla="*/ 341 h 353"/>
                <a:gd name="T40" fmla="*/ 253 w 353"/>
                <a:gd name="T41" fmla="*/ 309 h 353"/>
                <a:gd name="T42" fmla="*/ 278 w 353"/>
                <a:gd name="T43" fmla="*/ 321 h 353"/>
                <a:gd name="T44" fmla="*/ 318 w 353"/>
                <a:gd name="T45" fmla="*/ 285 h 353"/>
                <a:gd name="T46" fmla="*/ 309 w 353"/>
                <a:gd name="T47" fmla="*/ 253 h 353"/>
                <a:gd name="T48" fmla="*/ 341 w 353"/>
                <a:gd name="T49" fmla="*/ 212 h 353"/>
                <a:gd name="T50" fmla="*/ 353 w 353"/>
                <a:gd name="T51" fmla="*/ 153 h 353"/>
                <a:gd name="T52" fmla="*/ 337 w 353"/>
                <a:gd name="T53" fmla="*/ 196 h 353"/>
                <a:gd name="T54" fmla="*/ 320 w 353"/>
                <a:gd name="T55" fmla="*/ 200 h 353"/>
                <a:gd name="T56" fmla="*/ 295 w 353"/>
                <a:gd name="T57" fmla="*/ 245 h 353"/>
                <a:gd name="T58" fmla="*/ 304 w 353"/>
                <a:gd name="T59" fmla="*/ 276 h 353"/>
                <a:gd name="T60" fmla="*/ 276 w 353"/>
                <a:gd name="T61" fmla="*/ 304 h 353"/>
                <a:gd name="T62" fmla="*/ 253 w 353"/>
                <a:gd name="T63" fmla="*/ 293 h 353"/>
                <a:gd name="T64" fmla="*/ 212 w 353"/>
                <a:gd name="T65" fmla="*/ 309 h 353"/>
                <a:gd name="T66" fmla="*/ 196 w 353"/>
                <a:gd name="T67" fmla="*/ 337 h 353"/>
                <a:gd name="T68" fmla="*/ 157 w 353"/>
                <a:gd name="T69" fmla="*/ 337 h 353"/>
                <a:gd name="T70" fmla="*/ 141 w 353"/>
                <a:gd name="T71" fmla="*/ 309 h 353"/>
                <a:gd name="T72" fmla="*/ 100 w 353"/>
                <a:gd name="T73" fmla="*/ 293 h 353"/>
                <a:gd name="T74" fmla="*/ 77 w 353"/>
                <a:gd name="T75" fmla="*/ 304 h 353"/>
                <a:gd name="T76" fmla="*/ 49 w 353"/>
                <a:gd name="T77" fmla="*/ 276 h 353"/>
                <a:gd name="T78" fmla="*/ 58 w 353"/>
                <a:gd name="T79" fmla="*/ 245 h 353"/>
                <a:gd name="T80" fmla="*/ 33 w 353"/>
                <a:gd name="T81" fmla="*/ 200 h 353"/>
                <a:gd name="T82" fmla="*/ 16 w 353"/>
                <a:gd name="T83" fmla="*/ 196 h 353"/>
                <a:gd name="T84" fmla="*/ 33 w 353"/>
                <a:gd name="T85" fmla="*/ 152 h 353"/>
                <a:gd name="T86" fmla="*/ 58 w 353"/>
                <a:gd name="T87" fmla="*/ 108 h 353"/>
                <a:gd name="T88" fmla="*/ 49 w 353"/>
                <a:gd name="T89" fmla="*/ 77 h 353"/>
                <a:gd name="T90" fmla="*/ 77 w 353"/>
                <a:gd name="T91" fmla="*/ 49 h 353"/>
                <a:gd name="T92" fmla="*/ 100 w 353"/>
                <a:gd name="T93" fmla="*/ 60 h 353"/>
                <a:gd name="T94" fmla="*/ 141 w 353"/>
                <a:gd name="T95" fmla="*/ 44 h 353"/>
                <a:gd name="T96" fmla="*/ 157 w 353"/>
                <a:gd name="T97" fmla="*/ 16 h 353"/>
                <a:gd name="T98" fmla="*/ 196 w 353"/>
                <a:gd name="T99" fmla="*/ 16 h 353"/>
                <a:gd name="T100" fmla="*/ 212 w 353"/>
                <a:gd name="T101" fmla="*/ 44 h 353"/>
                <a:gd name="T102" fmla="*/ 253 w 353"/>
                <a:gd name="T103" fmla="*/ 60 h 353"/>
                <a:gd name="T104" fmla="*/ 276 w 353"/>
                <a:gd name="T105" fmla="*/ 49 h 353"/>
                <a:gd name="T106" fmla="*/ 304 w 353"/>
                <a:gd name="T107" fmla="*/ 77 h 353"/>
                <a:gd name="T108" fmla="*/ 295 w 353"/>
                <a:gd name="T109" fmla="*/ 108 h 353"/>
                <a:gd name="T110" fmla="*/ 320 w 353"/>
                <a:gd name="T111" fmla="*/ 152 h 353"/>
                <a:gd name="T112" fmla="*/ 337 w 353"/>
                <a:gd name="T113" fmla="*/ 196 h 353"/>
                <a:gd name="T114" fmla="*/ 96 w 353"/>
                <a:gd name="T115" fmla="*/ 176 h 353"/>
                <a:gd name="T116" fmla="*/ 257 w 353"/>
                <a:gd name="T117" fmla="*/ 176 h 353"/>
                <a:gd name="T118" fmla="*/ 176 w 353"/>
                <a:gd name="T119" fmla="*/ 241 h 353"/>
                <a:gd name="T120" fmla="*/ 176 w 353"/>
                <a:gd name="T121" fmla="*/ 112 h 353"/>
                <a:gd name="T122" fmla="*/ 176 w 353"/>
                <a:gd name="T123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41" y="141"/>
                  </a:moveTo>
                  <a:cubicBezTo>
                    <a:pt x="324" y="137"/>
                    <a:pt x="324" y="137"/>
                    <a:pt x="324" y="137"/>
                  </a:cubicBezTo>
                  <a:cubicBezTo>
                    <a:pt x="321" y="124"/>
                    <a:pt x="316" y="111"/>
                    <a:pt x="309" y="100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21" y="79"/>
                    <a:pt x="323" y="73"/>
                    <a:pt x="318" y="68"/>
                  </a:cubicBezTo>
                  <a:cubicBezTo>
                    <a:pt x="285" y="35"/>
                    <a:pt x="285" y="35"/>
                    <a:pt x="285" y="35"/>
                  </a:cubicBezTo>
                  <a:cubicBezTo>
                    <a:pt x="283" y="33"/>
                    <a:pt x="280" y="32"/>
                    <a:pt x="277" y="32"/>
                  </a:cubicBezTo>
                  <a:cubicBezTo>
                    <a:pt x="274" y="32"/>
                    <a:pt x="271" y="33"/>
                    <a:pt x="268" y="35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41" y="37"/>
                    <a:pt x="229" y="32"/>
                    <a:pt x="216" y="29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6"/>
                    <a:pt x="207" y="0"/>
                    <a:pt x="20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6" y="0"/>
                    <a:pt x="143" y="6"/>
                    <a:pt x="141" y="12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24" y="32"/>
                    <a:pt x="112" y="37"/>
                    <a:pt x="100" y="44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2" y="33"/>
                    <a:pt x="79" y="32"/>
                    <a:pt x="76" y="32"/>
                  </a:cubicBezTo>
                  <a:cubicBezTo>
                    <a:pt x="73" y="32"/>
                    <a:pt x="70" y="33"/>
                    <a:pt x="68" y="3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0" y="73"/>
                    <a:pt x="32" y="79"/>
                    <a:pt x="35" y="85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37" y="111"/>
                    <a:pt x="32" y="124"/>
                    <a:pt x="29" y="137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6" y="143"/>
                    <a:pt x="0" y="146"/>
                    <a:pt x="0" y="15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6"/>
                    <a:pt x="6" y="210"/>
                    <a:pt x="12" y="212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32" y="229"/>
                    <a:pt x="37" y="241"/>
                    <a:pt x="44" y="253"/>
                  </a:cubicBezTo>
                  <a:cubicBezTo>
                    <a:pt x="35" y="268"/>
                    <a:pt x="35" y="268"/>
                    <a:pt x="35" y="268"/>
                  </a:cubicBezTo>
                  <a:cubicBezTo>
                    <a:pt x="32" y="273"/>
                    <a:pt x="30" y="280"/>
                    <a:pt x="35" y="285"/>
                  </a:cubicBezTo>
                  <a:cubicBezTo>
                    <a:pt x="68" y="318"/>
                    <a:pt x="68" y="318"/>
                    <a:pt x="68" y="318"/>
                  </a:cubicBezTo>
                  <a:cubicBezTo>
                    <a:pt x="70" y="320"/>
                    <a:pt x="73" y="321"/>
                    <a:pt x="75" y="321"/>
                  </a:cubicBezTo>
                  <a:cubicBezTo>
                    <a:pt x="79" y="321"/>
                    <a:pt x="82" y="319"/>
                    <a:pt x="85" y="318"/>
                  </a:cubicBezTo>
                  <a:cubicBezTo>
                    <a:pt x="100" y="309"/>
                    <a:pt x="100" y="309"/>
                    <a:pt x="100" y="309"/>
                  </a:cubicBezTo>
                  <a:cubicBezTo>
                    <a:pt x="112" y="315"/>
                    <a:pt x="124" y="321"/>
                    <a:pt x="137" y="324"/>
                  </a:cubicBezTo>
                  <a:cubicBezTo>
                    <a:pt x="141" y="341"/>
                    <a:pt x="141" y="341"/>
                    <a:pt x="141" y="341"/>
                  </a:cubicBezTo>
                  <a:cubicBezTo>
                    <a:pt x="143" y="347"/>
                    <a:pt x="146" y="353"/>
                    <a:pt x="153" y="353"/>
                  </a:cubicBezTo>
                  <a:cubicBezTo>
                    <a:pt x="200" y="353"/>
                    <a:pt x="200" y="353"/>
                    <a:pt x="200" y="353"/>
                  </a:cubicBezTo>
                  <a:cubicBezTo>
                    <a:pt x="207" y="353"/>
                    <a:pt x="210" y="347"/>
                    <a:pt x="212" y="341"/>
                  </a:cubicBezTo>
                  <a:cubicBezTo>
                    <a:pt x="216" y="324"/>
                    <a:pt x="216" y="324"/>
                    <a:pt x="216" y="324"/>
                  </a:cubicBezTo>
                  <a:cubicBezTo>
                    <a:pt x="229" y="321"/>
                    <a:pt x="241" y="315"/>
                    <a:pt x="253" y="309"/>
                  </a:cubicBezTo>
                  <a:cubicBezTo>
                    <a:pt x="268" y="318"/>
                    <a:pt x="268" y="318"/>
                    <a:pt x="268" y="318"/>
                  </a:cubicBezTo>
                  <a:cubicBezTo>
                    <a:pt x="271" y="319"/>
                    <a:pt x="275" y="321"/>
                    <a:pt x="278" y="321"/>
                  </a:cubicBezTo>
                  <a:cubicBezTo>
                    <a:pt x="280" y="321"/>
                    <a:pt x="283" y="320"/>
                    <a:pt x="285" y="318"/>
                  </a:cubicBezTo>
                  <a:cubicBezTo>
                    <a:pt x="318" y="285"/>
                    <a:pt x="318" y="285"/>
                    <a:pt x="318" y="285"/>
                  </a:cubicBezTo>
                  <a:cubicBezTo>
                    <a:pt x="323" y="280"/>
                    <a:pt x="321" y="273"/>
                    <a:pt x="318" y="268"/>
                  </a:cubicBezTo>
                  <a:cubicBezTo>
                    <a:pt x="309" y="253"/>
                    <a:pt x="309" y="253"/>
                    <a:pt x="309" y="253"/>
                  </a:cubicBezTo>
                  <a:cubicBezTo>
                    <a:pt x="316" y="241"/>
                    <a:pt x="321" y="229"/>
                    <a:pt x="324" y="216"/>
                  </a:cubicBezTo>
                  <a:cubicBezTo>
                    <a:pt x="341" y="212"/>
                    <a:pt x="341" y="212"/>
                    <a:pt x="341" y="212"/>
                  </a:cubicBezTo>
                  <a:cubicBezTo>
                    <a:pt x="347" y="210"/>
                    <a:pt x="353" y="206"/>
                    <a:pt x="353" y="200"/>
                  </a:cubicBezTo>
                  <a:cubicBezTo>
                    <a:pt x="353" y="153"/>
                    <a:pt x="353" y="153"/>
                    <a:pt x="353" y="153"/>
                  </a:cubicBezTo>
                  <a:cubicBezTo>
                    <a:pt x="353" y="146"/>
                    <a:pt x="347" y="143"/>
                    <a:pt x="341" y="141"/>
                  </a:cubicBezTo>
                  <a:moveTo>
                    <a:pt x="337" y="196"/>
                  </a:moveTo>
                  <a:cubicBezTo>
                    <a:pt x="337" y="196"/>
                    <a:pt x="337" y="196"/>
                    <a:pt x="337" y="196"/>
                  </a:cubicBezTo>
                  <a:cubicBezTo>
                    <a:pt x="320" y="200"/>
                    <a:pt x="320" y="200"/>
                    <a:pt x="320" y="200"/>
                  </a:cubicBezTo>
                  <a:cubicBezTo>
                    <a:pt x="315" y="202"/>
                    <a:pt x="310" y="206"/>
                    <a:pt x="309" y="212"/>
                  </a:cubicBezTo>
                  <a:cubicBezTo>
                    <a:pt x="306" y="223"/>
                    <a:pt x="301" y="234"/>
                    <a:pt x="295" y="245"/>
                  </a:cubicBezTo>
                  <a:cubicBezTo>
                    <a:pt x="292" y="250"/>
                    <a:pt x="292" y="256"/>
                    <a:pt x="295" y="261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61" y="295"/>
                    <a:pt x="261" y="295"/>
                    <a:pt x="261" y="295"/>
                  </a:cubicBezTo>
                  <a:cubicBezTo>
                    <a:pt x="259" y="294"/>
                    <a:pt x="256" y="293"/>
                    <a:pt x="253" y="293"/>
                  </a:cubicBezTo>
                  <a:cubicBezTo>
                    <a:pt x="250" y="293"/>
                    <a:pt x="247" y="293"/>
                    <a:pt x="245" y="295"/>
                  </a:cubicBezTo>
                  <a:cubicBezTo>
                    <a:pt x="235" y="301"/>
                    <a:pt x="223" y="305"/>
                    <a:pt x="212" y="309"/>
                  </a:cubicBezTo>
                  <a:cubicBezTo>
                    <a:pt x="206" y="310"/>
                    <a:pt x="202" y="315"/>
                    <a:pt x="201" y="320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57" y="337"/>
                    <a:pt x="157" y="337"/>
                    <a:pt x="157" y="337"/>
                  </a:cubicBezTo>
                  <a:cubicBezTo>
                    <a:pt x="152" y="320"/>
                    <a:pt x="152" y="320"/>
                    <a:pt x="152" y="320"/>
                  </a:cubicBezTo>
                  <a:cubicBezTo>
                    <a:pt x="151" y="315"/>
                    <a:pt x="147" y="310"/>
                    <a:pt x="141" y="309"/>
                  </a:cubicBezTo>
                  <a:cubicBezTo>
                    <a:pt x="130" y="305"/>
                    <a:pt x="118" y="301"/>
                    <a:pt x="108" y="295"/>
                  </a:cubicBezTo>
                  <a:cubicBezTo>
                    <a:pt x="106" y="293"/>
                    <a:pt x="103" y="293"/>
                    <a:pt x="100" y="293"/>
                  </a:cubicBezTo>
                  <a:cubicBezTo>
                    <a:pt x="97" y="293"/>
                    <a:pt x="94" y="294"/>
                    <a:pt x="92" y="295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49" y="276"/>
                    <a:pt x="49" y="276"/>
                    <a:pt x="49" y="276"/>
                  </a:cubicBezTo>
                  <a:cubicBezTo>
                    <a:pt x="58" y="261"/>
                    <a:pt x="58" y="261"/>
                    <a:pt x="58" y="261"/>
                  </a:cubicBezTo>
                  <a:cubicBezTo>
                    <a:pt x="61" y="256"/>
                    <a:pt x="61" y="250"/>
                    <a:pt x="58" y="245"/>
                  </a:cubicBezTo>
                  <a:cubicBezTo>
                    <a:pt x="52" y="234"/>
                    <a:pt x="47" y="223"/>
                    <a:pt x="44" y="212"/>
                  </a:cubicBezTo>
                  <a:cubicBezTo>
                    <a:pt x="43" y="206"/>
                    <a:pt x="38" y="202"/>
                    <a:pt x="33" y="200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33" y="152"/>
                    <a:pt x="33" y="152"/>
                    <a:pt x="33" y="152"/>
                  </a:cubicBezTo>
                  <a:cubicBezTo>
                    <a:pt x="38" y="151"/>
                    <a:pt x="43" y="147"/>
                    <a:pt x="44" y="141"/>
                  </a:cubicBezTo>
                  <a:cubicBezTo>
                    <a:pt x="47" y="129"/>
                    <a:pt x="52" y="118"/>
                    <a:pt x="58" y="108"/>
                  </a:cubicBezTo>
                  <a:cubicBezTo>
                    <a:pt x="61" y="103"/>
                    <a:pt x="61" y="97"/>
                    <a:pt x="58" y="92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4" y="59"/>
                    <a:pt x="97" y="60"/>
                    <a:pt x="100" y="60"/>
                  </a:cubicBezTo>
                  <a:cubicBezTo>
                    <a:pt x="103" y="60"/>
                    <a:pt x="106" y="59"/>
                    <a:pt x="108" y="58"/>
                  </a:cubicBezTo>
                  <a:cubicBezTo>
                    <a:pt x="118" y="52"/>
                    <a:pt x="130" y="47"/>
                    <a:pt x="141" y="44"/>
                  </a:cubicBezTo>
                  <a:cubicBezTo>
                    <a:pt x="147" y="43"/>
                    <a:pt x="151" y="38"/>
                    <a:pt x="152" y="33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01" y="33"/>
                    <a:pt x="201" y="33"/>
                    <a:pt x="201" y="33"/>
                  </a:cubicBezTo>
                  <a:cubicBezTo>
                    <a:pt x="202" y="38"/>
                    <a:pt x="206" y="43"/>
                    <a:pt x="212" y="44"/>
                  </a:cubicBezTo>
                  <a:cubicBezTo>
                    <a:pt x="223" y="47"/>
                    <a:pt x="235" y="52"/>
                    <a:pt x="245" y="58"/>
                  </a:cubicBezTo>
                  <a:cubicBezTo>
                    <a:pt x="247" y="59"/>
                    <a:pt x="250" y="60"/>
                    <a:pt x="253" y="60"/>
                  </a:cubicBezTo>
                  <a:cubicBezTo>
                    <a:pt x="256" y="60"/>
                    <a:pt x="259" y="59"/>
                    <a:pt x="261" y="58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295" y="92"/>
                    <a:pt x="295" y="92"/>
                    <a:pt x="295" y="92"/>
                  </a:cubicBezTo>
                  <a:cubicBezTo>
                    <a:pt x="292" y="97"/>
                    <a:pt x="292" y="103"/>
                    <a:pt x="295" y="108"/>
                  </a:cubicBezTo>
                  <a:cubicBezTo>
                    <a:pt x="301" y="118"/>
                    <a:pt x="306" y="129"/>
                    <a:pt x="309" y="141"/>
                  </a:cubicBezTo>
                  <a:cubicBezTo>
                    <a:pt x="310" y="147"/>
                    <a:pt x="315" y="151"/>
                    <a:pt x="320" y="152"/>
                  </a:cubicBezTo>
                  <a:cubicBezTo>
                    <a:pt x="337" y="157"/>
                    <a:pt x="337" y="157"/>
                    <a:pt x="337" y="157"/>
                  </a:cubicBezTo>
                  <a:lnTo>
                    <a:pt x="337" y="196"/>
                  </a:lnTo>
                  <a:close/>
                  <a:moveTo>
                    <a:pt x="176" y="96"/>
                  </a:moveTo>
                  <a:cubicBezTo>
                    <a:pt x="132" y="96"/>
                    <a:pt x="96" y="132"/>
                    <a:pt x="96" y="176"/>
                  </a:cubicBezTo>
                  <a:cubicBezTo>
                    <a:pt x="96" y="221"/>
                    <a:pt x="132" y="257"/>
                    <a:pt x="176" y="257"/>
                  </a:cubicBezTo>
                  <a:cubicBezTo>
                    <a:pt x="221" y="257"/>
                    <a:pt x="257" y="221"/>
                    <a:pt x="257" y="176"/>
                  </a:cubicBezTo>
                  <a:cubicBezTo>
                    <a:pt x="257" y="132"/>
                    <a:pt x="221" y="96"/>
                    <a:pt x="176" y="96"/>
                  </a:cubicBezTo>
                  <a:moveTo>
                    <a:pt x="176" y="241"/>
                  </a:moveTo>
                  <a:cubicBezTo>
                    <a:pt x="141" y="241"/>
                    <a:pt x="112" y="212"/>
                    <a:pt x="112" y="176"/>
                  </a:cubicBezTo>
                  <a:cubicBezTo>
                    <a:pt x="112" y="141"/>
                    <a:pt x="141" y="112"/>
                    <a:pt x="176" y="112"/>
                  </a:cubicBezTo>
                  <a:cubicBezTo>
                    <a:pt x="212" y="112"/>
                    <a:pt x="241" y="141"/>
                    <a:pt x="241" y="176"/>
                  </a:cubicBezTo>
                  <a:cubicBezTo>
                    <a:pt x="241" y="212"/>
                    <a:pt x="212" y="241"/>
                    <a:pt x="176" y="2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624762" y="3581463"/>
            <a:ext cx="636725" cy="636724"/>
            <a:chOff x="5624762" y="3581463"/>
            <a:chExt cx="636725" cy="636724"/>
          </a:xfrm>
        </p:grpSpPr>
        <p:sp>
          <p:nvSpPr>
            <p:cNvPr id="23" name="Oval 22"/>
            <p:cNvSpPr/>
            <p:nvPr/>
          </p:nvSpPr>
          <p:spPr>
            <a:xfrm>
              <a:off x="5624762" y="3581463"/>
              <a:ext cx="636725" cy="636724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3" name="Freeform 16"/>
            <p:cNvSpPr>
              <a:spLocks noEditPoints="1"/>
            </p:cNvSpPr>
            <p:nvPr/>
          </p:nvSpPr>
          <p:spPr bwMode="auto">
            <a:xfrm>
              <a:off x="5812480" y="3768703"/>
              <a:ext cx="261290" cy="262244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253638" y="2209800"/>
            <a:ext cx="636725" cy="636724"/>
            <a:chOff x="4253638" y="2209800"/>
            <a:chExt cx="636725" cy="636724"/>
          </a:xfrm>
        </p:grpSpPr>
        <p:sp>
          <p:nvSpPr>
            <p:cNvPr id="19" name="Oval 18"/>
            <p:cNvSpPr/>
            <p:nvPr/>
          </p:nvSpPr>
          <p:spPr>
            <a:xfrm>
              <a:off x="4253638" y="2209800"/>
              <a:ext cx="636725" cy="636724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4465195" y="2397994"/>
              <a:ext cx="213609" cy="260335"/>
            </a:xfrm>
            <a:custGeom>
              <a:avLst/>
              <a:gdLst>
                <a:gd name="T0" fmla="*/ 289 w 289"/>
                <a:gd name="T1" fmla="*/ 48 h 353"/>
                <a:gd name="T2" fmla="*/ 145 w 289"/>
                <a:gd name="T3" fmla="*/ 0 h 353"/>
                <a:gd name="T4" fmla="*/ 0 w 289"/>
                <a:gd name="T5" fmla="*/ 48 h 353"/>
                <a:gd name="T6" fmla="*/ 0 w 289"/>
                <a:gd name="T7" fmla="*/ 112 h 353"/>
                <a:gd name="T8" fmla="*/ 9 w 289"/>
                <a:gd name="T9" fmla="*/ 128 h 353"/>
                <a:gd name="T10" fmla="*/ 0 w 289"/>
                <a:gd name="T11" fmla="*/ 145 h 353"/>
                <a:gd name="T12" fmla="*/ 0 w 289"/>
                <a:gd name="T13" fmla="*/ 209 h 353"/>
                <a:gd name="T14" fmla="*/ 9 w 289"/>
                <a:gd name="T15" fmla="*/ 225 h 353"/>
                <a:gd name="T16" fmla="*/ 0 w 289"/>
                <a:gd name="T17" fmla="*/ 241 h 353"/>
                <a:gd name="T18" fmla="*/ 0 w 289"/>
                <a:gd name="T19" fmla="*/ 305 h 353"/>
                <a:gd name="T20" fmla="*/ 145 w 289"/>
                <a:gd name="T21" fmla="*/ 353 h 353"/>
                <a:gd name="T22" fmla="*/ 289 w 289"/>
                <a:gd name="T23" fmla="*/ 305 h 353"/>
                <a:gd name="T24" fmla="*/ 289 w 289"/>
                <a:gd name="T25" fmla="*/ 241 h 353"/>
                <a:gd name="T26" fmla="*/ 281 w 289"/>
                <a:gd name="T27" fmla="*/ 225 h 353"/>
                <a:gd name="T28" fmla="*/ 289 w 289"/>
                <a:gd name="T29" fmla="*/ 209 h 353"/>
                <a:gd name="T30" fmla="*/ 289 w 289"/>
                <a:gd name="T31" fmla="*/ 145 h 353"/>
                <a:gd name="T32" fmla="*/ 281 w 289"/>
                <a:gd name="T33" fmla="*/ 128 h 353"/>
                <a:gd name="T34" fmla="*/ 289 w 289"/>
                <a:gd name="T35" fmla="*/ 112 h 353"/>
                <a:gd name="T36" fmla="*/ 289 w 289"/>
                <a:gd name="T37" fmla="*/ 48 h 353"/>
                <a:gd name="T38" fmla="*/ 273 w 289"/>
                <a:gd name="T39" fmla="*/ 305 h 353"/>
                <a:gd name="T40" fmla="*/ 145 w 289"/>
                <a:gd name="T41" fmla="*/ 337 h 353"/>
                <a:gd name="T42" fmla="*/ 16 w 289"/>
                <a:gd name="T43" fmla="*/ 305 h 353"/>
                <a:gd name="T44" fmla="*/ 16 w 289"/>
                <a:gd name="T45" fmla="*/ 263 h 353"/>
                <a:gd name="T46" fmla="*/ 145 w 289"/>
                <a:gd name="T47" fmla="*/ 289 h 353"/>
                <a:gd name="T48" fmla="*/ 273 w 289"/>
                <a:gd name="T49" fmla="*/ 263 h 353"/>
                <a:gd name="T50" fmla="*/ 273 w 289"/>
                <a:gd name="T51" fmla="*/ 305 h 353"/>
                <a:gd name="T52" fmla="*/ 145 w 289"/>
                <a:gd name="T53" fmla="*/ 273 h 353"/>
                <a:gd name="T54" fmla="*/ 16 w 289"/>
                <a:gd name="T55" fmla="*/ 241 h 353"/>
                <a:gd name="T56" fmla="*/ 20 w 289"/>
                <a:gd name="T57" fmla="*/ 233 h 353"/>
                <a:gd name="T58" fmla="*/ 145 w 289"/>
                <a:gd name="T59" fmla="*/ 257 h 353"/>
                <a:gd name="T60" fmla="*/ 269 w 289"/>
                <a:gd name="T61" fmla="*/ 233 h 353"/>
                <a:gd name="T62" fmla="*/ 273 w 289"/>
                <a:gd name="T63" fmla="*/ 241 h 353"/>
                <a:gd name="T64" fmla="*/ 145 w 289"/>
                <a:gd name="T65" fmla="*/ 273 h 353"/>
                <a:gd name="T66" fmla="*/ 273 w 289"/>
                <a:gd name="T67" fmla="*/ 209 h 353"/>
                <a:gd name="T68" fmla="*/ 145 w 289"/>
                <a:gd name="T69" fmla="*/ 241 h 353"/>
                <a:gd name="T70" fmla="*/ 16 w 289"/>
                <a:gd name="T71" fmla="*/ 209 h 353"/>
                <a:gd name="T72" fmla="*/ 16 w 289"/>
                <a:gd name="T73" fmla="*/ 167 h 353"/>
                <a:gd name="T74" fmla="*/ 145 w 289"/>
                <a:gd name="T75" fmla="*/ 193 h 353"/>
                <a:gd name="T76" fmla="*/ 273 w 289"/>
                <a:gd name="T77" fmla="*/ 167 h 353"/>
                <a:gd name="T78" fmla="*/ 273 w 289"/>
                <a:gd name="T79" fmla="*/ 209 h 353"/>
                <a:gd name="T80" fmla="*/ 145 w 289"/>
                <a:gd name="T81" fmla="*/ 177 h 353"/>
                <a:gd name="T82" fmla="*/ 16 w 289"/>
                <a:gd name="T83" fmla="*/ 145 h 353"/>
                <a:gd name="T84" fmla="*/ 20 w 289"/>
                <a:gd name="T85" fmla="*/ 137 h 353"/>
                <a:gd name="T86" fmla="*/ 145 w 289"/>
                <a:gd name="T87" fmla="*/ 161 h 353"/>
                <a:gd name="T88" fmla="*/ 269 w 289"/>
                <a:gd name="T89" fmla="*/ 137 h 353"/>
                <a:gd name="T90" fmla="*/ 273 w 289"/>
                <a:gd name="T91" fmla="*/ 145 h 353"/>
                <a:gd name="T92" fmla="*/ 145 w 289"/>
                <a:gd name="T93" fmla="*/ 177 h 353"/>
                <a:gd name="T94" fmla="*/ 273 w 289"/>
                <a:gd name="T95" fmla="*/ 112 h 353"/>
                <a:gd name="T96" fmla="*/ 145 w 289"/>
                <a:gd name="T97" fmla="*/ 145 h 353"/>
                <a:gd name="T98" fmla="*/ 16 w 289"/>
                <a:gd name="T99" fmla="*/ 112 h 353"/>
                <a:gd name="T100" fmla="*/ 16 w 289"/>
                <a:gd name="T101" fmla="*/ 70 h 353"/>
                <a:gd name="T102" fmla="*/ 145 w 289"/>
                <a:gd name="T103" fmla="*/ 96 h 353"/>
                <a:gd name="T104" fmla="*/ 273 w 289"/>
                <a:gd name="T105" fmla="*/ 70 h 353"/>
                <a:gd name="T106" fmla="*/ 273 w 289"/>
                <a:gd name="T107" fmla="*/ 112 h 353"/>
                <a:gd name="T108" fmla="*/ 145 w 289"/>
                <a:gd name="T109" fmla="*/ 80 h 353"/>
                <a:gd name="T110" fmla="*/ 16 w 289"/>
                <a:gd name="T111" fmla="*/ 48 h 353"/>
                <a:gd name="T112" fmla="*/ 145 w 289"/>
                <a:gd name="T113" fmla="*/ 16 h 353"/>
                <a:gd name="T114" fmla="*/ 273 w 289"/>
                <a:gd name="T115" fmla="*/ 48 h 353"/>
                <a:gd name="T116" fmla="*/ 145 w 289"/>
                <a:gd name="T117" fmla="*/ 8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89" h="353">
                  <a:moveTo>
                    <a:pt x="289" y="48"/>
                  </a:moveTo>
                  <a:cubicBezTo>
                    <a:pt x="289" y="22"/>
                    <a:pt x="225" y="0"/>
                    <a:pt x="145" y="0"/>
                  </a:cubicBezTo>
                  <a:cubicBezTo>
                    <a:pt x="65" y="0"/>
                    <a:pt x="0" y="22"/>
                    <a:pt x="0" y="48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8"/>
                    <a:pt x="3" y="123"/>
                    <a:pt x="9" y="128"/>
                  </a:cubicBezTo>
                  <a:cubicBezTo>
                    <a:pt x="3" y="134"/>
                    <a:pt x="0" y="139"/>
                    <a:pt x="0" y="145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14"/>
                    <a:pt x="3" y="220"/>
                    <a:pt x="9" y="225"/>
                  </a:cubicBezTo>
                  <a:cubicBezTo>
                    <a:pt x="3" y="230"/>
                    <a:pt x="0" y="235"/>
                    <a:pt x="0" y="241"/>
                  </a:cubicBezTo>
                  <a:cubicBezTo>
                    <a:pt x="0" y="305"/>
                    <a:pt x="0" y="305"/>
                    <a:pt x="0" y="305"/>
                  </a:cubicBezTo>
                  <a:cubicBezTo>
                    <a:pt x="0" y="332"/>
                    <a:pt x="65" y="353"/>
                    <a:pt x="145" y="353"/>
                  </a:cubicBezTo>
                  <a:cubicBezTo>
                    <a:pt x="225" y="353"/>
                    <a:pt x="289" y="332"/>
                    <a:pt x="289" y="305"/>
                  </a:cubicBezTo>
                  <a:cubicBezTo>
                    <a:pt x="289" y="241"/>
                    <a:pt x="289" y="241"/>
                    <a:pt x="289" y="241"/>
                  </a:cubicBezTo>
                  <a:cubicBezTo>
                    <a:pt x="289" y="235"/>
                    <a:pt x="286" y="230"/>
                    <a:pt x="281" y="225"/>
                  </a:cubicBezTo>
                  <a:cubicBezTo>
                    <a:pt x="286" y="220"/>
                    <a:pt x="289" y="214"/>
                    <a:pt x="289" y="209"/>
                  </a:cubicBezTo>
                  <a:cubicBezTo>
                    <a:pt x="289" y="145"/>
                    <a:pt x="289" y="145"/>
                    <a:pt x="289" y="145"/>
                  </a:cubicBezTo>
                  <a:cubicBezTo>
                    <a:pt x="289" y="139"/>
                    <a:pt x="286" y="134"/>
                    <a:pt x="281" y="128"/>
                  </a:cubicBezTo>
                  <a:cubicBezTo>
                    <a:pt x="286" y="123"/>
                    <a:pt x="289" y="118"/>
                    <a:pt x="289" y="112"/>
                  </a:cubicBezTo>
                  <a:lnTo>
                    <a:pt x="289" y="48"/>
                  </a:lnTo>
                  <a:close/>
                  <a:moveTo>
                    <a:pt x="273" y="305"/>
                  </a:moveTo>
                  <a:cubicBezTo>
                    <a:pt x="273" y="323"/>
                    <a:pt x="216" y="337"/>
                    <a:pt x="145" y="337"/>
                  </a:cubicBezTo>
                  <a:cubicBezTo>
                    <a:pt x="74" y="337"/>
                    <a:pt x="16" y="323"/>
                    <a:pt x="16" y="305"/>
                  </a:cubicBezTo>
                  <a:cubicBezTo>
                    <a:pt x="16" y="263"/>
                    <a:pt x="16" y="263"/>
                    <a:pt x="16" y="263"/>
                  </a:cubicBezTo>
                  <a:cubicBezTo>
                    <a:pt x="40" y="278"/>
                    <a:pt x="89" y="289"/>
                    <a:pt x="145" y="289"/>
                  </a:cubicBezTo>
                  <a:cubicBezTo>
                    <a:pt x="201" y="289"/>
                    <a:pt x="249" y="278"/>
                    <a:pt x="273" y="263"/>
                  </a:cubicBezTo>
                  <a:lnTo>
                    <a:pt x="273" y="305"/>
                  </a:lnTo>
                  <a:close/>
                  <a:moveTo>
                    <a:pt x="145" y="273"/>
                  </a:moveTo>
                  <a:cubicBezTo>
                    <a:pt x="74" y="273"/>
                    <a:pt x="16" y="259"/>
                    <a:pt x="16" y="241"/>
                  </a:cubicBezTo>
                  <a:cubicBezTo>
                    <a:pt x="16" y="238"/>
                    <a:pt x="18" y="236"/>
                    <a:pt x="20" y="233"/>
                  </a:cubicBezTo>
                  <a:cubicBezTo>
                    <a:pt x="45" y="247"/>
                    <a:pt x="92" y="257"/>
                    <a:pt x="145" y="257"/>
                  </a:cubicBezTo>
                  <a:cubicBezTo>
                    <a:pt x="198" y="257"/>
                    <a:pt x="244" y="247"/>
                    <a:pt x="269" y="233"/>
                  </a:cubicBezTo>
                  <a:cubicBezTo>
                    <a:pt x="272" y="236"/>
                    <a:pt x="273" y="238"/>
                    <a:pt x="273" y="241"/>
                  </a:cubicBezTo>
                  <a:cubicBezTo>
                    <a:pt x="273" y="259"/>
                    <a:pt x="216" y="273"/>
                    <a:pt x="145" y="273"/>
                  </a:cubicBezTo>
                  <a:moveTo>
                    <a:pt x="273" y="209"/>
                  </a:moveTo>
                  <a:cubicBezTo>
                    <a:pt x="273" y="226"/>
                    <a:pt x="216" y="241"/>
                    <a:pt x="145" y="241"/>
                  </a:cubicBezTo>
                  <a:cubicBezTo>
                    <a:pt x="74" y="241"/>
                    <a:pt x="16" y="226"/>
                    <a:pt x="16" y="209"/>
                  </a:cubicBezTo>
                  <a:cubicBezTo>
                    <a:pt x="16" y="167"/>
                    <a:pt x="16" y="167"/>
                    <a:pt x="16" y="167"/>
                  </a:cubicBezTo>
                  <a:cubicBezTo>
                    <a:pt x="40" y="182"/>
                    <a:pt x="89" y="193"/>
                    <a:pt x="145" y="193"/>
                  </a:cubicBezTo>
                  <a:cubicBezTo>
                    <a:pt x="201" y="193"/>
                    <a:pt x="249" y="182"/>
                    <a:pt x="273" y="167"/>
                  </a:cubicBezTo>
                  <a:lnTo>
                    <a:pt x="273" y="209"/>
                  </a:lnTo>
                  <a:close/>
                  <a:moveTo>
                    <a:pt x="145" y="177"/>
                  </a:moveTo>
                  <a:cubicBezTo>
                    <a:pt x="74" y="177"/>
                    <a:pt x="16" y="162"/>
                    <a:pt x="16" y="145"/>
                  </a:cubicBezTo>
                  <a:cubicBezTo>
                    <a:pt x="16" y="142"/>
                    <a:pt x="18" y="139"/>
                    <a:pt x="20" y="137"/>
                  </a:cubicBezTo>
                  <a:cubicBezTo>
                    <a:pt x="45" y="151"/>
                    <a:pt x="92" y="161"/>
                    <a:pt x="145" y="161"/>
                  </a:cubicBezTo>
                  <a:cubicBezTo>
                    <a:pt x="198" y="161"/>
                    <a:pt x="244" y="151"/>
                    <a:pt x="269" y="137"/>
                  </a:cubicBezTo>
                  <a:cubicBezTo>
                    <a:pt x="272" y="139"/>
                    <a:pt x="273" y="142"/>
                    <a:pt x="273" y="145"/>
                  </a:cubicBezTo>
                  <a:cubicBezTo>
                    <a:pt x="273" y="162"/>
                    <a:pt x="216" y="177"/>
                    <a:pt x="145" y="177"/>
                  </a:cubicBezTo>
                  <a:moveTo>
                    <a:pt x="273" y="112"/>
                  </a:moveTo>
                  <a:cubicBezTo>
                    <a:pt x="273" y="130"/>
                    <a:pt x="216" y="145"/>
                    <a:pt x="145" y="145"/>
                  </a:cubicBezTo>
                  <a:cubicBezTo>
                    <a:pt x="74" y="145"/>
                    <a:pt x="16" y="130"/>
                    <a:pt x="16" y="112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40" y="86"/>
                    <a:pt x="89" y="96"/>
                    <a:pt x="145" y="96"/>
                  </a:cubicBezTo>
                  <a:cubicBezTo>
                    <a:pt x="201" y="96"/>
                    <a:pt x="249" y="86"/>
                    <a:pt x="273" y="70"/>
                  </a:cubicBezTo>
                  <a:lnTo>
                    <a:pt x="273" y="112"/>
                  </a:lnTo>
                  <a:close/>
                  <a:moveTo>
                    <a:pt x="145" y="80"/>
                  </a:moveTo>
                  <a:cubicBezTo>
                    <a:pt x="74" y="80"/>
                    <a:pt x="16" y="66"/>
                    <a:pt x="16" y="48"/>
                  </a:cubicBezTo>
                  <a:cubicBezTo>
                    <a:pt x="16" y="30"/>
                    <a:pt x="74" y="16"/>
                    <a:pt x="145" y="16"/>
                  </a:cubicBezTo>
                  <a:cubicBezTo>
                    <a:pt x="216" y="16"/>
                    <a:pt x="273" y="30"/>
                    <a:pt x="273" y="48"/>
                  </a:cubicBezTo>
                  <a:cubicBezTo>
                    <a:pt x="273" y="66"/>
                    <a:pt x="216" y="80"/>
                    <a:pt x="145" y="8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224120" y="2621787"/>
            <a:ext cx="636725" cy="636724"/>
            <a:chOff x="5224120" y="2621787"/>
            <a:chExt cx="636725" cy="636724"/>
          </a:xfrm>
        </p:grpSpPr>
        <p:sp>
          <p:nvSpPr>
            <p:cNvPr id="21" name="Oval 20"/>
            <p:cNvSpPr/>
            <p:nvPr/>
          </p:nvSpPr>
          <p:spPr>
            <a:xfrm>
              <a:off x="5224120" y="2621787"/>
              <a:ext cx="636725" cy="636724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5" name="Freeform 54"/>
            <p:cNvSpPr>
              <a:spLocks noEditPoints="1"/>
            </p:cNvSpPr>
            <p:nvPr/>
          </p:nvSpPr>
          <p:spPr bwMode="auto">
            <a:xfrm>
              <a:off x="5408022" y="2802195"/>
              <a:ext cx="268919" cy="262244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683098" y="1531165"/>
            <a:ext cx="1777804" cy="487760"/>
            <a:chOff x="3786484" y="1531165"/>
            <a:chExt cx="1777804" cy="487760"/>
          </a:xfrm>
        </p:grpSpPr>
        <p:sp>
          <p:nvSpPr>
            <p:cNvPr id="47" name="TextBox 46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ervidore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1179293" y="2673889"/>
            <a:ext cx="1777804" cy="487760"/>
            <a:chOff x="3786484" y="1531165"/>
            <a:chExt cx="1777804" cy="487760"/>
          </a:xfrm>
        </p:grpSpPr>
        <p:sp>
          <p:nvSpPr>
            <p:cNvPr id="56" name="TextBox 55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784034" y="3642699"/>
            <a:ext cx="1777804" cy="487760"/>
            <a:chOff x="3786484" y="1531165"/>
            <a:chExt cx="1777804" cy="487760"/>
          </a:xfrm>
        </p:grpSpPr>
        <p:sp>
          <p:nvSpPr>
            <p:cNvPr id="59" name="TextBox 58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je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6587221" y="3642699"/>
            <a:ext cx="1777804" cy="487760"/>
            <a:chOff x="3786484" y="1531165"/>
            <a:chExt cx="1777804" cy="487760"/>
          </a:xfrm>
        </p:grpSpPr>
        <p:sp>
          <p:nvSpPr>
            <p:cNvPr id="62" name="TextBox 61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 digital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6181816" y="2673889"/>
            <a:ext cx="1777804" cy="486349"/>
            <a:chOff x="3786484" y="1531165"/>
            <a:chExt cx="1777804" cy="486349"/>
          </a:xfrm>
        </p:grpSpPr>
        <p:sp>
          <p:nvSpPr>
            <p:cNvPr id="65" name="TextBox 64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lança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3994150" y="3628496"/>
            <a:ext cx="1155700" cy="646261"/>
            <a:chOff x="3994150" y="3660066"/>
            <a:chExt cx="1155700" cy="646261"/>
          </a:xfrm>
        </p:grpSpPr>
        <p:sp>
          <p:nvSpPr>
            <p:cNvPr id="67" name="TextBox 66"/>
            <p:cNvSpPr txBox="1"/>
            <p:nvPr/>
          </p:nvSpPr>
          <p:spPr>
            <a:xfrm>
              <a:off x="3994150" y="3904935"/>
              <a:ext cx="1155700" cy="4013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600"/>
                </a:spcAft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007983" y="3660066"/>
              <a:ext cx="112912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cessos</a:t>
              </a:r>
              <a:endParaRPr lang="en-US" sz="1200" b="1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460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</a:t>
            </a:r>
            <a:r>
              <a:rPr lang="en-US" dirty="0">
                <a:solidFill>
                  <a:srgbClr val="EC0000"/>
                </a:solidFill>
              </a:rPr>
              <a:t>glob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39" name="Freeform 5"/>
          <p:cNvSpPr>
            <a:spLocks noEditPoints="1"/>
          </p:cNvSpPr>
          <p:nvPr/>
        </p:nvSpPr>
        <p:spPr bwMode="auto">
          <a:xfrm>
            <a:off x="3765215" y="3149861"/>
            <a:ext cx="1613569" cy="1613568"/>
          </a:xfrm>
          <a:custGeom>
            <a:avLst/>
            <a:gdLst>
              <a:gd name="T0" fmla="*/ 2168 w 4336"/>
              <a:gd name="T1" fmla="*/ 0 h 4336"/>
              <a:gd name="T2" fmla="*/ 0 w 4336"/>
              <a:gd name="T3" fmla="*/ 2168 h 4336"/>
              <a:gd name="T4" fmla="*/ 2168 w 4336"/>
              <a:gd name="T5" fmla="*/ 4336 h 4336"/>
              <a:gd name="T6" fmla="*/ 4336 w 4336"/>
              <a:gd name="T7" fmla="*/ 2168 h 4336"/>
              <a:gd name="T8" fmla="*/ 2168 w 4336"/>
              <a:gd name="T9" fmla="*/ 0 h 4336"/>
              <a:gd name="T10" fmla="*/ 2168 w 4336"/>
              <a:gd name="T11" fmla="*/ 4236 h 4336"/>
              <a:gd name="T12" fmla="*/ 100 w 4336"/>
              <a:gd name="T13" fmla="*/ 2168 h 4336"/>
              <a:gd name="T14" fmla="*/ 2168 w 4336"/>
              <a:gd name="T15" fmla="*/ 100 h 4336"/>
              <a:gd name="T16" fmla="*/ 4236 w 4336"/>
              <a:gd name="T17" fmla="*/ 2168 h 4336"/>
              <a:gd name="T18" fmla="*/ 2168 w 4336"/>
              <a:gd name="T19" fmla="*/ 4236 h 4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336" h="4336">
                <a:moveTo>
                  <a:pt x="2168" y="0"/>
                </a:moveTo>
                <a:cubicBezTo>
                  <a:pt x="971" y="0"/>
                  <a:pt x="0" y="970"/>
                  <a:pt x="0" y="2168"/>
                </a:cubicBezTo>
                <a:cubicBezTo>
                  <a:pt x="0" y="3365"/>
                  <a:pt x="971" y="4336"/>
                  <a:pt x="2168" y="4336"/>
                </a:cubicBezTo>
                <a:cubicBezTo>
                  <a:pt x="3365" y="4336"/>
                  <a:pt x="4336" y="3365"/>
                  <a:pt x="4336" y="2168"/>
                </a:cubicBezTo>
                <a:cubicBezTo>
                  <a:pt x="4336" y="970"/>
                  <a:pt x="3365" y="0"/>
                  <a:pt x="2168" y="0"/>
                </a:cubicBezTo>
                <a:close/>
                <a:moveTo>
                  <a:pt x="2168" y="4236"/>
                </a:moveTo>
                <a:cubicBezTo>
                  <a:pt x="1026" y="4236"/>
                  <a:pt x="100" y="3310"/>
                  <a:pt x="100" y="2168"/>
                </a:cubicBezTo>
                <a:cubicBezTo>
                  <a:pt x="100" y="1026"/>
                  <a:pt x="1026" y="100"/>
                  <a:pt x="2168" y="100"/>
                </a:cubicBezTo>
                <a:cubicBezTo>
                  <a:pt x="3310" y="100"/>
                  <a:pt x="4236" y="1026"/>
                  <a:pt x="4236" y="2168"/>
                </a:cubicBezTo>
                <a:cubicBezTo>
                  <a:pt x="4236" y="3310"/>
                  <a:pt x="3310" y="4236"/>
                  <a:pt x="2168" y="423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0" name="Freeform 10"/>
          <p:cNvSpPr>
            <a:spLocks/>
          </p:cNvSpPr>
          <p:nvPr/>
        </p:nvSpPr>
        <p:spPr bwMode="auto">
          <a:xfrm>
            <a:off x="3611592" y="2996237"/>
            <a:ext cx="406527" cy="406527"/>
          </a:xfrm>
          <a:custGeom>
            <a:avLst/>
            <a:gdLst>
              <a:gd name="T0" fmla="*/ 1100 w 1100"/>
              <a:gd name="T1" fmla="*/ 1029 h 1099"/>
              <a:gd name="T2" fmla="*/ 70 w 1100"/>
              <a:gd name="T3" fmla="*/ 0 h 1099"/>
              <a:gd name="T4" fmla="*/ 0 w 1100"/>
              <a:gd name="T5" fmla="*/ 70 h 1099"/>
              <a:gd name="T6" fmla="*/ 1029 w 1100"/>
              <a:gd name="T7" fmla="*/ 1099 h 1099"/>
              <a:gd name="T8" fmla="*/ 1100 w 1100"/>
              <a:gd name="T9" fmla="*/ 102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00" h="1099">
                <a:moveTo>
                  <a:pt x="1100" y="1029"/>
                </a:moveTo>
                <a:cubicBezTo>
                  <a:pt x="70" y="0"/>
                  <a:pt x="70" y="0"/>
                  <a:pt x="70" y="0"/>
                </a:cubicBezTo>
                <a:cubicBezTo>
                  <a:pt x="0" y="70"/>
                  <a:pt x="0" y="70"/>
                  <a:pt x="0" y="70"/>
                </a:cubicBezTo>
                <a:cubicBezTo>
                  <a:pt x="1029" y="1099"/>
                  <a:pt x="1029" y="1099"/>
                  <a:pt x="1029" y="1099"/>
                </a:cubicBezTo>
                <a:cubicBezTo>
                  <a:pt x="1052" y="1075"/>
                  <a:pt x="1076" y="1052"/>
                  <a:pt x="1100" y="102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1" name="Freeform 11"/>
          <p:cNvSpPr>
            <a:spLocks/>
          </p:cNvSpPr>
          <p:nvPr/>
        </p:nvSpPr>
        <p:spPr bwMode="auto">
          <a:xfrm>
            <a:off x="3231713" y="3938356"/>
            <a:ext cx="538727" cy="36577"/>
          </a:xfrm>
          <a:custGeom>
            <a:avLst/>
            <a:gdLst>
              <a:gd name="T0" fmla="*/ 1456 w 1456"/>
              <a:gd name="T1" fmla="*/ 0 h 99"/>
              <a:gd name="T2" fmla="*/ 0 w 1456"/>
              <a:gd name="T3" fmla="*/ 0 h 99"/>
              <a:gd name="T4" fmla="*/ 0 w 1456"/>
              <a:gd name="T5" fmla="*/ 99 h 99"/>
              <a:gd name="T6" fmla="*/ 1456 w 1456"/>
              <a:gd name="T7" fmla="*/ 99 h 99"/>
              <a:gd name="T8" fmla="*/ 1455 w 1456"/>
              <a:gd name="T9" fmla="*/ 50 h 99"/>
              <a:gd name="T10" fmla="*/ 1456 w 1456"/>
              <a:gd name="T11" fmla="*/ 0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6" h="99">
                <a:moveTo>
                  <a:pt x="1456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9"/>
                  <a:pt x="0" y="99"/>
                  <a:pt x="0" y="99"/>
                </a:cubicBezTo>
                <a:cubicBezTo>
                  <a:pt x="1456" y="99"/>
                  <a:pt x="1456" y="99"/>
                  <a:pt x="1456" y="99"/>
                </a:cubicBezTo>
                <a:cubicBezTo>
                  <a:pt x="1455" y="83"/>
                  <a:pt x="1455" y="66"/>
                  <a:pt x="1455" y="50"/>
                </a:cubicBezTo>
                <a:cubicBezTo>
                  <a:pt x="1455" y="33"/>
                  <a:pt x="1455" y="17"/>
                  <a:pt x="1456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2" name="Freeform 12"/>
          <p:cNvSpPr>
            <a:spLocks/>
          </p:cNvSpPr>
          <p:nvPr/>
        </p:nvSpPr>
        <p:spPr bwMode="auto">
          <a:xfrm>
            <a:off x="5373559" y="3938356"/>
            <a:ext cx="538727" cy="36577"/>
          </a:xfrm>
          <a:custGeom>
            <a:avLst/>
            <a:gdLst>
              <a:gd name="T0" fmla="*/ 1456 w 1456"/>
              <a:gd name="T1" fmla="*/ 0 h 99"/>
              <a:gd name="T2" fmla="*/ 0 w 1456"/>
              <a:gd name="T3" fmla="*/ 0 h 99"/>
              <a:gd name="T4" fmla="*/ 1 w 1456"/>
              <a:gd name="T5" fmla="*/ 50 h 99"/>
              <a:gd name="T6" fmla="*/ 0 w 1456"/>
              <a:gd name="T7" fmla="*/ 99 h 99"/>
              <a:gd name="T8" fmla="*/ 1456 w 1456"/>
              <a:gd name="T9" fmla="*/ 99 h 99"/>
              <a:gd name="T10" fmla="*/ 1456 w 1456"/>
              <a:gd name="T11" fmla="*/ 0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56" h="99">
                <a:moveTo>
                  <a:pt x="1456" y="0"/>
                </a:moveTo>
                <a:cubicBezTo>
                  <a:pt x="0" y="0"/>
                  <a:pt x="0" y="0"/>
                  <a:pt x="0" y="0"/>
                </a:cubicBezTo>
                <a:cubicBezTo>
                  <a:pt x="1" y="17"/>
                  <a:pt x="1" y="33"/>
                  <a:pt x="1" y="50"/>
                </a:cubicBezTo>
                <a:cubicBezTo>
                  <a:pt x="1" y="66"/>
                  <a:pt x="1" y="83"/>
                  <a:pt x="0" y="99"/>
                </a:cubicBezTo>
                <a:cubicBezTo>
                  <a:pt x="1456" y="99"/>
                  <a:pt x="1456" y="99"/>
                  <a:pt x="1456" y="99"/>
                </a:cubicBezTo>
                <a:lnTo>
                  <a:pt x="145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3" name="Freeform 13"/>
          <p:cNvSpPr>
            <a:spLocks/>
          </p:cNvSpPr>
          <p:nvPr/>
        </p:nvSpPr>
        <p:spPr bwMode="auto">
          <a:xfrm>
            <a:off x="5125881" y="2996237"/>
            <a:ext cx="406527" cy="406527"/>
          </a:xfrm>
          <a:custGeom>
            <a:avLst/>
            <a:gdLst>
              <a:gd name="T0" fmla="*/ 71 w 1100"/>
              <a:gd name="T1" fmla="*/ 1099 h 1099"/>
              <a:gd name="T2" fmla="*/ 1100 w 1100"/>
              <a:gd name="T3" fmla="*/ 70 h 1099"/>
              <a:gd name="T4" fmla="*/ 1030 w 1100"/>
              <a:gd name="T5" fmla="*/ 0 h 1099"/>
              <a:gd name="T6" fmla="*/ 0 w 1100"/>
              <a:gd name="T7" fmla="*/ 1029 h 1099"/>
              <a:gd name="T8" fmla="*/ 71 w 1100"/>
              <a:gd name="T9" fmla="*/ 1099 h 10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00" h="1099">
                <a:moveTo>
                  <a:pt x="71" y="1099"/>
                </a:moveTo>
                <a:cubicBezTo>
                  <a:pt x="1100" y="70"/>
                  <a:pt x="1100" y="70"/>
                  <a:pt x="1100" y="70"/>
                </a:cubicBezTo>
                <a:cubicBezTo>
                  <a:pt x="1030" y="0"/>
                  <a:pt x="1030" y="0"/>
                  <a:pt x="1030" y="0"/>
                </a:cubicBezTo>
                <a:cubicBezTo>
                  <a:pt x="0" y="1029"/>
                  <a:pt x="0" y="1029"/>
                  <a:pt x="0" y="1029"/>
                </a:cubicBezTo>
                <a:cubicBezTo>
                  <a:pt x="24" y="1052"/>
                  <a:pt x="48" y="1075"/>
                  <a:pt x="71" y="109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4" name="Freeform 14"/>
          <p:cNvSpPr>
            <a:spLocks/>
          </p:cNvSpPr>
          <p:nvPr/>
        </p:nvSpPr>
        <p:spPr bwMode="auto">
          <a:xfrm>
            <a:off x="4553711" y="2616359"/>
            <a:ext cx="36577" cy="538727"/>
          </a:xfrm>
          <a:custGeom>
            <a:avLst/>
            <a:gdLst>
              <a:gd name="T0" fmla="*/ 100 w 100"/>
              <a:gd name="T1" fmla="*/ 1456 h 1456"/>
              <a:gd name="T2" fmla="*/ 100 w 100"/>
              <a:gd name="T3" fmla="*/ 0 h 1456"/>
              <a:gd name="T4" fmla="*/ 0 w 100"/>
              <a:gd name="T5" fmla="*/ 0 h 1456"/>
              <a:gd name="T6" fmla="*/ 0 w 100"/>
              <a:gd name="T7" fmla="*/ 1456 h 1456"/>
              <a:gd name="T8" fmla="*/ 50 w 100"/>
              <a:gd name="T9" fmla="*/ 1455 h 1456"/>
              <a:gd name="T10" fmla="*/ 100 w 100"/>
              <a:gd name="T11" fmla="*/ 1456 h 1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0" h="1456">
                <a:moveTo>
                  <a:pt x="100" y="1456"/>
                </a:moveTo>
                <a:cubicBezTo>
                  <a:pt x="100" y="0"/>
                  <a:pt x="100" y="0"/>
                  <a:pt x="10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456"/>
                  <a:pt x="0" y="1456"/>
                  <a:pt x="0" y="1456"/>
                </a:cubicBezTo>
                <a:cubicBezTo>
                  <a:pt x="17" y="1455"/>
                  <a:pt x="33" y="1455"/>
                  <a:pt x="50" y="1455"/>
                </a:cubicBezTo>
                <a:cubicBezTo>
                  <a:pt x="67" y="1455"/>
                  <a:pt x="83" y="1455"/>
                  <a:pt x="100" y="145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5" name="Freeform 16"/>
          <p:cNvSpPr>
            <a:spLocks/>
          </p:cNvSpPr>
          <p:nvPr/>
        </p:nvSpPr>
        <p:spPr bwMode="auto">
          <a:xfrm>
            <a:off x="3036288" y="3007210"/>
            <a:ext cx="341211" cy="758712"/>
          </a:xfrm>
          <a:custGeom>
            <a:avLst/>
            <a:gdLst>
              <a:gd name="T0" fmla="*/ 847 w 923"/>
              <a:gd name="T1" fmla="*/ 0 h 2051"/>
              <a:gd name="T2" fmla="*/ 0 w 923"/>
              <a:gd name="T3" fmla="*/ 2045 h 2051"/>
              <a:gd name="T4" fmla="*/ 17 w 923"/>
              <a:gd name="T5" fmla="*/ 2045 h 2051"/>
              <a:gd name="T6" fmla="*/ 99 w 923"/>
              <a:gd name="T7" fmla="*/ 2051 h 2051"/>
              <a:gd name="T8" fmla="*/ 923 w 923"/>
              <a:gd name="T9" fmla="*/ 65 h 2051"/>
              <a:gd name="T10" fmla="*/ 847 w 923"/>
              <a:gd name="T11" fmla="*/ 0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23" h="2051">
                <a:moveTo>
                  <a:pt x="847" y="0"/>
                </a:moveTo>
                <a:cubicBezTo>
                  <a:pt x="397" y="579"/>
                  <a:pt x="95" y="1280"/>
                  <a:pt x="0" y="2045"/>
                </a:cubicBezTo>
                <a:cubicBezTo>
                  <a:pt x="6" y="2045"/>
                  <a:pt x="12" y="2045"/>
                  <a:pt x="17" y="2045"/>
                </a:cubicBezTo>
                <a:cubicBezTo>
                  <a:pt x="45" y="2045"/>
                  <a:pt x="73" y="2047"/>
                  <a:pt x="99" y="2051"/>
                </a:cubicBezTo>
                <a:cubicBezTo>
                  <a:pt x="193" y="1308"/>
                  <a:pt x="486" y="628"/>
                  <a:pt x="923" y="65"/>
                </a:cubicBezTo>
                <a:cubicBezTo>
                  <a:pt x="896" y="46"/>
                  <a:pt x="870" y="24"/>
                  <a:pt x="847" y="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6" name="Freeform 17"/>
          <p:cNvSpPr>
            <a:spLocks/>
          </p:cNvSpPr>
          <p:nvPr/>
        </p:nvSpPr>
        <p:spPr bwMode="auto">
          <a:xfrm>
            <a:off x="5766501" y="3007210"/>
            <a:ext cx="341211" cy="758712"/>
          </a:xfrm>
          <a:custGeom>
            <a:avLst/>
            <a:gdLst>
              <a:gd name="T0" fmla="*/ 76 w 923"/>
              <a:gd name="T1" fmla="*/ 0 h 2051"/>
              <a:gd name="T2" fmla="*/ 0 w 923"/>
              <a:gd name="T3" fmla="*/ 65 h 2051"/>
              <a:gd name="T4" fmla="*/ 824 w 923"/>
              <a:gd name="T5" fmla="*/ 2051 h 2051"/>
              <a:gd name="T6" fmla="*/ 906 w 923"/>
              <a:gd name="T7" fmla="*/ 2045 h 2051"/>
              <a:gd name="T8" fmla="*/ 923 w 923"/>
              <a:gd name="T9" fmla="*/ 2045 h 2051"/>
              <a:gd name="T10" fmla="*/ 76 w 923"/>
              <a:gd name="T11" fmla="*/ 0 h 2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923" h="2051">
                <a:moveTo>
                  <a:pt x="76" y="0"/>
                </a:moveTo>
                <a:cubicBezTo>
                  <a:pt x="53" y="24"/>
                  <a:pt x="27" y="46"/>
                  <a:pt x="0" y="65"/>
                </a:cubicBezTo>
                <a:cubicBezTo>
                  <a:pt x="437" y="628"/>
                  <a:pt x="730" y="1308"/>
                  <a:pt x="824" y="2051"/>
                </a:cubicBezTo>
                <a:cubicBezTo>
                  <a:pt x="850" y="2047"/>
                  <a:pt x="878" y="2045"/>
                  <a:pt x="906" y="2045"/>
                </a:cubicBezTo>
                <a:cubicBezTo>
                  <a:pt x="911" y="2045"/>
                  <a:pt x="917" y="2045"/>
                  <a:pt x="923" y="2045"/>
                </a:cubicBezTo>
                <a:cubicBezTo>
                  <a:pt x="828" y="1280"/>
                  <a:pt x="526" y="579"/>
                  <a:pt x="76" y="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7" name="Freeform 18"/>
          <p:cNvSpPr>
            <a:spLocks/>
          </p:cNvSpPr>
          <p:nvPr/>
        </p:nvSpPr>
        <p:spPr bwMode="auto">
          <a:xfrm>
            <a:off x="3622564" y="2420410"/>
            <a:ext cx="761847" cy="341211"/>
          </a:xfrm>
          <a:custGeom>
            <a:avLst/>
            <a:gdLst>
              <a:gd name="T0" fmla="*/ 2053 w 2060"/>
              <a:gd name="T1" fmla="*/ 0 h 923"/>
              <a:gd name="T2" fmla="*/ 0 w 2060"/>
              <a:gd name="T3" fmla="*/ 848 h 923"/>
              <a:gd name="T4" fmla="*/ 65 w 2060"/>
              <a:gd name="T5" fmla="*/ 923 h 923"/>
              <a:gd name="T6" fmla="*/ 2060 w 2060"/>
              <a:gd name="T7" fmla="*/ 99 h 923"/>
              <a:gd name="T8" fmla="*/ 2052 w 2060"/>
              <a:gd name="T9" fmla="*/ 14 h 923"/>
              <a:gd name="T10" fmla="*/ 2053 w 2060"/>
              <a:gd name="T11" fmla="*/ 0 h 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60" h="923">
                <a:moveTo>
                  <a:pt x="2053" y="0"/>
                </a:moveTo>
                <a:cubicBezTo>
                  <a:pt x="1285" y="94"/>
                  <a:pt x="581" y="396"/>
                  <a:pt x="0" y="848"/>
                </a:cubicBezTo>
                <a:cubicBezTo>
                  <a:pt x="24" y="871"/>
                  <a:pt x="46" y="896"/>
                  <a:pt x="65" y="923"/>
                </a:cubicBezTo>
                <a:cubicBezTo>
                  <a:pt x="630" y="485"/>
                  <a:pt x="1314" y="192"/>
                  <a:pt x="2060" y="99"/>
                </a:cubicBezTo>
                <a:cubicBezTo>
                  <a:pt x="2055" y="71"/>
                  <a:pt x="2052" y="43"/>
                  <a:pt x="2052" y="14"/>
                </a:cubicBezTo>
                <a:cubicBezTo>
                  <a:pt x="2052" y="9"/>
                  <a:pt x="2053" y="5"/>
                  <a:pt x="2053" y="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8" name="Freeform 19"/>
          <p:cNvSpPr>
            <a:spLocks/>
          </p:cNvSpPr>
          <p:nvPr/>
        </p:nvSpPr>
        <p:spPr bwMode="auto">
          <a:xfrm>
            <a:off x="4765336" y="2420932"/>
            <a:ext cx="756099" cy="340689"/>
          </a:xfrm>
          <a:custGeom>
            <a:avLst/>
            <a:gdLst>
              <a:gd name="T0" fmla="*/ 2045 w 2045"/>
              <a:gd name="T1" fmla="*/ 846 h 921"/>
              <a:gd name="T2" fmla="*/ 7 w 2045"/>
              <a:gd name="T3" fmla="*/ 0 h 921"/>
              <a:gd name="T4" fmla="*/ 8 w 2045"/>
              <a:gd name="T5" fmla="*/ 12 h 921"/>
              <a:gd name="T6" fmla="*/ 0 w 2045"/>
              <a:gd name="T7" fmla="*/ 99 h 921"/>
              <a:gd name="T8" fmla="*/ 1980 w 2045"/>
              <a:gd name="T9" fmla="*/ 921 h 921"/>
              <a:gd name="T10" fmla="*/ 2045 w 2045"/>
              <a:gd name="T11" fmla="*/ 846 h 9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45" h="921">
                <a:moveTo>
                  <a:pt x="2045" y="846"/>
                </a:moveTo>
                <a:cubicBezTo>
                  <a:pt x="1467" y="397"/>
                  <a:pt x="769" y="96"/>
                  <a:pt x="7" y="0"/>
                </a:cubicBezTo>
                <a:cubicBezTo>
                  <a:pt x="7" y="4"/>
                  <a:pt x="8" y="8"/>
                  <a:pt x="8" y="12"/>
                </a:cubicBezTo>
                <a:cubicBezTo>
                  <a:pt x="8" y="42"/>
                  <a:pt x="5" y="71"/>
                  <a:pt x="0" y="99"/>
                </a:cubicBezTo>
                <a:cubicBezTo>
                  <a:pt x="740" y="194"/>
                  <a:pt x="1419" y="486"/>
                  <a:pt x="1980" y="921"/>
                </a:cubicBezTo>
                <a:cubicBezTo>
                  <a:pt x="1999" y="894"/>
                  <a:pt x="2021" y="869"/>
                  <a:pt x="2045" y="846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54" name="Group 53"/>
          <p:cNvGrpSpPr/>
          <p:nvPr/>
        </p:nvGrpSpPr>
        <p:grpSpPr>
          <a:xfrm>
            <a:off x="3878120" y="3261289"/>
            <a:ext cx="1394487" cy="1390711"/>
            <a:chOff x="16703675" y="5781675"/>
            <a:chExt cx="2932113" cy="2924175"/>
          </a:xfrm>
        </p:grpSpPr>
        <p:sp>
          <p:nvSpPr>
            <p:cNvPr id="60" name="Oval 24"/>
            <p:cNvSpPr>
              <a:spLocks noChangeArrowheads="1"/>
            </p:cNvSpPr>
            <p:nvPr/>
          </p:nvSpPr>
          <p:spPr bwMode="auto">
            <a:xfrm>
              <a:off x="16703675" y="5781675"/>
              <a:ext cx="2924175" cy="292417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1" name="Freeform 25"/>
            <p:cNvSpPr>
              <a:spLocks noEditPoints="1"/>
            </p:cNvSpPr>
            <p:nvPr/>
          </p:nvSpPr>
          <p:spPr bwMode="auto">
            <a:xfrm>
              <a:off x="16738600" y="5803900"/>
              <a:ext cx="2897188" cy="2870200"/>
            </a:xfrm>
            <a:custGeom>
              <a:avLst/>
              <a:gdLst>
                <a:gd name="T0" fmla="*/ 2764 w 9207"/>
                <a:gd name="T1" fmla="*/ 450 h 9117"/>
                <a:gd name="T2" fmla="*/ 1834 w 9207"/>
                <a:gd name="T3" fmla="*/ 947 h 9117"/>
                <a:gd name="T4" fmla="*/ 2362 w 9207"/>
                <a:gd name="T5" fmla="*/ 605 h 9117"/>
                <a:gd name="T6" fmla="*/ 3116 w 9207"/>
                <a:gd name="T7" fmla="*/ 443 h 9117"/>
                <a:gd name="T8" fmla="*/ 3261 w 9207"/>
                <a:gd name="T9" fmla="*/ 271 h 9117"/>
                <a:gd name="T10" fmla="*/ 6694 w 9207"/>
                <a:gd name="T11" fmla="*/ 2105 h 9117"/>
                <a:gd name="T12" fmla="*/ 7063 w 9207"/>
                <a:gd name="T13" fmla="*/ 2279 h 9117"/>
                <a:gd name="T14" fmla="*/ 6408 w 9207"/>
                <a:gd name="T15" fmla="*/ 2285 h 9117"/>
                <a:gd name="T16" fmla="*/ 3210 w 9207"/>
                <a:gd name="T17" fmla="*/ 905 h 9117"/>
                <a:gd name="T18" fmla="*/ 2557 w 9207"/>
                <a:gd name="T19" fmla="*/ 680 h 9117"/>
                <a:gd name="T20" fmla="*/ 2749 w 9207"/>
                <a:gd name="T21" fmla="*/ 1444 h 9117"/>
                <a:gd name="T22" fmla="*/ 2788 w 9207"/>
                <a:gd name="T23" fmla="*/ 961 h 9117"/>
                <a:gd name="T24" fmla="*/ 1618 w 9207"/>
                <a:gd name="T25" fmla="*/ 4795 h 9117"/>
                <a:gd name="T26" fmla="*/ 7743 w 9207"/>
                <a:gd name="T27" fmla="*/ 1292 h 9117"/>
                <a:gd name="T28" fmla="*/ 6981 w 9207"/>
                <a:gd name="T29" fmla="*/ 827 h 9117"/>
                <a:gd name="T30" fmla="*/ 6962 w 9207"/>
                <a:gd name="T31" fmla="*/ 1628 h 9117"/>
                <a:gd name="T32" fmla="*/ 7514 w 9207"/>
                <a:gd name="T33" fmla="*/ 2063 h 9117"/>
                <a:gd name="T34" fmla="*/ 7643 w 9207"/>
                <a:gd name="T35" fmla="*/ 1668 h 9117"/>
                <a:gd name="T36" fmla="*/ 7364 w 9207"/>
                <a:gd name="T37" fmla="*/ 2076 h 9117"/>
                <a:gd name="T38" fmla="*/ 6951 w 9207"/>
                <a:gd name="T39" fmla="*/ 2564 h 9117"/>
                <a:gd name="T40" fmla="*/ 6643 w 9207"/>
                <a:gd name="T41" fmla="*/ 3383 h 9117"/>
                <a:gd name="T42" fmla="*/ 7713 w 9207"/>
                <a:gd name="T43" fmla="*/ 3004 h 9117"/>
                <a:gd name="T44" fmla="*/ 7997 w 9207"/>
                <a:gd name="T45" fmla="*/ 3020 h 9117"/>
                <a:gd name="T46" fmla="*/ 8578 w 9207"/>
                <a:gd name="T47" fmla="*/ 3491 h 9117"/>
                <a:gd name="T48" fmla="*/ 7880 w 9207"/>
                <a:gd name="T49" fmla="*/ 3833 h 9117"/>
                <a:gd name="T50" fmla="*/ 6193 w 9207"/>
                <a:gd name="T51" fmla="*/ 4758 h 9117"/>
                <a:gd name="T52" fmla="*/ 7378 w 9207"/>
                <a:gd name="T53" fmla="*/ 5901 h 9117"/>
                <a:gd name="T54" fmla="*/ 6861 w 9207"/>
                <a:gd name="T55" fmla="*/ 8297 h 9117"/>
                <a:gd name="T56" fmla="*/ 8966 w 9207"/>
                <a:gd name="T57" fmla="*/ 6007 h 9117"/>
                <a:gd name="T58" fmla="*/ 8627 w 9207"/>
                <a:gd name="T59" fmla="*/ 2820 h 9117"/>
                <a:gd name="T60" fmla="*/ 8316 w 9207"/>
                <a:gd name="T61" fmla="*/ 6983 h 9117"/>
                <a:gd name="T62" fmla="*/ 7672 w 9207"/>
                <a:gd name="T63" fmla="*/ 3107 h 9117"/>
                <a:gd name="T64" fmla="*/ 5405 w 9207"/>
                <a:gd name="T65" fmla="*/ 1274 h 9117"/>
                <a:gd name="T66" fmla="*/ 6085 w 9207"/>
                <a:gd name="T67" fmla="*/ 233 h 9117"/>
                <a:gd name="T68" fmla="*/ 8852 w 9207"/>
                <a:gd name="T69" fmla="*/ 3686 h 9117"/>
                <a:gd name="T70" fmla="*/ 3505 w 9207"/>
                <a:gd name="T71" fmla="*/ 2723 h 9117"/>
                <a:gd name="T72" fmla="*/ 2126 w 9207"/>
                <a:gd name="T73" fmla="*/ 1328 h 9117"/>
                <a:gd name="T74" fmla="*/ 3675 w 9207"/>
                <a:gd name="T75" fmla="*/ 6419 h 9117"/>
                <a:gd name="T76" fmla="*/ 2206 w 9207"/>
                <a:gd name="T77" fmla="*/ 5582 h 9117"/>
                <a:gd name="T78" fmla="*/ 1105 w 9207"/>
                <a:gd name="T79" fmla="*/ 5221 h 9117"/>
                <a:gd name="T80" fmla="*/ 938 w 9207"/>
                <a:gd name="T81" fmla="*/ 4152 h 9117"/>
                <a:gd name="T82" fmla="*/ 1872 w 9207"/>
                <a:gd name="T83" fmla="*/ 3733 h 9117"/>
                <a:gd name="T84" fmla="*/ 2804 w 9207"/>
                <a:gd name="T85" fmla="*/ 2885 h 9117"/>
                <a:gd name="T86" fmla="*/ 2631 w 9207"/>
                <a:gd name="T87" fmla="*/ 2563 h 9117"/>
                <a:gd name="T88" fmla="*/ 2948 w 9207"/>
                <a:gd name="T89" fmla="*/ 1751 h 9117"/>
                <a:gd name="T90" fmla="*/ 1899 w 9207"/>
                <a:gd name="T91" fmla="*/ 2382 h 9117"/>
                <a:gd name="T92" fmla="*/ 2085 w 9207"/>
                <a:gd name="T93" fmla="*/ 1216 h 9117"/>
                <a:gd name="T94" fmla="*/ 2274 w 9207"/>
                <a:gd name="T95" fmla="*/ 904 h 9117"/>
                <a:gd name="T96" fmla="*/ 1791 w 9207"/>
                <a:gd name="T97" fmla="*/ 980 h 9117"/>
                <a:gd name="T98" fmla="*/ 134 w 9207"/>
                <a:gd name="T99" fmla="*/ 4513 h 9117"/>
                <a:gd name="T100" fmla="*/ 1690 w 9207"/>
                <a:gd name="T101" fmla="*/ 5816 h 9117"/>
                <a:gd name="T102" fmla="*/ 3907 w 9207"/>
                <a:gd name="T103" fmla="*/ 9107 h 9117"/>
                <a:gd name="T104" fmla="*/ 4020 w 9207"/>
                <a:gd name="T105" fmla="*/ 8028 h 9117"/>
                <a:gd name="T106" fmla="*/ 1589 w 9207"/>
                <a:gd name="T107" fmla="*/ 3149 h 9117"/>
                <a:gd name="T108" fmla="*/ 1444 w 9207"/>
                <a:gd name="T109" fmla="*/ 2913 h 9117"/>
                <a:gd name="T110" fmla="*/ 1284 w 9207"/>
                <a:gd name="T111" fmla="*/ 2764 h 9117"/>
                <a:gd name="T112" fmla="*/ 2062 w 9207"/>
                <a:gd name="T113" fmla="*/ 5030 h 9117"/>
                <a:gd name="T114" fmla="*/ 5130 w 9207"/>
                <a:gd name="T115" fmla="*/ 794 h 9117"/>
                <a:gd name="T116" fmla="*/ 5206 w 9207"/>
                <a:gd name="T117" fmla="*/ 388 h 9117"/>
                <a:gd name="T118" fmla="*/ 4814 w 9207"/>
                <a:gd name="T119" fmla="*/ 41 h 9117"/>
                <a:gd name="T120" fmla="*/ 3637 w 9207"/>
                <a:gd name="T121" fmla="*/ 336 h 9117"/>
                <a:gd name="T122" fmla="*/ 3899 w 9207"/>
                <a:gd name="T123" fmla="*/ 1022 h 9117"/>
                <a:gd name="T124" fmla="*/ 4437 w 9207"/>
                <a:gd name="T125" fmla="*/ 1345 h 9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207" h="9117">
                  <a:moveTo>
                    <a:pt x="2534" y="448"/>
                  </a:moveTo>
                  <a:cubicBezTo>
                    <a:pt x="2544" y="456"/>
                    <a:pt x="2556" y="450"/>
                    <a:pt x="2556" y="458"/>
                  </a:cubicBezTo>
                  <a:cubicBezTo>
                    <a:pt x="2556" y="466"/>
                    <a:pt x="2543" y="476"/>
                    <a:pt x="2543" y="476"/>
                  </a:cubicBezTo>
                  <a:cubicBezTo>
                    <a:pt x="2543" y="476"/>
                    <a:pt x="2543" y="483"/>
                    <a:pt x="2536" y="489"/>
                  </a:cubicBezTo>
                  <a:cubicBezTo>
                    <a:pt x="2529" y="494"/>
                    <a:pt x="2520" y="487"/>
                    <a:pt x="2514" y="493"/>
                  </a:cubicBezTo>
                  <a:cubicBezTo>
                    <a:pt x="2509" y="499"/>
                    <a:pt x="2514" y="505"/>
                    <a:pt x="2507" y="511"/>
                  </a:cubicBezTo>
                  <a:cubicBezTo>
                    <a:pt x="2500" y="519"/>
                    <a:pt x="2534" y="522"/>
                    <a:pt x="2542" y="516"/>
                  </a:cubicBezTo>
                  <a:cubicBezTo>
                    <a:pt x="2549" y="510"/>
                    <a:pt x="2552" y="502"/>
                    <a:pt x="2561" y="503"/>
                  </a:cubicBezTo>
                  <a:cubicBezTo>
                    <a:pt x="2570" y="505"/>
                    <a:pt x="2578" y="505"/>
                    <a:pt x="2584" y="494"/>
                  </a:cubicBezTo>
                  <a:cubicBezTo>
                    <a:pt x="2589" y="484"/>
                    <a:pt x="2586" y="482"/>
                    <a:pt x="2597" y="478"/>
                  </a:cubicBezTo>
                  <a:cubicBezTo>
                    <a:pt x="2609" y="475"/>
                    <a:pt x="2609" y="472"/>
                    <a:pt x="2618" y="469"/>
                  </a:cubicBezTo>
                  <a:cubicBezTo>
                    <a:pt x="2627" y="467"/>
                    <a:pt x="2625" y="460"/>
                    <a:pt x="2640" y="456"/>
                  </a:cubicBezTo>
                  <a:cubicBezTo>
                    <a:pt x="2656" y="451"/>
                    <a:pt x="2662" y="449"/>
                    <a:pt x="2668" y="448"/>
                  </a:cubicBezTo>
                  <a:cubicBezTo>
                    <a:pt x="2673" y="447"/>
                    <a:pt x="2673" y="440"/>
                    <a:pt x="2685" y="435"/>
                  </a:cubicBezTo>
                  <a:cubicBezTo>
                    <a:pt x="2696" y="431"/>
                    <a:pt x="2701" y="426"/>
                    <a:pt x="2706" y="421"/>
                  </a:cubicBezTo>
                  <a:cubicBezTo>
                    <a:pt x="2712" y="417"/>
                    <a:pt x="2718" y="410"/>
                    <a:pt x="2714" y="398"/>
                  </a:cubicBezTo>
                  <a:cubicBezTo>
                    <a:pt x="2711" y="385"/>
                    <a:pt x="2700" y="394"/>
                    <a:pt x="2692" y="395"/>
                  </a:cubicBezTo>
                  <a:cubicBezTo>
                    <a:pt x="2684" y="396"/>
                    <a:pt x="2684" y="392"/>
                    <a:pt x="2676" y="390"/>
                  </a:cubicBezTo>
                  <a:cubicBezTo>
                    <a:pt x="2668" y="387"/>
                    <a:pt x="2662" y="400"/>
                    <a:pt x="2655" y="406"/>
                  </a:cubicBezTo>
                  <a:cubicBezTo>
                    <a:pt x="2648" y="411"/>
                    <a:pt x="2645" y="411"/>
                    <a:pt x="2636" y="414"/>
                  </a:cubicBezTo>
                  <a:cubicBezTo>
                    <a:pt x="2627" y="416"/>
                    <a:pt x="2623" y="409"/>
                    <a:pt x="2613" y="418"/>
                  </a:cubicBezTo>
                  <a:cubicBezTo>
                    <a:pt x="2603" y="427"/>
                    <a:pt x="2601" y="434"/>
                    <a:pt x="2606" y="420"/>
                  </a:cubicBezTo>
                  <a:cubicBezTo>
                    <a:pt x="2612" y="407"/>
                    <a:pt x="2620" y="408"/>
                    <a:pt x="2612" y="402"/>
                  </a:cubicBezTo>
                  <a:cubicBezTo>
                    <a:pt x="2604" y="396"/>
                    <a:pt x="2620" y="388"/>
                    <a:pt x="2604" y="396"/>
                  </a:cubicBezTo>
                  <a:cubicBezTo>
                    <a:pt x="2588" y="404"/>
                    <a:pt x="2586" y="410"/>
                    <a:pt x="2577" y="417"/>
                  </a:cubicBezTo>
                  <a:cubicBezTo>
                    <a:pt x="2568" y="424"/>
                    <a:pt x="2565" y="431"/>
                    <a:pt x="2557" y="435"/>
                  </a:cubicBezTo>
                  <a:cubicBezTo>
                    <a:pt x="2549" y="440"/>
                    <a:pt x="2523" y="440"/>
                    <a:pt x="2534" y="448"/>
                  </a:cubicBezTo>
                  <a:close/>
                  <a:moveTo>
                    <a:pt x="2669" y="342"/>
                  </a:moveTo>
                  <a:cubicBezTo>
                    <a:pt x="2663" y="344"/>
                    <a:pt x="2645" y="361"/>
                    <a:pt x="2655" y="367"/>
                  </a:cubicBezTo>
                  <a:cubicBezTo>
                    <a:pt x="2672" y="375"/>
                    <a:pt x="2672" y="365"/>
                    <a:pt x="2678" y="361"/>
                  </a:cubicBezTo>
                  <a:cubicBezTo>
                    <a:pt x="2685" y="357"/>
                    <a:pt x="2686" y="356"/>
                    <a:pt x="2692" y="352"/>
                  </a:cubicBezTo>
                  <a:cubicBezTo>
                    <a:pt x="2697" y="348"/>
                    <a:pt x="2697" y="345"/>
                    <a:pt x="2704" y="337"/>
                  </a:cubicBezTo>
                  <a:cubicBezTo>
                    <a:pt x="2710" y="329"/>
                    <a:pt x="2704" y="337"/>
                    <a:pt x="2710" y="336"/>
                  </a:cubicBezTo>
                  <a:cubicBezTo>
                    <a:pt x="2717" y="334"/>
                    <a:pt x="2719" y="329"/>
                    <a:pt x="2728" y="326"/>
                  </a:cubicBezTo>
                  <a:cubicBezTo>
                    <a:pt x="2737" y="324"/>
                    <a:pt x="2724" y="311"/>
                    <a:pt x="2724" y="311"/>
                  </a:cubicBezTo>
                  <a:cubicBezTo>
                    <a:pt x="2713" y="314"/>
                    <a:pt x="2713" y="314"/>
                    <a:pt x="2713" y="314"/>
                  </a:cubicBezTo>
                  <a:cubicBezTo>
                    <a:pt x="2713" y="314"/>
                    <a:pt x="2700" y="320"/>
                    <a:pt x="2696" y="320"/>
                  </a:cubicBezTo>
                  <a:cubicBezTo>
                    <a:pt x="2692" y="320"/>
                    <a:pt x="2685" y="330"/>
                    <a:pt x="2685" y="334"/>
                  </a:cubicBezTo>
                  <a:cubicBezTo>
                    <a:pt x="2685" y="338"/>
                    <a:pt x="2674" y="341"/>
                    <a:pt x="2669" y="342"/>
                  </a:cubicBezTo>
                  <a:close/>
                  <a:moveTo>
                    <a:pt x="2805" y="329"/>
                  </a:moveTo>
                  <a:cubicBezTo>
                    <a:pt x="2809" y="327"/>
                    <a:pt x="2818" y="320"/>
                    <a:pt x="2826" y="324"/>
                  </a:cubicBezTo>
                  <a:cubicBezTo>
                    <a:pt x="2834" y="327"/>
                    <a:pt x="2842" y="316"/>
                    <a:pt x="2846" y="312"/>
                  </a:cubicBezTo>
                  <a:cubicBezTo>
                    <a:pt x="2851" y="309"/>
                    <a:pt x="2858" y="304"/>
                    <a:pt x="2866" y="301"/>
                  </a:cubicBezTo>
                  <a:cubicBezTo>
                    <a:pt x="2874" y="298"/>
                    <a:pt x="2884" y="291"/>
                    <a:pt x="2894" y="284"/>
                  </a:cubicBezTo>
                  <a:cubicBezTo>
                    <a:pt x="2904" y="277"/>
                    <a:pt x="2905" y="276"/>
                    <a:pt x="2916" y="270"/>
                  </a:cubicBezTo>
                  <a:cubicBezTo>
                    <a:pt x="2926" y="265"/>
                    <a:pt x="2929" y="257"/>
                    <a:pt x="2935" y="247"/>
                  </a:cubicBezTo>
                  <a:cubicBezTo>
                    <a:pt x="2941" y="238"/>
                    <a:pt x="2930" y="236"/>
                    <a:pt x="2926" y="230"/>
                  </a:cubicBezTo>
                  <a:cubicBezTo>
                    <a:pt x="2921" y="225"/>
                    <a:pt x="2912" y="229"/>
                    <a:pt x="2903" y="232"/>
                  </a:cubicBezTo>
                  <a:cubicBezTo>
                    <a:pt x="2894" y="234"/>
                    <a:pt x="2890" y="235"/>
                    <a:pt x="2883" y="238"/>
                  </a:cubicBezTo>
                  <a:cubicBezTo>
                    <a:pt x="2876" y="242"/>
                    <a:pt x="2878" y="243"/>
                    <a:pt x="2874" y="257"/>
                  </a:cubicBezTo>
                  <a:cubicBezTo>
                    <a:pt x="2869" y="270"/>
                    <a:pt x="2852" y="278"/>
                    <a:pt x="2847" y="272"/>
                  </a:cubicBezTo>
                  <a:cubicBezTo>
                    <a:pt x="2842" y="266"/>
                    <a:pt x="2832" y="279"/>
                    <a:pt x="2828" y="284"/>
                  </a:cubicBezTo>
                  <a:cubicBezTo>
                    <a:pt x="2825" y="288"/>
                    <a:pt x="2821" y="285"/>
                    <a:pt x="2818" y="280"/>
                  </a:cubicBezTo>
                  <a:cubicBezTo>
                    <a:pt x="2814" y="276"/>
                    <a:pt x="2810" y="275"/>
                    <a:pt x="2804" y="275"/>
                  </a:cubicBezTo>
                  <a:cubicBezTo>
                    <a:pt x="2799" y="275"/>
                    <a:pt x="2794" y="291"/>
                    <a:pt x="2794" y="291"/>
                  </a:cubicBezTo>
                  <a:cubicBezTo>
                    <a:pt x="2794" y="291"/>
                    <a:pt x="2798" y="310"/>
                    <a:pt x="2804" y="310"/>
                  </a:cubicBezTo>
                  <a:cubicBezTo>
                    <a:pt x="2811" y="310"/>
                    <a:pt x="2778" y="324"/>
                    <a:pt x="2775" y="326"/>
                  </a:cubicBezTo>
                  <a:cubicBezTo>
                    <a:pt x="2762" y="335"/>
                    <a:pt x="2798" y="334"/>
                    <a:pt x="2805" y="329"/>
                  </a:cubicBezTo>
                  <a:close/>
                  <a:moveTo>
                    <a:pt x="2764" y="450"/>
                  </a:moveTo>
                  <a:cubicBezTo>
                    <a:pt x="2761" y="454"/>
                    <a:pt x="2753" y="459"/>
                    <a:pt x="2749" y="460"/>
                  </a:cubicBezTo>
                  <a:cubicBezTo>
                    <a:pt x="2744" y="461"/>
                    <a:pt x="2738" y="464"/>
                    <a:pt x="2731" y="469"/>
                  </a:cubicBezTo>
                  <a:cubicBezTo>
                    <a:pt x="2725" y="475"/>
                    <a:pt x="2722" y="479"/>
                    <a:pt x="2720" y="486"/>
                  </a:cubicBezTo>
                  <a:cubicBezTo>
                    <a:pt x="2718" y="493"/>
                    <a:pt x="2713" y="502"/>
                    <a:pt x="2709" y="502"/>
                  </a:cubicBezTo>
                  <a:cubicBezTo>
                    <a:pt x="2704" y="502"/>
                    <a:pt x="2700" y="503"/>
                    <a:pt x="2696" y="507"/>
                  </a:cubicBezTo>
                  <a:cubicBezTo>
                    <a:pt x="2693" y="510"/>
                    <a:pt x="2687" y="515"/>
                    <a:pt x="2684" y="523"/>
                  </a:cubicBezTo>
                  <a:cubicBezTo>
                    <a:pt x="2680" y="531"/>
                    <a:pt x="2678" y="537"/>
                    <a:pt x="2684" y="545"/>
                  </a:cubicBezTo>
                  <a:cubicBezTo>
                    <a:pt x="2689" y="553"/>
                    <a:pt x="2698" y="557"/>
                    <a:pt x="2704" y="555"/>
                  </a:cubicBezTo>
                  <a:cubicBezTo>
                    <a:pt x="2710" y="552"/>
                    <a:pt x="2726" y="544"/>
                    <a:pt x="2733" y="547"/>
                  </a:cubicBezTo>
                  <a:cubicBezTo>
                    <a:pt x="2739" y="549"/>
                    <a:pt x="2744" y="534"/>
                    <a:pt x="2746" y="540"/>
                  </a:cubicBezTo>
                  <a:cubicBezTo>
                    <a:pt x="2749" y="545"/>
                    <a:pt x="2752" y="545"/>
                    <a:pt x="2755" y="547"/>
                  </a:cubicBezTo>
                  <a:cubicBezTo>
                    <a:pt x="2759" y="548"/>
                    <a:pt x="2763" y="550"/>
                    <a:pt x="2768" y="549"/>
                  </a:cubicBezTo>
                  <a:cubicBezTo>
                    <a:pt x="2772" y="548"/>
                    <a:pt x="2780" y="543"/>
                    <a:pt x="2785" y="544"/>
                  </a:cubicBezTo>
                  <a:cubicBezTo>
                    <a:pt x="2789" y="545"/>
                    <a:pt x="2807" y="544"/>
                    <a:pt x="2811" y="544"/>
                  </a:cubicBezTo>
                  <a:cubicBezTo>
                    <a:pt x="2875" y="544"/>
                    <a:pt x="2875" y="544"/>
                    <a:pt x="2875" y="544"/>
                  </a:cubicBezTo>
                  <a:cubicBezTo>
                    <a:pt x="2882" y="544"/>
                    <a:pt x="2891" y="559"/>
                    <a:pt x="2895" y="547"/>
                  </a:cubicBezTo>
                  <a:cubicBezTo>
                    <a:pt x="2900" y="534"/>
                    <a:pt x="2903" y="528"/>
                    <a:pt x="2908" y="530"/>
                  </a:cubicBezTo>
                  <a:cubicBezTo>
                    <a:pt x="2912" y="531"/>
                    <a:pt x="2916" y="533"/>
                    <a:pt x="2924" y="542"/>
                  </a:cubicBezTo>
                  <a:cubicBezTo>
                    <a:pt x="2932" y="551"/>
                    <a:pt x="2935" y="556"/>
                    <a:pt x="2944" y="553"/>
                  </a:cubicBezTo>
                  <a:cubicBezTo>
                    <a:pt x="2953" y="551"/>
                    <a:pt x="2962" y="543"/>
                    <a:pt x="2976" y="549"/>
                  </a:cubicBezTo>
                  <a:cubicBezTo>
                    <a:pt x="2990" y="555"/>
                    <a:pt x="2991" y="551"/>
                    <a:pt x="3001" y="550"/>
                  </a:cubicBezTo>
                  <a:cubicBezTo>
                    <a:pt x="3011" y="549"/>
                    <a:pt x="3010" y="541"/>
                    <a:pt x="3015" y="534"/>
                  </a:cubicBezTo>
                  <a:cubicBezTo>
                    <a:pt x="3019" y="527"/>
                    <a:pt x="3016" y="523"/>
                    <a:pt x="3027" y="523"/>
                  </a:cubicBezTo>
                  <a:cubicBezTo>
                    <a:pt x="3039" y="523"/>
                    <a:pt x="3034" y="523"/>
                    <a:pt x="3046" y="518"/>
                  </a:cubicBezTo>
                  <a:cubicBezTo>
                    <a:pt x="3059" y="514"/>
                    <a:pt x="3062" y="502"/>
                    <a:pt x="3066" y="499"/>
                  </a:cubicBezTo>
                  <a:cubicBezTo>
                    <a:pt x="3069" y="495"/>
                    <a:pt x="3073" y="500"/>
                    <a:pt x="3076" y="491"/>
                  </a:cubicBezTo>
                  <a:cubicBezTo>
                    <a:pt x="3079" y="482"/>
                    <a:pt x="3083" y="475"/>
                    <a:pt x="3076" y="470"/>
                  </a:cubicBezTo>
                  <a:cubicBezTo>
                    <a:pt x="3069" y="466"/>
                    <a:pt x="3058" y="460"/>
                    <a:pt x="3053" y="458"/>
                  </a:cubicBezTo>
                  <a:cubicBezTo>
                    <a:pt x="3049" y="456"/>
                    <a:pt x="3050" y="453"/>
                    <a:pt x="3035" y="456"/>
                  </a:cubicBezTo>
                  <a:cubicBezTo>
                    <a:pt x="3020" y="458"/>
                    <a:pt x="3003" y="458"/>
                    <a:pt x="2987" y="460"/>
                  </a:cubicBezTo>
                  <a:cubicBezTo>
                    <a:pt x="2971" y="462"/>
                    <a:pt x="2953" y="464"/>
                    <a:pt x="2943" y="464"/>
                  </a:cubicBezTo>
                  <a:cubicBezTo>
                    <a:pt x="2933" y="464"/>
                    <a:pt x="2926" y="464"/>
                    <a:pt x="2920" y="466"/>
                  </a:cubicBezTo>
                  <a:cubicBezTo>
                    <a:pt x="2915" y="468"/>
                    <a:pt x="2905" y="476"/>
                    <a:pt x="2902" y="477"/>
                  </a:cubicBezTo>
                  <a:cubicBezTo>
                    <a:pt x="2899" y="478"/>
                    <a:pt x="2890" y="484"/>
                    <a:pt x="2888" y="481"/>
                  </a:cubicBezTo>
                  <a:cubicBezTo>
                    <a:pt x="2883" y="469"/>
                    <a:pt x="2880" y="462"/>
                    <a:pt x="2874" y="462"/>
                  </a:cubicBezTo>
                  <a:cubicBezTo>
                    <a:pt x="2867" y="462"/>
                    <a:pt x="2857" y="472"/>
                    <a:pt x="2847" y="472"/>
                  </a:cubicBezTo>
                  <a:cubicBezTo>
                    <a:pt x="2838" y="472"/>
                    <a:pt x="2834" y="470"/>
                    <a:pt x="2830" y="468"/>
                  </a:cubicBezTo>
                  <a:cubicBezTo>
                    <a:pt x="2827" y="466"/>
                    <a:pt x="2827" y="449"/>
                    <a:pt x="2827" y="449"/>
                  </a:cubicBezTo>
                  <a:cubicBezTo>
                    <a:pt x="2827" y="449"/>
                    <a:pt x="2824" y="436"/>
                    <a:pt x="2828" y="435"/>
                  </a:cubicBezTo>
                  <a:cubicBezTo>
                    <a:pt x="2833" y="434"/>
                    <a:pt x="2850" y="437"/>
                    <a:pt x="2857" y="437"/>
                  </a:cubicBezTo>
                  <a:cubicBezTo>
                    <a:pt x="2863" y="437"/>
                    <a:pt x="2875" y="435"/>
                    <a:pt x="2880" y="432"/>
                  </a:cubicBezTo>
                  <a:cubicBezTo>
                    <a:pt x="2886" y="428"/>
                    <a:pt x="2878" y="419"/>
                    <a:pt x="2870" y="418"/>
                  </a:cubicBezTo>
                  <a:cubicBezTo>
                    <a:pt x="2862" y="417"/>
                    <a:pt x="2865" y="416"/>
                    <a:pt x="2867" y="410"/>
                  </a:cubicBezTo>
                  <a:cubicBezTo>
                    <a:pt x="2869" y="404"/>
                    <a:pt x="2879" y="392"/>
                    <a:pt x="2871" y="390"/>
                  </a:cubicBezTo>
                  <a:cubicBezTo>
                    <a:pt x="2863" y="387"/>
                    <a:pt x="2847" y="390"/>
                    <a:pt x="2841" y="391"/>
                  </a:cubicBezTo>
                  <a:cubicBezTo>
                    <a:pt x="2834" y="392"/>
                    <a:pt x="2832" y="385"/>
                    <a:pt x="2828" y="381"/>
                  </a:cubicBezTo>
                  <a:cubicBezTo>
                    <a:pt x="2825" y="376"/>
                    <a:pt x="2818" y="366"/>
                    <a:pt x="2810" y="365"/>
                  </a:cubicBezTo>
                  <a:cubicBezTo>
                    <a:pt x="2802" y="363"/>
                    <a:pt x="2788" y="366"/>
                    <a:pt x="2785" y="371"/>
                  </a:cubicBezTo>
                  <a:cubicBezTo>
                    <a:pt x="2781" y="377"/>
                    <a:pt x="2776" y="383"/>
                    <a:pt x="2771" y="383"/>
                  </a:cubicBezTo>
                  <a:cubicBezTo>
                    <a:pt x="2767" y="383"/>
                    <a:pt x="2768" y="386"/>
                    <a:pt x="2756" y="382"/>
                  </a:cubicBezTo>
                  <a:cubicBezTo>
                    <a:pt x="2745" y="377"/>
                    <a:pt x="2744" y="400"/>
                    <a:pt x="2744" y="400"/>
                  </a:cubicBezTo>
                  <a:cubicBezTo>
                    <a:pt x="2739" y="404"/>
                    <a:pt x="2736" y="415"/>
                    <a:pt x="2739" y="419"/>
                  </a:cubicBezTo>
                  <a:cubicBezTo>
                    <a:pt x="2743" y="424"/>
                    <a:pt x="2750" y="427"/>
                    <a:pt x="2753" y="427"/>
                  </a:cubicBezTo>
                  <a:cubicBezTo>
                    <a:pt x="2756" y="427"/>
                    <a:pt x="2774" y="424"/>
                    <a:pt x="2774" y="424"/>
                  </a:cubicBezTo>
                  <a:cubicBezTo>
                    <a:pt x="2774" y="424"/>
                    <a:pt x="2775" y="434"/>
                    <a:pt x="2772" y="437"/>
                  </a:cubicBezTo>
                  <a:cubicBezTo>
                    <a:pt x="2770" y="441"/>
                    <a:pt x="2768" y="445"/>
                    <a:pt x="2764" y="450"/>
                  </a:cubicBezTo>
                  <a:close/>
                  <a:moveTo>
                    <a:pt x="2581" y="367"/>
                  </a:moveTo>
                  <a:cubicBezTo>
                    <a:pt x="2590" y="367"/>
                    <a:pt x="2611" y="357"/>
                    <a:pt x="2620" y="349"/>
                  </a:cubicBezTo>
                  <a:cubicBezTo>
                    <a:pt x="2629" y="341"/>
                    <a:pt x="2632" y="340"/>
                    <a:pt x="2640" y="341"/>
                  </a:cubicBezTo>
                  <a:cubicBezTo>
                    <a:pt x="2648" y="342"/>
                    <a:pt x="2656" y="325"/>
                    <a:pt x="2664" y="320"/>
                  </a:cubicBezTo>
                  <a:cubicBezTo>
                    <a:pt x="2672" y="316"/>
                    <a:pt x="2658" y="317"/>
                    <a:pt x="2672" y="316"/>
                  </a:cubicBezTo>
                  <a:cubicBezTo>
                    <a:pt x="2687" y="315"/>
                    <a:pt x="2696" y="291"/>
                    <a:pt x="2686" y="296"/>
                  </a:cubicBezTo>
                  <a:cubicBezTo>
                    <a:pt x="2676" y="302"/>
                    <a:pt x="2659" y="311"/>
                    <a:pt x="2658" y="305"/>
                  </a:cubicBezTo>
                  <a:cubicBezTo>
                    <a:pt x="2657" y="302"/>
                    <a:pt x="2660" y="300"/>
                    <a:pt x="2660" y="296"/>
                  </a:cubicBezTo>
                  <a:cubicBezTo>
                    <a:pt x="2638" y="306"/>
                    <a:pt x="2616" y="315"/>
                    <a:pt x="2595" y="325"/>
                  </a:cubicBezTo>
                  <a:cubicBezTo>
                    <a:pt x="2592" y="332"/>
                    <a:pt x="2589" y="339"/>
                    <a:pt x="2585" y="344"/>
                  </a:cubicBezTo>
                  <a:cubicBezTo>
                    <a:pt x="2574" y="358"/>
                    <a:pt x="2572" y="367"/>
                    <a:pt x="2581" y="367"/>
                  </a:cubicBezTo>
                  <a:close/>
                  <a:moveTo>
                    <a:pt x="4039" y="8995"/>
                  </a:moveTo>
                  <a:cubicBezTo>
                    <a:pt x="4033" y="8995"/>
                    <a:pt x="4026" y="8998"/>
                    <a:pt x="4020" y="8997"/>
                  </a:cubicBezTo>
                  <a:cubicBezTo>
                    <a:pt x="4013" y="8995"/>
                    <a:pt x="4006" y="8993"/>
                    <a:pt x="4002" y="8990"/>
                  </a:cubicBezTo>
                  <a:cubicBezTo>
                    <a:pt x="3999" y="8987"/>
                    <a:pt x="3997" y="8985"/>
                    <a:pt x="3992" y="8987"/>
                  </a:cubicBezTo>
                  <a:cubicBezTo>
                    <a:pt x="3987" y="8990"/>
                    <a:pt x="3980" y="8992"/>
                    <a:pt x="3980" y="8992"/>
                  </a:cubicBezTo>
                  <a:cubicBezTo>
                    <a:pt x="3980" y="8992"/>
                    <a:pt x="3969" y="9013"/>
                    <a:pt x="3975" y="9014"/>
                  </a:cubicBezTo>
                  <a:cubicBezTo>
                    <a:pt x="3982" y="9016"/>
                    <a:pt x="3992" y="9010"/>
                    <a:pt x="3995" y="9013"/>
                  </a:cubicBezTo>
                  <a:cubicBezTo>
                    <a:pt x="3997" y="9017"/>
                    <a:pt x="3997" y="9020"/>
                    <a:pt x="4000" y="9022"/>
                  </a:cubicBezTo>
                  <a:cubicBezTo>
                    <a:pt x="4003" y="9024"/>
                    <a:pt x="4005" y="9021"/>
                    <a:pt x="4012" y="9022"/>
                  </a:cubicBezTo>
                  <a:cubicBezTo>
                    <a:pt x="4018" y="9023"/>
                    <a:pt x="4028" y="9017"/>
                    <a:pt x="4028" y="9017"/>
                  </a:cubicBezTo>
                  <a:cubicBezTo>
                    <a:pt x="4028" y="9017"/>
                    <a:pt x="4031" y="9014"/>
                    <a:pt x="4036" y="9013"/>
                  </a:cubicBezTo>
                  <a:cubicBezTo>
                    <a:pt x="4042" y="9011"/>
                    <a:pt x="4047" y="9003"/>
                    <a:pt x="4049" y="8999"/>
                  </a:cubicBezTo>
                  <a:cubicBezTo>
                    <a:pt x="4050" y="8995"/>
                    <a:pt x="4046" y="8994"/>
                    <a:pt x="4039" y="8995"/>
                  </a:cubicBezTo>
                  <a:close/>
                  <a:moveTo>
                    <a:pt x="2093" y="959"/>
                  </a:moveTo>
                  <a:cubicBezTo>
                    <a:pt x="2099" y="956"/>
                    <a:pt x="2104" y="958"/>
                    <a:pt x="2107" y="950"/>
                  </a:cubicBezTo>
                  <a:cubicBezTo>
                    <a:pt x="2110" y="942"/>
                    <a:pt x="2106" y="931"/>
                    <a:pt x="2107" y="925"/>
                  </a:cubicBezTo>
                  <a:cubicBezTo>
                    <a:pt x="2108" y="920"/>
                    <a:pt x="2097" y="920"/>
                    <a:pt x="2101" y="913"/>
                  </a:cubicBezTo>
                  <a:cubicBezTo>
                    <a:pt x="2106" y="906"/>
                    <a:pt x="2103" y="890"/>
                    <a:pt x="2103" y="890"/>
                  </a:cubicBezTo>
                  <a:cubicBezTo>
                    <a:pt x="2103" y="890"/>
                    <a:pt x="2090" y="887"/>
                    <a:pt x="2085" y="889"/>
                  </a:cubicBezTo>
                  <a:cubicBezTo>
                    <a:pt x="2081" y="891"/>
                    <a:pt x="2070" y="897"/>
                    <a:pt x="2066" y="903"/>
                  </a:cubicBezTo>
                  <a:cubicBezTo>
                    <a:pt x="2063" y="908"/>
                    <a:pt x="2060" y="912"/>
                    <a:pt x="2057" y="916"/>
                  </a:cubicBezTo>
                  <a:cubicBezTo>
                    <a:pt x="2054" y="921"/>
                    <a:pt x="2045" y="926"/>
                    <a:pt x="2042" y="930"/>
                  </a:cubicBezTo>
                  <a:cubicBezTo>
                    <a:pt x="2040" y="933"/>
                    <a:pt x="2034" y="933"/>
                    <a:pt x="2031" y="941"/>
                  </a:cubicBezTo>
                  <a:cubicBezTo>
                    <a:pt x="2027" y="949"/>
                    <a:pt x="2029" y="954"/>
                    <a:pt x="2022" y="955"/>
                  </a:cubicBezTo>
                  <a:cubicBezTo>
                    <a:pt x="2015" y="956"/>
                    <a:pt x="2014" y="953"/>
                    <a:pt x="2001" y="954"/>
                  </a:cubicBezTo>
                  <a:cubicBezTo>
                    <a:pt x="1991" y="955"/>
                    <a:pt x="1980" y="962"/>
                    <a:pt x="1985" y="969"/>
                  </a:cubicBezTo>
                  <a:cubicBezTo>
                    <a:pt x="1991" y="975"/>
                    <a:pt x="1996" y="974"/>
                    <a:pt x="2002" y="978"/>
                  </a:cubicBezTo>
                  <a:cubicBezTo>
                    <a:pt x="2009" y="981"/>
                    <a:pt x="2013" y="981"/>
                    <a:pt x="2014" y="987"/>
                  </a:cubicBezTo>
                  <a:cubicBezTo>
                    <a:pt x="2015" y="992"/>
                    <a:pt x="2017" y="992"/>
                    <a:pt x="2022" y="997"/>
                  </a:cubicBezTo>
                  <a:cubicBezTo>
                    <a:pt x="2026" y="1002"/>
                    <a:pt x="2038" y="1003"/>
                    <a:pt x="2042" y="1000"/>
                  </a:cubicBezTo>
                  <a:cubicBezTo>
                    <a:pt x="2047" y="998"/>
                    <a:pt x="2054" y="986"/>
                    <a:pt x="2057" y="984"/>
                  </a:cubicBezTo>
                  <a:cubicBezTo>
                    <a:pt x="2060" y="983"/>
                    <a:pt x="2071" y="990"/>
                    <a:pt x="2077" y="986"/>
                  </a:cubicBezTo>
                  <a:cubicBezTo>
                    <a:pt x="2084" y="981"/>
                    <a:pt x="2090" y="978"/>
                    <a:pt x="2093" y="973"/>
                  </a:cubicBezTo>
                  <a:cubicBezTo>
                    <a:pt x="2097" y="969"/>
                    <a:pt x="2088" y="963"/>
                    <a:pt x="2093" y="959"/>
                  </a:cubicBezTo>
                  <a:close/>
                  <a:moveTo>
                    <a:pt x="2234" y="561"/>
                  </a:moveTo>
                  <a:cubicBezTo>
                    <a:pt x="2241" y="561"/>
                    <a:pt x="2252" y="553"/>
                    <a:pt x="2257" y="551"/>
                  </a:cubicBezTo>
                  <a:cubicBezTo>
                    <a:pt x="2263" y="549"/>
                    <a:pt x="2266" y="542"/>
                    <a:pt x="2274" y="545"/>
                  </a:cubicBezTo>
                  <a:cubicBezTo>
                    <a:pt x="2282" y="549"/>
                    <a:pt x="2294" y="550"/>
                    <a:pt x="2299" y="543"/>
                  </a:cubicBezTo>
                  <a:cubicBezTo>
                    <a:pt x="2305" y="536"/>
                    <a:pt x="2305" y="526"/>
                    <a:pt x="2313" y="523"/>
                  </a:cubicBezTo>
                  <a:cubicBezTo>
                    <a:pt x="2321" y="519"/>
                    <a:pt x="2325" y="519"/>
                    <a:pt x="2333" y="519"/>
                  </a:cubicBezTo>
                  <a:cubicBezTo>
                    <a:pt x="2341" y="519"/>
                    <a:pt x="2350" y="522"/>
                    <a:pt x="2357" y="523"/>
                  </a:cubicBezTo>
                  <a:cubicBezTo>
                    <a:pt x="2364" y="524"/>
                    <a:pt x="2393" y="522"/>
                    <a:pt x="2393" y="522"/>
                  </a:cubicBezTo>
                  <a:cubicBezTo>
                    <a:pt x="2393" y="522"/>
                    <a:pt x="2400" y="509"/>
                    <a:pt x="2407" y="506"/>
                  </a:cubicBezTo>
                  <a:cubicBezTo>
                    <a:pt x="2414" y="502"/>
                    <a:pt x="2422" y="499"/>
                    <a:pt x="2428" y="500"/>
                  </a:cubicBezTo>
                  <a:cubicBezTo>
                    <a:pt x="2433" y="501"/>
                    <a:pt x="2422" y="510"/>
                    <a:pt x="2431" y="511"/>
                  </a:cubicBezTo>
                  <a:cubicBezTo>
                    <a:pt x="2440" y="512"/>
                    <a:pt x="2456" y="506"/>
                    <a:pt x="2462" y="502"/>
                  </a:cubicBezTo>
                  <a:cubicBezTo>
                    <a:pt x="2468" y="499"/>
                    <a:pt x="2469" y="483"/>
                    <a:pt x="2469" y="478"/>
                  </a:cubicBezTo>
                  <a:cubicBezTo>
                    <a:pt x="2469" y="474"/>
                    <a:pt x="2474" y="474"/>
                    <a:pt x="2482" y="469"/>
                  </a:cubicBezTo>
                  <a:cubicBezTo>
                    <a:pt x="2490" y="465"/>
                    <a:pt x="2503" y="458"/>
                    <a:pt x="2507" y="452"/>
                  </a:cubicBezTo>
                  <a:cubicBezTo>
                    <a:pt x="2512" y="447"/>
                    <a:pt x="2521" y="433"/>
                    <a:pt x="2513" y="432"/>
                  </a:cubicBezTo>
                  <a:cubicBezTo>
                    <a:pt x="2505" y="431"/>
                    <a:pt x="2498" y="441"/>
                    <a:pt x="2505" y="431"/>
                  </a:cubicBezTo>
                  <a:cubicBezTo>
                    <a:pt x="2512" y="420"/>
                    <a:pt x="2522" y="420"/>
                    <a:pt x="2529" y="408"/>
                  </a:cubicBezTo>
                  <a:cubicBezTo>
                    <a:pt x="2536" y="395"/>
                    <a:pt x="2537" y="392"/>
                    <a:pt x="2535" y="388"/>
                  </a:cubicBezTo>
                  <a:cubicBezTo>
                    <a:pt x="2532" y="385"/>
                    <a:pt x="2530" y="384"/>
                    <a:pt x="2523" y="390"/>
                  </a:cubicBezTo>
                  <a:cubicBezTo>
                    <a:pt x="2516" y="395"/>
                    <a:pt x="2518" y="402"/>
                    <a:pt x="2506" y="406"/>
                  </a:cubicBezTo>
                  <a:cubicBezTo>
                    <a:pt x="2495" y="409"/>
                    <a:pt x="2501" y="410"/>
                    <a:pt x="2486" y="412"/>
                  </a:cubicBezTo>
                  <a:cubicBezTo>
                    <a:pt x="2471" y="415"/>
                    <a:pt x="2469" y="417"/>
                    <a:pt x="2465" y="424"/>
                  </a:cubicBezTo>
                  <a:cubicBezTo>
                    <a:pt x="2462" y="431"/>
                    <a:pt x="2465" y="429"/>
                    <a:pt x="2455" y="437"/>
                  </a:cubicBezTo>
                  <a:cubicBezTo>
                    <a:pt x="2445" y="445"/>
                    <a:pt x="2444" y="447"/>
                    <a:pt x="2437" y="452"/>
                  </a:cubicBezTo>
                  <a:cubicBezTo>
                    <a:pt x="2430" y="458"/>
                    <a:pt x="2431" y="464"/>
                    <a:pt x="2423" y="466"/>
                  </a:cubicBezTo>
                  <a:cubicBezTo>
                    <a:pt x="2415" y="468"/>
                    <a:pt x="2410" y="470"/>
                    <a:pt x="2403" y="467"/>
                  </a:cubicBezTo>
                  <a:cubicBezTo>
                    <a:pt x="2396" y="464"/>
                    <a:pt x="2389" y="464"/>
                    <a:pt x="2396" y="459"/>
                  </a:cubicBezTo>
                  <a:cubicBezTo>
                    <a:pt x="2403" y="454"/>
                    <a:pt x="2421" y="450"/>
                    <a:pt x="2422" y="447"/>
                  </a:cubicBezTo>
                  <a:cubicBezTo>
                    <a:pt x="2423" y="443"/>
                    <a:pt x="2435" y="432"/>
                    <a:pt x="2430" y="428"/>
                  </a:cubicBezTo>
                  <a:cubicBezTo>
                    <a:pt x="2426" y="425"/>
                    <a:pt x="2424" y="418"/>
                    <a:pt x="2414" y="420"/>
                  </a:cubicBezTo>
                  <a:cubicBezTo>
                    <a:pt x="2404" y="423"/>
                    <a:pt x="2393" y="433"/>
                    <a:pt x="2390" y="426"/>
                  </a:cubicBezTo>
                  <a:cubicBezTo>
                    <a:pt x="2390" y="426"/>
                    <a:pt x="2390" y="425"/>
                    <a:pt x="2390" y="425"/>
                  </a:cubicBezTo>
                  <a:cubicBezTo>
                    <a:pt x="2339" y="451"/>
                    <a:pt x="2288" y="479"/>
                    <a:pt x="2238" y="507"/>
                  </a:cubicBezTo>
                  <a:cubicBezTo>
                    <a:pt x="2246" y="513"/>
                    <a:pt x="2246" y="517"/>
                    <a:pt x="2252" y="518"/>
                  </a:cubicBezTo>
                  <a:cubicBezTo>
                    <a:pt x="2258" y="519"/>
                    <a:pt x="2264" y="517"/>
                    <a:pt x="2270" y="517"/>
                  </a:cubicBezTo>
                  <a:cubicBezTo>
                    <a:pt x="2275" y="517"/>
                    <a:pt x="2287" y="518"/>
                    <a:pt x="2275" y="525"/>
                  </a:cubicBezTo>
                  <a:cubicBezTo>
                    <a:pt x="2264" y="532"/>
                    <a:pt x="2262" y="536"/>
                    <a:pt x="2253" y="539"/>
                  </a:cubicBezTo>
                  <a:cubicBezTo>
                    <a:pt x="2244" y="541"/>
                    <a:pt x="2236" y="542"/>
                    <a:pt x="2232" y="548"/>
                  </a:cubicBezTo>
                  <a:cubicBezTo>
                    <a:pt x="2229" y="553"/>
                    <a:pt x="2228" y="561"/>
                    <a:pt x="2234" y="561"/>
                  </a:cubicBezTo>
                  <a:close/>
                  <a:moveTo>
                    <a:pt x="2903" y="294"/>
                  </a:moveTo>
                  <a:cubicBezTo>
                    <a:pt x="2894" y="294"/>
                    <a:pt x="2886" y="299"/>
                    <a:pt x="2886" y="299"/>
                  </a:cubicBezTo>
                  <a:cubicBezTo>
                    <a:pt x="2886" y="299"/>
                    <a:pt x="2878" y="302"/>
                    <a:pt x="2880" y="308"/>
                  </a:cubicBezTo>
                  <a:cubicBezTo>
                    <a:pt x="2883" y="313"/>
                    <a:pt x="2878" y="320"/>
                    <a:pt x="2874" y="323"/>
                  </a:cubicBezTo>
                  <a:cubicBezTo>
                    <a:pt x="2869" y="325"/>
                    <a:pt x="2866" y="336"/>
                    <a:pt x="2855" y="337"/>
                  </a:cubicBezTo>
                  <a:cubicBezTo>
                    <a:pt x="2849" y="338"/>
                    <a:pt x="2868" y="356"/>
                    <a:pt x="2875" y="354"/>
                  </a:cubicBezTo>
                  <a:cubicBezTo>
                    <a:pt x="2882" y="353"/>
                    <a:pt x="2892" y="350"/>
                    <a:pt x="2901" y="346"/>
                  </a:cubicBezTo>
                  <a:cubicBezTo>
                    <a:pt x="2910" y="343"/>
                    <a:pt x="2925" y="354"/>
                    <a:pt x="2930" y="350"/>
                  </a:cubicBezTo>
                  <a:cubicBezTo>
                    <a:pt x="2936" y="345"/>
                    <a:pt x="2932" y="335"/>
                    <a:pt x="2929" y="328"/>
                  </a:cubicBezTo>
                  <a:cubicBezTo>
                    <a:pt x="2927" y="321"/>
                    <a:pt x="2943" y="317"/>
                    <a:pt x="2946" y="316"/>
                  </a:cubicBezTo>
                  <a:cubicBezTo>
                    <a:pt x="2950" y="315"/>
                    <a:pt x="2925" y="310"/>
                    <a:pt x="2942" y="304"/>
                  </a:cubicBezTo>
                  <a:cubicBezTo>
                    <a:pt x="2959" y="299"/>
                    <a:pt x="2971" y="299"/>
                    <a:pt x="2976" y="290"/>
                  </a:cubicBezTo>
                  <a:cubicBezTo>
                    <a:pt x="2981" y="280"/>
                    <a:pt x="2976" y="262"/>
                    <a:pt x="2969" y="262"/>
                  </a:cubicBezTo>
                  <a:cubicBezTo>
                    <a:pt x="2962" y="262"/>
                    <a:pt x="2960" y="263"/>
                    <a:pt x="2953" y="265"/>
                  </a:cubicBezTo>
                  <a:cubicBezTo>
                    <a:pt x="2946" y="266"/>
                    <a:pt x="2940" y="274"/>
                    <a:pt x="2932" y="279"/>
                  </a:cubicBezTo>
                  <a:cubicBezTo>
                    <a:pt x="2924" y="285"/>
                    <a:pt x="2912" y="294"/>
                    <a:pt x="2903" y="294"/>
                  </a:cubicBezTo>
                  <a:close/>
                  <a:moveTo>
                    <a:pt x="1655" y="997"/>
                  </a:moveTo>
                  <a:cubicBezTo>
                    <a:pt x="1667" y="1000"/>
                    <a:pt x="1670" y="1001"/>
                    <a:pt x="1676" y="999"/>
                  </a:cubicBezTo>
                  <a:cubicBezTo>
                    <a:pt x="1683" y="996"/>
                    <a:pt x="1691" y="992"/>
                    <a:pt x="1696" y="988"/>
                  </a:cubicBezTo>
                  <a:cubicBezTo>
                    <a:pt x="1696" y="988"/>
                    <a:pt x="1711" y="985"/>
                    <a:pt x="1716" y="986"/>
                  </a:cubicBezTo>
                  <a:cubicBezTo>
                    <a:pt x="1722" y="987"/>
                    <a:pt x="1727" y="988"/>
                    <a:pt x="1731" y="986"/>
                  </a:cubicBezTo>
                  <a:cubicBezTo>
                    <a:pt x="1734" y="984"/>
                    <a:pt x="1746" y="983"/>
                    <a:pt x="1748" y="981"/>
                  </a:cubicBezTo>
                  <a:cubicBezTo>
                    <a:pt x="1751" y="979"/>
                    <a:pt x="1758" y="976"/>
                    <a:pt x="1761" y="977"/>
                  </a:cubicBezTo>
                  <a:cubicBezTo>
                    <a:pt x="1765" y="978"/>
                    <a:pt x="1772" y="978"/>
                    <a:pt x="1775" y="974"/>
                  </a:cubicBezTo>
                  <a:cubicBezTo>
                    <a:pt x="1778" y="970"/>
                    <a:pt x="1782" y="968"/>
                    <a:pt x="1782" y="968"/>
                  </a:cubicBezTo>
                  <a:cubicBezTo>
                    <a:pt x="1782" y="968"/>
                    <a:pt x="1788" y="970"/>
                    <a:pt x="1790" y="969"/>
                  </a:cubicBezTo>
                  <a:cubicBezTo>
                    <a:pt x="1793" y="967"/>
                    <a:pt x="1800" y="966"/>
                    <a:pt x="1803" y="962"/>
                  </a:cubicBezTo>
                  <a:cubicBezTo>
                    <a:pt x="1807" y="959"/>
                    <a:pt x="1814" y="955"/>
                    <a:pt x="1815" y="953"/>
                  </a:cubicBezTo>
                  <a:cubicBezTo>
                    <a:pt x="1817" y="951"/>
                    <a:pt x="1822" y="950"/>
                    <a:pt x="1823" y="950"/>
                  </a:cubicBezTo>
                  <a:cubicBezTo>
                    <a:pt x="1825" y="950"/>
                    <a:pt x="1831" y="949"/>
                    <a:pt x="1834" y="947"/>
                  </a:cubicBezTo>
                  <a:cubicBezTo>
                    <a:pt x="1837" y="945"/>
                    <a:pt x="1839" y="936"/>
                    <a:pt x="1842" y="934"/>
                  </a:cubicBezTo>
                  <a:cubicBezTo>
                    <a:pt x="1844" y="932"/>
                    <a:pt x="1849" y="934"/>
                    <a:pt x="1848" y="937"/>
                  </a:cubicBezTo>
                  <a:cubicBezTo>
                    <a:pt x="1846" y="939"/>
                    <a:pt x="1847" y="946"/>
                    <a:pt x="1844" y="950"/>
                  </a:cubicBezTo>
                  <a:cubicBezTo>
                    <a:pt x="1841" y="954"/>
                    <a:pt x="1839" y="962"/>
                    <a:pt x="1844" y="965"/>
                  </a:cubicBezTo>
                  <a:cubicBezTo>
                    <a:pt x="1850" y="969"/>
                    <a:pt x="1853" y="971"/>
                    <a:pt x="1856" y="975"/>
                  </a:cubicBezTo>
                  <a:cubicBezTo>
                    <a:pt x="1859" y="978"/>
                    <a:pt x="1868" y="979"/>
                    <a:pt x="1867" y="984"/>
                  </a:cubicBezTo>
                  <a:cubicBezTo>
                    <a:pt x="1867" y="989"/>
                    <a:pt x="1865" y="994"/>
                    <a:pt x="1875" y="994"/>
                  </a:cubicBezTo>
                  <a:cubicBezTo>
                    <a:pt x="1885" y="994"/>
                    <a:pt x="1888" y="996"/>
                    <a:pt x="1892" y="992"/>
                  </a:cubicBezTo>
                  <a:cubicBezTo>
                    <a:pt x="1896" y="989"/>
                    <a:pt x="1901" y="987"/>
                    <a:pt x="1901" y="982"/>
                  </a:cubicBezTo>
                  <a:cubicBezTo>
                    <a:pt x="1902" y="978"/>
                    <a:pt x="1904" y="974"/>
                    <a:pt x="1908" y="973"/>
                  </a:cubicBezTo>
                  <a:cubicBezTo>
                    <a:pt x="1912" y="973"/>
                    <a:pt x="1915" y="974"/>
                    <a:pt x="1923" y="971"/>
                  </a:cubicBezTo>
                  <a:cubicBezTo>
                    <a:pt x="1931" y="969"/>
                    <a:pt x="1935" y="958"/>
                    <a:pt x="1939" y="957"/>
                  </a:cubicBezTo>
                  <a:cubicBezTo>
                    <a:pt x="1943" y="956"/>
                    <a:pt x="1948" y="956"/>
                    <a:pt x="1952" y="949"/>
                  </a:cubicBezTo>
                  <a:cubicBezTo>
                    <a:pt x="1956" y="942"/>
                    <a:pt x="1956" y="937"/>
                    <a:pt x="1956" y="934"/>
                  </a:cubicBezTo>
                  <a:cubicBezTo>
                    <a:pt x="1956" y="932"/>
                    <a:pt x="1954" y="927"/>
                    <a:pt x="1959" y="925"/>
                  </a:cubicBezTo>
                  <a:cubicBezTo>
                    <a:pt x="1965" y="924"/>
                    <a:pt x="1970" y="921"/>
                    <a:pt x="1969" y="916"/>
                  </a:cubicBezTo>
                  <a:cubicBezTo>
                    <a:pt x="1968" y="911"/>
                    <a:pt x="1965" y="904"/>
                    <a:pt x="1968" y="903"/>
                  </a:cubicBezTo>
                  <a:cubicBezTo>
                    <a:pt x="1972" y="901"/>
                    <a:pt x="1975" y="899"/>
                    <a:pt x="1978" y="899"/>
                  </a:cubicBezTo>
                  <a:cubicBezTo>
                    <a:pt x="1981" y="898"/>
                    <a:pt x="1984" y="901"/>
                    <a:pt x="1985" y="904"/>
                  </a:cubicBezTo>
                  <a:cubicBezTo>
                    <a:pt x="1987" y="907"/>
                    <a:pt x="1991" y="908"/>
                    <a:pt x="1994" y="908"/>
                  </a:cubicBezTo>
                  <a:cubicBezTo>
                    <a:pt x="1997" y="908"/>
                    <a:pt x="2002" y="908"/>
                    <a:pt x="2006" y="907"/>
                  </a:cubicBezTo>
                  <a:cubicBezTo>
                    <a:pt x="2009" y="906"/>
                    <a:pt x="2011" y="896"/>
                    <a:pt x="2017" y="898"/>
                  </a:cubicBezTo>
                  <a:cubicBezTo>
                    <a:pt x="2022" y="900"/>
                    <a:pt x="2027" y="897"/>
                    <a:pt x="2030" y="893"/>
                  </a:cubicBezTo>
                  <a:cubicBezTo>
                    <a:pt x="2032" y="889"/>
                    <a:pt x="2033" y="891"/>
                    <a:pt x="2036" y="885"/>
                  </a:cubicBezTo>
                  <a:cubicBezTo>
                    <a:pt x="2039" y="880"/>
                    <a:pt x="2041" y="877"/>
                    <a:pt x="2039" y="872"/>
                  </a:cubicBezTo>
                  <a:cubicBezTo>
                    <a:pt x="2037" y="868"/>
                    <a:pt x="2033" y="859"/>
                    <a:pt x="2034" y="855"/>
                  </a:cubicBezTo>
                  <a:cubicBezTo>
                    <a:pt x="2036" y="851"/>
                    <a:pt x="2042" y="851"/>
                    <a:pt x="2043" y="845"/>
                  </a:cubicBezTo>
                  <a:cubicBezTo>
                    <a:pt x="2044" y="839"/>
                    <a:pt x="2039" y="834"/>
                    <a:pt x="2037" y="830"/>
                  </a:cubicBezTo>
                  <a:cubicBezTo>
                    <a:pt x="2035" y="826"/>
                    <a:pt x="2033" y="822"/>
                    <a:pt x="2035" y="820"/>
                  </a:cubicBezTo>
                  <a:cubicBezTo>
                    <a:pt x="2038" y="818"/>
                    <a:pt x="2038" y="815"/>
                    <a:pt x="2040" y="810"/>
                  </a:cubicBezTo>
                  <a:cubicBezTo>
                    <a:pt x="2042" y="806"/>
                    <a:pt x="2041" y="800"/>
                    <a:pt x="2043" y="800"/>
                  </a:cubicBezTo>
                  <a:cubicBezTo>
                    <a:pt x="2045" y="799"/>
                    <a:pt x="2046" y="797"/>
                    <a:pt x="2050" y="795"/>
                  </a:cubicBezTo>
                  <a:cubicBezTo>
                    <a:pt x="2055" y="793"/>
                    <a:pt x="2062" y="785"/>
                    <a:pt x="2063" y="785"/>
                  </a:cubicBezTo>
                  <a:cubicBezTo>
                    <a:pt x="2065" y="785"/>
                    <a:pt x="2092" y="746"/>
                    <a:pt x="2099" y="747"/>
                  </a:cubicBezTo>
                  <a:cubicBezTo>
                    <a:pt x="2107" y="748"/>
                    <a:pt x="2117" y="736"/>
                    <a:pt x="2123" y="732"/>
                  </a:cubicBezTo>
                  <a:cubicBezTo>
                    <a:pt x="2129" y="727"/>
                    <a:pt x="2129" y="721"/>
                    <a:pt x="2135" y="717"/>
                  </a:cubicBezTo>
                  <a:cubicBezTo>
                    <a:pt x="2142" y="713"/>
                    <a:pt x="2145" y="717"/>
                    <a:pt x="2149" y="713"/>
                  </a:cubicBezTo>
                  <a:cubicBezTo>
                    <a:pt x="2154" y="710"/>
                    <a:pt x="2153" y="703"/>
                    <a:pt x="2161" y="696"/>
                  </a:cubicBezTo>
                  <a:cubicBezTo>
                    <a:pt x="2168" y="689"/>
                    <a:pt x="2171" y="681"/>
                    <a:pt x="2178" y="682"/>
                  </a:cubicBezTo>
                  <a:cubicBezTo>
                    <a:pt x="2185" y="682"/>
                    <a:pt x="2186" y="669"/>
                    <a:pt x="2193" y="670"/>
                  </a:cubicBezTo>
                  <a:cubicBezTo>
                    <a:pt x="2200" y="671"/>
                    <a:pt x="2211" y="662"/>
                    <a:pt x="2214" y="661"/>
                  </a:cubicBezTo>
                  <a:cubicBezTo>
                    <a:pt x="2216" y="660"/>
                    <a:pt x="2217" y="644"/>
                    <a:pt x="2220" y="647"/>
                  </a:cubicBezTo>
                  <a:cubicBezTo>
                    <a:pt x="2224" y="650"/>
                    <a:pt x="2217" y="640"/>
                    <a:pt x="2225" y="642"/>
                  </a:cubicBezTo>
                  <a:cubicBezTo>
                    <a:pt x="2233" y="644"/>
                    <a:pt x="2241" y="642"/>
                    <a:pt x="2250" y="638"/>
                  </a:cubicBezTo>
                  <a:cubicBezTo>
                    <a:pt x="2259" y="633"/>
                    <a:pt x="2260" y="630"/>
                    <a:pt x="2267" y="627"/>
                  </a:cubicBezTo>
                  <a:cubicBezTo>
                    <a:pt x="2275" y="624"/>
                    <a:pt x="2279" y="625"/>
                    <a:pt x="2283" y="616"/>
                  </a:cubicBezTo>
                  <a:cubicBezTo>
                    <a:pt x="2288" y="606"/>
                    <a:pt x="2288" y="603"/>
                    <a:pt x="2281" y="601"/>
                  </a:cubicBezTo>
                  <a:cubicBezTo>
                    <a:pt x="2274" y="600"/>
                    <a:pt x="2267" y="603"/>
                    <a:pt x="2261" y="606"/>
                  </a:cubicBezTo>
                  <a:cubicBezTo>
                    <a:pt x="2255" y="610"/>
                    <a:pt x="2261" y="621"/>
                    <a:pt x="2248" y="618"/>
                  </a:cubicBezTo>
                  <a:cubicBezTo>
                    <a:pt x="2235" y="615"/>
                    <a:pt x="2230" y="612"/>
                    <a:pt x="2226" y="615"/>
                  </a:cubicBezTo>
                  <a:cubicBezTo>
                    <a:pt x="2222" y="618"/>
                    <a:pt x="2220" y="625"/>
                    <a:pt x="2216" y="628"/>
                  </a:cubicBezTo>
                  <a:cubicBezTo>
                    <a:pt x="2212" y="631"/>
                    <a:pt x="2208" y="636"/>
                    <a:pt x="2206" y="637"/>
                  </a:cubicBezTo>
                  <a:cubicBezTo>
                    <a:pt x="2204" y="638"/>
                    <a:pt x="2204" y="635"/>
                    <a:pt x="2195" y="634"/>
                  </a:cubicBezTo>
                  <a:cubicBezTo>
                    <a:pt x="2186" y="632"/>
                    <a:pt x="2186" y="631"/>
                    <a:pt x="2178" y="635"/>
                  </a:cubicBezTo>
                  <a:cubicBezTo>
                    <a:pt x="2170" y="638"/>
                    <a:pt x="2168" y="641"/>
                    <a:pt x="2162" y="644"/>
                  </a:cubicBezTo>
                  <a:cubicBezTo>
                    <a:pt x="2156" y="648"/>
                    <a:pt x="2151" y="650"/>
                    <a:pt x="2149" y="654"/>
                  </a:cubicBezTo>
                  <a:cubicBezTo>
                    <a:pt x="2148" y="659"/>
                    <a:pt x="2145" y="663"/>
                    <a:pt x="2142" y="665"/>
                  </a:cubicBezTo>
                  <a:cubicBezTo>
                    <a:pt x="2139" y="667"/>
                    <a:pt x="2138" y="668"/>
                    <a:pt x="2134" y="673"/>
                  </a:cubicBezTo>
                  <a:cubicBezTo>
                    <a:pt x="2130" y="679"/>
                    <a:pt x="2133" y="677"/>
                    <a:pt x="2126" y="682"/>
                  </a:cubicBezTo>
                  <a:cubicBezTo>
                    <a:pt x="2118" y="686"/>
                    <a:pt x="2109" y="691"/>
                    <a:pt x="2109" y="691"/>
                  </a:cubicBezTo>
                  <a:cubicBezTo>
                    <a:pt x="2109" y="691"/>
                    <a:pt x="2103" y="695"/>
                    <a:pt x="2100" y="700"/>
                  </a:cubicBezTo>
                  <a:cubicBezTo>
                    <a:pt x="2097" y="706"/>
                    <a:pt x="2090" y="709"/>
                    <a:pt x="2085" y="711"/>
                  </a:cubicBezTo>
                  <a:cubicBezTo>
                    <a:pt x="2081" y="713"/>
                    <a:pt x="2072" y="721"/>
                    <a:pt x="2068" y="722"/>
                  </a:cubicBezTo>
                  <a:cubicBezTo>
                    <a:pt x="2064" y="724"/>
                    <a:pt x="2054" y="730"/>
                    <a:pt x="2054" y="726"/>
                  </a:cubicBezTo>
                  <a:cubicBezTo>
                    <a:pt x="2054" y="722"/>
                    <a:pt x="2068" y="712"/>
                    <a:pt x="2071" y="708"/>
                  </a:cubicBezTo>
                  <a:cubicBezTo>
                    <a:pt x="2074" y="704"/>
                    <a:pt x="2073" y="700"/>
                    <a:pt x="2080" y="696"/>
                  </a:cubicBezTo>
                  <a:cubicBezTo>
                    <a:pt x="2088" y="692"/>
                    <a:pt x="2101" y="683"/>
                    <a:pt x="2104" y="679"/>
                  </a:cubicBezTo>
                  <a:cubicBezTo>
                    <a:pt x="2107" y="674"/>
                    <a:pt x="2109" y="669"/>
                    <a:pt x="2104" y="668"/>
                  </a:cubicBezTo>
                  <a:cubicBezTo>
                    <a:pt x="2098" y="666"/>
                    <a:pt x="2098" y="668"/>
                    <a:pt x="2092" y="672"/>
                  </a:cubicBezTo>
                  <a:cubicBezTo>
                    <a:pt x="2085" y="675"/>
                    <a:pt x="2078" y="680"/>
                    <a:pt x="2076" y="674"/>
                  </a:cubicBezTo>
                  <a:cubicBezTo>
                    <a:pt x="2073" y="668"/>
                    <a:pt x="2073" y="663"/>
                    <a:pt x="2074" y="657"/>
                  </a:cubicBezTo>
                  <a:cubicBezTo>
                    <a:pt x="2076" y="651"/>
                    <a:pt x="2068" y="649"/>
                    <a:pt x="2070" y="644"/>
                  </a:cubicBezTo>
                  <a:cubicBezTo>
                    <a:pt x="2073" y="638"/>
                    <a:pt x="2081" y="636"/>
                    <a:pt x="2088" y="632"/>
                  </a:cubicBezTo>
                  <a:cubicBezTo>
                    <a:pt x="2095" y="627"/>
                    <a:pt x="2098" y="624"/>
                    <a:pt x="2101" y="621"/>
                  </a:cubicBezTo>
                  <a:cubicBezTo>
                    <a:pt x="2104" y="618"/>
                    <a:pt x="2101" y="612"/>
                    <a:pt x="2109" y="612"/>
                  </a:cubicBezTo>
                  <a:cubicBezTo>
                    <a:pt x="2117" y="612"/>
                    <a:pt x="2132" y="601"/>
                    <a:pt x="2134" y="597"/>
                  </a:cubicBezTo>
                  <a:cubicBezTo>
                    <a:pt x="2135" y="594"/>
                    <a:pt x="2132" y="584"/>
                    <a:pt x="2132" y="579"/>
                  </a:cubicBezTo>
                  <a:cubicBezTo>
                    <a:pt x="2132" y="577"/>
                    <a:pt x="2133" y="573"/>
                    <a:pt x="2133" y="569"/>
                  </a:cubicBezTo>
                  <a:cubicBezTo>
                    <a:pt x="2005" y="646"/>
                    <a:pt x="1881" y="728"/>
                    <a:pt x="1762" y="817"/>
                  </a:cubicBezTo>
                  <a:cubicBezTo>
                    <a:pt x="1768" y="818"/>
                    <a:pt x="1773" y="820"/>
                    <a:pt x="1775" y="821"/>
                  </a:cubicBezTo>
                  <a:cubicBezTo>
                    <a:pt x="1779" y="826"/>
                    <a:pt x="1791" y="830"/>
                    <a:pt x="1797" y="829"/>
                  </a:cubicBezTo>
                  <a:cubicBezTo>
                    <a:pt x="1802" y="827"/>
                    <a:pt x="1814" y="828"/>
                    <a:pt x="1817" y="824"/>
                  </a:cubicBezTo>
                  <a:cubicBezTo>
                    <a:pt x="1820" y="820"/>
                    <a:pt x="1825" y="820"/>
                    <a:pt x="1825" y="825"/>
                  </a:cubicBezTo>
                  <a:cubicBezTo>
                    <a:pt x="1826" y="830"/>
                    <a:pt x="1828" y="835"/>
                    <a:pt x="1829" y="841"/>
                  </a:cubicBezTo>
                  <a:cubicBezTo>
                    <a:pt x="1831" y="846"/>
                    <a:pt x="1829" y="850"/>
                    <a:pt x="1829" y="852"/>
                  </a:cubicBezTo>
                  <a:cubicBezTo>
                    <a:pt x="1829" y="854"/>
                    <a:pt x="1828" y="859"/>
                    <a:pt x="1823" y="860"/>
                  </a:cubicBezTo>
                  <a:cubicBezTo>
                    <a:pt x="1819" y="860"/>
                    <a:pt x="1809" y="863"/>
                    <a:pt x="1805" y="861"/>
                  </a:cubicBezTo>
                  <a:cubicBezTo>
                    <a:pt x="1800" y="860"/>
                    <a:pt x="1800" y="860"/>
                    <a:pt x="1787" y="860"/>
                  </a:cubicBezTo>
                  <a:cubicBezTo>
                    <a:pt x="1773" y="859"/>
                    <a:pt x="1773" y="856"/>
                    <a:pt x="1767" y="862"/>
                  </a:cubicBezTo>
                  <a:cubicBezTo>
                    <a:pt x="1761" y="868"/>
                    <a:pt x="1762" y="872"/>
                    <a:pt x="1755" y="874"/>
                  </a:cubicBezTo>
                  <a:cubicBezTo>
                    <a:pt x="1748" y="876"/>
                    <a:pt x="1746" y="882"/>
                    <a:pt x="1738" y="881"/>
                  </a:cubicBezTo>
                  <a:cubicBezTo>
                    <a:pt x="1731" y="879"/>
                    <a:pt x="1725" y="877"/>
                    <a:pt x="1721" y="880"/>
                  </a:cubicBezTo>
                  <a:cubicBezTo>
                    <a:pt x="1716" y="883"/>
                    <a:pt x="1715" y="883"/>
                    <a:pt x="1711" y="890"/>
                  </a:cubicBezTo>
                  <a:cubicBezTo>
                    <a:pt x="1707" y="897"/>
                    <a:pt x="1711" y="896"/>
                    <a:pt x="1704" y="901"/>
                  </a:cubicBezTo>
                  <a:cubicBezTo>
                    <a:pt x="1697" y="905"/>
                    <a:pt x="1686" y="910"/>
                    <a:pt x="1684" y="912"/>
                  </a:cubicBezTo>
                  <a:cubicBezTo>
                    <a:pt x="1683" y="914"/>
                    <a:pt x="1681" y="914"/>
                    <a:pt x="1679" y="923"/>
                  </a:cubicBezTo>
                  <a:cubicBezTo>
                    <a:pt x="1677" y="931"/>
                    <a:pt x="1673" y="935"/>
                    <a:pt x="1673" y="938"/>
                  </a:cubicBezTo>
                  <a:cubicBezTo>
                    <a:pt x="1673" y="941"/>
                    <a:pt x="1670" y="940"/>
                    <a:pt x="1675" y="945"/>
                  </a:cubicBezTo>
                  <a:cubicBezTo>
                    <a:pt x="1681" y="949"/>
                    <a:pt x="1687" y="950"/>
                    <a:pt x="1689" y="948"/>
                  </a:cubicBezTo>
                  <a:cubicBezTo>
                    <a:pt x="1691" y="947"/>
                    <a:pt x="1701" y="941"/>
                    <a:pt x="1700" y="947"/>
                  </a:cubicBezTo>
                  <a:cubicBezTo>
                    <a:pt x="1700" y="947"/>
                    <a:pt x="1702" y="955"/>
                    <a:pt x="1683" y="966"/>
                  </a:cubicBezTo>
                  <a:cubicBezTo>
                    <a:pt x="1665" y="976"/>
                    <a:pt x="1662" y="975"/>
                    <a:pt x="1658" y="983"/>
                  </a:cubicBezTo>
                  <a:cubicBezTo>
                    <a:pt x="1654" y="991"/>
                    <a:pt x="1643" y="995"/>
                    <a:pt x="1655" y="997"/>
                  </a:cubicBezTo>
                  <a:close/>
                  <a:moveTo>
                    <a:pt x="2379" y="639"/>
                  </a:moveTo>
                  <a:cubicBezTo>
                    <a:pt x="2386" y="636"/>
                    <a:pt x="2393" y="639"/>
                    <a:pt x="2400" y="636"/>
                  </a:cubicBezTo>
                  <a:cubicBezTo>
                    <a:pt x="2408" y="634"/>
                    <a:pt x="2418" y="635"/>
                    <a:pt x="2422" y="632"/>
                  </a:cubicBezTo>
                  <a:cubicBezTo>
                    <a:pt x="2427" y="628"/>
                    <a:pt x="2423" y="618"/>
                    <a:pt x="2431" y="618"/>
                  </a:cubicBezTo>
                  <a:cubicBezTo>
                    <a:pt x="2439" y="618"/>
                    <a:pt x="2449" y="624"/>
                    <a:pt x="2453" y="616"/>
                  </a:cubicBezTo>
                  <a:cubicBezTo>
                    <a:pt x="2456" y="608"/>
                    <a:pt x="2455" y="606"/>
                    <a:pt x="2457" y="595"/>
                  </a:cubicBezTo>
                  <a:cubicBezTo>
                    <a:pt x="2460" y="585"/>
                    <a:pt x="2464" y="570"/>
                    <a:pt x="2456" y="572"/>
                  </a:cubicBezTo>
                  <a:cubicBezTo>
                    <a:pt x="2448" y="573"/>
                    <a:pt x="2436" y="580"/>
                    <a:pt x="2431" y="583"/>
                  </a:cubicBezTo>
                  <a:cubicBezTo>
                    <a:pt x="2427" y="586"/>
                    <a:pt x="2427" y="598"/>
                    <a:pt x="2418" y="600"/>
                  </a:cubicBezTo>
                  <a:cubicBezTo>
                    <a:pt x="2408" y="602"/>
                    <a:pt x="2402" y="602"/>
                    <a:pt x="2397" y="598"/>
                  </a:cubicBezTo>
                  <a:cubicBezTo>
                    <a:pt x="2393" y="593"/>
                    <a:pt x="2383" y="591"/>
                    <a:pt x="2378" y="592"/>
                  </a:cubicBezTo>
                  <a:cubicBezTo>
                    <a:pt x="2372" y="593"/>
                    <a:pt x="2370" y="600"/>
                    <a:pt x="2362" y="605"/>
                  </a:cubicBezTo>
                  <a:cubicBezTo>
                    <a:pt x="2354" y="609"/>
                    <a:pt x="2347" y="611"/>
                    <a:pt x="2341" y="614"/>
                  </a:cubicBezTo>
                  <a:cubicBezTo>
                    <a:pt x="2336" y="616"/>
                    <a:pt x="2337" y="623"/>
                    <a:pt x="2332" y="624"/>
                  </a:cubicBezTo>
                  <a:cubicBezTo>
                    <a:pt x="2328" y="625"/>
                    <a:pt x="2321" y="632"/>
                    <a:pt x="2319" y="636"/>
                  </a:cubicBezTo>
                  <a:cubicBezTo>
                    <a:pt x="2316" y="641"/>
                    <a:pt x="2310" y="651"/>
                    <a:pt x="2310" y="651"/>
                  </a:cubicBezTo>
                  <a:cubicBezTo>
                    <a:pt x="2310" y="651"/>
                    <a:pt x="2302" y="656"/>
                    <a:pt x="2299" y="660"/>
                  </a:cubicBezTo>
                  <a:cubicBezTo>
                    <a:pt x="2297" y="665"/>
                    <a:pt x="2287" y="674"/>
                    <a:pt x="2282" y="673"/>
                  </a:cubicBezTo>
                  <a:cubicBezTo>
                    <a:pt x="2278" y="672"/>
                    <a:pt x="2277" y="669"/>
                    <a:pt x="2277" y="664"/>
                  </a:cubicBezTo>
                  <a:cubicBezTo>
                    <a:pt x="2277" y="658"/>
                    <a:pt x="2279" y="650"/>
                    <a:pt x="2274" y="650"/>
                  </a:cubicBezTo>
                  <a:cubicBezTo>
                    <a:pt x="2270" y="650"/>
                    <a:pt x="2257" y="657"/>
                    <a:pt x="2257" y="657"/>
                  </a:cubicBezTo>
                  <a:cubicBezTo>
                    <a:pt x="2257" y="657"/>
                    <a:pt x="2250" y="664"/>
                    <a:pt x="2247" y="667"/>
                  </a:cubicBezTo>
                  <a:cubicBezTo>
                    <a:pt x="2244" y="671"/>
                    <a:pt x="2231" y="682"/>
                    <a:pt x="2228" y="683"/>
                  </a:cubicBezTo>
                  <a:cubicBezTo>
                    <a:pt x="2224" y="684"/>
                    <a:pt x="2219" y="690"/>
                    <a:pt x="2219" y="693"/>
                  </a:cubicBezTo>
                  <a:cubicBezTo>
                    <a:pt x="2219" y="697"/>
                    <a:pt x="2221" y="709"/>
                    <a:pt x="2219" y="714"/>
                  </a:cubicBezTo>
                  <a:cubicBezTo>
                    <a:pt x="2216" y="718"/>
                    <a:pt x="2209" y="731"/>
                    <a:pt x="2209" y="734"/>
                  </a:cubicBezTo>
                  <a:cubicBezTo>
                    <a:pt x="2209" y="738"/>
                    <a:pt x="2211" y="742"/>
                    <a:pt x="2209" y="749"/>
                  </a:cubicBezTo>
                  <a:cubicBezTo>
                    <a:pt x="2208" y="756"/>
                    <a:pt x="2204" y="763"/>
                    <a:pt x="2204" y="763"/>
                  </a:cubicBezTo>
                  <a:cubicBezTo>
                    <a:pt x="2204" y="763"/>
                    <a:pt x="2209" y="771"/>
                    <a:pt x="2198" y="773"/>
                  </a:cubicBezTo>
                  <a:cubicBezTo>
                    <a:pt x="2191" y="774"/>
                    <a:pt x="2217" y="776"/>
                    <a:pt x="2223" y="768"/>
                  </a:cubicBezTo>
                  <a:cubicBezTo>
                    <a:pt x="2229" y="760"/>
                    <a:pt x="2230" y="749"/>
                    <a:pt x="2236" y="752"/>
                  </a:cubicBezTo>
                  <a:cubicBezTo>
                    <a:pt x="2241" y="756"/>
                    <a:pt x="2245" y="752"/>
                    <a:pt x="2255" y="750"/>
                  </a:cubicBezTo>
                  <a:cubicBezTo>
                    <a:pt x="2265" y="748"/>
                    <a:pt x="2267" y="740"/>
                    <a:pt x="2278" y="740"/>
                  </a:cubicBezTo>
                  <a:cubicBezTo>
                    <a:pt x="2288" y="740"/>
                    <a:pt x="2294" y="742"/>
                    <a:pt x="2300" y="738"/>
                  </a:cubicBezTo>
                  <a:cubicBezTo>
                    <a:pt x="2307" y="733"/>
                    <a:pt x="2313" y="724"/>
                    <a:pt x="2321" y="721"/>
                  </a:cubicBezTo>
                  <a:cubicBezTo>
                    <a:pt x="2329" y="717"/>
                    <a:pt x="2329" y="713"/>
                    <a:pt x="2336" y="711"/>
                  </a:cubicBezTo>
                  <a:cubicBezTo>
                    <a:pt x="2342" y="710"/>
                    <a:pt x="2347" y="708"/>
                    <a:pt x="2355" y="702"/>
                  </a:cubicBezTo>
                  <a:cubicBezTo>
                    <a:pt x="2363" y="697"/>
                    <a:pt x="2369" y="694"/>
                    <a:pt x="2372" y="685"/>
                  </a:cubicBezTo>
                  <a:cubicBezTo>
                    <a:pt x="2375" y="676"/>
                    <a:pt x="2374" y="667"/>
                    <a:pt x="2373" y="664"/>
                  </a:cubicBezTo>
                  <a:cubicBezTo>
                    <a:pt x="2372" y="660"/>
                    <a:pt x="2372" y="655"/>
                    <a:pt x="2378" y="651"/>
                  </a:cubicBezTo>
                  <a:cubicBezTo>
                    <a:pt x="2383" y="648"/>
                    <a:pt x="2372" y="641"/>
                    <a:pt x="2379" y="639"/>
                  </a:cubicBezTo>
                  <a:close/>
                  <a:moveTo>
                    <a:pt x="2655" y="1082"/>
                  </a:moveTo>
                  <a:cubicBezTo>
                    <a:pt x="2655" y="1089"/>
                    <a:pt x="2658" y="1090"/>
                    <a:pt x="2662" y="1096"/>
                  </a:cubicBezTo>
                  <a:cubicBezTo>
                    <a:pt x="2665" y="1099"/>
                    <a:pt x="2683" y="1102"/>
                    <a:pt x="2695" y="1100"/>
                  </a:cubicBezTo>
                  <a:cubicBezTo>
                    <a:pt x="2708" y="1099"/>
                    <a:pt x="2716" y="1098"/>
                    <a:pt x="2722" y="1092"/>
                  </a:cubicBezTo>
                  <a:cubicBezTo>
                    <a:pt x="2729" y="1087"/>
                    <a:pt x="2727" y="1100"/>
                    <a:pt x="2736" y="1095"/>
                  </a:cubicBezTo>
                  <a:cubicBezTo>
                    <a:pt x="2745" y="1089"/>
                    <a:pt x="2747" y="1081"/>
                    <a:pt x="2753" y="1077"/>
                  </a:cubicBezTo>
                  <a:cubicBezTo>
                    <a:pt x="2759" y="1072"/>
                    <a:pt x="2759" y="1079"/>
                    <a:pt x="2769" y="1074"/>
                  </a:cubicBezTo>
                  <a:cubicBezTo>
                    <a:pt x="2779" y="1070"/>
                    <a:pt x="2784" y="1073"/>
                    <a:pt x="2787" y="1061"/>
                  </a:cubicBezTo>
                  <a:cubicBezTo>
                    <a:pt x="2791" y="1048"/>
                    <a:pt x="2788" y="1044"/>
                    <a:pt x="2796" y="1040"/>
                  </a:cubicBezTo>
                  <a:cubicBezTo>
                    <a:pt x="2804" y="1037"/>
                    <a:pt x="2809" y="1032"/>
                    <a:pt x="2805" y="1023"/>
                  </a:cubicBezTo>
                  <a:cubicBezTo>
                    <a:pt x="2802" y="1014"/>
                    <a:pt x="2804" y="1023"/>
                    <a:pt x="2793" y="1017"/>
                  </a:cubicBezTo>
                  <a:cubicBezTo>
                    <a:pt x="2781" y="1012"/>
                    <a:pt x="2778" y="1007"/>
                    <a:pt x="2771" y="1004"/>
                  </a:cubicBezTo>
                  <a:cubicBezTo>
                    <a:pt x="2764" y="1000"/>
                    <a:pt x="2760" y="996"/>
                    <a:pt x="2754" y="1005"/>
                  </a:cubicBezTo>
                  <a:cubicBezTo>
                    <a:pt x="2749" y="1014"/>
                    <a:pt x="2750" y="1028"/>
                    <a:pt x="2738" y="1027"/>
                  </a:cubicBezTo>
                  <a:cubicBezTo>
                    <a:pt x="2727" y="1025"/>
                    <a:pt x="2721" y="1024"/>
                    <a:pt x="2717" y="1030"/>
                  </a:cubicBezTo>
                  <a:cubicBezTo>
                    <a:pt x="2712" y="1036"/>
                    <a:pt x="2719" y="1044"/>
                    <a:pt x="2709" y="1046"/>
                  </a:cubicBezTo>
                  <a:cubicBezTo>
                    <a:pt x="2698" y="1048"/>
                    <a:pt x="2702" y="1048"/>
                    <a:pt x="2694" y="1050"/>
                  </a:cubicBezTo>
                  <a:cubicBezTo>
                    <a:pt x="2686" y="1053"/>
                    <a:pt x="2684" y="1055"/>
                    <a:pt x="2681" y="1058"/>
                  </a:cubicBezTo>
                  <a:cubicBezTo>
                    <a:pt x="2679" y="1062"/>
                    <a:pt x="2679" y="1062"/>
                    <a:pt x="2675" y="1067"/>
                  </a:cubicBezTo>
                  <a:cubicBezTo>
                    <a:pt x="2670" y="1073"/>
                    <a:pt x="2665" y="1074"/>
                    <a:pt x="2661" y="1075"/>
                  </a:cubicBezTo>
                  <a:cubicBezTo>
                    <a:pt x="2656" y="1077"/>
                    <a:pt x="2655" y="1075"/>
                    <a:pt x="2655" y="1082"/>
                  </a:cubicBezTo>
                  <a:close/>
                  <a:moveTo>
                    <a:pt x="5299" y="517"/>
                  </a:moveTo>
                  <a:cubicBezTo>
                    <a:pt x="5299" y="521"/>
                    <a:pt x="5299" y="525"/>
                    <a:pt x="5307" y="525"/>
                  </a:cubicBezTo>
                  <a:cubicBezTo>
                    <a:pt x="5315" y="524"/>
                    <a:pt x="5320" y="517"/>
                    <a:pt x="5328" y="519"/>
                  </a:cubicBezTo>
                  <a:cubicBezTo>
                    <a:pt x="5336" y="521"/>
                    <a:pt x="5345" y="528"/>
                    <a:pt x="5349" y="523"/>
                  </a:cubicBezTo>
                  <a:cubicBezTo>
                    <a:pt x="5354" y="518"/>
                    <a:pt x="5362" y="516"/>
                    <a:pt x="5358" y="509"/>
                  </a:cubicBezTo>
                  <a:cubicBezTo>
                    <a:pt x="5353" y="503"/>
                    <a:pt x="5354" y="498"/>
                    <a:pt x="5340" y="500"/>
                  </a:cubicBezTo>
                  <a:cubicBezTo>
                    <a:pt x="5326" y="501"/>
                    <a:pt x="5320" y="502"/>
                    <a:pt x="5320" y="496"/>
                  </a:cubicBezTo>
                  <a:cubicBezTo>
                    <a:pt x="5320" y="489"/>
                    <a:pt x="5326" y="480"/>
                    <a:pt x="5319" y="476"/>
                  </a:cubicBezTo>
                  <a:cubicBezTo>
                    <a:pt x="5312" y="472"/>
                    <a:pt x="5304" y="487"/>
                    <a:pt x="5295" y="484"/>
                  </a:cubicBezTo>
                  <a:cubicBezTo>
                    <a:pt x="5287" y="482"/>
                    <a:pt x="5284" y="500"/>
                    <a:pt x="5291" y="504"/>
                  </a:cubicBezTo>
                  <a:cubicBezTo>
                    <a:pt x="5297" y="508"/>
                    <a:pt x="5300" y="514"/>
                    <a:pt x="5299" y="517"/>
                  </a:cubicBezTo>
                  <a:close/>
                  <a:moveTo>
                    <a:pt x="6125" y="287"/>
                  </a:moveTo>
                  <a:cubicBezTo>
                    <a:pt x="6132" y="286"/>
                    <a:pt x="6135" y="291"/>
                    <a:pt x="6141" y="295"/>
                  </a:cubicBezTo>
                  <a:cubicBezTo>
                    <a:pt x="6147" y="300"/>
                    <a:pt x="6154" y="299"/>
                    <a:pt x="6158" y="304"/>
                  </a:cubicBezTo>
                  <a:cubicBezTo>
                    <a:pt x="6163" y="310"/>
                    <a:pt x="6162" y="312"/>
                    <a:pt x="6173" y="311"/>
                  </a:cubicBezTo>
                  <a:cubicBezTo>
                    <a:pt x="6184" y="310"/>
                    <a:pt x="6195" y="310"/>
                    <a:pt x="6197" y="316"/>
                  </a:cubicBezTo>
                  <a:cubicBezTo>
                    <a:pt x="6199" y="321"/>
                    <a:pt x="6205" y="321"/>
                    <a:pt x="6210" y="328"/>
                  </a:cubicBezTo>
                  <a:cubicBezTo>
                    <a:pt x="6216" y="335"/>
                    <a:pt x="6225" y="329"/>
                    <a:pt x="6224" y="337"/>
                  </a:cubicBezTo>
                  <a:cubicBezTo>
                    <a:pt x="6223" y="345"/>
                    <a:pt x="6218" y="350"/>
                    <a:pt x="6228" y="353"/>
                  </a:cubicBezTo>
                  <a:cubicBezTo>
                    <a:pt x="6237" y="357"/>
                    <a:pt x="6245" y="358"/>
                    <a:pt x="6248" y="356"/>
                  </a:cubicBezTo>
                  <a:cubicBezTo>
                    <a:pt x="6251" y="353"/>
                    <a:pt x="6254" y="351"/>
                    <a:pt x="6258" y="357"/>
                  </a:cubicBezTo>
                  <a:cubicBezTo>
                    <a:pt x="6263" y="362"/>
                    <a:pt x="6278" y="365"/>
                    <a:pt x="6283" y="367"/>
                  </a:cubicBezTo>
                  <a:cubicBezTo>
                    <a:pt x="6289" y="369"/>
                    <a:pt x="6292" y="368"/>
                    <a:pt x="6294" y="360"/>
                  </a:cubicBezTo>
                  <a:cubicBezTo>
                    <a:pt x="6295" y="352"/>
                    <a:pt x="6298" y="338"/>
                    <a:pt x="6288" y="337"/>
                  </a:cubicBezTo>
                  <a:cubicBezTo>
                    <a:pt x="6278" y="336"/>
                    <a:pt x="6279" y="334"/>
                    <a:pt x="6276" y="327"/>
                  </a:cubicBezTo>
                  <a:cubicBezTo>
                    <a:pt x="6274" y="320"/>
                    <a:pt x="6263" y="320"/>
                    <a:pt x="6258" y="319"/>
                  </a:cubicBezTo>
                  <a:cubicBezTo>
                    <a:pt x="6254" y="318"/>
                    <a:pt x="6247" y="323"/>
                    <a:pt x="6242" y="318"/>
                  </a:cubicBezTo>
                  <a:cubicBezTo>
                    <a:pt x="6238" y="313"/>
                    <a:pt x="6228" y="315"/>
                    <a:pt x="6225" y="308"/>
                  </a:cubicBezTo>
                  <a:cubicBezTo>
                    <a:pt x="6223" y="301"/>
                    <a:pt x="6217" y="296"/>
                    <a:pt x="6214" y="296"/>
                  </a:cubicBezTo>
                  <a:cubicBezTo>
                    <a:pt x="6203" y="296"/>
                    <a:pt x="6203" y="296"/>
                    <a:pt x="6203" y="296"/>
                  </a:cubicBezTo>
                  <a:cubicBezTo>
                    <a:pt x="6196" y="296"/>
                    <a:pt x="6190" y="301"/>
                    <a:pt x="6187" y="298"/>
                  </a:cubicBezTo>
                  <a:cubicBezTo>
                    <a:pt x="6183" y="294"/>
                    <a:pt x="6173" y="295"/>
                    <a:pt x="6170" y="295"/>
                  </a:cubicBezTo>
                  <a:cubicBezTo>
                    <a:pt x="6166" y="295"/>
                    <a:pt x="6163" y="299"/>
                    <a:pt x="6158" y="295"/>
                  </a:cubicBezTo>
                  <a:cubicBezTo>
                    <a:pt x="6154" y="292"/>
                    <a:pt x="6151" y="293"/>
                    <a:pt x="6148" y="286"/>
                  </a:cubicBezTo>
                  <a:cubicBezTo>
                    <a:pt x="6145" y="279"/>
                    <a:pt x="6143" y="270"/>
                    <a:pt x="6135" y="269"/>
                  </a:cubicBezTo>
                  <a:cubicBezTo>
                    <a:pt x="6127" y="268"/>
                    <a:pt x="6126" y="268"/>
                    <a:pt x="6119" y="269"/>
                  </a:cubicBezTo>
                  <a:cubicBezTo>
                    <a:pt x="6111" y="270"/>
                    <a:pt x="6118" y="288"/>
                    <a:pt x="6125" y="287"/>
                  </a:cubicBezTo>
                  <a:close/>
                  <a:moveTo>
                    <a:pt x="2975" y="325"/>
                  </a:moveTo>
                  <a:cubicBezTo>
                    <a:pt x="2971" y="333"/>
                    <a:pt x="2974" y="340"/>
                    <a:pt x="2968" y="340"/>
                  </a:cubicBezTo>
                  <a:cubicBezTo>
                    <a:pt x="2963" y="340"/>
                    <a:pt x="2959" y="349"/>
                    <a:pt x="2953" y="350"/>
                  </a:cubicBezTo>
                  <a:cubicBezTo>
                    <a:pt x="2948" y="352"/>
                    <a:pt x="2943" y="357"/>
                    <a:pt x="2943" y="357"/>
                  </a:cubicBezTo>
                  <a:cubicBezTo>
                    <a:pt x="2943" y="357"/>
                    <a:pt x="2951" y="371"/>
                    <a:pt x="2956" y="362"/>
                  </a:cubicBezTo>
                  <a:cubicBezTo>
                    <a:pt x="2961" y="354"/>
                    <a:pt x="2967" y="352"/>
                    <a:pt x="2974" y="352"/>
                  </a:cubicBezTo>
                  <a:cubicBezTo>
                    <a:pt x="2980" y="352"/>
                    <a:pt x="2983" y="352"/>
                    <a:pt x="2986" y="344"/>
                  </a:cubicBezTo>
                  <a:cubicBezTo>
                    <a:pt x="2988" y="336"/>
                    <a:pt x="2988" y="333"/>
                    <a:pt x="2988" y="329"/>
                  </a:cubicBezTo>
                  <a:cubicBezTo>
                    <a:pt x="2988" y="325"/>
                    <a:pt x="2979" y="317"/>
                    <a:pt x="2975" y="325"/>
                  </a:cubicBezTo>
                  <a:close/>
                  <a:moveTo>
                    <a:pt x="2961" y="384"/>
                  </a:moveTo>
                  <a:cubicBezTo>
                    <a:pt x="2955" y="377"/>
                    <a:pt x="2953" y="379"/>
                    <a:pt x="2947" y="379"/>
                  </a:cubicBezTo>
                  <a:cubicBezTo>
                    <a:pt x="2940" y="379"/>
                    <a:pt x="2937" y="383"/>
                    <a:pt x="2932" y="383"/>
                  </a:cubicBezTo>
                  <a:cubicBezTo>
                    <a:pt x="2927" y="383"/>
                    <a:pt x="2910" y="384"/>
                    <a:pt x="2905" y="383"/>
                  </a:cubicBezTo>
                  <a:cubicBezTo>
                    <a:pt x="2900" y="381"/>
                    <a:pt x="2890" y="388"/>
                    <a:pt x="2890" y="388"/>
                  </a:cubicBezTo>
                  <a:cubicBezTo>
                    <a:pt x="2884" y="397"/>
                    <a:pt x="2888" y="404"/>
                    <a:pt x="2897" y="404"/>
                  </a:cubicBezTo>
                  <a:cubicBezTo>
                    <a:pt x="2906" y="404"/>
                    <a:pt x="2917" y="396"/>
                    <a:pt x="2916" y="408"/>
                  </a:cubicBezTo>
                  <a:cubicBezTo>
                    <a:pt x="2915" y="420"/>
                    <a:pt x="2910" y="434"/>
                    <a:pt x="2921" y="431"/>
                  </a:cubicBezTo>
                  <a:cubicBezTo>
                    <a:pt x="2932" y="428"/>
                    <a:pt x="2949" y="412"/>
                    <a:pt x="2955" y="412"/>
                  </a:cubicBezTo>
                  <a:cubicBezTo>
                    <a:pt x="2960" y="412"/>
                    <a:pt x="2976" y="414"/>
                    <a:pt x="2976" y="423"/>
                  </a:cubicBezTo>
                  <a:cubicBezTo>
                    <a:pt x="2976" y="432"/>
                    <a:pt x="2995" y="430"/>
                    <a:pt x="2999" y="424"/>
                  </a:cubicBezTo>
                  <a:cubicBezTo>
                    <a:pt x="3003" y="419"/>
                    <a:pt x="3012" y="409"/>
                    <a:pt x="3018" y="409"/>
                  </a:cubicBezTo>
                  <a:cubicBezTo>
                    <a:pt x="3023" y="409"/>
                    <a:pt x="3033" y="405"/>
                    <a:pt x="3038" y="414"/>
                  </a:cubicBezTo>
                  <a:cubicBezTo>
                    <a:pt x="3043" y="422"/>
                    <a:pt x="3057" y="418"/>
                    <a:pt x="3061" y="416"/>
                  </a:cubicBezTo>
                  <a:cubicBezTo>
                    <a:pt x="3065" y="415"/>
                    <a:pt x="3080" y="401"/>
                    <a:pt x="3080" y="405"/>
                  </a:cubicBezTo>
                  <a:cubicBezTo>
                    <a:pt x="3080" y="409"/>
                    <a:pt x="3101" y="395"/>
                    <a:pt x="3101" y="401"/>
                  </a:cubicBezTo>
                  <a:cubicBezTo>
                    <a:pt x="3101" y="408"/>
                    <a:pt x="3117" y="408"/>
                    <a:pt x="3110" y="418"/>
                  </a:cubicBezTo>
                  <a:cubicBezTo>
                    <a:pt x="3104" y="427"/>
                    <a:pt x="3097" y="431"/>
                    <a:pt x="3096" y="436"/>
                  </a:cubicBezTo>
                  <a:cubicBezTo>
                    <a:pt x="3094" y="442"/>
                    <a:pt x="3110" y="446"/>
                    <a:pt x="3116" y="443"/>
                  </a:cubicBezTo>
                  <a:cubicBezTo>
                    <a:pt x="3121" y="440"/>
                    <a:pt x="3143" y="432"/>
                    <a:pt x="3144" y="428"/>
                  </a:cubicBezTo>
                  <a:cubicBezTo>
                    <a:pt x="3145" y="424"/>
                    <a:pt x="3148" y="419"/>
                    <a:pt x="3153" y="423"/>
                  </a:cubicBezTo>
                  <a:cubicBezTo>
                    <a:pt x="3159" y="427"/>
                    <a:pt x="3168" y="424"/>
                    <a:pt x="3178" y="424"/>
                  </a:cubicBezTo>
                  <a:cubicBezTo>
                    <a:pt x="3187" y="424"/>
                    <a:pt x="3188" y="414"/>
                    <a:pt x="3202" y="411"/>
                  </a:cubicBezTo>
                  <a:cubicBezTo>
                    <a:pt x="3215" y="408"/>
                    <a:pt x="3239" y="405"/>
                    <a:pt x="3243" y="397"/>
                  </a:cubicBezTo>
                  <a:cubicBezTo>
                    <a:pt x="3247" y="389"/>
                    <a:pt x="3245" y="387"/>
                    <a:pt x="3242" y="380"/>
                  </a:cubicBezTo>
                  <a:cubicBezTo>
                    <a:pt x="3239" y="373"/>
                    <a:pt x="3237" y="371"/>
                    <a:pt x="3227" y="371"/>
                  </a:cubicBezTo>
                  <a:cubicBezTo>
                    <a:pt x="3218" y="371"/>
                    <a:pt x="3211" y="367"/>
                    <a:pt x="3207" y="362"/>
                  </a:cubicBezTo>
                  <a:cubicBezTo>
                    <a:pt x="3203" y="358"/>
                    <a:pt x="3192" y="358"/>
                    <a:pt x="3195" y="352"/>
                  </a:cubicBezTo>
                  <a:cubicBezTo>
                    <a:pt x="3198" y="345"/>
                    <a:pt x="3202" y="340"/>
                    <a:pt x="3207" y="349"/>
                  </a:cubicBezTo>
                  <a:cubicBezTo>
                    <a:pt x="3213" y="358"/>
                    <a:pt x="3219" y="365"/>
                    <a:pt x="3225" y="364"/>
                  </a:cubicBezTo>
                  <a:cubicBezTo>
                    <a:pt x="3230" y="362"/>
                    <a:pt x="3233" y="368"/>
                    <a:pt x="3242" y="361"/>
                  </a:cubicBezTo>
                  <a:cubicBezTo>
                    <a:pt x="3251" y="354"/>
                    <a:pt x="3254" y="354"/>
                    <a:pt x="3262" y="350"/>
                  </a:cubicBezTo>
                  <a:cubicBezTo>
                    <a:pt x="3270" y="346"/>
                    <a:pt x="3274" y="352"/>
                    <a:pt x="3286" y="349"/>
                  </a:cubicBezTo>
                  <a:cubicBezTo>
                    <a:pt x="3298" y="346"/>
                    <a:pt x="3319" y="358"/>
                    <a:pt x="3316" y="345"/>
                  </a:cubicBezTo>
                  <a:cubicBezTo>
                    <a:pt x="3313" y="332"/>
                    <a:pt x="3309" y="324"/>
                    <a:pt x="3313" y="321"/>
                  </a:cubicBezTo>
                  <a:cubicBezTo>
                    <a:pt x="3317" y="318"/>
                    <a:pt x="3323" y="313"/>
                    <a:pt x="3332" y="314"/>
                  </a:cubicBezTo>
                  <a:cubicBezTo>
                    <a:pt x="3341" y="316"/>
                    <a:pt x="3359" y="318"/>
                    <a:pt x="3367" y="320"/>
                  </a:cubicBezTo>
                  <a:cubicBezTo>
                    <a:pt x="3375" y="321"/>
                    <a:pt x="3399" y="325"/>
                    <a:pt x="3404" y="314"/>
                  </a:cubicBezTo>
                  <a:cubicBezTo>
                    <a:pt x="3410" y="303"/>
                    <a:pt x="3407" y="297"/>
                    <a:pt x="3413" y="295"/>
                  </a:cubicBezTo>
                  <a:cubicBezTo>
                    <a:pt x="3418" y="294"/>
                    <a:pt x="3430" y="291"/>
                    <a:pt x="3441" y="289"/>
                  </a:cubicBezTo>
                  <a:cubicBezTo>
                    <a:pt x="3451" y="286"/>
                    <a:pt x="3451" y="285"/>
                    <a:pt x="3460" y="283"/>
                  </a:cubicBezTo>
                  <a:cubicBezTo>
                    <a:pt x="3468" y="282"/>
                    <a:pt x="3470" y="278"/>
                    <a:pt x="3477" y="271"/>
                  </a:cubicBezTo>
                  <a:cubicBezTo>
                    <a:pt x="3484" y="265"/>
                    <a:pt x="3490" y="273"/>
                    <a:pt x="3484" y="265"/>
                  </a:cubicBezTo>
                  <a:cubicBezTo>
                    <a:pt x="3477" y="256"/>
                    <a:pt x="3470" y="254"/>
                    <a:pt x="3468" y="248"/>
                  </a:cubicBezTo>
                  <a:cubicBezTo>
                    <a:pt x="3465" y="243"/>
                    <a:pt x="3464" y="238"/>
                    <a:pt x="3464" y="234"/>
                  </a:cubicBezTo>
                  <a:cubicBezTo>
                    <a:pt x="3464" y="230"/>
                    <a:pt x="3464" y="224"/>
                    <a:pt x="3469" y="223"/>
                  </a:cubicBezTo>
                  <a:cubicBezTo>
                    <a:pt x="3474" y="222"/>
                    <a:pt x="3478" y="215"/>
                    <a:pt x="3481" y="222"/>
                  </a:cubicBezTo>
                  <a:cubicBezTo>
                    <a:pt x="3484" y="228"/>
                    <a:pt x="3481" y="239"/>
                    <a:pt x="3489" y="238"/>
                  </a:cubicBezTo>
                  <a:cubicBezTo>
                    <a:pt x="3497" y="236"/>
                    <a:pt x="3493" y="234"/>
                    <a:pt x="3505" y="232"/>
                  </a:cubicBezTo>
                  <a:cubicBezTo>
                    <a:pt x="3517" y="231"/>
                    <a:pt x="3517" y="224"/>
                    <a:pt x="3525" y="224"/>
                  </a:cubicBezTo>
                  <a:cubicBezTo>
                    <a:pt x="3533" y="224"/>
                    <a:pt x="3529" y="215"/>
                    <a:pt x="3541" y="220"/>
                  </a:cubicBezTo>
                  <a:cubicBezTo>
                    <a:pt x="3553" y="226"/>
                    <a:pt x="3567" y="228"/>
                    <a:pt x="3574" y="226"/>
                  </a:cubicBezTo>
                  <a:cubicBezTo>
                    <a:pt x="3580" y="223"/>
                    <a:pt x="3583" y="209"/>
                    <a:pt x="3587" y="208"/>
                  </a:cubicBezTo>
                  <a:cubicBezTo>
                    <a:pt x="3600" y="204"/>
                    <a:pt x="3615" y="211"/>
                    <a:pt x="3627" y="211"/>
                  </a:cubicBezTo>
                  <a:cubicBezTo>
                    <a:pt x="3639" y="211"/>
                    <a:pt x="3665" y="208"/>
                    <a:pt x="3672" y="199"/>
                  </a:cubicBezTo>
                  <a:cubicBezTo>
                    <a:pt x="3678" y="189"/>
                    <a:pt x="3705" y="179"/>
                    <a:pt x="3709" y="177"/>
                  </a:cubicBezTo>
                  <a:cubicBezTo>
                    <a:pt x="3713" y="176"/>
                    <a:pt x="3732" y="164"/>
                    <a:pt x="3741" y="161"/>
                  </a:cubicBezTo>
                  <a:cubicBezTo>
                    <a:pt x="3751" y="158"/>
                    <a:pt x="3759" y="150"/>
                    <a:pt x="3763" y="152"/>
                  </a:cubicBezTo>
                  <a:cubicBezTo>
                    <a:pt x="3767" y="153"/>
                    <a:pt x="3788" y="145"/>
                    <a:pt x="3795" y="145"/>
                  </a:cubicBezTo>
                  <a:cubicBezTo>
                    <a:pt x="3802" y="145"/>
                    <a:pt x="3810" y="141"/>
                    <a:pt x="3814" y="138"/>
                  </a:cubicBezTo>
                  <a:cubicBezTo>
                    <a:pt x="3818" y="136"/>
                    <a:pt x="3834" y="129"/>
                    <a:pt x="3839" y="126"/>
                  </a:cubicBezTo>
                  <a:cubicBezTo>
                    <a:pt x="3845" y="124"/>
                    <a:pt x="3850" y="122"/>
                    <a:pt x="3858" y="121"/>
                  </a:cubicBezTo>
                  <a:cubicBezTo>
                    <a:pt x="3866" y="120"/>
                    <a:pt x="3873" y="120"/>
                    <a:pt x="3877" y="114"/>
                  </a:cubicBezTo>
                  <a:cubicBezTo>
                    <a:pt x="3881" y="109"/>
                    <a:pt x="3892" y="105"/>
                    <a:pt x="3892" y="105"/>
                  </a:cubicBezTo>
                  <a:cubicBezTo>
                    <a:pt x="3892" y="105"/>
                    <a:pt x="3904" y="105"/>
                    <a:pt x="3916" y="99"/>
                  </a:cubicBezTo>
                  <a:cubicBezTo>
                    <a:pt x="3928" y="94"/>
                    <a:pt x="3966" y="91"/>
                    <a:pt x="3976" y="93"/>
                  </a:cubicBezTo>
                  <a:cubicBezTo>
                    <a:pt x="3987" y="94"/>
                    <a:pt x="3995" y="83"/>
                    <a:pt x="4003" y="82"/>
                  </a:cubicBezTo>
                  <a:cubicBezTo>
                    <a:pt x="4011" y="81"/>
                    <a:pt x="4019" y="69"/>
                    <a:pt x="4033" y="70"/>
                  </a:cubicBezTo>
                  <a:cubicBezTo>
                    <a:pt x="4046" y="71"/>
                    <a:pt x="4050" y="69"/>
                    <a:pt x="4054" y="62"/>
                  </a:cubicBezTo>
                  <a:cubicBezTo>
                    <a:pt x="4058" y="55"/>
                    <a:pt x="4060" y="51"/>
                    <a:pt x="4051" y="50"/>
                  </a:cubicBezTo>
                  <a:cubicBezTo>
                    <a:pt x="4043" y="48"/>
                    <a:pt x="4034" y="48"/>
                    <a:pt x="4034" y="48"/>
                  </a:cubicBezTo>
                  <a:cubicBezTo>
                    <a:pt x="4034" y="48"/>
                    <a:pt x="4029" y="40"/>
                    <a:pt x="4023" y="31"/>
                  </a:cubicBezTo>
                  <a:cubicBezTo>
                    <a:pt x="4018" y="22"/>
                    <a:pt x="4013" y="24"/>
                    <a:pt x="4003" y="26"/>
                  </a:cubicBezTo>
                  <a:cubicBezTo>
                    <a:pt x="3994" y="27"/>
                    <a:pt x="3980" y="35"/>
                    <a:pt x="3974" y="34"/>
                  </a:cubicBezTo>
                  <a:cubicBezTo>
                    <a:pt x="3967" y="32"/>
                    <a:pt x="3953" y="32"/>
                    <a:pt x="3947" y="30"/>
                  </a:cubicBezTo>
                  <a:cubicBezTo>
                    <a:pt x="3940" y="27"/>
                    <a:pt x="3913" y="31"/>
                    <a:pt x="3908" y="30"/>
                  </a:cubicBezTo>
                  <a:cubicBezTo>
                    <a:pt x="3902" y="28"/>
                    <a:pt x="3877" y="30"/>
                    <a:pt x="3870" y="30"/>
                  </a:cubicBezTo>
                  <a:cubicBezTo>
                    <a:pt x="3864" y="30"/>
                    <a:pt x="3853" y="34"/>
                    <a:pt x="3841" y="31"/>
                  </a:cubicBezTo>
                  <a:cubicBezTo>
                    <a:pt x="3829" y="28"/>
                    <a:pt x="3808" y="26"/>
                    <a:pt x="3806" y="30"/>
                  </a:cubicBezTo>
                  <a:cubicBezTo>
                    <a:pt x="3795" y="43"/>
                    <a:pt x="3795" y="47"/>
                    <a:pt x="3791" y="48"/>
                  </a:cubicBezTo>
                  <a:cubicBezTo>
                    <a:pt x="3787" y="50"/>
                    <a:pt x="3782" y="48"/>
                    <a:pt x="3778" y="48"/>
                  </a:cubicBezTo>
                  <a:cubicBezTo>
                    <a:pt x="3774" y="48"/>
                    <a:pt x="3782" y="43"/>
                    <a:pt x="3776" y="35"/>
                  </a:cubicBezTo>
                  <a:cubicBezTo>
                    <a:pt x="3771" y="27"/>
                    <a:pt x="3771" y="27"/>
                    <a:pt x="3771" y="27"/>
                  </a:cubicBezTo>
                  <a:cubicBezTo>
                    <a:pt x="3771" y="27"/>
                    <a:pt x="3760" y="27"/>
                    <a:pt x="3752" y="31"/>
                  </a:cubicBezTo>
                  <a:cubicBezTo>
                    <a:pt x="3744" y="35"/>
                    <a:pt x="3735" y="42"/>
                    <a:pt x="3719" y="42"/>
                  </a:cubicBezTo>
                  <a:cubicBezTo>
                    <a:pt x="3702" y="42"/>
                    <a:pt x="3693" y="47"/>
                    <a:pt x="3685" y="46"/>
                  </a:cubicBezTo>
                  <a:cubicBezTo>
                    <a:pt x="3677" y="44"/>
                    <a:pt x="3669" y="51"/>
                    <a:pt x="3665" y="47"/>
                  </a:cubicBezTo>
                  <a:cubicBezTo>
                    <a:pt x="3661" y="43"/>
                    <a:pt x="3655" y="43"/>
                    <a:pt x="3651" y="43"/>
                  </a:cubicBezTo>
                  <a:cubicBezTo>
                    <a:pt x="3647" y="43"/>
                    <a:pt x="3642" y="46"/>
                    <a:pt x="3639" y="51"/>
                  </a:cubicBezTo>
                  <a:cubicBezTo>
                    <a:pt x="3637" y="56"/>
                    <a:pt x="3634" y="64"/>
                    <a:pt x="3634" y="64"/>
                  </a:cubicBezTo>
                  <a:cubicBezTo>
                    <a:pt x="3638" y="75"/>
                    <a:pt x="3638" y="75"/>
                    <a:pt x="3638" y="75"/>
                  </a:cubicBezTo>
                  <a:cubicBezTo>
                    <a:pt x="3638" y="75"/>
                    <a:pt x="3639" y="86"/>
                    <a:pt x="3635" y="83"/>
                  </a:cubicBezTo>
                  <a:cubicBezTo>
                    <a:pt x="3631" y="81"/>
                    <a:pt x="3635" y="77"/>
                    <a:pt x="3629" y="69"/>
                  </a:cubicBezTo>
                  <a:cubicBezTo>
                    <a:pt x="3622" y="60"/>
                    <a:pt x="3622" y="59"/>
                    <a:pt x="3617" y="55"/>
                  </a:cubicBezTo>
                  <a:cubicBezTo>
                    <a:pt x="3611" y="51"/>
                    <a:pt x="3617" y="44"/>
                    <a:pt x="3606" y="50"/>
                  </a:cubicBezTo>
                  <a:cubicBezTo>
                    <a:pt x="3595" y="55"/>
                    <a:pt x="3576" y="52"/>
                    <a:pt x="3566" y="55"/>
                  </a:cubicBezTo>
                  <a:cubicBezTo>
                    <a:pt x="3555" y="58"/>
                    <a:pt x="3559" y="70"/>
                    <a:pt x="3541" y="73"/>
                  </a:cubicBezTo>
                  <a:cubicBezTo>
                    <a:pt x="3524" y="75"/>
                    <a:pt x="3519" y="74"/>
                    <a:pt x="3501" y="75"/>
                  </a:cubicBezTo>
                  <a:cubicBezTo>
                    <a:pt x="3484" y="77"/>
                    <a:pt x="3474" y="73"/>
                    <a:pt x="3465" y="78"/>
                  </a:cubicBezTo>
                  <a:cubicBezTo>
                    <a:pt x="3455" y="83"/>
                    <a:pt x="3453" y="86"/>
                    <a:pt x="3445" y="86"/>
                  </a:cubicBezTo>
                  <a:cubicBezTo>
                    <a:pt x="3437" y="86"/>
                    <a:pt x="3434" y="85"/>
                    <a:pt x="3425" y="87"/>
                  </a:cubicBezTo>
                  <a:cubicBezTo>
                    <a:pt x="3415" y="90"/>
                    <a:pt x="3402" y="97"/>
                    <a:pt x="3398" y="102"/>
                  </a:cubicBezTo>
                  <a:cubicBezTo>
                    <a:pt x="3394" y="107"/>
                    <a:pt x="3406" y="111"/>
                    <a:pt x="3390" y="117"/>
                  </a:cubicBezTo>
                  <a:cubicBezTo>
                    <a:pt x="3374" y="122"/>
                    <a:pt x="3368" y="120"/>
                    <a:pt x="3362" y="122"/>
                  </a:cubicBezTo>
                  <a:cubicBezTo>
                    <a:pt x="3355" y="125"/>
                    <a:pt x="3352" y="129"/>
                    <a:pt x="3349" y="134"/>
                  </a:cubicBezTo>
                  <a:cubicBezTo>
                    <a:pt x="3347" y="140"/>
                    <a:pt x="3345" y="145"/>
                    <a:pt x="3349" y="150"/>
                  </a:cubicBezTo>
                  <a:cubicBezTo>
                    <a:pt x="3353" y="156"/>
                    <a:pt x="3362" y="160"/>
                    <a:pt x="3371" y="157"/>
                  </a:cubicBezTo>
                  <a:cubicBezTo>
                    <a:pt x="3380" y="154"/>
                    <a:pt x="3390" y="146"/>
                    <a:pt x="3391" y="152"/>
                  </a:cubicBezTo>
                  <a:cubicBezTo>
                    <a:pt x="3392" y="157"/>
                    <a:pt x="3394" y="165"/>
                    <a:pt x="3403" y="162"/>
                  </a:cubicBezTo>
                  <a:cubicBezTo>
                    <a:pt x="3413" y="160"/>
                    <a:pt x="3427" y="158"/>
                    <a:pt x="3433" y="153"/>
                  </a:cubicBezTo>
                  <a:cubicBezTo>
                    <a:pt x="3438" y="148"/>
                    <a:pt x="3445" y="153"/>
                    <a:pt x="3450" y="153"/>
                  </a:cubicBezTo>
                  <a:cubicBezTo>
                    <a:pt x="3455" y="153"/>
                    <a:pt x="3470" y="154"/>
                    <a:pt x="3477" y="152"/>
                  </a:cubicBezTo>
                  <a:cubicBezTo>
                    <a:pt x="3484" y="149"/>
                    <a:pt x="3492" y="149"/>
                    <a:pt x="3497" y="148"/>
                  </a:cubicBezTo>
                  <a:cubicBezTo>
                    <a:pt x="3502" y="146"/>
                    <a:pt x="3517" y="150"/>
                    <a:pt x="3517" y="150"/>
                  </a:cubicBezTo>
                  <a:cubicBezTo>
                    <a:pt x="3517" y="150"/>
                    <a:pt x="3496" y="161"/>
                    <a:pt x="3488" y="161"/>
                  </a:cubicBezTo>
                  <a:cubicBezTo>
                    <a:pt x="3480" y="161"/>
                    <a:pt x="3461" y="158"/>
                    <a:pt x="3454" y="162"/>
                  </a:cubicBezTo>
                  <a:cubicBezTo>
                    <a:pt x="3447" y="167"/>
                    <a:pt x="3441" y="164"/>
                    <a:pt x="3433" y="167"/>
                  </a:cubicBezTo>
                  <a:cubicBezTo>
                    <a:pt x="3425" y="169"/>
                    <a:pt x="3422" y="169"/>
                    <a:pt x="3419" y="177"/>
                  </a:cubicBezTo>
                  <a:cubicBezTo>
                    <a:pt x="3417" y="185"/>
                    <a:pt x="3418" y="189"/>
                    <a:pt x="3413" y="193"/>
                  </a:cubicBezTo>
                  <a:cubicBezTo>
                    <a:pt x="3407" y="197"/>
                    <a:pt x="3396" y="203"/>
                    <a:pt x="3396" y="203"/>
                  </a:cubicBezTo>
                  <a:cubicBezTo>
                    <a:pt x="3396" y="203"/>
                    <a:pt x="3400" y="200"/>
                    <a:pt x="3400" y="195"/>
                  </a:cubicBezTo>
                  <a:cubicBezTo>
                    <a:pt x="3400" y="189"/>
                    <a:pt x="3404" y="181"/>
                    <a:pt x="3399" y="179"/>
                  </a:cubicBezTo>
                  <a:cubicBezTo>
                    <a:pt x="3394" y="176"/>
                    <a:pt x="3392" y="176"/>
                    <a:pt x="3386" y="175"/>
                  </a:cubicBezTo>
                  <a:cubicBezTo>
                    <a:pt x="3379" y="173"/>
                    <a:pt x="3371" y="175"/>
                    <a:pt x="3366" y="175"/>
                  </a:cubicBezTo>
                  <a:cubicBezTo>
                    <a:pt x="3360" y="175"/>
                    <a:pt x="3359" y="176"/>
                    <a:pt x="3355" y="171"/>
                  </a:cubicBezTo>
                  <a:cubicBezTo>
                    <a:pt x="3351" y="165"/>
                    <a:pt x="3348" y="162"/>
                    <a:pt x="3343" y="169"/>
                  </a:cubicBezTo>
                  <a:cubicBezTo>
                    <a:pt x="3337" y="176"/>
                    <a:pt x="3340" y="179"/>
                    <a:pt x="3335" y="181"/>
                  </a:cubicBezTo>
                  <a:cubicBezTo>
                    <a:pt x="3329" y="184"/>
                    <a:pt x="3319" y="192"/>
                    <a:pt x="3312" y="195"/>
                  </a:cubicBezTo>
                  <a:cubicBezTo>
                    <a:pt x="3305" y="197"/>
                    <a:pt x="3311" y="197"/>
                    <a:pt x="3300" y="207"/>
                  </a:cubicBezTo>
                  <a:cubicBezTo>
                    <a:pt x="3289" y="216"/>
                    <a:pt x="3284" y="227"/>
                    <a:pt x="3284" y="227"/>
                  </a:cubicBezTo>
                  <a:cubicBezTo>
                    <a:pt x="3284" y="227"/>
                    <a:pt x="3270" y="232"/>
                    <a:pt x="3276" y="236"/>
                  </a:cubicBezTo>
                  <a:cubicBezTo>
                    <a:pt x="3281" y="240"/>
                    <a:pt x="3284" y="239"/>
                    <a:pt x="3282" y="247"/>
                  </a:cubicBezTo>
                  <a:cubicBezTo>
                    <a:pt x="3281" y="255"/>
                    <a:pt x="3282" y="263"/>
                    <a:pt x="3276" y="266"/>
                  </a:cubicBezTo>
                  <a:cubicBezTo>
                    <a:pt x="3269" y="269"/>
                    <a:pt x="3262" y="277"/>
                    <a:pt x="3261" y="271"/>
                  </a:cubicBezTo>
                  <a:cubicBezTo>
                    <a:pt x="3259" y="266"/>
                    <a:pt x="3253" y="260"/>
                    <a:pt x="3253" y="260"/>
                  </a:cubicBezTo>
                  <a:cubicBezTo>
                    <a:pt x="3241" y="254"/>
                    <a:pt x="3230" y="252"/>
                    <a:pt x="3225" y="254"/>
                  </a:cubicBezTo>
                  <a:cubicBezTo>
                    <a:pt x="3219" y="255"/>
                    <a:pt x="3208" y="267"/>
                    <a:pt x="3200" y="267"/>
                  </a:cubicBezTo>
                  <a:cubicBezTo>
                    <a:pt x="3192" y="267"/>
                    <a:pt x="3182" y="271"/>
                    <a:pt x="3174" y="270"/>
                  </a:cubicBezTo>
                  <a:cubicBezTo>
                    <a:pt x="3166" y="269"/>
                    <a:pt x="3148" y="277"/>
                    <a:pt x="3148" y="277"/>
                  </a:cubicBezTo>
                  <a:cubicBezTo>
                    <a:pt x="3148" y="277"/>
                    <a:pt x="3133" y="289"/>
                    <a:pt x="3129" y="290"/>
                  </a:cubicBezTo>
                  <a:cubicBezTo>
                    <a:pt x="3125" y="291"/>
                    <a:pt x="3116" y="293"/>
                    <a:pt x="3116" y="293"/>
                  </a:cubicBezTo>
                  <a:cubicBezTo>
                    <a:pt x="3116" y="293"/>
                    <a:pt x="3116" y="299"/>
                    <a:pt x="3121" y="306"/>
                  </a:cubicBezTo>
                  <a:cubicBezTo>
                    <a:pt x="3127" y="313"/>
                    <a:pt x="3120" y="320"/>
                    <a:pt x="3116" y="324"/>
                  </a:cubicBezTo>
                  <a:cubicBezTo>
                    <a:pt x="3112" y="328"/>
                    <a:pt x="3100" y="342"/>
                    <a:pt x="3093" y="345"/>
                  </a:cubicBezTo>
                  <a:cubicBezTo>
                    <a:pt x="3086" y="348"/>
                    <a:pt x="3089" y="360"/>
                    <a:pt x="3086" y="348"/>
                  </a:cubicBezTo>
                  <a:cubicBezTo>
                    <a:pt x="3084" y="336"/>
                    <a:pt x="3092" y="325"/>
                    <a:pt x="3088" y="324"/>
                  </a:cubicBezTo>
                  <a:cubicBezTo>
                    <a:pt x="3084" y="322"/>
                    <a:pt x="3085" y="317"/>
                    <a:pt x="3077" y="318"/>
                  </a:cubicBezTo>
                  <a:cubicBezTo>
                    <a:pt x="3069" y="320"/>
                    <a:pt x="3062" y="324"/>
                    <a:pt x="3055" y="321"/>
                  </a:cubicBezTo>
                  <a:cubicBezTo>
                    <a:pt x="3049" y="318"/>
                    <a:pt x="3034" y="330"/>
                    <a:pt x="3034" y="330"/>
                  </a:cubicBezTo>
                  <a:cubicBezTo>
                    <a:pt x="3034" y="330"/>
                    <a:pt x="3023" y="341"/>
                    <a:pt x="3023" y="345"/>
                  </a:cubicBezTo>
                  <a:cubicBezTo>
                    <a:pt x="3023" y="349"/>
                    <a:pt x="3033" y="367"/>
                    <a:pt x="3018" y="365"/>
                  </a:cubicBezTo>
                  <a:cubicBezTo>
                    <a:pt x="3003" y="364"/>
                    <a:pt x="3006" y="368"/>
                    <a:pt x="2996" y="368"/>
                  </a:cubicBezTo>
                  <a:cubicBezTo>
                    <a:pt x="2987" y="368"/>
                    <a:pt x="2984" y="372"/>
                    <a:pt x="2979" y="375"/>
                  </a:cubicBezTo>
                  <a:cubicBezTo>
                    <a:pt x="2974" y="377"/>
                    <a:pt x="2968" y="391"/>
                    <a:pt x="2961" y="384"/>
                  </a:cubicBezTo>
                  <a:close/>
                  <a:moveTo>
                    <a:pt x="3017" y="302"/>
                  </a:moveTo>
                  <a:cubicBezTo>
                    <a:pt x="3023" y="304"/>
                    <a:pt x="3028" y="301"/>
                    <a:pt x="3036" y="300"/>
                  </a:cubicBezTo>
                  <a:cubicBezTo>
                    <a:pt x="3044" y="299"/>
                    <a:pt x="3044" y="295"/>
                    <a:pt x="3050" y="293"/>
                  </a:cubicBezTo>
                  <a:cubicBezTo>
                    <a:pt x="3056" y="291"/>
                    <a:pt x="3062" y="296"/>
                    <a:pt x="3068" y="303"/>
                  </a:cubicBezTo>
                  <a:cubicBezTo>
                    <a:pt x="3074" y="310"/>
                    <a:pt x="3077" y="303"/>
                    <a:pt x="3083" y="298"/>
                  </a:cubicBezTo>
                  <a:cubicBezTo>
                    <a:pt x="3089" y="292"/>
                    <a:pt x="3095" y="287"/>
                    <a:pt x="3099" y="283"/>
                  </a:cubicBezTo>
                  <a:cubicBezTo>
                    <a:pt x="3099" y="283"/>
                    <a:pt x="3114" y="274"/>
                    <a:pt x="3122" y="272"/>
                  </a:cubicBezTo>
                  <a:cubicBezTo>
                    <a:pt x="3130" y="271"/>
                    <a:pt x="3133" y="263"/>
                    <a:pt x="3140" y="261"/>
                  </a:cubicBezTo>
                  <a:cubicBezTo>
                    <a:pt x="3147" y="259"/>
                    <a:pt x="3153" y="258"/>
                    <a:pt x="3159" y="260"/>
                  </a:cubicBezTo>
                  <a:cubicBezTo>
                    <a:pt x="3165" y="262"/>
                    <a:pt x="3177" y="260"/>
                    <a:pt x="3185" y="259"/>
                  </a:cubicBezTo>
                  <a:cubicBezTo>
                    <a:pt x="3193" y="258"/>
                    <a:pt x="3193" y="254"/>
                    <a:pt x="3200" y="252"/>
                  </a:cubicBezTo>
                  <a:cubicBezTo>
                    <a:pt x="3207" y="250"/>
                    <a:pt x="3223" y="242"/>
                    <a:pt x="3228" y="243"/>
                  </a:cubicBezTo>
                  <a:cubicBezTo>
                    <a:pt x="3234" y="244"/>
                    <a:pt x="3247" y="238"/>
                    <a:pt x="3256" y="242"/>
                  </a:cubicBezTo>
                  <a:cubicBezTo>
                    <a:pt x="3265" y="245"/>
                    <a:pt x="3267" y="237"/>
                    <a:pt x="3272" y="234"/>
                  </a:cubicBezTo>
                  <a:cubicBezTo>
                    <a:pt x="3276" y="230"/>
                    <a:pt x="3276" y="222"/>
                    <a:pt x="3285" y="212"/>
                  </a:cubicBezTo>
                  <a:cubicBezTo>
                    <a:pt x="3294" y="202"/>
                    <a:pt x="3294" y="193"/>
                    <a:pt x="3298" y="187"/>
                  </a:cubicBezTo>
                  <a:cubicBezTo>
                    <a:pt x="3301" y="182"/>
                    <a:pt x="3311" y="159"/>
                    <a:pt x="3323" y="158"/>
                  </a:cubicBezTo>
                  <a:cubicBezTo>
                    <a:pt x="3334" y="156"/>
                    <a:pt x="3327" y="149"/>
                    <a:pt x="3327" y="144"/>
                  </a:cubicBezTo>
                  <a:cubicBezTo>
                    <a:pt x="3327" y="139"/>
                    <a:pt x="3334" y="129"/>
                    <a:pt x="3339" y="125"/>
                  </a:cubicBezTo>
                  <a:cubicBezTo>
                    <a:pt x="3343" y="120"/>
                    <a:pt x="3351" y="106"/>
                    <a:pt x="3351" y="106"/>
                  </a:cubicBezTo>
                  <a:cubicBezTo>
                    <a:pt x="3351" y="106"/>
                    <a:pt x="3344" y="108"/>
                    <a:pt x="3338" y="114"/>
                  </a:cubicBezTo>
                  <a:cubicBezTo>
                    <a:pt x="3331" y="121"/>
                    <a:pt x="3324" y="118"/>
                    <a:pt x="3319" y="120"/>
                  </a:cubicBezTo>
                  <a:cubicBezTo>
                    <a:pt x="3315" y="122"/>
                    <a:pt x="3308" y="113"/>
                    <a:pt x="3301" y="112"/>
                  </a:cubicBezTo>
                  <a:cubicBezTo>
                    <a:pt x="3294" y="111"/>
                    <a:pt x="3288" y="126"/>
                    <a:pt x="3282" y="130"/>
                  </a:cubicBezTo>
                  <a:cubicBezTo>
                    <a:pt x="3276" y="135"/>
                    <a:pt x="3261" y="129"/>
                    <a:pt x="3258" y="130"/>
                  </a:cubicBezTo>
                  <a:cubicBezTo>
                    <a:pt x="3255" y="131"/>
                    <a:pt x="3247" y="136"/>
                    <a:pt x="3242" y="141"/>
                  </a:cubicBezTo>
                  <a:cubicBezTo>
                    <a:pt x="3238" y="145"/>
                    <a:pt x="3233" y="146"/>
                    <a:pt x="3226" y="151"/>
                  </a:cubicBezTo>
                  <a:cubicBezTo>
                    <a:pt x="3219" y="155"/>
                    <a:pt x="3217" y="149"/>
                    <a:pt x="3211" y="150"/>
                  </a:cubicBezTo>
                  <a:cubicBezTo>
                    <a:pt x="3206" y="151"/>
                    <a:pt x="3193" y="160"/>
                    <a:pt x="3191" y="166"/>
                  </a:cubicBezTo>
                  <a:cubicBezTo>
                    <a:pt x="3189" y="171"/>
                    <a:pt x="3173" y="166"/>
                    <a:pt x="3167" y="164"/>
                  </a:cubicBezTo>
                  <a:cubicBezTo>
                    <a:pt x="3161" y="163"/>
                    <a:pt x="3158" y="166"/>
                    <a:pt x="3155" y="172"/>
                  </a:cubicBezTo>
                  <a:cubicBezTo>
                    <a:pt x="3151" y="179"/>
                    <a:pt x="3156" y="184"/>
                    <a:pt x="3155" y="188"/>
                  </a:cubicBezTo>
                  <a:cubicBezTo>
                    <a:pt x="3153" y="193"/>
                    <a:pt x="3136" y="188"/>
                    <a:pt x="3136" y="188"/>
                  </a:cubicBezTo>
                  <a:cubicBezTo>
                    <a:pt x="3136" y="188"/>
                    <a:pt x="3126" y="186"/>
                    <a:pt x="3125" y="192"/>
                  </a:cubicBezTo>
                  <a:cubicBezTo>
                    <a:pt x="3124" y="197"/>
                    <a:pt x="3122" y="203"/>
                    <a:pt x="3118" y="208"/>
                  </a:cubicBezTo>
                  <a:cubicBezTo>
                    <a:pt x="3115" y="212"/>
                    <a:pt x="3098" y="208"/>
                    <a:pt x="3094" y="207"/>
                  </a:cubicBezTo>
                  <a:cubicBezTo>
                    <a:pt x="3091" y="205"/>
                    <a:pt x="3083" y="210"/>
                    <a:pt x="3081" y="214"/>
                  </a:cubicBezTo>
                  <a:cubicBezTo>
                    <a:pt x="3078" y="219"/>
                    <a:pt x="3076" y="218"/>
                    <a:pt x="3076" y="224"/>
                  </a:cubicBezTo>
                  <a:cubicBezTo>
                    <a:pt x="3076" y="229"/>
                    <a:pt x="3085" y="228"/>
                    <a:pt x="3098" y="229"/>
                  </a:cubicBezTo>
                  <a:cubicBezTo>
                    <a:pt x="3110" y="230"/>
                    <a:pt x="3095" y="235"/>
                    <a:pt x="3092" y="236"/>
                  </a:cubicBezTo>
                  <a:cubicBezTo>
                    <a:pt x="3089" y="237"/>
                    <a:pt x="3079" y="236"/>
                    <a:pt x="3076" y="236"/>
                  </a:cubicBezTo>
                  <a:cubicBezTo>
                    <a:pt x="3073" y="236"/>
                    <a:pt x="3065" y="236"/>
                    <a:pt x="3065" y="236"/>
                  </a:cubicBezTo>
                  <a:cubicBezTo>
                    <a:pt x="3060" y="246"/>
                    <a:pt x="3060" y="246"/>
                    <a:pt x="3060" y="246"/>
                  </a:cubicBezTo>
                  <a:cubicBezTo>
                    <a:pt x="3045" y="251"/>
                    <a:pt x="3045" y="251"/>
                    <a:pt x="3045" y="251"/>
                  </a:cubicBezTo>
                  <a:cubicBezTo>
                    <a:pt x="3045" y="251"/>
                    <a:pt x="3036" y="259"/>
                    <a:pt x="3036" y="266"/>
                  </a:cubicBezTo>
                  <a:cubicBezTo>
                    <a:pt x="3036" y="272"/>
                    <a:pt x="3028" y="278"/>
                    <a:pt x="3028" y="278"/>
                  </a:cubicBezTo>
                  <a:cubicBezTo>
                    <a:pt x="3028" y="278"/>
                    <a:pt x="3014" y="278"/>
                    <a:pt x="3010" y="282"/>
                  </a:cubicBezTo>
                  <a:cubicBezTo>
                    <a:pt x="3007" y="285"/>
                    <a:pt x="3006" y="292"/>
                    <a:pt x="3006" y="296"/>
                  </a:cubicBezTo>
                  <a:cubicBezTo>
                    <a:pt x="3006" y="301"/>
                    <a:pt x="3011" y="300"/>
                    <a:pt x="3017" y="302"/>
                  </a:cubicBezTo>
                  <a:close/>
                  <a:moveTo>
                    <a:pt x="6508" y="1887"/>
                  </a:moveTo>
                  <a:cubicBezTo>
                    <a:pt x="6510" y="1889"/>
                    <a:pt x="6509" y="1890"/>
                    <a:pt x="6512" y="1894"/>
                  </a:cubicBezTo>
                  <a:cubicBezTo>
                    <a:pt x="6514" y="1897"/>
                    <a:pt x="6522" y="1901"/>
                    <a:pt x="6528" y="1904"/>
                  </a:cubicBezTo>
                  <a:cubicBezTo>
                    <a:pt x="6534" y="1907"/>
                    <a:pt x="6539" y="1908"/>
                    <a:pt x="6539" y="1914"/>
                  </a:cubicBezTo>
                  <a:cubicBezTo>
                    <a:pt x="6539" y="1920"/>
                    <a:pt x="6543" y="1925"/>
                    <a:pt x="6541" y="1930"/>
                  </a:cubicBezTo>
                  <a:cubicBezTo>
                    <a:pt x="6540" y="1936"/>
                    <a:pt x="6541" y="1939"/>
                    <a:pt x="6538" y="1944"/>
                  </a:cubicBezTo>
                  <a:cubicBezTo>
                    <a:pt x="6534" y="1950"/>
                    <a:pt x="6534" y="1950"/>
                    <a:pt x="6531" y="1952"/>
                  </a:cubicBezTo>
                  <a:cubicBezTo>
                    <a:pt x="6528" y="1954"/>
                    <a:pt x="6524" y="1960"/>
                    <a:pt x="6524" y="1960"/>
                  </a:cubicBezTo>
                  <a:cubicBezTo>
                    <a:pt x="6524" y="1960"/>
                    <a:pt x="6517" y="1970"/>
                    <a:pt x="6522" y="1974"/>
                  </a:cubicBezTo>
                  <a:cubicBezTo>
                    <a:pt x="6527" y="1978"/>
                    <a:pt x="6525" y="1984"/>
                    <a:pt x="6531" y="1985"/>
                  </a:cubicBezTo>
                  <a:cubicBezTo>
                    <a:pt x="6537" y="1985"/>
                    <a:pt x="6535" y="1990"/>
                    <a:pt x="6538" y="1992"/>
                  </a:cubicBezTo>
                  <a:cubicBezTo>
                    <a:pt x="6541" y="1993"/>
                    <a:pt x="6545" y="1997"/>
                    <a:pt x="6549" y="1992"/>
                  </a:cubicBezTo>
                  <a:cubicBezTo>
                    <a:pt x="6554" y="1988"/>
                    <a:pt x="6552" y="1989"/>
                    <a:pt x="6554" y="1983"/>
                  </a:cubicBezTo>
                  <a:cubicBezTo>
                    <a:pt x="6555" y="1977"/>
                    <a:pt x="6550" y="1970"/>
                    <a:pt x="6554" y="1967"/>
                  </a:cubicBezTo>
                  <a:cubicBezTo>
                    <a:pt x="6557" y="1964"/>
                    <a:pt x="6563" y="1963"/>
                    <a:pt x="6563" y="1959"/>
                  </a:cubicBezTo>
                  <a:cubicBezTo>
                    <a:pt x="6563" y="1956"/>
                    <a:pt x="6561" y="1948"/>
                    <a:pt x="6564" y="1947"/>
                  </a:cubicBezTo>
                  <a:cubicBezTo>
                    <a:pt x="6567" y="1946"/>
                    <a:pt x="6572" y="1956"/>
                    <a:pt x="6573" y="1958"/>
                  </a:cubicBezTo>
                  <a:cubicBezTo>
                    <a:pt x="6574" y="1961"/>
                    <a:pt x="6575" y="1971"/>
                    <a:pt x="6571" y="1975"/>
                  </a:cubicBezTo>
                  <a:cubicBezTo>
                    <a:pt x="6568" y="1978"/>
                    <a:pt x="6561" y="1988"/>
                    <a:pt x="6567" y="1989"/>
                  </a:cubicBezTo>
                  <a:cubicBezTo>
                    <a:pt x="6572" y="1990"/>
                    <a:pt x="6575" y="1992"/>
                    <a:pt x="6571" y="1997"/>
                  </a:cubicBezTo>
                  <a:cubicBezTo>
                    <a:pt x="6567" y="2001"/>
                    <a:pt x="6561" y="2013"/>
                    <a:pt x="6566" y="2014"/>
                  </a:cubicBezTo>
                  <a:cubicBezTo>
                    <a:pt x="6570" y="2016"/>
                    <a:pt x="6574" y="2022"/>
                    <a:pt x="6575" y="2026"/>
                  </a:cubicBezTo>
                  <a:cubicBezTo>
                    <a:pt x="6575" y="2029"/>
                    <a:pt x="6568" y="2041"/>
                    <a:pt x="6569" y="2044"/>
                  </a:cubicBezTo>
                  <a:cubicBezTo>
                    <a:pt x="6571" y="2047"/>
                    <a:pt x="6569" y="2069"/>
                    <a:pt x="6575" y="2070"/>
                  </a:cubicBezTo>
                  <a:cubicBezTo>
                    <a:pt x="6582" y="2071"/>
                    <a:pt x="6589" y="2072"/>
                    <a:pt x="6589" y="2072"/>
                  </a:cubicBezTo>
                  <a:cubicBezTo>
                    <a:pt x="6589" y="2072"/>
                    <a:pt x="6595" y="2069"/>
                    <a:pt x="6591" y="2062"/>
                  </a:cubicBezTo>
                  <a:cubicBezTo>
                    <a:pt x="6588" y="2055"/>
                    <a:pt x="6580" y="2048"/>
                    <a:pt x="6584" y="2046"/>
                  </a:cubicBezTo>
                  <a:cubicBezTo>
                    <a:pt x="6589" y="2044"/>
                    <a:pt x="6593" y="2041"/>
                    <a:pt x="6591" y="2036"/>
                  </a:cubicBezTo>
                  <a:cubicBezTo>
                    <a:pt x="6589" y="2032"/>
                    <a:pt x="6585" y="2028"/>
                    <a:pt x="6585" y="2026"/>
                  </a:cubicBezTo>
                  <a:cubicBezTo>
                    <a:pt x="6585" y="2023"/>
                    <a:pt x="6579" y="2020"/>
                    <a:pt x="6582" y="2016"/>
                  </a:cubicBezTo>
                  <a:cubicBezTo>
                    <a:pt x="6586" y="2013"/>
                    <a:pt x="6582" y="2012"/>
                    <a:pt x="6586" y="2013"/>
                  </a:cubicBezTo>
                  <a:cubicBezTo>
                    <a:pt x="6590" y="2013"/>
                    <a:pt x="6594" y="2021"/>
                    <a:pt x="6598" y="2020"/>
                  </a:cubicBezTo>
                  <a:cubicBezTo>
                    <a:pt x="6603" y="2018"/>
                    <a:pt x="6605" y="2016"/>
                    <a:pt x="6608" y="2013"/>
                  </a:cubicBezTo>
                  <a:cubicBezTo>
                    <a:pt x="6610" y="2009"/>
                    <a:pt x="6615" y="2006"/>
                    <a:pt x="6615" y="2012"/>
                  </a:cubicBezTo>
                  <a:cubicBezTo>
                    <a:pt x="6615" y="2017"/>
                    <a:pt x="6609" y="2025"/>
                    <a:pt x="6611" y="2028"/>
                  </a:cubicBezTo>
                  <a:cubicBezTo>
                    <a:pt x="6614" y="2032"/>
                    <a:pt x="6617" y="2036"/>
                    <a:pt x="6621" y="2037"/>
                  </a:cubicBezTo>
                  <a:cubicBezTo>
                    <a:pt x="6625" y="2038"/>
                    <a:pt x="6630" y="2044"/>
                    <a:pt x="6631" y="2047"/>
                  </a:cubicBezTo>
                  <a:cubicBezTo>
                    <a:pt x="6633" y="2049"/>
                    <a:pt x="6630" y="2058"/>
                    <a:pt x="6632" y="2060"/>
                  </a:cubicBezTo>
                  <a:cubicBezTo>
                    <a:pt x="6635" y="2062"/>
                    <a:pt x="6638" y="2069"/>
                    <a:pt x="6631" y="2070"/>
                  </a:cubicBezTo>
                  <a:cubicBezTo>
                    <a:pt x="6625" y="2071"/>
                    <a:pt x="6624" y="2078"/>
                    <a:pt x="6624" y="2081"/>
                  </a:cubicBezTo>
                  <a:cubicBezTo>
                    <a:pt x="6624" y="2083"/>
                    <a:pt x="6621" y="2099"/>
                    <a:pt x="6624" y="2101"/>
                  </a:cubicBezTo>
                  <a:cubicBezTo>
                    <a:pt x="6628" y="2103"/>
                    <a:pt x="6628" y="2115"/>
                    <a:pt x="6634" y="2114"/>
                  </a:cubicBezTo>
                  <a:cubicBezTo>
                    <a:pt x="6640" y="2113"/>
                    <a:pt x="6652" y="2117"/>
                    <a:pt x="6656" y="2114"/>
                  </a:cubicBezTo>
                  <a:cubicBezTo>
                    <a:pt x="6659" y="2111"/>
                    <a:pt x="6663" y="2096"/>
                    <a:pt x="6670" y="2108"/>
                  </a:cubicBezTo>
                  <a:cubicBezTo>
                    <a:pt x="6677" y="2120"/>
                    <a:pt x="6680" y="2126"/>
                    <a:pt x="6686" y="2124"/>
                  </a:cubicBezTo>
                  <a:cubicBezTo>
                    <a:pt x="6691" y="2123"/>
                    <a:pt x="6692" y="2109"/>
                    <a:pt x="6694" y="2105"/>
                  </a:cubicBezTo>
                  <a:cubicBezTo>
                    <a:pt x="6695" y="2102"/>
                    <a:pt x="6703" y="2101"/>
                    <a:pt x="6704" y="2103"/>
                  </a:cubicBezTo>
                  <a:cubicBezTo>
                    <a:pt x="6705" y="2106"/>
                    <a:pt x="6708" y="2111"/>
                    <a:pt x="6710" y="2107"/>
                  </a:cubicBezTo>
                  <a:cubicBezTo>
                    <a:pt x="6712" y="2103"/>
                    <a:pt x="6727" y="2104"/>
                    <a:pt x="6727" y="2104"/>
                  </a:cubicBezTo>
                  <a:cubicBezTo>
                    <a:pt x="6723" y="2106"/>
                    <a:pt x="6715" y="2118"/>
                    <a:pt x="6719" y="2130"/>
                  </a:cubicBezTo>
                  <a:cubicBezTo>
                    <a:pt x="6723" y="2141"/>
                    <a:pt x="6729" y="2139"/>
                    <a:pt x="6735" y="2150"/>
                  </a:cubicBezTo>
                  <a:cubicBezTo>
                    <a:pt x="6741" y="2160"/>
                    <a:pt x="6732" y="2166"/>
                    <a:pt x="6741" y="2167"/>
                  </a:cubicBezTo>
                  <a:cubicBezTo>
                    <a:pt x="6750" y="2168"/>
                    <a:pt x="6750" y="2166"/>
                    <a:pt x="6754" y="2168"/>
                  </a:cubicBezTo>
                  <a:cubicBezTo>
                    <a:pt x="6758" y="2170"/>
                    <a:pt x="6758" y="2164"/>
                    <a:pt x="6764" y="2168"/>
                  </a:cubicBezTo>
                  <a:cubicBezTo>
                    <a:pt x="6769" y="2173"/>
                    <a:pt x="6772" y="2176"/>
                    <a:pt x="6770" y="2182"/>
                  </a:cubicBezTo>
                  <a:cubicBezTo>
                    <a:pt x="6767" y="2188"/>
                    <a:pt x="6764" y="2194"/>
                    <a:pt x="6770" y="2198"/>
                  </a:cubicBezTo>
                  <a:cubicBezTo>
                    <a:pt x="6775" y="2201"/>
                    <a:pt x="6778" y="2207"/>
                    <a:pt x="6775" y="2211"/>
                  </a:cubicBezTo>
                  <a:cubicBezTo>
                    <a:pt x="6772" y="2215"/>
                    <a:pt x="6768" y="2220"/>
                    <a:pt x="6771" y="2223"/>
                  </a:cubicBezTo>
                  <a:cubicBezTo>
                    <a:pt x="6775" y="2227"/>
                    <a:pt x="6776" y="2230"/>
                    <a:pt x="6773" y="2232"/>
                  </a:cubicBezTo>
                  <a:cubicBezTo>
                    <a:pt x="6771" y="2234"/>
                    <a:pt x="6764" y="2239"/>
                    <a:pt x="6764" y="2236"/>
                  </a:cubicBezTo>
                  <a:cubicBezTo>
                    <a:pt x="6763" y="2232"/>
                    <a:pt x="6751" y="2232"/>
                    <a:pt x="6751" y="2232"/>
                  </a:cubicBezTo>
                  <a:cubicBezTo>
                    <a:pt x="6751" y="2232"/>
                    <a:pt x="6743" y="2233"/>
                    <a:pt x="6739" y="2235"/>
                  </a:cubicBezTo>
                  <a:cubicBezTo>
                    <a:pt x="6736" y="2236"/>
                    <a:pt x="6729" y="2243"/>
                    <a:pt x="6728" y="2239"/>
                  </a:cubicBezTo>
                  <a:cubicBezTo>
                    <a:pt x="6727" y="2236"/>
                    <a:pt x="6724" y="2236"/>
                    <a:pt x="6722" y="2232"/>
                  </a:cubicBezTo>
                  <a:cubicBezTo>
                    <a:pt x="6719" y="2228"/>
                    <a:pt x="6714" y="2226"/>
                    <a:pt x="6711" y="2224"/>
                  </a:cubicBezTo>
                  <a:cubicBezTo>
                    <a:pt x="6708" y="2222"/>
                    <a:pt x="6706" y="2224"/>
                    <a:pt x="6702" y="2225"/>
                  </a:cubicBezTo>
                  <a:cubicBezTo>
                    <a:pt x="6699" y="2226"/>
                    <a:pt x="6695" y="2230"/>
                    <a:pt x="6694" y="2233"/>
                  </a:cubicBezTo>
                  <a:cubicBezTo>
                    <a:pt x="6694" y="2236"/>
                    <a:pt x="6684" y="2243"/>
                    <a:pt x="6692" y="2243"/>
                  </a:cubicBezTo>
                  <a:cubicBezTo>
                    <a:pt x="6700" y="2244"/>
                    <a:pt x="6706" y="2250"/>
                    <a:pt x="6706" y="2250"/>
                  </a:cubicBezTo>
                  <a:cubicBezTo>
                    <a:pt x="6706" y="2260"/>
                    <a:pt x="6706" y="2260"/>
                    <a:pt x="6706" y="2260"/>
                  </a:cubicBezTo>
                  <a:cubicBezTo>
                    <a:pt x="6706" y="2260"/>
                    <a:pt x="6715" y="2264"/>
                    <a:pt x="6709" y="2266"/>
                  </a:cubicBezTo>
                  <a:cubicBezTo>
                    <a:pt x="6703" y="2269"/>
                    <a:pt x="6694" y="2277"/>
                    <a:pt x="6699" y="2279"/>
                  </a:cubicBezTo>
                  <a:cubicBezTo>
                    <a:pt x="6703" y="2282"/>
                    <a:pt x="6705" y="2285"/>
                    <a:pt x="6709" y="2284"/>
                  </a:cubicBezTo>
                  <a:cubicBezTo>
                    <a:pt x="6714" y="2283"/>
                    <a:pt x="6717" y="2281"/>
                    <a:pt x="6722" y="2279"/>
                  </a:cubicBezTo>
                  <a:cubicBezTo>
                    <a:pt x="6726" y="2278"/>
                    <a:pt x="6732" y="2276"/>
                    <a:pt x="6735" y="2280"/>
                  </a:cubicBezTo>
                  <a:cubicBezTo>
                    <a:pt x="6737" y="2285"/>
                    <a:pt x="6743" y="2271"/>
                    <a:pt x="6744" y="2280"/>
                  </a:cubicBezTo>
                  <a:cubicBezTo>
                    <a:pt x="6746" y="2290"/>
                    <a:pt x="6742" y="2301"/>
                    <a:pt x="6740" y="2304"/>
                  </a:cubicBezTo>
                  <a:cubicBezTo>
                    <a:pt x="6738" y="2306"/>
                    <a:pt x="6728" y="2310"/>
                    <a:pt x="6734" y="2314"/>
                  </a:cubicBezTo>
                  <a:cubicBezTo>
                    <a:pt x="6740" y="2319"/>
                    <a:pt x="6739" y="2329"/>
                    <a:pt x="6735" y="2328"/>
                  </a:cubicBezTo>
                  <a:cubicBezTo>
                    <a:pt x="6730" y="2327"/>
                    <a:pt x="6729" y="2327"/>
                    <a:pt x="6721" y="2332"/>
                  </a:cubicBezTo>
                  <a:cubicBezTo>
                    <a:pt x="6712" y="2336"/>
                    <a:pt x="6713" y="2346"/>
                    <a:pt x="6705" y="2343"/>
                  </a:cubicBezTo>
                  <a:cubicBezTo>
                    <a:pt x="6697" y="2340"/>
                    <a:pt x="6694" y="2343"/>
                    <a:pt x="6694" y="2347"/>
                  </a:cubicBezTo>
                  <a:cubicBezTo>
                    <a:pt x="6693" y="2352"/>
                    <a:pt x="6694" y="2360"/>
                    <a:pt x="6696" y="2362"/>
                  </a:cubicBezTo>
                  <a:cubicBezTo>
                    <a:pt x="6699" y="2365"/>
                    <a:pt x="6701" y="2367"/>
                    <a:pt x="6706" y="2368"/>
                  </a:cubicBezTo>
                  <a:cubicBezTo>
                    <a:pt x="6710" y="2370"/>
                    <a:pt x="6705" y="2375"/>
                    <a:pt x="6712" y="2378"/>
                  </a:cubicBezTo>
                  <a:cubicBezTo>
                    <a:pt x="6719" y="2381"/>
                    <a:pt x="6725" y="2384"/>
                    <a:pt x="6729" y="2380"/>
                  </a:cubicBezTo>
                  <a:cubicBezTo>
                    <a:pt x="6734" y="2375"/>
                    <a:pt x="6735" y="2371"/>
                    <a:pt x="6739" y="2370"/>
                  </a:cubicBezTo>
                  <a:cubicBezTo>
                    <a:pt x="6743" y="2369"/>
                    <a:pt x="6746" y="2368"/>
                    <a:pt x="6750" y="2369"/>
                  </a:cubicBezTo>
                  <a:cubicBezTo>
                    <a:pt x="6753" y="2371"/>
                    <a:pt x="6757" y="2369"/>
                    <a:pt x="6757" y="2374"/>
                  </a:cubicBezTo>
                  <a:cubicBezTo>
                    <a:pt x="6756" y="2378"/>
                    <a:pt x="6756" y="2385"/>
                    <a:pt x="6763" y="2383"/>
                  </a:cubicBezTo>
                  <a:cubicBezTo>
                    <a:pt x="6770" y="2382"/>
                    <a:pt x="6775" y="2377"/>
                    <a:pt x="6778" y="2378"/>
                  </a:cubicBezTo>
                  <a:cubicBezTo>
                    <a:pt x="6782" y="2379"/>
                    <a:pt x="6783" y="2380"/>
                    <a:pt x="6785" y="2384"/>
                  </a:cubicBezTo>
                  <a:cubicBezTo>
                    <a:pt x="6788" y="2389"/>
                    <a:pt x="6786" y="2394"/>
                    <a:pt x="6791" y="2393"/>
                  </a:cubicBezTo>
                  <a:cubicBezTo>
                    <a:pt x="6795" y="2392"/>
                    <a:pt x="6800" y="2391"/>
                    <a:pt x="6804" y="2390"/>
                  </a:cubicBezTo>
                  <a:cubicBezTo>
                    <a:pt x="6807" y="2389"/>
                    <a:pt x="6804" y="2392"/>
                    <a:pt x="6811" y="2395"/>
                  </a:cubicBezTo>
                  <a:cubicBezTo>
                    <a:pt x="6818" y="2397"/>
                    <a:pt x="6820" y="2403"/>
                    <a:pt x="6822" y="2396"/>
                  </a:cubicBezTo>
                  <a:cubicBezTo>
                    <a:pt x="6825" y="2389"/>
                    <a:pt x="6826" y="2382"/>
                    <a:pt x="6828" y="2382"/>
                  </a:cubicBezTo>
                  <a:cubicBezTo>
                    <a:pt x="6831" y="2381"/>
                    <a:pt x="6839" y="2377"/>
                    <a:pt x="6840" y="2375"/>
                  </a:cubicBezTo>
                  <a:cubicBezTo>
                    <a:pt x="6840" y="2372"/>
                    <a:pt x="6849" y="2376"/>
                    <a:pt x="6847" y="2381"/>
                  </a:cubicBezTo>
                  <a:cubicBezTo>
                    <a:pt x="6846" y="2385"/>
                    <a:pt x="6836" y="2384"/>
                    <a:pt x="6836" y="2392"/>
                  </a:cubicBezTo>
                  <a:cubicBezTo>
                    <a:pt x="6836" y="2400"/>
                    <a:pt x="6834" y="2403"/>
                    <a:pt x="6830" y="2404"/>
                  </a:cubicBezTo>
                  <a:cubicBezTo>
                    <a:pt x="6826" y="2406"/>
                    <a:pt x="6827" y="2409"/>
                    <a:pt x="6818" y="2407"/>
                  </a:cubicBezTo>
                  <a:cubicBezTo>
                    <a:pt x="6809" y="2405"/>
                    <a:pt x="6805" y="2405"/>
                    <a:pt x="6799" y="2404"/>
                  </a:cubicBezTo>
                  <a:cubicBezTo>
                    <a:pt x="6792" y="2403"/>
                    <a:pt x="6792" y="2404"/>
                    <a:pt x="6785" y="2406"/>
                  </a:cubicBezTo>
                  <a:cubicBezTo>
                    <a:pt x="6779" y="2408"/>
                    <a:pt x="6778" y="2410"/>
                    <a:pt x="6771" y="2411"/>
                  </a:cubicBezTo>
                  <a:cubicBezTo>
                    <a:pt x="6764" y="2412"/>
                    <a:pt x="6764" y="2417"/>
                    <a:pt x="6762" y="2419"/>
                  </a:cubicBezTo>
                  <a:cubicBezTo>
                    <a:pt x="6760" y="2422"/>
                    <a:pt x="6761" y="2427"/>
                    <a:pt x="6756" y="2426"/>
                  </a:cubicBezTo>
                  <a:cubicBezTo>
                    <a:pt x="6750" y="2425"/>
                    <a:pt x="6745" y="2426"/>
                    <a:pt x="6744" y="2432"/>
                  </a:cubicBezTo>
                  <a:cubicBezTo>
                    <a:pt x="6743" y="2438"/>
                    <a:pt x="6749" y="2442"/>
                    <a:pt x="6746" y="2445"/>
                  </a:cubicBezTo>
                  <a:cubicBezTo>
                    <a:pt x="6743" y="2447"/>
                    <a:pt x="6744" y="2450"/>
                    <a:pt x="6741" y="2455"/>
                  </a:cubicBezTo>
                  <a:cubicBezTo>
                    <a:pt x="6737" y="2460"/>
                    <a:pt x="6737" y="2465"/>
                    <a:pt x="6733" y="2470"/>
                  </a:cubicBezTo>
                  <a:cubicBezTo>
                    <a:pt x="6729" y="2475"/>
                    <a:pt x="6731" y="2477"/>
                    <a:pt x="6726" y="2479"/>
                  </a:cubicBezTo>
                  <a:cubicBezTo>
                    <a:pt x="6721" y="2480"/>
                    <a:pt x="6716" y="2480"/>
                    <a:pt x="6715" y="2484"/>
                  </a:cubicBezTo>
                  <a:cubicBezTo>
                    <a:pt x="6715" y="2487"/>
                    <a:pt x="6712" y="2492"/>
                    <a:pt x="6714" y="2496"/>
                  </a:cubicBezTo>
                  <a:cubicBezTo>
                    <a:pt x="6715" y="2501"/>
                    <a:pt x="6711" y="2505"/>
                    <a:pt x="6720" y="2507"/>
                  </a:cubicBezTo>
                  <a:cubicBezTo>
                    <a:pt x="6729" y="2508"/>
                    <a:pt x="6728" y="2508"/>
                    <a:pt x="6733" y="2509"/>
                  </a:cubicBezTo>
                  <a:cubicBezTo>
                    <a:pt x="6738" y="2511"/>
                    <a:pt x="6741" y="2511"/>
                    <a:pt x="6748" y="2507"/>
                  </a:cubicBezTo>
                  <a:cubicBezTo>
                    <a:pt x="6755" y="2502"/>
                    <a:pt x="6758" y="2487"/>
                    <a:pt x="6762" y="2487"/>
                  </a:cubicBezTo>
                  <a:cubicBezTo>
                    <a:pt x="6765" y="2487"/>
                    <a:pt x="6771" y="2488"/>
                    <a:pt x="6777" y="2489"/>
                  </a:cubicBezTo>
                  <a:cubicBezTo>
                    <a:pt x="6783" y="2490"/>
                    <a:pt x="6787" y="2478"/>
                    <a:pt x="6787" y="2478"/>
                  </a:cubicBezTo>
                  <a:cubicBezTo>
                    <a:pt x="6787" y="2478"/>
                    <a:pt x="6787" y="2473"/>
                    <a:pt x="6792" y="2477"/>
                  </a:cubicBezTo>
                  <a:cubicBezTo>
                    <a:pt x="6798" y="2481"/>
                    <a:pt x="6798" y="2481"/>
                    <a:pt x="6804" y="2483"/>
                  </a:cubicBezTo>
                  <a:cubicBezTo>
                    <a:pt x="6810" y="2485"/>
                    <a:pt x="6812" y="2480"/>
                    <a:pt x="6813" y="2489"/>
                  </a:cubicBezTo>
                  <a:cubicBezTo>
                    <a:pt x="6815" y="2498"/>
                    <a:pt x="6813" y="2494"/>
                    <a:pt x="6821" y="2496"/>
                  </a:cubicBezTo>
                  <a:cubicBezTo>
                    <a:pt x="6830" y="2498"/>
                    <a:pt x="6832" y="2499"/>
                    <a:pt x="6834" y="2496"/>
                  </a:cubicBezTo>
                  <a:cubicBezTo>
                    <a:pt x="6837" y="2494"/>
                    <a:pt x="6829" y="2487"/>
                    <a:pt x="6831" y="2480"/>
                  </a:cubicBezTo>
                  <a:cubicBezTo>
                    <a:pt x="6833" y="2473"/>
                    <a:pt x="6829" y="2462"/>
                    <a:pt x="6834" y="2460"/>
                  </a:cubicBezTo>
                  <a:cubicBezTo>
                    <a:pt x="6840" y="2459"/>
                    <a:pt x="6840" y="2453"/>
                    <a:pt x="6840" y="2451"/>
                  </a:cubicBezTo>
                  <a:cubicBezTo>
                    <a:pt x="6841" y="2448"/>
                    <a:pt x="6852" y="2451"/>
                    <a:pt x="6852" y="2451"/>
                  </a:cubicBezTo>
                  <a:cubicBezTo>
                    <a:pt x="6852" y="2451"/>
                    <a:pt x="6862" y="2451"/>
                    <a:pt x="6863" y="2455"/>
                  </a:cubicBezTo>
                  <a:cubicBezTo>
                    <a:pt x="6864" y="2459"/>
                    <a:pt x="6867" y="2464"/>
                    <a:pt x="6875" y="2462"/>
                  </a:cubicBezTo>
                  <a:cubicBezTo>
                    <a:pt x="6882" y="2460"/>
                    <a:pt x="6888" y="2460"/>
                    <a:pt x="6896" y="2459"/>
                  </a:cubicBezTo>
                  <a:cubicBezTo>
                    <a:pt x="6905" y="2459"/>
                    <a:pt x="6910" y="2459"/>
                    <a:pt x="6914" y="2458"/>
                  </a:cubicBezTo>
                  <a:cubicBezTo>
                    <a:pt x="6917" y="2457"/>
                    <a:pt x="6926" y="2453"/>
                    <a:pt x="6927" y="2450"/>
                  </a:cubicBezTo>
                  <a:cubicBezTo>
                    <a:pt x="6928" y="2446"/>
                    <a:pt x="6932" y="2445"/>
                    <a:pt x="6938" y="2445"/>
                  </a:cubicBezTo>
                  <a:cubicBezTo>
                    <a:pt x="6943" y="2445"/>
                    <a:pt x="6956" y="2443"/>
                    <a:pt x="6956" y="2443"/>
                  </a:cubicBezTo>
                  <a:cubicBezTo>
                    <a:pt x="6956" y="2443"/>
                    <a:pt x="6960" y="2445"/>
                    <a:pt x="6963" y="2448"/>
                  </a:cubicBezTo>
                  <a:cubicBezTo>
                    <a:pt x="6966" y="2451"/>
                    <a:pt x="6968" y="2459"/>
                    <a:pt x="6976" y="2455"/>
                  </a:cubicBezTo>
                  <a:cubicBezTo>
                    <a:pt x="6984" y="2452"/>
                    <a:pt x="6990" y="2446"/>
                    <a:pt x="6996" y="2445"/>
                  </a:cubicBezTo>
                  <a:cubicBezTo>
                    <a:pt x="7002" y="2445"/>
                    <a:pt x="7003" y="2446"/>
                    <a:pt x="7011" y="2446"/>
                  </a:cubicBezTo>
                  <a:cubicBezTo>
                    <a:pt x="7019" y="2446"/>
                    <a:pt x="7018" y="2449"/>
                    <a:pt x="7028" y="2448"/>
                  </a:cubicBezTo>
                  <a:cubicBezTo>
                    <a:pt x="7037" y="2447"/>
                    <a:pt x="7042" y="2447"/>
                    <a:pt x="7047" y="2445"/>
                  </a:cubicBezTo>
                  <a:cubicBezTo>
                    <a:pt x="7052" y="2444"/>
                    <a:pt x="7059" y="2435"/>
                    <a:pt x="7059" y="2435"/>
                  </a:cubicBezTo>
                  <a:cubicBezTo>
                    <a:pt x="7059" y="2435"/>
                    <a:pt x="7068" y="2430"/>
                    <a:pt x="7077" y="2427"/>
                  </a:cubicBezTo>
                  <a:cubicBezTo>
                    <a:pt x="7085" y="2424"/>
                    <a:pt x="7089" y="2426"/>
                    <a:pt x="7090" y="2417"/>
                  </a:cubicBezTo>
                  <a:cubicBezTo>
                    <a:pt x="7091" y="2407"/>
                    <a:pt x="7093" y="2402"/>
                    <a:pt x="7091" y="2394"/>
                  </a:cubicBezTo>
                  <a:cubicBezTo>
                    <a:pt x="7090" y="2386"/>
                    <a:pt x="7091" y="2385"/>
                    <a:pt x="7084" y="2388"/>
                  </a:cubicBezTo>
                  <a:cubicBezTo>
                    <a:pt x="7076" y="2390"/>
                    <a:pt x="7075" y="2394"/>
                    <a:pt x="7068" y="2394"/>
                  </a:cubicBezTo>
                  <a:cubicBezTo>
                    <a:pt x="7061" y="2394"/>
                    <a:pt x="7057" y="2387"/>
                    <a:pt x="7048" y="2389"/>
                  </a:cubicBezTo>
                  <a:cubicBezTo>
                    <a:pt x="7038" y="2390"/>
                    <a:pt x="7036" y="2394"/>
                    <a:pt x="7033" y="2393"/>
                  </a:cubicBezTo>
                  <a:cubicBezTo>
                    <a:pt x="7029" y="2392"/>
                    <a:pt x="7033" y="2386"/>
                    <a:pt x="7030" y="2383"/>
                  </a:cubicBezTo>
                  <a:cubicBezTo>
                    <a:pt x="7028" y="2381"/>
                    <a:pt x="7025" y="2375"/>
                    <a:pt x="7032" y="2375"/>
                  </a:cubicBezTo>
                  <a:cubicBezTo>
                    <a:pt x="7039" y="2376"/>
                    <a:pt x="7044" y="2375"/>
                    <a:pt x="7043" y="2370"/>
                  </a:cubicBezTo>
                  <a:cubicBezTo>
                    <a:pt x="7041" y="2365"/>
                    <a:pt x="7035" y="2363"/>
                    <a:pt x="7042" y="2362"/>
                  </a:cubicBezTo>
                  <a:cubicBezTo>
                    <a:pt x="7049" y="2361"/>
                    <a:pt x="7046" y="2362"/>
                    <a:pt x="7054" y="2359"/>
                  </a:cubicBezTo>
                  <a:cubicBezTo>
                    <a:pt x="7062" y="2355"/>
                    <a:pt x="7056" y="2353"/>
                    <a:pt x="7058" y="2349"/>
                  </a:cubicBezTo>
                  <a:cubicBezTo>
                    <a:pt x="7061" y="2346"/>
                    <a:pt x="7058" y="2348"/>
                    <a:pt x="7066" y="2343"/>
                  </a:cubicBezTo>
                  <a:cubicBezTo>
                    <a:pt x="7074" y="2338"/>
                    <a:pt x="7075" y="2340"/>
                    <a:pt x="7073" y="2331"/>
                  </a:cubicBezTo>
                  <a:cubicBezTo>
                    <a:pt x="7071" y="2321"/>
                    <a:pt x="7067" y="2320"/>
                    <a:pt x="7067" y="2311"/>
                  </a:cubicBezTo>
                  <a:cubicBezTo>
                    <a:pt x="7067" y="2302"/>
                    <a:pt x="7072" y="2299"/>
                    <a:pt x="7071" y="2292"/>
                  </a:cubicBezTo>
                  <a:cubicBezTo>
                    <a:pt x="7070" y="2285"/>
                    <a:pt x="7074" y="2284"/>
                    <a:pt x="7063" y="2279"/>
                  </a:cubicBezTo>
                  <a:cubicBezTo>
                    <a:pt x="7051" y="2275"/>
                    <a:pt x="7048" y="2280"/>
                    <a:pt x="7043" y="2271"/>
                  </a:cubicBezTo>
                  <a:cubicBezTo>
                    <a:pt x="7039" y="2263"/>
                    <a:pt x="7039" y="2264"/>
                    <a:pt x="7034" y="2264"/>
                  </a:cubicBezTo>
                  <a:cubicBezTo>
                    <a:pt x="7029" y="2265"/>
                    <a:pt x="7025" y="2270"/>
                    <a:pt x="7014" y="2269"/>
                  </a:cubicBezTo>
                  <a:cubicBezTo>
                    <a:pt x="7002" y="2268"/>
                    <a:pt x="6997" y="2263"/>
                    <a:pt x="6991" y="2265"/>
                  </a:cubicBezTo>
                  <a:cubicBezTo>
                    <a:pt x="6985" y="2268"/>
                    <a:pt x="6988" y="2269"/>
                    <a:pt x="6982" y="2271"/>
                  </a:cubicBezTo>
                  <a:cubicBezTo>
                    <a:pt x="6976" y="2274"/>
                    <a:pt x="6968" y="2282"/>
                    <a:pt x="6966" y="2277"/>
                  </a:cubicBezTo>
                  <a:cubicBezTo>
                    <a:pt x="6963" y="2271"/>
                    <a:pt x="6961" y="2267"/>
                    <a:pt x="6964" y="2264"/>
                  </a:cubicBezTo>
                  <a:cubicBezTo>
                    <a:pt x="6966" y="2262"/>
                    <a:pt x="6973" y="2260"/>
                    <a:pt x="6973" y="2255"/>
                  </a:cubicBezTo>
                  <a:cubicBezTo>
                    <a:pt x="6973" y="2250"/>
                    <a:pt x="6967" y="2245"/>
                    <a:pt x="6968" y="2239"/>
                  </a:cubicBezTo>
                  <a:cubicBezTo>
                    <a:pt x="6969" y="2233"/>
                    <a:pt x="6969" y="2230"/>
                    <a:pt x="6963" y="2227"/>
                  </a:cubicBezTo>
                  <a:cubicBezTo>
                    <a:pt x="6957" y="2223"/>
                    <a:pt x="6949" y="2224"/>
                    <a:pt x="6948" y="2218"/>
                  </a:cubicBezTo>
                  <a:cubicBezTo>
                    <a:pt x="6947" y="2212"/>
                    <a:pt x="6946" y="2207"/>
                    <a:pt x="6940" y="2205"/>
                  </a:cubicBezTo>
                  <a:cubicBezTo>
                    <a:pt x="6934" y="2203"/>
                    <a:pt x="6929" y="2202"/>
                    <a:pt x="6929" y="2194"/>
                  </a:cubicBezTo>
                  <a:cubicBezTo>
                    <a:pt x="6929" y="2185"/>
                    <a:pt x="6925" y="2169"/>
                    <a:pt x="6921" y="2169"/>
                  </a:cubicBezTo>
                  <a:cubicBezTo>
                    <a:pt x="6917" y="2169"/>
                    <a:pt x="6909" y="2168"/>
                    <a:pt x="6904" y="2160"/>
                  </a:cubicBezTo>
                  <a:cubicBezTo>
                    <a:pt x="6900" y="2152"/>
                    <a:pt x="6894" y="2145"/>
                    <a:pt x="6892" y="2140"/>
                  </a:cubicBezTo>
                  <a:cubicBezTo>
                    <a:pt x="6890" y="2135"/>
                    <a:pt x="6890" y="2138"/>
                    <a:pt x="6885" y="2135"/>
                  </a:cubicBezTo>
                  <a:cubicBezTo>
                    <a:pt x="6880" y="2132"/>
                    <a:pt x="6880" y="2128"/>
                    <a:pt x="6874" y="2126"/>
                  </a:cubicBezTo>
                  <a:cubicBezTo>
                    <a:pt x="6868" y="2124"/>
                    <a:pt x="6868" y="2125"/>
                    <a:pt x="6859" y="2125"/>
                  </a:cubicBezTo>
                  <a:cubicBezTo>
                    <a:pt x="6850" y="2125"/>
                    <a:pt x="6844" y="2130"/>
                    <a:pt x="6842" y="2125"/>
                  </a:cubicBezTo>
                  <a:cubicBezTo>
                    <a:pt x="6840" y="2121"/>
                    <a:pt x="6841" y="2118"/>
                    <a:pt x="6840" y="2113"/>
                  </a:cubicBezTo>
                  <a:cubicBezTo>
                    <a:pt x="6838" y="2108"/>
                    <a:pt x="6834" y="2107"/>
                    <a:pt x="6832" y="2103"/>
                  </a:cubicBezTo>
                  <a:cubicBezTo>
                    <a:pt x="6829" y="2098"/>
                    <a:pt x="6819" y="2091"/>
                    <a:pt x="6818" y="2086"/>
                  </a:cubicBezTo>
                  <a:cubicBezTo>
                    <a:pt x="6817" y="2081"/>
                    <a:pt x="6807" y="2073"/>
                    <a:pt x="6807" y="2069"/>
                  </a:cubicBezTo>
                  <a:cubicBezTo>
                    <a:pt x="6807" y="2064"/>
                    <a:pt x="6805" y="2058"/>
                    <a:pt x="6802" y="2054"/>
                  </a:cubicBezTo>
                  <a:cubicBezTo>
                    <a:pt x="6799" y="2049"/>
                    <a:pt x="6799" y="2046"/>
                    <a:pt x="6795" y="2040"/>
                  </a:cubicBezTo>
                  <a:cubicBezTo>
                    <a:pt x="6792" y="2034"/>
                    <a:pt x="6785" y="2027"/>
                    <a:pt x="6780" y="2026"/>
                  </a:cubicBezTo>
                  <a:cubicBezTo>
                    <a:pt x="6775" y="2024"/>
                    <a:pt x="6765" y="2021"/>
                    <a:pt x="6763" y="2020"/>
                  </a:cubicBezTo>
                  <a:cubicBezTo>
                    <a:pt x="6760" y="2018"/>
                    <a:pt x="6756" y="2013"/>
                    <a:pt x="6753" y="2013"/>
                  </a:cubicBezTo>
                  <a:cubicBezTo>
                    <a:pt x="6750" y="2013"/>
                    <a:pt x="6742" y="2012"/>
                    <a:pt x="6737" y="2011"/>
                  </a:cubicBezTo>
                  <a:cubicBezTo>
                    <a:pt x="6733" y="2010"/>
                    <a:pt x="6721" y="2011"/>
                    <a:pt x="6721" y="2011"/>
                  </a:cubicBezTo>
                  <a:cubicBezTo>
                    <a:pt x="6712" y="2015"/>
                    <a:pt x="6712" y="2015"/>
                    <a:pt x="6712" y="2015"/>
                  </a:cubicBezTo>
                  <a:cubicBezTo>
                    <a:pt x="6712" y="2015"/>
                    <a:pt x="6703" y="2016"/>
                    <a:pt x="6703" y="2011"/>
                  </a:cubicBezTo>
                  <a:cubicBezTo>
                    <a:pt x="6703" y="2006"/>
                    <a:pt x="6701" y="2002"/>
                    <a:pt x="6706" y="2002"/>
                  </a:cubicBezTo>
                  <a:cubicBezTo>
                    <a:pt x="6710" y="2002"/>
                    <a:pt x="6714" y="2005"/>
                    <a:pt x="6717" y="2002"/>
                  </a:cubicBezTo>
                  <a:cubicBezTo>
                    <a:pt x="6721" y="1999"/>
                    <a:pt x="6723" y="1999"/>
                    <a:pt x="6722" y="1995"/>
                  </a:cubicBezTo>
                  <a:cubicBezTo>
                    <a:pt x="6722" y="1992"/>
                    <a:pt x="6722" y="1991"/>
                    <a:pt x="6719" y="1988"/>
                  </a:cubicBezTo>
                  <a:cubicBezTo>
                    <a:pt x="6716" y="1985"/>
                    <a:pt x="6712" y="1985"/>
                    <a:pt x="6711" y="1982"/>
                  </a:cubicBezTo>
                  <a:cubicBezTo>
                    <a:pt x="6710" y="1978"/>
                    <a:pt x="6706" y="1985"/>
                    <a:pt x="6710" y="1978"/>
                  </a:cubicBezTo>
                  <a:cubicBezTo>
                    <a:pt x="6715" y="1971"/>
                    <a:pt x="6716" y="1972"/>
                    <a:pt x="6719" y="1969"/>
                  </a:cubicBezTo>
                  <a:cubicBezTo>
                    <a:pt x="6722" y="1965"/>
                    <a:pt x="6724" y="1952"/>
                    <a:pt x="6727" y="1950"/>
                  </a:cubicBezTo>
                  <a:cubicBezTo>
                    <a:pt x="6729" y="1947"/>
                    <a:pt x="6722" y="1939"/>
                    <a:pt x="6724" y="1936"/>
                  </a:cubicBezTo>
                  <a:cubicBezTo>
                    <a:pt x="6727" y="1932"/>
                    <a:pt x="6728" y="1924"/>
                    <a:pt x="6729" y="1918"/>
                  </a:cubicBezTo>
                  <a:cubicBezTo>
                    <a:pt x="6729" y="1912"/>
                    <a:pt x="6725" y="1909"/>
                    <a:pt x="6728" y="1904"/>
                  </a:cubicBezTo>
                  <a:cubicBezTo>
                    <a:pt x="6730" y="1899"/>
                    <a:pt x="6729" y="1894"/>
                    <a:pt x="6729" y="1888"/>
                  </a:cubicBezTo>
                  <a:cubicBezTo>
                    <a:pt x="6730" y="1883"/>
                    <a:pt x="6727" y="1874"/>
                    <a:pt x="6725" y="1872"/>
                  </a:cubicBezTo>
                  <a:cubicBezTo>
                    <a:pt x="6723" y="1869"/>
                    <a:pt x="6721" y="1868"/>
                    <a:pt x="6714" y="1868"/>
                  </a:cubicBezTo>
                  <a:cubicBezTo>
                    <a:pt x="6707" y="1868"/>
                    <a:pt x="6699" y="1871"/>
                    <a:pt x="6693" y="1869"/>
                  </a:cubicBezTo>
                  <a:cubicBezTo>
                    <a:pt x="6687" y="1867"/>
                    <a:pt x="6678" y="1868"/>
                    <a:pt x="6670" y="1867"/>
                  </a:cubicBezTo>
                  <a:cubicBezTo>
                    <a:pt x="6662" y="1866"/>
                    <a:pt x="6657" y="1868"/>
                    <a:pt x="6653" y="1867"/>
                  </a:cubicBezTo>
                  <a:cubicBezTo>
                    <a:pt x="6650" y="1866"/>
                    <a:pt x="6645" y="1868"/>
                    <a:pt x="6643" y="1868"/>
                  </a:cubicBezTo>
                  <a:cubicBezTo>
                    <a:pt x="6640" y="1868"/>
                    <a:pt x="6640" y="1868"/>
                    <a:pt x="6637" y="1870"/>
                  </a:cubicBezTo>
                  <a:cubicBezTo>
                    <a:pt x="6633" y="1872"/>
                    <a:pt x="6629" y="1874"/>
                    <a:pt x="6626" y="1875"/>
                  </a:cubicBezTo>
                  <a:cubicBezTo>
                    <a:pt x="6624" y="1876"/>
                    <a:pt x="6617" y="1876"/>
                    <a:pt x="6617" y="1876"/>
                  </a:cubicBezTo>
                  <a:cubicBezTo>
                    <a:pt x="6617" y="1876"/>
                    <a:pt x="6615" y="1880"/>
                    <a:pt x="6613" y="1882"/>
                  </a:cubicBezTo>
                  <a:cubicBezTo>
                    <a:pt x="6611" y="1885"/>
                    <a:pt x="6610" y="1889"/>
                    <a:pt x="6608" y="1889"/>
                  </a:cubicBezTo>
                  <a:cubicBezTo>
                    <a:pt x="6605" y="1889"/>
                    <a:pt x="6601" y="1887"/>
                    <a:pt x="6601" y="1887"/>
                  </a:cubicBezTo>
                  <a:cubicBezTo>
                    <a:pt x="6598" y="1880"/>
                    <a:pt x="6598" y="1880"/>
                    <a:pt x="6598" y="1880"/>
                  </a:cubicBezTo>
                  <a:cubicBezTo>
                    <a:pt x="6605" y="1873"/>
                    <a:pt x="6606" y="1870"/>
                    <a:pt x="6609" y="1866"/>
                  </a:cubicBezTo>
                  <a:cubicBezTo>
                    <a:pt x="6611" y="1863"/>
                    <a:pt x="6617" y="1866"/>
                    <a:pt x="6611" y="1863"/>
                  </a:cubicBezTo>
                  <a:cubicBezTo>
                    <a:pt x="6605" y="1859"/>
                    <a:pt x="6592" y="1859"/>
                    <a:pt x="6592" y="1859"/>
                  </a:cubicBezTo>
                  <a:cubicBezTo>
                    <a:pt x="6592" y="1859"/>
                    <a:pt x="6587" y="1857"/>
                    <a:pt x="6589" y="1854"/>
                  </a:cubicBezTo>
                  <a:cubicBezTo>
                    <a:pt x="6590" y="1852"/>
                    <a:pt x="6591" y="1847"/>
                    <a:pt x="6596" y="1849"/>
                  </a:cubicBezTo>
                  <a:cubicBezTo>
                    <a:pt x="6600" y="1851"/>
                    <a:pt x="6600" y="1848"/>
                    <a:pt x="6606" y="1847"/>
                  </a:cubicBezTo>
                  <a:cubicBezTo>
                    <a:pt x="6612" y="1846"/>
                    <a:pt x="6610" y="1838"/>
                    <a:pt x="6615" y="1837"/>
                  </a:cubicBezTo>
                  <a:cubicBezTo>
                    <a:pt x="6619" y="1836"/>
                    <a:pt x="6622" y="1836"/>
                    <a:pt x="6625" y="1833"/>
                  </a:cubicBezTo>
                  <a:cubicBezTo>
                    <a:pt x="6629" y="1831"/>
                    <a:pt x="6631" y="1828"/>
                    <a:pt x="6633" y="1825"/>
                  </a:cubicBezTo>
                  <a:cubicBezTo>
                    <a:pt x="6636" y="1823"/>
                    <a:pt x="6636" y="1818"/>
                    <a:pt x="6635" y="1814"/>
                  </a:cubicBezTo>
                  <a:cubicBezTo>
                    <a:pt x="6634" y="1810"/>
                    <a:pt x="6624" y="1806"/>
                    <a:pt x="6624" y="1802"/>
                  </a:cubicBezTo>
                  <a:cubicBezTo>
                    <a:pt x="6624" y="1797"/>
                    <a:pt x="6624" y="1790"/>
                    <a:pt x="6622" y="1790"/>
                  </a:cubicBezTo>
                  <a:cubicBezTo>
                    <a:pt x="6619" y="1790"/>
                    <a:pt x="6607" y="1792"/>
                    <a:pt x="6607" y="1792"/>
                  </a:cubicBezTo>
                  <a:cubicBezTo>
                    <a:pt x="6607" y="1792"/>
                    <a:pt x="6596" y="1800"/>
                    <a:pt x="6591" y="1801"/>
                  </a:cubicBezTo>
                  <a:cubicBezTo>
                    <a:pt x="6587" y="1802"/>
                    <a:pt x="6582" y="1804"/>
                    <a:pt x="6575" y="1803"/>
                  </a:cubicBezTo>
                  <a:cubicBezTo>
                    <a:pt x="6569" y="1802"/>
                    <a:pt x="6564" y="1806"/>
                    <a:pt x="6561" y="1805"/>
                  </a:cubicBezTo>
                  <a:cubicBezTo>
                    <a:pt x="6557" y="1804"/>
                    <a:pt x="6553" y="1803"/>
                    <a:pt x="6549" y="1801"/>
                  </a:cubicBezTo>
                  <a:cubicBezTo>
                    <a:pt x="6546" y="1799"/>
                    <a:pt x="6541" y="1797"/>
                    <a:pt x="6538" y="1797"/>
                  </a:cubicBezTo>
                  <a:cubicBezTo>
                    <a:pt x="6534" y="1797"/>
                    <a:pt x="6535" y="1800"/>
                    <a:pt x="6533" y="1802"/>
                  </a:cubicBezTo>
                  <a:cubicBezTo>
                    <a:pt x="6530" y="1804"/>
                    <a:pt x="6527" y="1807"/>
                    <a:pt x="6526" y="1810"/>
                  </a:cubicBezTo>
                  <a:cubicBezTo>
                    <a:pt x="6525" y="1812"/>
                    <a:pt x="6524" y="1824"/>
                    <a:pt x="6520" y="1830"/>
                  </a:cubicBezTo>
                  <a:cubicBezTo>
                    <a:pt x="6515" y="1835"/>
                    <a:pt x="6513" y="1842"/>
                    <a:pt x="6518" y="1845"/>
                  </a:cubicBezTo>
                  <a:cubicBezTo>
                    <a:pt x="6522" y="1847"/>
                    <a:pt x="6528" y="1852"/>
                    <a:pt x="6522" y="1853"/>
                  </a:cubicBezTo>
                  <a:cubicBezTo>
                    <a:pt x="6516" y="1854"/>
                    <a:pt x="6515" y="1854"/>
                    <a:pt x="6511" y="1859"/>
                  </a:cubicBezTo>
                  <a:cubicBezTo>
                    <a:pt x="6506" y="1863"/>
                    <a:pt x="6499" y="1873"/>
                    <a:pt x="6502" y="1875"/>
                  </a:cubicBezTo>
                  <a:cubicBezTo>
                    <a:pt x="6505" y="1878"/>
                    <a:pt x="6506" y="1884"/>
                    <a:pt x="6508" y="1887"/>
                  </a:cubicBezTo>
                  <a:close/>
                  <a:moveTo>
                    <a:pt x="6471" y="1901"/>
                  </a:moveTo>
                  <a:cubicBezTo>
                    <a:pt x="6472" y="1906"/>
                    <a:pt x="6479" y="1907"/>
                    <a:pt x="6484" y="1908"/>
                  </a:cubicBezTo>
                  <a:cubicBezTo>
                    <a:pt x="6488" y="1910"/>
                    <a:pt x="6489" y="1908"/>
                    <a:pt x="6491" y="1914"/>
                  </a:cubicBezTo>
                  <a:cubicBezTo>
                    <a:pt x="6492" y="1919"/>
                    <a:pt x="6492" y="1922"/>
                    <a:pt x="6492" y="1926"/>
                  </a:cubicBezTo>
                  <a:cubicBezTo>
                    <a:pt x="6493" y="1930"/>
                    <a:pt x="6501" y="1923"/>
                    <a:pt x="6506" y="1924"/>
                  </a:cubicBezTo>
                  <a:cubicBezTo>
                    <a:pt x="6510" y="1925"/>
                    <a:pt x="6527" y="1927"/>
                    <a:pt x="6527" y="1927"/>
                  </a:cubicBezTo>
                  <a:cubicBezTo>
                    <a:pt x="6530" y="1926"/>
                    <a:pt x="6528" y="1915"/>
                    <a:pt x="6524" y="1911"/>
                  </a:cubicBezTo>
                  <a:cubicBezTo>
                    <a:pt x="6520" y="1908"/>
                    <a:pt x="6518" y="1908"/>
                    <a:pt x="6516" y="1910"/>
                  </a:cubicBezTo>
                  <a:cubicBezTo>
                    <a:pt x="6514" y="1913"/>
                    <a:pt x="6511" y="1902"/>
                    <a:pt x="6507" y="1902"/>
                  </a:cubicBezTo>
                  <a:cubicBezTo>
                    <a:pt x="6504" y="1902"/>
                    <a:pt x="6498" y="1898"/>
                    <a:pt x="6497" y="1893"/>
                  </a:cubicBezTo>
                  <a:cubicBezTo>
                    <a:pt x="6496" y="1887"/>
                    <a:pt x="6491" y="1883"/>
                    <a:pt x="6491" y="1883"/>
                  </a:cubicBezTo>
                  <a:cubicBezTo>
                    <a:pt x="6491" y="1883"/>
                    <a:pt x="6481" y="1880"/>
                    <a:pt x="6478" y="1882"/>
                  </a:cubicBezTo>
                  <a:cubicBezTo>
                    <a:pt x="6476" y="1884"/>
                    <a:pt x="6473" y="1886"/>
                    <a:pt x="6473" y="1889"/>
                  </a:cubicBezTo>
                  <a:cubicBezTo>
                    <a:pt x="6473" y="1893"/>
                    <a:pt x="6471" y="1895"/>
                    <a:pt x="6471" y="1901"/>
                  </a:cubicBezTo>
                  <a:close/>
                  <a:moveTo>
                    <a:pt x="6370" y="2174"/>
                  </a:moveTo>
                  <a:cubicBezTo>
                    <a:pt x="6371" y="2178"/>
                    <a:pt x="6373" y="2185"/>
                    <a:pt x="6374" y="2187"/>
                  </a:cubicBezTo>
                  <a:cubicBezTo>
                    <a:pt x="6376" y="2190"/>
                    <a:pt x="6384" y="2191"/>
                    <a:pt x="6385" y="2194"/>
                  </a:cubicBezTo>
                  <a:cubicBezTo>
                    <a:pt x="6386" y="2196"/>
                    <a:pt x="6380" y="2199"/>
                    <a:pt x="6378" y="2202"/>
                  </a:cubicBezTo>
                  <a:cubicBezTo>
                    <a:pt x="6375" y="2206"/>
                    <a:pt x="6369" y="2208"/>
                    <a:pt x="6366" y="2211"/>
                  </a:cubicBezTo>
                  <a:cubicBezTo>
                    <a:pt x="6364" y="2214"/>
                    <a:pt x="6368" y="2219"/>
                    <a:pt x="6371" y="2222"/>
                  </a:cubicBezTo>
                  <a:cubicBezTo>
                    <a:pt x="6373" y="2226"/>
                    <a:pt x="6376" y="2228"/>
                    <a:pt x="6380" y="2229"/>
                  </a:cubicBezTo>
                  <a:cubicBezTo>
                    <a:pt x="6383" y="2231"/>
                    <a:pt x="6386" y="2233"/>
                    <a:pt x="6390" y="2236"/>
                  </a:cubicBezTo>
                  <a:cubicBezTo>
                    <a:pt x="6394" y="2238"/>
                    <a:pt x="6397" y="2233"/>
                    <a:pt x="6401" y="2231"/>
                  </a:cubicBezTo>
                  <a:cubicBezTo>
                    <a:pt x="6406" y="2229"/>
                    <a:pt x="6406" y="2232"/>
                    <a:pt x="6408" y="2235"/>
                  </a:cubicBezTo>
                  <a:cubicBezTo>
                    <a:pt x="6409" y="2237"/>
                    <a:pt x="6408" y="2240"/>
                    <a:pt x="6413" y="2242"/>
                  </a:cubicBezTo>
                  <a:cubicBezTo>
                    <a:pt x="6418" y="2243"/>
                    <a:pt x="6425" y="2236"/>
                    <a:pt x="6429" y="2236"/>
                  </a:cubicBezTo>
                  <a:cubicBezTo>
                    <a:pt x="6432" y="2236"/>
                    <a:pt x="6434" y="2241"/>
                    <a:pt x="6430" y="2247"/>
                  </a:cubicBezTo>
                  <a:cubicBezTo>
                    <a:pt x="6427" y="2253"/>
                    <a:pt x="6424" y="2249"/>
                    <a:pt x="6422" y="2251"/>
                  </a:cubicBezTo>
                  <a:cubicBezTo>
                    <a:pt x="6421" y="2254"/>
                    <a:pt x="6421" y="2261"/>
                    <a:pt x="6422" y="2266"/>
                  </a:cubicBezTo>
                  <a:cubicBezTo>
                    <a:pt x="6422" y="2271"/>
                    <a:pt x="6415" y="2271"/>
                    <a:pt x="6411" y="2271"/>
                  </a:cubicBezTo>
                  <a:cubicBezTo>
                    <a:pt x="6407" y="2271"/>
                    <a:pt x="6408" y="2281"/>
                    <a:pt x="6408" y="2285"/>
                  </a:cubicBezTo>
                  <a:cubicBezTo>
                    <a:pt x="6408" y="2290"/>
                    <a:pt x="6414" y="2292"/>
                    <a:pt x="6414" y="2295"/>
                  </a:cubicBezTo>
                  <a:cubicBezTo>
                    <a:pt x="6414" y="2299"/>
                    <a:pt x="6409" y="2298"/>
                    <a:pt x="6408" y="2301"/>
                  </a:cubicBezTo>
                  <a:cubicBezTo>
                    <a:pt x="6406" y="2305"/>
                    <a:pt x="6409" y="2311"/>
                    <a:pt x="6408" y="2316"/>
                  </a:cubicBezTo>
                  <a:cubicBezTo>
                    <a:pt x="6408" y="2321"/>
                    <a:pt x="6401" y="2318"/>
                    <a:pt x="6398" y="2318"/>
                  </a:cubicBezTo>
                  <a:cubicBezTo>
                    <a:pt x="6394" y="2318"/>
                    <a:pt x="6391" y="2319"/>
                    <a:pt x="6392" y="2326"/>
                  </a:cubicBezTo>
                  <a:cubicBezTo>
                    <a:pt x="6393" y="2333"/>
                    <a:pt x="6394" y="2338"/>
                    <a:pt x="6390" y="2343"/>
                  </a:cubicBezTo>
                  <a:cubicBezTo>
                    <a:pt x="6386" y="2348"/>
                    <a:pt x="6387" y="2352"/>
                    <a:pt x="6392" y="2354"/>
                  </a:cubicBezTo>
                  <a:cubicBezTo>
                    <a:pt x="6397" y="2357"/>
                    <a:pt x="6410" y="2370"/>
                    <a:pt x="6410" y="2370"/>
                  </a:cubicBezTo>
                  <a:cubicBezTo>
                    <a:pt x="6410" y="2370"/>
                    <a:pt x="6416" y="2377"/>
                    <a:pt x="6423" y="2377"/>
                  </a:cubicBezTo>
                  <a:cubicBezTo>
                    <a:pt x="6430" y="2377"/>
                    <a:pt x="6441" y="2375"/>
                    <a:pt x="6452" y="2375"/>
                  </a:cubicBezTo>
                  <a:cubicBezTo>
                    <a:pt x="6462" y="2375"/>
                    <a:pt x="6455" y="2382"/>
                    <a:pt x="6460" y="2387"/>
                  </a:cubicBezTo>
                  <a:cubicBezTo>
                    <a:pt x="6466" y="2393"/>
                    <a:pt x="6473" y="2389"/>
                    <a:pt x="6484" y="2378"/>
                  </a:cubicBezTo>
                  <a:cubicBezTo>
                    <a:pt x="6494" y="2368"/>
                    <a:pt x="6496" y="2373"/>
                    <a:pt x="6496" y="2373"/>
                  </a:cubicBezTo>
                  <a:cubicBezTo>
                    <a:pt x="6496" y="2373"/>
                    <a:pt x="6509" y="2366"/>
                    <a:pt x="6516" y="2362"/>
                  </a:cubicBezTo>
                  <a:cubicBezTo>
                    <a:pt x="6523" y="2359"/>
                    <a:pt x="6528" y="2355"/>
                    <a:pt x="6528" y="2355"/>
                  </a:cubicBezTo>
                  <a:cubicBezTo>
                    <a:pt x="6528" y="2355"/>
                    <a:pt x="6545" y="2355"/>
                    <a:pt x="6552" y="2353"/>
                  </a:cubicBezTo>
                  <a:cubicBezTo>
                    <a:pt x="6559" y="2352"/>
                    <a:pt x="6562" y="2346"/>
                    <a:pt x="6568" y="2339"/>
                  </a:cubicBezTo>
                  <a:cubicBezTo>
                    <a:pt x="6573" y="2332"/>
                    <a:pt x="6580" y="2330"/>
                    <a:pt x="6580" y="2330"/>
                  </a:cubicBezTo>
                  <a:cubicBezTo>
                    <a:pt x="6580" y="2330"/>
                    <a:pt x="6595" y="2327"/>
                    <a:pt x="6605" y="2334"/>
                  </a:cubicBezTo>
                  <a:cubicBezTo>
                    <a:pt x="6616" y="2341"/>
                    <a:pt x="6623" y="2327"/>
                    <a:pt x="6627" y="2318"/>
                  </a:cubicBezTo>
                  <a:cubicBezTo>
                    <a:pt x="6630" y="2309"/>
                    <a:pt x="6629" y="2302"/>
                    <a:pt x="6627" y="2291"/>
                  </a:cubicBezTo>
                  <a:cubicBezTo>
                    <a:pt x="6625" y="2280"/>
                    <a:pt x="6630" y="2276"/>
                    <a:pt x="6630" y="2262"/>
                  </a:cubicBezTo>
                  <a:cubicBezTo>
                    <a:pt x="6630" y="2248"/>
                    <a:pt x="6623" y="2244"/>
                    <a:pt x="6616" y="2239"/>
                  </a:cubicBezTo>
                  <a:cubicBezTo>
                    <a:pt x="6609" y="2234"/>
                    <a:pt x="6614" y="2230"/>
                    <a:pt x="6605" y="2223"/>
                  </a:cubicBezTo>
                  <a:cubicBezTo>
                    <a:pt x="6596" y="2216"/>
                    <a:pt x="6605" y="2223"/>
                    <a:pt x="6607" y="2210"/>
                  </a:cubicBezTo>
                  <a:cubicBezTo>
                    <a:pt x="6609" y="2198"/>
                    <a:pt x="6602" y="2200"/>
                    <a:pt x="6589" y="2198"/>
                  </a:cubicBezTo>
                  <a:cubicBezTo>
                    <a:pt x="6577" y="2196"/>
                    <a:pt x="6579" y="2176"/>
                    <a:pt x="6579" y="2176"/>
                  </a:cubicBezTo>
                  <a:cubicBezTo>
                    <a:pt x="6580" y="2173"/>
                    <a:pt x="6593" y="2177"/>
                    <a:pt x="6598" y="2178"/>
                  </a:cubicBezTo>
                  <a:cubicBezTo>
                    <a:pt x="6603" y="2179"/>
                    <a:pt x="6605" y="2173"/>
                    <a:pt x="6604" y="2167"/>
                  </a:cubicBezTo>
                  <a:cubicBezTo>
                    <a:pt x="6603" y="2162"/>
                    <a:pt x="6612" y="2161"/>
                    <a:pt x="6618" y="2158"/>
                  </a:cubicBezTo>
                  <a:cubicBezTo>
                    <a:pt x="6624" y="2154"/>
                    <a:pt x="6620" y="2145"/>
                    <a:pt x="6622" y="2135"/>
                  </a:cubicBezTo>
                  <a:cubicBezTo>
                    <a:pt x="6624" y="2124"/>
                    <a:pt x="6621" y="2124"/>
                    <a:pt x="6620" y="2120"/>
                  </a:cubicBezTo>
                  <a:cubicBezTo>
                    <a:pt x="6619" y="2116"/>
                    <a:pt x="6604" y="2114"/>
                    <a:pt x="6601" y="2114"/>
                  </a:cubicBezTo>
                  <a:cubicBezTo>
                    <a:pt x="6597" y="2114"/>
                    <a:pt x="6591" y="2106"/>
                    <a:pt x="6590" y="2099"/>
                  </a:cubicBezTo>
                  <a:cubicBezTo>
                    <a:pt x="6589" y="2092"/>
                    <a:pt x="6582" y="2091"/>
                    <a:pt x="6572" y="2093"/>
                  </a:cubicBezTo>
                  <a:cubicBezTo>
                    <a:pt x="6562" y="2095"/>
                    <a:pt x="6566" y="2085"/>
                    <a:pt x="6565" y="2082"/>
                  </a:cubicBezTo>
                  <a:cubicBezTo>
                    <a:pt x="6564" y="2078"/>
                    <a:pt x="6556" y="2072"/>
                    <a:pt x="6551" y="2071"/>
                  </a:cubicBezTo>
                  <a:cubicBezTo>
                    <a:pt x="6546" y="2070"/>
                    <a:pt x="6537" y="2074"/>
                    <a:pt x="6532" y="2076"/>
                  </a:cubicBezTo>
                  <a:cubicBezTo>
                    <a:pt x="6527" y="2079"/>
                    <a:pt x="6524" y="2079"/>
                    <a:pt x="6516" y="2082"/>
                  </a:cubicBezTo>
                  <a:cubicBezTo>
                    <a:pt x="6508" y="2084"/>
                    <a:pt x="6511" y="2076"/>
                    <a:pt x="6510" y="2074"/>
                  </a:cubicBezTo>
                  <a:cubicBezTo>
                    <a:pt x="6509" y="2071"/>
                    <a:pt x="6500" y="2069"/>
                    <a:pt x="6494" y="2066"/>
                  </a:cubicBezTo>
                  <a:cubicBezTo>
                    <a:pt x="6488" y="2062"/>
                    <a:pt x="6488" y="2073"/>
                    <a:pt x="6485" y="2079"/>
                  </a:cubicBezTo>
                  <a:cubicBezTo>
                    <a:pt x="6483" y="2085"/>
                    <a:pt x="6479" y="2079"/>
                    <a:pt x="6472" y="2079"/>
                  </a:cubicBezTo>
                  <a:cubicBezTo>
                    <a:pt x="6465" y="2079"/>
                    <a:pt x="6464" y="2082"/>
                    <a:pt x="6456" y="2079"/>
                  </a:cubicBezTo>
                  <a:cubicBezTo>
                    <a:pt x="6448" y="2076"/>
                    <a:pt x="6441" y="2077"/>
                    <a:pt x="6435" y="2077"/>
                  </a:cubicBezTo>
                  <a:cubicBezTo>
                    <a:pt x="6429" y="2077"/>
                    <a:pt x="6427" y="2085"/>
                    <a:pt x="6425" y="2088"/>
                  </a:cubicBezTo>
                  <a:cubicBezTo>
                    <a:pt x="6423" y="2090"/>
                    <a:pt x="6428" y="2094"/>
                    <a:pt x="6430" y="2100"/>
                  </a:cubicBezTo>
                  <a:cubicBezTo>
                    <a:pt x="6433" y="2106"/>
                    <a:pt x="6429" y="2105"/>
                    <a:pt x="6428" y="2110"/>
                  </a:cubicBezTo>
                  <a:cubicBezTo>
                    <a:pt x="6426" y="2114"/>
                    <a:pt x="6426" y="2117"/>
                    <a:pt x="6429" y="2122"/>
                  </a:cubicBezTo>
                  <a:cubicBezTo>
                    <a:pt x="6431" y="2127"/>
                    <a:pt x="6433" y="2122"/>
                    <a:pt x="6438" y="2121"/>
                  </a:cubicBezTo>
                  <a:cubicBezTo>
                    <a:pt x="6443" y="2120"/>
                    <a:pt x="6454" y="2124"/>
                    <a:pt x="6461" y="2126"/>
                  </a:cubicBezTo>
                  <a:cubicBezTo>
                    <a:pt x="6468" y="2128"/>
                    <a:pt x="6459" y="2130"/>
                    <a:pt x="6454" y="2132"/>
                  </a:cubicBezTo>
                  <a:cubicBezTo>
                    <a:pt x="6449" y="2135"/>
                    <a:pt x="6450" y="2140"/>
                    <a:pt x="6446" y="2142"/>
                  </a:cubicBezTo>
                  <a:cubicBezTo>
                    <a:pt x="6443" y="2144"/>
                    <a:pt x="6436" y="2145"/>
                    <a:pt x="6433" y="2147"/>
                  </a:cubicBezTo>
                  <a:cubicBezTo>
                    <a:pt x="6430" y="2149"/>
                    <a:pt x="6429" y="2158"/>
                    <a:pt x="6426" y="2158"/>
                  </a:cubicBezTo>
                  <a:cubicBezTo>
                    <a:pt x="6422" y="2158"/>
                    <a:pt x="6421" y="2157"/>
                    <a:pt x="6417" y="2152"/>
                  </a:cubicBezTo>
                  <a:cubicBezTo>
                    <a:pt x="6414" y="2148"/>
                    <a:pt x="6413" y="2149"/>
                    <a:pt x="6408" y="2150"/>
                  </a:cubicBezTo>
                  <a:cubicBezTo>
                    <a:pt x="6404" y="2151"/>
                    <a:pt x="6399" y="2155"/>
                    <a:pt x="6394" y="2153"/>
                  </a:cubicBezTo>
                  <a:cubicBezTo>
                    <a:pt x="6388" y="2152"/>
                    <a:pt x="6391" y="2148"/>
                    <a:pt x="6386" y="2144"/>
                  </a:cubicBezTo>
                  <a:cubicBezTo>
                    <a:pt x="6380" y="2139"/>
                    <a:pt x="6373" y="2142"/>
                    <a:pt x="6370" y="2140"/>
                  </a:cubicBezTo>
                  <a:cubicBezTo>
                    <a:pt x="6366" y="2138"/>
                    <a:pt x="6363" y="2145"/>
                    <a:pt x="6361" y="2148"/>
                  </a:cubicBezTo>
                  <a:cubicBezTo>
                    <a:pt x="6359" y="2152"/>
                    <a:pt x="6355" y="2155"/>
                    <a:pt x="6354" y="2158"/>
                  </a:cubicBezTo>
                  <a:cubicBezTo>
                    <a:pt x="6353" y="2160"/>
                    <a:pt x="6356" y="2167"/>
                    <a:pt x="6360" y="2171"/>
                  </a:cubicBezTo>
                  <a:cubicBezTo>
                    <a:pt x="6365" y="2174"/>
                    <a:pt x="6369" y="2171"/>
                    <a:pt x="6370" y="2174"/>
                  </a:cubicBezTo>
                  <a:close/>
                  <a:moveTo>
                    <a:pt x="6436" y="1858"/>
                  </a:moveTo>
                  <a:cubicBezTo>
                    <a:pt x="6429" y="1862"/>
                    <a:pt x="6437" y="1872"/>
                    <a:pt x="6445" y="1871"/>
                  </a:cubicBezTo>
                  <a:cubicBezTo>
                    <a:pt x="6453" y="1870"/>
                    <a:pt x="6461" y="1866"/>
                    <a:pt x="6459" y="1860"/>
                  </a:cubicBezTo>
                  <a:cubicBezTo>
                    <a:pt x="6457" y="1855"/>
                    <a:pt x="6462" y="1857"/>
                    <a:pt x="6464" y="1854"/>
                  </a:cubicBezTo>
                  <a:cubicBezTo>
                    <a:pt x="6467" y="1852"/>
                    <a:pt x="6475" y="1847"/>
                    <a:pt x="6473" y="1843"/>
                  </a:cubicBezTo>
                  <a:cubicBezTo>
                    <a:pt x="6471" y="1838"/>
                    <a:pt x="6471" y="1838"/>
                    <a:pt x="6472" y="1835"/>
                  </a:cubicBezTo>
                  <a:cubicBezTo>
                    <a:pt x="6474" y="1832"/>
                    <a:pt x="6473" y="1827"/>
                    <a:pt x="6473" y="1821"/>
                  </a:cubicBezTo>
                  <a:cubicBezTo>
                    <a:pt x="6473" y="1815"/>
                    <a:pt x="6473" y="1806"/>
                    <a:pt x="6467" y="1804"/>
                  </a:cubicBezTo>
                  <a:cubicBezTo>
                    <a:pt x="6461" y="1801"/>
                    <a:pt x="6456" y="1806"/>
                    <a:pt x="6452" y="1808"/>
                  </a:cubicBezTo>
                  <a:cubicBezTo>
                    <a:pt x="6449" y="1810"/>
                    <a:pt x="6457" y="1820"/>
                    <a:pt x="6447" y="1824"/>
                  </a:cubicBezTo>
                  <a:cubicBezTo>
                    <a:pt x="6437" y="1827"/>
                    <a:pt x="6435" y="1835"/>
                    <a:pt x="6429" y="1834"/>
                  </a:cubicBezTo>
                  <a:cubicBezTo>
                    <a:pt x="6424" y="1833"/>
                    <a:pt x="6423" y="1836"/>
                    <a:pt x="6422" y="1839"/>
                  </a:cubicBezTo>
                  <a:cubicBezTo>
                    <a:pt x="6420" y="1843"/>
                    <a:pt x="6415" y="1851"/>
                    <a:pt x="6418" y="1852"/>
                  </a:cubicBezTo>
                  <a:cubicBezTo>
                    <a:pt x="6422" y="1854"/>
                    <a:pt x="6443" y="1852"/>
                    <a:pt x="6436" y="1858"/>
                  </a:cubicBezTo>
                  <a:close/>
                  <a:moveTo>
                    <a:pt x="3331" y="1165"/>
                  </a:moveTo>
                  <a:cubicBezTo>
                    <a:pt x="3335" y="1161"/>
                    <a:pt x="3340" y="1170"/>
                    <a:pt x="3342" y="1173"/>
                  </a:cubicBezTo>
                  <a:cubicBezTo>
                    <a:pt x="3344" y="1177"/>
                    <a:pt x="3352" y="1183"/>
                    <a:pt x="3357" y="1183"/>
                  </a:cubicBezTo>
                  <a:cubicBezTo>
                    <a:pt x="3362" y="1183"/>
                    <a:pt x="3369" y="1179"/>
                    <a:pt x="3373" y="1170"/>
                  </a:cubicBezTo>
                  <a:cubicBezTo>
                    <a:pt x="3376" y="1161"/>
                    <a:pt x="3375" y="1163"/>
                    <a:pt x="3379" y="1158"/>
                  </a:cubicBezTo>
                  <a:cubicBezTo>
                    <a:pt x="3382" y="1154"/>
                    <a:pt x="3405" y="1158"/>
                    <a:pt x="3407" y="1149"/>
                  </a:cubicBezTo>
                  <a:cubicBezTo>
                    <a:pt x="3409" y="1140"/>
                    <a:pt x="3397" y="1143"/>
                    <a:pt x="3390" y="1138"/>
                  </a:cubicBezTo>
                  <a:cubicBezTo>
                    <a:pt x="3383" y="1133"/>
                    <a:pt x="3375" y="1123"/>
                    <a:pt x="3373" y="1118"/>
                  </a:cubicBezTo>
                  <a:cubicBezTo>
                    <a:pt x="3371" y="1112"/>
                    <a:pt x="3360" y="1110"/>
                    <a:pt x="3354" y="1116"/>
                  </a:cubicBezTo>
                  <a:cubicBezTo>
                    <a:pt x="3347" y="1123"/>
                    <a:pt x="3332" y="1120"/>
                    <a:pt x="3327" y="1116"/>
                  </a:cubicBezTo>
                  <a:cubicBezTo>
                    <a:pt x="3323" y="1113"/>
                    <a:pt x="3333" y="1105"/>
                    <a:pt x="3332" y="1096"/>
                  </a:cubicBezTo>
                  <a:cubicBezTo>
                    <a:pt x="3331" y="1087"/>
                    <a:pt x="3316" y="1099"/>
                    <a:pt x="3310" y="1106"/>
                  </a:cubicBezTo>
                  <a:cubicBezTo>
                    <a:pt x="3305" y="1113"/>
                    <a:pt x="3291" y="1097"/>
                    <a:pt x="3290" y="1092"/>
                  </a:cubicBezTo>
                  <a:cubicBezTo>
                    <a:pt x="3289" y="1088"/>
                    <a:pt x="3298" y="1085"/>
                    <a:pt x="3307" y="1079"/>
                  </a:cubicBezTo>
                  <a:cubicBezTo>
                    <a:pt x="3316" y="1073"/>
                    <a:pt x="3296" y="1066"/>
                    <a:pt x="3289" y="1067"/>
                  </a:cubicBezTo>
                  <a:cubicBezTo>
                    <a:pt x="3282" y="1069"/>
                    <a:pt x="3272" y="1060"/>
                    <a:pt x="3264" y="1058"/>
                  </a:cubicBezTo>
                  <a:cubicBezTo>
                    <a:pt x="3256" y="1057"/>
                    <a:pt x="3263" y="1048"/>
                    <a:pt x="3263" y="1036"/>
                  </a:cubicBezTo>
                  <a:cubicBezTo>
                    <a:pt x="3263" y="1023"/>
                    <a:pt x="3249" y="1033"/>
                    <a:pt x="3243" y="1037"/>
                  </a:cubicBezTo>
                  <a:cubicBezTo>
                    <a:pt x="3238" y="1040"/>
                    <a:pt x="3215" y="1041"/>
                    <a:pt x="3206" y="1041"/>
                  </a:cubicBezTo>
                  <a:cubicBezTo>
                    <a:pt x="3197" y="1041"/>
                    <a:pt x="3193" y="1036"/>
                    <a:pt x="3190" y="1034"/>
                  </a:cubicBezTo>
                  <a:cubicBezTo>
                    <a:pt x="3186" y="1033"/>
                    <a:pt x="3176" y="1025"/>
                    <a:pt x="3173" y="1023"/>
                  </a:cubicBezTo>
                  <a:cubicBezTo>
                    <a:pt x="3169" y="1021"/>
                    <a:pt x="3180" y="1009"/>
                    <a:pt x="3180" y="1009"/>
                  </a:cubicBezTo>
                  <a:cubicBezTo>
                    <a:pt x="3180" y="1009"/>
                    <a:pt x="3180" y="1003"/>
                    <a:pt x="3178" y="998"/>
                  </a:cubicBezTo>
                  <a:cubicBezTo>
                    <a:pt x="3177" y="994"/>
                    <a:pt x="3167" y="994"/>
                    <a:pt x="3157" y="999"/>
                  </a:cubicBezTo>
                  <a:cubicBezTo>
                    <a:pt x="3147" y="1005"/>
                    <a:pt x="3137" y="999"/>
                    <a:pt x="3127" y="997"/>
                  </a:cubicBezTo>
                  <a:cubicBezTo>
                    <a:pt x="3117" y="995"/>
                    <a:pt x="3124" y="988"/>
                    <a:pt x="3124" y="988"/>
                  </a:cubicBezTo>
                  <a:cubicBezTo>
                    <a:pt x="3124" y="988"/>
                    <a:pt x="3140" y="986"/>
                    <a:pt x="3147" y="981"/>
                  </a:cubicBezTo>
                  <a:cubicBezTo>
                    <a:pt x="3153" y="976"/>
                    <a:pt x="3148" y="975"/>
                    <a:pt x="3149" y="967"/>
                  </a:cubicBezTo>
                  <a:cubicBezTo>
                    <a:pt x="3150" y="959"/>
                    <a:pt x="3156" y="962"/>
                    <a:pt x="3161" y="964"/>
                  </a:cubicBezTo>
                  <a:cubicBezTo>
                    <a:pt x="3167" y="966"/>
                    <a:pt x="3176" y="965"/>
                    <a:pt x="3181" y="963"/>
                  </a:cubicBezTo>
                  <a:cubicBezTo>
                    <a:pt x="3185" y="961"/>
                    <a:pt x="3189" y="956"/>
                    <a:pt x="3193" y="955"/>
                  </a:cubicBezTo>
                  <a:cubicBezTo>
                    <a:pt x="3198" y="954"/>
                    <a:pt x="3206" y="955"/>
                    <a:pt x="3209" y="957"/>
                  </a:cubicBezTo>
                  <a:cubicBezTo>
                    <a:pt x="3213" y="959"/>
                    <a:pt x="3220" y="957"/>
                    <a:pt x="3230" y="954"/>
                  </a:cubicBezTo>
                  <a:cubicBezTo>
                    <a:pt x="3239" y="950"/>
                    <a:pt x="3228" y="939"/>
                    <a:pt x="3230" y="936"/>
                  </a:cubicBezTo>
                  <a:cubicBezTo>
                    <a:pt x="3231" y="932"/>
                    <a:pt x="3215" y="922"/>
                    <a:pt x="3209" y="922"/>
                  </a:cubicBezTo>
                  <a:cubicBezTo>
                    <a:pt x="3203" y="922"/>
                    <a:pt x="3201" y="912"/>
                    <a:pt x="3197" y="909"/>
                  </a:cubicBezTo>
                  <a:cubicBezTo>
                    <a:pt x="3192" y="907"/>
                    <a:pt x="3202" y="901"/>
                    <a:pt x="3210" y="905"/>
                  </a:cubicBezTo>
                  <a:cubicBezTo>
                    <a:pt x="3218" y="908"/>
                    <a:pt x="3225" y="905"/>
                    <a:pt x="3225" y="905"/>
                  </a:cubicBezTo>
                  <a:cubicBezTo>
                    <a:pt x="3225" y="905"/>
                    <a:pt x="3235" y="891"/>
                    <a:pt x="3235" y="888"/>
                  </a:cubicBezTo>
                  <a:cubicBezTo>
                    <a:pt x="3235" y="884"/>
                    <a:pt x="3225" y="875"/>
                    <a:pt x="3224" y="870"/>
                  </a:cubicBezTo>
                  <a:cubicBezTo>
                    <a:pt x="3223" y="864"/>
                    <a:pt x="3208" y="862"/>
                    <a:pt x="3205" y="863"/>
                  </a:cubicBezTo>
                  <a:cubicBezTo>
                    <a:pt x="3201" y="864"/>
                    <a:pt x="3190" y="873"/>
                    <a:pt x="3185" y="875"/>
                  </a:cubicBezTo>
                  <a:cubicBezTo>
                    <a:pt x="3181" y="878"/>
                    <a:pt x="3181" y="864"/>
                    <a:pt x="3181" y="864"/>
                  </a:cubicBezTo>
                  <a:cubicBezTo>
                    <a:pt x="3181" y="864"/>
                    <a:pt x="3191" y="851"/>
                    <a:pt x="3200" y="849"/>
                  </a:cubicBezTo>
                  <a:cubicBezTo>
                    <a:pt x="3209" y="847"/>
                    <a:pt x="3207" y="837"/>
                    <a:pt x="3205" y="833"/>
                  </a:cubicBezTo>
                  <a:cubicBezTo>
                    <a:pt x="3202" y="830"/>
                    <a:pt x="3201" y="818"/>
                    <a:pt x="3193" y="820"/>
                  </a:cubicBezTo>
                  <a:cubicBezTo>
                    <a:pt x="3185" y="821"/>
                    <a:pt x="3176" y="815"/>
                    <a:pt x="3173" y="812"/>
                  </a:cubicBezTo>
                  <a:cubicBezTo>
                    <a:pt x="3169" y="808"/>
                    <a:pt x="3164" y="802"/>
                    <a:pt x="3159" y="805"/>
                  </a:cubicBezTo>
                  <a:cubicBezTo>
                    <a:pt x="3155" y="807"/>
                    <a:pt x="3131" y="805"/>
                    <a:pt x="3123" y="804"/>
                  </a:cubicBezTo>
                  <a:cubicBezTo>
                    <a:pt x="3115" y="802"/>
                    <a:pt x="3099" y="812"/>
                    <a:pt x="3099" y="812"/>
                  </a:cubicBezTo>
                  <a:cubicBezTo>
                    <a:pt x="3066" y="815"/>
                    <a:pt x="3066" y="815"/>
                    <a:pt x="3066" y="815"/>
                  </a:cubicBezTo>
                  <a:cubicBezTo>
                    <a:pt x="3066" y="815"/>
                    <a:pt x="3082" y="807"/>
                    <a:pt x="3087" y="806"/>
                  </a:cubicBezTo>
                  <a:cubicBezTo>
                    <a:pt x="3093" y="805"/>
                    <a:pt x="3094" y="800"/>
                    <a:pt x="3101" y="798"/>
                  </a:cubicBezTo>
                  <a:cubicBezTo>
                    <a:pt x="3108" y="796"/>
                    <a:pt x="3118" y="797"/>
                    <a:pt x="3125" y="796"/>
                  </a:cubicBezTo>
                  <a:cubicBezTo>
                    <a:pt x="3132" y="795"/>
                    <a:pt x="3132" y="790"/>
                    <a:pt x="3133" y="784"/>
                  </a:cubicBezTo>
                  <a:cubicBezTo>
                    <a:pt x="3134" y="779"/>
                    <a:pt x="3134" y="773"/>
                    <a:pt x="3131" y="767"/>
                  </a:cubicBezTo>
                  <a:cubicBezTo>
                    <a:pt x="3127" y="762"/>
                    <a:pt x="3125" y="766"/>
                    <a:pt x="3114" y="766"/>
                  </a:cubicBezTo>
                  <a:cubicBezTo>
                    <a:pt x="3102" y="766"/>
                    <a:pt x="3100" y="760"/>
                    <a:pt x="3099" y="754"/>
                  </a:cubicBezTo>
                  <a:cubicBezTo>
                    <a:pt x="3098" y="747"/>
                    <a:pt x="3082" y="749"/>
                    <a:pt x="3078" y="750"/>
                  </a:cubicBezTo>
                  <a:cubicBezTo>
                    <a:pt x="3075" y="751"/>
                    <a:pt x="3066" y="758"/>
                    <a:pt x="3067" y="765"/>
                  </a:cubicBezTo>
                  <a:cubicBezTo>
                    <a:pt x="3068" y="772"/>
                    <a:pt x="3056" y="781"/>
                    <a:pt x="3054" y="788"/>
                  </a:cubicBezTo>
                  <a:cubicBezTo>
                    <a:pt x="3053" y="795"/>
                    <a:pt x="3046" y="792"/>
                    <a:pt x="3042" y="793"/>
                  </a:cubicBezTo>
                  <a:cubicBezTo>
                    <a:pt x="3037" y="795"/>
                    <a:pt x="3031" y="787"/>
                    <a:pt x="3028" y="781"/>
                  </a:cubicBezTo>
                  <a:cubicBezTo>
                    <a:pt x="3026" y="775"/>
                    <a:pt x="3033" y="773"/>
                    <a:pt x="3040" y="763"/>
                  </a:cubicBezTo>
                  <a:cubicBezTo>
                    <a:pt x="3046" y="752"/>
                    <a:pt x="3036" y="756"/>
                    <a:pt x="3034" y="752"/>
                  </a:cubicBezTo>
                  <a:cubicBezTo>
                    <a:pt x="3032" y="749"/>
                    <a:pt x="3039" y="744"/>
                    <a:pt x="3044" y="737"/>
                  </a:cubicBezTo>
                  <a:cubicBezTo>
                    <a:pt x="3050" y="729"/>
                    <a:pt x="3037" y="726"/>
                    <a:pt x="3037" y="726"/>
                  </a:cubicBezTo>
                  <a:cubicBezTo>
                    <a:pt x="3037" y="726"/>
                    <a:pt x="3024" y="724"/>
                    <a:pt x="3023" y="721"/>
                  </a:cubicBezTo>
                  <a:cubicBezTo>
                    <a:pt x="3021" y="717"/>
                    <a:pt x="3028" y="700"/>
                    <a:pt x="3028" y="700"/>
                  </a:cubicBezTo>
                  <a:cubicBezTo>
                    <a:pt x="3028" y="700"/>
                    <a:pt x="3019" y="693"/>
                    <a:pt x="3018" y="689"/>
                  </a:cubicBezTo>
                  <a:cubicBezTo>
                    <a:pt x="3017" y="684"/>
                    <a:pt x="3012" y="688"/>
                    <a:pt x="3007" y="690"/>
                  </a:cubicBezTo>
                  <a:cubicBezTo>
                    <a:pt x="3001" y="692"/>
                    <a:pt x="2994" y="689"/>
                    <a:pt x="2990" y="685"/>
                  </a:cubicBezTo>
                  <a:cubicBezTo>
                    <a:pt x="2985" y="682"/>
                    <a:pt x="2984" y="682"/>
                    <a:pt x="2984" y="676"/>
                  </a:cubicBezTo>
                  <a:cubicBezTo>
                    <a:pt x="2984" y="671"/>
                    <a:pt x="2977" y="676"/>
                    <a:pt x="2973" y="679"/>
                  </a:cubicBezTo>
                  <a:cubicBezTo>
                    <a:pt x="2968" y="681"/>
                    <a:pt x="2946" y="681"/>
                    <a:pt x="2942" y="681"/>
                  </a:cubicBezTo>
                  <a:cubicBezTo>
                    <a:pt x="2937" y="681"/>
                    <a:pt x="2937" y="675"/>
                    <a:pt x="2936" y="672"/>
                  </a:cubicBezTo>
                  <a:cubicBezTo>
                    <a:pt x="2935" y="668"/>
                    <a:pt x="2940" y="660"/>
                    <a:pt x="2940" y="660"/>
                  </a:cubicBezTo>
                  <a:cubicBezTo>
                    <a:pt x="2950" y="669"/>
                    <a:pt x="2950" y="669"/>
                    <a:pt x="2950" y="669"/>
                  </a:cubicBezTo>
                  <a:cubicBezTo>
                    <a:pt x="2950" y="669"/>
                    <a:pt x="2966" y="664"/>
                    <a:pt x="2973" y="660"/>
                  </a:cubicBezTo>
                  <a:cubicBezTo>
                    <a:pt x="2979" y="657"/>
                    <a:pt x="2978" y="658"/>
                    <a:pt x="2987" y="660"/>
                  </a:cubicBezTo>
                  <a:cubicBezTo>
                    <a:pt x="2996" y="663"/>
                    <a:pt x="2998" y="668"/>
                    <a:pt x="3003" y="668"/>
                  </a:cubicBezTo>
                  <a:cubicBezTo>
                    <a:pt x="3009" y="668"/>
                    <a:pt x="3010" y="668"/>
                    <a:pt x="3020" y="661"/>
                  </a:cubicBezTo>
                  <a:cubicBezTo>
                    <a:pt x="3031" y="655"/>
                    <a:pt x="3020" y="661"/>
                    <a:pt x="3021" y="651"/>
                  </a:cubicBezTo>
                  <a:cubicBezTo>
                    <a:pt x="3023" y="641"/>
                    <a:pt x="3026" y="638"/>
                    <a:pt x="3028" y="632"/>
                  </a:cubicBezTo>
                  <a:cubicBezTo>
                    <a:pt x="3031" y="626"/>
                    <a:pt x="3027" y="621"/>
                    <a:pt x="3024" y="617"/>
                  </a:cubicBezTo>
                  <a:cubicBezTo>
                    <a:pt x="3020" y="614"/>
                    <a:pt x="3018" y="614"/>
                    <a:pt x="3009" y="611"/>
                  </a:cubicBezTo>
                  <a:cubicBezTo>
                    <a:pt x="3000" y="609"/>
                    <a:pt x="3009" y="611"/>
                    <a:pt x="3004" y="609"/>
                  </a:cubicBezTo>
                  <a:cubicBezTo>
                    <a:pt x="3000" y="607"/>
                    <a:pt x="2993" y="607"/>
                    <a:pt x="2993" y="607"/>
                  </a:cubicBezTo>
                  <a:cubicBezTo>
                    <a:pt x="2982" y="609"/>
                    <a:pt x="2982" y="609"/>
                    <a:pt x="2982" y="609"/>
                  </a:cubicBezTo>
                  <a:cubicBezTo>
                    <a:pt x="2982" y="609"/>
                    <a:pt x="2970" y="613"/>
                    <a:pt x="2967" y="615"/>
                  </a:cubicBezTo>
                  <a:cubicBezTo>
                    <a:pt x="2963" y="617"/>
                    <a:pt x="2955" y="618"/>
                    <a:pt x="2951" y="617"/>
                  </a:cubicBezTo>
                  <a:cubicBezTo>
                    <a:pt x="2946" y="616"/>
                    <a:pt x="2942" y="613"/>
                    <a:pt x="2940" y="607"/>
                  </a:cubicBezTo>
                  <a:cubicBezTo>
                    <a:pt x="2937" y="601"/>
                    <a:pt x="2928" y="601"/>
                    <a:pt x="2928" y="601"/>
                  </a:cubicBezTo>
                  <a:cubicBezTo>
                    <a:pt x="2913" y="603"/>
                    <a:pt x="2913" y="603"/>
                    <a:pt x="2913" y="603"/>
                  </a:cubicBezTo>
                  <a:cubicBezTo>
                    <a:pt x="2913" y="603"/>
                    <a:pt x="2903" y="621"/>
                    <a:pt x="2896" y="624"/>
                  </a:cubicBezTo>
                  <a:cubicBezTo>
                    <a:pt x="2890" y="627"/>
                    <a:pt x="2890" y="635"/>
                    <a:pt x="2890" y="642"/>
                  </a:cubicBezTo>
                  <a:cubicBezTo>
                    <a:pt x="2890" y="649"/>
                    <a:pt x="2888" y="658"/>
                    <a:pt x="2887" y="664"/>
                  </a:cubicBezTo>
                  <a:cubicBezTo>
                    <a:pt x="2886" y="669"/>
                    <a:pt x="2887" y="675"/>
                    <a:pt x="2894" y="676"/>
                  </a:cubicBezTo>
                  <a:cubicBezTo>
                    <a:pt x="2901" y="677"/>
                    <a:pt x="2915" y="675"/>
                    <a:pt x="2920" y="679"/>
                  </a:cubicBezTo>
                  <a:cubicBezTo>
                    <a:pt x="2926" y="682"/>
                    <a:pt x="2916" y="684"/>
                    <a:pt x="2911" y="684"/>
                  </a:cubicBezTo>
                  <a:cubicBezTo>
                    <a:pt x="2907" y="684"/>
                    <a:pt x="2897" y="690"/>
                    <a:pt x="2894" y="701"/>
                  </a:cubicBezTo>
                  <a:cubicBezTo>
                    <a:pt x="2891" y="713"/>
                    <a:pt x="2878" y="709"/>
                    <a:pt x="2878" y="709"/>
                  </a:cubicBezTo>
                  <a:cubicBezTo>
                    <a:pt x="2878" y="709"/>
                    <a:pt x="2866" y="707"/>
                    <a:pt x="2861" y="700"/>
                  </a:cubicBezTo>
                  <a:cubicBezTo>
                    <a:pt x="2857" y="693"/>
                    <a:pt x="2835" y="717"/>
                    <a:pt x="2829" y="715"/>
                  </a:cubicBezTo>
                  <a:cubicBezTo>
                    <a:pt x="2824" y="713"/>
                    <a:pt x="2834" y="693"/>
                    <a:pt x="2834" y="693"/>
                  </a:cubicBezTo>
                  <a:cubicBezTo>
                    <a:pt x="2834" y="693"/>
                    <a:pt x="2847" y="682"/>
                    <a:pt x="2857" y="677"/>
                  </a:cubicBezTo>
                  <a:cubicBezTo>
                    <a:pt x="2866" y="673"/>
                    <a:pt x="2866" y="669"/>
                    <a:pt x="2867" y="659"/>
                  </a:cubicBezTo>
                  <a:cubicBezTo>
                    <a:pt x="2868" y="649"/>
                    <a:pt x="2869" y="640"/>
                    <a:pt x="2878" y="632"/>
                  </a:cubicBezTo>
                  <a:cubicBezTo>
                    <a:pt x="2887" y="624"/>
                    <a:pt x="2891" y="615"/>
                    <a:pt x="2888" y="599"/>
                  </a:cubicBezTo>
                  <a:cubicBezTo>
                    <a:pt x="2886" y="583"/>
                    <a:pt x="2878" y="601"/>
                    <a:pt x="2872" y="599"/>
                  </a:cubicBezTo>
                  <a:cubicBezTo>
                    <a:pt x="2867" y="597"/>
                    <a:pt x="2850" y="600"/>
                    <a:pt x="2839" y="600"/>
                  </a:cubicBezTo>
                  <a:cubicBezTo>
                    <a:pt x="2829" y="600"/>
                    <a:pt x="2829" y="609"/>
                    <a:pt x="2819" y="621"/>
                  </a:cubicBezTo>
                  <a:cubicBezTo>
                    <a:pt x="2809" y="632"/>
                    <a:pt x="2802" y="632"/>
                    <a:pt x="2792" y="628"/>
                  </a:cubicBezTo>
                  <a:cubicBezTo>
                    <a:pt x="2781" y="625"/>
                    <a:pt x="2776" y="628"/>
                    <a:pt x="2760" y="638"/>
                  </a:cubicBezTo>
                  <a:cubicBezTo>
                    <a:pt x="2744" y="647"/>
                    <a:pt x="2746" y="652"/>
                    <a:pt x="2734" y="656"/>
                  </a:cubicBezTo>
                  <a:cubicBezTo>
                    <a:pt x="2721" y="659"/>
                    <a:pt x="2714" y="657"/>
                    <a:pt x="2703" y="660"/>
                  </a:cubicBezTo>
                  <a:cubicBezTo>
                    <a:pt x="2692" y="664"/>
                    <a:pt x="2694" y="672"/>
                    <a:pt x="2690" y="677"/>
                  </a:cubicBezTo>
                  <a:cubicBezTo>
                    <a:pt x="2687" y="683"/>
                    <a:pt x="2672" y="688"/>
                    <a:pt x="2671" y="694"/>
                  </a:cubicBezTo>
                  <a:cubicBezTo>
                    <a:pt x="2670" y="701"/>
                    <a:pt x="2679" y="715"/>
                    <a:pt x="2678" y="718"/>
                  </a:cubicBezTo>
                  <a:cubicBezTo>
                    <a:pt x="2677" y="722"/>
                    <a:pt x="2658" y="727"/>
                    <a:pt x="2653" y="727"/>
                  </a:cubicBezTo>
                  <a:cubicBezTo>
                    <a:pt x="2648" y="727"/>
                    <a:pt x="2634" y="725"/>
                    <a:pt x="2623" y="729"/>
                  </a:cubicBezTo>
                  <a:cubicBezTo>
                    <a:pt x="2613" y="732"/>
                    <a:pt x="2625" y="741"/>
                    <a:pt x="2621" y="743"/>
                  </a:cubicBezTo>
                  <a:cubicBezTo>
                    <a:pt x="2618" y="746"/>
                    <a:pt x="2617" y="755"/>
                    <a:pt x="2619" y="759"/>
                  </a:cubicBezTo>
                  <a:cubicBezTo>
                    <a:pt x="2621" y="764"/>
                    <a:pt x="2637" y="773"/>
                    <a:pt x="2637" y="773"/>
                  </a:cubicBezTo>
                  <a:cubicBezTo>
                    <a:pt x="2637" y="773"/>
                    <a:pt x="2600" y="785"/>
                    <a:pt x="2602" y="780"/>
                  </a:cubicBezTo>
                  <a:cubicBezTo>
                    <a:pt x="2604" y="774"/>
                    <a:pt x="2612" y="771"/>
                    <a:pt x="2610" y="766"/>
                  </a:cubicBezTo>
                  <a:cubicBezTo>
                    <a:pt x="2607" y="762"/>
                    <a:pt x="2603" y="755"/>
                    <a:pt x="2603" y="755"/>
                  </a:cubicBezTo>
                  <a:cubicBezTo>
                    <a:pt x="2603" y="755"/>
                    <a:pt x="2607" y="744"/>
                    <a:pt x="2606" y="741"/>
                  </a:cubicBezTo>
                  <a:cubicBezTo>
                    <a:pt x="2605" y="738"/>
                    <a:pt x="2606" y="729"/>
                    <a:pt x="2609" y="724"/>
                  </a:cubicBezTo>
                  <a:cubicBezTo>
                    <a:pt x="2611" y="719"/>
                    <a:pt x="2619" y="718"/>
                    <a:pt x="2627" y="718"/>
                  </a:cubicBezTo>
                  <a:cubicBezTo>
                    <a:pt x="2635" y="718"/>
                    <a:pt x="2636" y="710"/>
                    <a:pt x="2639" y="706"/>
                  </a:cubicBezTo>
                  <a:cubicBezTo>
                    <a:pt x="2643" y="701"/>
                    <a:pt x="2643" y="700"/>
                    <a:pt x="2644" y="694"/>
                  </a:cubicBezTo>
                  <a:cubicBezTo>
                    <a:pt x="2645" y="689"/>
                    <a:pt x="2647" y="688"/>
                    <a:pt x="2646" y="683"/>
                  </a:cubicBezTo>
                  <a:cubicBezTo>
                    <a:pt x="2645" y="679"/>
                    <a:pt x="2650" y="671"/>
                    <a:pt x="2653" y="666"/>
                  </a:cubicBezTo>
                  <a:cubicBezTo>
                    <a:pt x="2656" y="661"/>
                    <a:pt x="2671" y="658"/>
                    <a:pt x="2683" y="657"/>
                  </a:cubicBezTo>
                  <a:cubicBezTo>
                    <a:pt x="2694" y="656"/>
                    <a:pt x="2702" y="647"/>
                    <a:pt x="2710" y="642"/>
                  </a:cubicBezTo>
                  <a:cubicBezTo>
                    <a:pt x="2718" y="638"/>
                    <a:pt x="2726" y="625"/>
                    <a:pt x="2730" y="622"/>
                  </a:cubicBezTo>
                  <a:cubicBezTo>
                    <a:pt x="2735" y="618"/>
                    <a:pt x="2753" y="618"/>
                    <a:pt x="2766" y="619"/>
                  </a:cubicBezTo>
                  <a:cubicBezTo>
                    <a:pt x="2778" y="621"/>
                    <a:pt x="2781" y="605"/>
                    <a:pt x="2787" y="599"/>
                  </a:cubicBezTo>
                  <a:cubicBezTo>
                    <a:pt x="2787" y="599"/>
                    <a:pt x="2777" y="597"/>
                    <a:pt x="2772" y="595"/>
                  </a:cubicBezTo>
                  <a:cubicBezTo>
                    <a:pt x="2768" y="594"/>
                    <a:pt x="2759" y="593"/>
                    <a:pt x="2759" y="593"/>
                  </a:cubicBezTo>
                  <a:cubicBezTo>
                    <a:pt x="2759" y="593"/>
                    <a:pt x="2746" y="594"/>
                    <a:pt x="2743" y="593"/>
                  </a:cubicBezTo>
                  <a:cubicBezTo>
                    <a:pt x="2739" y="592"/>
                    <a:pt x="2730" y="599"/>
                    <a:pt x="2726" y="597"/>
                  </a:cubicBezTo>
                  <a:cubicBezTo>
                    <a:pt x="2721" y="594"/>
                    <a:pt x="2720" y="595"/>
                    <a:pt x="2712" y="599"/>
                  </a:cubicBezTo>
                  <a:cubicBezTo>
                    <a:pt x="2704" y="602"/>
                    <a:pt x="2700" y="607"/>
                    <a:pt x="2695" y="608"/>
                  </a:cubicBezTo>
                  <a:cubicBezTo>
                    <a:pt x="2690" y="609"/>
                    <a:pt x="2677" y="615"/>
                    <a:pt x="2672" y="614"/>
                  </a:cubicBezTo>
                  <a:cubicBezTo>
                    <a:pt x="2668" y="613"/>
                    <a:pt x="2660" y="611"/>
                    <a:pt x="2653" y="617"/>
                  </a:cubicBezTo>
                  <a:cubicBezTo>
                    <a:pt x="2646" y="623"/>
                    <a:pt x="2637" y="631"/>
                    <a:pt x="2634" y="635"/>
                  </a:cubicBezTo>
                  <a:cubicBezTo>
                    <a:pt x="2630" y="640"/>
                    <a:pt x="2615" y="640"/>
                    <a:pt x="2610" y="640"/>
                  </a:cubicBezTo>
                  <a:cubicBezTo>
                    <a:pt x="2604" y="640"/>
                    <a:pt x="2598" y="647"/>
                    <a:pt x="2594" y="656"/>
                  </a:cubicBezTo>
                  <a:cubicBezTo>
                    <a:pt x="2589" y="665"/>
                    <a:pt x="2580" y="671"/>
                    <a:pt x="2572" y="672"/>
                  </a:cubicBezTo>
                  <a:cubicBezTo>
                    <a:pt x="2564" y="673"/>
                    <a:pt x="2565" y="674"/>
                    <a:pt x="2557" y="680"/>
                  </a:cubicBezTo>
                  <a:cubicBezTo>
                    <a:pt x="2549" y="685"/>
                    <a:pt x="2548" y="688"/>
                    <a:pt x="2546" y="691"/>
                  </a:cubicBezTo>
                  <a:cubicBezTo>
                    <a:pt x="2544" y="694"/>
                    <a:pt x="2535" y="699"/>
                    <a:pt x="2528" y="704"/>
                  </a:cubicBezTo>
                  <a:cubicBezTo>
                    <a:pt x="2521" y="708"/>
                    <a:pt x="2520" y="707"/>
                    <a:pt x="2518" y="711"/>
                  </a:cubicBezTo>
                  <a:cubicBezTo>
                    <a:pt x="2515" y="716"/>
                    <a:pt x="2511" y="723"/>
                    <a:pt x="2505" y="724"/>
                  </a:cubicBezTo>
                  <a:cubicBezTo>
                    <a:pt x="2499" y="725"/>
                    <a:pt x="2489" y="732"/>
                    <a:pt x="2486" y="739"/>
                  </a:cubicBezTo>
                  <a:cubicBezTo>
                    <a:pt x="2482" y="746"/>
                    <a:pt x="2478" y="756"/>
                    <a:pt x="2474" y="760"/>
                  </a:cubicBezTo>
                  <a:cubicBezTo>
                    <a:pt x="2471" y="765"/>
                    <a:pt x="2458" y="756"/>
                    <a:pt x="2455" y="756"/>
                  </a:cubicBezTo>
                  <a:cubicBezTo>
                    <a:pt x="2452" y="756"/>
                    <a:pt x="2451" y="763"/>
                    <a:pt x="2447" y="769"/>
                  </a:cubicBezTo>
                  <a:cubicBezTo>
                    <a:pt x="2444" y="776"/>
                    <a:pt x="2446" y="779"/>
                    <a:pt x="2449" y="782"/>
                  </a:cubicBezTo>
                  <a:cubicBezTo>
                    <a:pt x="2453" y="785"/>
                    <a:pt x="2454" y="788"/>
                    <a:pt x="2462" y="784"/>
                  </a:cubicBezTo>
                  <a:cubicBezTo>
                    <a:pt x="2470" y="781"/>
                    <a:pt x="2466" y="788"/>
                    <a:pt x="2474" y="797"/>
                  </a:cubicBezTo>
                  <a:cubicBezTo>
                    <a:pt x="2482" y="806"/>
                    <a:pt x="2474" y="797"/>
                    <a:pt x="2486" y="793"/>
                  </a:cubicBezTo>
                  <a:cubicBezTo>
                    <a:pt x="2497" y="790"/>
                    <a:pt x="2496" y="797"/>
                    <a:pt x="2496" y="802"/>
                  </a:cubicBezTo>
                  <a:cubicBezTo>
                    <a:pt x="2496" y="808"/>
                    <a:pt x="2485" y="810"/>
                    <a:pt x="2485" y="810"/>
                  </a:cubicBezTo>
                  <a:cubicBezTo>
                    <a:pt x="2485" y="810"/>
                    <a:pt x="2465" y="806"/>
                    <a:pt x="2460" y="805"/>
                  </a:cubicBezTo>
                  <a:cubicBezTo>
                    <a:pt x="2454" y="804"/>
                    <a:pt x="2447" y="805"/>
                    <a:pt x="2441" y="799"/>
                  </a:cubicBezTo>
                  <a:cubicBezTo>
                    <a:pt x="2436" y="793"/>
                    <a:pt x="2430" y="799"/>
                    <a:pt x="2427" y="799"/>
                  </a:cubicBezTo>
                  <a:cubicBezTo>
                    <a:pt x="2423" y="799"/>
                    <a:pt x="2419" y="807"/>
                    <a:pt x="2416" y="813"/>
                  </a:cubicBezTo>
                  <a:cubicBezTo>
                    <a:pt x="2414" y="818"/>
                    <a:pt x="2410" y="821"/>
                    <a:pt x="2410" y="827"/>
                  </a:cubicBezTo>
                  <a:cubicBezTo>
                    <a:pt x="2410" y="834"/>
                    <a:pt x="2408" y="840"/>
                    <a:pt x="2415" y="841"/>
                  </a:cubicBezTo>
                  <a:cubicBezTo>
                    <a:pt x="2422" y="842"/>
                    <a:pt x="2421" y="848"/>
                    <a:pt x="2424" y="855"/>
                  </a:cubicBezTo>
                  <a:cubicBezTo>
                    <a:pt x="2428" y="862"/>
                    <a:pt x="2431" y="858"/>
                    <a:pt x="2431" y="863"/>
                  </a:cubicBezTo>
                  <a:cubicBezTo>
                    <a:pt x="2431" y="867"/>
                    <a:pt x="2443" y="863"/>
                    <a:pt x="2453" y="863"/>
                  </a:cubicBezTo>
                  <a:cubicBezTo>
                    <a:pt x="2463" y="863"/>
                    <a:pt x="2461" y="864"/>
                    <a:pt x="2466" y="864"/>
                  </a:cubicBezTo>
                  <a:cubicBezTo>
                    <a:pt x="2472" y="864"/>
                    <a:pt x="2473" y="865"/>
                    <a:pt x="2477" y="870"/>
                  </a:cubicBezTo>
                  <a:cubicBezTo>
                    <a:pt x="2480" y="874"/>
                    <a:pt x="2485" y="875"/>
                    <a:pt x="2491" y="878"/>
                  </a:cubicBezTo>
                  <a:cubicBezTo>
                    <a:pt x="2498" y="880"/>
                    <a:pt x="2499" y="879"/>
                    <a:pt x="2506" y="879"/>
                  </a:cubicBezTo>
                  <a:cubicBezTo>
                    <a:pt x="2513" y="879"/>
                    <a:pt x="2516" y="876"/>
                    <a:pt x="2521" y="876"/>
                  </a:cubicBezTo>
                  <a:cubicBezTo>
                    <a:pt x="2526" y="876"/>
                    <a:pt x="2530" y="875"/>
                    <a:pt x="2536" y="880"/>
                  </a:cubicBezTo>
                  <a:cubicBezTo>
                    <a:pt x="2542" y="884"/>
                    <a:pt x="2543" y="883"/>
                    <a:pt x="2548" y="883"/>
                  </a:cubicBezTo>
                  <a:cubicBezTo>
                    <a:pt x="2554" y="883"/>
                    <a:pt x="2560" y="880"/>
                    <a:pt x="2565" y="881"/>
                  </a:cubicBezTo>
                  <a:cubicBezTo>
                    <a:pt x="2571" y="882"/>
                    <a:pt x="2574" y="881"/>
                    <a:pt x="2584" y="882"/>
                  </a:cubicBezTo>
                  <a:cubicBezTo>
                    <a:pt x="2593" y="883"/>
                    <a:pt x="2604" y="889"/>
                    <a:pt x="2610" y="890"/>
                  </a:cubicBezTo>
                  <a:cubicBezTo>
                    <a:pt x="2615" y="891"/>
                    <a:pt x="2622" y="897"/>
                    <a:pt x="2631" y="903"/>
                  </a:cubicBezTo>
                  <a:cubicBezTo>
                    <a:pt x="2640" y="908"/>
                    <a:pt x="2642" y="904"/>
                    <a:pt x="2646" y="900"/>
                  </a:cubicBezTo>
                  <a:cubicBezTo>
                    <a:pt x="2651" y="897"/>
                    <a:pt x="2650" y="889"/>
                    <a:pt x="2655" y="885"/>
                  </a:cubicBezTo>
                  <a:cubicBezTo>
                    <a:pt x="2661" y="882"/>
                    <a:pt x="2664" y="897"/>
                    <a:pt x="2680" y="905"/>
                  </a:cubicBezTo>
                  <a:cubicBezTo>
                    <a:pt x="2696" y="913"/>
                    <a:pt x="2687" y="899"/>
                    <a:pt x="2688" y="896"/>
                  </a:cubicBezTo>
                  <a:cubicBezTo>
                    <a:pt x="2689" y="892"/>
                    <a:pt x="2702" y="895"/>
                    <a:pt x="2703" y="900"/>
                  </a:cubicBezTo>
                  <a:cubicBezTo>
                    <a:pt x="2704" y="906"/>
                    <a:pt x="2713" y="911"/>
                    <a:pt x="2727" y="904"/>
                  </a:cubicBezTo>
                  <a:cubicBezTo>
                    <a:pt x="2741" y="897"/>
                    <a:pt x="2736" y="900"/>
                    <a:pt x="2741" y="901"/>
                  </a:cubicBezTo>
                  <a:cubicBezTo>
                    <a:pt x="2745" y="903"/>
                    <a:pt x="2749" y="897"/>
                    <a:pt x="2753" y="881"/>
                  </a:cubicBezTo>
                  <a:cubicBezTo>
                    <a:pt x="2758" y="865"/>
                    <a:pt x="2755" y="858"/>
                    <a:pt x="2760" y="855"/>
                  </a:cubicBezTo>
                  <a:cubicBezTo>
                    <a:pt x="2764" y="851"/>
                    <a:pt x="2763" y="868"/>
                    <a:pt x="2771" y="872"/>
                  </a:cubicBezTo>
                  <a:cubicBezTo>
                    <a:pt x="2779" y="875"/>
                    <a:pt x="2779" y="878"/>
                    <a:pt x="2781" y="884"/>
                  </a:cubicBezTo>
                  <a:cubicBezTo>
                    <a:pt x="2784" y="891"/>
                    <a:pt x="2783" y="897"/>
                    <a:pt x="2784" y="904"/>
                  </a:cubicBezTo>
                  <a:cubicBezTo>
                    <a:pt x="2785" y="911"/>
                    <a:pt x="2793" y="907"/>
                    <a:pt x="2797" y="911"/>
                  </a:cubicBezTo>
                  <a:cubicBezTo>
                    <a:pt x="2802" y="914"/>
                    <a:pt x="2799" y="916"/>
                    <a:pt x="2799" y="924"/>
                  </a:cubicBezTo>
                  <a:cubicBezTo>
                    <a:pt x="2799" y="932"/>
                    <a:pt x="2799" y="924"/>
                    <a:pt x="2811" y="932"/>
                  </a:cubicBezTo>
                  <a:cubicBezTo>
                    <a:pt x="2824" y="940"/>
                    <a:pt x="2820" y="939"/>
                    <a:pt x="2820" y="949"/>
                  </a:cubicBezTo>
                  <a:cubicBezTo>
                    <a:pt x="2820" y="959"/>
                    <a:pt x="2824" y="958"/>
                    <a:pt x="2829" y="967"/>
                  </a:cubicBezTo>
                  <a:cubicBezTo>
                    <a:pt x="2835" y="976"/>
                    <a:pt x="2839" y="974"/>
                    <a:pt x="2838" y="984"/>
                  </a:cubicBezTo>
                  <a:cubicBezTo>
                    <a:pt x="2837" y="995"/>
                    <a:pt x="2853" y="995"/>
                    <a:pt x="2863" y="1000"/>
                  </a:cubicBezTo>
                  <a:cubicBezTo>
                    <a:pt x="2874" y="1006"/>
                    <a:pt x="2865" y="1011"/>
                    <a:pt x="2866" y="1014"/>
                  </a:cubicBezTo>
                  <a:cubicBezTo>
                    <a:pt x="2867" y="1017"/>
                    <a:pt x="2872" y="1019"/>
                    <a:pt x="2877" y="1025"/>
                  </a:cubicBezTo>
                  <a:cubicBezTo>
                    <a:pt x="2882" y="1032"/>
                    <a:pt x="2886" y="1027"/>
                    <a:pt x="2890" y="1034"/>
                  </a:cubicBezTo>
                  <a:cubicBezTo>
                    <a:pt x="2893" y="1042"/>
                    <a:pt x="2886" y="1042"/>
                    <a:pt x="2882" y="1054"/>
                  </a:cubicBezTo>
                  <a:cubicBezTo>
                    <a:pt x="2877" y="1065"/>
                    <a:pt x="2890" y="1069"/>
                    <a:pt x="2885" y="1074"/>
                  </a:cubicBezTo>
                  <a:cubicBezTo>
                    <a:pt x="2880" y="1080"/>
                    <a:pt x="2888" y="1082"/>
                    <a:pt x="2890" y="1088"/>
                  </a:cubicBezTo>
                  <a:cubicBezTo>
                    <a:pt x="2891" y="1094"/>
                    <a:pt x="2890" y="1094"/>
                    <a:pt x="2879" y="1098"/>
                  </a:cubicBezTo>
                  <a:cubicBezTo>
                    <a:pt x="2869" y="1103"/>
                    <a:pt x="2871" y="1107"/>
                    <a:pt x="2845" y="1122"/>
                  </a:cubicBezTo>
                  <a:cubicBezTo>
                    <a:pt x="2819" y="1137"/>
                    <a:pt x="2835" y="1123"/>
                    <a:pt x="2825" y="1127"/>
                  </a:cubicBezTo>
                  <a:cubicBezTo>
                    <a:pt x="2814" y="1130"/>
                    <a:pt x="2825" y="1138"/>
                    <a:pt x="2820" y="1144"/>
                  </a:cubicBezTo>
                  <a:cubicBezTo>
                    <a:pt x="2816" y="1149"/>
                    <a:pt x="2812" y="1146"/>
                    <a:pt x="2804" y="1145"/>
                  </a:cubicBezTo>
                  <a:cubicBezTo>
                    <a:pt x="2796" y="1144"/>
                    <a:pt x="2796" y="1154"/>
                    <a:pt x="2786" y="1162"/>
                  </a:cubicBezTo>
                  <a:cubicBezTo>
                    <a:pt x="2776" y="1170"/>
                    <a:pt x="2778" y="1168"/>
                    <a:pt x="2768" y="1168"/>
                  </a:cubicBezTo>
                  <a:cubicBezTo>
                    <a:pt x="2758" y="1168"/>
                    <a:pt x="2762" y="1169"/>
                    <a:pt x="2759" y="1176"/>
                  </a:cubicBezTo>
                  <a:cubicBezTo>
                    <a:pt x="2755" y="1182"/>
                    <a:pt x="2751" y="1180"/>
                    <a:pt x="2745" y="1179"/>
                  </a:cubicBezTo>
                  <a:cubicBezTo>
                    <a:pt x="2739" y="1178"/>
                    <a:pt x="2738" y="1180"/>
                    <a:pt x="2731" y="1183"/>
                  </a:cubicBezTo>
                  <a:cubicBezTo>
                    <a:pt x="2725" y="1187"/>
                    <a:pt x="2722" y="1194"/>
                    <a:pt x="2730" y="1208"/>
                  </a:cubicBezTo>
                  <a:cubicBezTo>
                    <a:pt x="2733" y="1213"/>
                    <a:pt x="2734" y="1215"/>
                    <a:pt x="2738" y="1219"/>
                  </a:cubicBezTo>
                  <a:cubicBezTo>
                    <a:pt x="2743" y="1222"/>
                    <a:pt x="2744" y="1228"/>
                    <a:pt x="2745" y="1236"/>
                  </a:cubicBezTo>
                  <a:cubicBezTo>
                    <a:pt x="2746" y="1244"/>
                    <a:pt x="2742" y="1244"/>
                    <a:pt x="2735" y="1240"/>
                  </a:cubicBezTo>
                  <a:cubicBezTo>
                    <a:pt x="2728" y="1237"/>
                    <a:pt x="2728" y="1241"/>
                    <a:pt x="2719" y="1244"/>
                  </a:cubicBezTo>
                  <a:cubicBezTo>
                    <a:pt x="2710" y="1246"/>
                    <a:pt x="2704" y="1244"/>
                    <a:pt x="2697" y="1241"/>
                  </a:cubicBezTo>
                  <a:cubicBezTo>
                    <a:pt x="2690" y="1239"/>
                    <a:pt x="2685" y="1243"/>
                    <a:pt x="2677" y="1241"/>
                  </a:cubicBezTo>
                  <a:cubicBezTo>
                    <a:pt x="2669" y="1240"/>
                    <a:pt x="2663" y="1248"/>
                    <a:pt x="2655" y="1251"/>
                  </a:cubicBezTo>
                  <a:cubicBezTo>
                    <a:pt x="2647" y="1253"/>
                    <a:pt x="2647" y="1253"/>
                    <a:pt x="2643" y="1246"/>
                  </a:cubicBezTo>
                  <a:cubicBezTo>
                    <a:pt x="2638" y="1239"/>
                    <a:pt x="2636" y="1244"/>
                    <a:pt x="2629" y="1245"/>
                  </a:cubicBezTo>
                  <a:cubicBezTo>
                    <a:pt x="2622" y="1246"/>
                    <a:pt x="2613" y="1245"/>
                    <a:pt x="2607" y="1244"/>
                  </a:cubicBezTo>
                  <a:cubicBezTo>
                    <a:pt x="2602" y="1243"/>
                    <a:pt x="2597" y="1238"/>
                    <a:pt x="2590" y="1239"/>
                  </a:cubicBezTo>
                  <a:cubicBezTo>
                    <a:pt x="2584" y="1240"/>
                    <a:pt x="2578" y="1236"/>
                    <a:pt x="2572" y="1234"/>
                  </a:cubicBezTo>
                  <a:cubicBezTo>
                    <a:pt x="2567" y="1231"/>
                    <a:pt x="2559" y="1235"/>
                    <a:pt x="2553" y="1237"/>
                  </a:cubicBezTo>
                  <a:cubicBezTo>
                    <a:pt x="2547" y="1239"/>
                    <a:pt x="2543" y="1254"/>
                    <a:pt x="2539" y="1264"/>
                  </a:cubicBezTo>
                  <a:cubicBezTo>
                    <a:pt x="2536" y="1274"/>
                    <a:pt x="2524" y="1259"/>
                    <a:pt x="2524" y="1262"/>
                  </a:cubicBezTo>
                  <a:cubicBezTo>
                    <a:pt x="2524" y="1265"/>
                    <a:pt x="2514" y="1272"/>
                    <a:pt x="2505" y="1277"/>
                  </a:cubicBezTo>
                  <a:cubicBezTo>
                    <a:pt x="2496" y="1281"/>
                    <a:pt x="2497" y="1284"/>
                    <a:pt x="2486" y="1286"/>
                  </a:cubicBezTo>
                  <a:cubicBezTo>
                    <a:pt x="2474" y="1288"/>
                    <a:pt x="2477" y="1296"/>
                    <a:pt x="2476" y="1299"/>
                  </a:cubicBezTo>
                  <a:cubicBezTo>
                    <a:pt x="2474" y="1303"/>
                    <a:pt x="2471" y="1312"/>
                    <a:pt x="2472" y="1319"/>
                  </a:cubicBezTo>
                  <a:cubicBezTo>
                    <a:pt x="2473" y="1326"/>
                    <a:pt x="2477" y="1326"/>
                    <a:pt x="2484" y="1325"/>
                  </a:cubicBezTo>
                  <a:cubicBezTo>
                    <a:pt x="2490" y="1323"/>
                    <a:pt x="2491" y="1328"/>
                    <a:pt x="2498" y="1329"/>
                  </a:cubicBezTo>
                  <a:cubicBezTo>
                    <a:pt x="2505" y="1330"/>
                    <a:pt x="2503" y="1337"/>
                    <a:pt x="2509" y="1336"/>
                  </a:cubicBezTo>
                  <a:cubicBezTo>
                    <a:pt x="2514" y="1335"/>
                    <a:pt x="2514" y="1334"/>
                    <a:pt x="2526" y="1338"/>
                  </a:cubicBezTo>
                  <a:cubicBezTo>
                    <a:pt x="2537" y="1343"/>
                    <a:pt x="2538" y="1340"/>
                    <a:pt x="2546" y="1342"/>
                  </a:cubicBezTo>
                  <a:cubicBezTo>
                    <a:pt x="2554" y="1343"/>
                    <a:pt x="2568" y="1344"/>
                    <a:pt x="2573" y="1339"/>
                  </a:cubicBezTo>
                  <a:cubicBezTo>
                    <a:pt x="2579" y="1335"/>
                    <a:pt x="2579" y="1335"/>
                    <a:pt x="2587" y="1328"/>
                  </a:cubicBezTo>
                  <a:cubicBezTo>
                    <a:pt x="2595" y="1321"/>
                    <a:pt x="2592" y="1319"/>
                    <a:pt x="2595" y="1315"/>
                  </a:cubicBezTo>
                  <a:cubicBezTo>
                    <a:pt x="2598" y="1312"/>
                    <a:pt x="2607" y="1314"/>
                    <a:pt x="2615" y="1320"/>
                  </a:cubicBezTo>
                  <a:cubicBezTo>
                    <a:pt x="2623" y="1326"/>
                    <a:pt x="2623" y="1326"/>
                    <a:pt x="2632" y="1329"/>
                  </a:cubicBezTo>
                  <a:cubicBezTo>
                    <a:pt x="2642" y="1332"/>
                    <a:pt x="2638" y="1332"/>
                    <a:pt x="2645" y="1323"/>
                  </a:cubicBezTo>
                  <a:cubicBezTo>
                    <a:pt x="2652" y="1314"/>
                    <a:pt x="2654" y="1311"/>
                    <a:pt x="2660" y="1310"/>
                  </a:cubicBezTo>
                  <a:cubicBezTo>
                    <a:pt x="2665" y="1309"/>
                    <a:pt x="2668" y="1319"/>
                    <a:pt x="2668" y="1319"/>
                  </a:cubicBezTo>
                  <a:cubicBezTo>
                    <a:pt x="2668" y="1319"/>
                    <a:pt x="2681" y="1317"/>
                    <a:pt x="2689" y="1311"/>
                  </a:cubicBezTo>
                  <a:cubicBezTo>
                    <a:pt x="2697" y="1305"/>
                    <a:pt x="2704" y="1311"/>
                    <a:pt x="2706" y="1318"/>
                  </a:cubicBezTo>
                  <a:cubicBezTo>
                    <a:pt x="2709" y="1325"/>
                    <a:pt x="2704" y="1334"/>
                    <a:pt x="2703" y="1338"/>
                  </a:cubicBezTo>
                  <a:cubicBezTo>
                    <a:pt x="2702" y="1343"/>
                    <a:pt x="2711" y="1348"/>
                    <a:pt x="2716" y="1354"/>
                  </a:cubicBezTo>
                  <a:cubicBezTo>
                    <a:pt x="2720" y="1360"/>
                    <a:pt x="2723" y="1369"/>
                    <a:pt x="2723" y="1373"/>
                  </a:cubicBezTo>
                  <a:cubicBezTo>
                    <a:pt x="2723" y="1378"/>
                    <a:pt x="2726" y="1383"/>
                    <a:pt x="2728" y="1388"/>
                  </a:cubicBezTo>
                  <a:cubicBezTo>
                    <a:pt x="2730" y="1394"/>
                    <a:pt x="2749" y="1389"/>
                    <a:pt x="2756" y="1389"/>
                  </a:cubicBezTo>
                  <a:cubicBezTo>
                    <a:pt x="2764" y="1389"/>
                    <a:pt x="2772" y="1390"/>
                    <a:pt x="2772" y="1395"/>
                  </a:cubicBezTo>
                  <a:cubicBezTo>
                    <a:pt x="2772" y="1400"/>
                    <a:pt x="2763" y="1402"/>
                    <a:pt x="2758" y="1401"/>
                  </a:cubicBezTo>
                  <a:cubicBezTo>
                    <a:pt x="2752" y="1400"/>
                    <a:pt x="2745" y="1401"/>
                    <a:pt x="2739" y="1402"/>
                  </a:cubicBezTo>
                  <a:cubicBezTo>
                    <a:pt x="2734" y="1403"/>
                    <a:pt x="2735" y="1409"/>
                    <a:pt x="2735" y="1414"/>
                  </a:cubicBezTo>
                  <a:cubicBezTo>
                    <a:pt x="2735" y="1420"/>
                    <a:pt x="2738" y="1426"/>
                    <a:pt x="2741" y="1429"/>
                  </a:cubicBezTo>
                  <a:cubicBezTo>
                    <a:pt x="2743" y="1433"/>
                    <a:pt x="2746" y="1438"/>
                    <a:pt x="2749" y="1444"/>
                  </a:cubicBezTo>
                  <a:cubicBezTo>
                    <a:pt x="2751" y="1450"/>
                    <a:pt x="2761" y="1444"/>
                    <a:pt x="2768" y="1444"/>
                  </a:cubicBezTo>
                  <a:cubicBezTo>
                    <a:pt x="2775" y="1444"/>
                    <a:pt x="2775" y="1443"/>
                    <a:pt x="2776" y="1447"/>
                  </a:cubicBezTo>
                  <a:cubicBezTo>
                    <a:pt x="2777" y="1452"/>
                    <a:pt x="2764" y="1458"/>
                    <a:pt x="2759" y="1463"/>
                  </a:cubicBezTo>
                  <a:cubicBezTo>
                    <a:pt x="2753" y="1469"/>
                    <a:pt x="2762" y="1470"/>
                    <a:pt x="2763" y="1473"/>
                  </a:cubicBezTo>
                  <a:cubicBezTo>
                    <a:pt x="2764" y="1477"/>
                    <a:pt x="2775" y="1479"/>
                    <a:pt x="2784" y="1483"/>
                  </a:cubicBezTo>
                  <a:cubicBezTo>
                    <a:pt x="2793" y="1486"/>
                    <a:pt x="2796" y="1483"/>
                    <a:pt x="2804" y="1477"/>
                  </a:cubicBezTo>
                  <a:cubicBezTo>
                    <a:pt x="2812" y="1471"/>
                    <a:pt x="2808" y="1463"/>
                    <a:pt x="2808" y="1463"/>
                  </a:cubicBezTo>
                  <a:cubicBezTo>
                    <a:pt x="2824" y="1462"/>
                    <a:pt x="2824" y="1462"/>
                    <a:pt x="2824" y="1462"/>
                  </a:cubicBezTo>
                  <a:cubicBezTo>
                    <a:pt x="2824" y="1462"/>
                    <a:pt x="2828" y="1470"/>
                    <a:pt x="2832" y="1475"/>
                  </a:cubicBezTo>
                  <a:cubicBezTo>
                    <a:pt x="2835" y="1479"/>
                    <a:pt x="2838" y="1488"/>
                    <a:pt x="2845" y="1493"/>
                  </a:cubicBezTo>
                  <a:cubicBezTo>
                    <a:pt x="2852" y="1497"/>
                    <a:pt x="2858" y="1497"/>
                    <a:pt x="2869" y="1502"/>
                  </a:cubicBezTo>
                  <a:cubicBezTo>
                    <a:pt x="2880" y="1506"/>
                    <a:pt x="2893" y="1504"/>
                    <a:pt x="2903" y="1506"/>
                  </a:cubicBezTo>
                  <a:cubicBezTo>
                    <a:pt x="2913" y="1509"/>
                    <a:pt x="2917" y="1512"/>
                    <a:pt x="2933" y="1511"/>
                  </a:cubicBezTo>
                  <a:cubicBezTo>
                    <a:pt x="2949" y="1510"/>
                    <a:pt x="2944" y="1513"/>
                    <a:pt x="2951" y="1520"/>
                  </a:cubicBezTo>
                  <a:cubicBezTo>
                    <a:pt x="2958" y="1527"/>
                    <a:pt x="2961" y="1529"/>
                    <a:pt x="2968" y="1528"/>
                  </a:cubicBezTo>
                  <a:cubicBezTo>
                    <a:pt x="2975" y="1527"/>
                    <a:pt x="2988" y="1541"/>
                    <a:pt x="2996" y="1536"/>
                  </a:cubicBezTo>
                  <a:cubicBezTo>
                    <a:pt x="3004" y="1531"/>
                    <a:pt x="3004" y="1528"/>
                    <a:pt x="3007" y="1524"/>
                  </a:cubicBezTo>
                  <a:cubicBezTo>
                    <a:pt x="3009" y="1519"/>
                    <a:pt x="3009" y="1513"/>
                    <a:pt x="3000" y="1509"/>
                  </a:cubicBezTo>
                  <a:cubicBezTo>
                    <a:pt x="2991" y="1504"/>
                    <a:pt x="3000" y="1501"/>
                    <a:pt x="3002" y="1489"/>
                  </a:cubicBezTo>
                  <a:cubicBezTo>
                    <a:pt x="3004" y="1478"/>
                    <a:pt x="2999" y="1481"/>
                    <a:pt x="2994" y="1478"/>
                  </a:cubicBezTo>
                  <a:cubicBezTo>
                    <a:pt x="2990" y="1475"/>
                    <a:pt x="2995" y="1471"/>
                    <a:pt x="2988" y="1470"/>
                  </a:cubicBezTo>
                  <a:cubicBezTo>
                    <a:pt x="2982" y="1469"/>
                    <a:pt x="2979" y="1463"/>
                    <a:pt x="2978" y="1460"/>
                  </a:cubicBezTo>
                  <a:cubicBezTo>
                    <a:pt x="2977" y="1456"/>
                    <a:pt x="2974" y="1452"/>
                    <a:pt x="2971" y="1448"/>
                  </a:cubicBezTo>
                  <a:cubicBezTo>
                    <a:pt x="2969" y="1445"/>
                    <a:pt x="2967" y="1441"/>
                    <a:pt x="2962" y="1441"/>
                  </a:cubicBezTo>
                  <a:cubicBezTo>
                    <a:pt x="2958" y="1441"/>
                    <a:pt x="2953" y="1433"/>
                    <a:pt x="2949" y="1431"/>
                  </a:cubicBezTo>
                  <a:cubicBezTo>
                    <a:pt x="2944" y="1430"/>
                    <a:pt x="2937" y="1428"/>
                    <a:pt x="2940" y="1415"/>
                  </a:cubicBezTo>
                  <a:cubicBezTo>
                    <a:pt x="2942" y="1403"/>
                    <a:pt x="2927" y="1412"/>
                    <a:pt x="2923" y="1406"/>
                  </a:cubicBezTo>
                  <a:cubicBezTo>
                    <a:pt x="2918" y="1401"/>
                    <a:pt x="2903" y="1387"/>
                    <a:pt x="2911" y="1381"/>
                  </a:cubicBezTo>
                  <a:cubicBezTo>
                    <a:pt x="2919" y="1376"/>
                    <a:pt x="2921" y="1393"/>
                    <a:pt x="2926" y="1400"/>
                  </a:cubicBezTo>
                  <a:cubicBezTo>
                    <a:pt x="2930" y="1406"/>
                    <a:pt x="2937" y="1400"/>
                    <a:pt x="2943" y="1400"/>
                  </a:cubicBezTo>
                  <a:cubicBezTo>
                    <a:pt x="2949" y="1400"/>
                    <a:pt x="2950" y="1408"/>
                    <a:pt x="2953" y="1412"/>
                  </a:cubicBezTo>
                  <a:cubicBezTo>
                    <a:pt x="2957" y="1417"/>
                    <a:pt x="2961" y="1405"/>
                    <a:pt x="2970" y="1406"/>
                  </a:cubicBezTo>
                  <a:cubicBezTo>
                    <a:pt x="2979" y="1408"/>
                    <a:pt x="2978" y="1409"/>
                    <a:pt x="2978" y="1415"/>
                  </a:cubicBezTo>
                  <a:cubicBezTo>
                    <a:pt x="2978" y="1422"/>
                    <a:pt x="2985" y="1423"/>
                    <a:pt x="2991" y="1423"/>
                  </a:cubicBezTo>
                  <a:cubicBezTo>
                    <a:pt x="2996" y="1423"/>
                    <a:pt x="3001" y="1422"/>
                    <a:pt x="3007" y="1430"/>
                  </a:cubicBezTo>
                  <a:cubicBezTo>
                    <a:pt x="3012" y="1438"/>
                    <a:pt x="3017" y="1439"/>
                    <a:pt x="3020" y="1444"/>
                  </a:cubicBezTo>
                  <a:cubicBezTo>
                    <a:pt x="3024" y="1448"/>
                    <a:pt x="3033" y="1442"/>
                    <a:pt x="3042" y="1442"/>
                  </a:cubicBezTo>
                  <a:cubicBezTo>
                    <a:pt x="3051" y="1442"/>
                    <a:pt x="3043" y="1451"/>
                    <a:pt x="3044" y="1454"/>
                  </a:cubicBezTo>
                  <a:cubicBezTo>
                    <a:pt x="3045" y="1458"/>
                    <a:pt x="3053" y="1453"/>
                    <a:pt x="3057" y="1453"/>
                  </a:cubicBezTo>
                  <a:cubicBezTo>
                    <a:pt x="3060" y="1453"/>
                    <a:pt x="3066" y="1459"/>
                    <a:pt x="3067" y="1467"/>
                  </a:cubicBezTo>
                  <a:cubicBezTo>
                    <a:pt x="3068" y="1475"/>
                    <a:pt x="3070" y="1473"/>
                    <a:pt x="3078" y="1473"/>
                  </a:cubicBezTo>
                  <a:cubicBezTo>
                    <a:pt x="3086" y="1473"/>
                    <a:pt x="3084" y="1471"/>
                    <a:pt x="3086" y="1455"/>
                  </a:cubicBezTo>
                  <a:cubicBezTo>
                    <a:pt x="3089" y="1439"/>
                    <a:pt x="3086" y="1451"/>
                    <a:pt x="3092" y="1459"/>
                  </a:cubicBezTo>
                  <a:cubicBezTo>
                    <a:pt x="3098" y="1467"/>
                    <a:pt x="3101" y="1456"/>
                    <a:pt x="3111" y="1448"/>
                  </a:cubicBezTo>
                  <a:cubicBezTo>
                    <a:pt x="3122" y="1441"/>
                    <a:pt x="3112" y="1438"/>
                    <a:pt x="3103" y="1431"/>
                  </a:cubicBezTo>
                  <a:cubicBezTo>
                    <a:pt x="3094" y="1425"/>
                    <a:pt x="3104" y="1426"/>
                    <a:pt x="3107" y="1415"/>
                  </a:cubicBezTo>
                  <a:cubicBezTo>
                    <a:pt x="3109" y="1405"/>
                    <a:pt x="3104" y="1403"/>
                    <a:pt x="3114" y="1397"/>
                  </a:cubicBezTo>
                  <a:cubicBezTo>
                    <a:pt x="3123" y="1392"/>
                    <a:pt x="3122" y="1415"/>
                    <a:pt x="3122" y="1419"/>
                  </a:cubicBezTo>
                  <a:cubicBezTo>
                    <a:pt x="3122" y="1422"/>
                    <a:pt x="3132" y="1428"/>
                    <a:pt x="3136" y="1419"/>
                  </a:cubicBezTo>
                  <a:cubicBezTo>
                    <a:pt x="3141" y="1410"/>
                    <a:pt x="3139" y="1412"/>
                    <a:pt x="3151" y="1408"/>
                  </a:cubicBezTo>
                  <a:cubicBezTo>
                    <a:pt x="3164" y="1403"/>
                    <a:pt x="3153" y="1394"/>
                    <a:pt x="3145" y="1387"/>
                  </a:cubicBezTo>
                  <a:cubicBezTo>
                    <a:pt x="3137" y="1380"/>
                    <a:pt x="3135" y="1383"/>
                    <a:pt x="3136" y="1376"/>
                  </a:cubicBezTo>
                  <a:cubicBezTo>
                    <a:pt x="3137" y="1369"/>
                    <a:pt x="3142" y="1368"/>
                    <a:pt x="3141" y="1355"/>
                  </a:cubicBezTo>
                  <a:cubicBezTo>
                    <a:pt x="3140" y="1343"/>
                    <a:pt x="3134" y="1352"/>
                    <a:pt x="3126" y="1348"/>
                  </a:cubicBezTo>
                  <a:cubicBezTo>
                    <a:pt x="3118" y="1345"/>
                    <a:pt x="3119" y="1342"/>
                    <a:pt x="3126" y="1334"/>
                  </a:cubicBezTo>
                  <a:cubicBezTo>
                    <a:pt x="3133" y="1326"/>
                    <a:pt x="3137" y="1332"/>
                    <a:pt x="3148" y="1325"/>
                  </a:cubicBezTo>
                  <a:cubicBezTo>
                    <a:pt x="3158" y="1317"/>
                    <a:pt x="3148" y="1302"/>
                    <a:pt x="3140" y="1302"/>
                  </a:cubicBezTo>
                  <a:cubicBezTo>
                    <a:pt x="3132" y="1302"/>
                    <a:pt x="3131" y="1303"/>
                    <a:pt x="3125" y="1296"/>
                  </a:cubicBezTo>
                  <a:cubicBezTo>
                    <a:pt x="3119" y="1289"/>
                    <a:pt x="3116" y="1288"/>
                    <a:pt x="3109" y="1297"/>
                  </a:cubicBezTo>
                  <a:cubicBezTo>
                    <a:pt x="3102" y="1306"/>
                    <a:pt x="3094" y="1305"/>
                    <a:pt x="3091" y="1293"/>
                  </a:cubicBezTo>
                  <a:cubicBezTo>
                    <a:pt x="3087" y="1280"/>
                    <a:pt x="3079" y="1284"/>
                    <a:pt x="3069" y="1286"/>
                  </a:cubicBezTo>
                  <a:cubicBezTo>
                    <a:pt x="3059" y="1288"/>
                    <a:pt x="3072" y="1277"/>
                    <a:pt x="3075" y="1264"/>
                  </a:cubicBezTo>
                  <a:cubicBezTo>
                    <a:pt x="3078" y="1252"/>
                    <a:pt x="3068" y="1260"/>
                    <a:pt x="3059" y="1255"/>
                  </a:cubicBezTo>
                  <a:cubicBezTo>
                    <a:pt x="3050" y="1251"/>
                    <a:pt x="3064" y="1245"/>
                    <a:pt x="3058" y="1238"/>
                  </a:cubicBezTo>
                  <a:cubicBezTo>
                    <a:pt x="3052" y="1231"/>
                    <a:pt x="3044" y="1226"/>
                    <a:pt x="3041" y="1221"/>
                  </a:cubicBezTo>
                  <a:cubicBezTo>
                    <a:pt x="3037" y="1216"/>
                    <a:pt x="3048" y="1214"/>
                    <a:pt x="3054" y="1216"/>
                  </a:cubicBezTo>
                  <a:cubicBezTo>
                    <a:pt x="3061" y="1219"/>
                    <a:pt x="3054" y="1216"/>
                    <a:pt x="3068" y="1212"/>
                  </a:cubicBezTo>
                  <a:cubicBezTo>
                    <a:pt x="3082" y="1207"/>
                    <a:pt x="3072" y="1206"/>
                    <a:pt x="3078" y="1197"/>
                  </a:cubicBezTo>
                  <a:cubicBezTo>
                    <a:pt x="3085" y="1188"/>
                    <a:pt x="3078" y="1197"/>
                    <a:pt x="3075" y="1183"/>
                  </a:cubicBezTo>
                  <a:cubicBezTo>
                    <a:pt x="3072" y="1170"/>
                    <a:pt x="3075" y="1183"/>
                    <a:pt x="3067" y="1178"/>
                  </a:cubicBezTo>
                  <a:cubicBezTo>
                    <a:pt x="3059" y="1172"/>
                    <a:pt x="3066" y="1163"/>
                    <a:pt x="3069" y="1158"/>
                  </a:cubicBezTo>
                  <a:cubicBezTo>
                    <a:pt x="3073" y="1154"/>
                    <a:pt x="3076" y="1165"/>
                    <a:pt x="3082" y="1168"/>
                  </a:cubicBezTo>
                  <a:cubicBezTo>
                    <a:pt x="3087" y="1170"/>
                    <a:pt x="3093" y="1162"/>
                    <a:pt x="3101" y="1157"/>
                  </a:cubicBezTo>
                  <a:cubicBezTo>
                    <a:pt x="3109" y="1153"/>
                    <a:pt x="3118" y="1165"/>
                    <a:pt x="3123" y="1165"/>
                  </a:cubicBezTo>
                  <a:cubicBezTo>
                    <a:pt x="3127" y="1165"/>
                    <a:pt x="3139" y="1182"/>
                    <a:pt x="3144" y="1191"/>
                  </a:cubicBezTo>
                  <a:cubicBezTo>
                    <a:pt x="3150" y="1201"/>
                    <a:pt x="3151" y="1199"/>
                    <a:pt x="3165" y="1198"/>
                  </a:cubicBezTo>
                  <a:cubicBezTo>
                    <a:pt x="3178" y="1197"/>
                    <a:pt x="3174" y="1206"/>
                    <a:pt x="3164" y="1208"/>
                  </a:cubicBezTo>
                  <a:cubicBezTo>
                    <a:pt x="3153" y="1211"/>
                    <a:pt x="3156" y="1215"/>
                    <a:pt x="3151" y="1216"/>
                  </a:cubicBezTo>
                  <a:cubicBezTo>
                    <a:pt x="3147" y="1218"/>
                    <a:pt x="3150" y="1229"/>
                    <a:pt x="3155" y="1236"/>
                  </a:cubicBezTo>
                  <a:cubicBezTo>
                    <a:pt x="3159" y="1243"/>
                    <a:pt x="3162" y="1246"/>
                    <a:pt x="3167" y="1252"/>
                  </a:cubicBezTo>
                  <a:cubicBezTo>
                    <a:pt x="3172" y="1257"/>
                    <a:pt x="3172" y="1261"/>
                    <a:pt x="3176" y="1267"/>
                  </a:cubicBezTo>
                  <a:cubicBezTo>
                    <a:pt x="3181" y="1272"/>
                    <a:pt x="3191" y="1270"/>
                    <a:pt x="3203" y="1271"/>
                  </a:cubicBezTo>
                  <a:cubicBezTo>
                    <a:pt x="3216" y="1272"/>
                    <a:pt x="3213" y="1278"/>
                    <a:pt x="3213" y="1286"/>
                  </a:cubicBezTo>
                  <a:cubicBezTo>
                    <a:pt x="3213" y="1294"/>
                    <a:pt x="3225" y="1287"/>
                    <a:pt x="3233" y="1287"/>
                  </a:cubicBezTo>
                  <a:cubicBezTo>
                    <a:pt x="3241" y="1287"/>
                    <a:pt x="3242" y="1277"/>
                    <a:pt x="3236" y="1270"/>
                  </a:cubicBezTo>
                  <a:cubicBezTo>
                    <a:pt x="3231" y="1263"/>
                    <a:pt x="3242" y="1269"/>
                    <a:pt x="3250" y="1263"/>
                  </a:cubicBezTo>
                  <a:cubicBezTo>
                    <a:pt x="3258" y="1257"/>
                    <a:pt x="3252" y="1252"/>
                    <a:pt x="3253" y="1241"/>
                  </a:cubicBezTo>
                  <a:cubicBezTo>
                    <a:pt x="3255" y="1231"/>
                    <a:pt x="3258" y="1218"/>
                    <a:pt x="3258" y="1218"/>
                  </a:cubicBezTo>
                  <a:cubicBezTo>
                    <a:pt x="3258" y="1218"/>
                    <a:pt x="3265" y="1229"/>
                    <a:pt x="3264" y="1235"/>
                  </a:cubicBezTo>
                  <a:cubicBezTo>
                    <a:pt x="3263" y="1240"/>
                    <a:pt x="3275" y="1236"/>
                    <a:pt x="3282" y="1232"/>
                  </a:cubicBezTo>
                  <a:cubicBezTo>
                    <a:pt x="3289" y="1229"/>
                    <a:pt x="3290" y="1221"/>
                    <a:pt x="3294" y="1219"/>
                  </a:cubicBezTo>
                  <a:cubicBezTo>
                    <a:pt x="3299" y="1216"/>
                    <a:pt x="3305" y="1227"/>
                    <a:pt x="3308" y="1228"/>
                  </a:cubicBezTo>
                  <a:cubicBezTo>
                    <a:pt x="3311" y="1229"/>
                    <a:pt x="3322" y="1218"/>
                    <a:pt x="3319" y="1213"/>
                  </a:cubicBezTo>
                  <a:cubicBezTo>
                    <a:pt x="3317" y="1208"/>
                    <a:pt x="3326" y="1205"/>
                    <a:pt x="3326" y="1205"/>
                  </a:cubicBezTo>
                  <a:cubicBezTo>
                    <a:pt x="3326" y="1205"/>
                    <a:pt x="3332" y="1198"/>
                    <a:pt x="3332" y="1186"/>
                  </a:cubicBezTo>
                  <a:cubicBezTo>
                    <a:pt x="3332" y="1173"/>
                    <a:pt x="3332" y="1186"/>
                    <a:pt x="3324" y="1180"/>
                  </a:cubicBezTo>
                  <a:cubicBezTo>
                    <a:pt x="3316" y="1174"/>
                    <a:pt x="3326" y="1170"/>
                    <a:pt x="3331" y="1165"/>
                  </a:cubicBezTo>
                  <a:close/>
                  <a:moveTo>
                    <a:pt x="2811" y="1039"/>
                  </a:moveTo>
                  <a:cubicBezTo>
                    <a:pt x="2808" y="1042"/>
                    <a:pt x="2799" y="1057"/>
                    <a:pt x="2811" y="1057"/>
                  </a:cubicBezTo>
                  <a:cubicBezTo>
                    <a:pt x="2824" y="1057"/>
                    <a:pt x="2829" y="1046"/>
                    <a:pt x="2834" y="1054"/>
                  </a:cubicBezTo>
                  <a:cubicBezTo>
                    <a:pt x="2838" y="1062"/>
                    <a:pt x="2838" y="1071"/>
                    <a:pt x="2847" y="1065"/>
                  </a:cubicBezTo>
                  <a:cubicBezTo>
                    <a:pt x="2857" y="1060"/>
                    <a:pt x="2858" y="1060"/>
                    <a:pt x="2863" y="1052"/>
                  </a:cubicBezTo>
                  <a:cubicBezTo>
                    <a:pt x="2869" y="1044"/>
                    <a:pt x="2862" y="1040"/>
                    <a:pt x="2854" y="1038"/>
                  </a:cubicBezTo>
                  <a:cubicBezTo>
                    <a:pt x="2846" y="1036"/>
                    <a:pt x="2847" y="1037"/>
                    <a:pt x="2841" y="1030"/>
                  </a:cubicBezTo>
                  <a:cubicBezTo>
                    <a:pt x="2834" y="1023"/>
                    <a:pt x="2833" y="1019"/>
                    <a:pt x="2828" y="1022"/>
                  </a:cubicBezTo>
                  <a:cubicBezTo>
                    <a:pt x="2824" y="1025"/>
                    <a:pt x="2822" y="1031"/>
                    <a:pt x="2819" y="1034"/>
                  </a:cubicBezTo>
                  <a:cubicBezTo>
                    <a:pt x="2816" y="1038"/>
                    <a:pt x="2811" y="1039"/>
                    <a:pt x="2811" y="1039"/>
                  </a:cubicBezTo>
                  <a:close/>
                  <a:moveTo>
                    <a:pt x="2818" y="990"/>
                  </a:moveTo>
                  <a:cubicBezTo>
                    <a:pt x="2818" y="990"/>
                    <a:pt x="2803" y="991"/>
                    <a:pt x="2803" y="998"/>
                  </a:cubicBezTo>
                  <a:cubicBezTo>
                    <a:pt x="2803" y="1005"/>
                    <a:pt x="2805" y="1011"/>
                    <a:pt x="2811" y="1011"/>
                  </a:cubicBezTo>
                  <a:cubicBezTo>
                    <a:pt x="2817" y="1011"/>
                    <a:pt x="2824" y="1013"/>
                    <a:pt x="2826" y="1007"/>
                  </a:cubicBezTo>
                  <a:cubicBezTo>
                    <a:pt x="2828" y="1002"/>
                    <a:pt x="2827" y="1002"/>
                    <a:pt x="2828" y="997"/>
                  </a:cubicBezTo>
                  <a:cubicBezTo>
                    <a:pt x="2829" y="992"/>
                    <a:pt x="2818" y="990"/>
                    <a:pt x="2818" y="990"/>
                  </a:cubicBezTo>
                  <a:close/>
                  <a:moveTo>
                    <a:pt x="2800" y="959"/>
                  </a:moveTo>
                  <a:cubicBezTo>
                    <a:pt x="2795" y="956"/>
                    <a:pt x="2799" y="955"/>
                    <a:pt x="2788" y="961"/>
                  </a:cubicBezTo>
                  <a:cubicBezTo>
                    <a:pt x="2778" y="966"/>
                    <a:pt x="2784" y="973"/>
                    <a:pt x="2776" y="971"/>
                  </a:cubicBezTo>
                  <a:cubicBezTo>
                    <a:pt x="2768" y="969"/>
                    <a:pt x="2764" y="971"/>
                    <a:pt x="2763" y="972"/>
                  </a:cubicBezTo>
                  <a:cubicBezTo>
                    <a:pt x="2757" y="978"/>
                    <a:pt x="2784" y="987"/>
                    <a:pt x="2788" y="981"/>
                  </a:cubicBezTo>
                  <a:cubicBezTo>
                    <a:pt x="2793" y="975"/>
                    <a:pt x="2795" y="976"/>
                    <a:pt x="2799" y="980"/>
                  </a:cubicBezTo>
                  <a:cubicBezTo>
                    <a:pt x="2802" y="983"/>
                    <a:pt x="2821" y="979"/>
                    <a:pt x="2818" y="975"/>
                  </a:cubicBezTo>
                  <a:cubicBezTo>
                    <a:pt x="2804" y="961"/>
                    <a:pt x="2804" y="963"/>
                    <a:pt x="2800" y="959"/>
                  </a:cubicBezTo>
                  <a:close/>
                  <a:moveTo>
                    <a:pt x="2688" y="483"/>
                  </a:moveTo>
                  <a:cubicBezTo>
                    <a:pt x="2692" y="475"/>
                    <a:pt x="2695" y="470"/>
                    <a:pt x="2687" y="467"/>
                  </a:cubicBezTo>
                  <a:cubicBezTo>
                    <a:pt x="2679" y="464"/>
                    <a:pt x="2680" y="458"/>
                    <a:pt x="2671" y="461"/>
                  </a:cubicBezTo>
                  <a:cubicBezTo>
                    <a:pt x="2662" y="465"/>
                    <a:pt x="2661" y="468"/>
                    <a:pt x="2655" y="473"/>
                  </a:cubicBezTo>
                  <a:cubicBezTo>
                    <a:pt x="2650" y="477"/>
                    <a:pt x="2646" y="484"/>
                    <a:pt x="2642" y="485"/>
                  </a:cubicBezTo>
                  <a:cubicBezTo>
                    <a:pt x="2637" y="486"/>
                    <a:pt x="2635" y="492"/>
                    <a:pt x="2627" y="492"/>
                  </a:cubicBezTo>
                  <a:cubicBezTo>
                    <a:pt x="2619" y="492"/>
                    <a:pt x="2618" y="493"/>
                    <a:pt x="2613" y="495"/>
                  </a:cubicBezTo>
                  <a:cubicBezTo>
                    <a:pt x="2609" y="498"/>
                    <a:pt x="2609" y="501"/>
                    <a:pt x="2603" y="503"/>
                  </a:cubicBezTo>
                  <a:cubicBezTo>
                    <a:pt x="2597" y="506"/>
                    <a:pt x="2592" y="515"/>
                    <a:pt x="2582" y="519"/>
                  </a:cubicBezTo>
                  <a:cubicBezTo>
                    <a:pt x="2582" y="519"/>
                    <a:pt x="2596" y="524"/>
                    <a:pt x="2598" y="534"/>
                  </a:cubicBezTo>
                  <a:cubicBezTo>
                    <a:pt x="2601" y="544"/>
                    <a:pt x="2615" y="558"/>
                    <a:pt x="2625" y="551"/>
                  </a:cubicBezTo>
                  <a:cubicBezTo>
                    <a:pt x="2634" y="544"/>
                    <a:pt x="2636" y="543"/>
                    <a:pt x="2638" y="534"/>
                  </a:cubicBezTo>
                  <a:cubicBezTo>
                    <a:pt x="2640" y="525"/>
                    <a:pt x="2640" y="524"/>
                    <a:pt x="2650" y="519"/>
                  </a:cubicBezTo>
                  <a:cubicBezTo>
                    <a:pt x="2659" y="515"/>
                    <a:pt x="2665" y="511"/>
                    <a:pt x="2675" y="502"/>
                  </a:cubicBezTo>
                  <a:cubicBezTo>
                    <a:pt x="2684" y="493"/>
                    <a:pt x="2685" y="491"/>
                    <a:pt x="2688" y="483"/>
                  </a:cubicBezTo>
                  <a:close/>
                  <a:moveTo>
                    <a:pt x="2751" y="947"/>
                  </a:moveTo>
                  <a:cubicBezTo>
                    <a:pt x="2738" y="951"/>
                    <a:pt x="2729" y="965"/>
                    <a:pt x="2742" y="962"/>
                  </a:cubicBezTo>
                  <a:cubicBezTo>
                    <a:pt x="2754" y="958"/>
                    <a:pt x="2771" y="948"/>
                    <a:pt x="2777" y="945"/>
                  </a:cubicBezTo>
                  <a:cubicBezTo>
                    <a:pt x="2783" y="941"/>
                    <a:pt x="2789" y="948"/>
                    <a:pt x="2794" y="942"/>
                  </a:cubicBezTo>
                  <a:cubicBezTo>
                    <a:pt x="2799" y="937"/>
                    <a:pt x="2776" y="923"/>
                    <a:pt x="2776" y="923"/>
                  </a:cubicBezTo>
                  <a:cubicBezTo>
                    <a:pt x="2772" y="923"/>
                    <a:pt x="2762" y="928"/>
                    <a:pt x="2755" y="934"/>
                  </a:cubicBezTo>
                  <a:cubicBezTo>
                    <a:pt x="2749" y="941"/>
                    <a:pt x="2763" y="942"/>
                    <a:pt x="2751" y="947"/>
                  </a:cubicBezTo>
                  <a:close/>
                  <a:moveTo>
                    <a:pt x="2692" y="946"/>
                  </a:moveTo>
                  <a:cubicBezTo>
                    <a:pt x="2680" y="953"/>
                    <a:pt x="2676" y="953"/>
                    <a:pt x="2669" y="956"/>
                  </a:cubicBezTo>
                  <a:cubicBezTo>
                    <a:pt x="2662" y="959"/>
                    <a:pt x="2655" y="967"/>
                    <a:pt x="2661" y="971"/>
                  </a:cubicBezTo>
                  <a:cubicBezTo>
                    <a:pt x="2667" y="974"/>
                    <a:pt x="2687" y="979"/>
                    <a:pt x="2689" y="973"/>
                  </a:cubicBezTo>
                  <a:cubicBezTo>
                    <a:pt x="2692" y="967"/>
                    <a:pt x="2689" y="959"/>
                    <a:pt x="2696" y="958"/>
                  </a:cubicBezTo>
                  <a:cubicBezTo>
                    <a:pt x="2703" y="957"/>
                    <a:pt x="2706" y="959"/>
                    <a:pt x="2711" y="956"/>
                  </a:cubicBezTo>
                  <a:cubicBezTo>
                    <a:pt x="2716" y="953"/>
                    <a:pt x="2714" y="948"/>
                    <a:pt x="2720" y="945"/>
                  </a:cubicBezTo>
                  <a:cubicBezTo>
                    <a:pt x="2726" y="941"/>
                    <a:pt x="2730" y="936"/>
                    <a:pt x="2730" y="933"/>
                  </a:cubicBezTo>
                  <a:cubicBezTo>
                    <a:pt x="2730" y="921"/>
                    <a:pt x="2712" y="930"/>
                    <a:pt x="2702" y="938"/>
                  </a:cubicBezTo>
                  <a:cubicBezTo>
                    <a:pt x="2692" y="946"/>
                    <a:pt x="2703" y="939"/>
                    <a:pt x="2692" y="946"/>
                  </a:cubicBezTo>
                  <a:close/>
                  <a:moveTo>
                    <a:pt x="2499" y="1378"/>
                  </a:moveTo>
                  <a:cubicBezTo>
                    <a:pt x="2485" y="1375"/>
                    <a:pt x="2476" y="1379"/>
                    <a:pt x="2476" y="1379"/>
                  </a:cubicBezTo>
                  <a:cubicBezTo>
                    <a:pt x="2476" y="1379"/>
                    <a:pt x="2474" y="1395"/>
                    <a:pt x="2476" y="1399"/>
                  </a:cubicBezTo>
                  <a:cubicBezTo>
                    <a:pt x="2479" y="1403"/>
                    <a:pt x="2477" y="1415"/>
                    <a:pt x="2485" y="1414"/>
                  </a:cubicBezTo>
                  <a:cubicBezTo>
                    <a:pt x="2493" y="1412"/>
                    <a:pt x="2499" y="1414"/>
                    <a:pt x="2503" y="1406"/>
                  </a:cubicBezTo>
                  <a:cubicBezTo>
                    <a:pt x="2507" y="1398"/>
                    <a:pt x="2505" y="1393"/>
                    <a:pt x="2505" y="1387"/>
                  </a:cubicBezTo>
                  <a:cubicBezTo>
                    <a:pt x="2505" y="1382"/>
                    <a:pt x="2512" y="1381"/>
                    <a:pt x="2499" y="1378"/>
                  </a:cubicBezTo>
                  <a:close/>
                  <a:moveTo>
                    <a:pt x="1908" y="3570"/>
                  </a:moveTo>
                  <a:cubicBezTo>
                    <a:pt x="1908" y="3570"/>
                    <a:pt x="1907" y="3571"/>
                    <a:pt x="1907" y="3571"/>
                  </a:cubicBezTo>
                  <a:cubicBezTo>
                    <a:pt x="1911" y="3571"/>
                    <a:pt x="1912" y="3571"/>
                    <a:pt x="1908" y="3570"/>
                  </a:cubicBezTo>
                  <a:close/>
                  <a:moveTo>
                    <a:pt x="1860" y="4927"/>
                  </a:moveTo>
                  <a:cubicBezTo>
                    <a:pt x="1863" y="4932"/>
                    <a:pt x="1868" y="4936"/>
                    <a:pt x="1877" y="4938"/>
                  </a:cubicBezTo>
                  <a:cubicBezTo>
                    <a:pt x="1885" y="4941"/>
                    <a:pt x="1904" y="4938"/>
                    <a:pt x="1904" y="4938"/>
                  </a:cubicBezTo>
                  <a:cubicBezTo>
                    <a:pt x="1904" y="4938"/>
                    <a:pt x="1910" y="4927"/>
                    <a:pt x="1914" y="4925"/>
                  </a:cubicBezTo>
                  <a:cubicBezTo>
                    <a:pt x="1918" y="4922"/>
                    <a:pt x="1920" y="4921"/>
                    <a:pt x="1930" y="4921"/>
                  </a:cubicBezTo>
                  <a:cubicBezTo>
                    <a:pt x="1940" y="4921"/>
                    <a:pt x="1947" y="4923"/>
                    <a:pt x="1955" y="4921"/>
                  </a:cubicBezTo>
                  <a:cubicBezTo>
                    <a:pt x="1963" y="4918"/>
                    <a:pt x="1973" y="4916"/>
                    <a:pt x="1973" y="4911"/>
                  </a:cubicBezTo>
                  <a:cubicBezTo>
                    <a:pt x="1973" y="4906"/>
                    <a:pt x="1974" y="4896"/>
                    <a:pt x="1966" y="4888"/>
                  </a:cubicBezTo>
                  <a:cubicBezTo>
                    <a:pt x="1957" y="4879"/>
                    <a:pt x="1952" y="4879"/>
                    <a:pt x="1945" y="4877"/>
                  </a:cubicBezTo>
                  <a:cubicBezTo>
                    <a:pt x="1938" y="4874"/>
                    <a:pt x="1936" y="4867"/>
                    <a:pt x="1929" y="4862"/>
                  </a:cubicBezTo>
                  <a:cubicBezTo>
                    <a:pt x="1922" y="4856"/>
                    <a:pt x="1919" y="4856"/>
                    <a:pt x="1912" y="4856"/>
                  </a:cubicBezTo>
                  <a:cubicBezTo>
                    <a:pt x="1905" y="4856"/>
                    <a:pt x="1890" y="4863"/>
                    <a:pt x="1886" y="4862"/>
                  </a:cubicBezTo>
                  <a:cubicBezTo>
                    <a:pt x="1882" y="4860"/>
                    <a:pt x="1867" y="4858"/>
                    <a:pt x="1867" y="4858"/>
                  </a:cubicBezTo>
                  <a:cubicBezTo>
                    <a:pt x="1867" y="4858"/>
                    <a:pt x="1874" y="4852"/>
                    <a:pt x="1873" y="4848"/>
                  </a:cubicBezTo>
                  <a:cubicBezTo>
                    <a:pt x="1871" y="4844"/>
                    <a:pt x="1873" y="4840"/>
                    <a:pt x="1868" y="4838"/>
                  </a:cubicBezTo>
                  <a:cubicBezTo>
                    <a:pt x="1864" y="4837"/>
                    <a:pt x="1855" y="4834"/>
                    <a:pt x="1849" y="4833"/>
                  </a:cubicBezTo>
                  <a:cubicBezTo>
                    <a:pt x="1844" y="4832"/>
                    <a:pt x="1830" y="4833"/>
                    <a:pt x="1829" y="4829"/>
                  </a:cubicBezTo>
                  <a:cubicBezTo>
                    <a:pt x="1827" y="4825"/>
                    <a:pt x="1823" y="4826"/>
                    <a:pt x="1818" y="4821"/>
                  </a:cubicBezTo>
                  <a:cubicBezTo>
                    <a:pt x="1812" y="4815"/>
                    <a:pt x="1808" y="4815"/>
                    <a:pt x="1801" y="4811"/>
                  </a:cubicBezTo>
                  <a:cubicBezTo>
                    <a:pt x="1794" y="4807"/>
                    <a:pt x="1792" y="4806"/>
                    <a:pt x="1784" y="4800"/>
                  </a:cubicBezTo>
                  <a:cubicBezTo>
                    <a:pt x="1775" y="4795"/>
                    <a:pt x="1766" y="4795"/>
                    <a:pt x="1762" y="4792"/>
                  </a:cubicBezTo>
                  <a:cubicBezTo>
                    <a:pt x="1758" y="4789"/>
                    <a:pt x="1753" y="4793"/>
                    <a:pt x="1753" y="4784"/>
                  </a:cubicBezTo>
                  <a:cubicBezTo>
                    <a:pt x="1753" y="4774"/>
                    <a:pt x="1747" y="4769"/>
                    <a:pt x="1747" y="4769"/>
                  </a:cubicBezTo>
                  <a:cubicBezTo>
                    <a:pt x="1747" y="4769"/>
                    <a:pt x="1740" y="4771"/>
                    <a:pt x="1733" y="4770"/>
                  </a:cubicBezTo>
                  <a:cubicBezTo>
                    <a:pt x="1726" y="4769"/>
                    <a:pt x="1708" y="4770"/>
                    <a:pt x="1708" y="4764"/>
                  </a:cubicBezTo>
                  <a:cubicBezTo>
                    <a:pt x="1708" y="4759"/>
                    <a:pt x="1705" y="4756"/>
                    <a:pt x="1697" y="4749"/>
                  </a:cubicBezTo>
                  <a:cubicBezTo>
                    <a:pt x="1689" y="4743"/>
                    <a:pt x="1686" y="4733"/>
                    <a:pt x="1675" y="4732"/>
                  </a:cubicBezTo>
                  <a:cubicBezTo>
                    <a:pt x="1664" y="4730"/>
                    <a:pt x="1647" y="4732"/>
                    <a:pt x="1647" y="4732"/>
                  </a:cubicBezTo>
                  <a:cubicBezTo>
                    <a:pt x="1647" y="4732"/>
                    <a:pt x="1632" y="4732"/>
                    <a:pt x="1629" y="4727"/>
                  </a:cubicBezTo>
                  <a:cubicBezTo>
                    <a:pt x="1626" y="4723"/>
                    <a:pt x="1619" y="4726"/>
                    <a:pt x="1619" y="4719"/>
                  </a:cubicBezTo>
                  <a:cubicBezTo>
                    <a:pt x="1619" y="4712"/>
                    <a:pt x="1616" y="4707"/>
                    <a:pt x="1612" y="4700"/>
                  </a:cubicBezTo>
                  <a:cubicBezTo>
                    <a:pt x="1608" y="4693"/>
                    <a:pt x="1614" y="4685"/>
                    <a:pt x="1593" y="4685"/>
                  </a:cubicBezTo>
                  <a:cubicBezTo>
                    <a:pt x="1573" y="4685"/>
                    <a:pt x="1563" y="4690"/>
                    <a:pt x="1560" y="4686"/>
                  </a:cubicBezTo>
                  <a:cubicBezTo>
                    <a:pt x="1558" y="4682"/>
                    <a:pt x="1537" y="4680"/>
                    <a:pt x="1527" y="4674"/>
                  </a:cubicBezTo>
                  <a:cubicBezTo>
                    <a:pt x="1518" y="4669"/>
                    <a:pt x="1504" y="4670"/>
                    <a:pt x="1492" y="4669"/>
                  </a:cubicBezTo>
                  <a:cubicBezTo>
                    <a:pt x="1480" y="4667"/>
                    <a:pt x="1447" y="4670"/>
                    <a:pt x="1438" y="4669"/>
                  </a:cubicBezTo>
                  <a:cubicBezTo>
                    <a:pt x="1430" y="4667"/>
                    <a:pt x="1422" y="4674"/>
                    <a:pt x="1417" y="4675"/>
                  </a:cubicBezTo>
                  <a:cubicBezTo>
                    <a:pt x="1411" y="4677"/>
                    <a:pt x="1408" y="4682"/>
                    <a:pt x="1397" y="4682"/>
                  </a:cubicBezTo>
                  <a:cubicBezTo>
                    <a:pt x="1386" y="4682"/>
                    <a:pt x="1378" y="4680"/>
                    <a:pt x="1370" y="4685"/>
                  </a:cubicBezTo>
                  <a:cubicBezTo>
                    <a:pt x="1362" y="4690"/>
                    <a:pt x="1347" y="4699"/>
                    <a:pt x="1347" y="4699"/>
                  </a:cubicBezTo>
                  <a:cubicBezTo>
                    <a:pt x="1347" y="4699"/>
                    <a:pt x="1343" y="4707"/>
                    <a:pt x="1333" y="4711"/>
                  </a:cubicBezTo>
                  <a:cubicBezTo>
                    <a:pt x="1323" y="4715"/>
                    <a:pt x="1314" y="4719"/>
                    <a:pt x="1314" y="4719"/>
                  </a:cubicBezTo>
                  <a:cubicBezTo>
                    <a:pt x="1314" y="4719"/>
                    <a:pt x="1312" y="4729"/>
                    <a:pt x="1311" y="4734"/>
                  </a:cubicBezTo>
                  <a:cubicBezTo>
                    <a:pt x="1310" y="4740"/>
                    <a:pt x="1312" y="4760"/>
                    <a:pt x="1312" y="4760"/>
                  </a:cubicBezTo>
                  <a:cubicBezTo>
                    <a:pt x="1306" y="4764"/>
                    <a:pt x="1300" y="4763"/>
                    <a:pt x="1300" y="4771"/>
                  </a:cubicBezTo>
                  <a:cubicBezTo>
                    <a:pt x="1300" y="4780"/>
                    <a:pt x="1307" y="4781"/>
                    <a:pt x="1318" y="4781"/>
                  </a:cubicBezTo>
                  <a:cubicBezTo>
                    <a:pt x="1329" y="4781"/>
                    <a:pt x="1332" y="4782"/>
                    <a:pt x="1338" y="4778"/>
                  </a:cubicBezTo>
                  <a:cubicBezTo>
                    <a:pt x="1345" y="4774"/>
                    <a:pt x="1352" y="4769"/>
                    <a:pt x="1355" y="4762"/>
                  </a:cubicBezTo>
                  <a:cubicBezTo>
                    <a:pt x="1358" y="4755"/>
                    <a:pt x="1360" y="4752"/>
                    <a:pt x="1366" y="4753"/>
                  </a:cubicBezTo>
                  <a:cubicBezTo>
                    <a:pt x="1371" y="4755"/>
                    <a:pt x="1370" y="4747"/>
                    <a:pt x="1380" y="4747"/>
                  </a:cubicBezTo>
                  <a:cubicBezTo>
                    <a:pt x="1389" y="4747"/>
                    <a:pt x="1401" y="4747"/>
                    <a:pt x="1401" y="4737"/>
                  </a:cubicBezTo>
                  <a:cubicBezTo>
                    <a:pt x="1401" y="4727"/>
                    <a:pt x="1403" y="4725"/>
                    <a:pt x="1407" y="4721"/>
                  </a:cubicBezTo>
                  <a:cubicBezTo>
                    <a:pt x="1411" y="4717"/>
                    <a:pt x="1421" y="4714"/>
                    <a:pt x="1426" y="4714"/>
                  </a:cubicBezTo>
                  <a:cubicBezTo>
                    <a:pt x="1432" y="4714"/>
                    <a:pt x="1436" y="4703"/>
                    <a:pt x="1444" y="4707"/>
                  </a:cubicBezTo>
                  <a:cubicBezTo>
                    <a:pt x="1452" y="4711"/>
                    <a:pt x="1471" y="4708"/>
                    <a:pt x="1475" y="4712"/>
                  </a:cubicBezTo>
                  <a:cubicBezTo>
                    <a:pt x="1480" y="4717"/>
                    <a:pt x="1490" y="4718"/>
                    <a:pt x="1484" y="4722"/>
                  </a:cubicBezTo>
                  <a:cubicBezTo>
                    <a:pt x="1477" y="4726"/>
                    <a:pt x="1477" y="4725"/>
                    <a:pt x="1469" y="4729"/>
                  </a:cubicBezTo>
                  <a:cubicBezTo>
                    <a:pt x="1460" y="4733"/>
                    <a:pt x="1460" y="4734"/>
                    <a:pt x="1459" y="4741"/>
                  </a:cubicBezTo>
                  <a:cubicBezTo>
                    <a:pt x="1458" y="4748"/>
                    <a:pt x="1458" y="4747"/>
                    <a:pt x="1464" y="4749"/>
                  </a:cubicBezTo>
                  <a:cubicBezTo>
                    <a:pt x="1471" y="4752"/>
                    <a:pt x="1478" y="4762"/>
                    <a:pt x="1484" y="4756"/>
                  </a:cubicBezTo>
                  <a:cubicBezTo>
                    <a:pt x="1489" y="4751"/>
                    <a:pt x="1493" y="4751"/>
                    <a:pt x="1497" y="4753"/>
                  </a:cubicBezTo>
                  <a:cubicBezTo>
                    <a:pt x="1501" y="4756"/>
                    <a:pt x="1512" y="4769"/>
                    <a:pt x="1512" y="4769"/>
                  </a:cubicBezTo>
                  <a:cubicBezTo>
                    <a:pt x="1512" y="4769"/>
                    <a:pt x="1530" y="4778"/>
                    <a:pt x="1534" y="4770"/>
                  </a:cubicBezTo>
                  <a:cubicBezTo>
                    <a:pt x="1538" y="4762"/>
                    <a:pt x="1545" y="4764"/>
                    <a:pt x="1545" y="4764"/>
                  </a:cubicBezTo>
                  <a:cubicBezTo>
                    <a:pt x="1563" y="4780"/>
                    <a:pt x="1563" y="4780"/>
                    <a:pt x="1563" y="4780"/>
                  </a:cubicBezTo>
                  <a:cubicBezTo>
                    <a:pt x="1563" y="4780"/>
                    <a:pt x="1575" y="4784"/>
                    <a:pt x="1582" y="4786"/>
                  </a:cubicBezTo>
                  <a:cubicBezTo>
                    <a:pt x="1589" y="4789"/>
                    <a:pt x="1612" y="4800"/>
                    <a:pt x="1618" y="4795"/>
                  </a:cubicBezTo>
                  <a:cubicBezTo>
                    <a:pt x="1623" y="4789"/>
                    <a:pt x="1647" y="4785"/>
                    <a:pt x="1647" y="4785"/>
                  </a:cubicBezTo>
                  <a:cubicBezTo>
                    <a:pt x="1647" y="4785"/>
                    <a:pt x="1681" y="4788"/>
                    <a:pt x="1675" y="4793"/>
                  </a:cubicBezTo>
                  <a:cubicBezTo>
                    <a:pt x="1670" y="4799"/>
                    <a:pt x="1674" y="4799"/>
                    <a:pt x="1671" y="4806"/>
                  </a:cubicBezTo>
                  <a:cubicBezTo>
                    <a:pt x="1669" y="4812"/>
                    <a:pt x="1695" y="4836"/>
                    <a:pt x="1692" y="4840"/>
                  </a:cubicBezTo>
                  <a:cubicBezTo>
                    <a:pt x="1689" y="4844"/>
                    <a:pt x="1700" y="4852"/>
                    <a:pt x="1704" y="4856"/>
                  </a:cubicBezTo>
                  <a:cubicBezTo>
                    <a:pt x="1708" y="4860"/>
                    <a:pt x="1731" y="4862"/>
                    <a:pt x="1731" y="4862"/>
                  </a:cubicBezTo>
                  <a:cubicBezTo>
                    <a:pt x="1755" y="4862"/>
                    <a:pt x="1755" y="4862"/>
                    <a:pt x="1755" y="4862"/>
                  </a:cubicBezTo>
                  <a:cubicBezTo>
                    <a:pt x="1755" y="4862"/>
                    <a:pt x="1773" y="4863"/>
                    <a:pt x="1770" y="4869"/>
                  </a:cubicBezTo>
                  <a:cubicBezTo>
                    <a:pt x="1767" y="4874"/>
                    <a:pt x="1771" y="4878"/>
                    <a:pt x="1764" y="4885"/>
                  </a:cubicBezTo>
                  <a:cubicBezTo>
                    <a:pt x="1758" y="4892"/>
                    <a:pt x="1760" y="4897"/>
                    <a:pt x="1753" y="4899"/>
                  </a:cubicBezTo>
                  <a:cubicBezTo>
                    <a:pt x="1747" y="4900"/>
                    <a:pt x="1738" y="4908"/>
                    <a:pt x="1738" y="4908"/>
                  </a:cubicBezTo>
                  <a:cubicBezTo>
                    <a:pt x="1738" y="4908"/>
                    <a:pt x="1733" y="4918"/>
                    <a:pt x="1733" y="4922"/>
                  </a:cubicBezTo>
                  <a:cubicBezTo>
                    <a:pt x="1733" y="4926"/>
                    <a:pt x="1729" y="4933"/>
                    <a:pt x="1740" y="4933"/>
                  </a:cubicBezTo>
                  <a:cubicBezTo>
                    <a:pt x="1751" y="4933"/>
                    <a:pt x="1773" y="4936"/>
                    <a:pt x="1777" y="4936"/>
                  </a:cubicBezTo>
                  <a:cubicBezTo>
                    <a:pt x="1781" y="4936"/>
                    <a:pt x="1792" y="4926"/>
                    <a:pt x="1797" y="4926"/>
                  </a:cubicBezTo>
                  <a:cubicBezTo>
                    <a:pt x="1803" y="4926"/>
                    <a:pt x="1812" y="4933"/>
                    <a:pt x="1818" y="4934"/>
                  </a:cubicBezTo>
                  <a:cubicBezTo>
                    <a:pt x="1823" y="4936"/>
                    <a:pt x="1831" y="4926"/>
                    <a:pt x="1840" y="4923"/>
                  </a:cubicBezTo>
                  <a:cubicBezTo>
                    <a:pt x="1848" y="4921"/>
                    <a:pt x="1857" y="4923"/>
                    <a:pt x="1860" y="4927"/>
                  </a:cubicBezTo>
                  <a:close/>
                  <a:moveTo>
                    <a:pt x="8081" y="3473"/>
                  </a:moveTo>
                  <a:cubicBezTo>
                    <a:pt x="8077" y="3471"/>
                    <a:pt x="8065" y="3469"/>
                    <a:pt x="8061" y="3468"/>
                  </a:cubicBezTo>
                  <a:cubicBezTo>
                    <a:pt x="8056" y="3467"/>
                    <a:pt x="8048" y="3468"/>
                    <a:pt x="8048" y="3468"/>
                  </a:cubicBezTo>
                  <a:cubicBezTo>
                    <a:pt x="8036" y="3475"/>
                    <a:pt x="8036" y="3475"/>
                    <a:pt x="8036" y="3475"/>
                  </a:cubicBezTo>
                  <a:cubicBezTo>
                    <a:pt x="8036" y="3475"/>
                    <a:pt x="8026" y="3481"/>
                    <a:pt x="8019" y="3483"/>
                  </a:cubicBezTo>
                  <a:cubicBezTo>
                    <a:pt x="8012" y="3485"/>
                    <a:pt x="8006" y="3483"/>
                    <a:pt x="7999" y="3481"/>
                  </a:cubicBezTo>
                  <a:cubicBezTo>
                    <a:pt x="7993" y="3479"/>
                    <a:pt x="7990" y="3475"/>
                    <a:pt x="7985" y="3469"/>
                  </a:cubicBezTo>
                  <a:cubicBezTo>
                    <a:pt x="7979" y="3464"/>
                    <a:pt x="7971" y="3466"/>
                    <a:pt x="7968" y="3465"/>
                  </a:cubicBezTo>
                  <a:cubicBezTo>
                    <a:pt x="7964" y="3464"/>
                    <a:pt x="7960" y="3471"/>
                    <a:pt x="7957" y="3474"/>
                  </a:cubicBezTo>
                  <a:cubicBezTo>
                    <a:pt x="7955" y="3477"/>
                    <a:pt x="7948" y="3479"/>
                    <a:pt x="7948" y="3479"/>
                  </a:cubicBezTo>
                  <a:cubicBezTo>
                    <a:pt x="7948" y="3479"/>
                    <a:pt x="7943" y="3483"/>
                    <a:pt x="7939" y="3485"/>
                  </a:cubicBezTo>
                  <a:cubicBezTo>
                    <a:pt x="7936" y="3488"/>
                    <a:pt x="7934" y="3493"/>
                    <a:pt x="7934" y="3500"/>
                  </a:cubicBezTo>
                  <a:cubicBezTo>
                    <a:pt x="7934" y="3507"/>
                    <a:pt x="7937" y="3510"/>
                    <a:pt x="7943" y="3514"/>
                  </a:cubicBezTo>
                  <a:cubicBezTo>
                    <a:pt x="7948" y="3517"/>
                    <a:pt x="7948" y="3520"/>
                    <a:pt x="7954" y="3522"/>
                  </a:cubicBezTo>
                  <a:cubicBezTo>
                    <a:pt x="7960" y="3524"/>
                    <a:pt x="7964" y="3523"/>
                    <a:pt x="7968" y="3523"/>
                  </a:cubicBezTo>
                  <a:cubicBezTo>
                    <a:pt x="7971" y="3523"/>
                    <a:pt x="7974" y="3532"/>
                    <a:pt x="7978" y="3535"/>
                  </a:cubicBezTo>
                  <a:cubicBezTo>
                    <a:pt x="7981" y="3539"/>
                    <a:pt x="7986" y="3541"/>
                    <a:pt x="7992" y="3546"/>
                  </a:cubicBezTo>
                  <a:cubicBezTo>
                    <a:pt x="7997" y="3550"/>
                    <a:pt x="8006" y="3555"/>
                    <a:pt x="8012" y="3558"/>
                  </a:cubicBezTo>
                  <a:cubicBezTo>
                    <a:pt x="8018" y="3562"/>
                    <a:pt x="8019" y="3564"/>
                    <a:pt x="8028" y="3566"/>
                  </a:cubicBezTo>
                  <a:cubicBezTo>
                    <a:pt x="8037" y="3568"/>
                    <a:pt x="8034" y="3567"/>
                    <a:pt x="8040" y="3570"/>
                  </a:cubicBezTo>
                  <a:cubicBezTo>
                    <a:pt x="8047" y="3572"/>
                    <a:pt x="8046" y="3575"/>
                    <a:pt x="8051" y="3580"/>
                  </a:cubicBezTo>
                  <a:cubicBezTo>
                    <a:pt x="8055" y="3584"/>
                    <a:pt x="8056" y="3584"/>
                    <a:pt x="8061" y="3591"/>
                  </a:cubicBezTo>
                  <a:cubicBezTo>
                    <a:pt x="8065" y="3598"/>
                    <a:pt x="8069" y="3593"/>
                    <a:pt x="8073" y="3593"/>
                  </a:cubicBezTo>
                  <a:cubicBezTo>
                    <a:pt x="8078" y="3593"/>
                    <a:pt x="8085" y="3596"/>
                    <a:pt x="8092" y="3593"/>
                  </a:cubicBezTo>
                  <a:cubicBezTo>
                    <a:pt x="8098" y="3591"/>
                    <a:pt x="8094" y="3589"/>
                    <a:pt x="8094" y="3584"/>
                  </a:cubicBezTo>
                  <a:cubicBezTo>
                    <a:pt x="8094" y="3580"/>
                    <a:pt x="8095" y="3575"/>
                    <a:pt x="8093" y="3566"/>
                  </a:cubicBezTo>
                  <a:cubicBezTo>
                    <a:pt x="8090" y="3557"/>
                    <a:pt x="8089" y="3555"/>
                    <a:pt x="8086" y="3547"/>
                  </a:cubicBezTo>
                  <a:cubicBezTo>
                    <a:pt x="8082" y="3539"/>
                    <a:pt x="8085" y="3539"/>
                    <a:pt x="8080" y="3533"/>
                  </a:cubicBezTo>
                  <a:cubicBezTo>
                    <a:pt x="8076" y="3527"/>
                    <a:pt x="8078" y="3527"/>
                    <a:pt x="8078" y="3523"/>
                  </a:cubicBezTo>
                  <a:cubicBezTo>
                    <a:pt x="8078" y="3518"/>
                    <a:pt x="8077" y="3510"/>
                    <a:pt x="8077" y="3506"/>
                  </a:cubicBezTo>
                  <a:cubicBezTo>
                    <a:pt x="8077" y="3501"/>
                    <a:pt x="8075" y="3497"/>
                    <a:pt x="8077" y="3489"/>
                  </a:cubicBezTo>
                  <a:cubicBezTo>
                    <a:pt x="8079" y="3481"/>
                    <a:pt x="8081" y="3473"/>
                    <a:pt x="8081" y="3473"/>
                  </a:cubicBezTo>
                  <a:close/>
                  <a:moveTo>
                    <a:pt x="9205" y="4444"/>
                  </a:moveTo>
                  <a:cubicBezTo>
                    <a:pt x="9205" y="4443"/>
                    <a:pt x="9205" y="4443"/>
                    <a:pt x="9205" y="4443"/>
                  </a:cubicBezTo>
                  <a:cubicBezTo>
                    <a:pt x="9202" y="4438"/>
                    <a:pt x="9203" y="4434"/>
                    <a:pt x="9205" y="4429"/>
                  </a:cubicBezTo>
                  <a:cubicBezTo>
                    <a:pt x="9205" y="4422"/>
                    <a:pt x="9204" y="4415"/>
                    <a:pt x="9204" y="4408"/>
                  </a:cubicBezTo>
                  <a:cubicBezTo>
                    <a:pt x="9202" y="4404"/>
                    <a:pt x="9200" y="4400"/>
                    <a:pt x="9198" y="4398"/>
                  </a:cubicBezTo>
                  <a:cubicBezTo>
                    <a:pt x="9194" y="4391"/>
                    <a:pt x="9196" y="4386"/>
                    <a:pt x="9194" y="4375"/>
                  </a:cubicBezTo>
                  <a:cubicBezTo>
                    <a:pt x="9191" y="4363"/>
                    <a:pt x="9191" y="4354"/>
                    <a:pt x="9187" y="4341"/>
                  </a:cubicBezTo>
                  <a:cubicBezTo>
                    <a:pt x="9182" y="4327"/>
                    <a:pt x="9182" y="4327"/>
                    <a:pt x="9182" y="4318"/>
                  </a:cubicBezTo>
                  <a:cubicBezTo>
                    <a:pt x="9182" y="4309"/>
                    <a:pt x="9182" y="4302"/>
                    <a:pt x="9185" y="4293"/>
                  </a:cubicBezTo>
                  <a:cubicBezTo>
                    <a:pt x="9187" y="4284"/>
                    <a:pt x="9182" y="4272"/>
                    <a:pt x="9180" y="4256"/>
                  </a:cubicBezTo>
                  <a:cubicBezTo>
                    <a:pt x="9178" y="4241"/>
                    <a:pt x="9173" y="4238"/>
                    <a:pt x="9169" y="4231"/>
                  </a:cubicBezTo>
                  <a:cubicBezTo>
                    <a:pt x="9164" y="4225"/>
                    <a:pt x="9166" y="4218"/>
                    <a:pt x="9162" y="4206"/>
                  </a:cubicBezTo>
                  <a:cubicBezTo>
                    <a:pt x="9157" y="4195"/>
                    <a:pt x="9162" y="4186"/>
                    <a:pt x="9169" y="4170"/>
                  </a:cubicBezTo>
                  <a:cubicBezTo>
                    <a:pt x="9175" y="4154"/>
                    <a:pt x="9169" y="4170"/>
                    <a:pt x="9171" y="4156"/>
                  </a:cubicBezTo>
                  <a:cubicBezTo>
                    <a:pt x="9173" y="4143"/>
                    <a:pt x="9164" y="4147"/>
                    <a:pt x="9169" y="4138"/>
                  </a:cubicBezTo>
                  <a:cubicBezTo>
                    <a:pt x="9173" y="4129"/>
                    <a:pt x="9171" y="4122"/>
                    <a:pt x="9178" y="4113"/>
                  </a:cubicBezTo>
                  <a:cubicBezTo>
                    <a:pt x="9179" y="4111"/>
                    <a:pt x="9181" y="4110"/>
                    <a:pt x="9184" y="4108"/>
                  </a:cubicBezTo>
                  <a:cubicBezTo>
                    <a:pt x="9166" y="3928"/>
                    <a:pt x="9138" y="3752"/>
                    <a:pt x="9101" y="3579"/>
                  </a:cubicBezTo>
                  <a:cubicBezTo>
                    <a:pt x="9096" y="3576"/>
                    <a:pt x="9097" y="3575"/>
                    <a:pt x="9093" y="3573"/>
                  </a:cubicBezTo>
                  <a:cubicBezTo>
                    <a:pt x="9087" y="3568"/>
                    <a:pt x="9093" y="3560"/>
                    <a:pt x="9089" y="3554"/>
                  </a:cubicBezTo>
                  <a:cubicBezTo>
                    <a:pt x="9085" y="3548"/>
                    <a:pt x="9083" y="3538"/>
                    <a:pt x="9075" y="3528"/>
                  </a:cubicBezTo>
                  <a:cubicBezTo>
                    <a:pt x="9067" y="3518"/>
                    <a:pt x="9073" y="3512"/>
                    <a:pt x="9069" y="3506"/>
                  </a:cubicBezTo>
                  <a:cubicBezTo>
                    <a:pt x="9065" y="3500"/>
                    <a:pt x="9067" y="3486"/>
                    <a:pt x="9063" y="3474"/>
                  </a:cubicBezTo>
                  <a:cubicBezTo>
                    <a:pt x="9059" y="3462"/>
                    <a:pt x="9059" y="3462"/>
                    <a:pt x="9059" y="3452"/>
                  </a:cubicBezTo>
                  <a:cubicBezTo>
                    <a:pt x="9059" y="3442"/>
                    <a:pt x="9053" y="3434"/>
                    <a:pt x="9053" y="3434"/>
                  </a:cubicBezTo>
                  <a:cubicBezTo>
                    <a:pt x="9053" y="3434"/>
                    <a:pt x="9053" y="3420"/>
                    <a:pt x="9055" y="3412"/>
                  </a:cubicBezTo>
                  <a:cubicBezTo>
                    <a:pt x="9057" y="3404"/>
                    <a:pt x="9047" y="3396"/>
                    <a:pt x="9043" y="3388"/>
                  </a:cubicBezTo>
                  <a:cubicBezTo>
                    <a:pt x="9038" y="3380"/>
                    <a:pt x="9032" y="3366"/>
                    <a:pt x="9032" y="3348"/>
                  </a:cubicBezTo>
                  <a:cubicBezTo>
                    <a:pt x="9032" y="3330"/>
                    <a:pt x="9032" y="3334"/>
                    <a:pt x="9034" y="3320"/>
                  </a:cubicBezTo>
                  <a:cubicBezTo>
                    <a:pt x="9036" y="3306"/>
                    <a:pt x="9026" y="3310"/>
                    <a:pt x="9026" y="3292"/>
                  </a:cubicBezTo>
                  <a:cubicBezTo>
                    <a:pt x="9026" y="3273"/>
                    <a:pt x="9022" y="3281"/>
                    <a:pt x="9014" y="3269"/>
                  </a:cubicBezTo>
                  <a:cubicBezTo>
                    <a:pt x="9006" y="3257"/>
                    <a:pt x="9004" y="3263"/>
                    <a:pt x="8996" y="3249"/>
                  </a:cubicBezTo>
                  <a:cubicBezTo>
                    <a:pt x="8988" y="3235"/>
                    <a:pt x="8996" y="3229"/>
                    <a:pt x="8986" y="3221"/>
                  </a:cubicBezTo>
                  <a:cubicBezTo>
                    <a:pt x="8976" y="3213"/>
                    <a:pt x="8974" y="3175"/>
                    <a:pt x="8974" y="3165"/>
                  </a:cubicBezTo>
                  <a:cubicBezTo>
                    <a:pt x="8974" y="3155"/>
                    <a:pt x="8962" y="3145"/>
                    <a:pt x="8958" y="3137"/>
                  </a:cubicBezTo>
                  <a:cubicBezTo>
                    <a:pt x="8954" y="3129"/>
                    <a:pt x="8944" y="3117"/>
                    <a:pt x="8942" y="3107"/>
                  </a:cubicBezTo>
                  <a:cubicBezTo>
                    <a:pt x="8940" y="3097"/>
                    <a:pt x="8936" y="3089"/>
                    <a:pt x="8930" y="3079"/>
                  </a:cubicBezTo>
                  <a:cubicBezTo>
                    <a:pt x="8924" y="3069"/>
                    <a:pt x="8920" y="3059"/>
                    <a:pt x="8918" y="3041"/>
                  </a:cubicBezTo>
                  <a:cubicBezTo>
                    <a:pt x="8916" y="3023"/>
                    <a:pt x="8896" y="2992"/>
                    <a:pt x="8896" y="2992"/>
                  </a:cubicBezTo>
                  <a:cubicBezTo>
                    <a:pt x="8896" y="2992"/>
                    <a:pt x="8890" y="2976"/>
                    <a:pt x="8890" y="2970"/>
                  </a:cubicBezTo>
                  <a:cubicBezTo>
                    <a:pt x="8890" y="2964"/>
                    <a:pt x="8886" y="2956"/>
                    <a:pt x="8882" y="2948"/>
                  </a:cubicBezTo>
                  <a:cubicBezTo>
                    <a:pt x="8878" y="2940"/>
                    <a:pt x="8882" y="2926"/>
                    <a:pt x="8882" y="2916"/>
                  </a:cubicBezTo>
                  <a:cubicBezTo>
                    <a:pt x="8882" y="2906"/>
                    <a:pt x="8874" y="2896"/>
                    <a:pt x="8874" y="2896"/>
                  </a:cubicBezTo>
                  <a:cubicBezTo>
                    <a:pt x="8874" y="2896"/>
                    <a:pt x="8870" y="2878"/>
                    <a:pt x="8868" y="2868"/>
                  </a:cubicBezTo>
                  <a:cubicBezTo>
                    <a:pt x="8866" y="2858"/>
                    <a:pt x="8866" y="2846"/>
                    <a:pt x="8866" y="2836"/>
                  </a:cubicBezTo>
                  <a:cubicBezTo>
                    <a:pt x="8866" y="2826"/>
                    <a:pt x="8856" y="2822"/>
                    <a:pt x="8850" y="2814"/>
                  </a:cubicBezTo>
                  <a:cubicBezTo>
                    <a:pt x="8844" y="2806"/>
                    <a:pt x="8840" y="2790"/>
                    <a:pt x="8838" y="2770"/>
                  </a:cubicBezTo>
                  <a:cubicBezTo>
                    <a:pt x="8836" y="2750"/>
                    <a:pt x="8832" y="2754"/>
                    <a:pt x="8832" y="2742"/>
                  </a:cubicBezTo>
                  <a:cubicBezTo>
                    <a:pt x="8832" y="2740"/>
                    <a:pt x="8832" y="2738"/>
                    <a:pt x="8832" y="2737"/>
                  </a:cubicBezTo>
                  <a:cubicBezTo>
                    <a:pt x="8561" y="2103"/>
                    <a:pt x="8153" y="1542"/>
                    <a:pt x="7647" y="1090"/>
                  </a:cubicBezTo>
                  <a:cubicBezTo>
                    <a:pt x="7647" y="1090"/>
                    <a:pt x="7647" y="1091"/>
                    <a:pt x="7647" y="1091"/>
                  </a:cubicBezTo>
                  <a:cubicBezTo>
                    <a:pt x="7646" y="1097"/>
                    <a:pt x="7673" y="1153"/>
                    <a:pt x="7674" y="1161"/>
                  </a:cubicBezTo>
                  <a:cubicBezTo>
                    <a:pt x="7675" y="1169"/>
                    <a:pt x="7681" y="1172"/>
                    <a:pt x="7687" y="1174"/>
                  </a:cubicBezTo>
                  <a:cubicBezTo>
                    <a:pt x="7692" y="1175"/>
                    <a:pt x="7684" y="1185"/>
                    <a:pt x="7683" y="1191"/>
                  </a:cubicBezTo>
                  <a:cubicBezTo>
                    <a:pt x="7682" y="1197"/>
                    <a:pt x="7682" y="1204"/>
                    <a:pt x="7682" y="1204"/>
                  </a:cubicBezTo>
                  <a:cubicBezTo>
                    <a:pt x="7682" y="1204"/>
                    <a:pt x="7691" y="1207"/>
                    <a:pt x="7697" y="1209"/>
                  </a:cubicBezTo>
                  <a:cubicBezTo>
                    <a:pt x="7703" y="1212"/>
                    <a:pt x="7702" y="1224"/>
                    <a:pt x="7705" y="1228"/>
                  </a:cubicBezTo>
                  <a:cubicBezTo>
                    <a:pt x="7709" y="1231"/>
                    <a:pt x="7709" y="1243"/>
                    <a:pt x="7712" y="1245"/>
                  </a:cubicBezTo>
                  <a:cubicBezTo>
                    <a:pt x="7716" y="1247"/>
                    <a:pt x="7732" y="1253"/>
                    <a:pt x="7732" y="1253"/>
                  </a:cubicBezTo>
                  <a:cubicBezTo>
                    <a:pt x="7732" y="1253"/>
                    <a:pt x="7743" y="1267"/>
                    <a:pt x="7747" y="1270"/>
                  </a:cubicBezTo>
                  <a:cubicBezTo>
                    <a:pt x="7750" y="1274"/>
                    <a:pt x="7757" y="1281"/>
                    <a:pt x="7766" y="1284"/>
                  </a:cubicBezTo>
                  <a:cubicBezTo>
                    <a:pt x="7775" y="1288"/>
                    <a:pt x="7771" y="1288"/>
                    <a:pt x="7773" y="1292"/>
                  </a:cubicBezTo>
                  <a:cubicBezTo>
                    <a:pt x="7775" y="1297"/>
                    <a:pt x="7773" y="1299"/>
                    <a:pt x="7766" y="1304"/>
                  </a:cubicBezTo>
                  <a:cubicBezTo>
                    <a:pt x="7759" y="1308"/>
                    <a:pt x="7766" y="1304"/>
                    <a:pt x="7758" y="1298"/>
                  </a:cubicBezTo>
                  <a:cubicBezTo>
                    <a:pt x="7750" y="1292"/>
                    <a:pt x="7754" y="1299"/>
                    <a:pt x="7743" y="1292"/>
                  </a:cubicBezTo>
                  <a:cubicBezTo>
                    <a:pt x="7743" y="1292"/>
                    <a:pt x="7739" y="1293"/>
                    <a:pt x="7729" y="1292"/>
                  </a:cubicBezTo>
                  <a:cubicBezTo>
                    <a:pt x="7720" y="1291"/>
                    <a:pt x="7726" y="1288"/>
                    <a:pt x="7725" y="1282"/>
                  </a:cubicBezTo>
                  <a:cubicBezTo>
                    <a:pt x="7724" y="1276"/>
                    <a:pt x="7718" y="1278"/>
                    <a:pt x="7713" y="1276"/>
                  </a:cubicBezTo>
                  <a:cubicBezTo>
                    <a:pt x="7709" y="1274"/>
                    <a:pt x="7709" y="1270"/>
                    <a:pt x="7704" y="1261"/>
                  </a:cubicBezTo>
                  <a:cubicBezTo>
                    <a:pt x="7699" y="1252"/>
                    <a:pt x="7696" y="1248"/>
                    <a:pt x="7696" y="1248"/>
                  </a:cubicBezTo>
                  <a:cubicBezTo>
                    <a:pt x="7696" y="1248"/>
                    <a:pt x="7688" y="1258"/>
                    <a:pt x="7691" y="1266"/>
                  </a:cubicBezTo>
                  <a:cubicBezTo>
                    <a:pt x="7691" y="1266"/>
                    <a:pt x="7695" y="1275"/>
                    <a:pt x="7704" y="1283"/>
                  </a:cubicBezTo>
                  <a:cubicBezTo>
                    <a:pt x="7704" y="1283"/>
                    <a:pt x="7712" y="1292"/>
                    <a:pt x="7716" y="1296"/>
                  </a:cubicBezTo>
                  <a:cubicBezTo>
                    <a:pt x="7719" y="1299"/>
                    <a:pt x="7727" y="1306"/>
                    <a:pt x="7727" y="1306"/>
                  </a:cubicBezTo>
                  <a:cubicBezTo>
                    <a:pt x="7727" y="1306"/>
                    <a:pt x="7740" y="1313"/>
                    <a:pt x="7747" y="1314"/>
                  </a:cubicBezTo>
                  <a:cubicBezTo>
                    <a:pt x="7754" y="1315"/>
                    <a:pt x="7759" y="1326"/>
                    <a:pt x="7763" y="1327"/>
                  </a:cubicBezTo>
                  <a:cubicBezTo>
                    <a:pt x="7766" y="1328"/>
                    <a:pt x="7771" y="1329"/>
                    <a:pt x="7775" y="1328"/>
                  </a:cubicBezTo>
                  <a:cubicBezTo>
                    <a:pt x="7780" y="1327"/>
                    <a:pt x="7786" y="1341"/>
                    <a:pt x="7788" y="1348"/>
                  </a:cubicBezTo>
                  <a:cubicBezTo>
                    <a:pt x="7790" y="1355"/>
                    <a:pt x="7787" y="1353"/>
                    <a:pt x="7784" y="1361"/>
                  </a:cubicBezTo>
                  <a:cubicBezTo>
                    <a:pt x="7780" y="1370"/>
                    <a:pt x="7764" y="1348"/>
                    <a:pt x="7764" y="1348"/>
                  </a:cubicBezTo>
                  <a:cubicBezTo>
                    <a:pt x="7764" y="1348"/>
                    <a:pt x="7758" y="1338"/>
                    <a:pt x="7756" y="1334"/>
                  </a:cubicBezTo>
                  <a:cubicBezTo>
                    <a:pt x="7754" y="1329"/>
                    <a:pt x="7747" y="1334"/>
                    <a:pt x="7740" y="1335"/>
                  </a:cubicBezTo>
                  <a:cubicBezTo>
                    <a:pt x="7733" y="1336"/>
                    <a:pt x="7719" y="1322"/>
                    <a:pt x="7711" y="1322"/>
                  </a:cubicBezTo>
                  <a:cubicBezTo>
                    <a:pt x="7703" y="1322"/>
                    <a:pt x="7703" y="1319"/>
                    <a:pt x="7703" y="1319"/>
                  </a:cubicBezTo>
                  <a:cubicBezTo>
                    <a:pt x="7696" y="1311"/>
                    <a:pt x="7696" y="1311"/>
                    <a:pt x="7696" y="1311"/>
                  </a:cubicBezTo>
                  <a:cubicBezTo>
                    <a:pt x="7696" y="1311"/>
                    <a:pt x="7689" y="1302"/>
                    <a:pt x="7689" y="1298"/>
                  </a:cubicBezTo>
                  <a:cubicBezTo>
                    <a:pt x="7689" y="1295"/>
                    <a:pt x="7683" y="1291"/>
                    <a:pt x="7683" y="1291"/>
                  </a:cubicBezTo>
                  <a:cubicBezTo>
                    <a:pt x="7673" y="1284"/>
                    <a:pt x="7673" y="1284"/>
                    <a:pt x="7673" y="1284"/>
                  </a:cubicBezTo>
                  <a:cubicBezTo>
                    <a:pt x="7673" y="1284"/>
                    <a:pt x="7666" y="1277"/>
                    <a:pt x="7666" y="1270"/>
                  </a:cubicBezTo>
                  <a:cubicBezTo>
                    <a:pt x="7666" y="1263"/>
                    <a:pt x="7646" y="1253"/>
                    <a:pt x="7646" y="1253"/>
                  </a:cubicBezTo>
                  <a:cubicBezTo>
                    <a:pt x="7646" y="1253"/>
                    <a:pt x="7636" y="1245"/>
                    <a:pt x="7631" y="1242"/>
                  </a:cubicBezTo>
                  <a:cubicBezTo>
                    <a:pt x="7627" y="1238"/>
                    <a:pt x="7628" y="1235"/>
                    <a:pt x="7621" y="1230"/>
                  </a:cubicBezTo>
                  <a:cubicBezTo>
                    <a:pt x="7614" y="1225"/>
                    <a:pt x="7615" y="1224"/>
                    <a:pt x="7612" y="1219"/>
                  </a:cubicBezTo>
                  <a:cubicBezTo>
                    <a:pt x="7608" y="1213"/>
                    <a:pt x="7612" y="1205"/>
                    <a:pt x="7613" y="1199"/>
                  </a:cubicBezTo>
                  <a:cubicBezTo>
                    <a:pt x="7614" y="1193"/>
                    <a:pt x="7603" y="1194"/>
                    <a:pt x="7603" y="1194"/>
                  </a:cubicBezTo>
                  <a:cubicBezTo>
                    <a:pt x="7603" y="1194"/>
                    <a:pt x="7574" y="1183"/>
                    <a:pt x="7570" y="1180"/>
                  </a:cubicBezTo>
                  <a:cubicBezTo>
                    <a:pt x="7567" y="1178"/>
                    <a:pt x="7560" y="1175"/>
                    <a:pt x="7555" y="1175"/>
                  </a:cubicBezTo>
                  <a:cubicBezTo>
                    <a:pt x="7551" y="1175"/>
                    <a:pt x="7546" y="1167"/>
                    <a:pt x="7540" y="1166"/>
                  </a:cubicBezTo>
                  <a:cubicBezTo>
                    <a:pt x="7535" y="1164"/>
                    <a:pt x="7535" y="1160"/>
                    <a:pt x="7531" y="1155"/>
                  </a:cubicBezTo>
                  <a:cubicBezTo>
                    <a:pt x="7528" y="1151"/>
                    <a:pt x="7524" y="1151"/>
                    <a:pt x="7518" y="1149"/>
                  </a:cubicBezTo>
                  <a:cubicBezTo>
                    <a:pt x="7513" y="1148"/>
                    <a:pt x="7509" y="1146"/>
                    <a:pt x="7506" y="1146"/>
                  </a:cubicBezTo>
                  <a:cubicBezTo>
                    <a:pt x="7502" y="1146"/>
                    <a:pt x="7494" y="1142"/>
                    <a:pt x="7491" y="1142"/>
                  </a:cubicBezTo>
                  <a:cubicBezTo>
                    <a:pt x="7487" y="1142"/>
                    <a:pt x="7486" y="1139"/>
                    <a:pt x="7484" y="1134"/>
                  </a:cubicBezTo>
                  <a:cubicBezTo>
                    <a:pt x="7482" y="1130"/>
                    <a:pt x="7478" y="1131"/>
                    <a:pt x="7473" y="1131"/>
                  </a:cubicBezTo>
                  <a:cubicBezTo>
                    <a:pt x="7469" y="1131"/>
                    <a:pt x="7465" y="1130"/>
                    <a:pt x="7461" y="1127"/>
                  </a:cubicBezTo>
                  <a:cubicBezTo>
                    <a:pt x="7456" y="1125"/>
                    <a:pt x="7459" y="1115"/>
                    <a:pt x="7460" y="1111"/>
                  </a:cubicBezTo>
                  <a:cubicBezTo>
                    <a:pt x="7461" y="1108"/>
                    <a:pt x="7465" y="1118"/>
                    <a:pt x="7472" y="1118"/>
                  </a:cubicBezTo>
                  <a:cubicBezTo>
                    <a:pt x="7479" y="1118"/>
                    <a:pt x="7483" y="1126"/>
                    <a:pt x="7494" y="1133"/>
                  </a:cubicBezTo>
                  <a:cubicBezTo>
                    <a:pt x="7505" y="1134"/>
                    <a:pt x="7505" y="1134"/>
                    <a:pt x="7505" y="1134"/>
                  </a:cubicBezTo>
                  <a:cubicBezTo>
                    <a:pt x="7505" y="1134"/>
                    <a:pt x="7515" y="1140"/>
                    <a:pt x="7518" y="1144"/>
                  </a:cubicBezTo>
                  <a:cubicBezTo>
                    <a:pt x="7522" y="1147"/>
                    <a:pt x="7532" y="1145"/>
                    <a:pt x="7532" y="1145"/>
                  </a:cubicBezTo>
                  <a:cubicBezTo>
                    <a:pt x="7532" y="1145"/>
                    <a:pt x="7544" y="1146"/>
                    <a:pt x="7546" y="1152"/>
                  </a:cubicBezTo>
                  <a:cubicBezTo>
                    <a:pt x="7548" y="1157"/>
                    <a:pt x="7556" y="1152"/>
                    <a:pt x="7560" y="1155"/>
                  </a:cubicBezTo>
                  <a:cubicBezTo>
                    <a:pt x="7563" y="1159"/>
                    <a:pt x="7571" y="1157"/>
                    <a:pt x="7574" y="1161"/>
                  </a:cubicBezTo>
                  <a:cubicBezTo>
                    <a:pt x="7576" y="1164"/>
                    <a:pt x="7581" y="1162"/>
                    <a:pt x="7584" y="1164"/>
                  </a:cubicBezTo>
                  <a:cubicBezTo>
                    <a:pt x="7588" y="1167"/>
                    <a:pt x="7599" y="1170"/>
                    <a:pt x="7600" y="1174"/>
                  </a:cubicBezTo>
                  <a:cubicBezTo>
                    <a:pt x="7601" y="1177"/>
                    <a:pt x="7614" y="1176"/>
                    <a:pt x="7616" y="1180"/>
                  </a:cubicBezTo>
                  <a:cubicBezTo>
                    <a:pt x="7619" y="1185"/>
                    <a:pt x="7628" y="1190"/>
                    <a:pt x="7631" y="1193"/>
                  </a:cubicBezTo>
                  <a:cubicBezTo>
                    <a:pt x="7635" y="1197"/>
                    <a:pt x="7637" y="1198"/>
                    <a:pt x="7638" y="1201"/>
                  </a:cubicBezTo>
                  <a:cubicBezTo>
                    <a:pt x="7639" y="1205"/>
                    <a:pt x="7653" y="1200"/>
                    <a:pt x="7661" y="1195"/>
                  </a:cubicBezTo>
                  <a:cubicBezTo>
                    <a:pt x="7661" y="1195"/>
                    <a:pt x="7664" y="1187"/>
                    <a:pt x="7664" y="1183"/>
                  </a:cubicBezTo>
                  <a:cubicBezTo>
                    <a:pt x="7664" y="1169"/>
                    <a:pt x="7664" y="1169"/>
                    <a:pt x="7664" y="1169"/>
                  </a:cubicBezTo>
                  <a:cubicBezTo>
                    <a:pt x="7664" y="1164"/>
                    <a:pt x="7659" y="1159"/>
                    <a:pt x="7659" y="1159"/>
                  </a:cubicBezTo>
                  <a:cubicBezTo>
                    <a:pt x="7659" y="1159"/>
                    <a:pt x="7653" y="1154"/>
                    <a:pt x="7649" y="1153"/>
                  </a:cubicBezTo>
                  <a:cubicBezTo>
                    <a:pt x="7644" y="1152"/>
                    <a:pt x="7642" y="1146"/>
                    <a:pt x="7638" y="1142"/>
                  </a:cubicBezTo>
                  <a:cubicBezTo>
                    <a:pt x="7635" y="1139"/>
                    <a:pt x="7631" y="1130"/>
                    <a:pt x="7627" y="1124"/>
                  </a:cubicBezTo>
                  <a:cubicBezTo>
                    <a:pt x="7622" y="1118"/>
                    <a:pt x="7620" y="1118"/>
                    <a:pt x="7614" y="1115"/>
                  </a:cubicBezTo>
                  <a:cubicBezTo>
                    <a:pt x="7608" y="1111"/>
                    <a:pt x="7609" y="1104"/>
                    <a:pt x="7606" y="1101"/>
                  </a:cubicBezTo>
                  <a:cubicBezTo>
                    <a:pt x="7603" y="1098"/>
                    <a:pt x="7599" y="1096"/>
                    <a:pt x="7596" y="1096"/>
                  </a:cubicBezTo>
                  <a:cubicBezTo>
                    <a:pt x="7592" y="1096"/>
                    <a:pt x="7586" y="1088"/>
                    <a:pt x="7578" y="1087"/>
                  </a:cubicBezTo>
                  <a:cubicBezTo>
                    <a:pt x="7570" y="1086"/>
                    <a:pt x="7570" y="1076"/>
                    <a:pt x="7565" y="1072"/>
                  </a:cubicBezTo>
                  <a:cubicBezTo>
                    <a:pt x="7559" y="1069"/>
                    <a:pt x="7553" y="1065"/>
                    <a:pt x="7547" y="1061"/>
                  </a:cubicBezTo>
                  <a:cubicBezTo>
                    <a:pt x="7541" y="1056"/>
                    <a:pt x="7536" y="1050"/>
                    <a:pt x="7530" y="1050"/>
                  </a:cubicBezTo>
                  <a:cubicBezTo>
                    <a:pt x="7524" y="1050"/>
                    <a:pt x="7507" y="1038"/>
                    <a:pt x="7503" y="1034"/>
                  </a:cubicBezTo>
                  <a:cubicBezTo>
                    <a:pt x="7500" y="1031"/>
                    <a:pt x="7491" y="1024"/>
                    <a:pt x="7486" y="1020"/>
                  </a:cubicBezTo>
                  <a:cubicBezTo>
                    <a:pt x="7482" y="1017"/>
                    <a:pt x="7478" y="1015"/>
                    <a:pt x="7471" y="1013"/>
                  </a:cubicBezTo>
                  <a:cubicBezTo>
                    <a:pt x="7464" y="1012"/>
                    <a:pt x="7460" y="1012"/>
                    <a:pt x="7452" y="1005"/>
                  </a:cubicBezTo>
                  <a:cubicBezTo>
                    <a:pt x="7444" y="998"/>
                    <a:pt x="7444" y="995"/>
                    <a:pt x="7435" y="994"/>
                  </a:cubicBezTo>
                  <a:cubicBezTo>
                    <a:pt x="7427" y="993"/>
                    <a:pt x="7418" y="979"/>
                    <a:pt x="7414" y="977"/>
                  </a:cubicBezTo>
                  <a:cubicBezTo>
                    <a:pt x="7409" y="974"/>
                    <a:pt x="7396" y="973"/>
                    <a:pt x="7388" y="972"/>
                  </a:cubicBezTo>
                  <a:cubicBezTo>
                    <a:pt x="7380" y="971"/>
                    <a:pt x="7376" y="967"/>
                    <a:pt x="7366" y="965"/>
                  </a:cubicBezTo>
                  <a:cubicBezTo>
                    <a:pt x="7357" y="963"/>
                    <a:pt x="7352" y="957"/>
                    <a:pt x="7344" y="950"/>
                  </a:cubicBezTo>
                  <a:cubicBezTo>
                    <a:pt x="7336" y="943"/>
                    <a:pt x="7314" y="934"/>
                    <a:pt x="7313" y="937"/>
                  </a:cubicBezTo>
                  <a:cubicBezTo>
                    <a:pt x="7312" y="941"/>
                    <a:pt x="7291" y="932"/>
                    <a:pt x="7288" y="930"/>
                  </a:cubicBezTo>
                  <a:cubicBezTo>
                    <a:pt x="7284" y="929"/>
                    <a:pt x="7274" y="926"/>
                    <a:pt x="7268" y="923"/>
                  </a:cubicBezTo>
                  <a:cubicBezTo>
                    <a:pt x="7263" y="921"/>
                    <a:pt x="7263" y="917"/>
                    <a:pt x="7261" y="905"/>
                  </a:cubicBezTo>
                  <a:cubicBezTo>
                    <a:pt x="7260" y="894"/>
                    <a:pt x="7251" y="896"/>
                    <a:pt x="7245" y="891"/>
                  </a:cubicBezTo>
                  <a:cubicBezTo>
                    <a:pt x="7240" y="887"/>
                    <a:pt x="7223" y="890"/>
                    <a:pt x="7213" y="894"/>
                  </a:cubicBezTo>
                  <a:cubicBezTo>
                    <a:pt x="7203" y="897"/>
                    <a:pt x="7181" y="897"/>
                    <a:pt x="7181" y="897"/>
                  </a:cubicBezTo>
                  <a:cubicBezTo>
                    <a:pt x="7181" y="897"/>
                    <a:pt x="7175" y="889"/>
                    <a:pt x="7172" y="889"/>
                  </a:cubicBezTo>
                  <a:cubicBezTo>
                    <a:pt x="7168" y="889"/>
                    <a:pt x="7165" y="879"/>
                    <a:pt x="7161" y="877"/>
                  </a:cubicBezTo>
                  <a:cubicBezTo>
                    <a:pt x="7158" y="876"/>
                    <a:pt x="7165" y="865"/>
                    <a:pt x="7163" y="858"/>
                  </a:cubicBezTo>
                  <a:cubicBezTo>
                    <a:pt x="7162" y="851"/>
                    <a:pt x="7155" y="851"/>
                    <a:pt x="7155" y="851"/>
                  </a:cubicBezTo>
                  <a:cubicBezTo>
                    <a:pt x="7155" y="851"/>
                    <a:pt x="7150" y="841"/>
                    <a:pt x="7148" y="836"/>
                  </a:cubicBezTo>
                  <a:cubicBezTo>
                    <a:pt x="7147" y="831"/>
                    <a:pt x="7131" y="832"/>
                    <a:pt x="7131" y="832"/>
                  </a:cubicBezTo>
                  <a:cubicBezTo>
                    <a:pt x="7100" y="834"/>
                    <a:pt x="7100" y="834"/>
                    <a:pt x="7100" y="834"/>
                  </a:cubicBezTo>
                  <a:cubicBezTo>
                    <a:pt x="7100" y="834"/>
                    <a:pt x="7087" y="817"/>
                    <a:pt x="7084" y="815"/>
                  </a:cubicBezTo>
                  <a:cubicBezTo>
                    <a:pt x="7080" y="813"/>
                    <a:pt x="7076" y="812"/>
                    <a:pt x="7072" y="815"/>
                  </a:cubicBezTo>
                  <a:cubicBezTo>
                    <a:pt x="7069" y="819"/>
                    <a:pt x="7066" y="817"/>
                    <a:pt x="7061" y="817"/>
                  </a:cubicBezTo>
                  <a:cubicBezTo>
                    <a:pt x="7056" y="817"/>
                    <a:pt x="7054" y="813"/>
                    <a:pt x="7047" y="805"/>
                  </a:cubicBezTo>
                  <a:cubicBezTo>
                    <a:pt x="7040" y="797"/>
                    <a:pt x="7041" y="801"/>
                    <a:pt x="7037" y="805"/>
                  </a:cubicBezTo>
                  <a:cubicBezTo>
                    <a:pt x="7032" y="808"/>
                    <a:pt x="7037" y="809"/>
                    <a:pt x="7041" y="815"/>
                  </a:cubicBezTo>
                  <a:cubicBezTo>
                    <a:pt x="7046" y="821"/>
                    <a:pt x="7041" y="830"/>
                    <a:pt x="7041" y="830"/>
                  </a:cubicBezTo>
                  <a:cubicBezTo>
                    <a:pt x="7041" y="830"/>
                    <a:pt x="7041" y="830"/>
                    <a:pt x="7036" y="828"/>
                  </a:cubicBezTo>
                  <a:cubicBezTo>
                    <a:pt x="7030" y="826"/>
                    <a:pt x="7030" y="822"/>
                    <a:pt x="7027" y="815"/>
                  </a:cubicBezTo>
                  <a:cubicBezTo>
                    <a:pt x="7025" y="808"/>
                    <a:pt x="7018" y="808"/>
                    <a:pt x="7014" y="812"/>
                  </a:cubicBezTo>
                  <a:cubicBezTo>
                    <a:pt x="7009" y="815"/>
                    <a:pt x="7014" y="819"/>
                    <a:pt x="7014" y="824"/>
                  </a:cubicBezTo>
                  <a:cubicBezTo>
                    <a:pt x="7014" y="830"/>
                    <a:pt x="7022" y="835"/>
                    <a:pt x="7023" y="838"/>
                  </a:cubicBezTo>
                  <a:cubicBezTo>
                    <a:pt x="7024" y="842"/>
                    <a:pt x="7029" y="842"/>
                    <a:pt x="7033" y="846"/>
                  </a:cubicBezTo>
                  <a:cubicBezTo>
                    <a:pt x="7038" y="851"/>
                    <a:pt x="7045" y="857"/>
                    <a:pt x="7047" y="862"/>
                  </a:cubicBezTo>
                  <a:cubicBezTo>
                    <a:pt x="7049" y="868"/>
                    <a:pt x="7042" y="867"/>
                    <a:pt x="7039" y="868"/>
                  </a:cubicBezTo>
                  <a:cubicBezTo>
                    <a:pt x="7036" y="869"/>
                    <a:pt x="7029" y="866"/>
                    <a:pt x="7026" y="862"/>
                  </a:cubicBezTo>
                  <a:cubicBezTo>
                    <a:pt x="7024" y="859"/>
                    <a:pt x="7022" y="854"/>
                    <a:pt x="7019" y="849"/>
                  </a:cubicBezTo>
                  <a:cubicBezTo>
                    <a:pt x="7017" y="843"/>
                    <a:pt x="7008" y="838"/>
                    <a:pt x="7008" y="838"/>
                  </a:cubicBezTo>
                  <a:cubicBezTo>
                    <a:pt x="7008" y="838"/>
                    <a:pt x="7007" y="826"/>
                    <a:pt x="6998" y="822"/>
                  </a:cubicBezTo>
                  <a:cubicBezTo>
                    <a:pt x="6994" y="821"/>
                    <a:pt x="6994" y="809"/>
                    <a:pt x="6994" y="809"/>
                  </a:cubicBezTo>
                  <a:cubicBezTo>
                    <a:pt x="6994" y="809"/>
                    <a:pt x="6985" y="804"/>
                    <a:pt x="6981" y="802"/>
                  </a:cubicBezTo>
                  <a:cubicBezTo>
                    <a:pt x="6978" y="801"/>
                    <a:pt x="6976" y="800"/>
                    <a:pt x="6970" y="807"/>
                  </a:cubicBezTo>
                  <a:cubicBezTo>
                    <a:pt x="6964" y="814"/>
                    <a:pt x="6969" y="815"/>
                    <a:pt x="6970" y="819"/>
                  </a:cubicBezTo>
                  <a:cubicBezTo>
                    <a:pt x="6971" y="822"/>
                    <a:pt x="6977" y="823"/>
                    <a:pt x="6981" y="827"/>
                  </a:cubicBezTo>
                  <a:cubicBezTo>
                    <a:pt x="6986" y="830"/>
                    <a:pt x="6984" y="831"/>
                    <a:pt x="6985" y="841"/>
                  </a:cubicBezTo>
                  <a:cubicBezTo>
                    <a:pt x="6986" y="850"/>
                    <a:pt x="6985" y="847"/>
                    <a:pt x="6988" y="856"/>
                  </a:cubicBezTo>
                  <a:cubicBezTo>
                    <a:pt x="6992" y="864"/>
                    <a:pt x="7000" y="868"/>
                    <a:pt x="7000" y="868"/>
                  </a:cubicBezTo>
                  <a:cubicBezTo>
                    <a:pt x="7000" y="868"/>
                    <a:pt x="6999" y="873"/>
                    <a:pt x="6995" y="876"/>
                  </a:cubicBezTo>
                  <a:cubicBezTo>
                    <a:pt x="6992" y="880"/>
                    <a:pt x="6985" y="875"/>
                    <a:pt x="6981" y="867"/>
                  </a:cubicBezTo>
                  <a:cubicBezTo>
                    <a:pt x="6978" y="859"/>
                    <a:pt x="6974" y="869"/>
                    <a:pt x="6970" y="869"/>
                  </a:cubicBezTo>
                  <a:cubicBezTo>
                    <a:pt x="6965" y="869"/>
                    <a:pt x="6963" y="868"/>
                    <a:pt x="6959" y="859"/>
                  </a:cubicBezTo>
                  <a:cubicBezTo>
                    <a:pt x="6956" y="850"/>
                    <a:pt x="6948" y="853"/>
                    <a:pt x="6944" y="854"/>
                  </a:cubicBezTo>
                  <a:cubicBezTo>
                    <a:pt x="6941" y="856"/>
                    <a:pt x="6936" y="860"/>
                    <a:pt x="6934" y="864"/>
                  </a:cubicBezTo>
                  <a:cubicBezTo>
                    <a:pt x="6932" y="867"/>
                    <a:pt x="6939" y="873"/>
                    <a:pt x="6942" y="875"/>
                  </a:cubicBezTo>
                  <a:cubicBezTo>
                    <a:pt x="6946" y="877"/>
                    <a:pt x="6953" y="877"/>
                    <a:pt x="6953" y="877"/>
                  </a:cubicBezTo>
                  <a:cubicBezTo>
                    <a:pt x="6953" y="877"/>
                    <a:pt x="6955" y="885"/>
                    <a:pt x="6957" y="889"/>
                  </a:cubicBezTo>
                  <a:cubicBezTo>
                    <a:pt x="6959" y="892"/>
                    <a:pt x="6966" y="890"/>
                    <a:pt x="6966" y="895"/>
                  </a:cubicBezTo>
                  <a:cubicBezTo>
                    <a:pt x="6966" y="899"/>
                    <a:pt x="6966" y="903"/>
                    <a:pt x="6970" y="906"/>
                  </a:cubicBezTo>
                  <a:cubicBezTo>
                    <a:pt x="6973" y="910"/>
                    <a:pt x="6976" y="917"/>
                    <a:pt x="6976" y="917"/>
                  </a:cubicBezTo>
                  <a:cubicBezTo>
                    <a:pt x="6976" y="917"/>
                    <a:pt x="6966" y="917"/>
                    <a:pt x="6963" y="917"/>
                  </a:cubicBezTo>
                  <a:cubicBezTo>
                    <a:pt x="6959" y="917"/>
                    <a:pt x="6958" y="910"/>
                    <a:pt x="6957" y="903"/>
                  </a:cubicBezTo>
                  <a:cubicBezTo>
                    <a:pt x="6956" y="896"/>
                    <a:pt x="6949" y="903"/>
                    <a:pt x="6947" y="899"/>
                  </a:cubicBezTo>
                  <a:cubicBezTo>
                    <a:pt x="6944" y="896"/>
                    <a:pt x="6938" y="895"/>
                    <a:pt x="6938" y="895"/>
                  </a:cubicBezTo>
                  <a:cubicBezTo>
                    <a:pt x="6925" y="895"/>
                    <a:pt x="6925" y="895"/>
                    <a:pt x="6925" y="895"/>
                  </a:cubicBezTo>
                  <a:cubicBezTo>
                    <a:pt x="6917" y="898"/>
                    <a:pt x="6917" y="898"/>
                    <a:pt x="6917" y="898"/>
                  </a:cubicBezTo>
                  <a:cubicBezTo>
                    <a:pt x="6917" y="898"/>
                    <a:pt x="6917" y="911"/>
                    <a:pt x="6918" y="917"/>
                  </a:cubicBezTo>
                  <a:cubicBezTo>
                    <a:pt x="6919" y="922"/>
                    <a:pt x="6911" y="932"/>
                    <a:pt x="6911" y="932"/>
                  </a:cubicBezTo>
                  <a:cubicBezTo>
                    <a:pt x="6911" y="932"/>
                    <a:pt x="6915" y="941"/>
                    <a:pt x="6918" y="943"/>
                  </a:cubicBezTo>
                  <a:cubicBezTo>
                    <a:pt x="6921" y="945"/>
                    <a:pt x="6921" y="952"/>
                    <a:pt x="6921" y="952"/>
                  </a:cubicBezTo>
                  <a:cubicBezTo>
                    <a:pt x="6921" y="952"/>
                    <a:pt x="6920" y="959"/>
                    <a:pt x="6925" y="962"/>
                  </a:cubicBezTo>
                  <a:cubicBezTo>
                    <a:pt x="6930" y="964"/>
                    <a:pt x="6930" y="974"/>
                    <a:pt x="6930" y="974"/>
                  </a:cubicBezTo>
                  <a:cubicBezTo>
                    <a:pt x="6923" y="983"/>
                    <a:pt x="6923" y="983"/>
                    <a:pt x="6923" y="983"/>
                  </a:cubicBezTo>
                  <a:cubicBezTo>
                    <a:pt x="6923" y="983"/>
                    <a:pt x="6924" y="996"/>
                    <a:pt x="6926" y="1002"/>
                  </a:cubicBezTo>
                  <a:cubicBezTo>
                    <a:pt x="6928" y="1006"/>
                    <a:pt x="6941" y="1005"/>
                    <a:pt x="6947" y="1004"/>
                  </a:cubicBezTo>
                  <a:cubicBezTo>
                    <a:pt x="6945" y="1007"/>
                    <a:pt x="6945" y="1012"/>
                    <a:pt x="6948" y="1013"/>
                  </a:cubicBezTo>
                  <a:cubicBezTo>
                    <a:pt x="6953" y="1016"/>
                    <a:pt x="6953" y="1020"/>
                    <a:pt x="6953" y="1020"/>
                  </a:cubicBezTo>
                  <a:cubicBezTo>
                    <a:pt x="6953" y="1020"/>
                    <a:pt x="6942" y="1024"/>
                    <a:pt x="6939" y="1025"/>
                  </a:cubicBezTo>
                  <a:cubicBezTo>
                    <a:pt x="6935" y="1026"/>
                    <a:pt x="6925" y="1027"/>
                    <a:pt x="6919" y="1033"/>
                  </a:cubicBezTo>
                  <a:cubicBezTo>
                    <a:pt x="6913" y="1039"/>
                    <a:pt x="6919" y="1033"/>
                    <a:pt x="6924" y="1040"/>
                  </a:cubicBezTo>
                  <a:cubicBezTo>
                    <a:pt x="6928" y="1047"/>
                    <a:pt x="6932" y="1038"/>
                    <a:pt x="6939" y="1038"/>
                  </a:cubicBezTo>
                  <a:cubicBezTo>
                    <a:pt x="6946" y="1038"/>
                    <a:pt x="6956" y="1035"/>
                    <a:pt x="6956" y="1035"/>
                  </a:cubicBezTo>
                  <a:cubicBezTo>
                    <a:pt x="6956" y="1035"/>
                    <a:pt x="6951" y="1045"/>
                    <a:pt x="6948" y="1045"/>
                  </a:cubicBezTo>
                  <a:cubicBezTo>
                    <a:pt x="6944" y="1045"/>
                    <a:pt x="6939" y="1046"/>
                    <a:pt x="6931" y="1048"/>
                  </a:cubicBezTo>
                  <a:cubicBezTo>
                    <a:pt x="6923" y="1050"/>
                    <a:pt x="6927" y="1056"/>
                    <a:pt x="6931" y="1061"/>
                  </a:cubicBezTo>
                  <a:cubicBezTo>
                    <a:pt x="6934" y="1065"/>
                    <a:pt x="6935" y="1066"/>
                    <a:pt x="6941" y="1066"/>
                  </a:cubicBezTo>
                  <a:cubicBezTo>
                    <a:pt x="6947" y="1066"/>
                    <a:pt x="6950" y="1061"/>
                    <a:pt x="6956" y="1062"/>
                  </a:cubicBezTo>
                  <a:cubicBezTo>
                    <a:pt x="6962" y="1063"/>
                    <a:pt x="6953" y="1074"/>
                    <a:pt x="6947" y="1085"/>
                  </a:cubicBezTo>
                  <a:cubicBezTo>
                    <a:pt x="6941" y="1095"/>
                    <a:pt x="6947" y="1095"/>
                    <a:pt x="6954" y="1096"/>
                  </a:cubicBezTo>
                  <a:cubicBezTo>
                    <a:pt x="6961" y="1098"/>
                    <a:pt x="6962" y="1098"/>
                    <a:pt x="6964" y="1103"/>
                  </a:cubicBezTo>
                  <a:cubicBezTo>
                    <a:pt x="6966" y="1109"/>
                    <a:pt x="6958" y="1114"/>
                    <a:pt x="6953" y="1115"/>
                  </a:cubicBezTo>
                  <a:cubicBezTo>
                    <a:pt x="6947" y="1116"/>
                    <a:pt x="6943" y="1116"/>
                    <a:pt x="6942" y="1122"/>
                  </a:cubicBezTo>
                  <a:cubicBezTo>
                    <a:pt x="6941" y="1127"/>
                    <a:pt x="6949" y="1140"/>
                    <a:pt x="6949" y="1140"/>
                  </a:cubicBezTo>
                  <a:cubicBezTo>
                    <a:pt x="6954" y="1161"/>
                    <a:pt x="6954" y="1161"/>
                    <a:pt x="6954" y="1161"/>
                  </a:cubicBezTo>
                  <a:cubicBezTo>
                    <a:pt x="6961" y="1170"/>
                    <a:pt x="6961" y="1170"/>
                    <a:pt x="6961" y="1170"/>
                  </a:cubicBezTo>
                  <a:cubicBezTo>
                    <a:pt x="6973" y="1176"/>
                    <a:pt x="6973" y="1176"/>
                    <a:pt x="6973" y="1176"/>
                  </a:cubicBezTo>
                  <a:cubicBezTo>
                    <a:pt x="6973" y="1176"/>
                    <a:pt x="6981" y="1179"/>
                    <a:pt x="6980" y="1184"/>
                  </a:cubicBezTo>
                  <a:cubicBezTo>
                    <a:pt x="6979" y="1189"/>
                    <a:pt x="6976" y="1192"/>
                    <a:pt x="6974" y="1195"/>
                  </a:cubicBezTo>
                  <a:cubicBezTo>
                    <a:pt x="6973" y="1199"/>
                    <a:pt x="6978" y="1200"/>
                    <a:pt x="6978" y="1204"/>
                  </a:cubicBezTo>
                  <a:cubicBezTo>
                    <a:pt x="6978" y="1207"/>
                    <a:pt x="6978" y="1212"/>
                    <a:pt x="6976" y="1216"/>
                  </a:cubicBezTo>
                  <a:cubicBezTo>
                    <a:pt x="6973" y="1221"/>
                    <a:pt x="6980" y="1222"/>
                    <a:pt x="6983" y="1227"/>
                  </a:cubicBezTo>
                  <a:cubicBezTo>
                    <a:pt x="6985" y="1231"/>
                    <a:pt x="6989" y="1239"/>
                    <a:pt x="6988" y="1245"/>
                  </a:cubicBezTo>
                  <a:cubicBezTo>
                    <a:pt x="6987" y="1251"/>
                    <a:pt x="6991" y="1251"/>
                    <a:pt x="6995" y="1252"/>
                  </a:cubicBezTo>
                  <a:cubicBezTo>
                    <a:pt x="7000" y="1253"/>
                    <a:pt x="6999" y="1258"/>
                    <a:pt x="6999" y="1261"/>
                  </a:cubicBezTo>
                  <a:cubicBezTo>
                    <a:pt x="6999" y="1265"/>
                    <a:pt x="6995" y="1274"/>
                    <a:pt x="6993" y="1277"/>
                  </a:cubicBezTo>
                  <a:cubicBezTo>
                    <a:pt x="6991" y="1281"/>
                    <a:pt x="6991" y="1287"/>
                    <a:pt x="6991" y="1290"/>
                  </a:cubicBezTo>
                  <a:cubicBezTo>
                    <a:pt x="6991" y="1293"/>
                    <a:pt x="7006" y="1298"/>
                    <a:pt x="7006" y="1298"/>
                  </a:cubicBezTo>
                  <a:cubicBezTo>
                    <a:pt x="7006" y="1298"/>
                    <a:pt x="7006" y="1305"/>
                    <a:pt x="6999" y="1308"/>
                  </a:cubicBezTo>
                  <a:cubicBezTo>
                    <a:pt x="6992" y="1312"/>
                    <a:pt x="6994" y="1316"/>
                    <a:pt x="6994" y="1316"/>
                  </a:cubicBezTo>
                  <a:cubicBezTo>
                    <a:pt x="6994" y="1316"/>
                    <a:pt x="6989" y="1326"/>
                    <a:pt x="6984" y="1326"/>
                  </a:cubicBezTo>
                  <a:cubicBezTo>
                    <a:pt x="6978" y="1326"/>
                    <a:pt x="6981" y="1333"/>
                    <a:pt x="6983" y="1340"/>
                  </a:cubicBezTo>
                  <a:cubicBezTo>
                    <a:pt x="6984" y="1346"/>
                    <a:pt x="6986" y="1356"/>
                    <a:pt x="6984" y="1363"/>
                  </a:cubicBezTo>
                  <a:cubicBezTo>
                    <a:pt x="6981" y="1370"/>
                    <a:pt x="6986" y="1371"/>
                    <a:pt x="6984" y="1374"/>
                  </a:cubicBezTo>
                  <a:cubicBezTo>
                    <a:pt x="6981" y="1378"/>
                    <a:pt x="6985" y="1382"/>
                    <a:pt x="6991" y="1386"/>
                  </a:cubicBezTo>
                  <a:cubicBezTo>
                    <a:pt x="6996" y="1389"/>
                    <a:pt x="6993" y="1393"/>
                    <a:pt x="6989" y="1396"/>
                  </a:cubicBezTo>
                  <a:cubicBezTo>
                    <a:pt x="6986" y="1399"/>
                    <a:pt x="6988" y="1404"/>
                    <a:pt x="6984" y="1408"/>
                  </a:cubicBezTo>
                  <a:cubicBezTo>
                    <a:pt x="6979" y="1411"/>
                    <a:pt x="6972" y="1405"/>
                    <a:pt x="6968" y="1405"/>
                  </a:cubicBezTo>
                  <a:cubicBezTo>
                    <a:pt x="6963" y="1405"/>
                    <a:pt x="6966" y="1413"/>
                    <a:pt x="6965" y="1423"/>
                  </a:cubicBezTo>
                  <a:cubicBezTo>
                    <a:pt x="6965" y="1427"/>
                    <a:pt x="6954" y="1427"/>
                    <a:pt x="6954" y="1427"/>
                  </a:cubicBezTo>
                  <a:cubicBezTo>
                    <a:pt x="6954" y="1427"/>
                    <a:pt x="6956" y="1439"/>
                    <a:pt x="6956" y="1443"/>
                  </a:cubicBezTo>
                  <a:cubicBezTo>
                    <a:pt x="6956" y="1448"/>
                    <a:pt x="6951" y="1447"/>
                    <a:pt x="6943" y="1447"/>
                  </a:cubicBezTo>
                  <a:cubicBezTo>
                    <a:pt x="6935" y="1447"/>
                    <a:pt x="6936" y="1444"/>
                    <a:pt x="6932" y="1439"/>
                  </a:cubicBezTo>
                  <a:cubicBezTo>
                    <a:pt x="6927" y="1433"/>
                    <a:pt x="6920" y="1432"/>
                    <a:pt x="6918" y="1435"/>
                  </a:cubicBezTo>
                  <a:cubicBezTo>
                    <a:pt x="6916" y="1439"/>
                    <a:pt x="6917" y="1444"/>
                    <a:pt x="6917" y="1448"/>
                  </a:cubicBezTo>
                  <a:cubicBezTo>
                    <a:pt x="6917" y="1451"/>
                    <a:pt x="6928" y="1456"/>
                    <a:pt x="6928" y="1456"/>
                  </a:cubicBezTo>
                  <a:cubicBezTo>
                    <a:pt x="6928" y="1456"/>
                    <a:pt x="6941" y="1458"/>
                    <a:pt x="6948" y="1458"/>
                  </a:cubicBezTo>
                  <a:cubicBezTo>
                    <a:pt x="6955" y="1458"/>
                    <a:pt x="6951" y="1469"/>
                    <a:pt x="6951" y="1469"/>
                  </a:cubicBezTo>
                  <a:cubicBezTo>
                    <a:pt x="6951" y="1469"/>
                    <a:pt x="6943" y="1472"/>
                    <a:pt x="6940" y="1472"/>
                  </a:cubicBezTo>
                  <a:cubicBezTo>
                    <a:pt x="6936" y="1472"/>
                    <a:pt x="6927" y="1472"/>
                    <a:pt x="6924" y="1470"/>
                  </a:cubicBezTo>
                  <a:cubicBezTo>
                    <a:pt x="6920" y="1467"/>
                    <a:pt x="6912" y="1470"/>
                    <a:pt x="6912" y="1470"/>
                  </a:cubicBezTo>
                  <a:cubicBezTo>
                    <a:pt x="6912" y="1470"/>
                    <a:pt x="6909" y="1474"/>
                    <a:pt x="6908" y="1479"/>
                  </a:cubicBezTo>
                  <a:cubicBezTo>
                    <a:pt x="6906" y="1484"/>
                    <a:pt x="6918" y="1491"/>
                    <a:pt x="6912" y="1499"/>
                  </a:cubicBezTo>
                  <a:cubicBezTo>
                    <a:pt x="6910" y="1501"/>
                    <a:pt x="6898" y="1497"/>
                    <a:pt x="6895" y="1499"/>
                  </a:cubicBezTo>
                  <a:cubicBezTo>
                    <a:pt x="6891" y="1500"/>
                    <a:pt x="6894" y="1507"/>
                    <a:pt x="6895" y="1511"/>
                  </a:cubicBezTo>
                  <a:cubicBezTo>
                    <a:pt x="6896" y="1516"/>
                    <a:pt x="6898" y="1517"/>
                    <a:pt x="6905" y="1518"/>
                  </a:cubicBezTo>
                  <a:cubicBezTo>
                    <a:pt x="6912" y="1519"/>
                    <a:pt x="6920" y="1524"/>
                    <a:pt x="6920" y="1524"/>
                  </a:cubicBezTo>
                  <a:cubicBezTo>
                    <a:pt x="6920" y="1524"/>
                    <a:pt x="6912" y="1532"/>
                    <a:pt x="6909" y="1531"/>
                  </a:cubicBezTo>
                  <a:cubicBezTo>
                    <a:pt x="6905" y="1530"/>
                    <a:pt x="6900" y="1530"/>
                    <a:pt x="6896" y="1527"/>
                  </a:cubicBezTo>
                  <a:cubicBezTo>
                    <a:pt x="6893" y="1525"/>
                    <a:pt x="6894" y="1541"/>
                    <a:pt x="6894" y="1541"/>
                  </a:cubicBezTo>
                  <a:cubicBezTo>
                    <a:pt x="6894" y="1555"/>
                    <a:pt x="6894" y="1555"/>
                    <a:pt x="6894" y="1555"/>
                  </a:cubicBezTo>
                  <a:cubicBezTo>
                    <a:pt x="6894" y="1555"/>
                    <a:pt x="6898" y="1562"/>
                    <a:pt x="6905" y="1563"/>
                  </a:cubicBezTo>
                  <a:cubicBezTo>
                    <a:pt x="6912" y="1564"/>
                    <a:pt x="6906" y="1586"/>
                    <a:pt x="6906" y="1592"/>
                  </a:cubicBezTo>
                  <a:cubicBezTo>
                    <a:pt x="6906" y="1598"/>
                    <a:pt x="6913" y="1595"/>
                    <a:pt x="6920" y="1597"/>
                  </a:cubicBezTo>
                  <a:cubicBezTo>
                    <a:pt x="6927" y="1598"/>
                    <a:pt x="6928" y="1588"/>
                    <a:pt x="6934" y="1585"/>
                  </a:cubicBezTo>
                  <a:cubicBezTo>
                    <a:pt x="6940" y="1582"/>
                    <a:pt x="6947" y="1587"/>
                    <a:pt x="6957" y="1586"/>
                  </a:cubicBezTo>
                  <a:cubicBezTo>
                    <a:pt x="6968" y="1585"/>
                    <a:pt x="6957" y="1586"/>
                    <a:pt x="6964" y="1586"/>
                  </a:cubicBezTo>
                  <a:cubicBezTo>
                    <a:pt x="6971" y="1586"/>
                    <a:pt x="6979" y="1580"/>
                    <a:pt x="6985" y="1580"/>
                  </a:cubicBezTo>
                  <a:cubicBezTo>
                    <a:pt x="6991" y="1580"/>
                    <a:pt x="6984" y="1592"/>
                    <a:pt x="6984" y="1592"/>
                  </a:cubicBezTo>
                  <a:cubicBezTo>
                    <a:pt x="6972" y="1591"/>
                    <a:pt x="6972" y="1591"/>
                    <a:pt x="6972" y="1591"/>
                  </a:cubicBezTo>
                  <a:cubicBezTo>
                    <a:pt x="6972" y="1591"/>
                    <a:pt x="6965" y="1591"/>
                    <a:pt x="6963" y="1594"/>
                  </a:cubicBezTo>
                  <a:cubicBezTo>
                    <a:pt x="6961" y="1598"/>
                    <a:pt x="6954" y="1599"/>
                    <a:pt x="6954" y="1599"/>
                  </a:cubicBezTo>
                  <a:cubicBezTo>
                    <a:pt x="6943" y="1594"/>
                    <a:pt x="6943" y="1594"/>
                    <a:pt x="6943" y="1594"/>
                  </a:cubicBezTo>
                  <a:cubicBezTo>
                    <a:pt x="6934" y="1597"/>
                    <a:pt x="6934" y="1597"/>
                    <a:pt x="6934" y="1597"/>
                  </a:cubicBezTo>
                  <a:cubicBezTo>
                    <a:pt x="6921" y="1602"/>
                    <a:pt x="6921" y="1602"/>
                    <a:pt x="6921" y="1602"/>
                  </a:cubicBezTo>
                  <a:cubicBezTo>
                    <a:pt x="6921" y="1602"/>
                    <a:pt x="6921" y="1610"/>
                    <a:pt x="6923" y="1614"/>
                  </a:cubicBezTo>
                  <a:cubicBezTo>
                    <a:pt x="6924" y="1617"/>
                    <a:pt x="6926" y="1620"/>
                    <a:pt x="6933" y="1622"/>
                  </a:cubicBezTo>
                  <a:cubicBezTo>
                    <a:pt x="6940" y="1624"/>
                    <a:pt x="6938" y="1623"/>
                    <a:pt x="6943" y="1625"/>
                  </a:cubicBezTo>
                  <a:cubicBezTo>
                    <a:pt x="6949" y="1628"/>
                    <a:pt x="6943" y="1633"/>
                    <a:pt x="6946" y="1640"/>
                  </a:cubicBezTo>
                  <a:cubicBezTo>
                    <a:pt x="6948" y="1647"/>
                    <a:pt x="6950" y="1639"/>
                    <a:pt x="6956" y="1638"/>
                  </a:cubicBezTo>
                  <a:cubicBezTo>
                    <a:pt x="6962" y="1637"/>
                    <a:pt x="6958" y="1628"/>
                    <a:pt x="6962" y="1628"/>
                  </a:cubicBezTo>
                  <a:cubicBezTo>
                    <a:pt x="6965" y="1628"/>
                    <a:pt x="6969" y="1623"/>
                    <a:pt x="6973" y="1625"/>
                  </a:cubicBezTo>
                  <a:cubicBezTo>
                    <a:pt x="6978" y="1628"/>
                    <a:pt x="6977" y="1632"/>
                    <a:pt x="6976" y="1637"/>
                  </a:cubicBezTo>
                  <a:cubicBezTo>
                    <a:pt x="6974" y="1641"/>
                    <a:pt x="6970" y="1643"/>
                    <a:pt x="6966" y="1644"/>
                  </a:cubicBezTo>
                  <a:cubicBezTo>
                    <a:pt x="6963" y="1645"/>
                    <a:pt x="6957" y="1645"/>
                    <a:pt x="6957" y="1645"/>
                  </a:cubicBezTo>
                  <a:cubicBezTo>
                    <a:pt x="6953" y="1653"/>
                    <a:pt x="6953" y="1653"/>
                    <a:pt x="6953" y="1653"/>
                  </a:cubicBezTo>
                  <a:cubicBezTo>
                    <a:pt x="6955" y="1662"/>
                    <a:pt x="6955" y="1662"/>
                    <a:pt x="6955" y="1662"/>
                  </a:cubicBezTo>
                  <a:cubicBezTo>
                    <a:pt x="6955" y="1662"/>
                    <a:pt x="6961" y="1666"/>
                    <a:pt x="6961" y="1670"/>
                  </a:cubicBezTo>
                  <a:cubicBezTo>
                    <a:pt x="6961" y="1675"/>
                    <a:pt x="6966" y="1676"/>
                    <a:pt x="6972" y="1677"/>
                  </a:cubicBezTo>
                  <a:cubicBezTo>
                    <a:pt x="6978" y="1678"/>
                    <a:pt x="6977" y="1673"/>
                    <a:pt x="6987" y="1674"/>
                  </a:cubicBezTo>
                  <a:cubicBezTo>
                    <a:pt x="6991" y="1674"/>
                    <a:pt x="6992" y="1675"/>
                    <a:pt x="7000" y="1675"/>
                  </a:cubicBezTo>
                  <a:cubicBezTo>
                    <a:pt x="7008" y="1675"/>
                    <a:pt x="7000" y="1670"/>
                    <a:pt x="7004" y="1665"/>
                  </a:cubicBezTo>
                  <a:cubicBezTo>
                    <a:pt x="7009" y="1659"/>
                    <a:pt x="7004" y="1652"/>
                    <a:pt x="7008" y="1648"/>
                  </a:cubicBezTo>
                  <a:cubicBezTo>
                    <a:pt x="7011" y="1645"/>
                    <a:pt x="7011" y="1644"/>
                    <a:pt x="7017" y="1646"/>
                  </a:cubicBezTo>
                  <a:cubicBezTo>
                    <a:pt x="7023" y="1648"/>
                    <a:pt x="7017" y="1656"/>
                    <a:pt x="7017" y="1656"/>
                  </a:cubicBezTo>
                  <a:cubicBezTo>
                    <a:pt x="7017" y="1656"/>
                    <a:pt x="7010" y="1662"/>
                    <a:pt x="7012" y="1667"/>
                  </a:cubicBezTo>
                  <a:cubicBezTo>
                    <a:pt x="7015" y="1671"/>
                    <a:pt x="7008" y="1681"/>
                    <a:pt x="7008" y="1681"/>
                  </a:cubicBezTo>
                  <a:cubicBezTo>
                    <a:pt x="7008" y="1681"/>
                    <a:pt x="6996" y="1691"/>
                    <a:pt x="6996" y="1694"/>
                  </a:cubicBezTo>
                  <a:cubicBezTo>
                    <a:pt x="6996" y="1698"/>
                    <a:pt x="7007" y="1700"/>
                    <a:pt x="7012" y="1703"/>
                  </a:cubicBezTo>
                  <a:cubicBezTo>
                    <a:pt x="7018" y="1705"/>
                    <a:pt x="7008" y="1708"/>
                    <a:pt x="7002" y="1708"/>
                  </a:cubicBezTo>
                  <a:cubicBezTo>
                    <a:pt x="6996" y="1708"/>
                    <a:pt x="6991" y="1718"/>
                    <a:pt x="6986" y="1721"/>
                  </a:cubicBezTo>
                  <a:cubicBezTo>
                    <a:pt x="6981" y="1724"/>
                    <a:pt x="6987" y="1730"/>
                    <a:pt x="6995" y="1734"/>
                  </a:cubicBezTo>
                  <a:cubicBezTo>
                    <a:pt x="7003" y="1737"/>
                    <a:pt x="6998" y="1741"/>
                    <a:pt x="6998" y="1745"/>
                  </a:cubicBezTo>
                  <a:cubicBezTo>
                    <a:pt x="6998" y="1750"/>
                    <a:pt x="7003" y="1748"/>
                    <a:pt x="7011" y="1750"/>
                  </a:cubicBezTo>
                  <a:cubicBezTo>
                    <a:pt x="7019" y="1752"/>
                    <a:pt x="7022" y="1743"/>
                    <a:pt x="7025" y="1737"/>
                  </a:cubicBezTo>
                  <a:cubicBezTo>
                    <a:pt x="7029" y="1731"/>
                    <a:pt x="7036" y="1738"/>
                    <a:pt x="7041" y="1739"/>
                  </a:cubicBezTo>
                  <a:cubicBezTo>
                    <a:pt x="7047" y="1741"/>
                    <a:pt x="7048" y="1746"/>
                    <a:pt x="7044" y="1753"/>
                  </a:cubicBezTo>
                  <a:cubicBezTo>
                    <a:pt x="7041" y="1764"/>
                    <a:pt x="7041" y="1764"/>
                    <a:pt x="7041" y="1764"/>
                  </a:cubicBezTo>
                  <a:cubicBezTo>
                    <a:pt x="7032" y="1771"/>
                    <a:pt x="7032" y="1771"/>
                    <a:pt x="7032" y="1771"/>
                  </a:cubicBezTo>
                  <a:cubicBezTo>
                    <a:pt x="7033" y="1787"/>
                    <a:pt x="7033" y="1787"/>
                    <a:pt x="7033" y="1787"/>
                  </a:cubicBezTo>
                  <a:cubicBezTo>
                    <a:pt x="7033" y="1787"/>
                    <a:pt x="7037" y="1797"/>
                    <a:pt x="7046" y="1798"/>
                  </a:cubicBezTo>
                  <a:cubicBezTo>
                    <a:pt x="7055" y="1799"/>
                    <a:pt x="7056" y="1811"/>
                    <a:pt x="7059" y="1814"/>
                  </a:cubicBezTo>
                  <a:cubicBezTo>
                    <a:pt x="7061" y="1818"/>
                    <a:pt x="7066" y="1820"/>
                    <a:pt x="7072" y="1820"/>
                  </a:cubicBezTo>
                  <a:cubicBezTo>
                    <a:pt x="7079" y="1820"/>
                    <a:pt x="7089" y="1826"/>
                    <a:pt x="7089" y="1826"/>
                  </a:cubicBezTo>
                  <a:cubicBezTo>
                    <a:pt x="7093" y="1837"/>
                    <a:pt x="7093" y="1837"/>
                    <a:pt x="7093" y="1837"/>
                  </a:cubicBezTo>
                  <a:cubicBezTo>
                    <a:pt x="7093" y="1837"/>
                    <a:pt x="7112" y="1844"/>
                    <a:pt x="7117" y="1845"/>
                  </a:cubicBezTo>
                  <a:cubicBezTo>
                    <a:pt x="7123" y="1847"/>
                    <a:pt x="7129" y="1847"/>
                    <a:pt x="7133" y="1849"/>
                  </a:cubicBezTo>
                  <a:cubicBezTo>
                    <a:pt x="7138" y="1851"/>
                    <a:pt x="7144" y="1845"/>
                    <a:pt x="7148" y="1845"/>
                  </a:cubicBezTo>
                  <a:cubicBezTo>
                    <a:pt x="7153" y="1845"/>
                    <a:pt x="7157" y="1848"/>
                    <a:pt x="7161" y="1852"/>
                  </a:cubicBezTo>
                  <a:cubicBezTo>
                    <a:pt x="7166" y="1857"/>
                    <a:pt x="7166" y="1851"/>
                    <a:pt x="7173" y="1849"/>
                  </a:cubicBezTo>
                  <a:cubicBezTo>
                    <a:pt x="7180" y="1847"/>
                    <a:pt x="7185" y="1843"/>
                    <a:pt x="7191" y="1840"/>
                  </a:cubicBezTo>
                  <a:cubicBezTo>
                    <a:pt x="7197" y="1836"/>
                    <a:pt x="7198" y="1830"/>
                    <a:pt x="7207" y="1820"/>
                  </a:cubicBezTo>
                  <a:cubicBezTo>
                    <a:pt x="7211" y="1816"/>
                    <a:pt x="7208" y="1814"/>
                    <a:pt x="7208" y="1809"/>
                  </a:cubicBezTo>
                  <a:cubicBezTo>
                    <a:pt x="7208" y="1803"/>
                    <a:pt x="7212" y="1801"/>
                    <a:pt x="7214" y="1796"/>
                  </a:cubicBezTo>
                  <a:cubicBezTo>
                    <a:pt x="7216" y="1791"/>
                    <a:pt x="7214" y="1790"/>
                    <a:pt x="7216" y="1783"/>
                  </a:cubicBezTo>
                  <a:cubicBezTo>
                    <a:pt x="7219" y="1776"/>
                    <a:pt x="7214" y="1773"/>
                    <a:pt x="7214" y="1769"/>
                  </a:cubicBezTo>
                  <a:cubicBezTo>
                    <a:pt x="7214" y="1766"/>
                    <a:pt x="7214" y="1769"/>
                    <a:pt x="7225" y="1769"/>
                  </a:cubicBezTo>
                  <a:cubicBezTo>
                    <a:pt x="7235" y="1769"/>
                    <a:pt x="7230" y="1768"/>
                    <a:pt x="7236" y="1765"/>
                  </a:cubicBezTo>
                  <a:cubicBezTo>
                    <a:pt x="7242" y="1761"/>
                    <a:pt x="7235" y="1759"/>
                    <a:pt x="7235" y="1752"/>
                  </a:cubicBezTo>
                  <a:cubicBezTo>
                    <a:pt x="7235" y="1745"/>
                    <a:pt x="7234" y="1741"/>
                    <a:pt x="7230" y="1741"/>
                  </a:cubicBezTo>
                  <a:cubicBezTo>
                    <a:pt x="7227" y="1741"/>
                    <a:pt x="7225" y="1734"/>
                    <a:pt x="7226" y="1729"/>
                  </a:cubicBezTo>
                  <a:cubicBezTo>
                    <a:pt x="7227" y="1724"/>
                    <a:pt x="7230" y="1724"/>
                    <a:pt x="7241" y="1727"/>
                  </a:cubicBezTo>
                  <a:cubicBezTo>
                    <a:pt x="7245" y="1728"/>
                    <a:pt x="7245" y="1731"/>
                    <a:pt x="7249" y="1737"/>
                  </a:cubicBezTo>
                  <a:cubicBezTo>
                    <a:pt x="7252" y="1743"/>
                    <a:pt x="7248" y="1749"/>
                    <a:pt x="7248" y="1749"/>
                  </a:cubicBezTo>
                  <a:cubicBezTo>
                    <a:pt x="7248" y="1749"/>
                    <a:pt x="7255" y="1757"/>
                    <a:pt x="7257" y="1760"/>
                  </a:cubicBezTo>
                  <a:cubicBezTo>
                    <a:pt x="7259" y="1764"/>
                    <a:pt x="7267" y="1758"/>
                    <a:pt x="7267" y="1758"/>
                  </a:cubicBezTo>
                  <a:cubicBezTo>
                    <a:pt x="7267" y="1758"/>
                    <a:pt x="7268" y="1767"/>
                    <a:pt x="7270" y="1771"/>
                  </a:cubicBezTo>
                  <a:cubicBezTo>
                    <a:pt x="7271" y="1774"/>
                    <a:pt x="7282" y="1775"/>
                    <a:pt x="7282" y="1775"/>
                  </a:cubicBezTo>
                  <a:cubicBezTo>
                    <a:pt x="7288" y="1786"/>
                    <a:pt x="7288" y="1786"/>
                    <a:pt x="7288" y="1786"/>
                  </a:cubicBezTo>
                  <a:cubicBezTo>
                    <a:pt x="7288" y="1786"/>
                    <a:pt x="7294" y="1791"/>
                    <a:pt x="7297" y="1791"/>
                  </a:cubicBezTo>
                  <a:cubicBezTo>
                    <a:pt x="7301" y="1791"/>
                    <a:pt x="7299" y="1798"/>
                    <a:pt x="7299" y="1804"/>
                  </a:cubicBezTo>
                  <a:cubicBezTo>
                    <a:pt x="7299" y="1810"/>
                    <a:pt x="7306" y="1813"/>
                    <a:pt x="7308" y="1817"/>
                  </a:cubicBezTo>
                  <a:cubicBezTo>
                    <a:pt x="7309" y="1820"/>
                    <a:pt x="7316" y="1826"/>
                    <a:pt x="7323" y="1828"/>
                  </a:cubicBezTo>
                  <a:cubicBezTo>
                    <a:pt x="7329" y="1830"/>
                    <a:pt x="7329" y="1830"/>
                    <a:pt x="7334" y="1830"/>
                  </a:cubicBezTo>
                  <a:cubicBezTo>
                    <a:pt x="7339" y="1830"/>
                    <a:pt x="7344" y="1837"/>
                    <a:pt x="7344" y="1837"/>
                  </a:cubicBezTo>
                  <a:cubicBezTo>
                    <a:pt x="7344" y="1837"/>
                    <a:pt x="7346" y="1845"/>
                    <a:pt x="7344" y="1850"/>
                  </a:cubicBezTo>
                  <a:cubicBezTo>
                    <a:pt x="7343" y="1855"/>
                    <a:pt x="7346" y="1860"/>
                    <a:pt x="7351" y="1862"/>
                  </a:cubicBezTo>
                  <a:cubicBezTo>
                    <a:pt x="7357" y="1863"/>
                    <a:pt x="7364" y="1869"/>
                    <a:pt x="7364" y="1869"/>
                  </a:cubicBezTo>
                  <a:cubicBezTo>
                    <a:pt x="7364" y="1869"/>
                    <a:pt x="7370" y="1879"/>
                    <a:pt x="7377" y="1887"/>
                  </a:cubicBezTo>
                  <a:cubicBezTo>
                    <a:pt x="7384" y="1895"/>
                    <a:pt x="7384" y="1893"/>
                    <a:pt x="7388" y="1897"/>
                  </a:cubicBezTo>
                  <a:cubicBezTo>
                    <a:pt x="7393" y="1902"/>
                    <a:pt x="7400" y="1922"/>
                    <a:pt x="7410" y="1930"/>
                  </a:cubicBezTo>
                  <a:cubicBezTo>
                    <a:pt x="7413" y="1932"/>
                    <a:pt x="7417" y="1935"/>
                    <a:pt x="7423" y="1939"/>
                  </a:cubicBezTo>
                  <a:cubicBezTo>
                    <a:pt x="7429" y="1942"/>
                    <a:pt x="7433" y="1945"/>
                    <a:pt x="7434" y="1949"/>
                  </a:cubicBezTo>
                  <a:cubicBezTo>
                    <a:pt x="7435" y="1954"/>
                    <a:pt x="7440" y="1960"/>
                    <a:pt x="7442" y="1964"/>
                  </a:cubicBezTo>
                  <a:cubicBezTo>
                    <a:pt x="7445" y="1969"/>
                    <a:pt x="7453" y="1963"/>
                    <a:pt x="7457" y="1963"/>
                  </a:cubicBezTo>
                  <a:cubicBezTo>
                    <a:pt x="7462" y="1963"/>
                    <a:pt x="7461" y="1972"/>
                    <a:pt x="7460" y="1979"/>
                  </a:cubicBezTo>
                  <a:cubicBezTo>
                    <a:pt x="7459" y="1986"/>
                    <a:pt x="7461" y="1990"/>
                    <a:pt x="7462" y="1994"/>
                  </a:cubicBezTo>
                  <a:cubicBezTo>
                    <a:pt x="7463" y="1999"/>
                    <a:pt x="7462" y="2002"/>
                    <a:pt x="7457" y="2005"/>
                  </a:cubicBezTo>
                  <a:cubicBezTo>
                    <a:pt x="7453" y="2007"/>
                    <a:pt x="7449" y="2005"/>
                    <a:pt x="7445" y="2007"/>
                  </a:cubicBezTo>
                  <a:cubicBezTo>
                    <a:pt x="7440" y="2009"/>
                    <a:pt x="7449" y="2013"/>
                    <a:pt x="7452" y="2016"/>
                  </a:cubicBezTo>
                  <a:cubicBezTo>
                    <a:pt x="7454" y="2019"/>
                    <a:pt x="7447" y="2025"/>
                    <a:pt x="7442" y="2025"/>
                  </a:cubicBezTo>
                  <a:cubicBezTo>
                    <a:pt x="7438" y="2025"/>
                    <a:pt x="7433" y="2013"/>
                    <a:pt x="7431" y="2008"/>
                  </a:cubicBezTo>
                  <a:cubicBezTo>
                    <a:pt x="7429" y="2003"/>
                    <a:pt x="7424" y="2010"/>
                    <a:pt x="7424" y="2010"/>
                  </a:cubicBezTo>
                  <a:cubicBezTo>
                    <a:pt x="7424" y="2010"/>
                    <a:pt x="7422" y="2023"/>
                    <a:pt x="7417" y="2022"/>
                  </a:cubicBezTo>
                  <a:cubicBezTo>
                    <a:pt x="7412" y="2021"/>
                    <a:pt x="7408" y="2023"/>
                    <a:pt x="7405" y="2030"/>
                  </a:cubicBezTo>
                  <a:cubicBezTo>
                    <a:pt x="7403" y="2037"/>
                    <a:pt x="7405" y="2040"/>
                    <a:pt x="7409" y="2047"/>
                  </a:cubicBezTo>
                  <a:cubicBezTo>
                    <a:pt x="7412" y="2054"/>
                    <a:pt x="7414" y="2053"/>
                    <a:pt x="7424" y="2056"/>
                  </a:cubicBezTo>
                  <a:cubicBezTo>
                    <a:pt x="7434" y="2060"/>
                    <a:pt x="7430" y="2068"/>
                    <a:pt x="7430" y="2071"/>
                  </a:cubicBezTo>
                  <a:cubicBezTo>
                    <a:pt x="7430" y="2075"/>
                    <a:pt x="7437" y="2087"/>
                    <a:pt x="7437" y="2087"/>
                  </a:cubicBezTo>
                  <a:cubicBezTo>
                    <a:pt x="7437" y="2087"/>
                    <a:pt x="7445" y="2086"/>
                    <a:pt x="7448" y="2084"/>
                  </a:cubicBezTo>
                  <a:cubicBezTo>
                    <a:pt x="7452" y="2082"/>
                    <a:pt x="7459" y="2085"/>
                    <a:pt x="7459" y="2085"/>
                  </a:cubicBezTo>
                  <a:cubicBezTo>
                    <a:pt x="7469" y="2098"/>
                    <a:pt x="7469" y="2098"/>
                    <a:pt x="7469" y="2098"/>
                  </a:cubicBezTo>
                  <a:cubicBezTo>
                    <a:pt x="7469" y="2098"/>
                    <a:pt x="7468" y="2105"/>
                    <a:pt x="7464" y="2106"/>
                  </a:cubicBezTo>
                  <a:cubicBezTo>
                    <a:pt x="7461" y="2107"/>
                    <a:pt x="7459" y="2101"/>
                    <a:pt x="7449" y="2096"/>
                  </a:cubicBezTo>
                  <a:cubicBezTo>
                    <a:pt x="7446" y="2094"/>
                    <a:pt x="7438" y="2104"/>
                    <a:pt x="7438" y="2104"/>
                  </a:cubicBezTo>
                  <a:cubicBezTo>
                    <a:pt x="7445" y="2116"/>
                    <a:pt x="7445" y="2116"/>
                    <a:pt x="7445" y="2116"/>
                  </a:cubicBezTo>
                  <a:cubicBezTo>
                    <a:pt x="7448" y="2120"/>
                    <a:pt x="7450" y="2117"/>
                    <a:pt x="7454" y="2119"/>
                  </a:cubicBezTo>
                  <a:cubicBezTo>
                    <a:pt x="7457" y="2120"/>
                    <a:pt x="7461" y="2120"/>
                    <a:pt x="7462" y="2126"/>
                  </a:cubicBezTo>
                  <a:cubicBezTo>
                    <a:pt x="7463" y="2131"/>
                    <a:pt x="7467" y="2129"/>
                    <a:pt x="7475" y="2128"/>
                  </a:cubicBezTo>
                  <a:cubicBezTo>
                    <a:pt x="7483" y="2127"/>
                    <a:pt x="7478" y="2123"/>
                    <a:pt x="7480" y="2120"/>
                  </a:cubicBezTo>
                  <a:cubicBezTo>
                    <a:pt x="7483" y="2116"/>
                    <a:pt x="7491" y="2117"/>
                    <a:pt x="7491" y="2117"/>
                  </a:cubicBezTo>
                  <a:cubicBezTo>
                    <a:pt x="7491" y="2117"/>
                    <a:pt x="7498" y="2113"/>
                    <a:pt x="7497" y="2108"/>
                  </a:cubicBezTo>
                  <a:cubicBezTo>
                    <a:pt x="7495" y="2104"/>
                    <a:pt x="7497" y="2101"/>
                    <a:pt x="7493" y="2093"/>
                  </a:cubicBezTo>
                  <a:cubicBezTo>
                    <a:pt x="7490" y="2085"/>
                    <a:pt x="7493" y="2093"/>
                    <a:pt x="7490" y="2089"/>
                  </a:cubicBezTo>
                  <a:cubicBezTo>
                    <a:pt x="7486" y="2084"/>
                    <a:pt x="7491" y="2083"/>
                    <a:pt x="7487" y="2079"/>
                  </a:cubicBezTo>
                  <a:cubicBezTo>
                    <a:pt x="7484" y="2076"/>
                    <a:pt x="7492" y="2073"/>
                    <a:pt x="7491" y="2069"/>
                  </a:cubicBezTo>
                  <a:cubicBezTo>
                    <a:pt x="7490" y="2066"/>
                    <a:pt x="7490" y="2062"/>
                    <a:pt x="7480" y="2054"/>
                  </a:cubicBezTo>
                  <a:cubicBezTo>
                    <a:pt x="7480" y="2054"/>
                    <a:pt x="7486" y="2048"/>
                    <a:pt x="7485" y="2043"/>
                  </a:cubicBezTo>
                  <a:cubicBezTo>
                    <a:pt x="7484" y="2037"/>
                    <a:pt x="7484" y="2037"/>
                    <a:pt x="7477" y="2034"/>
                  </a:cubicBezTo>
                  <a:cubicBezTo>
                    <a:pt x="7470" y="2032"/>
                    <a:pt x="7473" y="2028"/>
                    <a:pt x="7473" y="2021"/>
                  </a:cubicBezTo>
                  <a:cubicBezTo>
                    <a:pt x="7473" y="2014"/>
                    <a:pt x="7479" y="2023"/>
                    <a:pt x="7479" y="2023"/>
                  </a:cubicBezTo>
                  <a:cubicBezTo>
                    <a:pt x="7486" y="2022"/>
                    <a:pt x="7486" y="2022"/>
                    <a:pt x="7486" y="2022"/>
                  </a:cubicBezTo>
                  <a:cubicBezTo>
                    <a:pt x="7486" y="2022"/>
                    <a:pt x="7498" y="2030"/>
                    <a:pt x="7498" y="2034"/>
                  </a:cubicBezTo>
                  <a:cubicBezTo>
                    <a:pt x="7498" y="2039"/>
                    <a:pt x="7507" y="2044"/>
                    <a:pt x="7507" y="2044"/>
                  </a:cubicBezTo>
                  <a:cubicBezTo>
                    <a:pt x="7514" y="2049"/>
                    <a:pt x="7514" y="2049"/>
                    <a:pt x="7514" y="2049"/>
                  </a:cubicBezTo>
                  <a:cubicBezTo>
                    <a:pt x="7514" y="2049"/>
                    <a:pt x="7516" y="2059"/>
                    <a:pt x="7514" y="2063"/>
                  </a:cubicBezTo>
                  <a:cubicBezTo>
                    <a:pt x="7512" y="2068"/>
                    <a:pt x="7523" y="2071"/>
                    <a:pt x="7526" y="2073"/>
                  </a:cubicBezTo>
                  <a:cubicBezTo>
                    <a:pt x="7530" y="2074"/>
                    <a:pt x="7536" y="2063"/>
                    <a:pt x="7540" y="2059"/>
                  </a:cubicBezTo>
                  <a:cubicBezTo>
                    <a:pt x="7545" y="2054"/>
                    <a:pt x="7545" y="2061"/>
                    <a:pt x="7551" y="2066"/>
                  </a:cubicBezTo>
                  <a:cubicBezTo>
                    <a:pt x="7556" y="2070"/>
                    <a:pt x="7561" y="2061"/>
                    <a:pt x="7565" y="2059"/>
                  </a:cubicBezTo>
                  <a:cubicBezTo>
                    <a:pt x="7568" y="2056"/>
                    <a:pt x="7570" y="2053"/>
                    <a:pt x="7566" y="2048"/>
                  </a:cubicBezTo>
                  <a:cubicBezTo>
                    <a:pt x="7561" y="2044"/>
                    <a:pt x="7563" y="2044"/>
                    <a:pt x="7559" y="2043"/>
                  </a:cubicBezTo>
                  <a:cubicBezTo>
                    <a:pt x="7554" y="2041"/>
                    <a:pt x="7561" y="2036"/>
                    <a:pt x="7553" y="2031"/>
                  </a:cubicBezTo>
                  <a:cubicBezTo>
                    <a:pt x="7545" y="2026"/>
                    <a:pt x="7553" y="2031"/>
                    <a:pt x="7545" y="2026"/>
                  </a:cubicBezTo>
                  <a:cubicBezTo>
                    <a:pt x="7545" y="2026"/>
                    <a:pt x="7548" y="2022"/>
                    <a:pt x="7552" y="2018"/>
                  </a:cubicBezTo>
                  <a:cubicBezTo>
                    <a:pt x="7555" y="2015"/>
                    <a:pt x="7556" y="2010"/>
                    <a:pt x="7559" y="2006"/>
                  </a:cubicBezTo>
                  <a:cubicBezTo>
                    <a:pt x="7561" y="2001"/>
                    <a:pt x="7566" y="2007"/>
                    <a:pt x="7566" y="2007"/>
                  </a:cubicBezTo>
                  <a:cubicBezTo>
                    <a:pt x="7566" y="2007"/>
                    <a:pt x="7575" y="2005"/>
                    <a:pt x="7578" y="2005"/>
                  </a:cubicBezTo>
                  <a:cubicBezTo>
                    <a:pt x="7582" y="2005"/>
                    <a:pt x="7585" y="2003"/>
                    <a:pt x="7590" y="2008"/>
                  </a:cubicBezTo>
                  <a:cubicBezTo>
                    <a:pt x="7594" y="2013"/>
                    <a:pt x="7597" y="2008"/>
                    <a:pt x="7606" y="2007"/>
                  </a:cubicBezTo>
                  <a:cubicBezTo>
                    <a:pt x="7615" y="2006"/>
                    <a:pt x="7611" y="1999"/>
                    <a:pt x="7608" y="1992"/>
                  </a:cubicBezTo>
                  <a:cubicBezTo>
                    <a:pt x="7606" y="1985"/>
                    <a:pt x="7613" y="1978"/>
                    <a:pt x="7613" y="1978"/>
                  </a:cubicBezTo>
                  <a:cubicBezTo>
                    <a:pt x="7614" y="1968"/>
                    <a:pt x="7614" y="1953"/>
                    <a:pt x="7608" y="1947"/>
                  </a:cubicBezTo>
                  <a:cubicBezTo>
                    <a:pt x="7603" y="1941"/>
                    <a:pt x="7606" y="1927"/>
                    <a:pt x="7606" y="1927"/>
                  </a:cubicBezTo>
                  <a:cubicBezTo>
                    <a:pt x="7606" y="1927"/>
                    <a:pt x="7598" y="1913"/>
                    <a:pt x="7590" y="1916"/>
                  </a:cubicBezTo>
                  <a:cubicBezTo>
                    <a:pt x="7582" y="1918"/>
                    <a:pt x="7584" y="1907"/>
                    <a:pt x="7581" y="1905"/>
                  </a:cubicBezTo>
                  <a:cubicBezTo>
                    <a:pt x="7577" y="1904"/>
                    <a:pt x="7577" y="1897"/>
                    <a:pt x="7582" y="1887"/>
                  </a:cubicBezTo>
                  <a:cubicBezTo>
                    <a:pt x="7586" y="1877"/>
                    <a:pt x="7578" y="1873"/>
                    <a:pt x="7573" y="1871"/>
                  </a:cubicBezTo>
                  <a:cubicBezTo>
                    <a:pt x="7567" y="1869"/>
                    <a:pt x="7569" y="1858"/>
                    <a:pt x="7565" y="1855"/>
                  </a:cubicBezTo>
                  <a:cubicBezTo>
                    <a:pt x="7560" y="1851"/>
                    <a:pt x="7559" y="1850"/>
                    <a:pt x="7555" y="1844"/>
                  </a:cubicBezTo>
                  <a:cubicBezTo>
                    <a:pt x="7552" y="1839"/>
                    <a:pt x="7545" y="1825"/>
                    <a:pt x="7537" y="1822"/>
                  </a:cubicBezTo>
                  <a:cubicBezTo>
                    <a:pt x="7529" y="1820"/>
                    <a:pt x="7532" y="1814"/>
                    <a:pt x="7530" y="1810"/>
                  </a:cubicBezTo>
                  <a:cubicBezTo>
                    <a:pt x="7528" y="1805"/>
                    <a:pt x="7531" y="1798"/>
                    <a:pt x="7535" y="1798"/>
                  </a:cubicBezTo>
                  <a:cubicBezTo>
                    <a:pt x="7538" y="1798"/>
                    <a:pt x="7550" y="1801"/>
                    <a:pt x="7547" y="1794"/>
                  </a:cubicBezTo>
                  <a:cubicBezTo>
                    <a:pt x="7545" y="1787"/>
                    <a:pt x="7548" y="1784"/>
                    <a:pt x="7553" y="1780"/>
                  </a:cubicBezTo>
                  <a:cubicBezTo>
                    <a:pt x="7558" y="1775"/>
                    <a:pt x="7562" y="1776"/>
                    <a:pt x="7562" y="1776"/>
                  </a:cubicBezTo>
                  <a:cubicBezTo>
                    <a:pt x="7562" y="1776"/>
                    <a:pt x="7568" y="1767"/>
                    <a:pt x="7566" y="1761"/>
                  </a:cubicBezTo>
                  <a:cubicBezTo>
                    <a:pt x="7563" y="1756"/>
                    <a:pt x="7570" y="1753"/>
                    <a:pt x="7569" y="1744"/>
                  </a:cubicBezTo>
                  <a:cubicBezTo>
                    <a:pt x="7568" y="1735"/>
                    <a:pt x="7562" y="1738"/>
                    <a:pt x="7554" y="1733"/>
                  </a:cubicBezTo>
                  <a:cubicBezTo>
                    <a:pt x="7554" y="1733"/>
                    <a:pt x="7556" y="1720"/>
                    <a:pt x="7562" y="1716"/>
                  </a:cubicBezTo>
                  <a:cubicBezTo>
                    <a:pt x="7568" y="1713"/>
                    <a:pt x="7563" y="1704"/>
                    <a:pt x="7558" y="1694"/>
                  </a:cubicBezTo>
                  <a:cubicBezTo>
                    <a:pt x="7552" y="1685"/>
                    <a:pt x="7550" y="1686"/>
                    <a:pt x="7541" y="1686"/>
                  </a:cubicBezTo>
                  <a:cubicBezTo>
                    <a:pt x="7533" y="1686"/>
                    <a:pt x="7543" y="1677"/>
                    <a:pt x="7537" y="1674"/>
                  </a:cubicBezTo>
                  <a:cubicBezTo>
                    <a:pt x="7531" y="1670"/>
                    <a:pt x="7528" y="1667"/>
                    <a:pt x="7517" y="1668"/>
                  </a:cubicBezTo>
                  <a:cubicBezTo>
                    <a:pt x="7507" y="1669"/>
                    <a:pt x="7505" y="1656"/>
                    <a:pt x="7500" y="1652"/>
                  </a:cubicBezTo>
                  <a:cubicBezTo>
                    <a:pt x="7495" y="1647"/>
                    <a:pt x="7486" y="1643"/>
                    <a:pt x="7482" y="1643"/>
                  </a:cubicBezTo>
                  <a:cubicBezTo>
                    <a:pt x="7477" y="1643"/>
                    <a:pt x="7456" y="1635"/>
                    <a:pt x="7448" y="1633"/>
                  </a:cubicBezTo>
                  <a:cubicBezTo>
                    <a:pt x="7440" y="1632"/>
                    <a:pt x="7441" y="1632"/>
                    <a:pt x="7434" y="1629"/>
                  </a:cubicBezTo>
                  <a:cubicBezTo>
                    <a:pt x="7427" y="1625"/>
                    <a:pt x="7432" y="1614"/>
                    <a:pt x="7432" y="1609"/>
                  </a:cubicBezTo>
                  <a:cubicBezTo>
                    <a:pt x="7432" y="1605"/>
                    <a:pt x="7432" y="1597"/>
                    <a:pt x="7430" y="1590"/>
                  </a:cubicBezTo>
                  <a:cubicBezTo>
                    <a:pt x="7427" y="1583"/>
                    <a:pt x="7422" y="1587"/>
                    <a:pt x="7416" y="1587"/>
                  </a:cubicBezTo>
                  <a:cubicBezTo>
                    <a:pt x="7410" y="1587"/>
                    <a:pt x="7414" y="1577"/>
                    <a:pt x="7409" y="1572"/>
                  </a:cubicBezTo>
                  <a:cubicBezTo>
                    <a:pt x="7404" y="1568"/>
                    <a:pt x="7404" y="1565"/>
                    <a:pt x="7397" y="1564"/>
                  </a:cubicBezTo>
                  <a:cubicBezTo>
                    <a:pt x="7391" y="1563"/>
                    <a:pt x="7393" y="1555"/>
                    <a:pt x="7388" y="1552"/>
                  </a:cubicBezTo>
                  <a:cubicBezTo>
                    <a:pt x="7384" y="1548"/>
                    <a:pt x="7388" y="1547"/>
                    <a:pt x="7389" y="1541"/>
                  </a:cubicBezTo>
                  <a:cubicBezTo>
                    <a:pt x="7391" y="1535"/>
                    <a:pt x="7388" y="1529"/>
                    <a:pt x="7385" y="1523"/>
                  </a:cubicBezTo>
                  <a:cubicBezTo>
                    <a:pt x="7381" y="1517"/>
                    <a:pt x="7381" y="1516"/>
                    <a:pt x="7379" y="1511"/>
                  </a:cubicBezTo>
                  <a:cubicBezTo>
                    <a:pt x="7377" y="1507"/>
                    <a:pt x="7376" y="1505"/>
                    <a:pt x="7371" y="1504"/>
                  </a:cubicBezTo>
                  <a:cubicBezTo>
                    <a:pt x="7366" y="1503"/>
                    <a:pt x="7365" y="1501"/>
                    <a:pt x="7358" y="1500"/>
                  </a:cubicBezTo>
                  <a:cubicBezTo>
                    <a:pt x="7351" y="1499"/>
                    <a:pt x="7359" y="1492"/>
                    <a:pt x="7361" y="1488"/>
                  </a:cubicBezTo>
                  <a:cubicBezTo>
                    <a:pt x="7362" y="1485"/>
                    <a:pt x="7362" y="1478"/>
                    <a:pt x="7356" y="1476"/>
                  </a:cubicBezTo>
                  <a:cubicBezTo>
                    <a:pt x="7350" y="1473"/>
                    <a:pt x="7356" y="1463"/>
                    <a:pt x="7356" y="1463"/>
                  </a:cubicBezTo>
                  <a:cubicBezTo>
                    <a:pt x="7362" y="1449"/>
                    <a:pt x="7362" y="1449"/>
                    <a:pt x="7362" y="1449"/>
                  </a:cubicBezTo>
                  <a:cubicBezTo>
                    <a:pt x="7362" y="1449"/>
                    <a:pt x="7362" y="1435"/>
                    <a:pt x="7357" y="1432"/>
                  </a:cubicBezTo>
                  <a:cubicBezTo>
                    <a:pt x="7352" y="1428"/>
                    <a:pt x="7358" y="1424"/>
                    <a:pt x="7359" y="1420"/>
                  </a:cubicBezTo>
                  <a:cubicBezTo>
                    <a:pt x="7361" y="1417"/>
                    <a:pt x="7365" y="1411"/>
                    <a:pt x="7365" y="1411"/>
                  </a:cubicBezTo>
                  <a:cubicBezTo>
                    <a:pt x="7373" y="1401"/>
                    <a:pt x="7373" y="1401"/>
                    <a:pt x="7373" y="1401"/>
                  </a:cubicBezTo>
                  <a:cubicBezTo>
                    <a:pt x="7373" y="1401"/>
                    <a:pt x="7379" y="1397"/>
                    <a:pt x="7386" y="1396"/>
                  </a:cubicBezTo>
                  <a:cubicBezTo>
                    <a:pt x="7393" y="1395"/>
                    <a:pt x="7388" y="1384"/>
                    <a:pt x="7393" y="1382"/>
                  </a:cubicBezTo>
                  <a:cubicBezTo>
                    <a:pt x="7397" y="1380"/>
                    <a:pt x="7389" y="1371"/>
                    <a:pt x="7391" y="1365"/>
                  </a:cubicBezTo>
                  <a:cubicBezTo>
                    <a:pt x="7392" y="1359"/>
                    <a:pt x="7392" y="1358"/>
                    <a:pt x="7387" y="1355"/>
                  </a:cubicBezTo>
                  <a:cubicBezTo>
                    <a:pt x="7382" y="1351"/>
                    <a:pt x="7382" y="1348"/>
                    <a:pt x="7378" y="1348"/>
                  </a:cubicBezTo>
                  <a:cubicBezTo>
                    <a:pt x="7373" y="1348"/>
                    <a:pt x="7377" y="1341"/>
                    <a:pt x="7378" y="1329"/>
                  </a:cubicBezTo>
                  <a:cubicBezTo>
                    <a:pt x="7379" y="1318"/>
                    <a:pt x="7369" y="1315"/>
                    <a:pt x="7369" y="1315"/>
                  </a:cubicBezTo>
                  <a:cubicBezTo>
                    <a:pt x="7369" y="1315"/>
                    <a:pt x="7364" y="1311"/>
                    <a:pt x="7361" y="1311"/>
                  </a:cubicBezTo>
                  <a:cubicBezTo>
                    <a:pt x="7357" y="1311"/>
                    <a:pt x="7348" y="1305"/>
                    <a:pt x="7348" y="1305"/>
                  </a:cubicBezTo>
                  <a:cubicBezTo>
                    <a:pt x="7348" y="1305"/>
                    <a:pt x="7347" y="1292"/>
                    <a:pt x="7343" y="1291"/>
                  </a:cubicBezTo>
                  <a:cubicBezTo>
                    <a:pt x="7340" y="1290"/>
                    <a:pt x="7335" y="1282"/>
                    <a:pt x="7335" y="1282"/>
                  </a:cubicBezTo>
                  <a:cubicBezTo>
                    <a:pt x="7335" y="1282"/>
                    <a:pt x="7332" y="1272"/>
                    <a:pt x="7334" y="1266"/>
                  </a:cubicBezTo>
                  <a:cubicBezTo>
                    <a:pt x="7336" y="1260"/>
                    <a:pt x="7332" y="1258"/>
                    <a:pt x="7321" y="1253"/>
                  </a:cubicBezTo>
                  <a:cubicBezTo>
                    <a:pt x="7311" y="1248"/>
                    <a:pt x="7314" y="1243"/>
                    <a:pt x="7317" y="1232"/>
                  </a:cubicBezTo>
                  <a:cubicBezTo>
                    <a:pt x="7319" y="1222"/>
                    <a:pt x="7319" y="1222"/>
                    <a:pt x="7332" y="1222"/>
                  </a:cubicBezTo>
                  <a:cubicBezTo>
                    <a:pt x="7344" y="1222"/>
                    <a:pt x="7352" y="1212"/>
                    <a:pt x="7356" y="1214"/>
                  </a:cubicBezTo>
                  <a:cubicBezTo>
                    <a:pt x="7359" y="1216"/>
                    <a:pt x="7365" y="1217"/>
                    <a:pt x="7367" y="1225"/>
                  </a:cubicBezTo>
                  <a:cubicBezTo>
                    <a:pt x="7370" y="1234"/>
                    <a:pt x="7376" y="1228"/>
                    <a:pt x="7385" y="1229"/>
                  </a:cubicBezTo>
                  <a:cubicBezTo>
                    <a:pt x="7394" y="1230"/>
                    <a:pt x="7392" y="1230"/>
                    <a:pt x="7395" y="1234"/>
                  </a:cubicBezTo>
                  <a:cubicBezTo>
                    <a:pt x="7399" y="1237"/>
                    <a:pt x="7401" y="1238"/>
                    <a:pt x="7410" y="1244"/>
                  </a:cubicBezTo>
                  <a:cubicBezTo>
                    <a:pt x="7419" y="1250"/>
                    <a:pt x="7419" y="1250"/>
                    <a:pt x="7424" y="1255"/>
                  </a:cubicBezTo>
                  <a:cubicBezTo>
                    <a:pt x="7429" y="1261"/>
                    <a:pt x="7427" y="1267"/>
                    <a:pt x="7430" y="1273"/>
                  </a:cubicBezTo>
                  <a:cubicBezTo>
                    <a:pt x="7432" y="1278"/>
                    <a:pt x="7437" y="1272"/>
                    <a:pt x="7446" y="1274"/>
                  </a:cubicBezTo>
                  <a:cubicBezTo>
                    <a:pt x="7455" y="1276"/>
                    <a:pt x="7446" y="1280"/>
                    <a:pt x="7445" y="1285"/>
                  </a:cubicBezTo>
                  <a:cubicBezTo>
                    <a:pt x="7444" y="1291"/>
                    <a:pt x="7435" y="1296"/>
                    <a:pt x="7435" y="1296"/>
                  </a:cubicBezTo>
                  <a:cubicBezTo>
                    <a:pt x="7435" y="1296"/>
                    <a:pt x="7437" y="1304"/>
                    <a:pt x="7440" y="1307"/>
                  </a:cubicBezTo>
                  <a:cubicBezTo>
                    <a:pt x="7444" y="1311"/>
                    <a:pt x="7445" y="1315"/>
                    <a:pt x="7450" y="1319"/>
                  </a:cubicBezTo>
                  <a:cubicBezTo>
                    <a:pt x="7456" y="1322"/>
                    <a:pt x="7453" y="1325"/>
                    <a:pt x="7457" y="1331"/>
                  </a:cubicBezTo>
                  <a:cubicBezTo>
                    <a:pt x="7462" y="1338"/>
                    <a:pt x="7459" y="1343"/>
                    <a:pt x="7459" y="1353"/>
                  </a:cubicBezTo>
                  <a:cubicBezTo>
                    <a:pt x="7459" y="1364"/>
                    <a:pt x="7455" y="1366"/>
                    <a:pt x="7455" y="1372"/>
                  </a:cubicBezTo>
                  <a:cubicBezTo>
                    <a:pt x="7455" y="1378"/>
                    <a:pt x="7454" y="1380"/>
                    <a:pt x="7450" y="1384"/>
                  </a:cubicBezTo>
                  <a:cubicBezTo>
                    <a:pt x="7447" y="1389"/>
                    <a:pt x="7449" y="1390"/>
                    <a:pt x="7449" y="1396"/>
                  </a:cubicBezTo>
                  <a:cubicBezTo>
                    <a:pt x="7449" y="1402"/>
                    <a:pt x="7456" y="1399"/>
                    <a:pt x="7461" y="1401"/>
                  </a:cubicBezTo>
                  <a:cubicBezTo>
                    <a:pt x="7465" y="1402"/>
                    <a:pt x="7460" y="1413"/>
                    <a:pt x="7460" y="1413"/>
                  </a:cubicBezTo>
                  <a:cubicBezTo>
                    <a:pt x="7460" y="1413"/>
                    <a:pt x="7453" y="1412"/>
                    <a:pt x="7448" y="1409"/>
                  </a:cubicBezTo>
                  <a:cubicBezTo>
                    <a:pt x="7444" y="1405"/>
                    <a:pt x="7441" y="1410"/>
                    <a:pt x="7440" y="1413"/>
                  </a:cubicBezTo>
                  <a:cubicBezTo>
                    <a:pt x="7439" y="1417"/>
                    <a:pt x="7437" y="1419"/>
                    <a:pt x="7439" y="1424"/>
                  </a:cubicBezTo>
                  <a:cubicBezTo>
                    <a:pt x="7441" y="1428"/>
                    <a:pt x="7442" y="1433"/>
                    <a:pt x="7452" y="1440"/>
                  </a:cubicBezTo>
                  <a:cubicBezTo>
                    <a:pt x="7455" y="1455"/>
                    <a:pt x="7455" y="1455"/>
                    <a:pt x="7455" y="1455"/>
                  </a:cubicBezTo>
                  <a:cubicBezTo>
                    <a:pt x="7455" y="1455"/>
                    <a:pt x="7463" y="1459"/>
                    <a:pt x="7467" y="1464"/>
                  </a:cubicBezTo>
                  <a:cubicBezTo>
                    <a:pt x="7470" y="1469"/>
                    <a:pt x="7469" y="1471"/>
                    <a:pt x="7471" y="1474"/>
                  </a:cubicBezTo>
                  <a:cubicBezTo>
                    <a:pt x="7473" y="1478"/>
                    <a:pt x="7476" y="1482"/>
                    <a:pt x="7478" y="1489"/>
                  </a:cubicBezTo>
                  <a:cubicBezTo>
                    <a:pt x="7480" y="1496"/>
                    <a:pt x="7482" y="1495"/>
                    <a:pt x="7486" y="1500"/>
                  </a:cubicBezTo>
                  <a:cubicBezTo>
                    <a:pt x="7491" y="1504"/>
                    <a:pt x="7494" y="1504"/>
                    <a:pt x="7503" y="1507"/>
                  </a:cubicBezTo>
                  <a:cubicBezTo>
                    <a:pt x="7513" y="1509"/>
                    <a:pt x="7507" y="1518"/>
                    <a:pt x="7509" y="1525"/>
                  </a:cubicBezTo>
                  <a:cubicBezTo>
                    <a:pt x="7512" y="1532"/>
                    <a:pt x="7520" y="1538"/>
                    <a:pt x="7525" y="1542"/>
                  </a:cubicBezTo>
                  <a:cubicBezTo>
                    <a:pt x="7531" y="1547"/>
                    <a:pt x="7531" y="1554"/>
                    <a:pt x="7538" y="1557"/>
                  </a:cubicBezTo>
                  <a:cubicBezTo>
                    <a:pt x="7545" y="1561"/>
                    <a:pt x="7544" y="1565"/>
                    <a:pt x="7548" y="1570"/>
                  </a:cubicBezTo>
                  <a:cubicBezTo>
                    <a:pt x="7553" y="1575"/>
                    <a:pt x="7551" y="1582"/>
                    <a:pt x="7561" y="1585"/>
                  </a:cubicBezTo>
                  <a:cubicBezTo>
                    <a:pt x="7571" y="1588"/>
                    <a:pt x="7573" y="1588"/>
                    <a:pt x="7576" y="1594"/>
                  </a:cubicBezTo>
                  <a:cubicBezTo>
                    <a:pt x="7580" y="1600"/>
                    <a:pt x="7590" y="1633"/>
                    <a:pt x="7590" y="1633"/>
                  </a:cubicBezTo>
                  <a:cubicBezTo>
                    <a:pt x="7590" y="1633"/>
                    <a:pt x="7601" y="1639"/>
                    <a:pt x="7609" y="1642"/>
                  </a:cubicBezTo>
                  <a:cubicBezTo>
                    <a:pt x="7616" y="1646"/>
                    <a:pt x="7623" y="1648"/>
                    <a:pt x="7631" y="1650"/>
                  </a:cubicBezTo>
                  <a:cubicBezTo>
                    <a:pt x="7638" y="1652"/>
                    <a:pt x="7636" y="1661"/>
                    <a:pt x="7643" y="1668"/>
                  </a:cubicBezTo>
                  <a:cubicBezTo>
                    <a:pt x="7651" y="1675"/>
                    <a:pt x="7651" y="1673"/>
                    <a:pt x="7658" y="1675"/>
                  </a:cubicBezTo>
                  <a:cubicBezTo>
                    <a:pt x="7665" y="1677"/>
                    <a:pt x="7669" y="1675"/>
                    <a:pt x="7669" y="1675"/>
                  </a:cubicBezTo>
                  <a:cubicBezTo>
                    <a:pt x="7669" y="1675"/>
                    <a:pt x="7685" y="1679"/>
                    <a:pt x="7687" y="1686"/>
                  </a:cubicBezTo>
                  <a:cubicBezTo>
                    <a:pt x="7689" y="1694"/>
                    <a:pt x="7700" y="1688"/>
                    <a:pt x="7707" y="1688"/>
                  </a:cubicBezTo>
                  <a:cubicBezTo>
                    <a:pt x="7715" y="1688"/>
                    <a:pt x="7720" y="1684"/>
                    <a:pt x="7720" y="1684"/>
                  </a:cubicBezTo>
                  <a:cubicBezTo>
                    <a:pt x="7720" y="1684"/>
                    <a:pt x="7729" y="1681"/>
                    <a:pt x="7738" y="1675"/>
                  </a:cubicBezTo>
                  <a:cubicBezTo>
                    <a:pt x="7747" y="1670"/>
                    <a:pt x="7747" y="1668"/>
                    <a:pt x="7757" y="1657"/>
                  </a:cubicBezTo>
                  <a:cubicBezTo>
                    <a:pt x="7766" y="1646"/>
                    <a:pt x="7769" y="1648"/>
                    <a:pt x="7769" y="1648"/>
                  </a:cubicBezTo>
                  <a:cubicBezTo>
                    <a:pt x="7769" y="1648"/>
                    <a:pt x="7777" y="1653"/>
                    <a:pt x="7782" y="1653"/>
                  </a:cubicBezTo>
                  <a:cubicBezTo>
                    <a:pt x="7788" y="1653"/>
                    <a:pt x="7802" y="1642"/>
                    <a:pt x="7815" y="1633"/>
                  </a:cubicBezTo>
                  <a:cubicBezTo>
                    <a:pt x="7815" y="1633"/>
                    <a:pt x="7824" y="1644"/>
                    <a:pt x="7826" y="1652"/>
                  </a:cubicBezTo>
                  <a:cubicBezTo>
                    <a:pt x="7828" y="1659"/>
                    <a:pt x="7839" y="1653"/>
                    <a:pt x="7841" y="1659"/>
                  </a:cubicBezTo>
                  <a:cubicBezTo>
                    <a:pt x="7842" y="1664"/>
                    <a:pt x="7844" y="1672"/>
                    <a:pt x="7859" y="1675"/>
                  </a:cubicBezTo>
                  <a:cubicBezTo>
                    <a:pt x="7873" y="1679"/>
                    <a:pt x="7894" y="1677"/>
                    <a:pt x="7894" y="1677"/>
                  </a:cubicBezTo>
                  <a:cubicBezTo>
                    <a:pt x="7894" y="1677"/>
                    <a:pt x="7887" y="1683"/>
                    <a:pt x="7882" y="1686"/>
                  </a:cubicBezTo>
                  <a:cubicBezTo>
                    <a:pt x="7878" y="1690"/>
                    <a:pt x="7878" y="1688"/>
                    <a:pt x="7874" y="1688"/>
                  </a:cubicBezTo>
                  <a:cubicBezTo>
                    <a:pt x="7871" y="1688"/>
                    <a:pt x="7861" y="1696"/>
                    <a:pt x="7861" y="1696"/>
                  </a:cubicBezTo>
                  <a:cubicBezTo>
                    <a:pt x="7861" y="1696"/>
                    <a:pt x="7858" y="1704"/>
                    <a:pt x="7857" y="1708"/>
                  </a:cubicBezTo>
                  <a:cubicBezTo>
                    <a:pt x="7856" y="1711"/>
                    <a:pt x="7860" y="1712"/>
                    <a:pt x="7866" y="1717"/>
                  </a:cubicBezTo>
                  <a:cubicBezTo>
                    <a:pt x="7873" y="1721"/>
                    <a:pt x="7868" y="1727"/>
                    <a:pt x="7868" y="1727"/>
                  </a:cubicBezTo>
                  <a:cubicBezTo>
                    <a:pt x="7868" y="1727"/>
                    <a:pt x="7857" y="1731"/>
                    <a:pt x="7853" y="1729"/>
                  </a:cubicBezTo>
                  <a:cubicBezTo>
                    <a:pt x="7848" y="1728"/>
                    <a:pt x="7843" y="1732"/>
                    <a:pt x="7843" y="1732"/>
                  </a:cubicBezTo>
                  <a:cubicBezTo>
                    <a:pt x="7827" y="1731"/>
                    <a:pt x="7827" y="1731"/>
                    <a:pt x="7827" y="1731"/>
                  </a:cubicBezTo>
                  <a:cubicBezTo>
                    <a:pt x="7827" y="1731"/>
                    <a:pt x="7822" y="1726"/>
                    <a:pt x="7821" y="1720"/>
                  </a:cubicBezTo>
                  <a:cubicBezTo>
                    <a:pt x="7820" y="1715"/>
                    <a:pt x="7815" y="1718"/>
                    <a:pt x="7814" y="1713"/>
                  </a:cubicBezTo>
                  <a:cubicBezTo>
                    <a:pt x="7813" y="1709"/>
                    <a:pt x="7802" y="1713"/>
                    <a:pt x="7795" y="1715"/>
                  </a:cubicBezTo>
                  <a:cubicBezTo>
                    <a:pt x="7788" y="1716"/>
                    <a:pt x="7781" y="1720"/>
                    <a:pt x="7773" y="1725"/>
                  </a:cubicBezTo>
                  <a:cubicBezTo>
                    <a:pt x="7765" y="1729"/>
                    <a:pt x="7763" y="1727"/>
                    <a:pt x="7760" y="1732"/>
                  </a:cubicBezTo>
                  <a:cubicBezTo>
                    <a:pt x="7756" y="1736"/>
                    <a:pt x="7756" y="1738"/>
                    <a:pt x="7760" y="1749"/>
                  </a:cubicBezTo>
                  <a:cubicBezTo>
                    <a:pt x="7763" y="1759"/>
                    <a:pt x="7750" y="1752"/>
                    <a:pt x="7746" y="1753"/>
                  </a:cubicBezTo>
                  <a:cubicBezTo>
                    <a:pt x="7741" y="1754"/>
                    <a:pt x="7741" y="1756"/>
                    <a:pt x="7741" y="1760"/>
                  </a:cubicBezTo>
                  <a:cubicBezTo>
                    <a:pt x="7741" y="1765"/>
                    <a:pt x="7753" y="1769"/>
                    <a:pt x="7757" y="1774"/>
                  </a:cubicBezTo>
                  <a:cubicBezTo>
                    <a:pt x="7762" y="1778"/>
                    <a:pt x="7762" y="1778"/>
                    <a:pt x="7763" y="1784"/>
                  </a:cubicBezTo>
                  <a:cubicBezTo>
                    <a:pt x="7764" y="1790"/>
                    <a:pt x="7766" y="1792"/>
                    <a:pt x="7772" y="1795"/>
                  </a:cubicBezTo>
                  <a:cubicBezTo>
                    <a:pt x="7778" y="1799"/>
                    <a:pt x="7778" y="1804"/>
                    <a:pt x="7779" y="1809"/>
                  </a:cubicBezTo>
                  <a:cubicBezTo>
                    <a:pt x="7780" y="1814"/>
                    <a:pt x="7781" y="1818"/>
                    <a:pt x="7786" y="1820"/>
                  </a:cubicBezTo>
                  <a:cubicBezTo>
                    <a:pt x="7790" y="1823"/>
                    <a:pt x="7797" y="1825"/>
                    <a:pt x="7803" y="1825"/>
                  </a:cubicBezTo>
                  <a:cubicBezTo>
                    <a:pt x="7808" y="1825"/>
                    <a:pt x="7813" y="1826"/>
                    <a:pt x="7819" y="1827"/>
                  </a:cubicBezTo>
                  <a:cubicBezTo>
                    <a:pt x="7824" y="1828"/>
                    <a:pt x="7822" y="1839"/>
                    <a:pt x="7825" y="1841"/>
                  </a:cubicBezTo>
                  <a:cubicBezTo>
                    <a:pt x="7829" y="1843"/>
                    <a:pt x="7829" y="1845"/>
                    <a:pt x="7833" y="1849"/>
                  </a:cubicBezTo>
                  <a:cubicBezTo>
                    <a:pt x="7838" y="1852"/>
                    <a:pt x="7838" y="1856"/>
                    <a:pt x="7843" y="1864"/>
                  </a:cubicBezTo>
                  <a:cubicBezTo>
                    <a:pt x="7847" y="1872"/>
                    <a:pt x="7849" y="1873"/>
                    <a:pt x="7852" y="1878"/>
                  </a:cubicBezTo>
                  <a:cubicBezTo>
                    <a:pt x="7854" y="1884"/>
                    <a:pt x="7856" y="1886"/>
                    <a:pt x="7858" y="1893"/>
                  </a:cubicBezTo>
                  <a:cubicBezTo>
                    <a:pt x="7861" y="1900"/>
                    <a:pt x="7865" y="1898"/>
                    <a:pt x="7869" y="1901"/>
                  </a:cubicBezTo>
                  <a:cubicBezTo>
                    <a:pt x="7872" y="1905"/>
                    <a:pt x="7868" y="1910"/>
                    <a:pt x="7866" y="1916"/>
                  </a:cubicBezTo>
                  <a:cubicBezTo>
                    <a:pt x="7865" y="1922"/>
                    <a:pt x="7863" y="1925"/>
                    <a:pt x="7862" y="1928"/>
                  </a:cubicBezTo>
                  <a:cubicBezTo>
                    <a:pt x="7861" y="1932"/>
                    <a:pt x="7849" y="1924"/>
                    <a:pt x="7844" y="1923"/>
                  </a:cubicBezTo>
                  <a:cubicBezTo>
                    <a:pt x="7838" y="1922"/>
                    <a:pt x="7837" y="1916"/>
                    <a:pt x="7835" y="1911"/>
                  </a:cubicBezTo>
                  <a:cubicBezTo>
                    <a:pt x="7832" y="1907"/>
                    <a:pt x="7827" y="1905"/>
                    <a:pt x="7823" y="1901"/>
                  </a:cubicBezTo>
                  <a:cubicBezTo>
                    <a:pt x="7820" y="1898"/>
                    <a:pt x="7822" y="1897"/>
                    <a:pt x="7811" y="1894"/>
                  </a:cubicBezTo>
                  <a:cubicBezTo>
                    <a:pt x="7799" y="1892"/>
                    <a:pt x="7800" y="1891"/>
                    <a:pt x="7796" y="1876"/>
                  </a:cubicBezTo>
                  <a:cubicBezTo>
                    <a:pt x="7791" y="1861"/>
                    <a:pt x="7790" y="1865"/>
                    <a:pt x="7786" y="1862"/>
                  </a:cubicBezTo>
                  <a:cubicBezTo>
                    <a:pt x="7781" y="1860"/>
                    <a:pt x="7775" y="1873"/>
                    <a:pt x="7775" y="1873"/>
                  </a:cubicBezTo>
                  <a:cubicBezTo>
                    <a:pt x="7775" y="1873"/>
                    <a:pt x="7764" y="1889"/>
                    <a:pt x="7764" y="1893"/>
                  </a:cubicBezTo>
                  <a:cubicBezTo>
                    <a:pt x="7764" y="1898"/>
                    <a:pt x="7763" y="1915"/>
                    <a:pt x="7763" y="1920"/>
                  </a:cubicBezTo>
                  <a:cubicBezTo>
                    <a:pt x="7763" y="1926"/>
                    <a:pt x="7770" y="1925"/>
                    <a:pt x="7774" y="1928"/>
                  </a:cubicBezTo>
                  <a:cubicBezTo>
                    <a:pt x="7779" y="1932"/>
                    <a:pt x="7774" y="1941"/>
                    <a:pt x="7775" y="1948"/>
                  </a:cubicBezTo>
                  <a:cubicBezTo>
                    <a:pt x="7777" y="1955"/>
                    <a:pt x="7774" y="1960"/>
                    <a:pt x="7772" y="1967"/>
                  </a:cubicBezTo>
                  <a:cubicBezTo>
                    <a:pt x="7770" y="1974"/>
                    <a:pt x="7786" y="1982"/>
                    <a:pt x="7792" y="1986"/>
                  </a:cubicBezTo>
                  <a:cubicBezTo>
                    <a:pt x="7799" y="1991"/>
                    <a:pt x="7797" y="2003"/>
                    <a:pt x="7802" y="2006"/>
                  </a:cubicBezTo>
                  <a:cubicBezTo>
                    <a:pt x="7806" y="2008"/>
                    <a:pt x="7811" y="2016"/>
                    <a:pt x="7814" y="2017"/>
                  </a:cubicBezTo>
                  <a:cubicBezTo>
                    <a:pt x="7818" y="2018"/>
                    <a:pt x="7825" y="2028"/>
                    <a:pt x="7829" y="2035"/>
                  </a:cubicBezTo>
                  <a:cubicBezTo>
                    <a:pt x="7832" y="2042"/>
                    <a:pt x="7837" y="2051"/>
                    <a:pt x="7841" y="2057"/>
                  </a:cubicBezTo>
                  <a:cubicBezTo>
                    <a:pt x="7846" y="2063"/>
                    <a:pt x="7847" y="2067"/>
                    <a:pt x="7852" y="2073"/>
                  </a:cubicBezTo>
                  <a:cubicBezTo>
                    <a:pt x="7856" y="2079"/>
                    <a:pt x="7864" y="2084"/>
                    <a:pt x="7865" y="2091"/>
                  </a:cubicBezTo>
                  <a:cubicBezTo>
                    <a:pt x="7866" y="2098"/>
                    <a:pt x="7861" y="2099"/>
                    <a:pt x="7855" y="2101"/>
                  </a:cubicBezTo>
                  <a:cubicBezTo>
                    <a:pt x="7849" y="2104"/>
                    <a:pt x="7845" y="2102"/>
                    <a:pt x="7841" y="2098"/>
                  </a:cubicBezTo>
                  <a:cubicBezTo>
                    <a:pt x="7838" y="2093"/>
                    <a:pt x="7835" y="2098"/>
                    <a:pt x="7828" y="2099"/>
                  </a:cubicBezTo>
                  <a:cubicBezTo>
                    <a:pt x="7821" y="2100"/>
                    <a:pt x="7807" y="2100"/>
                    <a:pt x="7807" y="2100"/>
                  </a:cubicBezTo>
                  <a:cubicBezTo>
                    <a:pt x="7807" y="2100"/>
                    <a:pt x="7808" y="2109"/>
                    <a:pt x="7812" y="2112"/>
                  </a:cubicBezTo>
                  <a:cubicBezTo>
                    <a:pt x="7815" y="2114"/>
                    <a:pt x="7823" y="2117"/>
                    <a:pt x="7828" y="2118"/>
                  </a:cubicBezTo>
                  <a:cubicBezTo>
                    <a:pt x="7832" y="2119"/>
                    <a:pt x="7823" y="2130"/>
                    <a:pt x="7820" y="2135"/>
                  </a:cubicBezTo>
                  <a:cubicBezTo>
                    <a:pt x="7816" y="2141"/>
                    <a:pt x="7815" y="2139"/>
                    <a:pt x="7813" y="2142"/>
                  </a:cubicBezTo>
                  <a:cubicBezTo>
                    <a:pt x="7811" y="2146"/>
                    <a:pt x="7802" y="2145"/>
                    <a:pt x="7794" y="2145"/>
                  </a:cubicBezTo>
                  <a:cubicBezTo>
                    <a:pt x="7786" y="2145"/>
                    <a:pt x="7787" y="2138"/>
                    <a:pt x="7782" y="2137"/>
                  </a:cubicBezTo>
                  <a:cubicBezTo>
                    <a:pt x="7778" y="2135"/>
                    <a:pt x="7778" y="2126"/>
                    <a:pt x="7779" y="2123"/>
                  </a:cubicBezTo>
                  <a:cubicBezTo>
                    <a:pt x="7780" y="2119"/>
                    <a:pt x="7773" y="2115"/>
                    <a:pt x="7772" y="2110"/>
                  </a:cubicBezTo>
                  <a:cubicBezTo>
                    <a:pt x="7771" y="2106"/>
                    <a:pt x="7766" y="2102"/>
                    <a:pt x="7766" y="2102"/>
                  </a:cubicBezTo>
                  <a:cubicBezTo>
                    <a:pt x="7766" y="2102"/>
                    <a:pt x="7758" y="2102"/>
                    <a:pt x="7750" y="2105"/>
                  </a:cubicBezTo>
                  <a:cubicBezTo>
                    <a:pt x="7742" y="2107"/>
                    <a:pt x="7738" y="2104"/>
                    <a:pt x="7730" y="2106"/>
                  </a:cubicBezTo>
                  <a:cubicBezTo>
                    <a:pt x="7722" y="2108"/>
                    <a:pt x="7721" y="2106"/>
                    <a:pt x="7717" y="2112"/>
                  </a:cubicBezTo>
                  <a:cubicBezTo>
                    <a:pt x="7714" y="2117"/>
                    <a:pt x="7709" y="2121"/>
                    <a:pt x="7704" y="2125"/>
                  </a:cubicBezTo>
                  <a:cubicBezTo>
                    <a:pt x="7698" y="2130"/>
                    <a:pt x="7694" y="2126"/>
                    <a:pt x="7694" y="2126"/>
                  </a:cubicBezTo>
                  <a:cubicBezTo>
                    <a:pt x="7694" y="2126"/>
                    <a:pt x="7688" y="2134"/>
                    <a:pt x="7689" y="2141"/>
                  </a:cubicBezTo>
                  <a:cubicBezTo>
                    <a:pt x="7690" y="2148"/>
                    <a:pt x="7691" y="2148"/>
                    <a:pt x="7690" y="2152"/>
                  </a:cubicBezTo>
                  <a:cubicBezTo>
                    <a:pt x="7689" y="2157"/>
                    <a:pt x="7682" y="2155"/>
                    <a:pt x="7678" y="2157"/>
                  </a:cubicBezTo>
                  <a:cubicBezTo>
                    <a:pt x="7673" y="2159"/>
                    <a:pt x="7665" y="2164"/>
                    <a:pt x="7657" y="2168"/>
                  </a:cubicBezTo>
                  <a:cubicBezTo>
                    <a:pt x="7649" y="2173"/>
                    <a:pt x="7647" y="2168"/>
                    <a:pt x="7643" y="2172"/>
                  </a:cubicBezTo>
                  <a:cubicBezTo>
                    <a:pt x="7640" y="2175"/>
                    <a:pt x="7633" y="2177"/>
                    <a:pt x="7630" y="2184"/>
                  </a:cubicBezTo>
                  <a:cubicBezTo>
                    <a:pt x="7626" y="2191"/>
                    <a:pt x="7618" y="2188"/>
                    <a:pt x="7618" y="2188"/>
                  </a:cubicBezTo>
                  <a:cubicBezTo>
                    <a:pt x="7618" y="2188"/>
                    <a:pt x="7614" y="2184"/>
                    <a:pt x="7612" y="2179"/>
                  </a:cubicBezTo>
                  <a:cubicBezTo>
                    <a:pt x="7609" y="2173"/>
                    <a:pt x="7598" y="2167"/>
                    <a:pt x="7595" y="2164"/>
                  </a:cubicBezTo>
                  <a:cubicBezTo>
                    <a:pt x="7591" y="2160"/>
                    <a:pt x="7589" y="2160"/>
                    <a:pt x="7578" y="2160"/>
                  </a:cubicBezTo>
                  <a:cubicBezTo>
                    <a:pt x="7566" y="2160"/>
                    <a:pt x="7567" y="2158"/>
                    <a:pt x="7563" y="2156"/>
                  </a:cubicBezTo>
                  <a:cubicBezTo>
                    <a:pt x="7558" y="2154"/>
                    <a:pt x="7560" y="2149"/>
                    <a:pt x="7558" y="2145"/>
                  </a:cubicBezTo>
                  <a:cubicBezTo>
                    <a:pt x="7556" y="2140"/>
                    <a:pt x="7550" y="2142"/>
                    <a:pt x="7543" y="2141"/>
                  </a:cubicBezTo>
                  <a:cubicBezTo>
                    <a:pt x="7537" y="2140"/>
                    <a:pt x="7534" y="2142"/>
                    <a:pt x="7529" y="2143"/>
                  </a:cubicBezTo>
                  <a:cubicBezTo>
                    <a:pt x="7523" y="2145"/>
                    <a:pt x="7520" y="2147"/>
                    <a:pt x="7517" y="2157"/>
                  </a:cubicBezTo>
                  <a:cubicBezTo>
                    <a:pt x="7515" y="2167"/>
                    <a:pt x="7509" y="2158"/>
                    <a:pt x="7506" y="2163"/>
                  </a:cubicBezTo>
                  <a:cubicBezTo>
                    <a:pt x="7502" y="2167"/>
                    <a:pt x="7502" y="2171"/>
                    <a:pt x="7499" y="2175"/>
                  </a:cubicBezTo>
                  <a:cubicBezTo>
                    <a:pt x="7496" y="2180"/>
                    <a:pt x="7488" y="2183"/>
                    <a:pt x="7481" y="2182"/>
                  </a:cubicBezTo>
                  <a:cubicBezTo>
                    <a:pt x="7474" y="2181"/>
                    <a:pt x="7469" y="2177"/>
                    <a:pt x="7469" y="2177"/>
                  </a:cubicBezTo>
                  <a:cubicBezTo>
                    <a:pt x="7471" y="2158"/>
                    <a:pt x="7471" y="2158"/>
                    <a:pt x="7471" y="2158"/>
                  </a:cubicBezTo>
                  <a:cubicBezTo>
                    <a:pt x="7471" y="2158"/>
                    <a:pt x="7467" y="2152"/>
                    <a:pt x="7462" y="2145"/>
                  </a:cubicBezTo>
                  <a:cubicBezTo>
                    <a:pt x="7462" y="2145"/>
                    <a:pt x="7456" y="2145"/>
                    <a:pt x="7452" y="2146"/>
                  </a:cubicBezTo>
                  <a:cubicBezTo>
                    <a:pt x="7449" y="2147"/>
                    <a:pt x="7447" y="2143"/>
                    <a:pt x="7442" y="2142"/>
                  </a:cubicBezTo>
                  <a:cubicBezTo>
                    <a:pt x="7438" y="2141"/>
                    <a:pt x="7430" y="2143"/>
                    <a:pt x="7430" y="2143"/>
                  </a:cubicBezTo>
                  <a:cubicBezTo>
                    <a:pt x="7421" y="2139"/>
                    <a:pt x="7421" y="2139"/>
                    <a:pt x="7421" y="2139"/>
                  </a:cubicBezTo>
                  <a:cubicBezTo>
                    <a:pt x="7421" y="2139"/>
                    <a:pt x="7422" y="2130"/>
                    <a:pt x="7419" y="2124"/>
                  </a:cubicBezTo>
                  <a:cubicBezTo>
                    <a:pt x="7417" y="2118"/>
                    <a:pt x="7410" y="2124"/>
                    <a:pt x="7407" y="2118"/>
                  </a:cubicBezTo>
                  <a:cubicBezTo>
                    <a:pt x="7404" y="2113"/>
                    <a:pt x="7399" y="2112"/>
                    <a:pt x="7399" y="2112"/>
                  </a:cubicBezTo>
                  <a:cubicBezTo>
                    <a:pt x="7399" y="2112"/>
                    <a:pt x="7392" y="2106"/>
                    <a:pt x="7388" y="2102"/>
                  </a:cubicBezTo>
                  <a:cubicBezTo>
                    <a:pt x="7383" y="2099"/>
                    <a:pt x="7383" y="2098"/>
                    <a:pt x="7375" y="2096"/>
                  </a:cubicBezTo>
                  <a:cubicBezTo>
                    <a:pt x="7367" y="2093"/>
                    <a:pt x="7375" y="2096"/>
                    <a:pt x="7368" y="2094"/>
                  </a:cubicBezTo>
                  <a:cubicBezTo>
                    <a:pt x="7361" y="2093"/>
                    <a:pt x="7369" y="2090"/>
                    <a:pt x="7364" y="2076"/>
                  </a:cubicBezTo>
                  <a:cubicBezTo>
                    <a:pt x="7358" y="2063"/>
                    <a:pt x="7355" y="2061"/>
                    <a:pt x="7355" y="2061"/>
                  </a:cubicBezTo>
                  <a:cubicBezTo>
                    <a:pt x="7373" y="2067"/>
                    <a:pt x="7373" y="2067"/>
                    <a:pt x="7373" y="2067"/>
                  </a:cubicBezTo>
                  <a:cubicBezTo>
                    <a:pt x="7373" y="2067"/>
                    <a:pt x="7373" y="2067"/>
                    <a:pt x="7374" y="2072"/>
                  </a:cubicBezTo>
                  <a:cubicBezTo>
                    <a:pt x="7375" y="2076"/>
                    <a:pt x="7383" y="2084"/>
                    <a:pt x="7388" y="2084"/>
                  </a:cubicBezTo>
                  <a:cubicBezTo>
                    <a:pt x="7392" y="2084"/>
                    <a:pt x="7402" y="2091"/>
                    <a:pt x="7406" y="2097"/>
                  </a:cubicBezTo>
                  <a:cubicBezTo>
                    <a:pt x="7409" y="2102"/>
                    <a:pt x="7418" y="2104"/>
                    <a:pt x="7423" y="2101"/>
                  </a:cubicBezTo>
                  <a:cubicBezTo>
                    <a:pt x="7427" y="2099"/>
                    <a:pt x="7421" y="2096"/>
                    <a:pt x="7421" y="2092"/>
                  </a:cubicBezTo>
                  <a:cubicBezTo>
                    <a:pt x="7421" y="2077"/>
                    <a:pt x="7421" y="2077"/>
                    <a:pt x="7421" y="2077"/>
                  </a:cubicBezTo>
                  <a:cubicBezTo>
                    <a:pt x="7421" y="2071"/>
                    <a:pt x="7417" y="2069"/>
                    <a:pt x="7411" y="2063"/>
                  </a:cubicBezTo>
                  <a:cubicBezTo>
                    <a:pt x="7406" y="2056"/>
                    <a:pt x="7411" y="2063"/>
                    <a:pt x="7408" y="2059"/>
                  </a:cubicBezTo>
                  <a:cubicBezTo>
                    <a:pt x="7405" y="2056"/>
                    <a:pt x="7402" y="2055"/>
                    <a:pt x="7399" y="2052"/>
                  </a:cubicBezTo>
                  <a:cubicBezTo>
                    <a:pt x="7396" y="2050"/>
                    <a:pt x="7388" y="2049"/>
                    <a:pt x="7380" y="2049"/>
                  </a:cubicBezTo>
                  <a:cubicBezTo>
                    <a:pt x="7372" y="2049"/>
                    <a:pt x="7371" y="2047"/>
                    <a:pt x="7367" y="2042"/>
                  </a:cubicBezTo>
                  <a:cubicBezTo>
                    <a:pt x="7364" y="2038"/>
                    <a:pt x="7357" y="2034"/>
                    <a:pt x="7357" y="2034"/>
                  </a:cubicBezTo>
                  <a:cubicBezTo>
                    <a:pt x="7357" y="2034"/>
                    <a:pt x="7360" y="2026"/>
                    <a:pt x="7364" y="2022"/>
                  </a:cubicBezTo>
                  <a:cubicBezTo>
                    <a:pt x="7367" y="2017"/>
                    <a:pt x="7364" y="2016"/>
                    <a:pt x="7366" y="2011"/>
                  </a:cubicBezTo>
                  <a:cubicBezTo>
                    <a:pt x="7368" y="2007"/>
                    <a:pt x="7368" y="2006"/>
                    <a:pt x="7376" y="2003"/>
                  </a:cubicBezTo>
                  <a:cubicBezTo>
                    <a:pt x="7384" y="2001"/>
                    <a:pt x="7381" y="1993"/>
                    <a:pt x="7384" y="1991"/>
                  </a:cubicBezTo>
                  <a:cubicBezTo>
                    <a:pt x="7388" y="1989"/>
                    <a:pt x="7390" y="1980"/>
                    <a:pt x="7390" y="1972"/>
                  </a:cubicBezTo>
                  <a:cubicBezTo>
                    <a:pt x="7390" y="1964"/>
                    <a:pt x="7384" y="1967"/>
                    <a:pt x="7375" y="1972"/>
                  </a:cubicBezTo>
                  <a:cubicBezTo>
                    <a:pt x="7366" y="1976"/>
                    <a:pt x="7365" y="1969"/>
                    <a:pt x="7358" y="1968"/>
                  </a:cubicBezTo>
                  <a:cubicBezTo>
                    <a:pt x="7351" y="1967"/>
                    <a:pt x="7348" y="1958"/>
                    <a:pt x="7347" y="1953"/>
                  </a:cubicBezTo>
                  <a:cubicBezTo>
                    <a:pt x="7346" y="1949"/>
                    <a:pt x="7341" y="1938"/>
                    <a:pt x="7341" y="1931"/>
                  </a:cubicBezTo>
                  <a:cubicBezTo>
                    <a:pt x="7341" y="1924"/>
                    <a:pt x="7336" y="1927"/>
                    <a:pt x="7336" y="1917"/>
                  </a:cubicBezTo>
                  <a:cubicBezTo>
                    <a:pt x="7336" y="1907"/>
                    <a:pt x="7336" y="1917"/>
                    <a:pt x="7335" y="1907"/>
                  </a:cubicBezTo>
                  <a:cubicBezTo>
                    <a:pt x="7334" y="1897"/>
                    <a:pt x="7323" y="1899"/>
                    <a:pt x="7319" y="1892"/>
                  </a:cubicBezTo>
                  <a:cubicBezTo>
                    <a:pt x="7316" y="1885"/>
                    <a:pt x="7318" y="1884"/>
                    <a:pt x="7320" y="1874"/>
                  </a:cubicBezTo>
                  <a:cubicBezTo>
                    <a:pt x="7323" y="1864"/>
                    <a:pt x="7308" y="1869"/>
                    <a:pt x="7303" y="1866"/>
                  </a:cubicBezTo>
                  <a:cubicBezTo>
                    <a:pt x="7299" y="1862"/>
                    <a:pt x="7297" y="1867"/>
                    <a:pt x="7297" y="1873"/>
                  </a:cubicBezTo>
                  <a:cubicBezTo>
                    <a:pt x="7297" y="1878"/>
                    <a:pt x="7294" y="1878"/>
                    <a:pt x="7290" y="1882"/>
                  </a:cubicBezTo>
                  <a:cubicBezTo>
                    <a:pt x="7285" y="1885"/>
                    <a:pt x="7281" y="1890"/>
                    <a:pt x="7281" y="1898"/>
                  </a:cubicBezTo>
                  <a:cubicBezTo>
                    <a:pt x="7281" y="1906"/>
                    <a:pt x="7282" y="1902"/>
                    <a:pt x="7280" y="1914"/>
                  </a:cubicBezTo>
                  <a:cubicBezTo>
                    <a:pt x="7277" y="1925"/>
                    <a:pt x="7274" y="1917"/>
                    <a:pt x="7269" y="1916"/>
                  </a:cubicBezTo>
                  <a:cubicBezTo>
                    <a:pt x="7265" y="1915"/>
                    <a:pt x="7265" y="1916"/>
                    <a:pt x="7260" y="1916"/>
                  </a:cubicBezTo>
                  <a:cubicBezTo>
                    <a:pt x="7256" y="1916"/>
                    <a:pt x="7249" y="1920"/>
                    <a:pt x="7244" y="1928"/>
                  </a:cubicBezTo>
                  <a:cubicBezTo>
                    <a:pt x="7243" y="1932"/>
                    <a:pt x="7243" y="1939"/>
                    <a:pt x="7243" y="1945"/>
                  </a:cubicBezTo>
                  <a:cubicBezTo>
                    <a:pt x="7243" y="1952"/>
                    <a:pt x="7244" y="1951"/>
                    <a:pt x="7248" y="1952"/>
                  </a:cubicBezTo>
                  <a:cubicBezTo>
                    <a:pt x="7251" y="1953"/>
                    <a:pt x="7258" y="1948"/>
                    <a:pt x="7259" y="1944"/>
                  </a:cubicBezTo>
                  <a:cubicBezTo>
                    <a:pt x="7260" y="1941"/>
                    <a:pt x="7265" y="1936"/>
                    <a:pt x="7265" y="1936"/>
                  </a:cubicBezTo>
                  <a:cubicBezTo>
                    <a:pt x="7265" y="1936"/>
                    <a:pt x="7272" y="1932"/>
                    <a:pt x="7280" y="1935"/>
                  </a:cubicBezTo>
                  <a:cubicBezTo>
                    <a:pt x="7288" y="1939"/>
                    <a:pt x="7280" y="1935"/>
                    <a:pt x="7286" y="1941"/>
                  </a:cubicBezTo>
                  <a:cubicBezTo>
                    <a:pt x="7293" y="1947"/>
                    <a:pt x="7288" y="1949"/>
                    <a:pt x="7288" y="1949"/>
                  </a:cubicBezTo>
                  <a:cubicBezTo>
                    <a:pt x="7288" y="1949"/>
                    <a:pt x="7278" y="1947"/>
                    <a:pt x="7272" y="1947"/>
                  </a:cubicBezTo>
                  <a:cubicBezTo>
                    <a:pt x="7265" y="1947"/>
                    <a:pt x="7272" y="1955"/>
                    <a:pt x="7270" y="1958"/>
                  </a:cubicBezTo>
                  <a:cubicBezTo>
                    <a:pt x="7269" y="1961"/>
                    <a:pt x="7265" y="1961"/>
                    <a:pt x="7259" y="1958"/>
                  </a:cubicBezTo>
                  <a:cubicBezTo>
                    <a:pt x="7253" y="1955"/>
                    <a:pt x="7249" y="1957"/>
                    <a:pt x="7243" y="1963"/>
                  </a:cubicBezTo>
                  <a:cubicBezTo>
                    <a:pt x="7237" y="1968"/>
                    <a:pt x="7243" y="1963"/>
                    <a:pt x="7249" y="1973"/>
                  </a:cubicBezTo>
                  <a:cubicBezTo>
                    <a:pt x="7255" y="1983"/>
                    <a:pt x="7248" y="1984"/>
                    <a:pt x="7248" y="1992"/>
                  </a:cubicBezTo>
                  <a:cubicBezTo>
                    <a:pt x="7248" y="2000"/>
                    <a:pt x="7249" y="2005"/>
                    <a:pt x="7256" y="2009"/>
                  </a:cubicBezTo>
                  <a:cubicBezTo>
                    <a:pt x="7262" y="2014"/>
                    <a:pt x="7259" y="2014"/>
                    <a:pt x="7268" y="2019"/>
                  </a:cubicBezTo>
                  <a:cubicBezTo>
                    <a:pt x="7277" y="2025"/>
                    <a:pt x="7273" y="2032"/>
                    <a:pt x="7272" y="2038"/>
                  </a:cubicBezTo>
                  <a:cubicBezTo>
                    <a:pt x="7270" y="2043"/>
                    <a:pt x="7282" y="2055"/>
                    <a:pt x="7291" y="2056"/>
                  </a:cubicBezTo>
                  <a:cubicBezTo>
                    <a:pt x="7300" y="2057"/>
                    <a:pt x="7294" y="2065"/>
                    <a:pt x="7302" y="2071"/>
                  </a:cubicBezTo>
                  <a:cubicBezTo>
                    <a:pt x="7310" y="2076"/>
                    <a:pt x="7308" y="2077"/>
                    <a:pt x="7318" y="2080"/>
                  </a:cubicBezTo>
                  <a:cubicBezTo>
                    <a:pt x="7328" y="2082"/>
                    <a:pt x="7322" y="2087"/>
                    <a:pt x="7319" y="2093"/>
                  </a:cubicBezTo>
                  <a:cubicBezTo>
                    <a:pt x="7317" y="2100"/>
                    <a:pt x="7315" y="2102"/>
                    <a:pt x="7315" y="2107"/>
                  </a:cubicBezTo>
                  <a:cubicBezTo>
                    <a:pt x="7315" y="2112"/>
                    <a:pt x="7317" y="2112"/>
                    <a:pt x="7331" y="2109"/>
                  </a:cubicBezTo>
                  <a:cubicBezTo>
                    <a:pt x="7344" y="2107"/>
                    <a:pt x="7339" y="2113"/>
                    <a:pt x="7344" y="2115"/>
                  </a:cubicBezTo>
                  <a:cubicBezTo>
                    <a:pt x="7350" y="2117"/>
                    <a:pt x="7346" y="2123"/>
                    <a:pt x="7346" y="2127"/>
                  </a:cubicBezTo>
                  <a:cubicBezTo>
                    <a:pt x="7346" y="2132"/>
                    <a:pt x="7348" y="2139"/>
                    <a:pt x="7346" y="2152"/>
                  </a:cubicBezTo>
                  <a:cubicBezTo>
                    <a:pt x="7343" y="2166"/>
                    <a:pt x="7349" y="2160"/>
                    <a:pt x="7356" y="2160"/>
                  </a:cubicBezTo>
                  <a:cubicBezTo>
                    <a:pt x="7363" y="2160"/>
                    <a:pt x="7361" y="2168"/>
                    <a:pt x="7368" y="2171"/>
                  </a:cubicBezTo>
                  <a:cubicBezTo>
                    <a:pt x="7375" y="2173"/>
                    <a:pt x="7371" y="2182"/>
                    <a:pt x="7369" y="2185"/>
                  </a:cubicBezTo>
                  <a:cubicBezTo>
                    <a:pt x="7368" y="2189"/>
                    <a:pt x="7363" y="2192"/>
                    <a:pt x="7365" y="2200"/>
                  </a:cubicBezTo>
                  <a:cubicBezTo>
                    <a:pt x="7367" y="2208"/>
                    <a:pt x="7365" y="2208"/>
                    <a:pt x="7361" y="2210"/>
                  </a:cubicBezTo>
                  <a:cubicBezTo>
                    <a:pt x="7358" y="2213"/>
                    <a:pt x="7350" y="2207"/>
                    <a:pt x="7340" y="2197"/>
                  </a:cubicBezTo>
                  <a:cubicBezTo>
                    <a:pt x="7337" y="2194"/>
                    <a:pt x="7333" y="2195"/>
                    <a:pt x="7328" y="2195"/>
                  </a:cubicBezTo>
                  <a:cubicBezTo>
                    <a:pt x="7324" y="2195"/>
                    <a:pt x="7322" y="2190"/>
                    <a:pt x="7318" y="2189"/>
                  </a:cubicBezTo>
                  <a:cubicBezTo>
                    <a:pt x="7315" y="2188"/>
                    <a:pt x="7310" y="2197"/>
                    <a:pt x="7308" y="2205"/>
                  </a:cubicBezTo>
                  <a:cubicBezTo>
                    <a:pt x="7306" y="2213"/>
                    <a:pt x="7307" y="2221"/>
                    <a:pt x="7302" y="2223"/>
                  </a:cubicBezTo>
                  <a:cubicBezTo>
                    <a:pt x="7298" y="2225"/>
                    <a:pt x="7295" y="2220"/>
                    <a:pt x="7290" y="2220"/>
                  </a:cubicBezTo>
                  <a:cubicBezTo>
                    <a:pt x="7284" y="2220"/>
                    <a:pt x="7270" y="2217"/>
                    <a:pt x="7270" y="2217"/>
                  </a:cubicBezTo>
                  <a:cubicBezTo>
                    <a:pt x="7248" y="2222"/>
                    <a:pt x="7248" y="2222"/>
                    <a:pt x="7248" y="2222"/>
                  </a:cubicBezTo>
                  <a:cubicBezTo>
                    <a:pt x="7248" y="2222"/>
                    <a:pt x="7248" y="2222"/>
                    <a:pt x="7240" y="2232"/>
                  </a:cubicBezTo>
                  <a:cubicBezTo>
                    <a:pt x="7232" y="2242"/>
                    <a:pt x="7233" y="2243"/>
                    <a:pt x="7230" y="2254"/>
                  </a:cubicBezTo>
                  <a:cubicBezTo>
                    <a:pt x="7226" y="2264"/>
                    <a:pt x="7223" y="2263"/>
                    <a:pt x="7218" y="2261"/>
                  </a:cubicBezTo>
                  <a:cubicBezTo>
                    <a:pt x="7214" y="2258"/>
                    <a:pt x="7208" y="2262"/>
                    <a:pt x="7204" y="2265"/>
                  </a:cubicBezTo>
                  <a:cubicBezTo>
                    <a:pt x="7201" y="2268"/>
                    <a:pt x="7203" y="2271"/>
                    <a:pt x="7209" y="2279"/>
                  </a:cubicBezTo>
                  <a:cubicBezTo>
                    <a:pt x="7215" y="2287"/>
                    <a:pt x="7206" y="2292"/>
                    <a:pt x="7211" y="2300"/>
                  </a:cubicBezTo>
                  <a:cubicBezTo>
                    <a:pt x="7217" y="2308"/>
                    <a:pt x="7209" y="2315"/>
                    <a:pt x="7209" y="2321"/>
                  </a:cubicBezTo>
                  <a:cubicBezTo>
                    <a:pt x="7209" y="2326"/>
                    <a:pt x="7206" y="2334"/>
                    <a:pt x="7202" y="2339"/>
                  </a:cubicBezTo>
                  <a:cubicBezTo>
                    <a:pt x="7199" y="2344"/>
                    <a:pt x="7198" y="2345"/>
                    <a:pt x="7197" y="2348"/>
                  </a:cubicBezTo>
                  <a:cubicBezTo>
                    <a:pt x="7195" y="2352"/>
                    <a:pt x="7203" y="2357"/>
                    <a:pt x="7203" y="2365"/>
                  </a:cubicBezTo>
                  <a:cubicBezTo>
                    <a:pt x="7203" y="2373"/>
                    <a:pt x="7203" y="2365"/>
                    <a:pt x="7198" y="2372"/>
                  </a:cubicBezTo>
                  <a:cubicBezTo>
                    <a:pt x="7192" y="2379"/>
                    <a:pt x="7192" y="2370"/>
                    <a:pt x="7190" y="2366"/>
                  </a:cubicBezTo>
                  <a:cubicBezTo>
                    <a:pt x="7187" y="2363"/>
                    <a:pt x="7179" y="2366"/>
                    <a:pt x="7179" y="2366"/>
                  </a:cubicBezTo>
                  <a:cubicBezTo>
                    <a:pt x="7179" y="2366"/>
                    <a:pt x="7182" y="2377"/>
                    <a:pt x="7184" y="2386"/>
                  </a:cubicBezTo>
                  <a:cubicBezTo>
                    <a:pt x="7186" y="2395"/>
                    <a:pt x="7178" y="2394"/>
                    <a:pt x="7174" y="2394"/>
                  </a:cubicBezTo>
                  <a:cubicBezTo>
                    <a:pt x="7169" y="2394"/>
                    <a:pt x="7164" y="2394"/>
                    <a:pt x="7160" y="2396"/>
                  </a:cubicBezTo>
                  <a:cubicBezTo>
                    <a:pt x="7157" y="2398"/>
                    <a:pt x="7152" y="2403"/>
                    <a:pt x="7151" y="2413"/>
                  </a:cubicBezTo>
                  <a:cubicBezTo>
                    <a:pt x="7150" y="2423"/>
                    <a:pt x="7136" y="2420"/>
                    <a:pt x="7124" y="2420"/>
                  </a:cubicBezTo>
                  <a:cubicBezTo>
                    <a:pt x="7111" y="2420"/>
                    <a:pt x="7108" y="2425"/>
                    <a:pt x="7101" y="2431"/>
                  </a:cubicBezTo>
                  <a:cubicBezTo>
                    <a:pt x="7094" y="2437"/>
                    <a:pt x="7100" y="2457"/>
                    <a:pt x="7100" y="2457"/>
                  </a:cubicBezTo>
                  <a:cubicBezTo>
                    <a:pt x="7100" y="2457"/>
                    <a:pt x="7104" y="2469"/>
                    <a:pt x="7104" y="2477"/>
                  </a:cubicBezTo>
                  <a:cubicBezTo>
                    <a:pt x="7104" y="2485"/>
                    <a:pt x="7109" y="2485"/>
                    <a:pt x="7109" y="2485"/>
                  </a:cubicBezTo>
                  <a:cubicBezTo>
                    <a:pt x="7109" y="2485"/>
                    <a:pt x="7110" y="2489"/>
                    <a:pt x="7102" y="2498"/>
                  </a:cubicBezTo>
                  <a:cubicBezTo>
                    <a:pt x="7094" y="2507"/>
                    <a:pt x="7093" y="2502"/>
                    <a:pt x="7087" y="2504"/>
                  </a:cubicBezTo>
                  <a:cubicBezTo>
                    <a:pt x="7082" y="2506"/>
                    <a:pt x="7086" y="2512"/>
                    <a:pt x="7086" y="2512"/>
                  </a:cubicBezTo>
                  <a:cubicBezTo>
                    <a:pt x="7086" y="2512"/>
                    <a:pt x="7079" y="2516"/>
                    <a:pt x="7071" y="2518"/>
                  </a:cubicBezTo>
                  <a:cubicBezTo>
                    <a:pt x="7063" y="2519"/>
                    <a:pt x="7063" y="2522"/>
                    <a:pt x="7058" y="2524"/>
                  </a:cubicBezTo>
                  <a:cubicBezTo>
                    <a:pt x="7052" y="2527"/>
                    <a:pt x="7054" y="2529"/>
                    <a:pt x="7053" y="2533"/>
                  </a:cubicBezTo>
                  <a:cubicBezTo>
                    <a:pt x="7052" y="2538"/>
                    <a:pt x="7055" y="2540"/>
                    <a:pt x="7058" y="2546"/>
                  </a:cubicBezTo>
                  <a:cubicBezTo>
                    <a:pt x="7060" y="2552"/>
                    <a:pt x="7059" y="2553"/>
                    <a:pt x="7055" y="2554"/>
                  </a:cubicBezTo>
                  <a:cubicBezTo>
                    <a:pt x="7052" y="2555"/>
                    <a:pt x="7051" y="2556"/>
                    <a:pt x="7042" y="2555"/>
                  </a:cubicBezTo>
                  <a:cubicBezTo>
                    <a:pt x="7033" y="2554"/>
                    <a:pt x="7032" y="2558"/>
                    <a:pt x="7025" y="2561"/>
                  </a:cubicBezTo>
                  <a:cubicBezTo>
                    <a:pt x="7018" y="2563"/>
                    <a:pt x="7015" y="2560"/>
                    <a:pt x="7008" y="2560"/>
                  </a:cubicBezTo>
                  <a:cubicBezTo>
                    <a:pt x="7001" y="2560"/>
                    <a:pt x="7000" y="2557"/>
                    <a:pt x="6995" y="2557"/>
                  </a:cubicBezTo>
                  <a:cubicBezTo>
                    <a:pt x="6991" y="2557"/>
                    <a:pt x="6991" y="2553"/>
                    <a:pt x="6988" y="2546"/>
                  </a:cubicBezTo>
                  <a:cubicBezTo>
                    <a:pt x="6986" y="2539"/>
                    <a:pt x="6979" y="2540"/>
                    <a:pt x="6980" y="2536"/>
                  </a:cubicBezTo>
                  <a:cubicBezTo>
                    <a:pt x="6982" y="2531"/>
                    <a:pt x="6975" y="2533"/>
                    <a:pt x="6971" y="2532"/>
                  </a:cubicBezTo>
                  <a:cubicBezTo>
                    <a:pt x="6968" y="2531"/>
                    <a:pt x="6960" y="2532"/>
                    <a:pt x="6955" y="2533"/>
                  </a:cubicBezTo>
                  <a:cubicBezTo>
                    <a:pt x="6951" y="2535"/>
                    <a:pt x="6944" y="2532"/>
                    <a:pt x="6934" y="2531"/>
                  </a:cubicBezTo>
                  <a:cubicBezTo>
                    <a:pt x="6924" y="2530"/>
                    <a:pt x="6929" y="2537"/>
                    <a:pt x="6937" y="2546"/>
                  </a:cubicBezTo>
                  <a:cubicBezTo>
                    <a:pt x="6940" y="2549"/>
                    <a:pt x="6941" y="2551"/>
                    <a:pt x="6947" y="2557"/>
                  </a:cubicBezTo>
                  <a:cubicBezTo>
                    <a:pt x="6954" y="2564"/>
                    <a:pt x="6947" y="2557"/>
                    <a:pt x="6951" y="2564"/>
                  </a:cubicBezTo>
                  <a:cubicBezTo>
                    <a:pt x="6954" y="2571"/>
                    <a:pt x="6962" y="2577"/>
                    <a:pt x="6962" y="2577"/>
                  </a:cubicBezTo>
                  <a:cubicBezTo>
                    <a:pt x="6962" y="2577"/>
                    <a:pt x="6967" y="2581"/>
                    <a:pt x="6969" y="2587"/>
                  </a:cubicBezTo>
                  <a:cubicBezTo>
                    <a:pt x="6971" y="2593"/>
                    <a:pt x="6975" y="2598"/>
                    <a:pt x="6975" y="2598"/>
                  </a:cubicBezTo>
                  <a:cubicBezTo>
                    <a:pt x="6975" y="2598"/>
                    <a:pt x="6980" y="2610"/>
                    <a:pt x="6977" y="2616"/>
                  </a:cubicBezTo>
                  <a:cubicBezTo>
                    <a:pt x="6974" y="2623"/>
                    <a:pt x="6977" y="2616"/>
                    <a:pt x="6971" y="2618"/>
                  </a:cubicBezTo>
                  <a:cubicBezTo>
                    <a:pt x="6966" y="2619"/>
                    <a:pt x="6963" y="2619"/>
                    <a:pt x="6954" y="2616"/>
                  </a:cubicBezTo>
                  <a:cubicBezTo>
                    <a:pt x="6945" y="2614"/>
                    <a:pt x="6944" y="2616"/>
                    <a:pt x="6939" y="2615"/>
                  </a:cubicBezTo>
                  <a:cubicBezTo>
                    <a:pt x="6935" y="2614"/>
                    <a:pt x="6934" y="2616"/>
                    <a:pt x="6930" y="2616"/>
                  </a:cubicBezTo>
                  <a:cubicBezTo>
                    <a:pt x="6927" y="2616"/>
                    <a:pt x="6925" y="2621"/>
                    <a:pt x="6919" y="2622"/>
                  </a:cubicBezTo>
                  <a:cubicBezTo>
                    <a:pt x="6913" y="2623"/>
                    <a:pt x="6908" y="2619"/>
                    <a:pt x="6908" y="2619"/>
                  </a:cubicBezTo>
                  <a:cubicBezTo>
                    <a:pt x="6908" y="2619"/>
                    <a:pt x="6903" y="2613"/>
                    <a:pt x="6905" y="2605"/>
                  </a:cubicBezTo>
                  <a:cubicBezTo>
                    <a:pt x="6908" y="2597"/>
                    <a:pt x="6892" y="2597"/>
                    <a:pt x="6892" y="2597"/>
                  </a:cubicBezTo>
                  <a:cubicBezTo>
                    <a:pt x="6875" y="2595"/>
                    <a:pt x="6875" y="2595"/>
                    <a:pt x="6875" y="2595"/>
                  </a:cubicBezTo>
                  <a:cubicBezTo>
                    <a:pt x="6863" y="2605"/>
                    <a:pt x="6863" y="2605"/>
                    <a:pt x="6863" y="2605"/>
                  </a:cubicBezTo>
                  <a:cubicBezTo>
                    <a:pt x="6852" y="2613"/>
                    <a:pt x="6852" y="2613"/>
                    <a:pt x="6852" y="2613"/>
                  </a:cubicBezTo>
                  <a:cubicBezTo>
                    <a:pt x="6838" y="2609"/>
                    <a:pt x="6838" y="2609"/>
                    <a:pt x="6838" y="2609"/>
                  </a:cubicBezTo>
                  <a:cubicBezTo>
                    <a:pt x="6838" y="2609"/>
                    <a:pt x="6827" y="2607"/>
                    <a:pt x="6823" y="2607"/>
                  </a:cubicBezTo>
                  <a:cubicBezTo>
                    <a:pt x="6820" y="2607"/>
                    <a:pt x="6819" y="2618"/>
                    <a:pt x="6814" y="2619"/>
                  </a:cubicBezTo>
                  <a:cubicBezTo>
                    <a:pt x="6810" y="2620"/>
                    <a:pt x="6808" y="2616"/>
                    <a:pt x="6801" y="2616"/>
                  </a:cubicBezTo>
                  <a:cubicBezTo>
                    <a:pt x="6794" y="2616"/>
                    <a:pt x="6792" y="2618"/>
                    <a:pt x="6792" y="2618"/>
                  </a:cubicBezTo>
                  <a:cubicBezTo>
                    <a:pt x="6785" y="2629"/>
                    <a:pt x="6785" y="2629"/>
                    <a:pt x="6785" y="2629"/>
                  </a:cubicBezTo>
                  <a:cubicBezTo>
                    <a:pt x="6785" y="2629"/>
                    <a:pt x="6788" y="2640"/>
                    <a:pt x="6798" y="2644"/>
                  </a:cubicBezTo>
                  <a:cubicBezTo>
                    <a:pt x="6809" y="2647"/>
                    <a:pt x="6798" y="2644"/>
                    <a:pt x="6804" y="2644"/>
                  </a:cubicBezTo>
                  <a:cubicBezTo>
                    <a:pt x="6810" y="2644"/>
                    <a:pt x="6808" y="2653"/>
                    <a:pt x="6811" y="2657"/>
                  </a:cubicBezTo>
                  <a:cubicBezTo>
                    <a:pt x="6814" y="2662"/>
                    <a:pt x="6811" y="2669"/>
                    <a:pt x="6814" y="2672"/>
                  </a:cubicBezTo>
                  <a:cubicBezTo>
                    <a:pt x="6818" y="2676"/>
                    <a:pt x="6818" y="2688"/>
                    <a:pt x="6818" y="2688"/>
                  </a:cubicBezTo>
                  <a:cubicBezTo>
                    <a:pt x="6818" y="2688"/>
                    <a:pt x="6828" y="2692"/>
                    <a:pt x="6834" y="2694"/>
                  </a:cubicBezTo>
                  <a:cubicBezTo>
                    <a:pt x="6839" y="2696"/>
                    <a:pt x="6843" y="2698"/>
                    <a:pt x="6849" y="2700"/>
                  </a:cubicBezTo>
                  <a:cubicBezTo>
                    <a:pt x="6854" y="2701"/>
                    <a:pt x="6863" y="2692"/>
                    <a:pt x="6863" y="2692"/>
                  </a:cubicBezTo>
                  <a:cubicBezTo>
                    <a:pt x="6863" y="2692"/>
                    <a:pt x="6872" y="2695"/>
                    <a:pt x="6877" y="2698"/>
                  </a:cubicBezTo>
                  <a:cubicBezTo>
                    <a:pt x="6881" y="2702"/>
                    <a:pt x="6887" y="2698"/>
                    <a:pt x="6893" y="2703"/>
                  </a:cubicBezTo>
                  <a:cubicBezTo>
                    <a:pt x="6899" y="2707"/>
                    <a:pt x="6903" y="2709"/>
                    <a:pt x="6903" y="2709"/>
                  </a:cubicBezTo>
                  <a:cubicBezTo>
                    <a:pt x="6903" y="2709"/>
                    <a:pt x="6913" y="2710"/>
                    <a:pt x="6919" y="2710"/>
                  </a:cubicBezTo>
                  <a:cubicBezTo>
                    <a:pt x="6937" y="2710"/>
                    <a:pt x="6937" y="2710"/>
                    <a:pt x="6937" y="2710"/>
                  </a:cubicBezTo>
                  <a:cubicBezTo>
                    <a:pt x="6943" y="2710"/>
                    <a:pt x="6942" y="2710"/>
                    <a:pt x="6950" y="2711"/>
                  </a:cubicBezTo>
                  <a:cubicBezTo>
                    <a:pt x="6958" y="2712"/>
                    <a:pt x="6955" y="2717"/>
                    <a:pt x="6959" y="2721"/>
                  </a:cubicBezTo>
                  <a:cubicBezTo>
                    <a:pt x="6962" y="2726"/>
                    <a:pt x="6960" y="2731"/>
                    <a:pt x="6963" y="2737"/>
                  </a:cubicBezTo>
                  <a:cubicBezTo>
                    <a:pt x="6967" y="2743"/>
                    <a:pt x="6969" y="2738"/>
                    <a:pt x="6975" y="2742"/>
                  </a:cubicBezTo>
                  <a:cubicBezTo>
                    <a:pt x="6980" y="2745"/>
                    <a:pt x="6977" y="2751"/>
                    <a:pt x="6980" y="2755"/>
                  </a:cubicBezTo>
                  <a:cubicBezTo>
                    <a:pt x="6984" y="2760"/>
                    <a:pt x="6983" y="2763"/>
                    <a:pt x="6984" y="2772"/>
                  </a:cubicBezTo>
                  <a:cubicBezTo>
                    <a:pt x="6985" y="2781"/>
                    <a:pt x="6986" y="2778"/>
                    <a:pt x="6991" y="2780"/>
                  </a:cubicBezTo>
                  <a:cubicBezTo>
                    <a:pt x="6995" y="2783"/>
                    <a:pt x="6992" y="2785"/>
                    <a:pt x="6996" y="2788"/>
                  </a:cubicBezTo>
                  <a:cubicBezTo>
                    <a:pt x="7001" y="2792"/>
                    <a:pt x="7008" y="2795"/>
                    <a:pt x="7016" y="2798"/>
                  </a:cubicBezTo>
                  <a:cubicBezTo>
                    <a:pt x="7024" y="2802"/>
                    <a:pt x="7025" y="2801"/>
                    <a:pt x="7033" y="2800"/>
                  </a:cubicBezTo>
                  <a:cubicBezTo>
                    <a:pt x="7041" y="2798"/>
                    <a:pt x="7046" y="2804"/>
                    <a:pt x="7052" y="2808"/>
                  </a:cubicBezTo>
                  <a:cubicBezTo>
                    <a:pt x="7058" y="2811"/>
                    <a:pt x="7054" y="2817"/>
                    <a:pt x="7053" y="2822"/>
                  </a:cubicBezTo>
                  <a:cubicBezTo>
                    <a:pt x="7052" y="2828"/>
                    <a:pt x="7054" y="2841"/>
                    <a:pt x="7054" y="2841"/>
                  </a:cubicBezTo>
                  <a:cubicBezTo>
                    <a:pt x="7054" y="2841"/>
                    <a:pt x="7054" y="2853"/>
                    <a:pt x="7055" y="2859"/>
                  </a:cubicBezTo>
                  <a:cubicBezTo>
                    <a:pt x="7057" y="2864"/>
                    <a:pt x="7068" y="2866"/>
                    <a:pt x="7077" y="2869"/>
                  </a:cubicBezTo>
                  <a:cubicBezTo>
                    <a:pt x="7086" y="2872"/>
                    <a:pt x="7070" y="2884"/>
                    <a:pt x="7070" y="2884"/>
                  </a:cubicBezTo>
                  <a:cubicBezTo>
                    <a:pt x="7070" y="2884"/>
                    <a:pt x="7070" y="2884"/>
                    <a:pt x="7070" y="2889"/>
                  </a:cubicBezTo>
                  <a:cubicBezTo>
                    <a:pt x="7070" y="2895"/>
                    <a:pt x="7067" y="2900"/>
                    <a:pt x="7066" y="2905"/>
                  </a:cubicBezTo>
                  <a:cubicBezTo>
                    <a:pt x="7065" y="2911"/>
                    <a:pt x="7066" y="2912"/>
                    <a:pt x="7068" y="2916"/>
                  </a:cubicBezTo>
                  <a:cubicBezTo>
                    <a:pt x="7070" y="2919"/>
                    <a:pt x="7071" y="2926"/>
                    <a:pt x="7076" y="2930"/>
                  </a:cubicBezTo>
                  <a:cubicBezTo>
                    <a:pt x="7081" y="2935"/>
                    <a:pt x="7077" y="2937"/>
                    <a:pt x="7077" y="2943"/>
                  </a:cubicBezTo>
                  <a:cubicBezTo>
                    <a:pt x="7077" y="2949"/>
                    <a:pt x="7078" y="2957"/>
                    <a:pt x="7079" y="2962"/>
                  </a:cubicBezTo>
                  <a:cubicBezTo>
                    <a:pt x="7081" y="2968"/>
                    <a:pt x="7081" y="2972"/>
                    <a:pt x="7084" y="2982"/>
                  </a:cubicBezTo>
                  <a:cubicBezTo>
                    <a:pt x="7087" y="2991"/>
                    <a:pt x="7082" y="2994"/>
                    <a:pt x="7082" y="3001"/>
                  </a:cubicBezTo>
                  <a:cubicBezTo>
                    <a:pt x="7082" y="3008"/>
                    <a:pt x="7084" y="3024"/>
                    <a:pt x="7085" y="3030"/>
                  </a:cubicBezTo>
                  <a:cubicBezTo>
                    <a:pt x="7086" y="3037"/>
                    <a:pt x="7082" y="3037"/>
                    <a:pt x="7078" y="3041"/>
                  </a:cubicBezTo>
                  <a:cubicBezTo>
                    <a:pt x="7075" y="3044"/>
                    <a:pt x="7065" y="3048"/>
                    <a:pt x="7059" y="3048"/>
                  </a:cubicBezTo>
                  <a:cubicBezTo>
                    <a:pt x="7053" y="3048"/>
                    <a:pt x="7042" y="3051"/>
                    <a:pt x="7042" y="3051"/>
                  </a:cubicBezTo>
                  <a:cubicBezTo>
                    <a:pt x="7020" y="3053"/>
                    <a:pt x="7020" y="3053"/>
                    <a:pt x="7020" y="3053"/>
                  </a:cubicBezTo>
                  <a:cubicBezTo>
                    <a:pt x="7020" y="3053"/>
                    <a:pt x="7004" y="3052"/>
                    <a:pt x="7001" y="3052"/>
                  </a:cubicBezTo>
                  <a:cubicBezTo>
                    <a:pt x="6997" y="3052"/>
                    <a:pt x="6993" y="3049"/>
                    <a:pt x="6993" y="3045"/>
                  </a:cubicBezTo>
                  <a:cubicBezTo>
                    <a:pt x="6993" y="3042"/>
                    <a:pt x="6970" y="3043"/>
                    <a:pt x="6966" y="3042"/>
                  </a:cubicBezTo>
                  <a:cubicBezTo>
                    <a:pt x="6961" y="3041"/>
                    <a:pt x="6952" y="3038"/>
                    <a:pt x="6944" y="3038"/>
                  </a:cubicBezTo>
                  <a:cubicBezTo>
                    <a:pt x="6936" y="3038"/>
                    <a:pt x="6937" y="3043"/>
                    <a:pt x="6936" y="3046"/>
                  </a:cubicBezTo>
                  <a:cubicBezTo>
                    <a:pt x="6935" y="3050"/>
                    <a:pt x="6924" y="3048"/>
                    <a:pt x="6913" y="3048"/>
                  </a:cubicBezTo>
                  <a:cubicBezTo>
                    <a:pt x="6903" y="3048"/>
                    <a:pt x="6885" y="3050"/>
                    <a:pt x="6879" y="3051"/>
                  </a:cubicBezTo>
                  <a:cubicBezTo>
                    <a:pt x="6874" y="3052"/>
                    <a:pt x="6862" y="3040"/>
                    <a:pt x="6862" y="3040"/>
                  </a:cubicBezTo>
                  <a:cubicBezTo>
                    <a:pt x="6838" y="3037"/>
                    <a:pt x="6838" y="3037"/>
                    <a:pt x="6838" y="3037"/>
                  </a:cubicBezTo>
                  <a:cubicBezTo>
                    <a:pt x="6838" y="3037"/>
                    <a:pt x="6822" y="3030"/>
                    <a:pt x="6818" y="3030"/>
                  </a:cubicBezTo>
                  <a:cubicBezTo>
                    <a:pt x="6813" y="3030"/>
                    <a:pt x="6809" y="3030"/>
                    <a:pt x="6802" y="3033"/>
                  </a:cubicBezTo>
                  <a:cubicBezTo>
                    <a:pt x="6795" y="3035"/>
                    <a:pt x="6791" y="3038"/>
                    <a:pt x="6784" y="3036"/>
                  </a:cubicBezTo>
                  <a:cubicBezTo>
                    <a:pt x="6777" y="3034"/>
                    <a:pt x="6752" y="3037"/>
                    <a:pt x="6745" y="3041"/>
                  </a:cubicBezTo>
                  <a:cubicBezTo>
                    <a:pt x="6738" y="3044"/>
                    <a:pt x="6738" y="3029"/>
                    <a:pt x="6735" y="3026"/>
                  </a:cubicBezTo>
                  <a:cubicBezTo>
                    <a:pt x="6731" y="3023"/>
                    <a:pt x="6725" y="3020"/>
                    <a:pt x="6721" y="3017"/>
                  </a:cubicBezTo>
                  <a:cubicBezTo>
                    <a:pt x="6718" y="3013"/>
                    <a:pt x="6711" y="3020"/>
                    <a:pt x="6706" y="3020"/>
                  </a:cubicBezTo>
                  <a:cubicBezTo>
                    <a:pt x="6702" y="3020"/>
                    <a:pt x="6697" y="3017"/>
                    <a:pt x="6697" y="3017"/>
                  </a:cubicBezTo>
                  <a:cubicBezTo>
                    <a:pt x="6682" y="3013"/>
                    <a:pt x="6682" y="3013"/>
                    <a:pt x="6682" y="3013"/>
                  </a:cubicBezTo>
                  <a:cubicBezTo>
                    <a:pt x="6682" y="3013"/>
                    <a:pt x="6671" y="3019"/>
                    <a:pt x="6668" y="3021"/>
                  </a:cubicBezTo>
                  <a:cubicBezTo>
                    <a:pt x="6664" y="3024"/>
                    <a:pt x="6665" y="3034"/>
                    <a:pt x="6667" y="3040"/>
                  </a:cubicBezTo>
                  <a:cubicBezTo>
                    <a:pt x="6668" y="3045"/>
                    <a:pt x="6664" y="3049"/>
                    <a:pt x="6664" y="3049"/>
                  </a:cubicBezTo>
                  <a:cubicBezTo>
                    <a:pt x="6649" y="3046"/>
                    <a:pt x="6649" y="3046"/>
                    <a:pt x="6649" y="3046"/>
                  </a:cubicBezTo>
                  <a:cubicBezTo>
                    <a:pt x="6636" y="3044"/>
                    <a:pt x="6636" y="3044"/>
                    <a:pt x="6636" y="3044"/>
                  </a:cubicBezTo>
                  <a:cubicBezTo>
                    <a:pt x="6636" y="3044"/>
                    <a:pt x="6624" y="3041"/>
                    <a:pt x="6620" y="3051"/>
                  </a:cubicBezTo>
                  <a:cubicBezTo>
                    <a:pt x="6615" y="3061"/>
                    <a:pt x="6610" y="3057"/>
                    <a:pt x="6605" y="3058"/>
                  </a:cubicBezTo>
                  <a:cubicBezTo>
                    <a:pt x="6601" y="3059"/>
                    <a:pt x="6596" y="3063"/>
                    <a:pt x="6596" y="3067"/>
                  </a:cubicBezTo>
                  <a:cubicBezTo>
                    <a:pt x="6596" y="3070"/>
                    <a:pt x="6598" y="3081"/>
                    <a:pt x="6598" y="3081"/>
                  </a:cubicBezTo>
                  <a:cubicBezTo>
                    <a:pt x="6598" y="3081"/>
                    <a:pt x="6606" y="3084"/>
                    <a:pt x="6609" y="3088"/>
                  </a:cubicBezTo>
                  <a:cubicBezTo>
                    <a:pt x="6611" y="3093"/>
                    <a:pt x="6613" y="3091"/>
                    <a:pt x="6618" y="3091"/>
                  </a:cubicBezTo>
                  <a:cubicBezTo>
                    <a:pt x="6622" y="3091"/>
                    <a:pt x="6626" y="3096"/>
                    <a:pt x="6626" y="3096"/>
                  </a:cubicBezTo>
                  <a:cubicBezTo>
                    <a:pt x="6630" y="3103"/>
                    <a:pt x="6630" y="3103"/>
                    <a:pt x="6630" y="3103"/>
                  </a:cubicBezTo>
                  <a:cubicBezTo>
                    <a:pt x="6637" y="3111"/>
                    <a:pt x="6637" y="3111"/>
                    <a:pt x="6637" y="3111"/>
                  </a:cubicBezTo>
                  <a:cubicBezTo>
                    <a:pt x="6637" y="3111"/>
                    <a:pt x="6642" y="3118"/>
                    <a:pt x="6643" y="3123"/>
                  </a:cubicBezTo>
                  <a:cubicBezTo>
                    <a:pt x="6644" y="3127"/>
                    <a:pt x="6643" y="3134"/>
                    <a:pt x="6644" y="3137"/>
                  </a:cubicBezTo>
                  <a:cubicBezTo>
                    <a:pt x="6645" y="3141"/>
                    <a:pt x="6646" y="3146"/>
                    <a:pt x="6647" y="3151"/>
                  </a:cubicBezTo>
                  <a:cubicBezTo>
                    <a:pt x="6648" y="3156"/>
                    <a:pt x="6646" y="3161"/>
                    <a:pt x="6646" y="3166"/>
                  </a:cubicBezTo>
                  <a:cubicBezTo>
                    <a:pt x="6646" y="3170"/>
                    <a:pt x="6640" y="3176"/>
                    <a:pt x="6642" y="3179"/>
                  </a:cubicBezTo>
                  <a:cubicBezTo>
                    <a:pt x="6643" y="3183"/>
                    <a:pt x="6648" y="3184"/>
                    <a:pt x="6653" y="3190"/>
                  </a:cubicBezTo>
                  <a:cubicBezTo>
                    <a:pt x="6657" y="3195"/>
                    <a:pt x="6651" y="3198"/>
                    <a:pt x="6652" y="3203"/>
                  </a:cubicBezTo>
                  <a:cubicBezTo>
                    <a:pt x="6653" y="3209"/>
                    <a:pt x="6654" y="3210"/>
                    <a:pt x="6657" y="3216"/>
                  </a:cubicBezTo>
                  <a:cubicBezTo>
                    <a:pt x="6661" y="3222"/>
                    <a:pt x="6662" y="3219"/>
                    <a:pt x="6665" y="3223"/>
                  </a:cubicBezTo>
                  <a:cubicBezTo>
                    <a:pt x="6669" y="3226"/>
                    <a:pt x="6667" y="3231"/>
                    <a:pt x="6667" y="3231"/>
                  </a:cubicBezTo>
                  <a:cubicBezTo>
                    <a:pt x="6667" y="3231"/>
                    <a:pt x="6667" y="3241"/>
                    <a:pt x="6667" y="3245"/>
                  </a:cubicBezTo>
                  <a:cubicBezTo>
                    <a:pt x="6667" y="3250"/>
                    <a:pt x="6665" y="3261"/>
                    <a:pt x="6665" y="3261"/>
                  </a:cubicBezTo>
                  <a:cubicBezTo>
                    <a:pt x="6665" y="3261"/>
                    <a:pt x="6664" y="3272"/>
                    <a:pt x="6664" y="3278"/>
                  </a:cubicBezTo>
                  <a:cubicBezTo>
                    <a:pt x="6664" y="3297"/>
                    <a:pt x="6664" y="3297"/>
                    <a:pt x="6664" y="3297"/>
                  </a:cubicBezTo>
                  <a:cubicBezTo>
                    <a:pt x="6664" y="3303"/>
                    <a:pt x="6663" y="3307"/>
                    <a:pt x="6663" y="3316"/>
                  </a:cubicBezTo>
                  <a:cubicBezTo>
                    <a:pt x="6663" y="3334"/>
                    <a:pt x="6663" y="3334"/>
                    <a:pt x="6663" y="3334"/>
                  </a:cubicBezTo>
                  <a:cubicBezTo>
                    <a:pt x="6663" y="3341"/>
                    <a:pt x="6662" y="3344"/>
                    <a:pt x="6661" y="3350"/>
                  </a:cubicBezTo>
                  <a:cubicBezTo>
                    <a:pt x="6660" y="3356"/>
                    <a:pt x="6654" y="3358"/>
                    <a:pt x="6651" y="3359"/>
                  </a:cubicBezTo>
                  <a:cubicBezTo>
                    <a:pt x="6647" y="3360"/>
                    <a:pt x="6645" y="3366"/>
                    <a:pt x="6642" y="3368"/>
                  </a:cubicBezTo>
                  <a:cubicBezTo>
                    <a:pt x="6638" y="3371"/>
                    <a:pt x="6642" y="3376"/>
                    <a:pt x="6643" y="3383"/>
                  </a:cubicBezTo>
                  <a:cubicBezTo>
                    <a:pt x="6644" y="3390"/>
                    <a:pt x="6645" y="3396"/>
                    <a:pt x="6645" y="3399"/>
                  </a:cubicBezTo>
                  <a:cubicBezTo>
                    <a:pt x="6645" y="3402"/>
                    <a:pt x="6640" y="3417"/>
                    <a:pt x="6640" y="3417"/>
                  </a:cubicBezTo>
                  <a:cubicBezTo>
                    <a:pt x="6640" y="3417"/>
                    <a:pt x="6643" y="3426"/>
                    <a:pt x="6649" y="3431"/>
                  </a:cubicBezTo>
                  <a:cubicBezTo>
                    <a:pt x="6656" y="3435"/>
                    <a:pt x="6649" y="3431"/>
                    <a:pt x="6653" y="3441"/>
                  </a:cubicBezTo>
                  <a:cubicBezTo>
                    <a:pt x="6656" y="3451"/>
                    <a:pt x="6653" y="3441"/>
                    <a:pt x="6659" y="3446"/>
                  </a:cubicBezTo>
                  <a:cubicBezTo>
                    <a:pt x="6664" y="3450"/>
                    <a:pt x="6664" y="3446"/>
                    <a:pt x="6673" y="3444"/>
                  </a:cubicBezTo>
                  <a:cubicBezTo>
                    <a:pt x="6682" y="3443"/>
                    <a:pt x="6676" y="3450"/>
                    <a:pt x="6679" y="3455"/>
                  </a:cubicBezTo>
                  <a:cubicBezTo>
                    <a:pt x="6682" y="3459"/>
                    <a:pt x="6682" y="3462"/>
                    <a:pt x="6687" y="3468"/>
                  </a:cubicBezTo>
                  <a:cubicBezTo>
                    <a:pt x="6692" y="3475"/>
                    <a:pt x="6685" y="3480"/>
                    <a:pt x="6684" y="3483"/>
                  </a:cubicBezTo>
                  <a:cubicBezTo>
                    <a:pt x="6682" y="3487"/>
                    <a:pt x="6685" y="3493"/>
                    <a:pt x="6687" y="3500"/>
                  </a:cubicBezTo>
                  <a:cubicBezTo>
                    <a:pt x="6689" y="3507"/>
                    <a:pt x="6692" y="3509"/>
                    <a:pt x="6692" y="3515"/>
                  </a:cubicBezTo>
                  <a:cubicBezTo>
                    <a:pt x="6692" y="3521"/>
                    <a:pt x="6690" y="3525"/>
                    <a:pt x="6689" y="3529"/>
                  </a:cubicBezTo>
                  <a:cubicBezTo>
                    <a:pt x="6688" y="3532"/>
                    <a:pt x="6682" y="3542"/>
                    <a:pt x="6682" y="3542"/>
                  </a:cubicBezTo>
                  <a:cubicBezTo>
                    <a:pt x="6682" y="3542"/>
                    <a:pt x="6686" y="3554"/>
                    <a:pt x="6689" y="3559"/>
                  </a:cubicBezTo>
                  <a:cubicBezTo>
                    <a:pt x="6693" y="3565"/>
                    <a:pt x="6695" y="3558"/>
                    <a:pt x="6703" y="3563"/>
                  </a:cubicBezTo>
                  <a:cubicBezTo>
                    <a:pt x="6711" y="3567"/>
                    <a:pt x="6703" y="3563"/>
                    <a:pt x="6712" y="3564"/>
                  </a:cubicBezTo>
                  <a:cubicBezTo>
                    <a:pt x="6721" y="3565"/>
                    <a:pt x="6718" y="3562"/>
                    <a:pt x="6723" y="3557"/>
                  </a:cubicBezTo>
                  <a:cubicBezTo>
                    <a:pt x="6729" y="3552"/>
                    <a:pt x="6731" y="3559"/>
                    <a:pt x="6735" y="3560"/>
                  </a:cubicBezTo>
                  <a:cubicBezTo>
                    <a:pt x="6738" y="3562"/>
                    <a:pt x="6752" y="3567"/>
                    <a:pt x="6763" y="3571"/>
                  </a:cubicBezTo>
                  <a:cubicBezTo>
                    <a:pt x="6775" y="3574"/>
                    <a:pt x="6776" y="3568"/>
                    <a:pt x="6784" y="3565"/>
                  </a:cubicBezTo>
                  <a:cubicBezTo>
                    <a:pt x="6792" y="3562"/>
                    <a:pt x="6793" y="3557"/>
                    <a:pt x="6802" y="3552"/>
                  </a:cubicBezTo>
                  <a:cubicBezTo>
                    <a:pt x="6811" y="3548"/>
                    <a:pt x="6810" y="3552"/>
                    <a:pt x="6817" y="3556"/>
                  </a:cubicBezTo>
                  <a:cubicBezTo>
                    <a:pt x="6823" y="3559"/>
                    <a:pt x="6834" y="3564"/>
                    <a:pt x="6837" y="3567"/>
                  </a:cubicBezTo>
                  <a:cubicBezTo>
                    <a:pt x="6841" y="3571"/>
                    <a:pt x="6855" y="3578"/>
                    <a:pt x="6858" y="3581"/>
                  </a:cubicBezTo>
                  <a:cubicBezTo>
                    <a:pt x="6860" y="3584"/>
                    <a:pt x="6860" y="3591"/>
                    <a:pt x="6860" y="3600"/>
                  </a:cubicBezTo>
                  <a:cubicBezTo>
                    <a:pt x="6860" y="3609"/>
                    <a:pt x="6871" y="3606"/>
                    <a:pt x="6875" y="3613"/>
                  </a:cubicBezTo>
                  <a:cubicBezTo>
                    <a:pt x="6878" y="3620"/>
                    <a:pt x="6877" y="3626"/>
                    <a:pt x="6877" y="3626"/>
                  </a:cubicBezTo>
                  <a:cubicBezTo>
                    <a:pt x="6877" y="3626"/>
                    <a:pt x="6888" y="3640"/>
                    <a:pt x="6894" y="3642"/>
                  </a:cubicBezTo>
                  <a:cubicBezTo>
                    <a:pt x="6900" y="3645"/>
                    <a:pt x="6905" y="3645"/>
                    <a:pt x="6910" y="3647"/>
                  </a:cubicBezTo>
                  <a:cubicBezTo>
                    <a:pt x="6914" y="3649"/>
                    <a:pt x="6921" y="3647"/>
                    <a:pt x="6929" y="3638"/>
                  </a:cubicBezTo>
                  <a:cubicBezTo>
                    <a:pt x="6937" y="3629"/>
                    <a:pt x="6929" y="3638"/>
                    <a:pt x="6930" y="3634"/>
                  </a:cubicBezTo>
                  <a:cubicBezTo>
                    <a:pt x="6932" y="3631"/>
                    <a:pt x="6938" y="3624"/>
                    <a:pt x="6943" y="3618"/>
                  </a:cubicBezTo>
                  <a:cubicBezTo>
                    <a:pt x="6947" y="3613"/>
                    <a:pt x="6946" y="3613"/>
                    <a:pt x="6952" y="3609"/>
                  </a:cubicBezTo>
                  <a:cubicBezTo>
                    <a:pt x="6958" y="3606"/>
                    <a:pt x="6959" y="3614"/>
                    <a:pt x="6967" y="3616"/>
                  </a:cubicBezTo>
                  <a:cubicBezTo>
                    <a:pt x="6975" y="3618"/>
                    <a:pt x="6975" y="3611"/>
                    <a:pt x="6982" y="3605"/>
                  </a:cubicBezTo>
                  <a:cubicBezTo>
                    <a:pt x="6988" y="3599"/>
                    <a:pt x="6988" y="3596"/>
                    <a:pt x="6993" y="3591"/>
                  </a:cubicBezTo>
                  <a:cubicBezTo>
                    <a:pt x="6997" y="3587"/>
                    <a:pt x="7000" y="3589"/>
                    <a:pt x="7004" y="3588"/>
                  </a:cubicBezTo>
                  <a:cubicBezTo>
                    <a:pt x="7009" y="3587"/>
                    <a:pt x="7010" y="3587"/>
                    <a:pt x="7017" y="3587"/>
                  </a:cubicBezTo>
                  <a:cubicBezTo>
                    <a:pt x="7024" y="3587"/>
                    <a:pt x="7025" y="3590"/>
                    <a:pt x="7033" y="3589"/>
                  </a:cubicBezTo>
                  <a:cubicBezTo>
                    <a:pt x="7041" y="3588"/>
                    <a:pt x="7046" y="3585"/>
                    <a:pt x="7054" y="3585"/>
                  </a:cubicBezTo>
                  <a:cubicBezTo>
                    <a:pt x="7062" y="3585"/>
                    <a:pt x="7066" y="3585"/>
                    <a:pt x="7074" y="3590"/>
                  </a:cubicBezTo>
                  <a:cubicBezTo>
                    <a:pt x="7082" y="3595"/>
                    <a:pt x="7079" y="3593"/>
                    <a:pt x="7091" y="3592"/>
                  </a:cubicBezTo>
                  <a:cubicBezTo>
                    <a:pt x="7102" y="3591"/>
                    <a:pt x="7095" y="3589"/>
                    <a:pt x="7106" y="3585"/>
                  </a:cubicBezTo>
                  <a:cubicBezTo>
                    <a:pt x="7116" y="3582"/>
                    <a:pt x="7116" y="3588"/>
                    <a:pt x="7125" y="3588"/>
                  </a:cubicBezTo>
                  <a:cubicBezTo>
                    <a:pt x="7134" y="3588"/>
                    <a:pt x="7142" y="3578"/>
                    <a:pt x="7142" y="3578"/>
                  </a:cubicBezTo>
                  <a:cubicBezTo>
                    <a:pt x="7142" y="3578"/>
                    <a:pt x="7151" y="3554"/>
                    <a:pt x="7156" y="3546"/>
                  </a:cubicBezTo>
                  <a:cubicBezTo>
                    <a:pt x="7160" y="3538"/>
                    <a:pt x="7160" y="3532"/>
                    <a:pt x="7162" y="3526"/>
                  </a:cubicBezTo>
                  <a:cubicBezTo>
                    <a:pt x="7165" y="3521"/>
                    <a:pt x="7172" y="3526"/>
                    <a:pt x="7176" y="3525"/>
                  </a:cubicBezTo>
                  <a:cubicBezTo>
                    <a:pt x="7181" y="3524"/>
                    <a:pt x="7184" y="3525"/>
                    <a:pt x="7193" y="3526"/>
                  </a:cubicBezTo>
                  <a:cubicBezTo>
                    <a:pt x="7202" y="3527"/>
                    <a:pt x="7198" y="3522"/>
                    <a:pt x="7199" y="3513"/>
                  </a:cubicBezTo>
                  <a:cubicBezTo>
                    <a:pt x="7200" y="3504"/>
                    <a:pt x="7201" y="3501"/>
                    <a:pt x="7203" y="3493"/>
                  </a:cubicBezTo>
                  <a:cubicBezTo>
                    <a:pt x="7206" y="3485"/>
                    <a:pt x="7210" y="3481"/>
                    <a:pt x="7216" y="3468"/>
                  </a:cubicBezTo>
                  <a:cubicBezTo>
                    <a:pt x="7222" y="3456"/>
                    <a:pt x="7226" y="3458"/>
                    <a:pt x="7227" y="3455"/>
                  </a:cubicBezTo>
                  <a:cubicBezTo>
                    <a:pt x="7228" y="3451"/>
                    <a:pt x="7233" y="3447"/>
                    <a:pt x="7237" y="3442"/>
                  </a:cubicBezTo>
                  <a:cubicBezTo>
                    <a:pt x="7242" y="3438"/>
                    <a:pt x="7243" y="3442"/>
                    <a:pt x="7250" y="3440"/>
                  </a:cubicBezTo>
                  <a:cubicBezTo>
                    <a:pt x="7257" y="3438"/>
                    <a:pt x="7257" y="3427"/>
                    <a:pt x="7257" y="3427"/>
                  </a:cubicBezTo>
                  <a:cubicBezTo>
                    <a:pt x="7257" y="3427"/>
                    <a:pt x="7257" y="3422"/>
                    <a:pt x="7250" y="3421"/>
                  </a:cubicBezTo>
                  <a:cubicBezTo>
                    <a:pt x="7243" y="3419"/>
                    <a:pt x="7245" y="3416"/>
                    <a:pt x="7239" y="3414"/>
                  </a:cubicBezTo>
                  <a:cubicBezTo>
                    <a:pt x="7232" y="3411"/>
                    <a:pt x="7233" y="3402"/>
                    <a:pt x="7226" y="3401"/>
                  </a:cubicBezTo>
                  <a:cubicBezTo>
                    <a:pt x="7219" y="3400"/>
                    <a:pt x="7223" y="3393"/>
                    <a:pt x="7217" y="3386"/>
                  </a:cubicBezTo>
                  <a:cubicBezTo>
                    <a:pt x="7211" y="3380"/>
                    <a:pt x="7214" y="3377"/>
                    <a:pt x="7210" y="3369"/>
                  </a:cubicBezTo>
                  <a:cubicBezTo>
                    <a:pt x="7207" y="3361"/>
                    <a:pt x="7210" y="3360"/>
                    <a:pt x="7210" y="3352"/>
                  </a:cubicBezTo>
                  <a:cubicBezTo>
                    <a:pt x="7210" y="3344"/>
                    <a:pt x="7220" y="3340"/>
                    <a:pt x="7220" y="3340"/>
                  </a:cubicBezTo>
                  <a:cubicBezTo>
                    <a:pt x="7220" y="3340"/>
                    <a:pt x="7225" y="3331"/>
                    <a:pt x="7226" y="3327"/>
                  </a:cubicBezTo>
                  <a:cubicBezTo>
                    <a:pt x="7227" y="3324"/>
                    <a:pt x="7232" y="3322"/>
                    <a:pt x="7240" y="3317"/>
                  </a:cubicBezTo>
                  <a:cubicBezTo>
                    <a:pt x="7248" y="3313"/>
                    <a:pt x="7242" y="3308"/>
                    <a:pt x="7243" y="3298"/>
                  </a:cubicBezTo>
                  <a:cubicBezTo>
                    <a:pt x="7244" y="3288"/>
                    <a:pt x="7249" y="3292"/>
                    <a:pt x="7258" y="3289"/>
                  </a:cubicBezTo>
                  <a:cubicBezTo>
                    <a:pt x="7267" y="3285"/>
                    <a:pt x="7262" y="3284"/>
                    <a:pt x="7265" y="3276"/>
                  </a:cubicBezTo>
                  <a:cubicBezTo>
                    <a:pt x="7267" y="3268"/>
                    <a:pt x="7264" y="3261"/>
                    <a:pt x="7260" y="3257"/>
                  </a:cubicBezTo>
                  <a:cubicBezTo>
                    <a:pt x="7257" y="3252"/>
                    <a:pt x="7265" y="3240"/>
                    <a:pt x="7267" y="3236"/>
                  </a:cubicBezTo>
                  <a:cubicBezTo>
                    <a:pt x="7269" y="3233"/>
                    <a:pt x="7281" y="3233"/>
                    <a:pt x="7281" y="3233"/>
                  </a:cubicBezTo>
                  <a:cubicBezTo>
                    <a:pt x="7295" y="3227"/>
                    <a:pt x="7295" y="3227"/>
                    <a:pt x="7295" y="3227"/>
                  </a:cubicBezTo>
                  <a:cubicBezTo>
                    <a:pt x="7295" y="3227"/>
                    <a:pt x="7311" y="3225"/>
                    <a:pt x="7316" y="3228"/>
                  </a:cubicBezTo>
                  <a:cubicBezTo>
                    <a:pt x="7320" y="3232"/>
                    <a:pt x="7328" y="3226"/>
                    <a:pt x="7331" y="3222"/>
                  </a:cubicBezTo>
                  <a:cubicBezTo>
                    <a:pt x="7333" y="3217"/>
                    <a:pt x="7341" y="3216"/>
                    <a:pt x="7344" y="3210"/>
                  </a:cubicBezTo>
                  <a:cubicBezTo>
                    <a:pt x="7348" y="3204"/>
                    <a:pt x="7351" y="3202"/>
                    <a:pt x="7353" y="3199"/>
                  </a:cubicBezTo>
                  <a:cubicBezTo>
                    <a:pt x="7356" y="3195"/>
                    <a:pt x="7360" y="3190"/>
                    <a:pt x="7365" y="3186"/>
                  </a:cubicBezTo>
                  <a:cubicBezTo>
                    <a:pt x="7369" y="3183"/>
                    <a:pt x="7374" y="3181"/>
                    <a:pt x="7376" y="3176"/>
                  </a:cubicBezTo>
                  <a:cubicBezTo>
                    <a:pt x="7378" y="3171"/>
                    <a:pt x="7378" y="3165"/>
                    <a:pt x="7378" y="3161"/>
                  </a:cubicBezTo>
                  <a:cubicBezTo>
                    <a:pt x="7378" y="3158"/>
                    <a:pt x="7381" y="3153"/>
                    <a:pt x="7377" y="3148"/>
                  </a:cubicBezTo>
                  <a:cubicBezTo>
                    <a:pt x="7374" y="3142"/>
                    <a:pt x="7377" y="3139"/>
                    <a:pt x="7375" y="3133"/>
                  </a:cubicBezTo>
                  <a:cubicBezTo>
                    <a:pt x="7373" y="3127"/>
                    <a:pt x="7372" y="3127"/>
                    <a:pt x="7367" y="3125"/>
                  </a:cubicBezTo>
                  <a:cubicBezTo>
                    <a:pt x="7363" y="3123"/>
                    <a:pt x="7366" y="3118"/>
                    <a:pt x="7356" y="3112"/>
                  </a:cubicBezTo>
                  <a:cubicBezTo>
                    <a:pt x="7346" y="3107"/>
                    <a:pt x="7356" y="3112"/>
                    <a:pt x="7352" y="3107"/>
                  </a:cubicBezTo>
                  <a:cubicBezTo>
                    <a:pt x="7349" y="3101"/>
                    <a:pt x="7350" y="3094"/>
                    <a:pt x="7351" y="3088"/>
                  </a:cubicBezTo>
                  <a:cubicBezTo>
                    <a:pt x="7352" y="3083"/>
                    <a:pt x="7353" y="3077"/>
                    <a:pt x="7355" y="3073"/>
                  </a:cubicBezTo>
                  <a:cubicBezTo>
                    <a:pt x="7356" y="3068"/>
                    <a:pt x="7351" y="3060"/>
                    <a:pt x="7355" y="3060"/>
                  </a:cubicBezTo>
                  <a:cubicBezTo>
                    <a:pt x="7358" y="3060"/>
                    <a:pt x="7364" y="3061"/>
                    <a:pt x="7371" y="3062"/>
                  </a:cubicBezTo>
                  <a:cubicBezTo>
                    <a:pt x="7377" y="3063"/>
                    <a:pt x="7377" y="3059"/>
                    <a:pt x="7381" y="3055"/>
                  </a:cubicBezTo>
                  <a:cubicBezTo>
                    <a:pt x="7384" y="3052"/>
                    <a:pt x="7383" y="3051"/>
                    <a:pt x="7382" y="3043"/>
                  </a:cubicBezTo>
                  <a:cubicBezTo>
                    <a:pt x="7381" y="3035"/>
                    <a:pt x="7382" y="3043"/>
                    <a:pt x="7388" y="3038"/>
                  </a:cubicBezTo>
                  <a:cubicBezTo>
                    <a:pt x="7393" y="3034"/>
                    <a:pt x="7402" y="3042"/>
                    <a:pt x="7407" y="3041"/>
                  </a:cubicBezTo>
                  <a:cubicBezTo>
                    <a:pt x="7411" y="3040"/>
                    <a:pt x="7415" y="3044"/>
                    <a:pt x="7418" y="3049"/>
                  </a:cubicBezTo>
                  <a:cubicBezTo>
                    <a:pt x="7422" y="3053"/>
                    <a:pt x="7427" y="3055"/>
                    <a:pt x="7433" y="3054"/>
                  </a:cubicBezTo>
                  <a:cubicBezTo>
                    <a:pt x="7439" y="3053"/>
                    <a:pt x="7447" y="3051"/>
                    <a:pt x="7455" y="3049"/>
                  </a:cubicBezTo>
                  <a:cubicBezTo>
                    <a:pt x="7463" y="3046"/>
                    <a:pt x="7471" y="3053"/>
                    <a:pt x="7471" y="3053"/>
                  </a:cubicBezTo>
                  <a:cubicBezTo>
                    <a:pt x="7471" y="3053"/>
                    <a:pt x="7480" y="3062"/>
                    <a:pt x="7485" y="3062"/>
                  </a:cubicBezTo>
                  <a:cubicBezTo>
                    <a:pt x="7491" y="3062"/>
                    <a:pt x="7498" y="3067"/>
                    <a:pt x="7501" y="3070"/>
                  </a:cubicBezTo>
                  <a:cubicBezTo>
                    <a:pt x="7505" y="3074"/>
                    <a:pt x="7506" y="3075"/>
                    <a:pt x="7512" y="3076"/>
                  </a:cubicBezTo>
                  <a:cubicBezTo>
                    <a:pt x="7517" y="3077"/>
                    <a:pt x="7523" y="3076"/>
                    <a:pt x="7526" y="3071"/>
                  </a:cubicBezTo>
                  <a:cubicBezTo>
                    <a:pt x="7530" y="3067"/>
                    <a:pt x="7541" y="3067"/>
                    <a:pt x="7542" y="3063"/>
                  </a:cubicBezTo>
                  <a:cubicBezTo>
                    <a:pt x="7543" y="3060"/>
                    <a:pt x="7549" y="3054"/>
                    <a:pt x="7549" y="3054"/>
                  </a:cubicBezTo>
                  <a:cubicBezTo>
                    <a:pt x="7549" y="3054"/>
                    <a:pt x="7553" y="3046"/>
                    <a:pt x="7559" y="3038"/>
                  </a:cubicBezTo>
                  <a:cubicBezTo>
                    <a:pt x="7566" y="3030"/>
                    <a:pt x="7566" y="3024"/>
                    <a:pt x="7570" y="3019"/>
                  </a:cubicBezTo>
                  <a:cubicBezTo>
                    <a:pt x="7573" y="3015"/>
                    <a:pt x="7575" y="3017"/>
                    <a:pt x="7580" y="3017"/>
                  </a:cubicBezTo>
                  <a:cubicBezTo>
                    <a:pt x="7584" y="3017"/>
                    <a:pt x="7589" y="3021"/>
                    <a:pt x="7598" y="3020"/>
                  </a:cubicBezTo>
                  <a:cubicBezTo>
                    <a:pt x="7607" y="3019"/>
                    <a:pt x="7608" y="3013"/>
                    <a:pt x="7609" y="3005"/>
                  </a:cubicBezTo>
                  <a:cubicBezTo>
                    <a:pt x="7611" y="2997"/>
                    <a:pt x="7612" y="2999"/>
                    <a:pt x="7612" y="2991"/>
                  </a:cubicBezTo>
                  <a:cubicBezTo>
                    <a:pt x="7612" y="2983"/>
                    <a:pt x="7611" y="2978"/>
                    <a:pt x="7612" y="2974"/>
                  </a:cubicBezTo>
                  <a:cubicBezTo>
                    <a:pt x="7613" y="2969"/>
                    <a:pt x="7620" y="2963"/>
                    <a:pt x="7623" y="2962"/>
                  </a:cubicBezTo>
                  <a:cubicBezTo>
                    <a:pt x="7626" y="2961"/>
                    <a:pt x="7642" y="2962"/>
                    <a:pt x="7648" y="2963"/>
                  </a:cubicBezTo>
                  <a:cubicBezTo>
                    <a:pt x="7654" y="2965"/>
                    <a:pt x="7661" y="2971"/>
                    <a:pt x="7661" y="2971"/>
                  </a:cubicBezTo>
                  <a:cubicBezTo>
                    <a:pt x="7661" y="2971"/>
                    <a:pt x="7670" y="2980"/>
                    <a:pt x="7674" y="2986"/>
                  </a:cubicBezTo>
                  <a:cubicBezTo>
                    <a:pt x="7679" y="2992"/>
                    <a:pt x="7690" y="2993"/>
                    <a:pt x="7696" y="2994"/>
                  </a:cubicBezTo>
                  <a:cubicBezTo>
                    <a:pt x="7702" y="2995"/>
                    <a:pt x="7707" y="3002"/>
                    <a:pt x="7713" y="3004"/>
                  </a:cubicBezTo>
                  <a:cubicBezTo>
                    <a:pt x="7719" y="3007"/>
                    <a:pt x="7721" y="3017"/>
                    <a:pt x="7721" y="3017"/>
                  </a:cubicBezTo>
                  <a:cubicBezTo>
                    <a:pt x="7721" y="3017"/>
                    <a:pt x="7722" y="3026"/>
                    <a:pt x="7721" y="3032"/>
                  </a:cubicBezTo>
                  <a:cubicBezTo>
                    <a:pt x="7720" y="3037"/>
                    <a:pt x="7728" y="3044"/>
                    <a:pt x="7728" y="3044"/>
                  </a:cubicBezTo>
                  <a:cubicBezTo>
                    <a:pt x="7742" y="3052"/>
                    <a:pt x="7742" y="3052"/>
                    <a:pt x="7742" y="3052"/>
                  </a:cubicBezTo>
                  <a:cubicBezTo>
                    <a:pt x="7742" y="3052"/>
                    <a:pt x="7747" y="3062"/>
                    <a:pt x="7746" y="3069"/>
                  </a:cubicBezTo>
                  <a:cubicBezTo>
                    <a:pt x="7745" y="3076"/>
                    <a:pt x="7754" y="3079"/>
                    <a:pt x="7761" y="3084"/>
                  </a:cubicBezTo>
                  <a:cubicBezTo>
                    <a:pt x="7767" y="3088"/>
                    <a:pt x="7769" y="3102"/>
                    <a:pt x="7770" y="3106"/>
                  </a:cubicBezTo>
                  <a:cubicBezTo>
                    <a:pt x="7771" y="3109"/>
                    <a:pt x="7778" y="3118"/>
                    <a:pt x="7780" y="3121"/>
                  </a:cubicBezTo>
                  <a:cubicBezTo>
                    <a:pt x="7782" y="3125"/>
                    <a:pt x="7794" y="3126"/>
                    <a:pt x="7794" y="3126"/>
                  </a:cubicBezTo>
                  <a:cubicBezTo>
                    <a:pt x="7794" y="3126"/>
                    <a:pt x="7803" y="3127"/>
                    <a:pt x="7806" y="3128"/>
                  </a:cubicBezTo>
                  <a:cubicBezTo>
                    <a:pt x="7810" y="3129"/>
                    <a:pt x="7814" y="3137"/>
                    <a:pt x="7816" y="3141"/>
                  </a:cubicBezTo>
                  <a:cubicBezTo>
                    <a:pt x="7819" y="3144"/>
                    <a:pt x="7832" y="3148"/>
                    <a:pt x="7837" y="3151"/>
                  </a:cubicBezTo>
                  <a:cubicBezTo>
                    <a:pt x="7841" y="3154"/>
                    <a:pt x="7845" y="3166"/>
                    <a:pt x="7845" y="3166"/>
                  </a:cubicBezTo>
                  <a:cubicBezTo>
                    <a:pt x="7845" y="3166"/>
                    <a:pt x="7862" y="3183"/>
                    <a:pt x="7866" y="3190"/>
                  </a:cubicBezTo>
                  <a:cubicBezTo>
                    <a:pt x="7871" y="3197"/>
                    <a:pt x="7878" y="3203"/>
                    <a:pt x="7882" y="3208"/>
                  </a:cubicBezTo>
                  <a:cubicBezTo>
                    <a:pt x="7887" y="3212"/>
                    <a:pt x="7890" y="3219"/>
                    <a:pt x="7897" y="3222"/>
                  </a:cubicBezTo>
                  <a:cubicBezTo>
                    <a:pt x="7904" y="3224"/>
                    <a:pt x="7915" y="3222"/>
                    <a:pt x="7920" y="3222"/>
                  </a:cubicBezTo>
                  <a:cubicBezTo>
                    <a:pt x="7924" y="3222"/>
                    <a:pt x="7929" y="3223"/>
                    <a:pt x="7935" y="3224"/>
                  </a:cubicBezTo>
                  <a:cubicBezTo>
                    <a:pt x="7940" y="3225"/>
                    <a:pt x="7943" y="3228"/>
                    <a:pt x="7943" y="3228"/>
                  </a:cubicBezTo>
                  <a:cubicBezTo>
                    <a:pt x="7949" y="3236"/>
                    <a:pt x="7949" y="3236"/>
                    <a:pt x="7949" y="3236"/>
                  </a:cubicBezTo>
                  <a:cubicBezTo>
                    <a:pt x="7949" y="3236"/>
                    <a:pt x="7953" y="3243"/>
                    <a:pt x="7959" y="3251"/>
                  </a:cubicBezTo>
                  <a:cubicBezTo>
                    <a:pt x="7959" y="3251"/>
                    <a:pt x="7963" y="3256"/>
                    <a:pt x="7966" y="3257"/>
                  </a:cubicBezTo>
                  <a:cubicBezTo>
                    <a:pt x="7970" y="3258"/>
                    <a:pt x="7974" y="3260"/>
                    <a:pt x="7980" y="3261"/>
                  </a:cubicBezTo>
                  <a:cubicBezTo>
                    <a:pt x="7986" y="3262"/>
                    <a:pt x="7985" y="3268"/>
                    <a:pt x="7985" y="3273"/>
                  </a:cubicBezTo>
                  <a:cubicBezTo>
                    <a:pt x="7985" y="3277"/>
                    <a:pt x="7988" y="3278"/>
                    <a:pt x="7995" y="3281"/>
                  </a:cubicBezTo>
                  <a:cubicBezTo>
                    <a:pt x="8002" y="3283"/>
                    <a:pt x="8002" y="3278"/>
                    <a:pt x="8007" y="3280"/>
                  </a:cubicBezTo>
                  <a:cubicBezTo>
                    <a:pt x="8013" y="3281"/>
                    <a:pt x="8012" y="3284"/>
                    <a:pt x="8021" y="3290"/>
                  </a:cubicBezTo>
                  <a:cubicBezTo>
                    <a:pt x="8030" y="3295"/>
                    <a:pt x="8024" y="3306"/>
                    <a:pt x="8028" y="3313"/>
                  </a:cubicBezTo>
                  <a:cubicBezTo>
                    <a:pt x="8031" y="3319"/>
                    <a:pt x="8040" y="3320"/>
                    <a:pt x="8044" y="3323"/>
                  </a:cubicBezTo>
                  <a:cubicBezTo>
                    <a:pt x="8047" y="3325"/>
                    <a:pt x="8052" y="3327"/>
                    <a:pt x="8059" y="3327"/>
                  </a:cubicBezTo>
                  <a:cubicBezTo>
                    <a:pt x="8065" y="3327"/>
                    <a:pt x="8068" y="3340"/>
                    <a:pt x="8068" y="3340"/>
                  </a:cubicBezTo>
                  <a:cubicBezTo>
                    <a:pt x="8068" y="3340"/>
                    <a:pt x="8073" y="3351"/>
                    <a:pt x="8075" y="3356"/>
                  </a:cubicBezTo>
                  <a:cubicBezTo>
                    <a:pt x="8076" y="3360"/>
                    <a:pt x="8085" y="3372"/>
                    <a:pt x="8089" y="3378"/>
                  </a:cubicBezTo>
                  <a:cubicBezTo>
                    <a:pt x="8094" y="3385"/>
                    <a:pt x="8094" y="3390"/>
                    <a:pt x="8096" y="3397"/>
                  </a:cubicBezTo>
                  <a:cubicBezTo>
                    <a:pt x="8098" y="3404"/>
                    <a:pt x="8102" y="3406"/>
                    <a:pt x="8105" y="3413"/>
                  </a:cubicBezTo>
                  <a:cubicBezTo>
                    <a:pt x="8109" y="3419"/>
                    <a:pt x="8097" y="3424"/>
                    <a:pt x="8097" y="3424"/>
                  </a:cubicBezTo>
                  <a:cubicBezTo>
                    <a:pt x="8097" y="3424"/>
                    <a:pt x="8094" y="3433"/>
                    <a:pt x="8095" y="3440"/>
                  </a:cubicBezTo>
                  <a:cubicBezTo>
                    <a:pt x="8096" y="3447"/>
                    <a:pt x="8095" y="3465"/>
                    <a:pt x="8092" y="3469"/>
                  </a:cubicBezTo>
                  <a:cubicBezTo>
                    <a:pt x="8088" y="3474"/>
                    <a:pt x="8092" y="3474"/>
                    <a:pt x="8092" y="3479"/>
                  </a:cubicBezTo>
                  <a:cubicBezTo>
                    <a:pt x="8092" y="3483"/>
                    <a:pt x="8096" y="3487"/>
                    <a:pt x="8106" y="3490"/>
                  </a:cubicBezTo>
                  <a:cubicBezTo>
                    <a:pt x="8112" y="3492"/>
                    <a:pt x="8113" y="3489"/>
                    <a:pt x="8117" y="3485"/>
                  </a:cubicBezTo>
                  <a:cubicBezTo>
                    <a:pt x="8120" y="3482"/>
                    <a:pt x="8120" y="3481"/>
                    <a:pt x="8120" y="3475"/>
                  </a:cubicBezTo>
                  <a:cubicBezTo>
                    <a:pt x="8120" y="3469"/>
                    <a:pt x="8122" y="3471"/>
                    <a:pt x="8123" y="3465"/>
                  </a:cubicBezTo>
                  <a:cubicBezTo>
                    <a:pt x="8125" y="3459"/>
                    <a:pt x="8128" y="3457"/>
                    <a:pt x="8130" y="3452"/>
                  </a:cubicBezTo>
                  <a:cubicBezTo>
                    <a:pt x="8133" y="3448"/>
                    <a:pt x="8131" y="3448"/>
                    <a:pt x="8131" y="3443"/>
                  </a:cubicBezTo>
                  <a:cubicBezTo>
                    <a:pt x="8131" y="3439"/>
                    <a:pt x="8134" y="3439"/>
                    <a:pt x="8127" y="3430"/>
                  </a:cubicBezTo>
                  <a:cubicBezTo>
                    <a:pt x="8127" y="3430"/>
                    <a:pt x="8129" y="3424"/>
                    <a:pt x="8129" y="3421"/>
                  </a:cubicBezTo>
                  <a:cubicBezTo>
                    <a:pt x="8129" y="3417"/>
                    <a:pt x="8136" y="3413"/>
                    <a:pt x="8136" y="3413"/>
                  </a:cubicBezTo>
                  <a:cubicBezTo>
                    <a:pt x="8136" y="3413"/>
                    <a:pt x="8139" y="3408"/>
                    <a:pt x="8148" y="3402"/>
                  </a:cubicBezTo>
                  <a:cubicBezTo>
                    <a:pt x="8158" y="3397"/>
                    <a:pt x="8148" y="3402"/>
                    <a:pt x="8151" y="3396"/>
                  </a:cubicBezTo>
                  <a:cubicBezTo>
                    <a:pt x="8153" y="3389"/>
                    <a:pt x="8150" y="3388"/>
                    <a:pt x="8147" y="3383"/>
                  </a:cubicBezTo>
                  <a:cubicBezTo>
                    <a:pt x="8145" y="3378"/>
                    <a:pt x="8144" y="3373"/>
                    <a:pt x="8136" y="3368"/>
                  </a:cubicBezTo>
                  <a:cubicBezTo>
                    <a:pt x="8128" y="3364"/>
                    <a:pt x="8136" y="3357"/>
                    <a:pt x="8131" y="3358"/>
                  </a:cubicBezTo>
                  <a:cubicBezTo>
                    <a:pt x="8127" y="3359"/>
                    <a:pt x="8120" y="3350"/>
                    <a:pt x="8113" y="3346"/>
                  </a:cubicBezTo>
                  <a:cubicBezTo>
                    <a:pt x="8106" y="3341"/>
                    <a:pt x="8109" y="3339"/>
                    <a:pt x="8111" y="3331"/>
                  </a:cubicBezTo>
                  <a:cubicBezTo>
                    <a:pt x="8113" y="3323"/>
                    <a:pt x="8111" y="3318"/>
                    <a:pt x="8108" y="3315"/>
                  </a:cubicBezTo>
                  <a:cubicBezTo>
                    <a:pt x="8104" y="3311"/>
                    <a:pt x="8109" y="3306"/>
                    <a:pt x="8109" y="3301"/>
                  </a:cubicBezTo>
                  <a:cubicBezTo>
                    <a:pt x="8109" y="3297"/>
                    <a:pt x="8115" y="3288"/>
                    <a:pt x="8120" y="3284"/>
                  </a:cubicBezTo>
                  <a:cubicBezTo>
                    <a:pt x="8125" y="3281"/>
                    <a:pt x="8123" y="3295"/>
                    <a:pt x="8123" y="3295"/>
                  </a:cubicBezTo>
                  <a:cubicBezTo>
                    <a:pt x="8127" y="3298"/>
                    <a:pt x="8129" y="3299"/>
                    <a:pt x="8134" y="3299"/>
                  </a:cubicBezTo>
                  <a:cubicBezTo>
                    <a:pt x="8138" y="3299"/>
                    <a:pt x="8143" y="3306"/>
                    <a:pt x="8145" y="3310"/>
                  </a:cubicBezTo>
                  <a:cubicBezTo>
                    <a:pt x="8147" y="3315"/>
                    <a:pt x="8155" y="3316"/>
                    <a:pt x="8160" y="3317"/>
                  </a:cubicBezTo>
                  <a:cubicBezTo>
                    <a:pt x="8164" y="3318"/>
                    <a:pt x="8167" y="3322"/>
                    <a:pt x="8169" y="3327"/>
                  </a:cubicBezTo>
                  <a:cubicBezTo>
                    <a:pt x="8171" y="3333"/>
                    <a:pt x="8171" y="3335"/>
                    <a:pt x="8177" y="3339"/>
                  </a:cubicBezTo>
                  <a:cubicBezTo>
                    <a:pt x="8183" y="3342"/>
                    <a:pt x="8190" y="3340"/>
                    <a:pt x="8194" y="3332"/>
                  </a:cubicBezTo>
                  <a:cubicBezTo>
                    <a:pt x="8199" y="3325"/>
                    <a:pt x="8202" y="3325"/>
                    <a:pt x="8202" y="3325"/>
                  </a:cubicBezTo>
                  <a:cubicBezTo>
                    <a:pt x="8194" y="3305"/>
                    <a:pt x="8194" y="3305"/>
                    <a:pt x="8194" y="3305"/>
                  </a:cubicBezTo>
                  <a:cubicBezTo>
                    <a:pt x="8194" y="3305"/>
                    <a:pt x="8191" y="3296"/>
                    <a:pt x="8187" y="3293"/>
                  </a:cubicBezTo>
                  <a:cubicBezTo>
                    <a:pt x="8182" y="3290"/>
                    <a:pt x="8182" y="3287"/>
                    <a:pt x="8175" y="3285"/>
                  </a:cubicBezTo>
                  <a:cubicBezTo>
                    <a:pt x="8167" y="3284"/>
                    <a:pt x="8164" y="3273"/>
                    <a:pt x="8158" y="3269"/>
                  </a:cubicBezTo>
                  <a:cubicBezTo>
                    <a:pt x="8152" y="3264"/>
                    <a:pt x="8143" y="3256"/>
                    <a:pt x="8135" y="3253"/>
                  </a:cubicBezTo>
                  <a:cubicBezTo>
                    <a:pt x="8128" y="3250"/>
                    <a:pt x="8128" y="3244"/>
                    <a:pt x="8125" y="3240"/>
                  </a:cubicBezTo>
                  <a:cubicBezTo>
                    <a:pt x="8122" y="3235"/>
                    <a:pt x="8111" y="3232"/>
                    <a:pt x="8105" y="3228"/>
                  </a:cubicBezTo>
                  <a:cubicBezTo>
                    <a:pt x="8099" y="3223"/>
                    <a:pt x="8087" y="3217"/>
                    <a:pt x="8076" y="3215"/>
                  </a:cubicBezTo>
                  <a:cubicBezTo>
                    <a:pt x="8065" y="3214"/>
                    <a:pt x="8065" y="3209"/>
                    <a:pt x="8056" y="3203"/>
                  </a:cubicBezTo>
                  <a:cubicBezTo>
                    <a:pt x="8047" y="3197"/>
                    <a:pt x="8052" y="3191"/>
                    <a:pt x="8053" y="3182"/>
                  </a:cubicBezTo>
                  <a:cubicBezTo>
                    <a:pt x="8055" y="3164"/>
                    <a:pt x="8055" y="3164"/>
                    <a:pt x="8055" y="3164"/>
                  </a:cubicBezTo>
                  <a:cubicBezTo>
                    <a:pt x="8055" y="3164"/>
                    <a:pt x="8049" y="3167"/>
                    <a:pt x="8043" y="3167"/>
                  </a:cubicBezTo>
                  <a:cubicBezTo>
                    <a:pt x="8037" y="3167"/>
                    <a:pt x="8031" y="3168"/>
                    <a:pt x="8021" y="3170"/>
                  </a:cubicBezTo>
                  <a:cubicBezTo>
                    <a:pt x="8012" y="3171"/>
                    <a:pt x="8011" y="3167"/>
                    <a:pt x="8002" y="3162"/>
                  </a:cubicBezTo>
                  <a:cubicBezTo>
                    <a:pt x="7993" y="3158"/>
                    <a:pt x="7991" y="3155"/>
                    <a:pt x="7982" y="3144"/>
                  </a:cubicBezTo>
                  <a:cubicBezTo>
                    <a:pt x="7973" y="3134"/>
                    <a:pt x="7958" y="3128"/>
                    <a:pt x="7952" y="3124"/>
                  </a:cubicBezTo>
                  <a:cubicBezTo>
                    <a:pt x="7946" y="3121"/>
                    <a:pt x="7940" y="3115"/>
                    <a:pt x="7940" y="3115"/>
                  </a:cubicBezTo>
                  <a:cubicBezTo>
                    <a:pt x="7940" y="3115"/>
                    <a:pt x="7934" y="3102"/>
                    <a:pt x="7930" y="3094"/>
                  </a:cubicBezTo>
                  <a:cubicBezTo>
                    <a:pt x="7927" y="3087"/>
                    <a:pt x="7926" y="3084"/>
                    <a:pt x="7926" y="3076"/>
                  </a:cubicBezTo>
                  <a:cubicBezTo>
                    <a:pt x="7926" y="3068"/>
                    <a:pt x="7917" y="3062"/>
                    <a:pt x="7914" y="3055"/>
                  </a:cubicBezTo>
                  <a:cubicBezTo>
                    <a:pt x="7911" y="3047"/>
                    <a:pt x="7905" y="3047"/>
                    <a:pt x="7897" y="3043"/>
                  </a:cubicBezTo>
                  <a:cubicBezTo>
                    <a:pt x="7890" y="3038"/>
                    <a:pt x="7890" y="3029"/>
                    <a:pt x="7879" y="3024"/>
                  </a:cubicBezTo>
                  <a:cubicBezTo>
                    <a:pt x="7868" y="3020"/>
                    <a:pt x="7873" y="3018"/>
                    <a:pt x="7868" y="3009"/>
                  </a:cubicBezTo>
                  <a:cubicBezTo>
                    <a:pt x="7864" y="3000"/>
                    <a:pt x="7856" y="3003"/>
                    <a:pt x="7850" y="2999"/>
                  </a:cubicBezTo>
                  <a:cubicBezTo>
                    <a:pt x="7844" y="2994"/>
                    <a:pt x="7844" y="2988"/>
                    <a:pt x="7833" y="2986"/>
                  </a:cubicBezTo>
                  <a:cubicBezTo>
                    <a:pt x="7823" y="2985"/>
                    <a:pt x="7826" y="2979"/>
                    <a:pt x="7817" y="2977"/>
                  </a:cubicBezTo>
                  <a:cubicBezTo>
                    <a:pt x="7808" y="2976"/>
                    <a:pt x="7812" y="2961"/>
                    <a:pt x="7812" y="2961"/>
                  </a:cubicBezTo>
                  <a:cubicBezTo>
                    <a:pt x="7812" y="2961"/>
                    <a:pt x="7805" y="2933"/>
                    <a:pt x="7806" y="2921"/>
                  </a:cubicBezTo>
                  <a:cubicBezTo>
                    <a:pt x="7808" y="2909"/>
                    <a:pt x="7805" y="2909"/>
                    <a:pt x="7800" y="2906"/>
                  </a:cubicBezTo>
                  <a:cubicBezTo>
                    <a:pt x="7796" y="2903"/>
                    <a:pt x="7788" y="2897"/>
                    <a:pt x="7780" y="2894"/>
                  </a:cubicBezTo>
                  <a:cubicBezTo>
                    <a:pt x="7773" y="2891"/>
                    <a:pt x="7783" y="2883"/>
                    <a:pt x="7783" y="2883"/>
                  </a:cubicBezTo>
                  <a:cubicBezTo>
                    <a:pt x="7783" y="2883"/>
                    <a:pt x="7797" y="2886"/>
                    <a:pt x="7806" y="2876"/>
                  </a:cubicBezTo>
                  <a:cubicBezTo>
                    <a:pt x="7815" y="2865"/>
                    <a:pt x="7812" y="2864"/>
                    <a:pt x="7812" y="2864"/>
                  </a:cubicBezTo>
                  <a:cubicBezTo>
                    <a:pt x="7812" y="2864"/>
                    <a:pt x="7829" y="2859"/>
                    <a:pt x="7844" y="2861"/>
                  </a:cubicBezTo>
                  <a:cubicBezTo>
                    <a:pt x="7844" y="2861"/>
                    <a:pt x="7839" y="2871"/>
                    <a:pt x="7846" y="2885"/>
                  </a:cubicBezTo>
                  <a:cubicBezTo>
                    <a:pt x="7852" y="2899"/>
                    <a:pt x="7846" y="2885"/>
                    <a:pt x="7850" y="2889"/>
                  </a:cubicBezTo>
                  <a:cubicBezTo>
                    <a:pt x="7855" y="2894"/>
                    <a:pt x="7856" y="2897"/>
                    <a:pt x="7859" y="2903"/>
                  </a:cubicBezTo>
                  <a:cubicBezTo>
                    <a:pt x="7862" y="2909"/>
                    <a:pt x="7864" y="2915"/>
                    <a:pt x="7871" y="2932"/>
                  </a:cubicBezTo>
                  <a:cubicBezTo>
                    <a:pt x="7874" y="2938"/>
                    <a:pt x="7880" y="2938"/>
                    <a:pt x="7888" y="2926"/>
                  </a:cubicBezTo>
                  <a:cubicBezTo>
                    <a:pt x="7896" y="2914"/>
                    <a:pt x="7888" y="2926"/>
                    <a:pt x="7885" y="2915"/>
                  </a:cubicBezTo>
                  <a:cubicBezTo>
                    <a:pt x="7882" y="2905"/>
                    <a:pt x="7883" y="2888"/>
                    <a:pt x="7886" y="2883"/>
                  </a:cubicBezTo>
                  <a:cubicBezTo>
                    <a:pt x="7890" y="2879"/>
                    <a:pt x="7900" y="2888"/>
                    <a:pt x="7900" y="2888"/>
                  </a:cubicBezTo>
                  <a:cubicBezTo>
                    <a:pt x="7900" y="2888"/>
                    <a:pt x="7908" y="2902"/>
                    <a:pt x="7912" y="2909"/>
                  </a:cubicBezTo>
                  <a:cubicBezTo>
                    <a:pt x="7917" y="2917"/>
                    <a:pt x="7918" y="2929"/>
                    <a:pt x="7923" y="2935"/>
                  </a:cubicBezTo>
                  <a:cubicBezTo>
                    <a:pt x="7927" y="2941"/>
                    <a:pt x="7929" y="2947"/>
                    <a:pt x="7938" y="2956"/>
                  </a:cubicBezTo>
                  <a:cubicBezTo>
                    <a:pt x="7947" y="2965"/>
                    <a:pt x="7950" y="2982"/>
                    <a:pt x="7950" y="2982"/>
                  </a:cubicBezTo>
                  <a:cubicBezTo>
                    <a:pt x="7956" y="2997"/>
                    <a:pt x="7956" y="2997"/>
                    <a:pt x="7956" y="2997"/>
                  </a:cubicBezTo>
                  <a:cubicBezTo>
                    <a:pt x="7956" y="2997"/>
                    <a:pt x="7962" y="3006"/>
                    <a:pt x="7977" y="3014"/>
                  </a:cubicBezTo>
                  <a:cubicBezTo>
                    <a:pt x="7993" y="3021"/>
                    <a:pt x="7990" y="3018"/>
                    <a:pt x="7997" y="3020"/>
                  </a:cubicBezTo>
                  <a:cubicBezTo>
                    <a:pt x="8005" y="3021"/>
                    <a:pt x="8012" y="3040"/>
                    <a:pt x="8012" y="3040"/>
                  </a:cubicBezTo>
                  <a:cubicBezTo>
                    <a:pt x="8012" y="3040"/>
                    <a:pt x="8023" y="3047"/>
                    <a:pt x="8035" y="3052"/>
                  </a:cubicBezTo>
                  <a:cubicBezTo>
                    <a:pt x="8047" y="3056"/>
                    <a:pt x="8050" y="3059"/>
                    <a:pt x="8061" y="3064"/>
                  </a:cubicBezTo>
                  <a:cubicBezTo>
                    <a:pt x="8072" y="3068"/>
                    <a:pt x="8062" y="3077"/>
                    <a:pt x="8062" y="3077"/>
                  </a:cubicBezTo>
                  <a:cubicBezTo>
                    <a:pt x="8062" y="3077"/>
                    <a:pt x="8068" y="3082"/>
                    <a:pt x="8081" y="3087"/>
                  </a:cubicBezTo>
                  <a:cubicBezTo>
                    <a:pt x="8093" y="3091"/>
                    <a:pt x="8090" y="3091"/>
                    <a:pt x="8094" y="3099"/>
                  </a:cubicBezTo>
                  <a:cubicBezTo>
                    <a:pt x="8099" y="3106"/>
                    <a:pt x="8120" y="3106"/>
                    <a:pt x="8125" y="3112"/>
                  </a:cubicBezTo>
                  <a:cubicBezTo>
                    <a:pt x="8129" y="3118"/>
                    <a:pt x="8137" y="3123"/>
                    <a:pt x="8152" y="3126"/>
                  </a:cubicBezTo>
                  <a:cubicBezTo>
                    <a:pt x="8167" y="3129"/>
                    <a:pt x="8187" y="3161"/>
                    <a:pt x="8194" y="3167"/>
                  </a:cubicBezTo>
                  <a:cubicBezTo>
                    <a:pt x="8202" y="3173"/>
                    <a:pt x="8200" y="3178"/>
                    <a:pt x="8202" y="3185"/>
                  </a:cubicBezTo>
                  <a:cubicBezTo>
                    <a:pt x="8203" y="3193"/>
                    <a:pt x="8203" y="3202"/>
                    <a:pt x="8206" y="3211"/>
                  </a:cubicBezTo>
                  <a:cubicBezTo>
                    <a:pt x="8209" y="3220"/>
                    <a:pt x="8208" y="3235"/>
                    <a:pt x="8208" y="3247"/>
                  </a:cubicBezTo>
                  <a:cubicBezTo>
                    <a:pt x="8208" y="3259"/>
                    <a:pt x="8208" y="3266"/>
                    <a:pt x="8209" y="3273"/>
                  </a:cubicBezTo>
                  <a:cubicBezTo>
                    <a:pt x="8211" y="3281"/>
                    <a:pt x="8223" y="3278"/>
                    <a:pt x="8222" y="3290"/>
                  </a:cubicBezTo>
                  <a:cubicBezTo>
                    <a:pt x="8220" y="3302"/>
                    <a:pt x="8223" y="3303"/>
                    <a:pt x="8225" y="3308"/>
                  </a:cubicBezTo>
                  <a:cubicBezTo>
                    <a:pt x="8226" y="3313"/>
                    <a:pt x="8232" y="3309"/>
                    <a:pt x="8241" y="3314"/>
                  </a:cubicBezTo>
                  <a:cubicBezTo>
                    <a:pt x="8250" y="3319"/>
                    <a:pt x="8244" y="3322"/>
                    <a:pt x="8249" y="3326"/>
                  </a:cubicBezTo>
                  <a:cubicBezTo>
                    <a:pt x="8253" y="3331"/>
                    <a:pt x="8250" y="3335"/>
                    <a:pt x="8260" y="3343"/>
                  </a:cubicBezTo>
                  <a:cubicBezTo>
                    <a:pt x="8269" y="3350"/>
                    <a:pt x="8273" y="3350"/>
                    <a:pt x="8278" y="3353"/>
                  </a:cubicBezTo>
                  <a:cubicBezTo>
                    <a:pt x="8282" y="3357"/>
                    <a:pt x="8279" y="3366"/>
                    <a:pt x="8279" y="3378"/>
                  </a:cubicBezTo>
                  <a:cubicBezTo>
                    <a:pt x="8279" y="3390"/>
                    <a:pt x="8296" y="3394"/>
                    <a:pt x="8308" y="3404"/>
                  </a:cubicBezTo>
                  <a:cubicBezTo>
                    <a:pt x="8320" y="3413"/>
                    <a:pt x="8304" y="3414"/>
                    <a:pt x="8305" y="3422"/>
                  </a:cubicBezTo>
                  <a:cubicBezTo>
                    <a:pt x="8307" y="3429"/>
                    <a:pt x="8323" y="3431"/>
                    <a:pt x="8326" y="3441"/>
                  </a:cubicBezTo>
                  <a:cubicBezTo>
                    <a:pt x="8329" y="3452"/>
                    <a:pt x="8343" y="3452"/>
                    <a:pt x="8357" y="3458"/>
                  </a:cubicBezTo>
                  <a:cubicBezTo>
                    <a:pt x="8370" y="3464"/>
                    <a:pt x="8351" y="3475"/>
                    <a:pt x="8351" y="3475"/>
                  </a:cubicBezTo>
                  <a:cubicBezTo>
                    <a:pt x="8351" y="3475"/>
                    <a:pt x="8343" y="3481"/>
                    <a:pt x="8340" y="3485"/>
                  </a:cubicBezTo>
                  <a:cubicBezTo>
                    <a:pt x="8337" y="3490"/>
                    <a:pt x="8343" y="3496"/>
                    <a:pt x="8352" y="3502"/>
                  </a:cubicBezTo>
                  <a:cubicBezTo>
                    <a:pt x="8361" y="3508"/>
                    <a:pt x="8351" y="3513"/>
                    <a:pt x="8351" y="3519"/>
                  </a:cubicBezTo>
                  <a:cubicBezTo>
                    <a:pt x="8351" y="3525"/>
                    <a:pt x="8363" y="3531"/>
                    <a:pt x="8366" y="3535"/>
                  </a:cubicBezTo>
                  <a:cubicBezTo>
                    <a:pt x="8369" y="3540"/>
                    <a:pt x="8373" y="3543"/>
                    <a:pt x="8375" y="3552"/>
                  </a:cubicBezTo>
                  <a:cubicBezTo>
                    <a:pt x="8376" y="3561"/>
                    <a:pt x="8373" y="3567"/>
                    <a:pt x="8376" y="3575"/>
                  </a:cubicBezTo>
                  <a:cubicBezTo>
                    <a:pt x="8379" y="3582"/>
                    <a:pt x="8382" y="3579"/>
                    <a:pt x="8396" y="3578"/>
                  </a:cubicBezTo>
                  <a:cubicBezTo>
                    <a:pt x="8410" y="3576"/>
                    <a:pt x="8408" y="3587"/>
                    <a:pt x="8408" y="3587"/>
                  </a:cubicBezTo>
                  <a:cubicBezTo>
                    <a:pt x="8408" y="3587"/>
                    <a:pt x="8410" y="3596"/>
                    <a:pt x="8420" y="3602"/>
                  </a:cubicBezTo>
                  <a:cubicBezTo>
                    <a:pt x="8431" y="3608"/>
                    <a:pt x="8426" y="3596"/>
                    <a:pt x="8440" y="3596"/>
                  </a:cubicBezTo>
                  <a:cubicBezTo>
                    <a:pt x="8454" y="3596"/>
                    <a:pt x="8446" y="3616"/>
                    <a:pt x="8451" y="3614"/>
                  </a:cubicBezTo>
                  <a:cubicBezTo>
                    <a:pt x="8455" y="3613"/>
                    <a:pt x="8460" y="3610"/>
                    <a:pt x="8458" y="3599"/>
                  </a:cubicBezTo>
                  <a:cubicBezTo>
                    <a:pt x="8457" y="3589"/>
                    <a:pt x="8463" y="3593"/>
                    <a:pt x="8457" y="3581"/>
                  </a:cubicBezTo>
                  <a:cubicBezTo>
                    <a:pt x="8451" y="3569"/>
                    <a:pt x="8446" y="3567"/>
                    <a:pt x="8446" y="3567"/>
                  </a:cubicBezTo>
                  <a:cubicBezTo>
                    <a:pt x="8446" y="3567"/>
                    <a:pt x="8443" y="3558"/>
                    <a:pt x="8440" y="3552"/>
                  </a:cubicBezTo>
                  <a:cubicBezTo>
                    <a:pt x="8437" y="3546"/>
                    <a:pt x="8431" y="3546"/>
                    <a:pt x="8429" y="3534"/>
                  </a:cubicBezTo>
                  <a:cubicBezTo>
                    <a:pt x="8428" y="3522"/>
                    <a:pt x="8443" y="3540"/>
                    <a:pt x="8448" y="3540"/>
                  </a:cubicBezTo>
                  <a:cubicBezTo>
                    <a:pt x="8452" y="3540"/>
                    <a:pt x="8460" y="3529"/>
                    <a:pt x="8460" y="3529"/>
                  </a:cubicBezTo>
                  <a:cubicBezTo>
                    <a:pt x="8460" y="3529"/>
                    <a:pt x="8455" y="3522"/>
                    <a:pt x="8440" y="3511"/>
                  </a:cubicBezTo>
                  <a:cubicBezTo>
                    <a:pt x="8435" y="3508"/>
                    <a:pt x="8437" y="3501"/>
                    <a:pt x="8429" y="3501"/>
                  </a:cubicBezTo>
                  <a:cubicBezTo>
                    <a:pt x="8422" y="3501"/>
                    <a:pt x="8419" y="3491"/>
                    <a:pt x="8414" y="3484"/>
                  </a:cubicBezTo>
                  <a:cubicBezTo>
                    <a:pt x="8410" y="3476"/>
                    <a:pt x="8404" y="3482"/>
                    <a:pt x="8398" y="3481"/>
                  </a:cubicBezTo>
                  <a:cubicBezTo>
                    <a:pt x="8391" y="3479"/>
                    <a:pt x="8385" y="3473"/>
                    <a:pt x="8381" y="3470"/>
                  </a:cubicBezTo>
                  <a:cubicBezTo>
                    <a:pt x="8376" y="3467"/>
                    <a:pt x="8382" y="3460"/>
                    <a:pt x="8387" y="3458"/>
                  </a:cubicBezTo>
                  <a:cubicBezTo>
                    <a:pt x="8391" y="3457"/>
                    <a:pt x="8405" y="3467"/>
                    <a:pt x="8405" y="3467"/>
                  </a:cubicBezTo>
                  <a:cubicBezTo>
                    <a:pt x="8405" y="3467"/>
                    <a:pt x="8420" y="3467"/>
                    <a:pt x="8420" y="3473"/>
                  </a:cubicBezTo>
                  <a:cubicBezTo>
                    <a:pt x="8420" y="3479"/>
                    <a:pt x="8429" y="3481"/>
                    <a:pt x="8437" y="3484"/>
                  </a:cubicBezTo>
                  <a:cubicBezTo>
                    <a:pt x="8445" y="3487"/>
                    <a:pt x="8451" y="3493"/>
                    <a:pt x="8451" y="3498"/>
                  </a:cubicBezTo>
                  <a:cubicBezTo>
                    <a:pt x="8451" y="3502"/>
                    <a:pt x="8463" y="3514"/>
                    <a:pt x="8469" y="3513"/>
                  </a:cubicBezTo>
                  <a:cubicBezTo>
                    <a:pt x="8475" y="3511"/>
                    <a:pt x="8470" y="3499"/>
                    <a:pt x="8467" y="3488"/>
                  </a:cubicBezTo>
                  <a:cubicBezTo>
                    <a:pt x="8464" y="3478"/>
                    <a:pt x="8467" y="3488"/>
                    <a:pt x="8473" y="3481"/>
                  </a:cubicBezTo>
                  <a:cubicBezTo>
                    <a:pt x="8479" y="3473"/>
                    <a:pt x="8481" y="3470"/>
                    <a:pt x="8476" y="3467"/>
                  </a:cubicBezTo>
                  <a:cubicBezTo>
                    <a:pt x="8472" y="3464"/>
                    <a:pt x="8467" y="3461"/>
                    <a:pt x="8467" y="3454"/>
                  </a:cubicBezTo>
                  <a:cubicBezTo>
                    <a:pt x="8467" y="3446"/>
                    <a:pt x="8472" y="3441"/>
                    <a:pt x="8464" y="3435"/>
                  </a:cubicBezTo>
                  <a:cubicBezTo>
                    <a:pt x="8457" y="3429"/>
                    <a:pt x="8457" y="3431"/>
                    <a:pt x="8452" y="3429"/>
                  </a:cubicBezTo>
                  <a:cubicBezTo>
                    <a:pt x="8448" y="3428"/>
                    <a:pt x="8445" y="3425"/>
                    <a:pt x="8437" y="3417"/>
                  </a:cubicBezTo>
                  <a:cubicBezTo>
                    <a:pt x="8429" y="3410"/>
                    <a:pt x="8431" y="3408"/>
                    <a:pt x="8422" y="3400"/>
                  </a:cubicBezTo>
                  <a:cubicBezTo>
                    <a:pt x="8413" y="3393"/>
                    <a:pt x="8398" y="3410"/>
                    <a:pt x="8401" y="3400"/>
                  </a:cubicBezTo>
                  <a:cubicBezTo>
                    <a:pt x="8401" y="3400"/>
                    <a:pt x="8402" y="3393"/>
                    <a:pt x="8410" y="3381"/>
                  </a:cubicBezTo>
                  <a:cubicBezTo>
                    <a:pt x="8417" y="3369"/>
                    <a:pt x="8411" y="3370"/>
                    <a:pt x="8408" y="3366"/>
                  </a:cubicBezTo>
                  <a:cubicBezTo>
                    <a:pt x="8405" y="3361"/>
                    <a:pt x="8398" y="3360"/>
                    <a:pt x="8391" y="3357"/>
                  </a:cubicBezTo>
                  <a:cubicBezTo>
                    <a:pt x="8385" y="3353"/>
                    <a:pt x="8384" y="3343"/>
                    <a:pt x="8381" y="3338"/>
                  </a:cubicBezTo>
                  <a:cubicBezTo>
                    <a:pt x="8378" y="3334"/>
                    <a:pt x="8378" y="3331"/>
                    <a:pt x="8369" y="3326"/>
                  </a:cubicBezTo>
                  <a:cubicBezTo>
                    <a:pt x="8360" y="3322"/>
                    <a:pt x="8364" y="3317"/>
                    <a:pt x="8363" y="3309"/>
                  </a:cubicBezTo>
                  <a:cubicBezTo>
                    <a:pt x="8361" y="3302"/>
                    <a:pt x="8364" y="3296"/>
                    <a:pt x="8376" y="3299"/>
                  </a:cubicBezTo>
                  <a:cubicBezTo>
                    <a:pt x="8381" y="3300"/>
                    <a:pt x="8381" y="3308"/>
                    <a:pt x="8385" y="3311"/>
                  </a:cubicBezTo>
                  <a:cubicBezTo>
                    <a:pt x="8390" y="3314"/>
                    <a:pt x="8391" y="3319"/>
                    <a:pt x="8396" y="3326"/>
                  </a:cubicBezTo>
                  <a:cubicBezTo>
                    <a:pt x="8401" y="3334"/>
                    <a:pt x="8408" y="3326"/>
                    <a:pt x="8413" y="3326"/>
                  </a:cubicBezTo>
                  <a:cubicBezTo>
                    <a:pt x="8417" y="3326"/>
                    <a:pt x="8423" y="3328"/>
                    <a:pt x="8429" y="3317"/>
                  </a:cubicBezTo>
                  <a:cubicBezTo>
                    <a:pt x="8435" y="3306"/>
                    <a:pt x="8431" y="3311"/>
                    <a:pt x="8431" y="3305"/>
                  </a:cubicBezTo>
                  <a:cubicBezTo>
                    <a:pt x="8431" y="3299"/>
                    <a:pt x="8422" y="3291"/>
                    <a:pt x="8422" y="3291"/>
                  </a:cubicBezTo>
                  <a:cubicBezTo>
                    <a:pt x="8408" y="3282"/>
                    <a:pt x="8408" y="3282"/>
                    <a:pt x="8408" y="3282"/>
                  </a:cubicBezTo>
                  <a:cubicBezTo>
                    <a:pt x="8413" y="3270"/>
                    <a:pt x="8413" y="3270"/>
                    <a:pt x="8413" y="3270"/>
                  </a:cubicBezTo>
                  <a:cubicBezTo>
                    <a:pt x="8432" y="3264"/>
                    <a:pt x="8432" y="3264"/>
                    <a:pt x="8432" y="3264"/>
                  </a:cubicBezTo>
                  <a:cubicBezTo>
                    <a:pt x="8434" y="3250"/>
                    <a:pt x="8434" y="3250"/>
                    <a:pt x="8434" y="3250"/>
                  </a:cubicBezTo>
                  <a:cubicBezTo>
                    <a:pt x="8434" y="3250"/>
                    <a:pt x="8443" y="3241"/>
                    <a:pt x="8455" y="3244"/>
                  </a:cubicBezTo>
                  <a:cubicBezTo>
                    <a:pt x="8455" y="3244"/>
                    <a:pt x="8463" y="3253"/>
                    <a:pt x="8467" y="3256"/>
                  </a:cubicBezTo>
                  <a:cubicBezTo>
                    <a:pt x="8472" y="3259"/>
                    <a:pt x="8479" y="3267"/>
                    <a:pt x="8479" y="3267"/>
                  </a:cubicBezTo>
                  <a:cubicBezTo>
                    <a:pt x="8493" y="3272"/>
                    <a:pt x="8493" y="3272"/>
                    <a:pt x="8493" y="3272"/>
                  </a:cubicBezTo>
                  <a:cubicBezTo>
                    <a:pt x="8508" y="3281"/>
                    <a:pt x="8508" y="3281"/>
                    <a:pt x="8508" y="3281"/>
                  </a:cubicBezTo>
                  <a:cubicBezTo>
                    <a:pt x="8508" y="3281"/>
                    <a:pt x="8514" y="3279"/>
                    <a:pt x="8525" y="3276"/>
                  </a:cubicBezTo>
                  <a:cubicBezTo>
                    <a:pt x="8539" y="3270"/>
                    <a:pt x="8539" y="3270"/>
                    <a:pt x="8539" y="3270"/>
                  </a:cubicBezTo>
                  <a:cubicBezTo>
                    <a:pt x="8545" y="3259"/>
                    <a:pt x="8545" y="3259"/>
                    <a:pt x="8545" y="3259"/>
                  </a:cubicBezTo>
                  <a:cubicBezTo>
                    <a:pt x="8545" y="3259"/>
                    <a:pt x="8554" y="3241"/>
                    <a:pt x="8563" y="3232"/>
                  </a:cubicBezTo>
                  <a:cubicBezTo>
                    <a:pt x="8563" y="3232"/>
                    <a:pt x="8576" y="3238"/>
                    <a:pt x="8581" y="3240"/>
                  </a:cubicBezTo>
                  <a:cubicBezTo>
                    <a:pt x="8586" y="3241"/>
                    <a:pt x="8584" y="3246"/>
                    <a:pt x="8599" y="3250"/>
                  </a:cubicBezTo>
                  <a:cubicBezTo>
                    <a:pt x="8614" y="3255"/>
                    <a:pt x="8599" y="3250"/>
                    <a:pt x="8605" y="3255"/>
                  </a:cubicBezTo>
                  <a:cubicBezTo>
                    <a:pt x="8611" y="3259"/>
                    <a:pt x="8604" y="3261"/>
                    <a:pt x="8604" y="3266"/>
                  </a:cubicBezTo>
                  <a:cubicBezTo>
                    <a:pt x="8604" y="3270"/>
                    <a:pt x="8598" y="3279"/>
                    <a:pt x="8596" y="3285"/>
                  </a:cubicBezTo>
                  <a:cubicBezTo>
                    <a:pt x="8595" y="3291"/>
                    <a:pt x="8589" y="3290"/>
                    <a:pt x="8581" y="3287"/>
                  </a:cubicBezTo>
                  <a:cubicBezTo>
                    <a:pt x="8573" y="3284"/>
                    <a:pt x="8569" y="3290"/>
                    <a:pt x="8564" y="3288"/>
                  </a:cubicBezTo>
                  <a:cubicBezTo>
                    <a:pt x="8560" y="3287"/>
                    <a:pt x="8549" y="3288"/>
                    <a:pt x="8549" y="3288"/>
                  </a:cubicBezTo>
                  <a:cubicBezTo>
                    <a:pt x="8549" y="3288"/>
                    <a:pt x="8536" y="3293"/>
                    <a:pt x="8529" y="3290"/>
                  </a:cubicBezTo>
                  <a:cubicBezTo>
                    <a:pt x="8523" y="3287"/>
                    <a:pt x="8519" y="3291"/>
                    <a:pt x="8519" y="3291"/>
                  </a:cubicBezTo>
                  <a:cubicBezTo>
                    <a:pt x="8519" y="3291"/>
                    <a:pt x="8508" y="3288"/>
                    <a:pt x="8504" y="3290"/>
                  </a:cubicBezTo>
                  <a:cubicBezTo>
                    <a:pt x="8499" y="3291"/>
                    <a:pt x="8502" y="3302"/>
                    <a:pt x="8502" y="3302"/>
                  </a:cubicBezTo>
                  <a:cubicBezTo>
                    <a:pt x="8502" y="3302"/>
                    <a:pt x="8507" y="3314"/>
                    <a:pt x="8510" y="3319"/>
                  </a:cubicBezTo>
                  <a:cubicBezTo>
                    <a:pt x="8513" y="3323"/>
                    <a:pt x="8514" y="3329"/>
                    <a:pt x="8516" y="3334"/>
                  </a:cubicBezTo>
                  <a:cubicBezTo>
                    <a:pt x="8517" y="3338"/>
                    <a:pt x="8516" y="3350"/>
                    <a:pt x="8516" y="3355"/>
                  </a:cubicBezTo>
                  <a:cubicBezTo>
                    <a:pt x="8516" y="3360"/>
                    <a:pt x="8517" y="3366"/>
                    <a:pt x="8519" y="3370"/>
                  </a:cubicBezTo>
                  <a:cubicBezTo>
                    <a:pt x="8520" y="3375"/>
                    <a:pt x="8534" y="3361"/>
                    <a:pt x="8534" y="3361"/>
                  </a:cubicBezTo>
                  <a:cubicBezTo>
                    <a:pt x="8534" y="3361"/>
                    <a:pt x="8540" y="3375"/>
                    <a:pt x="8542" y="3379"/>
                  </a:cubicBezTo>
                  <a:cubicBezTo>
                    <a:pt x="8543" y="3384"/>
                    <a:pt x="8548" y="3388"/>
                    <a:pt x="8549" y="3397"/>
                  </a:cubicBezTo>
                  <a:cubicBezTo>
                    <a:pt x="8551" y="3407"/>
                    <a:pt x="8552" y="3411"/>
                    <a:pt x="8552" y="3419"/>
                  </a:cubicBezTo>
                  <a:cubicBezTo>
                    <a:pt x="8552" y="3426"/>
                    <a:pt x="8561" y="3423"/>
                    <a:pt x="8563" y="3428"/>
                  </a:cubicBezTo>
                  <a:cubicBezTo>
                    <a:pt x="8564" y="3432"/>
                    <a:pt x="8560" y="3441"/>
                    <a:pt x="8549" y="3458"/>
                  </a:cubicBezTo>
                  <a:cubicBezTo>
                    <a:pt x="8545" y="3464"/>
                    <a:pt x="8545" y="3472"/>
                    <a:pt x="8545" y="3472"/>
                  </a:cubicBezTo>
                  <a:cubicBezTo>
                    <a:pt x="8545" y="3472"/>
                    <a:pt x="8545" y="3472"/>
                    <a:pt x="8549" y="3475"/>
                  </a:cubicBezTo>
                  <a:cubicBezTo>
                    <a:pt x="8554" y="3478"/>
                    <a:pt x="8567" y="3484"/>
                    <a:pt x="8567" y="3484"/>
                  </a:cubicBezTo>
                  <a:cubicBezTo>
                    <a:pt x="8578" y="3491"/>
                    <a:pt x="8578" y="3491"/>
                    <a:pt x="8578" y="3491"/>
                  </a:cubicBezTo>
                  <a:cubicBezTo>
                    <a:pt x="8578" y="3491"/>
                    <a:pt x="8583" y="3501"/>
                    <a:pt x="8589" y="3504"/>
                  </a:cubicBezTo>
                  <a:cubicBezTo>
                    <a:pt x="8595" y="3507"/>
                    <a:pt x="8590" y="3516"/>
                    <a:pt x="8590" y="3526"/>
                  </a:cubicBezTo>
                  <a:cubicBezTo>
                    <a:pt x="8590" y="3537"/>
                    <a:pt x="8592" y="3537"/>
                    <a:pt x="8592" y="3537"/>
                  </a:cubicBezTo>
                  <a:cubicBezTo>
                    <a:pt x="8605" y="3552"/>
                    <a:pt x="8605" y="3552"/>
                    <a:pt x="8605" y="3552"/>
                  </a:cubicBezTo>
                  <a:cubicBezTo>
                    <a:pt x="8605" y="3552"/>
                    <a:pt x="8607" y="3566"/>
                    <a:pt x="8613" y="3575"/>
                  </a:cubicBezTo>
                  <a:cubicBezTo>
                    <a:pt x="8619" y="3584"/>
                    <a:pt x="8611" y="3585"/>
                    <a:pt x="8614" y="3595"/>
                  </a:cubicBezTo>
                  <a:cubicBezTo>
                    <a:pt x="8617" y="3604"/>
                    <a:pt x="8614" y="3595"/>
                    <a:pt x="8628" y="3596"/>
                  </a:cubicBezTo>
                  <a:cubicBezTo>
                    <a:pt x="8642" y="3598"/>
                    <a:pt x="8636" y="3579"/>
                    <a:pt x="8642" y="3572"/>
                  </a:cubicBezTo>
                  <a:cubicBezTo>
                    <a:pt x="8648" y="3564"/>
                    <a:pt x="8646" y="3584"/>
                    <a:pt x="8649" y="3592"/>
                  </a:cubicBezTo>
                  <a:cubicBezTo>
                    <a:pt x="8652" y="3599"/>
                    <a:pt x="8658" y="3605"/>
                    <a:pt x="8667" y="3614"/>
                  </a:cubicBezTo>
                  <a:cubicBezTo>
                    <a:pt x="8677" y="3623"/>
                    <a:pt x="8684" y="3631"/>
                    <a:pt x="8684" y="3631"/>
                  </a:cubicBezTo>
                  <a:cubicBezTo>
                    <a:pt x="8684" y="3631"/>
                    <a:pt x="8698" y="3632"/>
                    <a:pt x="8707" y="3634"/>
                  </a:cubicBezTo>
                  <a:cubicBezTo>
                    <a:pt x="8716" y="3636"/>
                    <a:pt x="8713" y="3639"/>
                    <a:pt x="8717" y="3639"/>
                  </a:cubicBezTo>
                  <a:cubicBezTo>
                    <a:pt x="8722" y="3639"/>
                    <a:pt x="8721" y="3632"/>
                    <a:pt x="8722" y="3628"/>
                  </a:cubicBezTo>
                  <a:cubicBezTo>
                    <a:pt x="8724" y="3623"/>
                    <a:pt x="8719" y="3614"/>
                    <a:pt x="8716" y="3605"/>
                  </a:cubicBezTo>
                  <a:cubicBezTo>
                    <a:pt x="8713" y="3596"/>
                    <a:pt x="8721" y="3575"/>
                    <a:pt x="8721" y="3575"/>
                  </a:cubicBezTo>
                  <a:cubicBezTo>
                    <a:pt x="8721" y="3575"/>
                    <a:pt x="8727" y="3573"/>
                    <a:pt x="8734" y="3579"/>
                  </a:cubicBezTo>
                  <a:cubicBezTo>
                    <a:pt x="8742" y="3585"/>
                    <a:pt x="8748" y="3590"/>
                    <a:pt x="8748" y="3590"/>
                  </a:cubicBezTo>
                  <a:cubicBezTo>
                    <a:pt x="8748" y="3590"/>
                    <a:pt x="8755" y="3598"/>
                    <a:pt x="8761" y="3605"/>
                  </a:cubicBezTo>
                  <a:cubicBezTo>
                    <a:pt x="8768" y="3613"/>
                    <a:pt x="8775" y="3619"/>
                    <a:pt x="8778" y="3629"/>
                  </a:cubicBezTo>
                  <a:cubicBezTo>
                    <a:pt x="8781" y="3640"/>
                    <a:pt x="8786" y="3640"/>
                    <a:pt x="8790" y="3648"/>
                  </a:cubicBezTo>
                  <a:cubicBezTo>
                    <a:pt x="8795" y="3655"/>
                    <a:pt x="8798" y="3645"/>
                    <a:pt x="8805" y="3643"/>
                  </a:cubicBezTo>
                  <a:cubicBezTo>
                    <a:pt x="8813" y="3642"/>
                    <a:pt x="8816" y="3637"/>
                    <a:pt x="8818" y="3628"/>
                  </a:cubicBezTo>
                  <a:cubicBezTo>
                    <a:pt x="8819" y="3619"/>
                    <a:pt x="8824" y="3616"/>
                    <a:pt x="8822" y="3608"/>
                  </a:cubicBezTo>
                  <a:cubicBezTo>
                    <a:pt x="8821" y="3601"/>
                    <a:pt x="8821" y="3590"/>
                    <a:pt x="8821" y="3590"/>
                  </a:cubicBezTo>
                  <a:cubicBezTo>
                    <a:pt x="8821" y="3590"/>
                    <a:pt x="8827" y="3582"/>
                    <a:pt x="8840" y="3590"/>
                  </a:cubicBezTo>
                  <a:cubicBezTo>
                    <a:pt x="8845" y="3592"/>
                    <a:pt x="8860" y="3596"/>
                    <a:pt x="8860" y="3596"/>
                  </a:cubicBezTo>
                  <a:cubicBezTo>
                    <a:pt x="8860" y="3596"/>
                    <a:pt x="8860" y="3596"/>
                    <a:pt x="8868" y="3589"/>
                  </a:cubicBezTo>
                  <a:cubicBezTo>
                    <a:pt x="8875" y="3581"/>
                    <a:pt x="8875" y="3573"/>
                    <a:pt x="8875" y="3573"/>
                  </a:cubicBezTo>
                  <a:cubicBezTo>
                    <a:pt x="8878" y="3599"/>
                    <a:pt x="8878" y="3599"/>
                    <a:pt x="8878" y="3599"/>
                  </a:cubicBezTo>
                  <a:cubicBezTo>
                    <a:pt x="8878" y="3599"/>
                    <a:pt x="8872" y="3620"/>
                    <a:pt x="8872" y="3628"/>
                  </a:cubicBezTo>
                  <a:cubicBezTo>
                    <a:pt x="8872" y="3636"/>
                    <a:pt x="8874" y="3652"/>
                    <a:pt x="8874" y="3663"/>
                  </a:cubicBezTo>
                  <a:cubicBezTo>
                    <a:pt x="8874" y="3673"/>
                    <a:pt x="8877" y="3675"/>
                    <a:pt x="8883" y="3683"/>
                  </a:cubicBezTo>
                  <a:cubicBezTo>
                    <a:pt x="8889" y="3690"/>
                    <a:pt x="8883" y="3701"/>
                    <a:pt x="8884" y="3713"/>
                  </a:cubicBezTo>
                  <a:cubicBezTo>
                    <a:pt x="8886" y="3725"/>
                    <a:pt x="8890" y="3733"/>
                    <a:pt x="8895" y="3742"/>
                  </a:cubicBezTo>
                  <a:cubicBezTo>
                    <a:pt x="8899" y="3751"/>
                    <a:pt x="8896" y="3774"/>
                    <a:pt x="8896" y="3790"/>
                  </a:cubicBezTo>
                  <a:cubicBezTo>
                    <a:pt x="8896" y="3807"/>
                    <a:pt x="8895" y="3834"/>
                    <a:pt x="8896" y="3846"/>
                  </a:cubicBezTo>
                  <a:cubicBezTo>
                    <a:pt x="8898" y="3858"/>
                    <a:pt x="8895" y="3936"/>
                    <a:pt x="8895" y="3951"/>
                  </a:cubicBezTo>
                  <a:cubicBezTo>
                    <a:pt x="8895" y="3966"/>
                    <a:pt x="8895" y="3974"/>
                    <a:pt x="8895" y="3974"/>
                  </a:cubicBezTo>
                  <a:cubicBezTo>
                    <a:pt x="8895" y="3974"/>
                    <a:pt x="8892" y="3990"/>
                    <a:pt x="8892" y="3995"/>
                  </a:cubicBezTo>
                  <a:cubicBezTo>
                    <a:pt x="8892" y="3999"/>
                    <a:pt x="8889" y="4007"/>
                    <a:pt x="8886" y="4015"/>
                  </a:cubicBezTo>
                  <a:cubicBezTo>
                    <a:pt x="8883" y="4022"/>
                    <a:pt x="8878" y="4025"/>
                    <a:pt x="8871" y="4030"/>
                  </a:cubicBezTo>
                  <a:cubicBezTo>
                    <a:pt x="8863" y="4034"/>
                    <a:pt x="8854" y="4039"/>
                    <a:pt x="8854" y="4039"/>
                  </a:cubicBezTo>
                  <a:cubicBezTo>
                    <a:pt x="8854" y="4039"/>
                    <a:pt x="8834" y="4033"/>
                    <a:pt x="8830" y="4031"/>
                  </a:cubicBezTo>
                  <a:cubicBezTo>
                    <a:pt x="8825" y="4030"/>
                    <a:pt x="8830" y="4013"/>
                    <a:pt x="8833" y="4009"/>
                  </a:cubicBezTo>
                  <a:cubicBezTo>
                    <a:pt x="8836" y="4004"/>
                    <a:pt x="8827" y="4001"/>
                    <a:pt x="8827" y="4001"/>
                  </a:cubicBezTo>
                  <a:cubicBezTo>
                    <a:pt x="8827" y="4001"/>
                    <a:pt x="8802" y="3996"/>
                    <a:pt x="8798" y="3999"/>
                  </a:cubicBezTo>
                  <a:cubicBezTo>
                    <a:pt x="8793" y="4002"/>
                    <a:pt x="8786" y="4001"/>
                    <a:pt x="8783" y="4006"/>
                  </a:cubicBezTo>
                  <a:cubicBezTo>
                    <a:pt x="8780" y="4010"/>
                    <a:pt x="8771" y="4022"/>
                    <a:pt x="8771" y="4027"/>
                  </a:cubicBezTo>
                  <a:cubicBezTo>
                    <a:pt x="8771" y="4031"/>
                    <a:pt x="8755" y="4043"/>
                    <a:pt x="8752" y="4053"/>
                  </a:cubicBezTo>
                  <a:cubicBezTo>
                    <a:pt x="8749" y="4062"/>
                    <a:pt x="8745" y="4057"/>
                    <a:pt x="8740" y="4062"/>
                  </a:cubicBezTo>
                  <a:cubicBezTo>
                    <a:pt x="8736" y="4066"/>
                    <a:pt x="8724" y="4053"/>
                    <a:pt x="8724" y="4053"/>
                  </a:cubicBezTo>
                  <a:cubicBezTo>
                    <a:pt x="8713" y="4042"/>
                    <a:pt x="8713" y="4042"/>
                    <a:pt x="8713" y="4042"/>
                  </a:cubicBezTo>
                  <a:cubicBezTo>
                    <a:pt x="8689" y="4033"/>
                    <a:pt x="8689" y="4033"/>
                    <a:pt x="8689" y="4033"/>
                  </a:cubicBezTo>
                  <a:cubicBezTo>
                    <a:pt x="8689" y="4033"/>
                    <a:pt x="8680" y="4022"/>
                    <a:pt x="8678" y="4016"/>
                  </a:cubicBezTo>
                  <a:cubicBezTo>
                    <a:pt x="8677" y="4010"/>
                    <a:pt x="8652" y="4001"/>
                    <a:pt x="8652" y="4001"/>
                  </a:cubicBezTo>
                  <a:cubicBezTo>
                    <a:pt x="8634" y="3995"/>
                    <a:pt x="8634" y="3995"/>
                    <a:pt x="8634" y="3995"/>
                  </a:cubicBezTo>
                  <a:cubicBezTo>
                    <a:pt x="8634" y="3995"/>
                    <a:pt x="8613" y="3996"/>
                    <a:pt x="8613" y="4002"/>
                  </a:cubicBezTo>
                  <a:cubicBezTo>
                    <a:pt x="8613" y="4009"/>
                    <a:pt x="8589" y="3992"/>
                    <a:pt x="8589" y="3992"/>
                  </a:cubicBezTo>
                  <a:cubicBezTo>
                    <a:pt x="8587" y="3981"/>
                    <a:pt x="8587" y="3981"/>
                    <a:pt x="8587" y="3981"/>
                  </a:cubicBezTo>
                  <a:cubicBezTo>
                    <a:pt x="8587" y="3981"/>
                    <a:pt x="8586" y="3971"/>
                    <a:pt x="8581" y="3968"/>
                  </a:cubicBezTo>
                  <a:cubicBezTo>
                    <a:pt x="8576" y="3965"/>
                    <a:pt x="8569" y="3968"/>
                    <a:pt x="8563" y="3968"/>
                  </a:cubicBezTo>
                  <a:cubicBezTo>
                    <a:pt x="8557" y="3968"/>
                    <a:pt x="8557" y="3959"/>
                    <a:pt x="8548" y="3960"/>
                  </a:cubicBezTo>
                  <a:cubicBezTo>
                    <a:pt x="8539" y="3962"/>
                    <a:pt x="8534" y="3954"/>
                    <a:pt x="8526" y="3954"/>
                  </a:cubicBezTo>
                  <a:cubicBezTo>
                    <a:pt x="8519" y="3954"/>
                    <a:pt x="8511" y="3946"/>
                    <a:pt x="8507" y="3945"/>
                  </a:cubicBezTo>
                  <a:cubicBezTo>
                    <a:pt x="8502" y="3943"/>
                    <a:pt x="8504" y="3928"/>
                    <a:pt x="8504" y="3921"/>
                  </a:cubicBezTo>
                  <a:cubicBezTo>
                    <a:pt x="8504" y="3913"/>
                    <a:pt x="8496" y="3907"/>
                    <a:pt x="8489" y="3908"/>
                  </a:cubicBezTo>
                  <a:cubicBezTo>
                    <a:pt x="8481" y="3910"/>
                    <a:pt x="8475" y="3908"/>
                    <a:pt x="8469" y="3902"/>
                  </a:cubicBezTo>
                  <a:cubicBezTo>
                    <a:pt x="8463" y="3896"/>
                    <a:pt x="8460" y="3889"/>
                    <a:pt x="8451" y="3893"/>
                  </a:cubicBezTo>
                  <a:cubicBezTo>
                    <a:pt x="8442" y="3898"/>
                    <a:pt x="8422" y="3901"/>
                    <a:pt x="8416" y="3902"/>
                  </a:cubicBezTo>
                  <a:cubicBezTo>
                    <a:pt x="8410" y="3904"/>
                    <a:pt x="8410" y="3904"/>
                    <a:pt x="8404" y="3910"/>
                  </a:cubicBezTo>
                  <a:cubicBezTo>
                    <a:pt x="8398" y="3916"/>
                    <a:pt x="8393" y="3916"/>
                    <a:pt x="8385" y="3921"/>
                  </a:cubicBezTo>
                  <a:cubicBezTo>
                    <a:pt x="8378" y="3925"/>
                    <a:pt x="8376" y="3924"/>
                    <a:pt x="8370" y="3931"/>
                  </a:cubicBezTo>
                  <a:cubicBezTo>
                    <a:pt x="8364" y="3939"/>
                    <a:pt x="8363" y="3949"/>
                    <a:pt x="8363" y="3949"/>
                  </a:cubicBezTo>
                  <a:cubicBezTo>
                    <a:pt x="8363" y="3949"/>
                    <a:pt x="8364" y="3960"/>
                    <a:pt x="8366" y="3965"/>
                  </a:cubicBezTo>
                  <a:cubicBezTo>
                    <a:pt x="8367" y="3969"/>
                    <a:pt x="8363" y="3981"/>
                    <a:pt x="8364" y="3986"/>
                  </a:cubicBezTo>
                  <a:cubicBezTo>
                    <a:pt x="8366" y="3990"/>
                    <a:pt x="8367" y="3993"/>
                    <a:pt x="8367" y="4001"/>
                  </a:cubicBezTo>
                  <a:cubicBezTo>
                    <a:pt x="8367" y="4009"/>
                    <a:pt x="8370" y="4010"/>
                    <a:pt x="8375" y="4019"/>
                  </a:cubicBezTo>
                  <a:cubicBezTo>
                    <a:pt x="8379" y="4028"/>
                    <a:pt x="8376" y="4028"/>
                    <a:pt x="8378" y="4036"/>
                  </a:cubicBezTo>
                  <a:cubicBezTo>
                    <a:pt x="8379" y="4043"/>
                    <a:pt x="8378" y="4050"/>
                    <a:pt x="8376" y="4057"/>
                  </a:cubicBezTo>
                  <a:cubicBezTo>
                    <a:pt x="8375" y="4065"/>
                    <a:pt x="8376" y="4063"/>
                    <a:pt x="8373" y="4068"/>
                  </a:cubicBezTo>
                  <a:cubicBezTo>
                    <a:pt x="8370" y="4072"/>
                    <a:pt x="8367" y="4078"/>
                    <a:pt x="8360" y="4086"/>
                  </a:cubicBezTo>
                  <a:cubicBezTo>
                    <a:pt x="8352" y="4093"/>
                    <a:pt x="8354" y="4092"/>
                    <a:pt x="8340" y="4095"/>
                  </a:cubicBezTo>
                  <a:cubicBezTo>
                    <a:pt x="8326" y="4098"/>
                    <a:pt x="8340" y="4095"/>
                    <a:pt x="8332" y="4093"/>
                  </a:cubicBezTo>
                  <a:cubicBezTo>
                    <a:pt x="8325" y="4092"/>
                    <a:pt x="8322" y="4087"/>
                    <a:pt x="8317" y="4086"/>
                  </a:cubicBezTo>
                  <a:cubicBezTo>
                    <a:pt x="8313" y="4084"/>
                    <a:pt x="8305" y="4075"/>
                    <a:pt x="8305" y="4075"/>
                  </a:cubicBezTo>
                  <a:cubicBezTo>
                    <a:pt x="8305" y="4075"/>
                    <a:pt x="8293" y="4069"/>
                    <a:pt x="8293" y="4065"/>
                  </a:cubicBezTo>
                  <a:cubicBezTo>
                    <a:pt x="8293" y="4060"/>
                    <a:pt x="8279" y="4054"/>
                    <a:pt x="8273" y="4051"/>
                  </a:cubicBezTo>
                  <a:cubicBezTo>
                    <a:pt x="8267" y="4048"/>
                    <a:pt x="8261" y="4039"/>
                    <a:pt x="8261" y="4039"/>
                  </a:cubicBezTo>
                  <a:cubicBezTo>
                    <a:pt x="8261" y="4039"/>
                    <a:pt x="8252" y="4036"/>
                    <a:pt x="8247" y="4034"/>
                  </a:cubicBezTo>
                  <a:cubicBezTo>
                    <a:pt x="8243" y="4033"/>
                    <a:pt x="8241" y="4028"/>
                    <a:pt x="8237" y="4031"/>
                  </a:cubicBezTo>
                  <a:cubicBezTo>
                    <a:pt x="8232" y="4034"/>
                    <a:pt x="8220" y="4027"/>
                    <a:pt x="8213" y="4031"/>
                  </a:cubicBezTo>
                  <a:cubicBezTo>
                    <a:pt x="8205" y="4036"/>
                    <a:pt x="8194" y="4025"/>
                    <a:pt x="8187" y="4018"/>
                  </a:cubicBezTo>
                  <a:cubicBezTo>
                    <a:pt x="8179" y="4010"/>
                    <a:pt x="8161" y="4007"/>
                    <a:pt x="8161" y="4007"/>
                  </a:cubicBezTo>
                  <a:cubicBezTo>
                    <a:pt x="8161" y="4007"/>
                    <a:pt x="8155" y="3995"/>
                    <a:pt x="8152" y="3989"/>
                  </a:cubicBezTo>
                  <a:cubicBezTo>
                    <a:pt x="8149" y="3983"/>
                    <a:pt x="8149" y="3974"/>
                    <a:pt x="8149" y="3974"/>
                  </a:cubicBezTo>
                  <a:cubicBezTo>
                    <a:pt x="8152" y="3955"/>
                    <a:pt x="8152" y="3955"/>
                    <a:pt x="8152" y="3955"/>
                  </a:cubicBezTo>
                  <a:cubicBezTo>
                    <a:pt x="8152" y="3955"/>
                    <a:pt x="8152" y="3946"/>
                    <a:pt x="8155" y="3940"/>
                  </a:cubicBezTo>
                  <a:cubicBezTo>
                    <a:pt x="8158" y="3934"/>
                    <a:pt x="8143" y="3931"/>
                    <a:pt x="8143" y="3931"/>
                  </a:cubicBezTo>
                  <a:cubicBezTo>
                    <a:pt x="8143" y="3931"/>
                    <a:pt x="8120" y="3928"/>
                    <a:pt x="8119" y="3927"/>
                  </a:cubicBezTo>
                  <a:cubicBezTo>
                    <a:pt x="8117" y="3925"/>
                    <a:pt x="8119" y="3919"/>
                    <a:pt x="8112" y="3915"/>
                  </a:cubicBezTo>
                  <a:cubicBezTo>
                    <a:pt x="8106" y="3910"/>
                    <a:pt x="8112" y="3915"/>
                    <a:pt x="8105" y="3912"/>
                  </a:cubicBezTo>
                  <a:cubicBezTo>
                    <a:pt x="8097" y="3908"/>
                    <a:pt x="8093" y="3912"/>
                    <a:pt x="8085" y="3913"/>
                  </a:cubicBezTo>
                  <a:cubicBezTo>
                    <a:pt x="8078" y="3915"/>
                    <a:pt x="8068" y="3907"/>
                    <a:pt x="8068" y="3907"/>
                  </a:cubicBezTo>
                  <a:cubicBezTo>
                    <a:pt x="8068" y="3907"/>
                    <a:pt x="8056" y="3896"/>
                    <a:pt x="8050" y="3893"/>
                  </a:cubicBezTo>
                  <a:cubicBezTo>
                    <a:pt x="8044" y="3890"/>
                    <a:pt x="8043" y="3890"/>
                    <a:pt x="8038" y="3895"/>
                  </a:cubicBezTo>
                  <a:cubicBezTo>
                    <a:pt x="8034" y="3899"/>
                    <a:pt x="8032" y="3898"/>
                    <a:pt x="8023" y="3902"/>
                  </a:cubicBezTo>
                  <a:cubicBezTo>
                    <a:pt x="8014" y="3907"/>
                    <a:pt x="8012" y="3902"/>
                    <a:pt x="8008" y="3904"/>
                  </a:cubicBezTo>
                  <a:cubicBezTo>
                    <a:pt x="8003" y="3905"/>
                    <a:pt x="7985" y="3898"/>
                    <a:pt x="7979" y="3893"/>
                  </a:cubicBezTo>
                  <a:cubicBezTo>
                    <a:pt x="7973" y="3889"/>
                    <a:pt x="7965" y="3884"/>
                    <a:pt x="7965" y="3874"/>
                  </a:cubicBezTo>
                  <a:cubicBezTo>
                    <a:pt x="7965" y="3863"/>
                    <a:pt x="7944" y="3861"/>
                    <a:pt x="7944" y="3861"/>
                  </a:cubicBezTo>
                  <a:cubicBezTo>
                    <a:pt x="7923" y="3855"/>
                    <a:pt x="7923" y="3855"/>
                    <a:pt x="7923" y="3855"/>
                  </a:cubicBezTo>
                  <a:cubicBezTo>
                    <a:pt x="7923" y="3855"/>
                    <a:pt x="7923" y="3855"/>
                    <a:pt x="7920" y="3842"/>
                  </a:cubicBezTo>
                  <a:cubicBezTo>
                    <a:pt x="7920" y="3842"/>
                    <a:pt x="7909" y="3836"/>
                    <a:pt x="7903" y="3836"/>
                  </a:cubicBezTo>
                  <a:cubicBezTo>
                    <a:pt x="7897" y="3836"/>
                    <a:pt x="7891" y="3834"/>
                    <a:pt x="7880" y="3833"/>
                  </a:cubicBezTo>
                  <a:cubicBezTo>
                    <a:pt x="7870" y="3831"/>
                    <a:pt x="7862" y="3814"/>
                    <a:pt x="7862" y="3814"/>
                  </a:cubicBezTo>
                  <a:cubicBezTo>
                    <a:pt x="7861" y="3787"/>
                    <a:pt x="7861" y="3787"/>
                    <a:pt x="7861" y="3787"/>
                  </a:cubicBezTo>
                  <a:cubicBezTo>
                    <a:pt x="7870" y="3778"/>
                    <a:pt x="7870" y="3778"/>
                    <a:pt x="7870" y="3778"/>
                  </a:cubicBezTo>
                  <a:cubicBezTo>
                    <a:pt x="7882" y="3763"/>
                    <a:pt x="7882" y="3763"/>
                    <a:pt x="7882" y="3763"/>
                  </a:cubicBezTo>
                  <a:cubicBezTo>
                    <a:pt x="7893" y="3745"/>
                    <a:pt x="7893" y="3745"/>
                    <a:pt x="7893" y="3745"/>
                  </a:cubicBezTo>
                  <a:cubicBezTo>
                    <a:pt x="7897" y="3723"/>
                    <a:pt x="7897" y="3723"/>
                    <a:pt x="7897" y="3723"/>
                  </a:cubicBezTo>
                  <a:cubicBezTo>
                    <a:pt x="7902" y="3705"/>
                    <a:pt x="7902" y="3705"/>
                    <a:pt x="7902" y="3705"/>
                  </a:cubicBezTo>
                  <a:cubicBezTo>
                    <a:pt x="7905" y="3692"/>
                    <a:pt x="7905" y="3692"/>
                    <a:pt x="7905" y="3692"/>
                  </a:cubicBezTo>
                  <a:cubicBezTo>
                    <a:pt x="7905" y="3692"/>
                    <a:pt x="7896" y="3678"/>
                    <a:pt x="7886" y="3667"/>
                  </a:cubicBezTo>
                  <a:cubicBezTo>
                    <a:pt x="7867" y="3654"/>
                    <a:pt x="7867" y="3654"/>
                    <a:pt x="7867" y="3654"/>
                  </a:cubicBezTo>
                  <a:cubicBezTo>
                    <a:pt x="7858" y="3639"/>
                    <a:pt x="7858" y="3639"/>
                    <a:pt x="7858" y="3639"/>
                  </a:cubicBezTo>
                  <a:cubicBezTo>
                    <a:pt x="7865" y="3623"/>
                    <a:pt x="7865" y="3623"/>
                    <a:pt x="7865" y="3623"/>
                  </a:cubicBezTo>
                  <a:cubicBezTo>
                    <a:pt x="7874" y="3607"/>
                    <a:pt x="7874" y="3607"/>
                    <a:pt x="7874" y="3607"/>
                  </a:cubicBezTo>
                  <a:cubicBezTo>
                    <a:pt x="7885" y="3592"/>
                    <a:pt x="7885" y="3592"/>
                    <a:pt x="7885" y="3592"/>
                  </a:cubicBezTo>
                  <a:cubicBezTo>
                    <a:pt x="7885" y="3592"/>
                    <a:pt x="7886" y="3578"/>
                    <a:pt x="7879" y="3566"/>
                  </a:cubicBezTo>
                  <a:cubicBezTo>
                    <a:pt x="7865" y="3567"/>
                    <a:pt x="7865" y="3567"/>
                    <a:pt x="7865" y="3567"/>
                  </a:cubicBezTo>
                  <a:cubicBezTo>
                    <a:pt x="7865" y="3567"/>
                    <a:pt x="7852" y="3584"/>
                    <a:pt x="7847" y="3584"/>
                  </a:cubicBezTo>
                  <a:cubicBezTo>
                    <a:pt x="7843" y="3584"/>
                    <a:pt x="7838" y="3570"/>
                    <a:pt x="7838" y="3570"/>
                  </a:cubicBezTo>
                  <a:cubicBezTo>
                    <a:pt x="7838" y="3560"/>
                    <a:pt x="7838" y="3560"/>
                    <a:pt x="7838" y="3560"/>
                  </a:cubicBezTo>
                  <a:cubicBezTo>
                    <a:pt x="7830" y="3543"/>
                    <a:pt x="7830" y="3543"/>
                    <a:pt x="7830" y="3543"/>
                  </a:cubicBezTo>
                  <a:cubicBezTo>
                    <a:pt x="7815" y="3540"/>
                    <a:pt x="7815" y="3540"/>
                    <a:pt x="7815" y="3540"/>
                  </a:cubicBezTo>
                  <a:cubicBezTo>
                    <a:pt x="7815" y="3540"/>
                    <a:pt x="7799" y="3538"/>
                    <a:pt x="7792" y="3542"/>
                  </a:cubicBezTo>
                  <a:cubicBezTo>
                    <a:pt x="7786" y="3545"/>
                    <a:pt x="7779" y="3546"/>
                    <a:pt x="7774" y="3551"/>
                  </a:cubicBezTo>
                  <a:cubicBezTo>
                    <a:pt x="7770" y="3555"/>
                    <a:pt x="7770" y="3558"/>
                    <a:pt x="7765" y="3566"/>
                  </a:cubicBezTo>
                  <a:cubicBezTo>
                    <a:pt x="7761" y="3573"/>
                    <a:pt x="7755" y="3567"/>
                    <a:pt x="7748" y="3570"/>
                  </a:cubicBezTo>
                  <a:cubicBezTo>
                    <a:pt x="7742" y="3573"/>
                    <a:pt x="7732" y="3569"/>
                    <a:pt x="7721" y="3570"/>
                  </a:cubicBezTo>
                  <a:cubicBezTo>
                    <a:pt x="7711" y="3572"/>
                    <a:pt x="7709" y="3572"/>
                    <a:pt x="7706" y="3566"/>
                  </a:cubicBezTo>
                  <a:cubicBezTo>
                    <a:pt x="7703" y="3560"/>
                    <a:pt x="7692" y="3558"/>
                    <a:pt x="7686" y="3558"/>
                  </a:cubicBezTo>
                  <a:cubicBezTo>
                    <a:pt x="7680" y="3558"/>
                    <a:pt x="7667" y="3561"/>
                    <a:pt x="7667" y="3569"/>
                  </a:cubicBezTo>
                  <a:cubicBezTo>
                    <a:pt x="7667" y="3576"/>
                    <a:pt x="7654" y="3572"/>
                    <a:pt x="7647" y="3570"/>
                  </a:cubicBezTo>
                  <a:cubicBezTo>
                    <a:pt x="7639" y="3569"/>
                    <a:pt x="7630" y="3563"/>
                    <a:pt x="7626" y="3563"/>
                  </a:cubicBezTo>
                  <a:cubicBezTo>
                    <a:pt x="7621" y="3563"/>
                    <a:pt x="7588" y="3578"/>
                    <a:pt x="7582" y="3582"/>
                  </a:cubicBezTo>
                  <a:cubicBezTo>
                    <a:pt x="7576" y="3587"/>
                    <a:pt x="7567" y="3589"/>
                    <a:pt x="7557" y="3590"/>
                  </a:cubicBezTo>
                  <a:cubicBezTo>
                    <a:pt x="7548" y="3592"/>
                    <a:pt x="7547" y="3575"/>
                    <a:pt x="7547" y="3575"/>
                  </a:cubicBezTo>
                  <a:cubicBezTo>
                    <a:pt x="7547" y="3575"/>
                    <a:pt x="7524" y="3570"/>
                    <a:pt x="7520" y="3570"/>
                  </a:cubicBezTo>
                  <a:cubicBezTo>
                    <a:pt x="7515" y="3570"/>
                    <a:pt x="7497" y="3572"/>
                    <a:pt x="7492" y="3575"/>
                  </a:cubicBezTo>
                  <a:cubicBezTo>
                    <a:pt x="7488" y="3578"/>
                    <a:pt x="7466" y="3576"/>
                    <a:pt x="7457" y="3575"/>
                  </a:cubicBezTo>
                  <a:cubicBezTo>
                    <a:pt x="7448" y="3573"/>
                    <a:pt x="7441" y="3575"/>
                    <a:pt x="7436" y="3578"/>
                  </a:cubicBezTo>
                  <a:cubicBezTo>
                    <a:pt x="7432" y="3581"/>
                    <a:pt x="7426" y="3590"/>
                    <a:pt x="7426" y="3590"/>
                  </a:cubicBezTo>
                  <a:cubicBezTo>
                    <a:pt x="7426" y="3590"/>
                    <a:pt x="7415" y="3593"/>
                    <a:pt x="7410" y="3593"/>
                  </a:cubicBezTo>
                  <a:cubicBezTo>
                    <a:pt x="7406" y="3593"/>
                    <a:pt x="7391" y="3595"/>
                    <a:pt x="7386" y="3596"/>
                  </a:cubicBezTo>
                  <a:cubicBezTo>
                    <a:pt x="7382" y="3598"/>
                    <a:pt x="7368" y="3598"/>
                    <a:pt x="7360" y="3598"/>
                  </a:cubicBezTo>
                  <a:cubicBezTo>
                    <a:pt x="7353" y="3598"/>
                    <a:pt x="7336" y="3604"/>
                    <a:pt x="7331" y="3608"/>
                  </a:cubicBezTo>
                  <a:cubicBezTo>
                    <a:pt x="7327" y="3613"/>
                    <a:pt x="7309" y="3613"/>
                    <a:pt x="7294" y="3617"/>
                  </a:cubicBezTo>
                  <a:cubicBezTo>
                    <a:pt x="7278" y="3622"/>
                    <a:pt x="7294" y="3617"/>
                    <a:pt x="7286" y="3623"/>
                  </a:cubicBezTo>
                  <a:cubicBezTo>
                    <a:pt x="7278" y="3629"/>
                    <a:pt x="7272" y="3639"/>
                    <a:pt x="7268" y="3648"/>
                  </a:cubicBezTo>
                  <a:cubicBezTo>
                    <a:pt x="7263" y="3657"/>
                    <a:pt x="7262" y="3652"/>
                    <a:pt x="7256" y="3649"/>
                  </a:cubicBezTo>
                  <a:cubicBezTo>
                    <a:pt x="7250" y="3646"/>
                    <a:pt x="7244" y="3649"/>
                    <a:pt x="7236" y="3654"/>
                  </a:cubicBezTo>
                  <a:cubicBezTo>
                    <a:pt x="7228" y="3658"/>
                    <a:pt x="7227" y="3663"/>
                    <a:pt x="7222" y="3666"/>
                  </a:cubicBezTo>
                  <a:cubicBezTo>
                    <a:pt x="7218" y="3669"/>
                    <a:pt x="7207" y="3672"/>
                    <a:pt x="7207" y="3672"/>
                  </a:cubicBezTo>
                  <a:cubicBezTo>
                    <a:pt x="7207" y="3672"/>
                    <a:pt x="7195" y="3683"/>
                    <a:pt x="7192" y="3689"/>
                  </a:cubicBezTo>
                  <a:cubicBezTo>
                    <a:pt x="7189" y="3695"/>
                    <a:pt x="7180" y="3696"/>
                    <a:pt x="7174" y="3701"/>
                  </a:cubicBezTo>
                  <a:cubicBezTo>
                    <a:pt x="7168" y="3705"/>
                    <a:pt x="7169" y="3716"/>
                    <a:pt x="7168" y="3720"/>
                  </a:cubicBezTo>
                  <a:cubicBezTo>
                    <a:pt x="7166" y="3725"/>
                    <a:pt x="7142" y="3716"/>
                    <a:pt x="7133" y="3720"/>
                  </a:cubicBezTo>
                  <a:cubicBezTo>
                    <a:pt x="7124" y="3725"/>
                    <a:pt x="7112" y="3722"/>
                    <a:pt x="7106" y="3717"/>
                  </a:cubicBezTo>
                  <a:cubicBezTo>
                    <a:pt x="7099" y="3713"/>
                    <a:pt x="7096" y="3710"/>
                    <a:pt x="7089" y="3704"/>
                  </a:cubicBezTo>
                  <a:cubicBezTo>
                    <a:pt x="7081" y="3698"/>
                    <a:pt x="7080" y="3705"/>
                    <a:pt x="7072" y="3713"/>
                  </a:cubicBezTo>
                  <a:cubicBezTo>
                    <a:pt x="7065" y="3720"/>
                    <a:pt x="7054" y="3705"/>
                    <a:pt x="7049" y="3704"/>
                  </a:cubicBezTo>
                  <a:cubicBezTo>
                    <a:pt x="7045" y="3702"/>
                    <a:pt x="7013" y="3707"/>
                    <a:pt x="7009" y="3708"/>
                  </a:cubicBezTo>
                  <a:cubicBezTo>
                    <a:pt x="7004" y="3710"/>
                    <a:pt x="6975" y="3705"/>
                    <a:pt x="6968" y="3704"/>
                  </a:cubicBezTo>
                  <a:cubicBezTo>
                    <a:pt x="6960" y="3702"/>
                    <a:pt x="6957" y="3702"/>
                    <a:pt x="6952" y="3695"/>
                  </a:cubicBezTo>
                  <a:cubicBezTo>
                    <a:pt x="6948" y="3687"/>
                    <a:pt x="6939" y="3667"/>
                    <a:pt x="6939" y="3667"/>
                  </a:cubicBezTo>
                  <a:cubicBezTo>
                    <a:pt x="6939" y="3667"/>
                    <a:pt x="6939" y="3667"/>
                    <a:pt x="6936" y="3657"/>
                  </a:cubicBezTo>
                  <a:cubicBezTo>
                    <a:pt x="6933" y="3646"/>
                    <a:pt x="6927" y="3654"/>
                    <a:pt x="6921" y="3652"/>
                  </a:cubicBezTo>
                  <a:cubicBezTo>
                    <a:pt x="6914" y="3651"/>
                    <a:pt x="6898" y="3666"/>
                    <a:pt x="6898" y="3666"/>
                  </a:cubicBezTo>
                  <a:cubicBezTo>
                    <a:pt x="6898" y="3666"/>
                    <a:pt x="6895" y="3679"/>
                    <a:pt x="6896" y="3686"/>
                  </a:cubicBezTo>
                  <a:cubicBezTo>
                    <a:pt x="6898" y="3692"/>
                    <a:pt x="6895" y="3704"/>
                    <a:pt x="6895" y="3704"/>
                  </a:cubicBezTo>
                  <a:cubicBezTo>
                    <a:pt x="6895" y="3704"/>
                    <a:pt x="6887" y="3720"/>
                    <a:pt x="6881" y="3725"/>
                  </a:cubicBezTo>
                  <a:cubicBezTo>
                    <a:pt x="6875" y="3730"/>
                    <a:pt x="6872" y="3758"/>
                    <a:pt x="6860" y="3777"/>
                  </a:cubicBezTo>
                  <a:cubicBezTo>
                    <a:pt x="6848" y="3795"/>
                    <a:pt x="6851" y="3796"/>
                    <a:pt x="6848" y="3804"/>
                  </a:cubicBezTo>
                  <a:cubicBezTo>
                    <a:pt x="6845" y="3811"/>
                    <a:pt x="6842" y="3811"/>
                    <a:pt x="6836" y="3821"/>
                  </a:cubicBezTo>
                  <a:cubicBezTo>
                    <a:pt x="6830" y="3830"/>
                    <a:pt x="6827" y="3827"/>
                    <a:pt x="6817" y="3831"/>
                  </a:cubicBezTo>
                  <a:cubicBezTo>
                    <a:pt x="6808" y="3836"/>
                    <a:pt x="6808" y="3831"/>
                    <a:pt x="6796" y="3842"/>
                  </a:cubicBezTo>
                  <a:cubicBezTo>
                    <a:pt x="6784" y="3852"/>
                    <a:pt x="6775" y="3852"/>
                    <a:pt x="6769" y="3852"/>
                  </a:cubicBezTo>
                  <a:cubicBezTo>
                    <a:pt x="6763" y="3852"/>
                    <a:pt x="6757" y="3852"/>
                    <a:pt x="6751" y="3857"/>
                  </a:cubicBezTo>
                  <a:cubicBezTo>
                    <a:pt x="6745" y="3861"/>
                    <a:pt x="6736" y="3869"/>
                    <a:pt x="6736" y="3878"/>
                  </a:cubicBezTo>
                  <a:cubicBezTo>
                    <a:pt x="6736" y="3887"/>
                    <a:pt x="6726" y="3889"/>
                    <a:pt x="6719" y="3896"/>
                  </a:cubicBezTo>
                  <a:cubicBezTo>
                    <a:pt x="6711" y="3904"/>
                    <a:pt x="6708" y="3904"/>
                    <a:pt x="6704" y="3912"/>
                  </a:cubicBezTo>
                  <a:cubicBezTo>
                    <a:pt x="6699" y="3919"/>
                    <a:pt x="6704" y="3927"/>
                    <a:pt x="6705" y="3937"/>
                  </a:cubicBezTo>
                  <a:cubicBezTo>
                    <a:pt x="6707" y="3948"/>
                    <a:pt x="6705" y="3943"/>
                    <a:pt x="6699" y="3952"/>
                  </a:cubicBezTo>
                  <a:cubicBezTo>
                    <a:pt x="6693" y="3962"/>
                    <a:pt x="6695" y="3962"/>
                    <a:pt x="6692" y="3969"/>
                  </a:cubicBezTo>
                  <a:cubicBezTo>
                    <a:pt x="6689" y="3977"/>
                    <a:pt x="6681" y="3983"/>
                    <a:pt x="6673" y="3987"/>
                  </a:cubicBezTo>
                  <a:cubicBezTo>
                    <a:pt x="6666" y="3992"/>
                    <a:pt x="6670" y="4021"/>
                    <a:pt x="6670" y="4021"/>
                  </a:cubicBezTo>
                  <a:cubicBezTo>
                    <a:pt x="6670" y="4021"/>
                    <a:pt x="6667" y="4034"/>
                    <a:pt x="6670" y="4043"/>
                  </a:cubicBezTo>
                  <a:cubicBezTo>
                    <a:pt x="6673" y="4053"/>
                    <a:pt x="6670" y="4066"/>
                    <a:pt x="6670" y="4066"/>
                  </a:cubicBezTo>
                  <a:cubicBezTo>
                    <a:pt x="6675" y="4086"/>
                    <a:pt x="6675" y="4086"/>
                    <a:pt x="6675" y="4086"/>
                  </a:cubicBezTo>
                  <a:cubicBezTo>
                    <a:pt x="6675" y="4086"/>
                    <a:pt x="6675" y="4086"/>
                    <a:pt x="6687" y="4095"/>
                  </a:cubicBezTo>
                  <a:cubicBezTo>
                    <a:pt x="6687" y="4095"/>
                    <a:pt x="6685" y="4101"/>
                    <a:pt x="6685" y="4109"/>
                  </a:cubicBezTo>
                  <a:cubicBezTo>
                    <a:pt x="6685" y="4116"/>
                    <a:pt x="6679" y="4128"/>
                    <a:pt x="6678" y="4134"/>
                  </a:cubicBezTo>
                  <a:cubicBezTo>
                    <a:pt x="6676" y="4140"/>
                    <a:pt x="6670" y="4148"/>
                    <a:pt x="6664" y="4157"/>
                  </a:cubicBezTo>
                  <a:cubicBezTo>
                    <a:pt x="6658" y="4166"/>
                    <a:pt x="6652" y="4171"/>
                    <a:pt x="6648" y="4177"/>
                  </a:cubicBezTo>
                  <a:cubicBezTo>
                    <a:pt x="6643" y="4183"/>
                    <a:pt x="6632" y="4197"/>
                    <a:pt x="6626" y="4206"/>
                  </a:cubicBezTo>
                  <a:cubicBezTo>
                    <a:pt x="6620" y="4215"/>
                    <a:pt x="6611" y="4216"/>
                    <a:pt x="6601" y="4221"/>
                  </a:cubicBezTo>
                  <a:cubicBezTo>
                    <a:pt x="6590" y="4225"/>
                    <a:pt x="6570" y="4245"/>
                    <a:pt x="6561" y="4254"/>
                  </a:cubicBezTo>
                  <a:cubicBezTo>
                    <a:pt x="6552" y="4263"/>
                    <a:pt x="6531" y="4268"/>
                    <a:pt x="6526" y="4272"/>
                  </a:cubicBezTo>
                  <a:cubicBezTo>
                    <a:pt x="6522" y="4277"/>
                    <a:pt x="6497" y="4275"/>
                    <a:pt x="6488" y="4277"/>
                  </a:cubicBezTo>
                  <a:cubicBezTo>
                    <a:pt x="6479" y="4278"/>
                    <a:pt x="6464" y="4286"/>
                    <a:pt x="6461" y="4291"/>
                  </a:cubicBezTo>
                  <a:cubicBezTo>
                    <a:pt x="6458" y="4295"/>
                    <a:pt x="6455" y="4301"/>
                    <a:pt x="6453" y="4307"/>
                  </a:cubicBezTo>
                  <a:cubicBezTo>
                    <a:pt x="6452" y="4313"/>
                    <a:pt x="6447" y="4321"/>
                    <a:pt x="6444" y="4336"/>
                  </a:cubicBezTo>
                  <a:cubicBezTo>
                    <a:pt x="6441" y="4351"/>
                    <a:pt x="6434" y="4354"/>
                    <a:pt x="6431" y="4366"/>
                  </a:cubicBezTo>
                  <a:cubicBezTo>
                    <a:pt x="6428" y="4379"/>
                    <a:pt x="6423" y="4386"/>
                    <a:pt x="6414" y="4403"/>
                  </a:cubicBezTo>
                  <a:cubicBezTo>
                    <a:pt x="6405" y="4420"/>
                    <a:pt x="6399" y="4418"/>
                    <a:pt x="6385" y="4424"/>
                  </a:cubicBezTo>
                  <a:cubicBezTo>
                    <a:pt x="6372" y="4430"/>
                    <a:pt x="6358" y="4442"/>
                    <a:pt x="6358" y="4442"/>
                  </a:cubicBezTo>
                  <a:cubicBezTo>
                    <a:pt x="6358" y="4442"/>
                    <a:pt x="6346" y="4482"/>
                    <a:pt x="6343" y="4494"/>
                  </a:cubicBezTo>
                  <a:cubicBezTo>
                    <a:pt x="6340" y="4506"/>
                    <a:pt x="6337" y="4521"/>
                    <a:pt x="6337" y="4529"/>
                  </a:cubicBezTo>
                  <a:cubicBezTo>
                    <a:pt x="6337" y="4536"/>
                    <a:pt x="6332" y="4542"/>
                    <a:pt x="6331" y="4554"/>
                  </a:cubicBezTo>
                  <a:cubicBezTo>
                    <a:pt x="6329" y="4567"/>
                    <a:pt x="6322" y="4573"/>
                    <a:pt x="6315" y="4582"/>
                  </a:cubicBezTo>
                  <a:cubicBezTo>
                    <a:pt x="6309" y="4591"/>
                    <a:pt x="6291" y="4597"/>
                    <a:pt x="6285" y="4601"/>
                  </a:cubicBezTo>
                  <a:cubicBezTo>
                    <a:pt x="6279" y="4606"/>
                    <a:pt x="6275" y="4611"/>
                    <a:pt x="6268" y="4614"/>
                  </a:cubicBezTo>
                  <a:cubicBezTo>
                    <a:pt x="6262" y="4617"/>
                    <a:pt x="6256" y="4630"/>
                    <a:pt x="6256" y="4645"/>
                  </a:cubicBezTo>
                  <a:cubicBezTo>
                    <a:pt x="6256" y="4661"/>
                    <a:pt x="6244" y="4650"/>
                    <a:pt x="6240" y="4664"/>
                  </a:cubicBezTo>
                  <a:cubicBezTo>
                    <a:pt x="6235" y="4677"/>
                    <a:pt x="6229" y="4723"/>
                    <a:pt x="6229" y="4727"/>
                  </a:cubicBezTo>
                  <a:cubicBezTo>
                    <a:pt x="6229" y="4732"/>
                    <a:pt x="6223" y="4727"/>
                    <a:pt x="6218" y="4726"/>
                  </a:cubicBezTo>
                  <a:cubicBezTo>
                    <a:pt x="6214" y="4724"/>
                    <a:pt x="6206" y="4735"/>
                    <a:pt x="6203" y="4743"/>
                  </a:cubicBezTo>
                  <a:cubicBezTo>
                    <a:pt x="6200" y="4750"/>
                    <a:pt x="6193" y="4758"/>
                    <a:pt x="6193" y="4758"/>
                  </a:cubicBezTo>
                  <a:cubicBezTo>
                    <a:pt x="6193" y="4758"/>
                    <a:pt x="6185" y="4770"/>
                    <a:pt x="6182" y="4782"/>
                  </a:cubicBezTo>
                  <a:cubicBezTo>
                    <a:pt x="6179" y="4794"/>
                    <a:pt x="6185" y="4805"/>
                    <a:pt x="6182" y="4814"/>
                  </a:cubicBezTo>
                  <a:cubicBezTo>
                    <a:pt x="6179" y="4823"/>
                    <a:pt x="6173" y="4832"/>
                    <a:pt x="6173" y="4838"/>
                  </a:cubicBezTo>
                  <a:cubicBezTo>
                    <a:pt x="6173" y="4844"/>
                    <a:pt x="6177" y="4852"/>
                    <a:pt x="6182" y="4856"/>
                  </a:cubicBezTo>
                  <a:cubicBezTo>
                    <a:pt x="6187" y="4861"/>
                    <a:pt x="6200" y="4849"/>
                    <a:pt x="6200" y="4849"/>
                  </a:cubicBezTo>
                  <a:cubicBezTo>
                    <a:pt x="6200" y="4849"/>
                    <a:pt x="6214" y="4856"/>
                    <a:pt x="6220" y="4861"/>
                  </a:cubicBezTo>
                  <a:cubicBezTo>
                    <a:pt x="6226" y="4865"/>
                    <a:pt x="6228" y="4876"/>
                    <a:pt x="6234" y="4884"/>
                  </a:cubicBezTo>
                  <a:cubicBezTo>
                    <a:pt x="6240" y="4891"/>
                    <a:pt x="6234" y="4918"/>
                    <a:pt x="6231" y="4929"/>
                  </a:cubicBezTo>
                  <a:cubicBezTo>
                    <a:pt x="6228" y="4940"/>
                    <a:pt x="6223" y="4932"/>
                    <a:pt x="6220" y="4941"/>
                  </a:cubicBezTo>
                  <a:cubicBezTo>
                    <a:pt x="6217" y="4950"/>
                    <a:pt x="6217" y="4962"/>
                    <a:pt x="6217" y="4962"/>
                  </a:cubicBezTo>
                  <a:cubicBezTo>
                    <a:pt x="6217" y="4962"/>
                    <a:pt x="6225" y="4970"/>
                    <a:pt x="6226" y="4978"/>
                  </a:cubicBezTo>
                  <a:cubicBezTo>
                    <a:pt x="6228" y="4985"/>
                    <a:pt x="6223" y="4991"/>
                    <a:pt x="6231" y="5005"/>
                  </a:cubicBezTo>
                  <a:cubicBezTo>
                    <a:pt x="6238" y="5018"/>
                    <a:pt x="6235" y="5014"/>
                    <a:pt x="6240" y="5029"/>
                  </a:cubicBezTo>
                  <a:cubicBezTo>
                    <a:pt x="6244" y="5044"/>
                    <a:pt x="6243" y="5050"/>
                    <a:pt x="6244" y="5062"/>
                  </a:cubicBezTo>
                  <a:cubicBezTo>
                    <a:pt x="6246" y="5075"/>
                    <a:pt x="6247" y="5085"/>
                    <a:pt x="6244" y="5097"/>
                  </a:cubicBezTo>
                  <a:cubicBezTo>
                    <a:pt x="6241" y="5109"/>
                    <a:pt x="6235" y="5106"/>
                    <a:pt x="6231" y="5109"/>
                  </a:cubicBezTo>
                  <a:cubicBezTo>
                    <a:pt x="6226" y="5113"/>
                    <a:pt x="6226" y="5129"/>
                    <a:pt x="6223" y="5138"/>
                  </a:cubicBezTo>
                  <a:cubicBezTo>
                    <a:pt x="6220" y="5147"/>
                    <a:pt x="6220" y="5158"/>
                    <a:pt x="6218" y="5164"/>
                  </a:cubicBezTo>
                  <a:cubicBezTo>
                    <a:pt x="6217" y="5170"/>
                    <a:pt x="6209" y="5176"/>
                    <a:pt x="6208" y="5185"/>
                  </a:cubicBezTo>
                  <a:cubicBezTo>
                    <a:pt x="6206" y="5194"/>
                    <a:pt x="6206" y="5200"/>
                    <a:pt x="6208" y="5214"/>
                  </a:cubicBezTo>
                  <a:cubicBezTo>
                    <a:pt x="6209" y="5228"/>
                    <a:pt x="6202" y="5232"/>
                    <a:pt x="6202" y="5243"/>
                  </a:cubicBezTo>
                  <a:cubicBezTo>
                    <a:pt x="6202" y="5254"/>
                    <a:pt x="6177" y="5267"/>
                    <a:pt x="6170" y="5278"/>
                  </a:cubicBezTo>
                  <a:cubicBezTo>
                    <a:pt x="6162" y="5288"/>
                    <a:pt x="6149" y="5288"/>
                    <a:pt x="6149" y="5288"/>
                  </a:cubicBezTo>
                  <a:cubicBezTo>
                    <a:pt x="6135" y="5298"/>
                    <a:pt x="6135" y="5298"/>
                    <a:pt x="6135" y="5298"/>
                  </a:cubicBezTo>
                  <a:cubicBezTo>
                    <a:pt x="6135" y="5298"/>
                    <a:pt x="6137" y="5305"/>
                    <a:pt x="6141" y="5307"/>
                  </a:cubicBezTo>
                  <a:cubicBezTo>
                    <a:pt x="6146" y="5308"/>
                    <a:pt x="6147" y="5317"/>
                    <a:pt x="6149" y="5322"/>
                  </a:cubicBezTo>
                  <a:cubicBezTo>
                    <a:pt x="6150" y="5326"/>
                    <a:pt x="6159" y="5337"/>
                    <a:pt x="6161" y="5345"/>
                  </a:cubicBezTo>
                  <a:cubicBezTo>
                    <a:pt x="6162" y="5352"/>
                    <a:pt x="6167" y="5352"/>
                    <a:pt x="6171" y="5360"/>
                  </a:cubicBezTo>
                  <a:cubicBezTo>
                    <a:pt x="6176" y="5367"/>
                    <a:pt x="6176" y="5369"/>
                    <a:pt x="6187" y="5373"/>
                  </a:cubicBezTo>
                  <a:cubicBezTo>
                    <a:pt x="6197" y="5378"/>
                    <a:pt x="6193" y="5378"/>
                    <a:pt x="6191" y="5387"/>
                  </a:cubicBezTo>
                  <a:cubicBezTo>
                    <a:pt x="6190" y="5396"/>
                    <a:pt x="6203" y="5405"/>
                    <a:pt x="6211" y="5413"/>
                  </a:cubicBezTo>
                  <a:cubicBezTo>
                    <a:pt x="6218" y="5420"/>
                    <a:pt x="6199" y="5414"/>
                    <a:pt x="6199" y="5414"/>
                  </a:cubicBezTo>
                  <a:cubicBezTo>
                    <a:pt x="6199" y="5414"/>
                    <a:pt x="6185" y="5405"/>
                    <a:pt x="6184" y="5399"/>
                  </a:cubicBezTo>
                  <a:cubicBezTo>
                    <a:pt x="6182" y="5393"/>
                    <a:pt x="6168" y="5392"/>
                    <a:pt x="6168" y="5392"/>
                  </a:cubicBezTo>
                  <a:cubicBezTo>
                    <a:pt x="6168" y="5392"/>
                    <a:pt x="6161" y="5401"/>
                    <a:pt x="6167" y="5416"/>
                  </a:cubicBezTo>
                  <a:cubicBezTo>
                    <a:pt x="6173" y="5431"/>
                    <a:pt x="6164" y="5437"/>
                    <a:pt x="6167" y="5445"/>
                  </a:cubicBezTo>
                  <a:cubicBezTo>
                    <a:pt x="6170" y="5452"/>
                    <a:pt x="6177" y="5455"/>
                    <a:pt x="6193" y="5457"/>
                  </a:cubicBezTo>
                  <a:cubicBezTo>
                    <a:pt x="6208" y="5458"/>
                    <a:pt x="6188" y="5463"/>
                    <a:pt x="6182" y="5463"/>
                  </a:cubicBezTo>
                  <a:cubicBezTo>
                    <a:pt x="6176" y="5463"/>
                    <a:pt x="6168" y="5464"/>
                    <a:pt x="6167" y="5472"/>
                  </a:cubicBezTo>
                  <a:cubicBezTo>
                    <a:pt x="6165" y="5479"/>
                    <a:pt x="6165" y="5479"/>
                    <a:pt x="6168" y="5486"/>
                  </a:cubicBezTo>
                  <a:cubicBezTo>
                    <a:pt x="6171" y="5492"/>
                    <a:pt x="6184" y="5490"/>
                    <a:pt x="6193" y="5493"/>
                  </a:cubicBezTo>
                  <a:cubicBezTo>
                    <a:pt x="6202" y="5496"/>
                    <a:pt x="6202" y="5496"/>
                    <a:pt x="6202" y="5496"/>
                  </a:cubicBezTo>
                  <a:cubicBezTo>
                    <a:pt x="6202" y="5496"/>
                    <a:pt x="6197" y="5514"/>
                    <a:pt x="6200" y="5519"/>
                  </a:cubicBezTo>
                  <a:cubicBezTo>
                    <a:pt x="6203" y="5523"/>
                    <a:pt x="6208" y="5516"/>
                    <a:pt x="6215" y="5513"/>
                  </a:cubicBezTo>
                  <a:cubicBezTo>
                    <a:pt x="6223" y="5510"/>
                    <a:pt x="6221" y="5516"/>
                    <a:pt x="6235" y="5528"/>
                  </a:cubicBezTo>
                  <a:cubicBezTo>
                    <a:pt x="6235" y="5528"/>
                    <a:pt x="6244" y="5530"/>
                    <a:pt x="6261" y="5516"/>
                  </a:cubicBezTo>
                  <a:cubicBezTo>
                    <a:pt x="6267" y="5511"/>
                    <a:pt x="6276" y="5501"/>
                    <a:pt x="6284" y="5507"/>
                  </a:cubicBezTo>
                  <a:cubicBezTo>
                    <a:pt x="6291" y="5513"/>
                    <a:pt x="6285" y="5513"/>
                    <a:pt x="6287" y="5522"/>
                  </a:cubicBezTo>
                  <a:cubicBezTo>
                    <a:pt x="6288" y="5531"/>
                    <a:pt x="6275" y="5526"/>
                    <a:pt x="6270" y="5530"/>
                  </a:cubicBezTo>
                  <a:cubicBezTo>
                    <a:pt x="6265" y="5533"/>
                    <a:pt x="6261" y="5543"/>
                    <a:pt x="6261" y="5543"/>
                  </a:cubicBezTo>
                  <a:cubicBezTo>
                    <a:pt x="6261" y="5543"/>
                    <a:pt x="6262" y="5560"/>
                    <a:pt x="6262" y="5564"/>
                  </a:cubicBezTo>
                  <a:cubicBezTo>
                    <a:pt x="6262" y="5569"/>
                    <a:pt x="6281" y="5583"/>
                    <a:pt x="6281" y="5583"/>
                  </a:cubicBezTo>
                  <a:cubicBezTo>
                    <a:pt x="6281" y="5589"/>
                    <a:pt x="6291" y="5592"/>
                    <a:pt x="6297" y="5593"/>
                  </a:cubicBezTo>
                  <a:cubicBezTo>
                    <a:pt x="6303" y="5595"/>
                    <a:pt x="6306" y="5599"/>
                    <a:pt x="6311" y="5599"/>
                  </a:cubicBezTo>
                  <a:cubicBezTo>
                    <a:pt x="6315" y="5599"/>
                    <a:pt x="6312" y="5616"/>
                    <a:pt x="6312" y="5624"/>
                  </a:cubicBezTo>
                  <a:cubicBezTo>
                    <a:pt x="6312" y="5631"/>
                    <a:pt x="6319" y="5636"/>
                    <a:pt x="6328" y="5637"/>
                  </a:cubicBezTo>
                  <a:cubicBezTo>
                    <a:pt x="6337" y="5639"/>
                    <a:pt x="6340" y="5643"/>
                    <a:pt x="6340" y="5643"/>
                  </a:cubicBezTo>
                  <a:cubicBezTo>
                    <a:pt x="6340" y="5643"/>
                    <a:pt x="6349" y="5660"/>
                    <a:pt x="6358" y="5664"/>
                  </a:cubicBezTo>
                  <a:cubicBezTo>
                    <a:pt x="6367" y="5669"/>
                    <a:pt x="6369" y="5671"/>
                    <a:pt x="6378" y="5677"/>
                  </a:cubicBezTo>
                  <a:cubicBezTo>
                    <a:pt x="6387" y="5683"/>
                    <a:pt x="6382" y="5695"/>
                    <a:pt x="6387" y="5702"/>
                  </a:cubicBezTo>
                  <a:cubicBezTo>
                    <a:pt x="6391" y="5710"/>
                    <a:pt x="6405" y="5716"/>
                    <a:pt x="6405" y="5716"/>
                  </a:cubicBezTo>
                  <a:cubicBezTo>
                    <a:pt x="6405" y="5716"/>
                    <a:pt x="6396" y="5719"/>
                    <a:pt x="6400" y="5724"/>
                  </a:cubicBezTo>
                  <a:cubicBezTo>
                    <a:pt x="6405" y="5728"/>
                    <a:pt x="6390" y="5746"/>
                    <a:pt x="6390" y="5746"/>
                  </a:cubicBezTo>
                  <a:cubicBezTo>
                    <a:pt x="6390" y="5746"/>
                    <a:pt x="6390" y="5755"/>
                    <a:pt x="6394" y="5763"/>
                  </a:cubicBezTo>
                  <a:cubicBezTo>
                    <a:pt x="6399" y="5771"/>
                    <a:pt x="6396" y="5778"/>
                    <a:pt x="6394" y="5786"/>
                  </a:cubicBezTo>
                  <a:cubicBezTo>
                    <a:pt x="6393" y="5793"/>
                    <a:pt x="6403" y="5804"/>
                    <a:pt x="6410" y="5809"/>
                  </a:cubicBezTo>
                  <a:cubicBezTo>
                    <a:pt x="6416" y="5813"/>
                    <a:pt x="6426" y="5825"/>
                    <a:pt x="6426" y="5825"/>
                  </a:cubicBezTo>
                  <a:cubicBezTo>
                    <a:pt x="6426" y="5825"/>
                    <a:pt x="6437" y="5833"/>
                    <a:pt x="6444" y="5839"/>
                  </a:cubicBezTo>
                  <a:cubicBezTo>
                    <a:pt x="6452" y="5845"/>
                    <a:pt x="6453" y="5840"/>
                    <a:pt x="6467" y="5840"/>
                  </a:cubicBezTo>
                  <a:cubicBezTo>
                    <a:pt x="6481" y="5840"/>
                    <a:pt x="6473" y="5845"/>
                    <a:pt x="6479" y="5857"/>
                  </a:cubicBezTo>
                  <a:cubicBezTo>
                    <a:pt x="6485" y="5869"/>
                    <a:pt x="6487" y="5868"/>
                    <a:pt x="6491" y="5874"/>
                  </a:cubicBezTo>
                  <a:cubicBezTo>
                    <a:pt x="6496" y="5880"/>
                    <a:pt x="6499" y="5884"/>
                    <a:pt x="6505" y="5890"/>
                  </a:cubicBezTo>
                  <a:cubicBezTo>
                    <a:pt x="6511" y="5896"/>
                    <a:pt x="6513" y="5901"/>
                    <a:pt x="6525" y="5910"/>
                  </a:cubicBezTo>
                  <a:cubicBezTo>
                    <a:pt x="6537" y="5919"/>
                    <a:pt x="6552" y="5916"/>
                    <a:pt x="6558" y="5919"/>
                  </a:cubicBezTo>
                  <a:cubicBezTo>
                    <a:pt x="6564" y="5922"/>
                    <a:pt x="6567" y="5928"/>
                    <a:pt x="6570" y="5933"/>
                  </a:cubicBezTo>
                  <a:cubicBezTo>
                    <a:pt x="6573" y="5937"/>
                    <a:pt x="6581" y="5962"/>
                    <a:pt x="6584" y="5966"/>
                  </a:cubicBezTo>
                  <a:cubicBezTo>
                    <a:pt x="6587" y="5971"/>
                    <a:pt x="6602" y="5977"/>
                    <a:pt x="6608" y="5977"/>
                  </a:cubicBezTo>
                  <a:cubicBezTo>
                    <a:pt x="6614" y="5977"/>
                    <a:pt x="6634" y="5989"/>
                    <a:pt x="6640" y="5998"/>
                  </a:cubicBezTo>
                  <a:cubicBezTo>
                    <a:pt x="6646" y="6007"/>
                    <a:pt x="6661" y="6016"/>
                    <a:pt x="6673" y="6024"/>
                  </a:cubicBezTo>
                  <a:cubicBezTo>
                    <a:pt x="6685" y="6031"/>
                    <a:pt x="6696" y="6038"/>
                    <a:pt x="6705" y="6041"/>
                  </a:cubicBezTo>
                  <a:cubicBezTo>
                    <a:pt x="6714" y="6044"/>
                    <a:pt x="6717" y="6057"/>
                    <a:pt x="6723" y="6054"/>
                  </a:cubicBezTo>
                  <a:cubicBezTo>
                    <a:pt x="6729" y="6051"/>
                    <a:pt x="6734" y="6048"/>
                    <a:pt x="6745" y="6039"/>
                  </a:cubicBezTo>
                  <a:cubicBezTo>
                    <a:pt x="6755" y="6030"/>
                    <a:pt x="6757" y="6036"/>
                    <a:pt x="6763" y="6033"/>
                  </a:cubicBezTo>
                  <a:cubicBezTo>
                    <a:pt x="6769" y="6030"/>
                    <a:pt x="6772" y="6028"/>
                    <a:pt x="6780" y="6024"/>
                  </a:cubicBezTo>
                  <a:cubicBezTo>
                    <a:pt x="6787" y="6019"/>
                    <a:pt x="6790" y="6021"/>
                    <a:pt x="6798" y="6015"/>
                  </a:cubicBezTo>
                  <a:cubicBezTo>
                    <a:pt x="6805" y="6009"/>
                    <a:pt x="6814" y="6006"/>
                    <a:pt x="6823" y="5998"/>
                  </a:cubicBezTo>
                  <a:cubicBezTo>
                    <a:pt x="6833" y="5991"/>
                    <a:pt x="6839" y="5989"/>
                    <a:pt x="6846" y="5986"/>
                  </a:cubicBezTo>
                  <a:cubicBezTo>
                    <a:pt x="6854" y="5983"/>
                    <a:pt x="6857" y="5986"/>
                    <a:pt x="6863" y="5986"/>
                  </a:cubicBezTo>
                  <a:cubicBezTo>
                    <a:pt x="6869" y="5986"/>
                    <a:pt x="6877" y="5989"/>
                    <a:pt x="6889" y="5994"/>
                  </a:cubicBezTo>
                  <a:cubicBezTo>
                    <a:pt x="6901" y="5998"/>
                    <a:pt x="6901" y="5995"/>
                    <a:pt x="6905" y="5986"/>
                  </a:cubicBezTo>
                  <a:cubicBezTo>
                    <a:pt x="6910" y="5977"/>
                    <a:pt x="6913" y="5980"/>
                    <a:pt x="6919" y="5980"/>
                  </a:cubicBezTo>
                  <a:cubicBezTo>
                    <a:pt x="6925" y="5980"/>
                    <a:pt x="6934" y="5975"/>
                    <a:pt x="6942" y="5975"/>
                  </a:cubicBezTo>
                  <a:cubicBezTo>
                    <a:pt x="6949" y="5975"/>
                    <a:pt x="6958" y="5980"/>
                    <a:pt x="6968" y="5984"/>
                  </a:cubicBezTo>
                  <a:cubicBezTo>
                    <a:pt x="6977" y="5989"/>
                    <a:pt x="6968" y="5984"/>
                    <a:pt x="6969" y="5994"/>
                  </a:cubicBezTo>
                  <a:cubicBezTo>
                    <a:pt x="6971" y="6003"/>
                    <a:pt x="6977" y="5994"/>
                    <a:pt x="6993" y="5983"/>
                  </a:cubicBezTo>
                  <a:cubicBezTo>
                    <a:pt x="6993" y="5983"/>
                    <a:pt x="7007" y="5992"/>
                    <a:pt x="7013" y="5997"/>
                  </a:cubicBezTo>
                  <a:cubicBezTo>
                    <a:pt x="7019" y="6001"/>
                    <a:pt x="7021" y="6000"/>
                    <a:pt x="7030" y="6003"/>
                  </a:cubicBezTo>
                  <a:cubicBezTo>
                    <a:pt x="7039" y="6006"/>
                    <a:pt x="7049" y="6012"/>
                    <a:pt x="7049" y="6012"/>
                  </a:cubicBezTo>
                  <a:cubicBezTo>
                    <a:pt x="7049" y="6012"/>
                    <a:pt x="7065" y="6015"/>
                    <a:pt x="7069" y="6018"/>
                  </a:cubicBezTo>
                  <a:cubicBezTo>
                    <a:pt x="7074" y="6021"/>
                    <a:pt x="7075" y="6016"/>
                    <a:pt x="7080" y="6015"/>
                  </a:cubicBezTo>
                  <a:cubicBezTo>
                    <a:pt x="7084" y="6013"/>
                    <a:pt x="7086" y="6009"/>
                    <a:pt x="7086" y="6004"/>
                  </a:cubicBezTo>
                  <a:cubicBezTo>
                    <a:pt x="7086" y="6000"/>
                    <a:pt x="7090" y="5997"/>
                    <a:pt x="7096" y="5991"/>
                  </a:cubicBezTo>
                  <a:cubicBezTo>
                    <a:pt x="7103" y="5984"/>
                    <a:pt x="7110" y="5984"/>
                    <a:pt x="7118" y="5983"/>
                  </a:cubicBezTo>
                  <a:cubicBezTo>
                    <a:pt x="7125" y="5981"/>
                    <a:pt x="7125" y="5981"/>
                    <a:pt x="7133" y="5978"/>
                  </a:cubicBezTo>
                  <a:cubicBezTo>
                    <a:pt x="7140" y="5975"/>
                    <a:pt x="7145" y="5978"/>
                    <a:pt x="7148" y="5983"/>
                  </a:cubicBezTo>
                  <a:cubicBezTo>
                    <a:pt x="7151" y="5987"/>
                    <a:pt x="7162" y="5986"/>
                    <a:pt x="7169" y="5984"/>
                  </a:cubicBezTo>
                  <a:cubicBezTo>
                    <a:pt x="7177" y="5983"/>
                    <a:pt x="7175" y="5978"/>
                    <a:pt x="7186" y="5968"/>
                  </a:cubicBezTo>
                  <a:cubicBezTo>
                    <a:pt x="7197" y="5957"/>
                    <a:pt x="7192" y="5959"/>
                    <a:pt x="7201" y="5956"/>
                  </a:cubicBezTo>
                  <a:cubicBezTo>
                    <a:pt x="7210" y="5953"/>
                    <a:pt x="7221" y="5953"/>
                    <a:pt x="7231" y="5953"/>
                  </a:cubicBezTo>
                  <a:cubicBezTo>
                    <a:pt x="7242" y="5953"/>
                    <a:pt x="7247" y="5956"/>
                    <a:pt x="7256" y="5948"/>
                  </a:cubicBezTo>
                  <a:cubicBezTo>
                    <a:pt x="7265" y="5940"/>
                    <a:pt x="7263" y="5928"/>
                    <a:pt x="7268" y="5924"/>
                  </a:cubicBezTo>
                  <a:cubicBezTo>
                    <a:pt x="7272" y="5919"/>
                    <a:pt x="7294" y="5913"/>
                    <a:pt x="7301" y="5913"/>
                  </a:cubicBezTo>
                  <a:cubicBezTo>
                    <a:pt x="7309" y="5913"/>
                    <a:pt x="7327" y="5906"/>
                    <a:pt x="7327" y="5906"/>
                  </a:cubicBezTo>
                  <a:cubicBezTo>
                    <a:pt x="7347" y="5903"/>
                    <a:pt x="7347" y="5903"/>
                    <a:pt x="7347" y="5903"/>
                  </a:cubicBezTo>
                  <a:cubicBezTo>
                    <a:pt x="7347" y="5903"/>
                    <a:pt x="7372" y="5901"/>
                    <a:pt x="7378" y="5901"/>
                  </a:cubicBezTo>
                  <a:cubicBezTo>
                    <a:pt x="7385" y="5901"/>
                    <a:pt x="7406" y="5898"/>
                    <a:pt x="7412" y="5895"/>
                  </a:cubicBezTo>
                  <a:cubicBezTo>
                    <a:pt x="7418" y="5892"/>
                    <a:pt x="7433" y="5898"/>
                    <a:pt x="7441" y="5900"/>
                  </a:cubicBezTo>
                  <a:cubicBezTo>
                    <a:pt x="7448" y="5901"/>
                    <a:pt x="7453" y="5903"/>
                    <a:pt x="7457" y="5909"/>
                  </a:cubicBezTo>
                  <a:cubicBezTo>
                    <a:pt x="7462" y="5915"/>
                    <a:pt x="7473" y="5913"/>
                    <a:pt x="7474" y="5927"/>
                  </a:cubicBezTo>
                  <a:cubicBezTo>
                    <a:pt x="7476" y="5940"/>
                    <a:pt x="7486" y="5937"/>
                    <a:pt x="7494" y="5947"/>
                  </a:cubicBezTo>
                  <a:cubicBezTo>
                    <a:pt x="7501" y="5956"/>
                    <a:pt x="7501" y="5962"/>
                    <a:pt x="7509" y="5966"/>
                  </a:cubicBezTo>
                  <a:cubicBezTo>
                    <a:pt x="7516" y="5971"/>
                    <a:pt x="7510" y="5981"/>
                    <a:pt x="7506" y="5989"/>
                  </a:cubicBezTo>
                  <a:cubicBezTo>
                    <a:pt x="7501" y="5997"/>
                    <a:pt x="7500" y="6003"/>
                    <a:pt x="7503" y="6013"/>
                  </a:cubicBezTo>
                  <a:cubicBezTo>
                    <a:pt x="7506" y="6024"/>
                    <a:pt x="7503" y="6013"/>
                    <a:pt x="7507" y="6018"/>
                  </a:cubicBezTo>
                  <a:cubicBezTo>
                    <a:pt x="7512" y="6022"/>
                    <a:pt x="7510" y="6031"/>
                    <a:pt x="7510" y="6041"/>
                  </a:cubicBezTo>
                  <a:cubicBezTo>
                    <a:pt x="7510" y="6050"/>
                    <a:pt x="7520" y="6051"/>
                    <a:pt x="7520" y="6051"/>
                  </a:cubicBezTo>
                  <a:cubicBezTo>
                    <a:pt x="7520" y="6051"/>
                    <a:pt x="7532" y="6050"/>
                    <a:pt x="7538" y="6050"/>
                  </a:cubicBezTo>
                  <a:cubicBezTo>
                    <a:pt x="7544" y="6050"/>
                    <a:pt x="7547" y="6047"/>
                    <a:pt x="7551" y="6042"/>
                  </a:cubicBezTo>
                  <a:cubicBezTo>
                    <a:pt x="7556" y="6038"/>
                    <a:pt x="7560" y="6038"/>
                    <a:pt x="7560" y="6038"/>
                  </a:cubicBezTo>
                  <a:cubicBezTo>
                    <a:pt x="7560" y="6038"/>
                    <a:pt x="7573" y="6033"/>
                    <a:pt x="7577" y="6034"/>
                  </a:cubicBezTo>
                  <a:cubicBezTo>
                    <a:pt x="7582" y="6036"/>
                    <a:pt x="7585" y="6031"/>
                    <a:pt x="7594" y="6034"/>
                  </a:cubicBezTo>
                  <a:cubicBezTo>
                    <a:pt x="7603" y="6038"/>
                    <a:pt x="7607" y="6039"/>
                    <a:pt x="7617" y="6041"/>
                  </a:cubicBezTo>
                  <a:cubicBezTo>
                    <a:pt x="7626" y="6042"/>
                    <a:pt x="7636" y="6031"/>
                    <a:pt x="7650" y="6028"/>
                  </a:cubicBezTo>
                  <a:cubicBezTo>
                    <a:pt x="7664" y="6025"/>
                    <a:pt x="7654" y="6006"/>
                    <a:pt x="7659" y="6001"/>
                  </a:cubicBezTo>
                  <a:cubicBezTo>
                    <a:pt x="7664" y="5997"/>
                    <a:pt x="7665" y="6025"/>
                    <a:pt x="7665" y="6030"/>
                  </a:cubicBezTo>
                  <a:cubicBezTo>
                    <a:pt x="7665" y="6034"/>
                    <a:pt x="7679" y="6034"/>
                    <a:pt x="7680" y="6042"/>
                  </a:cubicBezTo>
                  <a:cubicBezTo>
                    <a:pt x="7682" y="6050"/>
                    <a:pt x="7679" y="6060"/>
                    <a:pt x="7682" y="6065"/>
                  </a:cubicBezTo>
                  <a:cubicBezTo>
                    <a:pt x="7685" y="6069"/>
                    <a:pt x="7702" y="6062"/>
                    <a:pt x="7702" y="6062"/>
                  </a:cubicBezTo>
                  <a:cubicBezTo>
                    <a:pt x="7702" y="6062"/>
                    <a:pt x="7702" y="6074"/>
                    <a:pt x="7703" y="6078"/>
                  </a:cubicBezTo>
                  <a:cubicBezTo>
                    <a:pt x="7705" y="6083"/>
                    <a:pt x="7708" y="6103"/>
                    <a:pt x="7706" y="6110"/>
                  </a:cubicBezTo>
                  <a:cubicBezTo>
                    <a:pt x="7705" y="6118"/>
                    <a:pt x="7711" y="6127"/>
                    <a:pt x="7705" y="6128"/>
                  </a:cubicBezTo>
                  <a:cubicBezTo>
                    <a:pt x="7698" y="6130"/>
                    <a:pt x="7703" y="6135"/>
                    <a:pt x="7703" y="6142"/>
                  </a:cubicBezTo>
                  <a:cubicBezTo>
                    <a:pt x="7703" y="6150"/>
                    <a:pt x="7697" y="6156"/>
                    <a:pt x="7694" y="6160"/>
                  </a:cubicBezTo>
                  <a:cubicBezTo>
                    <a:pt x="7691" y="6165"/>
                    <a:pt x="7686" y="6168"/>
                    <a:pt x="7683" y="6176"/>
                  </a:cubicBezTo>
                  <a:cubicBezTo>
                    <a:pt x="7680" y="6183"/>
                    <a:pt x="7685" y="6197"/>
                    <a:pt x="7677" y="6209"/>
                  </a:cubicBezTo>
                  <a:cubicBezTo>
                    <a:pt x="7670" y="6221"/>
                    <a:pt x="7677" y="6209"/>
                    <a:pt x="7670" y="6215"/>
                  </a:cubicBezTo>
                  <a:cubicBezTo>
                    <a:pt x="7662" y="6221"/>
                    <a:pt x="7665" y="6226"/>
                    <a:pt x="7661" y="6229"/>
                  </a:cubicBezTo>
                  <a:cubicBezTo>
                    <a:pt x="7656" y="6232"/>
                    <a:pt x="7654" y="6229"/>
                    <a:pt x="7648" y="6235"/>
                  </a:cubicBezTo>
                  <a:cubicBezTo>
                    <a:pt x="7642" y="6241"/>
                    <a:pt x="7647" y="6245"/>
                    <a:pt x="7645" y="6250"/>
                  </a:cubicBezTo>
                  <a:cubicBezTo>
                    <a:pt x="7644" y="6254"/>
                    <a:pt x="7656" y="6259"/>
                    <a:pt x="7654" y="6263"/>
                  </a:cubicBezTo>
                  <a:cubicBezTo>
                    <a:pt x="7653" y="6268"/>
                    <a:pt x="7653" y="6285"/>
                    <a:pt x="7645" y="6285"/>
                  </a:cubicBezTo>
                  <a:cubicBezTo>
                    <a:pt x="7638" y="6285"/>
                    <a:pt x="7630" y="6303"/>
                    <a:pt x="7630" y="6303"/>
                  </a:cubicBezTo>
                  <a:cubicBezTo>
                    <a:pt x="7621" y="6329"/>
                    <a:pt x="7621" y="6329"/>
                    <a:pt x="7621" y="6329"/>
                  </a:cubicBezTo>
                  <a:cubicBezTo>
                    <a:pt x="7621" y="6329"/>
                    <a:pt x="7614" y="6333"/>
                    <a:pt x="7612" y="6338"/>
                  </a:cubicBezTo>
                  <a:cubicBezTo>
                    <a:pt x="7611" y="6342"/>
                    <a:pt x="7607" y="6351"/>
                    <a:pt x="7604" y="6362"/>
                  </a:cubicBezTo>
                  <a:cubicBezTo>
                    <a:pt x="7601" y="6373"/>
                    <a:pt x="7601" y="6377"/>
                    <a:pt x="7592" y="6376"/>
                  </a:cubicBezTo>
                  <a:cubicBezTo>
                    <a:pt x="7583" y="6374"/>
                    <a:pt x="7583" y="6377"/>
                    <a:pt x="7583" y="6377"/>
                  </a:cubicBezTo>
                  <a:cubicBezTo>
                    <a:pt x="7583" y="6377"/>
                    <a:pt x="7579" y="6395"/>
                    <a:pt x="7579" y="6401"/>
                  </a:cubicBezTo>
                  <a:cubicBezTo>
                    <a:pt x="7579" y="6408"/>
                    <a:pt x="7582" y="6418"/>
                    <a:pt x="7583" y="6424"/>
                  </a:cubicBezTo>
                  <a:cubicBezTo>
                    <a:pt x="7585" y="6430"/>
                    <a:pt x="7585" y="6439"/>
                    <a:pt x="7585" y="6444"/>
                  </a:cubicBezTo>
                  <a:cubicBezTo>
                    <a:pt x="7585" y="6448"/>
                    <a:pt x="7586" y="6456"/>
                    <a:pt x="7589" y="6462"/>
                  </a:cubicBezTo>
                  <a:cubicBezTo>
                    <a:pt x="7592" y="6468"/>
                    <a:pt x="7597" y="6473"/>
                    <a:pt x="7600" y="6482"/>
                  </a:cubicBezTo>
                  <a:cubicBezTo>
                    <a:pt x="7603" y="6491"/>
                    <a:pt x="7603" y="6500"/>
                    <a:pt x="7607" y="6517"/>
                  </a:cubicBezTo>
                  <a:cubicBezTo>
                    <a:pt x="7612" y="6533"/>
                    <a:pt x="7612" y="6544"/>
                    <a:pt x="7620" y="6553"/>
                  </a:cubicBezTo>
                  <a:cubicBezTo>
                    <a:pt x="7627" y="6562"/>
                    <a:pt x="7626" y="6573"/>
                    <a:pt x="7635" y="6579"/>
                  </a:cubicBezTo>
                  <a:cubicBezTo>
                    <a:pt x="7644" y="6585"/>
                    <a:pt x="7642" y="6597"/>
                    <a:pt x="7645" y="6609"/>
                  </a:cubicBezTo>
                  <a:cubicBezTo>
                    <a:pt x="7648" y="6621"/>
                    <a:pt x="7638" y="6627"/>
                    <a:pt x="7645" y="6635"/>
                  </a:cubicBezTo>
                  <a:cubicBezTo>
                    <a:pt x="7653" y="6643"/>
                    <a:pt x="7645" y="6649"/>
                    <a:pt x="7650" y="6655"/>
                  </a:cubicBezTo>
                  <a:cubicBezTo>
                    <a:pt x="7654" y="6661"/>
                    <a:pt x="7641" y="6668"/>
                    <a:pt x="7641" y="6668"/>
                  </a:cubicBezTo>
                  <a:cubicBezTo>
                    <a:pt x="7641" y="6668"/>
                    <a:pt x="7638" y="6685"/>
                    <a:pt x="7644" y="6703"/>
                  </a:cubicBezTo>
                  <a:cubicBezTo>
                    <a:pt x="7650" y="6721"/>
                    <a:pt x="7644" y="6703"/>
                    <a:pt x="7647" y="6709"/>
                  </a:cubicBezTo>
                  <a:cubicBezTo>
                    <a:pt x="7650" y="6715"/>
                    <a:pt x="7639" y="6717"/>
                    <a:pt x="7635" y="6723"/>
                  </a:cubicBezTo>
                  <a:cubicBezTo>
                    <a:pt x="7630" y="6729"/>
                    <a:pt x="7633" y="6738"/>
                    <a:pt x="7639" y="6755"/>
                  </a:cubicBezTo>
                  <a:cubicBezTo>
                    <a:pt x="7645" y="6771"/>
                    <a:pt x="7639" y="6755"/>
                    <a:pt x="7641" y="6761"/>
                  </a:cubicBezTo>
                  <a:cubicBezTo>
                    <a:pt x="7642" y="6767"/>
                    <a:pt x="7639" y="6773"/>
                    <a:pt x="7638" y="6785"/>
                  </a:cubicBezTo>
                  <a:cubicBezTo>
                    <a:pt x="7636" y="6797"/>
                    <a:pt x="7636" y="6803"/>
                    <a:pt x="7633" y="6814"/>
                  </a:cubicBezTo>
                  <a:cubicBezTo>
                    <a:pt x="7630" y="6825"/>
                    <a:pt x="7632" y="6831"/>
                    <a:pt x="7632" y="6849"/>
                  </a:cubicBezTo>
                  <a:cubicBezTo>
                    <a:pt x="7632" y="6867"/>
                    <a:pt x="7626" y="6862"/>
                    <a:pt x="7621" y="6875"/>
                  </a:cubicBezTo>
                  <a:cubicBezTo>
                    <a:pt x="7617" y="6887"/>
                    <a:pt x="7606" y="6882"/>
                    <a:pt x="7600" y="6888"/>
                  </a:cubicBezTo>
                  <a:cubicBezTo>
                    <a:pt x="7594" y="6894"/>
                    <a:pt x="7592" y="6916"/>
                    <a:pt x="7592" y="6931"/>
                  </a:cubicBezTo>
                  <a:cubicBezTo>
                    <a:pt x="7592" y="6946"/>
                    <a:pt x="7591" y="6947"/>
                    <a:pt x="7591" y="6961"/>
                  </a:cubicBezTo>
                  <a:cubicBezTo>
                    <a:pt x="7591" y="6975"/>
                    <a:pt x="7588" y="6969"/>
                    <a:pt x="7591" y="6984"/>
                  </a:cubicBezTo>
                  <a:cubicBezTo>
                    <a:pt x="7594" y="6999"/>
                    <a:pt x="7580" y="7017"/>
                    <a:pt x="7571" y="7025"/>
                  </a:cubicBezTo>
                  <a:cubicBezTo>
                    <a:pt x="7562" y="7032"/>
                    <a:pt x="7570" y="7038"/>
                    <a:pt x="7565" y="7047"/>
                  </a:cubicBezTo>
                  <a:cubicBezTo>
                    <a:pt x="7560" y="7057"/>
                    <a:pt x="7553" y="7063"/>
                    <a:pt x="7541" y="7076"/>
                  </a:cubicBezTo>
                  <a:cubicBezTo>
                    <a:pt x="7529" y="7090"/>
                    <a:pt x="7526" y="7093"/>
                    <a:pt x="7515" y="7105"/>
                  </a:cubicBezTo>
                  <a:cubicBezTo>
                    <a:pt x="7504" y="7117"/>
                    <a:pt x="7501" y="7114"/>
                    <a:pt x="7489" y="7128"/>
                  </a:cubicBezTo>
                  <a:cubicBezTo>
                    <a:pt x="7477" y="7141"/>
                    <a:pt x="7474" y="7146"/>
                    <a:pt x="7469" y="7155"/>
                  </a:cubicBezTo>
                  <a:cubicBezTo>
                    <a:pt x="7465" y="7164"/>
                    <a:pt x="7450" y="7169"/>
                    <a:pt x="7439" y="7176"/>
                  </a:cubicBezTo>
                  <a:cubicBezTo>
                    <a:pt x="7429" y="7184"/>
                    <a:pt x="7427" y="7190"/>
                    <a:pt x="7424" y="7204"/>
                  </a:cubicBezTo>
                  <a:cubicBezTo>
                    <a:pt x="7421" y="7217"/>
                    <a:pt x="7427" y="7216"/>
                    <a:pt x="7424" y="7225"/>
                  </a:cubicBezTo>
                  <a:cubicBezTo>
                    <a:pt x="7421" y="7234"/>
                    <a:pt x="7416" y="7240"/>
                    <a:pt x="7410" y="7248"/>
                  </a:cubicBezTo>
                  <a:cubicBezTo>
                    <a:pt x="7404" y="7255"/>
                    <a:pt x="7394" y="7269"/>
                    <a:pt x="7383" y="7281"/>
                  </a:cubicBezTo>
                  <a:cubicBezTo>
                    <a:pt x="7372" y="7293"/>
                    <a:pt x="7369" y="7292"/>
                    <a:pt x="7359" y="7295"/>
                  </a:cubicBezTo>
                  <a:cubicBezTo>
                    <a:pt x="7348" y="7298"/>
                    <a:pt x="7347" y="7304"/>
                    <a:pt x="7344" y="7325"/>
                  </a:cubicBezTo>
                  <a:cubicBezTo>
                    <a:pt x="7341" y="7346"/>
                    <a:pt x="7318" y="7363"/>
                    <a:pt x="7313" y="7380"/>
                  </a:cubicBezTo>
                  <a:cubicBezTo>
                    <a:pt x="7309" y="7396"/>
                    <a:pt x="7297" y="7393"/>
                    <a:pt x="7289" y="7399"/>
                  </a:cubicBezTo>
                  <a:cubicBezTo>
                    <a:pt x="7281" y="7405"/>
                    <a:pt x="7274" y="7414"/>
                    <a:pt x="7275" y="7425"/>
                  </a:cubicBezTo>
                  <a:cubicBezTo>
                    <a:pt x="7277" y="7436"/>
                    <a:pt x="7269" y="7437"/>
                    <a:pt x="7266" y="7443"/>
                  </a:cubicBezTo>
                  <a:cubicBezTo>
                    <a:pt x="7263" y="7449"/>
                    <a:pt x="7268" y="7467"/>
                    <a:pt x="7271" y="7480"/>
                  </a:cubicBezTo>
                  <a:cubicBezTo>
                    <a:pt x="7274" y="7492"/>
                    <a:pt x="7271" y="7495"/>
                    <a:pt x="7271" y="7510"/>
                  </a:cubicBezTo>
                  <a:cubicBezTo>
                    <a:pt x="7271" y="7525"/>
                    <a:pt x="7272" y="7528"/>
                    <a:pt x="7271" y="7543"/>
                  </a:cubicBezTo>
                  <a:cubicBezTo>
                    <a:pt x="7269" y="7558"/>
                    <a:pt x="7265" y="7558"/>
                    <a:pt x="7268" y="7577"/>
                  </a:cubicBezTo>
                  <a:cubicBezTo>
                    <a:pt x="7271" y="7595"/>
                    <a:pt x="7256" y="7595"/>
                    <a:pt x="7251" y="7612"/>
                  </a:cubicBezTo>
                  <a:cubicBezTo>
                    <a:pt x="7247" y="7628"/>
                    <a:pt x="7245" y="7634"/>
                    <a:pt x="7247" y="7649"/>
                  </a:cubicBezTo>
                  <a:cubicBezTo>
                    <a:pt x="7248" y="7665"/>
                    <a:pt x="7244" y="7665"/>
                    <a:pt x="7245" y="7683"/>
                  </a:cubicBezTo>
                  <a:cubicBezTo>
                    <a:pt x="7247" y="7701"/>
                    <a:pt x="7231" y="7689"/>
                    <a:pt x="7218" y="7696"/>
                  </a:cubicBezTo>
                  <a:cubicBezTo>
                    <a:pt x="7204" y="7704"/>
                    <a:pt x="7189" y="7747"/>
                    <a:pt x="7180" y="7766"/>
                  </a:cubicBezTo>
                  <a:cubicBezTo>
                    <a:pt x="7171" y="7786"/>
                    <a:pt x="7174" y="7781"/>
                    <a:pt x="7168" y="7798"/>
                  </a:cubicBezTo>
                  <a:cubicBezTo>
                    <a:pt x="7162" y="7815"/>
                    <a:pt x="7162" y="7807"/>
                    <a:pt x="7157" y="7821"/>
                  </a:cubicBezTo>
                  <a:cubicBezTo>
                    <a:pt x="7153" y="7834"/>
                    <a:pt x="7145" y="7833"/>
                    <a:pt x="7134" y="7845"/>
                  </a:cubicBezTo>
                  <a:cubicBezTo>
                    <a:pt x="7124" y="7857"/>
                    <a:pt x="7125" y="7857"/>
                    <a:pt x="7116" y="7869"/>
                  </a:cubicBezTo>
                  <a:cubicBezTo>
                    <a:pt x="7107" y="7881"/>
                    <a:pt x="7104" y="7885"/>
                    <a:pt x="7092" y="7912"/>
                  </a:cubicBezTo>
                  <a:cubicBezTo>
                    <a:pt x="7080" y="7939"/>
                    <a:pt x="7077" y="7935"/>
                    <a:pt x="7072" y="7947"/>
                  </a:cubicBezTo>
                  <a:cubicBezTo>
                    <a:pt x="7068" y="7959"/>
                    <a:pt x="7060" y="7988"/>
                    <a:pt x="7060" y="8007"/>
                  </a:cubicBezTo>
                  <a:cubicBezTo>
                    <a:pt x="7060" y="8027"/>
                    <a:pt x="7062" y="8024"/>
                    <a:pt x="7055" y="8035"/>
                  </a:cubicBezTo>
                  <a:cubicBezTo>
                    <a:pt x="7049" y="8045"/>
                    <a:pt x="7049" y="8044"/>
                    <a:pt x="7045" y="8050"/>
                  </a:cubicBezTo>
                  <a:cubicBezTo>
                    <a:pt x="7040" y="8056"/>
                    <a:pt x="7034" y="8054"/>
                    <a:pt x="7031" y="8063"/>
                  </a:cubicBezTo>
                  <a:cubicBezTo>
                    <a:pt x="7028" y="8073"/>
                    <a:pt x="7016" y="8079"/>
                    <a:pt x="7010" y="8086"/>
                  </a:cubicBezTo>
                  <a:cubicBezTo>
                    <a:pt x="7004" y="8094"/>
                    <a:pt x="6998" y="8085"/>
                    <a:pt x="6992" y="8097"/>
                  </a:cubicBezTo>
                  <a:cubicBezTo>
                    <a:pt x="6986" y="8109"/>
                    <a:pt x="6989" y="8132"/>
                    <a:pt x="6983" y="8147"/>
                  </a:cubicBezTo>
                  <a:cubicBezTo>
                    <a:pt x="6977" y="8162"/>
                    <a:pt x="6974" y="8154"/>
                    <a:pt x="6969" y="8165"/>
                  </a:cubicBezTo>
                  <a:cubicBezTo>
                    <a:pt x="6965" y="8176"/>
                    <a:pt x="6968" y="8183"/>
                    <a:pt x="6958" y="8195"/>
                  </a:cubicBezTo>
                  <a:cubicBezTo>
                    <a:pt x="6949" y="8208"/>
                    <a:pt x="6943" y="8201"/>
                    <a:pt x="6936" y="8208"/>
                  </a:cubicBezTo>
                  <a:cubicBezTo>
                    <a:pt x="6928" y="8214"/>
                    <a:pt x="6924" y="8206"/>
                    <a:pt x="6914" y="8212"/>
                  </a:cubicBezTo>
                  <a:cubicBezTo>
                    <a:pt x="6905" y="8218"/>
                    <a:pt x="6911" y="8218"/>
                    <a:pt x="6907" y="8224"/>
                  </a:cubicBezTo>
                  <a:cubicBezTo>
                    <a:pt x="6902" y="8230"/>
                    <a:pt x="6895" y="8238"/>
                    <a:pt x="6895" y="8250"/>
                  </a:cubicBezTo>
                  <a:cubicBezTo>
                    <a:pt x="6895" y="8262"/>
                    <a:pt x="6883" y="8264"/>
                    <a:pt x="6875" y="8268"/>
                  </a:cubicBezTo>
                  <a:cubicBezTo>
                    <a:pt x="6867" y="8273"/>
                    <a:pt x="6861" y="8264"/>
                    <a:pt x="6860" y="8271"/>
                  </a:cubicBezTo>
                  <a:cubicBezTo>
                    <a:pt x="6858" y="8279"/>
                    <a:pt x="6858" y="8288"/>
                    <a:pt x="6861" y="8297"/>
                  </a:cubicBezTo>
                  <a:cubicBezTo>
                    <a:pt x="6864" y="8306"/>
                    <a:pt x="6867" y="8309"/>
                    <a:pt x="6875" y="8312"/>
                  </a:cubicBezTo>
                  <a:cubicBezTo>
                    <a:pt x="6883" y="8315"/>
                    <a:pt x="6892" y="8311"/>
                    <a:pt x="6899" y="8309"/>
                  </a:cubicBezTo>
                  <a:cubicBezTo>
                    <a:pt x="6907" y="8308"/>
                    <a:pt x="6911" y="8312"/>
                    <a:pt x="6924" y="8308"/>
                  </a:cubicBezTo>
                  <a:cubicBezTo>
                    <a:pt x="6936" y="8303"/>
                    <a:pt x="6934" y="8309"/>
                    <a:pt x="6945" y="8309"/>
                  </a:cubicBezTo>
                  <a:cubicBezTo>
                    <a:pt x="6955" y="8309"/>
                    <a:pt x="6963" y="8306"/>
                    <a:pt x="6969" y="8306"/>
                  </a:cubicBezTo>
                  <a:cubicBezTo>
                    <a:pt x="6975" y="8306"/>
                    <a:pt x="6974" y="8312"/>
                    <a:pt x="6980" y="8308"/>
                  </a:cubicBezTo>
                  <a:cubicBezTo>
                    <a:pt x="6986" y="8303"/>
                    <a:pt x="6990" y="8302"/>
                    <a:pt x="6999" y="8295"/>
                  </a:cubicBezTo>
                  <a:cubicBezTo>
                    <a:pt x="7009" y="8289"/>
                    <a:pt x="7013" y="8295"/>
                    <a:pt x="7025" y="8298"/>
                  </a:cubicBezTo>
                  <a:cubicBezTo>
                    <a:pt x="7037" y="8302"/>
                    <a:pt x="7040" y="8294"/>
                    <a:pt x="7052" y="8289"/>
                  </a:cubicBezTo>
                  <a:cubicBezTo>
                    <a:pt x="7065" y="8285"/>
                    <a:pt x="7078" y="8285"/>
                    <a:pt x="7084" y="8280"/>
                  </a:cubicBezTo>
                  <a:cubicBezTo>
                    <a:pt x="7090" y="8276"/>
                    <a:pt x="7099" y="8268"/>
                    <a:pt x="7103" y="8264"/>
                  </a:cubicBezTo>
                  <a:cubicBezTo>
                    <a:pt x="7106" y="8259"/>
                    <a:pt x="7122" y="8258"/>
                    <a:pt x="7128" y="8258"/>
                  </a:cubicBezTo>
                  <a:cubicBezTo>
                    <a:pt x="7134" y="8258"/>
                    <a:pt x="7156" y="8245"/>
                    <a:pt x="7168" y="8238"/>
                  </a:cubicBezTo>
                  <a:cubicBezTo>
                    <a:pt x="7180" y="8230"/>
                    <a:pt x="7181" y="8230"/>
                    <a:pt x="7187" y="8221"/>
                  </a:cubicBezTo>
                  <a:cubicBezTo>
                    <a:pt x="7193" y="8212"/>
                    <a:pt x="7207" y="8218"/>
                    <a:pt x="7221" y="8208"/>
                  </a:cubicBezTo>
                  <a:cubicBezTo>
                    <a:pt x="7234" y="8197"/>
                    <a:pt x="7236" y="8201"/>
                    <a:pt x="7250" y="8191"/>
                  </a:cubicBezTo>
                  <a:cubicBezTo>
                    <a:pt x="7263" y="8180"/>
                    <a:pt x="7274" y="8174"/>
                    <a:pt x="7281" y="8168"/>
                  </a:cubicBezTo>
                  <a:cubicBezTo>
                    <a:pt x="7289" y="8162"/>
                    <a:pt x="7304" y="8157"/>
                    <a:pt x="7321" y="8154"/>
                  </a:cubicBezTo>
                  <a:cubicBezTo>
                    <a:pt x="7338" y="8151"/>
                    <a:pt x="7333" y="8142"/>
                    <a:pt x="7339" y="8135"/>
                  </a:cubicBezTo>
                  <a:cubicBezTo>
                    <a:pt x="7345" y="8127"/>
                    <a:pt x="7347" y="8123"/>
                    <a:pt x="7348" y="8107"/>
                  </a:cubicBezTo>
                  <a:cubicBezTo>
                    <a:pt x="7350" y="8092"/>
                    <a:pt x="7363" y="8100"/>
                    <a:pt x="7385" y="8089"/>
                  </a:cubicBezTo>
                  <a:cubicBezTo>
                    <a:pt x="7406" y="8079"/>
                    <a:pt x="7392" y="8083"/>
                    <a:pt x="7416" y="8066"/>
                  </a:cubicBezTo>
                  <a:cubicBezTo>
                    <a:pt x="7441" y="8050"/>
                    <a:pt x="7430" y="8053"/>
                    <a:pt x="7453" y="8042"/>
                  </a:cubicBezTo>
                  <a:cubicBezTo>
                    <a:pt x="7476" y="8032"/>
                    <a:pt x="7471" y="8033"/>
                    <a:pt x="7482" y="8021"/>
                  </a:cubicBezTo>
                  <a:cubicBezTo>
                    <a:pt x="7492" y="8009"/>
                    <a:pt x="7491" y="8016"/>
                    <a:pt x="7495" y="8012"/>
                  </a:cubicBezTo>
                  <a:cubicBezTo>
                    <a:pt x="7500" y="8007"/>
                    <a:pt x="7506" y="8001"/>
                    <a:pt x="7510" y="7992"/>
                  </a:cubicBezTo>
                  <a:cubicBezTo>
                    <a:pt x="7515" y="7983"/>
                    <a:pt x="7521" y="7985"/>
                    <a:pt x="7526" y="7977"/>
                  </a:cubicBezTo>
                  <a:cubicBezTo>
                    <a:pt x="7530" y="7969"/>
                    <a:pt x="7533" y="7971"/>
                    <a:pt x="7542" y="7971"/>
                  </a:cubicBezTo>
                  <a:cubicBezTo>
                    <a:pt x="7551" y="7971"/>
                    <a:pt x="7553" y="7966"/>
                    <a:pt x="7559" y="7959"/>
                  </a:cubicBezTo>
                  <a:cubicBezTo>
                    <a:pt x="7565" y="7951"/>
                    <a:pt x="7574" y="7950"/>
                    <a:pt x="7579" y="7944"/>
                  </a:cubicBezTo>
                  <a:cubicBezTo>
                    <a:pt x="7583" y="7938"/>
                    <a:pt x="7588" y="7935"/>
                    <a:pt x="7595" y="7922"/>
                  </a:cubicBezTo>
                  <a:cubicBezTo>
                    <a:pt x="7603" y="7910"/>
                    <a:pt x="7601" y="7909"/>
                    <a:pt x="7603" y="7897"/>
                  </a:cubicBezTo>
                  <a:cubicBezTo>
                    <a:pt x="7604" y="7885"/>
                    <a:pt x="7615" y="7888"/>
                    <a:pt x="7621" y="7881"/>
                  </a:cubicBezTo>
                  <a:cubicBezTo>
                    <a:pt x="7627" y="7875"/>
                    <a:pt x="7632" y="7872"/>
                    <a:pt x="7644" y="7860"/>
                  </a:cubicBezTo>
                  <a:cubicBezTo>
                    <a:pt x="7656" y="7848"/>
                    <a:pt x="7661" y="7851"/>
                    <a:pt x="7674" y="7844"/>
                  </a:cubicBezTo>
                  <a:cubicBezTo>
                    <a:pt x="7688" y="7836"/>
                    <a:pt x="7695" y="7830"/>
                    <a:pt x="7705" y="7821"/>
                  </a:cubicBezTo>
                  <a:cubicBezTo>
                    <a:pt x="7714" y="7812"/>
                    <a:pt x="7730" y="7812"/>
                    <a:pt x="7741" y="7804"/>
                  </a:cubicBezTo>
                  <a:cubicBezTo>
                    <a:pt x="7752" y="7797"/>
                    <a:pt x="7756" y="7786"/>
                    <a:pt x="7761" y="7780"/>
                  </a:cubicBezTo>
                  <a:cubicBezTo>
                    <a:pt x="7765" y="7774"/>
                    <a:pt x="7774" y="7777"/>
                    <a:pt x="7782" y="7769"/>
                  </a:cubicBezTo>
                  <a:cubicBezTo>
                    <a:pt x="7789" y="7762"/>
                    <a:pt x="7797" y="7760"/>
                    <a:pt x="7805" y="7751"/>
                  </a:cubicBezTo>
                  <a:cubicBezTo>
                    <a:pt x="7812" y="7742"/>
                    <a:pt x="7817" y="7740"/>
                    <a:pt x="7820" y="7734"/>
                  </a:cubicBezTo>
                  <a:cubicBezTo>
                    <a:pt x="7823" y="7728"/>
                    <a:pt x="7827" y="7727"/>
                    <a:pt x="7833" y="7718"/>
                  </a:cubicBezTo>
                  <a:cubicBezTo>
                    <a:pt x="7839" y="7709"/>
                    <a:pt x="7841" y="7715"/>
                    <a:pt x="7846" y="7710"/>
                  </a:cubicBezTo>
                  <a:cubicBezTo>
                    <a:pt x="7850" y="7706"/>
                    <a:pt x="7852" y="7707"/>
                    <a:pt x="7853" y="7701"/>
                  </a:cubicBezTo>
                  <a:cubicBezTo>
                    <a:pt x="7855" y="7695"/>
                    <a:pt x="7859" y="7687"/>
                    <a:pt x="7861" y="7677"/>
                  </a:cubicBezTo>
                  <a:cubicBezTo>
                    <a:pt x="7862" y="7666"/>
                    <a:pt x="7871" y="7654"/>
                    <a:pt x="7873" y="7645"/>
                  </a:cubicBezTo>
                  <a:cubicBezTo>
                    <a:pt x="7874" y="7636"/>
                    <a:pt x="7876" y="7639"/>
                    <a:pt x="7880" y="7633"/>
                  </a:cubicBezTo>
                  <a:cubicBezTo>
                    <a:pt x="7885" y="7627"/>
                    <a:pt x="7894" y="7627"/>
                    <a:pt x="7900" y="7618"/>
                  </a:cubicBezTo>
                  <a:cubicBezTo>
                    <a:pt x="7906" y="7609"/>
                    <a:pt x="7909" y="7602"/>
                    <a:pt x="7914" y="7598"/>
                  </a:cubicBezTo>
                  <a:cubicBezTo>
                    <a:pt x="7918" y="7593"/>
                    <a:pt x="7924" y="7587"/>
                    <a:pt x="7930" y="7578"/>
                  </a:cubicBezTo>
                  <a:cubicBezTo>
                    <a:pt x="7937" y="7569"/>
                    <a:pt x="7935" y="7568"/>
                    <a:pt x="7941" y="7560"/>
                  </a:cubicBezTo>
                  <a:cubicBezTo>
                    <a:pt x="7947" y="7552"/>
                    <a:pt x="7938" y="7548"/>
                    <a:pt x="7946" y="7545"/>
                  </a:cubicBezTo>
                  <a:cubicBezTo>
                    <a:pt x="7953" y="7542"/>
                    <a:pt x="7956" y="7542"/>
                    <a:pt x="7962" y="7536"/>
                  </a:cubicBezTo>
                  <a:cubicBezTo>
                    <a:pt x="7968" y="7530"/>
                    <a:pt x="7971" y="7528"/>
                    <a:pt x="7979" y="7521"/>
                  </a:cubicBezTo>
                  <a:cubicBezTo>
                    <a:pt x="7987" y="7513"/>
                    <a:pt x="8003" y="7496"/>
                    <a:pt x="8003" y="7496"/>
                  </a:cubicBezTo>
                  <a:cubicBezTo>
                    <a:pt x="8003" y="7496"/>
                    <a:pt x="8026" y="7484"/>
                    <a:pt x="8031" y="7481"/>
                  </a:cubicBezTo>
                  <a:cubicBezTo>
                    <a:pt x="8035" y="7478"/>
                    <a:pt x="8052" y="7458"/>
                    <a:pt x="8064" y="7446"/>
                  </a:cubicBezTo>
                  <a:cubicBezTo>
                    <a:pt x="8076" y="7434"/>
                    <a:pt x="8075" y="7434"/>
                    <a:pt x="8099" y="7414"/>
                  </a:cubicBezTo>
                  <a:cubicBezTo>
                    <a:pt x="8123" y="7395"/>
                    <a:pt x="8128" y="7390"/>
                    <a:pt x="8128" y="7390"/>
                  </a:cubicBezTo>
                  <a:cubicBezTo>
                    <a:pt x="8128" y="7390"/>
                    <a:pt x="8143" y="7384"/>
                    <a:pt x="8147" y="7383"/>
                  </a:cubicBezTo>
                  <a:cubicBezTo>
                    <a:pt x="8152" y="7381"/>
                    <a:pt x="8162" y="7372"/>
                    <a:pt x="8162" y="7372"/>
                  </a:cubicBezTo>
                  <a:cubicBezTo>
                    <a:pt x="8162" y="7372"/>
                    <a:pt x="8184" y="7364"/>
                    <a:pt x="8191" y="7358"/>
                  </a:cubicBezTo>
                  <a:cubicBezTo>
                    <a:pt x="8199" y="7352"/>
                    <a:pt x="8199" y="7354"/>
                    <a:pt x="8206" y="7343"/>
                  </a:cubicBezTo>
                  <a:cubicBezTo>
                    <a:pt x="8214" y="7333"/>
                    <a:pt x="8217" y="7329"/>
                    <a:pt x="8226" y="7307"/>
                  </a:cubicBezTo>
                  <a:cubicBezTo>
                    <a:pt x="8235" y="7284"/>
                    <a:pt x="8235" y="7292"/>
                    <a:pt x="8240" y="7286"/>
                  </a:cubicBezTo>
                  <a:cubicBezTo>
                    <a:pt x="8244" y="7279"/>
                    <a:pt x="8258" y="7270"/>
                    <a:pt x="8264" y="7267"/>
                  </a:cubicBezTo>
                  <a:cubicBezTo>
                    <a:pt x="8270" y="7264"/>
                    <a:pt x="8270" y="7255"/>
                    <a:pt x="8273" y="7249"/>
                  </a:cubicBezTo>
                  <a:cubicBezTo>
                    <a:pt x="8276" y="7243"/>
                    <a:pt x="8278" y="7240"/>
                    <a:pt x="8282" y="7229"/>
                  </a:cubicBezTo>
                  <a:cubicBezTo>
                    <a:pt x="8287" y="7219"/>
                    <a:pt x="8284" y="7220"/>
                    <a:pt x="8290" y="7210"/>
                  </a:cubicBezTo>
                  <a:cubicBezTo>
                    <a:pt x="8296" y="7199"/>
                    <a:pt x="8299" y="7196"/>
                    <a:pt x="8314" y="7178"/>
                  </a:cubicBezTo>
                  <a:cubicBezTo>
                    <a:pt x="8329" y="7160"/>
                    <a:pt x="8323" y="7158"/>
                    <a:pt x="8337" y="7145"/>
                  </a:cubicBezTo>
                  <a:cubicBezTo>
                    <a:pt x="8351" y="7131"/>
                    <a:pt x="8360" y="7113"/>
                    <a:pt x="8361" y="7105"/>
                  </a:cubicBezTo>
                  <a:cubicBezTo>
                    <a:pt x="8363" y="7097"/>
                    <a:pt x="8376" y="7087"/>
                    <a:pt x="8378" y="7075"/>
                  </a:cubicBezTo>
                  <a:cubicBezTo>
                    <a:pt x="8379" y="7063"/>
                    <a:pt x="8388" y="7058"/>
                    <a:pt x="8388" y="7050"/>
                  </a:cubicBezTo>
                  <a:cubicBezTo>
                    <a:pt x="8388" y="7043"/>
                    <a:pt x="8404" y="7038"/>
                    <a:pt x="8407" y="7034"/>
                  </a:cubicBezTo>
                  <a:cubicBezTo>
                    <a:pt x="8410" y="7029"/>
                    <a:pt x="8417" y="7026"/>
                    <a:pt x="8422" y="7019"/>
                  </a:cubicBezTo>
                  <a:cubicBezTo>
                    <a:pt x="8426" y="7011"/>
                    <a:pt x="8437" y="7000"/>
                    <a:pt x="8437" y="6988"/>
                  </a:cubicBezTo>
                  <a:cubicBezTo>
                    <a:pt x="8437" y="6976"/>
                    <a:pt x="8440" y="6973"/>
                    <a:pt x="8437" y="6964"/>
                  </a:cubicBezTo>
                  <a:cubicBezTo>
                    <a:pt x="8434" y="6955"/>
                    <a:pt x="8446" y="6955"/>
                    <a:pt x="8452" y="6946"/>
                  </a:cubicBezTo>
                  <a:cubicBezTo>
                    <a:pt x="8458" y="6937"/>
                    <a:pt x="8463" y="6929"/>
                    <a:pt x="8464" y="6919"/>
                  </a:cubicBezTo>
                  <a:cubicBezTo>
                    <a:pt x="8466" y="6908"/>
                    <a:pt x="8464" y="6906"/>
                    <a:pt x="8463" y="6900"/>
                  </a:cubicBezTo>
                  <a:cubicBezTo>
                    <a:pt x="8461" y="6894"/>
                    <a:pt x="8473" y="6881"/>
                    <a:pt x="8475" y="6872"/>
                  </a:cubicBezTo>
                  <a:cubicBezTo>
                    <a:pt x="8476" y="6862"/>
                    <a:pt x="8479" y="6864"/>
                    <a:pt x="8489" y="6855"/>
                  </a:cubicBezTo>
                  <a:cubicBezTo>
                    <a:pt x="8498" y="6846"/>
                    <a:pt x="8496" y="6844"/>
                    <a:pt x="8501" y="6828"/>
                  </a:cubicBezTo>
                  <a:cubicBezTo>
                    <a:pt x="8505" y="6811"/>
                    <a:pt x="8504" y="6817"/>
                    <a:pt x="8514" y="6808"/>
                  </a:cubicBezTo>
                  <a:cubicBezTo>
                    <a:pt x="8525" y="6799"/>
                    <a:pt x="8522" y="6799"/>
                    <a:pt x="8528" y="6787"/>
                  </a:cubicBezTo>
                  <a:cubicBezTo>
                    <a:pt x="8534" y="6775"/>
                    <a:pt x="8525" y="6776"/>
                    <a:pt x="8529" y="6762"/>
                  </a:cubicBezTo>
                  <a:cubicBezTo>
                    <a:pt x="8534" y="6749"/>
                    <a:pt x="8529" y="6755"/>
                    <a:pt x="8536" y="6732"/>
                  </a:cubicBezTo>
                  <a:cubicBezTo>
                    <a:pt x="8542" y="6709"/>
                    <a:pt x="8539" y="6718"/>
                    <a:pt x="8546" y="6703"/>
                  </a:cubicBezTo>
                  <a:cubicBezTo>
                    <a:pt x="8554" y="6688"/>
                    <a:pt x="8572" y="6670"/>
                    <a:pt x="8576" y="6665"/>
                  </a:cubicBezTo>
                  <a:cubicBezTo>
                    <a:pt x="8581" y="6661"/>
                    <a:pt x="8589" y="6643"/>
                    <a:pt x="8589" y="6643"/>
                  </a:cubicBezTo>
                  <a:cubicBezTo>
                    <a:pt x="8607" y="6614"/>
                    <a:pt x="8607" y="6614"/>
                    <a:pt x="8607" y="6614"/>
                  </a:cubicBezTo>
                  <a:cubicBezTo>
                    <a:pt x="8607" y="6614"/>
                    <a:pt x="8619" y="6593"/>
                    <a:pt x="8619" y="6585"/>
                  </a:cubicBezTo>
                  <a:cubicBezTo>
                    <a:pt x="8619" y="6577"/>
                    <a:pt x="8633" y="6565"/>
                    <a:pt x="8637" y="6562"/>
                  </a:cubicBezTo>
                  <a:cubicBezTo>
                    <a:pt x="8642" y="6559"/>
                    <a:pt x="8652" y="6552"/>
                    <a:pt x="8652" y="6535"/>
                  </a:cubicBezTo>
                  <a:cubicBezTo>
                    <a:pt x="8652" y="6518"/>
                    <a:pt x="8660" y="6520"/>
                    <a:pt x="8661" y="6514"/>
                  </a:cubicBezTo>
                  <a:cubicBezTo>
                    <a:pt x="8663" y="6508"/>
                    <a:pt x="8667" y="6511"/>
                    <a:pt x="8672" y="6511"/>
                  </a:cubicBezTo>
                  <a:cubicBezTo>
                    <a:pt x="8677" y="6511"/>
                    <a:pt x="8678" y="6506"/>
                    <a:pt x="8684" y="6502"/>
                  </a:cubicBezTo>
                  <a:cubicBezTo>
                    <a:pt x="8690" y="6497"/>
                    <a:pt x="8696" y="6492"/>
                    <a:pt x="8698" y="6485"/>
                  </a:cubicBezTo>
                  <a:cubicBezTo>
                    <a:pt x="8699" y="6477"/>
                    <a:pt x="8702" y="6476"/>
                    <a:pt x="8701" y="6465"/>
                  </a:cubicBezTo>
                  <a:cubicBezTo>
                    <a:pt x="8699" y="6455"/>
                    <a:pt x="8711" y="6447"/>
                    <a:pt x="8714" y="6438"/>
                  </a:cubicBezTo>
                  <a:cubicBezTo>
                    <a:pt x="8717" y="6429"/>
                    <a:pt x="8722" y="6426"/>
                    <a:pt x="8728" y="6415"/>
                  </a:cubicBezTo>
                  <a:cubicBezTo>
                    <a:pt x="8734" y="6404"/>
                    <a:pt x="8742" y="6401"/>
                    <a:pt x="8748" y="6392"/>
                  </a:cubicBezTo>
                  <a:cubicBezTo>
                    <a:pt x="8754" y="6383"/>
                    <a:pt x="8763" y="6371"/>
                    <a:pt x="8771" y="6361"/>
                  </a:cubicBezTo>
                  <a:cubicBezTo>
                    <a:pt x="8778" y="6350"/>
                    <a:pt x="8792" y="6320"/>
                    <a:pt x="8798" y="6310"/>
                  </a:cubicBezTo>
                  <a:cubicBezTo>
                    <a:pt x="8804" y="6301"/>
                    <a:pt x="8807" y="6295"/>
                    <a:pt x="8815" y="6283"/>
                  </a:cubicBezTo>
                  <a:cubicBezTo>
                    <a:pt x="8822" y="6271"/>
                    <a:pt x="8824" y="6265"/>
                    <a:pt x="8830" y="6256"/>
                  </a:cubicBezTo>
                  <a:cubicBezTo>
                    <a:pt x="8836" y="6247"/>
                    <a:pt x="8834" y="6244"/>
                    <a:pt x="8846" y="6223"/>
                  </a:cubicBezTo>
                  <a:cubicBezTo>
                    <a:pt x="8859" y="6201"/>
                    <a:pt x="8862" y="6198"/>
                    <a:pt x="8878" y="6183"/>
                  </a:cubicBezTo>
                  <a:cubicBezTo>
                    <a:pt x="8895" y="6168"/>
                    <a:pt x="8899" y="6138"/>
                    <a:pt x="8903" y="6133"/>
                  </a:cubicBezTo>
                  <a:cubicBezTo>
                    <a:pt x="8906" y="6128"/>
                    <a:pt x="8909" y="6118"/>
                    <a:pt x="8912" y="6112"/>
                  </a:cubicBezTo>
                  <a:cubicBezTo>
                    <a:pt x="8915" y="6106"/>
                    <a:pt x="8925" y="6101"/>
                    <a:pt x="8928" y="6092"/>
                  </a:cubicBezTo>
                  <a:cubicBezTo>
                    <a:pt x="8931" y="6083"/>
                    <a:pt x="8942" y="6072"/>
                    <a:pt x="8943" y="6063"/>
                  </a:cubicBezTo>
                  <a:cubicBezTo>
                    <a:pt x="8945" y="6054"/>
                    <a:pt x="8951" y="6042"/>
                    <a:pt x="8951" y="6038"/>
                  </a:cubicBezTo>
                  <a:cubicBezTo>
                    <a:pt x="8951" y="6033"/>
                    <a:pt x="8965" y="6019"/>
                    <a:pt x="8966" y="6007"/>
                  </a:cubicBezTo>
                  <a:cubicBezTo>
                    <a:pt x="8968" y="5995"/>
                    <a:pt x="8978" y="5981"/>
                    <a:pt x="8981" y="5968"/>
                  </a:cubicBezTo>
                  <a:cubicBezTo>
                    <a:pt x="8984" y="5954"/>
                    <a:pt x="8990" y="5945"/>
                    <a:pt x="8995" y="5936"/>
                  </a:cubicBezTo>
                  <a:cubicBezTo>
                    <a:pt x="9000" y="5927"/>
                    <a:pt x="9003" y="5913"/>
                    <a:pt x="9004" y="5900"/>
                  </a:cubicBezTo>
                  <a:cubicBezTo>
                    <a:pt x="9006" y="5886"/>
                    <a:pt x="9013" y="5872"/>
                    <a:pt x="9019" y="5851"/>
                  </a:cubicBezTo>
                  <a:cubicBezTo>
                    <a:pt x="9025" y="5830"/>
                    <a:pt x="9031" y="5816"/>
                    <a:pt x="9036" y="5804"/>
                  </a:cubicBezTo>
                  <a:cubicBezTo>
                    <a:pt x="9038" y="5798"/>
                    <a:pt x="9045" y="5787"/>
                    <a:pt x="9050" y="5777"/>
                  </a:cubicBezTo>
                  <a:cubicBezTo>
                    <a:pt x="9072" y="5698"/>
                    <a:pt x="9091" y="5617"/>
                    <a:pt x="9108" y="5536"/>
                  </a:cubicBezTo>
                  <a:cubicBezTo>
                    <a:pt x="9103" y="5541"/>
                    <a:pt x="9099" y="5548"/>
                    <a:pt x="9092" y="5557"/>
                  </a:cubicBezTo>
                  <a:cubicBezTo>
                    <a:pt x="9083" y="5569"/>
                    <a:pt x="9089" y="5566"/>
                    <a:pt x="9081" y="5572"/>
                  </a:cubicBezTo>
                  <a:cubicBezTo>
                    <a:pt x="9074" y="5578"/>
                    <a:pt x="9071" y="5583"/>
                    <a:pt x="9053" y="5599"/>
                  </a:cubicBezTo>
                  <a:cubicBezTo>
                    <a:pt x="9034" y="5616"/>
                    <a:pt x="9042" y="5617"/>
                    <a:pt x="9033" y="5624"/>
                  </a:cubicBezTo>
                  <a:cubicBezTo>
                    <a:pt x="9024" y="5630"/>
                    <a:pt x="9033" y="5617"/>
                    <a:pt x="9027" y="5610"/>
                  </a:cubicBezTo>
                  <a:cubicBezTo>
                    <a:pt x="9021" y="5602"/>
                    <a:pt x="9024" y="5592"/>
                    <a:pt x="9019" y="5583"/>
                  </a:cubicBezTo>
                  <a:cubicBezTo>
                    <a:pt x="9015" y="5574"/>
                    <a:pt x="9022" y="5569"/>
                    <a:pt x="9022" y="5554"/>
                  </a:cubicBezTo>
                  <a:cubicBezTo>
                    <a:pt x="9022" y="5539"/>
                    <a:pt x="9016" y="5549"/>
                    <a:pt x="9010" y="5542"/>
                  </a:cubicBezTo>
                  <a:cubicBezTo>
                    <a:pt x="9004" y="5534"/>
                    <a:pt x="9010" y="5542"/>
                    <a:pt x="9019" y="5533"/>
                  </a:cubicBezTo>
                  <a:cubicBezTo>
                    <a:pt x="9028" y="5523"/>
                    <a:pt x="9025" y="5519"/>
                    <a:pt x="9033" y="5504"/>
                  </a:cubicBezTo>
                  <a:cubicBezTo>
                    <a:pt x="9040" y="5489"/>
                    <a:pt x="9034" y="5490"/>
                    <a:pt x="9034" y="5475"/>
                  </a:cubicBezTo>
                  <a:cubicBezTo>
                    <a:pt x="9034" y="5460"/>
                    <a:pt x="9033" y="5457"/>
                    <a:pt x="9031" y="5440"/>
                  </a:cubicBezTo>
                  <a:cubicBezTo>
                    <a:pt x="9030" y="5423"/>
                    <a:pt x="9028" y="5401"/>
                    <a:pt x="9031" y="5388"/>
                  </a:cubicBezTo>
                  <a:cubicBezTo>
                    <a:pt x="9034" y="5376"/>
                    <a:pt x="9030" y="5372"/>
                    <a:pt x="9027" y="5366"/>
                  </a:cubicBezTo>
                  <a:cubicBezTo>
                    <a:pt x="9024" y="5360"/>
                    <a:pt x="9027" y="5354"/>
                    <a:pt x="9028" y="5343"/>
                  </a:cubicBezTo>
                  <a:cubicBezTo>
                    <a:pt x="9030" y="5332"/>
                    <a:pt x="9024" y="5329"/>
                    <a:pt x="9022" y="5320"/>
                  </a:cubicBezTo>
                  <a:cubicBezTo>
                    <a:pt x="9021" y="5311"/>
                    <a:pt x="9021" y="5307"/>
                    <a:pt x="9018" y="5296"/>
                  </a:cubicBezTo>
                  <a:cubicBezTo>
                    <a:pt x="9015" y="5285"/>
                    <a:pt x="9013" y="5284"/>
                    <a:pt x="9009" y="5275"/>
                  </a:cubicBezTo>
                  <a:cubicBezTo>
                    <a:pt x="9004" y="5266"/>
                    <a:pt x="9003" y="5263"/>
                    <a:pt x="9001" y="5252"/>
                  </a:cubicBezTo>
                  <a:cubicBezTo>
                    <a:pt x="9000" y="5241"/>
                    <a:pt x="9003" y="5240"/>
                    <a:pt x="9003" y="5231"/>
                  </a:cubicBezTo>
                  <a:cubicBezTo>
                    <a:pt x="9003" y="5222"/>
                    <a:pt x="9001" y="5211"/>
                    <a:pt x="9001" y="5196"/>
                  </a:cubicBezTo>
                  <a:cubicBezTo>
                    <a:pt x="9001" y="5181"/>
                    <a:pt x="9004" y="5181"/>
                    <a:pt x="9006" y="5164"/>
                  </a:cubicBezTo>
                  <a:cubicBezTo>
                    <a:pt x="9007" y="5147"/>
                    <a:pt x="9009" y="5144"/>
                    <a:pt x="9007" y="5134"/>
                  </a:cubicBezTo>
                  <a:cubicBezTo>
                    <a:pt x="9006" y="5123"/>
                    <a:pt x="9009" y="5119"/>
                    <a:pt x="9007" y="5103"/>
                  </a:cubicBezTo>
                  <a:cubicBezTo>
                    <a:pt x="9006" y="5088"/>
                    <a:pt x="9000" y="5085"/>
                    <a:pt x="8995" y="5073"/>
                  </a:cubicBezTo>
                  <a:cubicBezTo>
                    <a:pt x="8990" y="5061"/>
                    <a:pt x="8995" y="5020"/>
                    <a:pt x="8995" y="5020"/>
                  </a:cubicBezTo>
                  <a:cubicBezTo>
                    <a:pt x="8995" y="5020"/>
                    <a:pt x="8993" y="5002"/>
                    <a:pt x="8989" y="4993"/>
                  </a:cubicBezTo>
                  <a:cubicBezTo>
                    <a:pt x="8984" y="4984"/>
                    <a:pt x="8987" y="4975"/>
                    <a:pt x="8987" y="4967"/>
                  </a:cubicBezTo>
                  <a:cubicBezTo>
                    <a:pt x="8987" y="4940"/>
                    <a:pt x="8987" y="4940"/>
                    <a:pt x="8987" y="4940"/>
                  </a:cubicBezTo>
                  <a:cubicBezTo>
                    <a:pt x="8987" y="4928"/>
                    <a:pt x="8990" y="4924"/>
                    <a:pt x="8990" y="4909"/>
                  </a:cubicBezTo>
                  <a:cubicBezTo>
                    <a:pt x="8990" y="4894"/>
                    <a:pt x="8995" y="4891"/>
                    <a:pt x="8995" y="4881"/>
                  </a:cubicBezTo>
                  <a:cubicBezTo>
                    <a:pt x="8995" y="4870"/>
                    <a:pt x="8993" y="4861"/>
                    <a:pt x="8987" y="4850"/>
                  </a:cubicBezTo>
                  <a:cubicBezTo>
                    <a:pt x="8981" y="4840"/>
                    <a:pt x="8989" y="4835"/>
                    <a:pt x="8989" y="4826"/>
                  </a:cubicBezTo>
                  <a:cubicBezTo>
                    <a:pt x="8989" y="4817"/>
                    <a:pt x="8986" y="4800"/>
                    <a:pt x="8986" y="4788"/>
                  </a:cubicBezTo>
                  <a:cubicBezTo>
                    <a:pt x="8986" y="4776"/>
                    <a:pt x="8989" y="4767"/>
                    <a:pt x="8989" y="4753"/>
                  </a:cubicBezTo>
                  <a:cubicBezTo>
                    <a:pt x="8989" y="4739"/>
                    <a:pt x="8989" y="4746"/>
                    <a:pt x="8984" y="4735"/>
                  </a:cubicBezTo>
                  <a:cubicBezTo>
                    <a:pt x="8980" y="4724"/>
                    <a:pt x="8975" y="4720"/>
                    <a:pt x="8966" y="4711"/>
                  </a:cubicBezTo>
                  <a:cubicBezTo>
                    <a:pt x="8957" y="4702"/>
                    <a:pt x="8965" y="4697"/>
                    <a:pt x="8962" y="4688"/>
                  </a:cubicBezTo>
                  <a:cubicBezTo>
                    <a:pt x="8959" y="4679"/>
                    <a:pt x="8962" y="4671"/>
                    <a:pt x="8963" y="4635"/>
                  </a:cubicBezTo>
                  <a:cubicBezTo>
                    <a:pt x="8965" y="4598"/>
                    <a:pt x="8962" y="4611"/>
                    <a:pt x="8960" y="4589"/>
                  </a:cubicBezTo>
                  <a:cubicBezTo>
                    <a:pt x="8959" y="4568"/>
                    <a:pt x="8937" y="4529"/>
                    <a:pt x="8937" y="4529"/>
                  </a:cubicBezTo>
                  <a:cubicBezTo>
                    <a:pt x="8937" y="4529"/>
                    <a:pt x="8940" y="4515"/>
                    <a:pt x="8939" y="4507"/>
                  </a:cubicBezTo>
                  <a:cubicBezTo>
                    <a:pt x="8937" y="4500"/>
                    <a:pt x="8936" y="4488"/>
                    <a:pt x="8930" y="4483"/>
                  </a:cubicBezTo>
                  <a:cubicBezTo>
                    <a:pt x="8924" y="4479"/>
                    <a:pt x="8930" y="4465"/>
                    <a:pt x="8925" y="4460"/>
                  </a:cubicBezTo>
                  <a:cubicBezTo>
                    <a:pt x="8921" y="4456"/>
                    <a:pt x="8921" y="4429"/>
                    <a:pt x="8918" y="4416"/>
                  </a:cubicBezTo>
                  <a:cubicBezTo>
                    <a:pt x="8915" y="4404"/>
                    <a:pt x="8915" y="4389"/>
                    <a:pt x="8912" y="4385"/>
                  </a:cubicBezTo>
                  <a:cubicBezTo>
                    <a:pt x="8909" y="4380"/>
                    <a:pt x="8909" y="4368"/>
                    <a:pt x="8907" y="4360"/>
                  </a:cubicBezTo>
                  <a:cubicBezTo>
                    <a:pt x="8906" y="4353"/>
                    <a:pt x="8909" y="4347"/>
                    <a:pt x="8909" y="4338"/>
                  </a:cubicBezTo>
                  <a:cubicBezTo>
                    <a:pt x="8909" y="4329"/>
                    <a:pt x="8892" y="4316"/>
                    <a:pt x="8892" y="4316"/>
                  </a:cubicBezTo>
                  <a:cubicBezTo>
                    <a:pt x="8892" y="4316"/>
                    <a:pt x="8886" y="4300"/>
                    <a:pt x="8883" y="4295"/>
                  </a:cubicBezTo>
                  <a:cubicBezTo>
                    <a:pt x="8880" y="4291"/>
                    <a:pt x="8883" y="4280"/>
                    <a:pt x="8880" y="4272"/>
                  </a:cubicBezTo>
                  <a:cubicBezTo>
                    <a:pt x="8877" y="4265"/>
                    <a:pt x="8880" y="4256"/>
                    <a:pt x="8875" y="4245"/>
                  </a:cubicBezTo>
                  <a:cubicBezTo>
                    <a:pt x="8871" y="4235"/>
                    <a:pt x="8866" y="4235"/>
                    <a:pt x="8862" y="4228"/>
                  </a:cubicBezTo>
                  <a:cubicBezTo>
                    <a:pt x="8857" y="4222"/>
                    <a:pt x="8859" y="4218"/>
                    <a:pt x="8855" y="4209"/>
                  </a:cubicBezTo>
                  <a:cubicBezTo>
                    <a:pt x="8852" y="4200"/>
                    <a:pt x="8855" y="4195"/>
                    <a:pt x="8854" y="4183"/>
                  </a:cubicBezTo>
                  <a:cubicBezTo>
                    <a:pt x="8852" y="4171"/>
                    <a:pt x="8851" y="4169"/>
                    <a:pt x="8848" y="4165"/>
                  </a:cubicBezTo>
                  <a:cubicBezTo>
                    <a:pt x="8845" y="4160"/>
                    <a:pt x="8851" y="4142"/>
                    <a:pt x="8851" y="4142"/>
                  </a:cubicBezTo>
                  <a:cubicBezTo>
                    <a:pt x="8851" y="4142"/>
                    <a:pt x="8862" y="4156"/>
                    <a:pt x="8865" y="4160"/>
                  </a:cubicBezTo>
                  <a:cubicBezTo>
                    <a:pt x="8868" y="4165"/>
                    <a:pt x="8868" y="4171"/>
                    <a:pt x="8869" y="4175"/>
                  </a:cubicBezTo>
                  <a:cubicBezTo>
                    <a:pt x="8871" y="4180"/>
                    <a:pt x="8869" y="4186"/>
                    <a:pt x="8871" y="4192"/>
                  </a:cubicBezTo>
                  <a:cubicBezTo>
                    <a:pt x="8872" y="4198"/>
                    <a:pt x="8872" y="4204"/>
                    <a:pt x="8877" y="4218"/>
                  </a:cubicBezTo>
                  <a:cubicBezTo>
                    <a:pt x="8881" y="4231"/>
                    <a:pt x="8877" y="4218"/>
                    <a:pt x="8883" y="4227"/>
                  </a:cubicBezTo>
                  <a:cubicBezTo>
                    <a:pt x="8889" y="4236"/>
                    <a:pt x="8883" y="4227"/>
                    <a:pt x="8884" y="4238"/>
                  </a:cubicBezTo>
                  <a:cubicBezTo>
                    <a:pt x="8886" y="4248"/>
                    <a:pt x="8889" y="4248"/>
                    <a:pt x="8890" y="4259"/>
                  </a:cubicBezTo>
                  <a:cubicBezTo>
                    <a:pt x="8892" y="4269"/>
                    <a:pt x="8896" y="4268"/>
                    <a:pt x="8899" y="4277"/>
                  </a:cubicBezTo>
                  <a:cubicBezTo>
                    <a:pt x="8903" y="4286"/>
                    <a:pt x="8912" y="4304"/>
                    <a:pt x="8912" y="4304"/>
                  </a:cubicBezTo>
                  <a:cubicBezTo>
                    <a:pt x="8912" y="4304"/>
                    <a:pt x="8918" y="4303"/>
                    <a:pt x="8919" y="4294"/>
                  </a:cubicBezTo>
                  <a:cubicBezTo>
                    <a:pt x="8921" y="4285"/>
                    <a:pt x="8919" y="4283"/>
                    <a:pt x="8919" y="4271"/>
                  </a:cubicBezTo>
                  <a:cubicBezTo>
                    <a:pt x="8919" y="4259"/>
                    <a:pt x="8918" y="4254"/>
                    <a:pt x="8915" y="4241"/>
                  </a:cubicBezTo>
                  <a:cubicBezTo>
                    <a:pt x="8912" y="4227"/>
                    <a:pt x="8918" y="4206"/>
                    <a:pt x="8918" y="4206"/>
                  </a:cubicBezTo>
                  <a:cubicBezTo>
                    <a:pt x="8918" y="4206"/>
                    <a:pt x="8925" y="4235"/>
                    <a:pt x="8925" y="4245"/>
                  </a:cubicBezTo>
                  <a:cubicBezTo>
                    <a:pt x="8925" y="4256"/>
                    <a:pt x="8925" y="4259"/>
                    <a:pt x="8930" y="4271"/>
                  </a:cubicBezTo>
                  <a:cubicBezTo>
                    <a:pt x="8934" y="4283"/>
                    <a:pt x="8934" y="4288"/>
                    <a:pt x="8934" y="4288"/>
                  </a:cubicBezTo>
                  <a:cubicBezTo>
                    <a:pt x="8934" y="4288"/>
                    <a:pt x="8942" y="4298"/>
                    <a:pt x="8945" y="4310"/>
                  </a:cubicBezTo>
                  <a:cubicBezTo>
                    <a:pt x="8948" y="4322"/>
                    <a:pt x="8948" y="4322"/>
                    <a:pt x="8954" y="4329"/>
                  </a:cubicBezTo>
                  <a:cubicBezTo>
                    <a:pt x="8960" y="4335"/>
                    <a:pt x="8957" y="4347"/>
                    <a:pt x="8963" y="4353"/>
                  </a:cubicBezTo>
                  <a:cubicBezTo>
                    <a:pt x="8969" y="4359"/>
                    <a:pt x="8966" y="4369"/>
                    <a:pt x="8968" y="4382"/>
                  </a:cubicBezTo>
                  <a:cubicBezTo>
                    <a:pt x="8969" y="4394"/>
                    <a:pt x="8972" y="4400"/>
                    <a:pt x="8980" y="4412"/>
                  </a:cubicBezTo>
                  <a:cubicBezTo>
                    <a:pt x="8987" y="4424"/>
                    <a:pt x="8978" y="4438"/>
                    <a:pt x="8978" y="4448"/>
                  </a:cubicBezTo>
                  <a:cubicBezTo>
                    <a:pt x="8978" y="4459"/>
                    <a:pt x="8987" y="4465"/>
                    <a:pt x="8989" y="4476"/>
                  </a:cubicBezTo>
                  <a:cubicBezTo>
                    <a:pt x="8990" y="4486"/>
                    <a:pt x="8990" y="4506"/>
                    <a:pt x="8997" y="4517"/>
                  </a:cubicBezTo>
                  <a:cubicBezTo>
                    <a:pt x="9003" y="4527"/>
                    <a:pt x="8989" y="4551"/>
                    <a:pt x="8995" y="4561"/>
                  </a:cubicBezTo>
                  <a:cubicBezTo>
                    <a:pt x="9001" y="4570"/>
                    <a:pt x="9013" y="4591"/>
                    <a:pt x="9016" y="4603"/>
                  </a:cubicBezTo>
                  <a:cubicBezTo>
                    <a:pt x="9019" y="4615"/>
                    <a:pt x="9022" y="4630"/>
                    <a:pt x="9028" y="4642"/>
                  </a:cubicBezTo>
                  <a:cubicBezTo>
                    <a:pt x="9034" y="4655"/>
                    <a:pt x="9044" y="4685"/>
                    <a:pt x="9044" y="4685"/>
                  </a:cubicBezTo>
                  <a:cubicBezTo>
                    <a:pt x="9044" y="4685"/>
                    <a:pt x="9040" y="4739"/>
                    <a:pt x="9040" y="4767"/>
                  </a:cubicBezTo>
                  <a:cubicBezTo>
                    <a:pt x="9040" y="4794"/>
                    <a:pt x="9034" y="4827"/>
                    <a:pt x="9034" y="4837"/>
                  </a:cubicBezTo>
                  <a:cubicBezTo>
                    <a:pt x="9034" y="4846"/>
                    <a:pt x="9040" y="4861"/>
                    <a:pt x="9047" y="4876"/>
                  </a:cubicBezTo>
                  <a:cubicBezTo>
                    <a:pt x="9053" y="4891"/>
                    <a:pt x="9056" y="4915"/>
                    <a:pt x="9062" y="4931"/>
                  </a:cubicBezTo>
                  <a:cubicBezTo>
                    <a:pt x="9068" y="4946"/>
                    <a:pt x="9062" y="5006"/>
                    <a:pt x="9062" y="5006"/>
                  </a:cubicBezTo>
                  <a:cubicBezTo>
                    <a:pt x="9062" y="5006"/>
                    <a:pt x="9071" y="5046"/>
                    <a:pt x="9065" y="5070"/>
                  </a:cubicBezTo>
                  <a:cubicBezTo>
                    <a:pt x="9059" y="5094"/>
                    <a:pt x="9068" y="5116"/>
                    <a:pt x="9059" y="5131"/>
                  </a:cubicBezTo>
                  <a:cubicBezTo>
                    <a:pt x="9050" y="5146"/>
                    <a:pt x="9068" y="5167"/>
                    <a:pt x="9062" y="5188"/>
                  </a:cubicBezTo>
                  <a:cubicBezTo>
                    <a:pt x="9056" y="5210"/>
                    <a:pt x="9065" y="5216"/>
                    <a:pt x="9062" y="5240"/>
                  </a:cubicBezTo>
                  <a:cubicBezTo>
                    <a:pt x="9059" y="5264"/>
                    <a:pt x="9065" y="5273"/>
                    <a:pt x="9065" y="5301"/>
                  </a:cubicBezTo>
                  <a:cubicBezTo>
                    <a:pt x="9065" y="5328"/>
                    <a:pt x="9059" y="5343"/>
                    <a:pt x="9059" y="5355"/>
                  </a:cubicBezTo>
                  <a:cubicBezTo>
                    <a:pt x="9059" y="5367"/>
                    <a:pt x="9053" y="5395"/>
                    <a:pt x="9053" y="5404"/>
                  </a:cubicBezTo>
                  <a:cubicBezTo>
                    <a:pt x="9053" y="5413"/>
                    <a:pt x="9050" y="5458"/>
                    <a:pt x="9059" y="5467"/>
                  </a:cubicBezTo>
                  <a:cubicBezTo>
                    <a:pt x="9068" y="5476"/>
                    <a:pt x="9059" y="5467"/>
                    <a:pt x="9077" y="5428"/>
                  </a:cubicBezTo>
                  <a:cubicBezTo>
                    <a:pt x="9086" y="5413"/>
                    <a:pt x="9077" y="5428"/>
                    <a:pt x="9098" y="5401"/>
                  </a:cubicBezTo>
                  <a:cubicBezTo>
                    <a:pt x="9119" y="5373"/>
                    <a:pt x="9098" y="5401"/>
                    <a:pt x="9116" y="5379"/>
                  </a:cubicBezTo>
                  <a:cubicBezTo>
                    <a:pt x="9126" y="5368"/>
                    <a:pt x="9125" y="5364"/>
                    <a:pt x="9135" y="5346"/>
                  </a:cubicBezTo>
                  <a:cubicBezTo>
                    <a:pt x="9144" y="5328"/>
                    <a:pt x="9141" y="5328"/>
                    <a:pt x="9141" y="5316"/>
                  </a:cubicBezTo>
                  <a:cubicBezTo>
                    <a:pt x="9141" y="5311"/>
                    <a:pt x="9145" y="5305"/>
                    <a:pt x="9151" y="5301"/>
                  </a:cubicBezTo>
                  <a:cubicBezTo>
                    <a:pt x="9188" y="5064"/>
                    <a:pt x="9207" y="4821"/>
                    <a:pt x="9207" y="4574"/>
                  </a:cubicBezTo>
                  <a:cubicBezTo>
                    <a:pt x="9207" y="4530"/>
                    <a:pt x="9207" y="4487"/>
                    <a:pt x="9205" y="4444"/>
                  </a:cubicBezTo>
                  <a:close/>
                  <a:moveTo>
                    <a:pt x="8621" y="2829"/>
                  </a:moveTo>
                  <a:cubicBezTo>
                    <a:pt x="8624" y="2826"/>
                    <a:pt x="8626" y="2825"/>
                    <a:pt x="8627" y="2820"/>
                  </a:cubicBezTo>
                  <a:cubicBezTo>
                    <a:pt x="8628" y="2814"/>
                    <a:pt x="8626" y="2812"/>
                    <a:pt x="8631" y="2804"/>
                  </a:cubicBezTo>
                  <a:cubicBezTo>
                    <a:pt x="8636" y="2795"/>
                    <a:pt x="8641" y="2794"/>
                    <a:pt x="8647" y="2787"/>
                  </a:cubicBezTo>
                  <a:cubicBezTo>
                    <a:pt x="8654" y="2781"/>
                    <a:pt x="8654" y="2771"/>
                    <a:pt x="8662" y="2761"/>
                  </a:cubicBezTo>
                  <a:cubicBezTo>
                    <a:pt x="8671" y="2752"/>
                    <a:pt x="8676" y="2737"/>
                    <a:pt x="8686" y="2737"/>
                  </a:cubicBezTo>
                  <a:cubicBezTo>
                    <a:pt x="8696" y="2737"/>
                    <a:pt x="8683" y="2755"/>
                    <a:pt x="8681" y="2767"/>
                  </a:cubicBezTo>
                  <a:cubicBezTo>
                    <a:pt x="8679" y="2779"/>
                    <a:pt x="8674" y="2776"/>
                    <a:pt x="8672" y="2786"/>
                  </a:cubicBezTo>
                  <a:cubicBezTo>
                    <a:pt x="8670" y="2796"/>
                    <a:pt x="8670" y="2794"/>
                    <a:pt x="8678" y="2798"/>
                  </a:cubicBezTo>
                  <a:cubicBezTo>
                    <a:pt x="8685" y="2802"/>
                    <a:pt x="8687" y="2806"/>
                    <a:pt x="8692" y="2813"/>
                  </a:cubicBezTo>
                  <a:cubicBezTo>
                    <a:pt x="8696" y="2821"/>
                    <a:pt x="8692" y="2822"/>
                    <a:pt x="8692" y="2834"/>
                  </a:cubicBezTo>
                  <a:cubicBezTo>
                    <a:pt x="8692" y="2846"/>
                    <a:pt x="8698" y="2858"/>
                    <a:pt x="8706" y="2870"/>
                  </a:cubicBezTo>
                  <a:cubicBezTo>
                    <a:pt x="8713" y="2881"/>
                    <a:pt x="8706" y="2878"/>
                    <a:pt x="8702" y="2883"/>
                  </a:cubicBezTo>
                  <a:cubicBezTo>
                    <a:pt x="8699" y="2887"/>
                    <a:pt x="8691" y="2884"/>
                    <a:pt x="8683" y="2886"/>
                  </a:cubicBezTo>
                  <a:cubicBezTo>
                    <a:pt x="8675" y="2888"/>
                    <a:pt x="8670" y="2891"/>
                    <a:pt x="8666" y="2890"/>
                  </a:cubicBezTo>
                  <a:cubicBezTo>
                    <a:pt x="8661" y="2889"/>
                    <a:pt x="8655" y="2884"/>
                    <a:pt x="8653" y="2879"/>
                  </a:cubicBezTo>
                  <a:cubicBezTo>
                    <a:pt x="8650" y="2875"/>
                    <a:pt x="8642" y="2872"/>
                    <a:pt x="8640" y="2861"/>
                  </a:cubicBezTo>
                  <a:cubicBezTo>
                    <a:pt x="8637" y="2850"/>
                    <a:pt x="8619" y="2836"/>
                    <a:pt x="8619" y="2836"/>
                  </a:cubicBezTo>
                  <a:cubicBezTo>
                    <a:pt x="8619" y="2836"/>
                    <a:pt x="8618" y="2833"/>
                    <a:pt x="8621" y="2829"/>
                  </a:cubicBezTo>
                  <a:close/>
                  <a:moveTo>
                    <a:pt x="8888" y="3210"/>
                  </a:moveTo>
                  <a:cubicBezTo>
                    <a:pt x="8884" y="3216"/>
                    <a:pt x="8887" y="3217"/>
                    <a:pt x="8881" y="3224"/>
                  </a:cubicBezTo>
                  <a:cubicBezTo>
                    <a:pt x="8876" y="3230"/>
                    <a:pt x="8884" y="3228"/>
                    <a:pt x="8876" y="3230"/>
                  </a:cubicBezTo>
                  <a:cubicBezTo>
                    <a:pt x="8867" y="3232"/>
                    <a:pt x="8863" y="3231"/>
                    <a:pt x="8858" y="3230"/>
                  </a:cubicBezTo>
                  <a:cubicBezTo>
                    <a:pt x="8854" y="3229"/>
                    <a:pt x="8844" y="3224"/>
                    <a:pt x="8842" y="3230"/>
                  </a:cubicBezTo>
                  <a:cubicBezTo>
                    <a:pt x="8840" y="3237"/>
                    <a:pt x="8840" y="3240"/>
                    <a:pt x="8836" y="3240"/>
                  </a:cubicBezTo>
                  <a:cubicBezTo>
                    <a:pt x="8831" y="3240"/>
                    <a:pt x="8823" y="3242"/>
                    <a:pt x="8822" y="3237"/>
                  </a:cubicBezTo>
                  <a:cubicBezTo>
                    <a:pt x="8821" y="3231"/>
                    <a:pt x="8816" y="3234"/>
                    <a:pt x="8814" y="3227"/>
                  </a:cubicBezTo>
                  <a:cubicBezTo>
                    <a:pt x="8812" y="3221"/>
                    <a:pt x="8811" y="3222"/>
                    <a:pt x="8803" y="3217"/>
                  </a:cubicBezTo>
                  <a:cubicBezTo>
                    <a:pt x="8796" y="3213"/>
                    <a:pt x="8790" y="3215"/>
                    <a:pt x="8789" y="3212"/>
                  </a:cubicBezTo>
                  <a:cubicBezTo>
                    <a:pt x="8788" y="3209"/>
                    <a:pt x="8789" y="3210"/>
                    <a:pt x="8785" y="3202"/>
                  </a:cubicBezTo>
                  <a:cubicBezTo>
                    <a:pt x="8780" y="3195"/>
                    <a:pt x="8779" y="3196"/>
                    <a:pt x="8774" y="3191"/>
                  </a:cubicBezTo>
                  <a:cubicBezTo>
                    <a:pt x="8769" y="3187"/>
                    <a:pt x="8769" y="3184"/>
                    <a:pt x="8765" y="3182"/>
                  </a:cubicBezTo>
                  <a:cubicBezTo>
                    <a:pt x="8762" y="3179"/>
                    <a:pt x="8756" y="3180"/>
                    <a:pt x="8752" y="3175"/>
                  </a:cubicBezTo>
                  <a:cubicBezTo>
                    <a:pt x="8749" y="3170"/>
                    <a:pt x="8749" y="3169"/>
                    <a:pt x="8746" y="3165"/>
                  </a:cubicBezTo>
                  <a:cubicBezTo>
                    <a:pt x="8743" y="3162"/>
                    <a:pt x="8743" y="3160"/>
                    <a:pt x="8736" y="3157"/>
                  </a:cubicBezTo>
                  <a:cubicBezTo>
                    <a:pt x="8730" y="3153"/>
                    <a:pt x="8728" y="3152"/>
                    <a:pt x="8721" y="3152"/>
                  </a:cubicBezTo>
                  <a:cubicBezTo>
                    <a:pt x="8713" y="3152"/>
                    <a:pt x="8711" y="3154"/>
                    <a:pt x="8706" y="3156"/>
                  </a:cubicBezTo>
                  <a:cubicBezTo>
                    <a:pt x="8700" y="3157"/>
                    <a:pt x="8694" y="3156"/>
                    <a:pt x="8687" y="3158"/>
                  </a:cubicBezTo>
                  <a:cubicBezTo>
                    <a:pt x="8681" y="3160"/>
                    <a:pt x="8678" y="3161"/>
                    <a:pt x="8678" y="3164"/>
                  </a:cubicBezTo>
                  <a:cubicBezTo>
                    <a:pt x="8678" y="3167"/>
                    <a:pt x="8674" y="3165"/>
                    <a:pt x="8674" y="3172"/>
                  </a:cubicBezTo>
                  <a:cubicBezTo>
                    <a:pt x="8674" y="3178"/>
                    <a:pt x="8674" y="3178"/>
                    <a:pt x="8669" y="3184"/>
                  </a:cubicBezTo>
                  <a:cubicBezTo>
                    <a:pt x="8663" y="3189"/>
                    <a:pt x="8658" y="3190"/>
                    <a:pt x="8659" y="3198"/>
                  </a:cubicBezTo>
                  <a:cubicBezTo>
                    <a:pt x="8660" y="3205"/>
                    <a:pt x="8661" y="3204"/>
                    <a:pt x="8658" y="3210"/>
                  </a:cubicBezTo>
                  <a:cubicBezTo>
                    <a:pt x="8655" y="3215"/>
                    <a:pt x="8665" y="3211"/>
                    <a:pt x="8655" y="3215"/>
                  </a:cubicBezTo>
                  <a:cubicBezTo>
                    <a:pt x="8645" y="3219"/>
                    <a:pt x="8641" y="3229"/>
                    <a:pt x="8641" y="3229"/>
                  </a:cubicBezTo>
                  <a:cubicBezTo>
                    <a:pt x="8641" y="3229"/>
                    <a:pt x="8626" y="3227"/>
                    <a:pt x="8616" y="3227"/>
                  </a:cubicBezTo>
                  <a:cubicBezTo>
                    <a:pt x="8606" y="3227"/>
                    <a:pt x="8606" y="3230"/>
                    <a:pt x="8598" y="3226"/>
                  </a:cubicBezTo>
                  <a:cubicBezTo>
                    <a:pt x="8591" y="3222"/>
                    <a:pt x="8590" y="3221"/>
                    <a:pt x="8582" y="3217"/>
                  </a:cubicBezTo>
                  <a:cubicBezTo>
                    <a:pt x="8575" y="3214"/>
                    <a:pt x="8576" y="3217"/>
                    <a:pt x="8569" y="3214"/>
                  </a:cubicBezTo>
                  <a:cubicBezTo>
                    <a:pt x="8563" y="3211"/>
                    <a:pt x="8566" y="3210"/>
                    <a:pt x="8559" y="3204"/>
                  </a:cubicBezTo>
                  <a:cubicBezTo>
                    <a:pt x="8553" y="3199"/>
                    <a:pt x="8558" y="3206"/>
                    <a:pt x="8553" y="3199"/>
                  </a:cubicBezTo>
                  <a:cubicBezTo>
                    <a:pt x="8548" y="3191"/>
                    <a:pt x="8548" y="3190"/>
                    <a:pt x="8546" y="3183"/>
                  </a:cubicBezTo>
                  <a:cubicBezTo>
                    <a:pt x="8545" y="3175"/>
                    <a:pt x="8548" y="3172"/>
                    <a:pt x="8543" y="3165"/>
                  </a:cubicBezTo>
                  <a:cubicBezTo>
                    <a:pt x="8539" y="3159"/>
                    <a:pt x="8539" y="3157"/>
                    <a:pt x="8536" y="3152"/>
                  </a:cubicBezTo>
                  <a:cubicBezTo>
                    <a:pt x="8532" y="3148"/>
                    <a:pt x="8535" y="3145"/>
                    <a:pt x="8531" y="3141"/>
                  </a:cubicBezTo>
                  <a:cubicBezTo>
                    <a:pt x="8528" y="3138"/>
                    <a:pt x="8527" y="3130"/>
                    <a:pt x="8522" y="3128"/>
                  </a:cubicBezTo>
                  <a:cubicBezTo>
                    <a:pt x="8516" y="3127"/>
                    <a:pt x="8515" y="3133"/>
                    <a:pt x="8512" y="3125"/>
                  </a:cubicBezTo>
                  <a:cubicBezTo>
                    <a:pt x="8509" y="3118"/>
                    <a:pt x="8510" y="3117"/>
                    <a:pt x="8507" y="3111"/>
                  </a:cubicBezTo>
                  <a:cubicBezTo>
                    <a:pt x="8505" y="3106"/>
                    <a:pt x="8511" y="3106"/>
                    <a:pt x="8513" y="3098"/>
                  </a:cubicBezTo>
                  <a:cubicBezTo>
                    <a:pt x="8515" y="3091"/>
                    <a:pt x="8520" y="3089"/>
                    <a:pt x="8518" y="3084"/>
                  </a:cubicBezTo>
                  <a:cubicBezTo>
                    <a:pt x="8516" y="3079"/>
                    <a:pt x="8511" y="3065"/>
                    <a:pt x="8510" y="3059"/>
                  </a:cubicBezTo>
                  <a:cubicBezTo>
                    <a:pt x="8509" y="3054"/>
                    <a:pt x="8512" y="3053"/>
                    <a:pt x="8513" y="3043"/>
                  </a:cubicBezTo>
                  <a:cubicBezTo>
                    <a:pt x="8514" y="3033"/>
                    <a:pt x="8516" y="3031"/>
                    <a:pt x="8514" y="3017"/>
                  </a:cubicBezTo>
                  <a:cubicBezTo>
                    <a:pt x="8512" y="3003"/>
                    <a:pt x="8515" y="3002"/>
                    <a:pt x="8509" y="2994"/>
                  </a:cubicBezTo>
                  <a:cubicBezTo>
                    <a:pt x="8502" y="2987"/>
                    <a:pt x="8498" y="2988"/>
                    <a:pt x="8499" y="2978"/>
                  </a:cubicBezTo>
                  <a:cubicBezTo>
                    <a:pt x="8500" y="2968"/>
                    <a:pt x="8507" y="2961"/>
                    <a:pt x="8500" y="2956"/>
                  </a:cubicBezTo>
                  <a:cubicBezTo>
                    <a:pt x="8492" y="2952"/>
                    <a:pt x="8490" y="2948"/>
                    <a:pt x="8490" y="2941"/>
                  </a:cubicBezTo>
                  <a:cubicBezTo>
                    <a:pt x="8490" y="2935"/>
                    <a:pt x="8492" y="2926"/>
                    <a:pt x="8497" y="2930"/>
                  </a:cubicBezTo>
                  <a:cubicBezTo>
                    <a:pt x="8501" y="2935"/>
                    <a:pt x="8509" y="2944"/>
                    <a:pt x="8512" y="2938"/>
                  </a:cubicBezTo>
                  <a:cubicBezTo>
                    <a:pt x="8515" y="2931"/>
                    <a:pt x="8514" y="2931"/>
                    <a:pt x="8514" y="2923"/>
                  </a:cubicBezTo>
                  <a:cubicBezTo>
                    <a:pt x="8514" y="2914"/>
                    <a:pt x="8514" y="2905"/>
                    <a:pt x="8513" y="2902"/>
                  </a:cubicBezTo>
                  <a:cubicBezTo>
                    <a:pt x="8512" y="2899"/>
                    <a:pt x="8516" y="2879"/>
                    <a:pt x="8512" y="2877"/>
                  </a:cubicBezTo>
                  <a:cubicBezTo>
                    <a:pt x="8507" y="2875"/>
                    <a:pt x="8501" y="2878"/>
                    <a:pt x="8497" y="2873"/>
                  </a:cubicBezTo>
                  <a:cubicBezTo>
                    <a:pt x="8492" y="2867"/>
                    <a:pt x="8477" y="2859"/>
                    <a:pt x="8485" y="2859"/>
                  </a:cubicBezTo>
                  <a:cubicBezTo>
                    <a:pt x="8492" y="2859"/>
                    <a:pt x="8502" y="2858"/>
                    <a:pt x="8502" y="2851"/>
                  </a:cubicBezTo>
                  <a:cubicBezTo>
                    <a:pt x="8502" y="2845"/>
                    <a:pt x="8502" y="2845"/>
                    <a:pt x="8501" y="2834"/>
                  </a:cubicBezTo>
                  <a:cubicBezTo>
                    <a:pt x="8500" y="2823"/>
                    <a:pt x="8503" y="2826"/>
                    <a:pt x="8503" y="2810"/>
                  </a:cubicBezTo>
                  <a:cubicBezTo>
                    <a:pt x="8503" y="2794"/>
                    <a:pt x="8503" y="2786"/>
                    <a:pt x="8507" y="2784"/>
                  </a:cubicBezTo>
                  <a:cubicBezTo>
                    <a:pt x="8512" y="2782"/>
                    <a:pt x="8518" y="2778"/>
                    <a:pt x="8522" y="2776"/>
                  </a:cubicBezTo>
                  <a:cubicBezTo>
                    <a:pt x="8525" y="2775"/>
                    <a:pt x="8531" y="2769"/>
                    <a:pt x="8532" y="2781"/>
                  </a:cubicBezTo>
                  <a:cubicBezTo>
                    <a:pt x="8534" y="2793"/>
                    <a:pt x="8537" y="2795"/>
                    <a:pt x="8537" y="2807"/>
                  </a:cubicBezTo>
                  <a:cubicBezTo>
                    <a:pt x="8537" y="2819"/>
                    <a:pt x="8544" y="2821"/>
                    <a:pt x="8551" y="2823"/>
                  </a:cubicBezTo>
                  <a:cubicBezTo>
                    <a:pt x="8557" y="2825"/>
                    <a:pt x="8561" y="2828"/>
                    <a:pt x="8566" y="2824"/>
                  </a:cubicBezTo>
                  <a:cubicBezTo>
                    <a:pt x="8571" y="2820"/>
                    <a:pt x="8575" y="2821"/>
                    <a:pt x="8579" y="2821"/>
                  </a:cubicBezTo>
                  <a:cubicBezTo>
                    <a:pt x="8583" y="2821"/>
                    <a:pt x="8590" y="2819"/>
                    <a:pt x="8590" y="2825"/>
                  </a:cubicBezTo>
                  <a:cubicBezTo>
                    <a:pt x="8590" y="2832"/>
                    <a:pt x="8596" y="2829"/>
                    <a:pt x="8592" y="2840"/>
                  </a:cubicBezTo>
                  <a:cubicBezTo>
                    <a:pt x="8588" y="2851"/>
                    <a:pt x="8593" y="2852"/>
                    <a:pt x="8585" y="2858"/>
                  </a:cubicBezTo>
                  <a:cubicBezTo>
                    <a:pt x="8578" y="2863"/>
                    <a:pt x="8580" y="2864"/>
                    <a:pt x="8580" y="2872"/>
                  </a:cubicBezTo>
                  <a:cubicBezTo>
                    <a:pt x="8580" y="2879"/>
                    <a:pt x="8575" y="2889"/>
                    <a:pt x="8583" y="2889"/>
                  </a:cubicBezTo>
                  <a:cubicBezTo>
                    <a:pt x="8592" y="2889"/>
                    <a:pt x="8598" y="2893"/>
                    <a:pt x="8603" y="2892"/>
                  </a:cubicBezTo>
                  <a:cubicBezTo>
                    <a:pt x="8607" y="2891"/>
                    <a:pt x="8619" y="2897"/>
                    <a:pt x="8618" y="2903"/>
                  </a:cubicBezTo>
                  <a:cubicBezTo>
                    <a:pt x="8617" y="2910"/>
                    <a:pt x="8626" y="2916"/>
                    <a:pt x="8623" y="2926"/>
                  </a:cubicBezTo>
                  <a:cubicBezTo>
                    <a:pt x="8621" y="2936"/>
                    <a:pt x="8634" y="2945"/>
                    <a:pt x="8633" y="2951"/>
                  </a:cubicBezTo>
                  <a:cubicBezTo>
                    <a:pt x="8632" y="2956"/>
                    <a:pt x="8637" y="2968"/>
                    <a:pt x="8643" y="2971"/>
                  </a:cubicBezTo>
                  <a:cubicBezTo>
                    <a:pt x="8648" y="2975"/>
                    <a:pt x="8660" y="2978"/>
                    <a:pt x="8660" y="2967"/>
                  </a:cubicBezTo>
                  <a:cubicBezTo>
                    <a:pt x="8660" y="2956"/>
                    <a:pt x="8657" y="2949"/>
                    <a:pt x="8659" y="2942"/>
                  </a:cubicBezTo>
                  <a:cubicBezTo>
                    <a:pt x="8661" y="2936"/>
                    <a:pt x="8661" y="2930"/>
                    <a:pt x="8666" y="2928"/>
                  </a:cubicBezTo>
                  <a:cubicBezTo>
                    <a:pt x="8670" y="2926"/>
                    <a:pt x="8675" y="2924"/>
                    <a:pt x="8675" y="2924"/>
                  </a:cubicBezTo>
                  <a:cubicBezTo>
                    <a:pt x="8686" y="2913"/>
                    <a:pt x="8686" y="2913"/>
                    <a:pt x="8686" y="2913"/>
                  </a:cubicBezTo>
                  <a:cubicBezTo>
                    <a:pt x="8700" y="2915"/>
                    <a:pt x="8700" y="2915"/>
                    <a:pt x="8700" y="2915"/>
                  </a:cubicBezTo>
                  <a:cubicBezTo>
                    <a:pt x="8700" y="2915"/>
                    <a:pt x="8713" y="2913"/>
                    <a:pt x="8713" y="2923"/>
                  </a:cubicBezTo>
                  <a:cubicBezTo>
                    <a:pt x="8713" y="2932"/>
                    <a:pt x="8713" y="2943"/>
                    <a:pt x="8719" y="2945"/>
                  </a:cubicBezTo>
                  <a:cubicBezTo>
                    <a:pt x="8724" y="2948"/>
                    <a:pt x="8726" y="2958"/>
                    <a:pt x="8734" y="2959"/>
                  </a:cubicBezTo>
                  <a:cubicBezTo>
                    <a:pt x="8741" y="2961"/>
                    <a:pt x="8763" y="2965"/>
                    <a:pt x="8764" y="2971"/>
                  </a:cubicBezTo>
                  <a:cubicBezTo>
                    <a:pt x="8765" y="2978"/>
                    <a:pt x="8766" y="2985"/>
                    <a:pt x="8778" y="2992"/>
                  </a:cubicBezTo>
                  <a:cubicBezTo>
                    <a:pt x="8790" y="2998"/>
                    <a:pt x="8791" y="3006"/>
                    <a:pt x="8791" y="3016"/>
                  </a:cubicBezTo>
                  <a:cubicBezTo>
                    <a:pt x="8791" y="3026"/>
                    <a:pt x="8791" y="3032"/>
                    <a:pt x="8795" y="3037"/>
                  </a:cubicBezTo>
                  <a:cubicBezTo>
                    <a:pt x="8798" y="3043"/>
                    <a:pt x="8806" y="3044"/>
                    <a:pt x="8812" y="3047"/>
                  </a:cubicBezTo>
                  <a:cubicBezTo>
                    <a:pt x="8817" y="3050"/>
                    <a:pt x="8824" y="3062"/>
                    <a:pt x="8830" y="3067"/>
                  </a:cubicBezTo>
                  <a:cubicBezTo>
                    <a:pt x="8837" y="3071"/>
                    <a:pt x="8855" y="3098"/>
                    <a:pt x="8857" y="3108"/>
                  </a:cubicBezTo>
                  <a:cubicBezTo>
                    <a:pt x="8860" y="3118"/>
                    <a:pt x="8867" y="3125"/>
                    <a:pt x="8871" y="3132"/>
                  </a:cubicBezTo>
                  <a:cubicBezTo>
                    <a:pt x="8876" y="3138"/>
                    <a:pt x="8879" y="3144"/>
                    <a:pt x="8881" y="3148"/>
                  </a:cubicBezTo>
                  <a:cubicBezTo>
                    <a:pt x="8883" y="3152"/>
                    <a:pt x="8882" y="3153"/>
                    <a:pt x="8884" y="3165"/>
                  </a:cubicBezTo>
                  <a:cubicBezTo>
                    <a:pt x="8887" y="3177"/>
                    <a:pt x="8890" y="3193"/>
                    <a:pt x="8890" y="3197"/>
                  </a:cubicBezTo>
                  <a:cubicBezTo>
                    <a:pt x="8890" y="3200"/>
                    <a:pt x="8891" y="3203"/>
                    <a:pt x="8888" y="3210"/>
                  </a:cubicBezTo>
                  <a:close/>
                  <a:moveTo>
                    <a:pt x="8327" y="6966"/>
                  </a:moveTo>
                  <a:cubicBezTo>
                    <a:pt x="8326" y="6970"/>
                    <a:pt x="8319" y="6977"/>
                    <a:pt x="8316" y="6983"/>
                  </a:cubicBezTo>
                  <a:cubicBezTo>
                    <a:pt x="8312" y="6990"/>
                    <a:pt x="8309" y="6993"/>
                    <a:pt x="8305" y="7001"/>
                  </a:cubicBezTo>
                  <a:cubicBezTo>
                    <a:pt x="8300" y="7008"/>
                    <a:pt x="8297" y="7014"/>
                    <a:pt x="8295" y="7018"/>
                  </a:cubicBezTo>
                  <a:cubicBezTo>
                    <a:pt x="8293" y="7022"/>
                    <a:pt x="8290" y="7028"/>
                    <a:pt x="8286" y="7031"/>
                  </a:cubicBezTo>
                  <a:cubicBezTo>
                    <a:pt x="8283" y="7034"/>
                    <a:pt x="8282" y="7039"/>
                    <a:pt x="8278" y="7046"/>
                  </a:cubicBezTo>
                  <a:cubicBezTo>
                    <a:pt x="8273" y="7054"/>
                    <a:pt x="8275" y="7053"/>
                    <a:pt x="8275" y="7060"/>
                  </a:cubicBezTo>
                  <a:cubicBezTo>
                    <a:pt x="8275" y="7068"/>
                    <a:pt x="8272" y="7076"/>
                    <a:pt x="8269" y="7084"/>
                  </a:cubicBezTo>
                  <a:cubicBezTo>
                    <a:pt x="8266" y="7093"/>
                    <a:pt x="8262" y="7094"/>
                    <a:pt x="8257" y="7100"/>
                  </a:cubicBezTo>
                  <a:cubicBezTo>
                    <a:pt x="8251" y="7105"/>
                    <a:pt x="8245" y="7110"/>
                    <a:pt x="8238" y="7117"/>
                  </a:cubicBezTo>
                  <a:cubicBezTo>
                    <a:pt x="8232" y="7125"/>
                    <a:pt x="8231" y="7131"/>
                    <a:pt x="8226" y="7140"/>
                  </a:cubicBezTo>
                  <a:cubicBezTo>
                    <a:pt x="8222" y="7149"/>
                    <a:pt x="8219" y="7155"/>
                    <a:pt x="8214" y="7164"/>
                  </a:cubicBezTo>
                  <a:cubicBezTo>
                    <a:pt x="8210" y="7173"/>
                    <a:pt x="8210" y="7178"/>
                    <a:pt x="8209" y="7184"/>
                  </a:cubicBezTo>
                  <a:cubicBezTo>
                    <a:pt x="8208" y="7189"/>
                    <a:pt x="8203" y="7197"/>
                    <a:pt x="8200" y="7203"/>
                  </a:cubicBezTo>
                  <a:cubicBezTo>
                    <a:pt x="8197" y="7210"/>
                    <a:pt x="8179" y="7215"/>
                    <a:pt x="8179" y="7215"/>
                  </a:cubicBezTo>
                  <a:cubicBezTo>
                    <a:pt x="8179" y="7215"/>
                    <a:pt x="8185" y="7208"/>
                    <a:pt x="8188" y="7202"/>
                  </a:cubicBezTo>
                  <a:cubicBezTo>
                    <a:pt x="8191" y="7197"/>
                    <a:pt x="8191" y="7196"/>
                    <a:pt x="8193" y="7192"/>
                  </a:cubicBezTo>
                  <a:cubicBezTo>
                    <a:pt x="8194" y="7189"/>
                    <a:pt x="8197" y="7183"/>
                    <a:pt x="8197" y="7179"/>
                  </a:cubicBezTo>
                  <a:cubicBezTo>
                    <a:pt x="8197" y="7176"/>
                    <a:pt x="8199" y="7173"/>
                    <a:pt x="8199" y="7168"/>
                  </a:cubicBezTo>
                  <a:cubicBezTo>
                    <a:pt x="8199" y="7164"/>
                    <a:pt x="8206" y="7156"/>
                    <a:pt x="8207" y="7151"/>
                  </a:cubicBezTo>
                  <a:cubicBezTo>
                    <a:pt x="8208" y="7146"/>
                    <a:pt x="8210" y="7140"/>
                    <a:pt x="8211" y="7134"/>
                  </a:cubicBezTo>
                  <a:cubicBezTo>
                    <a:pt x="8212" y="7127"/>
                    <a:pt x="8218" y="7124"/>
                    <a:pt x="8221" y="7116"/>
                  </a:cubicBezTo>
                  <a:cubicBezTo>
                    <a:pt x="8224" y="7108"/>
                    <a:pt x="8226" y="7104"/>
                    <a:pt x="8226" y="7104"/>
                  </a:cubicBezTo>
                  <a:cubicBezTo>
                    <a:pt x="8226" y="7104"/>
                    <a:pt x="8233" y="7092"/>
                    <a:pt x="8234" y="7089"/>
                  </a:cubicBezTo>
                  <a:cubicBezTo>
                    <a:pt x="8235" y="7086"/>
                    <a:pt x="8243" y="7080"/>
                    <a:pt x="8245" y="7076"/>
                  </a:cubicBezTo>
                  <a:cubicBezTo>
                    <a:pt x="8247" y="7071"/>
                    <a:pt x="8254" y="7068"/>
                    <a:pt x="8257" y="7064"/>
                  </a:cubicBezTo>
                  <a:cubicBezTo>
                    <a:pt x="8260" y="7059"/>
                    <a:pt x="8265" y="7054"/>
                    <a:pt x="8267" y="7049"/>
                  </a:cubicBezTo>
                  <a:cubicBezTo>
                    <a:pt x="8269" y="7043"/>
                    <a:pt x="8272" y="7039"/>
                    <a:pt x="8274" y="7034"/>
                  </a:cubicBezTo>
                  <a:cubicBezTo>
                    <a:pt x="8276" y="7030"/>
                    <a:pt x="8278" y="7028"/>
                    <a:pt x="8280" y="7022"/>
                  </a:cubicBezTo>
                  <a:cubicBezTo>
                    <a:pt x="8282" y="7017"/>
                    <a:pt x="8283" y="7016"/>
                    <a:pt x="8287" y="7010"/>
                  </a:cubicBezTo>
                  <a:cubicBezTo>
                    <a:pt x="8292" y="7005"/>
                    <a:pt x="8293" y="7001"/>
                    <a:pt x="8297" y="6993"/>
                  </a:cubicBezTo>
                  <a:cubicBezTo>
                    <a:pt x="8302" y="6985"/>
                    <a:pt x="8299" y="6978"/>
                    <a:pt x="8307" y="6968"/>
                  </a:cubicBezTo>
                  <a:cubicBezTo>
                    <a:pt x="8315" y="6958"/>
                    <a:pt x="8326" y="6933"/>
                    <a:pt x="8327" y="6930"/>
                  </a:cubicBezTo>
                  <a:cubicBezTo>
                    <a:pt x="8327" y="6930"/>
                    <a:pt x="8328" y="6943"/>
                    <a:pt x="8329" y="6953"/>
                  </a:cubicBezTo>
                  <a:cubicBezTo>
                    <a:pt x="8330" y="6962"/>
                    <a:pt x="8328" y="6961"/>
                    <a:pt x="8327" y="6966"/>
                  </a:cubicBezTo>
                  <a:close/>
                  <a:moveTo>
                    <a:pt x="8372" y="6606"/>
                  </a:moveTo>
                  <a:cubicBezTo>
                    <a:pt x="8370" y="6611"/>
                    <a:pt x="8370" y="6618"/>
                    <a:pt x="8366" y="6622"/>
                  </a:cubicBezTo>
                  <a:cubicBezTo>
                    <a:pt x="8362" y="6627"/>
                    <a:pt x="8360" y="6629"/>
                    <a:pt x="8359" y="6632"/>
                  </a:cubicBezTo>
                  <a:cubicBezTo>
                    <a:pt x="8358" y="6635"/>
                    <a:pt x="8360" y="6639"/>
                    <a:pt x="8358" y="6645"/>
                  </a:cubicBezTo>
                  <a:cubicBezTo>
                    <a:pt x="8356" y="6652"/>
                    <a:pt x="8348" y="6658"/>
                    <a:pt x="8344" y="6664"/>
                  </a:cubicBezTo>
                  <a:cubicBezTo>
                    <a:pt x="8340" y="6669"/>
                    <a:pt x="8342" y="6670"/>
                    <a:pt x="8343" y="6681"/>
                  </a:cubicBezTo>
                  <a:cubicBezTo>
                    <a:pt x="8344" y="6692"/>
                    <a:pt x="8338" y="6695"/>
                    <a:pt x="8333" y="6704"/>
                  </a:cubicBezTo>
                  <a:cubicBezTo>
                    <a:pt x="8329" y="6713"/>
                    <a:pt x="8319" y="6716"/>
                    <a:pt x="8319" y="6716"/>
                  </a:cubicBezTo>
                  <a:cubicBezTo>
                    <a:pt x="8319" y="6716"/>
                    <a:pt x="8314" y="6722"/>
                    <a:pt x="8312" y="6727"/>
                  </a:cubicBezTo>
                  <a:cubicBezTo>
                    <a:pt x="8311" y="6731"/>
                    <a:pt x="8310" y="6740"/>
                    <a:pt x="8318" y="6750"/>
                  </a:cubicBezTo>
                  <a:cubicBezTo>
                    <a:pt x="8323" y="6756"/>
                    <a:pt x="8317" y="6757"/>
                    <a:pt x="8317" y="6763"/>
                  </a:cubicBezTo>
                  <a:cubicBezTo>
                    <a:pt x="8317" y="6768"/>
                    <a:pt x="8311" y="6778"/>
                    <a:pt x="8311" y="6784"/>
                  </a:cubicBezTo>
                  <a:cubicBezTo>
                    <a:pt x="8311" y="6789"/>
                    <a:pt x="8308" y="6793"/>
                    <a:pt x="8305" y="6804"/>
                  </a:cubicBezTo>
                  <a:cubicBezTo>
                    <a:pt x="8302" y="6815"/>
                    <a:pt x="8299" y="6814"/>
                    <a:pt x="8295" y="6820"/>
                  </a:cubicBezTo>
                  <a:cubicBezTo>
                    <a:pt x="8291" y="6825"/>
                    <a:pt x="8294" y="6830"/>
                    <a:pt x="8293" y="6839"/>
                  </a:cubicBezTo>
                  <a:cubicBezTo>
                    <a:pt x="8292" y="6848"/>
                    <a:pt x="8290" y="6856"/>
                    <a:pt x="8290" y="6864"/>
                  </a:cubicBezTo>
                  <a:cubicBezTo>
                    <a:pt x="8290" y="6873"/>
                    <a:pt x="8283" y="6881"/>
                    <a:pt x="8279" y="6876"/>
                  </a:cubicBezTo>
                  <a:cubicBezTo>
                    <a:pt x="8274" y="6872"/>
                    <a:pt x="8274" y="6862"/>
                    <a:pt x="8278" y="6858"/>
                  </a:cubicBezTo>
                  <a:cubicBezTo>
                    <a:pt x="8281" y="6853"/>
                    <a:pt x="8279" y="6842"/>
                    <a:pt x="8277" y="6834"/>
                  </a:cubicBezTo>
                  <a:cubicBezTo>
                    <a:pt x="8276" y="6826"/>
                    <a:pt x="8280" y="6818"/>
                    <a:pt x="8284" y="6812"/>
                  </a:cubicBezTo>
                  <a:cubicBezTo>
                    <a:pt x="8287" y="6806"/>
                    <a:pt x="8290" y="6788"/>
                    <a:pt x="8290" y="6778"/>
                  </a:cubicBezTo>
                  <a:cubicBezTo>
                    <a:pt x="8290" y="6769"/>
                    <a:pt x="8292" y="6759"/>
                    <a:pt x="8292" y="6750"/>
                  </a:cubicBezTo>
                  <a:cubicBezTo>
                    <a:pt x="8292" y="6740"/>
                    <a:pt x="8293" y="6735"/>
                    <a:pt x="8298" y="6727"/>
                  </a:cubicBezTo>
                  <a:cubicBezTo>
                    <a:pt x="8303" y="6719"/>
                    <a:pt x="8304" y="6715"/>
                    <a:pt x="8311" y="6703"/>
                  </a:cubicBezTo>
                  <a:cubicBezTo>
                    <a:pt x="8317" y="6692"/>
                    <a:pt x="8324" y="6670"/>
                    <a:pt x="8328" y="6662"/>
                  </a:cubicBezTo>
                  <a:cubicBezTo>
                    <a:pt x="8333" y="6654"/>
                    <a:pt x="8346" y="6625"/>
                    <a:pt x="8356" y="6614"/>
                  </a:cubicBezTo>
                  <a:cubicBezTo>
                    <a:pt x="8365" y="6603"/>
                    <a:pt x="8370" y="6558"/>
                    <a:pt x="8370" y="6558"/>
                  </a:cubicBezTo>
                  <a:cubicBezTo>
                    <a:pt x="8370" y="6558"/>
                    <a:pt x="8374" y="6579"/>
                    <a:pt x="8376" y="6589"/>
                  </a:cubicBezTo>
                  <a:cubicBezTo>
                    <a:pt x="8378" y="6600"/>
                    <a:pt x="8375" y="6600"/>
                    <a:pt x="8372" y="6606"/>
                  </a:cubicBezTo>
                  <a:close/>
                  <a:moveTo>
                    <a:pt x="8579" y="6210"/>
                  </a:moveTo>
                  <a:cubicBezTo>
                    <a:pt x="8577" y="6216"/>
                    <a:pt x="8571" y="6218"/>
                    <a:pt x="8563" y="6224"/>
                  </a:cubicBezTo>
                  <a:cubicBezTo>
                    <a:pt x="8555" y="6231"/>
                    <a:pt x="8557" y="6239"/>
                    <a:pt x="8555" y="6244"/>
                  </a:cubicBezTo>
                  <a:cubicBezTo>
                    <a:pt x="8554" y="6248"/>
                    <a:pt x="8528" y="6252"/>
                    <a:pt x="8528" y="6252"/>
                  </a:cubicBezTo>
                  <a:cubicBezTo>
                    <a:pt x="8528" y="6252"/>
                    <a:pt x="8531" y="6236"/>
                    <a:pt x="8538" y="6229"/>
                  </a:cubicBezTo>
                  <a:cubicBezTo>
                    <a:pt x="8544" y="6223"/>
                    <a:pt x="8544" y="6218"/>
                    <a:pt x="8550" y="6213"/>
                  </a:cubicBezTo>
                  <a:cubicBezTo>
                    <a:pt x="8557" y="6208"/>
                    <a:pt x="8576" y="6191"/>
                    <a:pt x="8576" y="6191"/>
                  </a:cubicBezTo>
                  <a:cubicBezTo>
                    <a:pt x="8584" y="6181"/>
                    <a:pt x="8581" y="6204"/>
                    <a:pt x="8579" y="6210"/>
                  </a:cubicBezTo>
                  <a:close/>
                  <a:moveTo>
                    <a:pt x="7771" y="3280"/>
                  </a:moveTo>
                  <a:cubicBezTo>
                    <a:pt x="7770" y="3276"/>
                    <a:pt x="7770" y="3277"/>
                    <a:pt x="7767" y="3272"/>
                  </a:cubicBezTo>
                  <a:cubicBezTo>
                    <a:pt x="7765" y="3267"/>
                    <a:pt x="7765" y="3266"/>
                    <a:pt x="7763" y="3261"/>
                  </a:cubicBezTo>
                  <a:cubicBezTo>
                    <a:pt x="7762" y="3256"/>
                    <a:pt x="7758" y="3259"/>
                    <a:pt x="7756" y="3254"/>
                  </a:cubicBezTo>
                  <a:cubicBezTo>
                    <a:pt x="7753" y="3249"/>
                    <a:pt x="7750" y="3245"/>
                    <a:pt x="7748" y="3241"/>
                  </a:cubicBezTo>
                  <a:cubicBezTo>
                    <a:pt x="7745" y="3237"/>
                    <a:pt x="7737" y="3232"/>
                    <a:pt x="7736" y="3228"/>
                  </a:cubicBezTo>
                  <a:cubicBezTo>
                    <a:pt x="7736" y="3224"/>
                    <a:pt x="7731" y="3219"/>
                    <a:pt x="7730" y="3217"/>
                  </a:cubicBezTo>
                  <a:cubicBezTo>
                    <a:pt x="7729" y="3215"/>
                    <a:pt x="7728" y="3215"/>
                    <a:pt x="7724" y="3214"/>
                  </a:cubicBezTo>
                  <a:cubicBezTo>
                    <a:pt x="7720" y="3214"/>
                    <a:pt x="7716" y="3219"/>
                    <a:pt x="7711" y="3221"/>
                  </a:cubicBezTo>
                  <a:cubicBezTo>
                    <a:pt x="7705" y="3223"/>
                    <a:pt x="7709" y="3229"/>
                    <a:pt x="7703" y="3233"/>
                  </a:cubicBezTo>
                  <a:cubicBezTo>
                    <a:pt x="7698" y="3238"/>
                    <a:pt x="7699" y="3241"/>
                    <a:pt x="7694" y="3241"/>
                  </a:cubicBezTo>
                  <a:cubicBezTo>
                    <a:pt x="7689" y="3241"/>
                    <a:pt x="7688" y="3244"/>
                    <a:pt x="7684" y="3245"/>
                  </a:cubicBezTo>
                  <a:cubicBezTo>
                    <a:pt x="7679" y="3245"/>
                    <a:pt x="7677" y="3248"/>
                    <a:pt x="7674" y="3251"/>
                  </a:cubicBezTo>
                  <a:cubicBezTo>
                    <a:pt x="7670" y="3254"/>
                    <a:pt x="7670" y="3261"/>
                    <a:pt x="7669" y="3264"/>
                  </a:cubicBezTo>
                  <a:cubicBezTo>
                    <a:pt x="7667" y="3268"/>
                    <a:pt x="7669" y="3273"/>
                    <a:pt x="7672" y="3274"/>
                  </a:cubicBezTo>
                  <a:cubicBezTo>
                    <a:pt x="7675" y="3276"/>
                    <a:pt x="7679" y="3277"/>
                    <a:pt x="7679" y="3282"/>
                  </a:cubicBezTo>
                  <a:cubicBezTo>
                    <a:pt x="7679" y="3293"/>
                    <a:pt x="7679" y="3293"/>
                    <a:pt x="7679" y="3293"/>
                  </a:cubicBezTo>
                  <a:cubicBezTo>
                    <a:pt x="7679" y="3296"/>
                    <a:pt x="7678" y="3297"/>
                    <a:pt x="7683" y="3300"/>
                  </a:cubicBezTo>
                  <a:cubicBezTo>
                    <a:pt x="7687" y="3303"/>
                    <a:pt x="7690" y="3313"/>
                    <a:pt x="7688" y="3317"/>
                  </a:cubicBezTo>
                  <a:cubicBezTo>
                    <a:pt x="7686" y="3320"/>
                    <a:pt x="7682" y="3326"/>
                    <a:pt x="7686" y="3328"/>
                  </a:cubicBezTo>
                  <a:cubicBezTo>
                    <a:pt x="7690" y="3331"/>
                    <a:pt x="7695" y="3334"/>
                    <a:pt x="7696" y="3338"/>
                  </a:cubicBezTo>
                  <a:cubicBezTo>
                    <a:pt x="7697" y="3342"/>
                    <a:pt x="7699" y="3344"/>
                    <a:pt x="7699" y="3348"/>
                  </a:cubicBezTo>
                  <a:cubicBezTo>
                    <a:pt x="7698" y="3352"/>
                    <a:pt x="7696" y="3358"/>
                    <a:pt x="7696" y="3361"/>
                  </a:cubicBezTo>
                  <a:cubicBezTo>
                    <a:pt x="7696" y="3365"/>
                    <a:pt x="7700" y="3368"/>
                    <a:pt x="7698" y="3373"/>
                  </a:cubicBezTo>
                  <a:cubicBezTo>
                    <a:pt x="7696" y="3378"/>
                    <a:pt x="7694" y="3381"/>
                    <a:pt x="7696" y="3385"/>
                  </a:cubicBezTo>
                  <a:cubicBezTo>
                    <a:pt x="7698" y="3388"/>
                    <a:pt x="7698" y="3394"/>
                    <a:pt x="7700" y="3396"/>
                  </a:cubicBezTo>
                  <a:cubicBezTo>
                    <a:pt x="7703" y="3398"/>
                    <a:pt x="7703" y="3401"/>
                    <a:pt x="7705" y="3402"/>
                  </a:cubicBezTo>
                  <a:cubicBezTo>
                    <a:pt x="7708" y="3403"/>
                    <a:pt x="7713" y="3402"/>
                    <a:pt x="7714" y="3407"/>
                  </a:cubicBezTo>
                  <a:cubicBezTo>
                    <a:pt x="7715" y="3413"/>
                    <a:pt x="7713" y="3419"/>
                    <a:pt x="7717" y="3419"/>
                  </a:cubicBezTo>
                  <a:cubicBezTo>
                    <a:pt x="7721" y="3420"/>
                    <a:pt x="7725" y="3417"/>
                    <a:pt x="7733" y="3418"/>
                  </a:cubicBezTo>
                  <a:cubicBezTo>
                    <a:pt x="7740" y="3419"/>
                    <a:pt x="7742" y="3418"/>
                    <a:pt x="7745" y="3415"/>
                  </a:cubicBezTo>
                  <a:cubicBezTo>
                    <a:pt x="7748" y="3411"/>
                    <a:pt x="7742" y="3405"/>
                    <a:pt x="7745" y="3401"/>
                  </a:cubicBezTo>
                  <a:cubicBezTo>
                    <a:pt x="7749" y="3398"/>
                    <a:pt x="7750" y="3395"/>
                    <a:pt x="7757" y="3394"/>
                  </a:cubicBezTo>
                  <a:cubicBezTo>
                    <a:pt x="7763" y="3394"/>
                    <a:pt x="7764" y="3394"/>
                    <a:pt x="7771" y="3392"/>
                  </a:cubicBezTo>
                  <a:cubicBezTo>
                    <a:pt x="7778" y="3389"/>
                    <a:pt x="7781" y="3389"/>
                    <a:pt x="7781" y="3384"/>
                  </a:cubicBezTo>
                  <a:cubicBezTo>
                    <a:pt x="7782" y="3378"/>
                    <a:pt x="7777" y="3376"/>
                    <a:pt x="7777" y="3369"/>
                  </a:cubicBezTo>
                  <a:cubicBezTo>
                    <a:pt x="7777" y="3363"/>
                    <a:pt x="7776" y="3362"/>
                    <a:pt x="7776" y="3353"/>
                  </a:cubicBezTo>
                  <a:cubicBezTo>
                    <a:pt x="7776" y="3345"/>
                    <a:pt x="7774" y="3346"/>
                    <a:pt x="7775" y="3338"/>
                  </a:cubicBezTo>
                  <a:cubicBezTo>
                    <a:pt x="7775" y="3330"/>
                    <a:pt x="7775" y="3326"/>
                    <a:pt x="7774" y="3323"/>
                  </a:cubicBezTo>
                  <a:cubicBezTo>
                    <a:pt x="7773" y="3319"/>
                    <a:pt x="7773" y="3315"/>
                    <a:pt x="7770" y="3313"/>
                  </a:cubicBezTo>
                  <a:cubicBezTo>
                    <a:pt x="7768" y="3311"/>
                    <a:pt x="7763" y="3312"/>
                    <a:pt x="7763" y="3307"/>
                  </a:cubicBezTo>
                  <a:cubicBezTo>
                    <a:pt x="7762" y="3303"/>
                    <a:pt x="7756" y="3314"/>
                    <a:pt x="7763" y="3299"/>
                  </a:cubicBezTo>
                  <a:cubicBezTo>
                    <a:pt x="7771" y="3284"/>
                    <a:pt x="7771" y="3284"/>
                    <a:pt x="7771" y="3280"/>
                  </a:cubicBezTo>
                  <a:close/>
                  <a:moveTo>
                    <a:pt x="7685" y="3096"/>
                  </a:moveTo>
                  <a:cubicBezTo>
                    <a:pt x="7677" y="3101"/>
                    <a:pt x="7680" y="3102"/>
                    <a:pt x="7672" y="3107"/>
                  </a:cubicBezTo>
                  <a:cubicBezTo>
                    <a:pt x="7664" y="3113"/>
                    <a:pt x="7664" y="3116"/>
                    <a:pt x="7661" y="3120"/>
                  </a:cubicBezTo>
                  <a:cubicBezTo>
                    <a:pt x="7658" y="3124"/>
                    <a:pt x="7660" y="3136"/>
                    <a:pt x="7660" y="3136"/>
                  </a:cubicBezTo>
                  <a:cubicBezTo>
                    <a:pt x="7660" y="3136"/>
                    <a:pt x="7673" y="3144"/>
                    <a:pt x="7672" y="3151"/>
                  </a:cubicBezTo>
                  <a:cubicBezTo>
                    <a:pt x="7671" y="3158"/>
                    <a:pt x="7673" y="3158"/>
                    <a:pt x="7672" y="3165"/>
                  </a:cubicBezTo>
                  <a:cubicBezTo>
                    <a:pt x="7671" y="3171"/>
                    <a:pt x="7675" y="3177"/>
                    <a:pt x="7676" y="3181"/>
                  </a:cubicBezTo>
                  <a:cubicBezTo>
                    <a:pt x="7677" y="3185"/>
                    <a:pt x="7687" y="3189"/>
                    <a:pt x="7687" y="3196"/>
                  </a:cubicBezTo>
                  <a:cubicBezTo>
                    <a:pt x="7687" y="3203"/>
                    <a:pt x="7690" y="3207"/>
                    <a:pt x="7695" y="3208"/>
                  </a:cubicBezTo>
                  <a:cubicBezTo>
                    <a:pt x="7700" y="3209"/>
                    <a:pt x="7705" y="3212"/>
                    <a:pt x="7710" y="3209"/>
                  </a:cubicBezTo>
                  <a:cubicBezTo>
                    <a:pt x="7715" y="3207"/>
                    <a:pt x="7721" y="3211"/>
                    <a:pt x="7722" y="3204"/>
                  </a:cubicBezTo>
                  <a:cubicBezTo>
                    <a:pt x="7724" y="3197"/>
                    <a:pt x="7728" y="3186"/>
                    <a:pt x="7722" y="3179"/>
                  </a:cubicBezTo>
                  <a:cubicBezTo>
                    <a:pt x="7717" y="3173"/>
                    <a:pt x="7715" y="3174"/>
                    <a:pt x="7717" y="3166"/>
                  </a:cubicBezTo>
                  <a:cubicBezTo>
                    <a:pt x="7718" y="3158"/>
                    <a:pt x="7722" y="3160"/>
                    <a:pt x="7721" y="3151"/>
                  </a:cubicBezTo>
                  <a:cubicBezTo>
                    <a:pt x="7720" y="3141"/>
                    <a:pt x="7722" y="3139"/>
                    <a:pt x="7720" y="3132"/>
                  </a:cubicBezTo>
                  <a:cubicBezTo>
                    <a:pt x="7717" y="3125"/>
                    <a:pt x="7711" y="3122"/>
                    <a:pt x="7711" y="3122"/>
                  </a:cubicBezTo>
                  <a:cubicBezTo>
                    <a:pt x="7711" y="3122"/>
                    <a:pt x="7707" y="3109"/>
                    <a:pt x="7706" y="3106"/>
                  </a:cubicBezTo>
                  <a:cubicBezTo>
                    <a:pt x="7705" y="3103"/>
                    <a:pt x="7704" y="3099"/>
                    <a:pt x="7704" y="3096"/>
                  </a:cubicBezTo>
                  <a:cubicBezTo>
                    <a:pt x="7705" y="3093"/>
                    <a:pt x="7704" y="3090"/>
                    <a:pt x="7704" y="3086"/>
                  </a:cubicBezTo>
                  <a:cubicBezTo>
                    <a:pt x="7703" y="3082"/>
                    <a:pt x="7695" y="3071"/>
                    <a:pt x="7690" y="3073"/>
                  </a:cubicBezTo>
                  <a:cubicBezTo>
                    <a:pt x="7690" y="3073"/>
                    <a:pt x="7694" y="3092"/>
                    <a:pt x="7685" y="3096"/>
                  </a:cubicBezTo>
                  <a:close/>
                  <a:moveTo>
                    <a:pt x="5870" y="1246"/>
                  </a:moveTo>
                  <a:cubicBezTo>
                    <a:pt x="5865" y="1235"/>
                    <a:pt x="5869" y="1232"/>
                    <a:pt x="5858" y="1229"/>
                  </a:cubicBezTo>
                  <a:cubicBezTo>
                    <a:pt x="5847" y="1227"/>
                    <a:pt x="5849" y="1231"/>
                    <a:pt x="5838" y="1231"/>
                  </a:cubicBezTo>
                  <a:cubicBezTo>
                    <a:pt x="5827" y="1231"/>
                    <a:pt x="5816" y="1234"/>
                    <a:pt x="5815" y="1229"/>
                  </a:cubicBezTo>
                  <a:cubicBezTo>
                    <a:pt x="5814" y="1225"/>
                    <a:pt x="5809" y="1227"/>
                    <a:pt x="5806" y="1222"/>
                  </a:cubicBezTo>
                  <a:cubicBezTo>
                    <a:pt x="5803" y="1216"/>
                    <a:pt x="5793" y="1224"/>
                    <a:pt x="5798" y="1213"/>
                  </a:cubicBezTo>
                  <a:cubicBezTo>
                    <a:pt x="5804" y="1202"/>
                    <a:pt x="5814" y="1211"/>
                    <a:pt x="5804" y="1202"/>
                  </a:cubicBezTo>
                  <a:cubicBezTo>
                    <a:pt x="5794" y="1193"/>
                    <a:pt x="5787" y="1199"/>
                    <a:pt x="5783" y="1193"/>
                  </a:cubicBezTo>
                  <a:cubicBezTo>
                    <a:pt x="5779" y="1188"/>
                    <a:pt x="5772" y="1184"/>
                    <a:pt x="5775" y="1178"/>
                  </a:cubicBezTo>
                  <a:cubicBezTo>
                    <a:pt x="5779" y="1171"/>
                    <a:pt x="5782" y="1166"/>
                    <a:pt x="5779" y="1163"/>
                  </a:cubicBezTo>
                  <a:cubicBezTo>
                    <a:pt x="5775" y="1161"/>
                    <a:pt x="5775" y="1161"/>
                    <a:pt x="5765" y="1167"/>
                  </a:cubicBezTo>
                  <a:cubicBezTo>
                    <a:pt x="5755" y="1172"/>
                    <a:pt x="5762" y="1182"/>
                    <a:pt x="5751" y="1179"/>
                  </a:cubicBezTo>
                  <a:cubicBezTo>
                    <a:pt x="5740" y="1176"/>
                    <a:pt x="5738" y="1178"/>
                    <a:pt x="5735" y="1171"/>
                  </a:cubicBezTo>
                  <a:cubicBezTo>
                    <a:pt x="5731" y="1165"/>
                    <a:pt x="5725" y="1168"/>
                    <a:pt x="5722" y="1163"/>
                  </a:cubicBezTo>
                  <a:cubicBezTo>
                    <a:pt x="5720" y="1159"/>
                    <a:pt x="5724" y="1157"/>
                    <a:pt x="5717" y="1152"/>
                  </a:cubicBezTo>
                  <a:cubicBezTo>
                    <a:pt x="5710" y="1148"/>
                    <a:pt x="5702" y="1148"/>
                    <a:pt x="5696" y="1149"/>
                  </a:cubicBezTo>
                  <a:cubicBezTo>
                    <a:pt x="5691" y="1150"/>
                    <a:pt x="5692" y="1154"/>
                    <a:pt x="5690" y="1158"/>
                  </a:cubicBezTo>
                  <a:cubicBezTo>
                    <a:pt x="5687" y="1162"/>
                    <a:pt x="5688" y="1171"/>
                    <a:pt x="5693" y="1172"/>
                  </a:cubicBezTo>
                  <a:cubicBezTo>
                    <a:pt x="5697" y="1173"/>
                    <a:pt x="5705" y="1184"/>
                    <a:pt x="5699" y="1185"/>
                  </a:cubicBezTo>
                  <a:cubicBezTo>
                    <a:pt x="5694" y="1187"/>
                    <a:pt x="5693" y="1190"/>
                    <a:pt x="5687" y="1184"/>
                  </a:cubicBezTo>
                  <a:cubicBezTo>
                    <a:pt x="5682" y="1179"/>
                    <a:pt x="5682" y="1179"/>
                    <a:pt x="5674" y="1176"/>
                  </a:cubicBezTo>
                  <a:cubicBezTo>
                    <a:pt x="5666" y="1172"/>
                    <a:pt x="5658" y="1178"/>
                    <a:pt x="5658" y="1178"/>
                  </a:cubicBezTo>
                  <a:cubicBezTo>
                    <a:pt x="5658" y="1178"/>
                    <a:pt x="5647" y="1180"/>
                    <a:pt x="5650" y="1187"/>
                  </a:cubicBezTo>
                  <a:cubicBezTo>
                    <a:pt x="5653" y="1193"/>
                    <a:pt x="5657" y="1198"/>
                    <a:pt x="5653" y="1199"/>
                  </a:cubicBezTo>
                  <a:cubicBezTo>
                    <a:pt x="5650" y="1200"/>
                    <a:pt x="5649" y="1200"/>
                    <a:pt x="5646" y="1195"/>
                  </a:cubicBezTo>
                  <a:cubicBezTo>
                    <a:pt x="5642" y="1191"/>
                    <a:pt x="5632" y="1183"/>
                    <a:pt x="5632" y="1183"/>
                  </a:cubicBezTo>
                  <a:cubicBezTo>
                    <a:pt x="5609" y="1188"/>
                    <a:pt x="5609" y="1188"/>
                    <a:pt x="5609" y="1188"/>
                  </a:cubicBezTo>
                  <a:cubicBezTo>
                    <a:pt x="5609" y="1188"/>
                    <a:pt x="5614" y="1190"/>
                    <a:pt x="5615" y="1196"/>
                  </a:cubicBezTo>
                  <a:cubicBezTo>
                    <a:pt x="5616" y="1203"/>
                    <a:pt x="5622" y="1212"/>
                    <a:pt x="5616" y="1209"/>
                  </a:cubicBezTo>
                  <a:cubicBezTo>
                    <a:pt x="5609" y="1205"/>
                    <a:pt x="5610" y="1196"/>
                    <a:pt x="5602" y="1192"/>
                  </a:cubicBezTo>
                  <a:cubicBezTo>
                    <a:pt x="5593" y="1188"/>
                    <a:pt x="5596" y="1181"/>
                    <a:pt x="5587" y="1180"/>
                  </a:cubicBezTo>
                  <a:cubicBezTo>
                    <a:pt x="5578" y="1179"/>
                    <a:pt x="5577" y="1177"/>
                    <a:pt x="5572" y="1180"/>
                  </a:cubicBezTo>
                  <a:cubicBezTo>
                    <a:pt x="5566" y="1183"/>
                    <a:pt x="5564" y="1187"/>
                    <a:pt x="5561" y="1189"/>
                  </a:cubicBezTo>
                  <a:cubicBezTo>
                    <a:pt x="5558" y="1191"/>
                    <a:pt x="5555" y="1199"/>
                    <a:pt x="5555" y="1199"/>
                  </a:cubicBezTo>
                  <a:cubicBezTo>
                    <a:pt x="5555" y="1199"/>
                    <a:pt x="5564" y="1205"/>
                    <a:pt x="5560" y="1211"/>
                  </a:cubicBezTo>
                  <a:cubicBezTo>
                    <a:pt x="5555" y="1216"/>
                    <a:pt x="5547" y="1217"/>
                    <a:pt x="5547" y="1217"/>
                  </a:cubicBezTo>
                  <a:cubicBezTo>
                    <a:pt x="5547" y="1217"/>
                    <a:pt x="5550" y="1212"/>
                    <a:pt x="5542" y="1203"/>
                  </a:cubicBezTo>
                  <a:cubicBezTo>
                    <a:pt x="5535" y="1194"/>
                    <a:pt x="5533" y="1194"/>
                    <a:pt x="5530" y="1188"/>
                  </a:cubicBezTo>
                  <a:cubicBezTo>
                    <a:pt x="5527" y="1181"/>
                    <a:pt x="5530" y="1173"/>
                    <a:pt x="5520" y="1178"/>
                  </a:cubicBezTo>
                  <a:cubicBezTo>
                    <a:pt x="5510" y="1182"/>
                    <a:pt x="5507" y="1187"/>
                    <a:pt x="5507" y="1190"/>
                  </a:cubicBezTo>
                  <a:cubicBezTo>
                    <a:pt x="5507" y="1193"/>
                    <a:pt x="5506" y="1199"/>
                    <a:pt x="5511" y="1203"/>
                  </a:cubicBezTo>
                  <a:cubicBezTo>
                    <a:pt x="5517" y="1207"/>
                    <a:pt x="5521" y="1214"/>
                    <a:pt x="5522" y="1217"/>
                  </a:cubicBezTo>
                  <a:cubicBezTo>
                    <a:pt x="5524" y="1221"/>
                    <a:pt x="5530" y="1225"/>
                    <a:pt x="5526" y="1228"/>
                  </a:cubicBezTo>
                  <a:cubicBezTo>
                    <a:pt x="5521" y="1232"/>
                    <a:pt x="5518" y="1234"/>
                    <a:pt x="5514" y="1228"/>
                  </a:cubicBezTo>
                  <a:cubicBezTo>
                    <a:pt x="5509" y="1223"/>
                    <a:pt x="5505" y="1220"/>
                    <a:pt x="5499" y="1223"/>
                  </a:cubicBezTo>
                  <a:cubicBezTo>
                    <a:pt x="5494" y="1226"/>
                    <a:pt x="5492" y="1234"/>
                    <a:pt x="5488" y="1236"/>
                  </a:cubicBezTo>
                  <a:cubicBezTo>
                    <a:pt x="5485" y="1238"/>
                    <a:pt x="5471" y="1237"/>
                    <a:pt x="5471" y="1237"/>
                  </a:cubicBezTo>
                  <a:cubicBezTo>
                    <a:pt x="5471" y="1237"/>
                    <a:pt x="5466" y="1233"/>
                    <a:pt x="5467" y="1228"/>
                  </a:cubicBezTo>
                  <a:cubicBezTo>
                    <a:pt x="5469" y="1224"/>
                    <a:pt x="5473" y="1218"/>
                    <a:pt x="5466" y="1210"/>
                  </a:cubicBezTo>
                  <a:cubicBezTo>
                    <a:pt x="5460" y="1201"/>
                    <a:pt x="5466" y="1190"/>
                    <a:pt x="5459" y="1188"/>
                  </a:cubicBezTo>
                  <a:cubicBezTo>
                    <a:pt x="5451" y="1185"/>
                    <a:pt x="5448" y="1184"/>
                    <a:pt x="5442" y="1181"/>
                  </a:cubicBezTo>
                  <a:cubicBezTo>
                    <a:pt x="5442" y="1181"/>
                    <a:pt x="5433" y="1176"/>
                    <a:pt x="5425" y="1176"/>
                  </a:cubicBezTo>
                  <a:cubicBezTo>
                    <a:pt x="5416" y="1176"/>
                    <a:pt x="5411" y="1174"/>
                    <a:pt x="5410" y="1169"/>
                  </a:cubicBezTo>
                  <a:cubicBezTo>
                    <a:pt x="5409" y="1163"/>
                    <a:pt x="5407" y="1163"/>
                    <a:pt x="5404" y="1160"/>
                  </a:cubicBezTo>
                  <a:cubicBezTo>
                    <a:pt x="5400" y="1157"/>
                    <a:pt x="5391" y="1155"/>
                    <a:pt x="5387" y="1155"/>
                  </a:cubicBezTo>
                  <a:cubicBezTo>
                    <a:pt x="5384" y="1155"/>
                    <a:pt x="5383" y="1156"/>
                    <a:pt x="5378" y="1156"/>
                  </a:cubicBezTo>
                  <a:cubicBezTo>
                    <a:pt x="5374" y="1156"/>
                    <a:pt x="5365" y="1162"/>
                    <a:pt x="5365" y="1162"/>
                  </a:cubicBezTo>
                  <a:cubicBezTo>
                    <a:pt x="5366" y="1171"/>
                    <a:pt x="5366" y="1171"/>
                    <a:pt x="5366" y="1171"/>
                  </a:cubicBezTo>
                  <a:cubicBezTo>
                    <a:pt x="5377" y="1176"/>
                    <a:pt x="5377" y="1176"/>
                    <a:pt x="5377" y="1176"/>
                  </a:cubicBezTo>
                  <a:cubicBezTo>
                    <a:pt x="5377" y="1176"/>
                    <a:pt x="5384" y="1180"/>
                    <a:pt x="5387" y="1182"/>
                  </a:cubicBezTo>
                  <a:cubicBezTo>
                    <a:pt x="5391" y="1184"/>
                    <a:pt x="5394" y="1190"/>
                    <a:pt x="5396" y="1193"/>
                  </a:cubicBezTo>
                  <a:cubicBezTo>
                    <a:pt x="5398" y="1196"/>
                    <a:pt x="5396" y="1203"/>
                    <a:pt x="5396" y="1203"/>
                  </a:cubicBezTo>
                  <a:cubicBezTo>
                    <a:pt x="5396" y="1203"/>
                    <a:pt x="5389" y="1202"/>
                    <a:pt x="5385" y="1195"/>
                  </a:cubicBezTo>
                  <a:cubicBezTo>
                    <a:pt x="5381" y="1189"/>
                    <a:pt x="5380" y="1189"/>
                    <a:pt x="5376" y="1187"/>
                  </a:cubicBezTo>
                  <a:cubicBezTo>
                    <a:pt x="5367" y="1181"/>
                    <a:pt x="5367" y="1173"/>
                    <a:pt x="5362" y="1176"/>
                  </a:cubicBezTo>
                  <a:cubicBezTo>
                    <a:pt x="5356" y="1178"/>
                    <a:pt x="5355" y="1182"/>
                    <a:pt x="5352" y="1184"/>
                  </a:cubicBezTo>
                  <a:cubicBezTo>
                    <a:pt x="5349" y="1187"/>
                    <a:pt x="5345" y="1191"/>
                    <a:pt x="5342" y="1196"/>
                  </a:cubicBezTo>
                  <a:cubicBezTo>
                    <a:pt x="5339" y="1202"/>
                    <a:pt x="5339" y="1210"/>
                    <a:pt x="5339" y="1210"/>
                  </a:cubicBezTo>
                  <a:cubicBezTo>
                    <a:pt x="5339" y="1210"/>
                    <a:pt x="5344" y="1213"/>
                    <a:pt x="5349" y="1214"/>
                  </a:cubicBezTo>
                  <a:cubicBezTo>
                    <a:pt x="5353" y="1215"/>
                    <a:pt x="5359" y="1217"/>
                    <a:pt x="5359" y="1221"/>
                  </a:cubicBezTo>
                  <a:cubicBezTo>
                    <a:pt x="5359" y="1224"/>
                    <a:pt x="5365" y="1222"/>
                    <a:pt x="5359" y="1224"/>
                  </a:cubicBezTo>
                  <a:cubicBezTo>
                    <a:pt x="5352" y="1226"/>
                    <a:pt x="5349" y="1226"/>
                    <a:pt x="5343" y="1225"/>
                  </a:cubicBezTo>
                  <a:cubicBezTo>
                    <a:pt x="5338" y="1224"/>
                    <a:pt x="5332" y="1225"/>
                    <a:pt x="5332" y="1225"/>
                  </a:cubicBezTo>
                  <a:cubicBezTo>
                    <a:pt x="5332" y="1225"/>
                    <a:pt x="5328" y="1227"/>
                    <a:pt x="5323" y="1229"/>
                  </a:cubicBezTo>
                  <a:cubicBezTo>
                    <a:pt x="5319" y="1232"/>
                    <a:pt x="5318" y="1232"/>
                    <a:pt x="5312" y="1232"/>
                  </a:cubicBezTo>
                  <a:cubicBezTo>
                    <a:pt x="5307" y="1232"/>
                    <a:pt x="5310" y="1226"/>
                    <a:pt x="5307" y="1232"/>
                  </a:cubicBezTo>
                  <a:cubicBezTo>
                    <a:pt x="5304" y="1237"/>
                    <a:pt x="5311" y="1244"/>
                    <a:pt x="5316" y="1243"/>
                  </a:cubicBezTo>
                  <a:cubicBezTo>
                    <a:pt x="5320" y="1242"/>
                    <a:pt x="5328" y="1239"/>
                    <a:pt x="5331" y="1240"/>
                  </a:cubicBezTo>
                  <a:cubicBezTo>
                    <a:pt x="5334" y="1242"/>
                    <a:pt x="5339" y="1243"/>
                    <a:pt x="5342" y="1244"/>
                  </a:cubicBezTo>
                  <a:cubicBezTo>
                    <a:pt x="5345" y="1245"/>
                    <a:pt x="5348" y="1250"/>
                    <a:pt x="5354" y="1247"/>
                  </a:cubicBezTo>
                  <a:cubicBezTo>
                    <a:pt x="5361" y="1244"/>
                    <a:pt x="5360" y="1242"/>
                    <a:pt x="5365" y="1244"/>
                  </a:cubicBezTo>
                  <a:cubicBezTo>
                    <a:pt x="5371" y="1246"/>
                    <a:pt x="5374" y="1246"/>
                    <a:pt x="5377" y="1244"/>
                  </a:cubicBezTo>
                  <a:cubicBezTo>
                    <a:pt x="5381" y="1242"/>
                    <a:pt x="5384" y="1235"/>
                    <a:pt x="5384" y="1235"/>
                  </a:cubicBezTo>
                  <a:cubicBezTo>
                    <a:pt x="5384" y="1235"/>
                    <a:pt x="5386" y="1232"/>
                    <a:pt x="5393" y="1236"/>
                  </a:cubicBezTo>
                  <a:cubicBezTo>
                    <a:pt x="5399" y="1240"/>
                    <a:pt x="5405" y="1249"/>
                    <a:pt x="5408" y="1245"/>
                  </a:cubicBezTo>
                  <a:cubicBezTo>
                    <a:pt x="5411" y="1240"/>
                    <a:pt x="5411" y="1239"/>
                    <a:pt x="5416" y="1237"/>
                  </a:cubicBezTo>
                  <a:cubicBezTo>
                    <a:pt x="5420" y="1235"/>
                    <a:pt x="5429" y="1235"/>
                    <a:pt x="5429" y="1239"/>
                  </a:cubicBezTo>
                  <a:cubicBezTo>
                    <a:pt x="5429" y="1244"/>
                    <a:pt x="5444" y="1244"/>
                    <a:pt x="5444" y="1244"/>
                  </a:cubicBezTo>
                  <a:cubicBezTo>
                    <a:pt x="5451" y="1251"/>
                    <a:pt x="5434" y="1247"/>
                    <a:pt x="5431" y="1253"/>
                  </a:cubicBezTo>
                  <a:cubicBezTo>
                    <a:pt x="5428" y="1258"/>
                    <a:pt x="5426" y="1273"/>
                    <a:pt x="5432" y="1269"/>
                  </a:cubicBezTo>
                  <a:cubicBezTo>
                    <a:pt x="5439" y="1265"/>
                    <a:pt x="5449" y="1259"/>
                    <a:pt x="5452" y="1264"/>
                  </a:cubicBezTo>
                  <a:cubicBezTo>
                    <a:pt x="5455" y="1268"/>
                    <a:pt x="5462" y="1272"/>
                    <a:pt x="5459" y="1276"/>
                  </a:cubicBezTo>
                  <a:cubicBezTo>
                    <a:pt x="5455" y="1279"/>
                    <a:pt x="5449" y="1287"/>
                    <a:pt x="5443" y="1283"/>
                  </a:cubicBezTo>
                  <a:cubicBezTo>
                    <a:pt x="5438" y="1280"/>
                    <a:pt x="5436" y="1281"/>
                    <a:pt x="5429" y="1278"/>
                  </a:cubicBezTo>
                  <a:cubicBezTo>
                    <a:pt x="5422" y="1274"/>
                    <a:pt x="5421" y="1274"/>
                    <a:pt x="5416" y="1274"/>
                  </a:cubicBezTo>
                  <a:cubicBezTo>
                    <a:pt x="5410" y="1274"/>
                    <a:pt x="5405" y="1274"/>
                    <a:pt x="5405" y="1274"/>
                  </a:cubicBezTo>
                  <a:cubicBezTo>
                    <a:pt x="5405" y="1274"/>
                    <a:pt x="5400" y="1276"/>
                    <a:pt x="5395" y="1276"/>
                  </a:cubicBezTo>
                  <a:cubicBezTo>
                    <a:pt x="5389" y="1276"/>
                    <a:pt x="5387" y="1276"/>
                    <a:pt x="5383" y="1277"/>
                  </a:cubicBezTo>
                  <a:cubicBezTo>
                    <a:pt x="5378" y="1278"/>
                    <a:pt x="5380" y="1283"/>
                    <a:pt x="5373" y="1284"/>
                  </a:cubicBezTo>
                  <a:cubicBezTo>
                    <a:pt x="5366" y="1285"/>
                    <a:pt x="5363" y="1282"/>
                    <a:pt x="5358" y="1285"/>
                  </a:cubicBezTo>
                  <a:cubicBezTo>
                    <a:pt x="5352" y="1289"/>
                    <a:pt x="5348" y="1293"/>
                    <a:pt x="5349" y="1296"/>
                  </a:cubicBezTo>
                  <a:cubicBezTo>
                    <a:pt x="5350" y="1300"/>
                    <a:pt x="5349" y="1302"/>
                    <a:pt x="5356" y="1303"/>
                  </a:cubicBezTo>
                  <a:cubicBezTo>
                    <a:pt x="5364" y="1304"/>
                    <a:pt x="5370" y="1310"/>
                    <a:pt x="5375" y="1306"/>
                  </a:cubicBezTo>
                  <a:cubicBezTo>
                    <a:pt x="5381" y="1303"/>
                    <a:pt x="5389" y="1296"/>
                    <a:pt x="5394" y="1295"/>
                  </a:cubicBezTo>
                  <a:cubicBezTo>
                    <a:pt x="5398" y="1294"/>
                    <a:pt x="5406" y="1293"/>
                    <a:pt x="5409" y="1296"/>
                  </a:cubicBezTo>
                  <a:cubicBezTo>
                    <a:pt x="5412" y="1300"/>
                    <a:pt x="5416" y="1305"/>
                    <a:pt x="5421" y="1305"/>
                  </a:cubicBezTo>
                  <a:cubicBezTo>
                    <a:pt x="5427" y="1305"/>
                    <a:pt x="5432" y="1300"/>
                    <a:pt x="5437" y="1299"/>
                  </a:cubicBezTo>
                  <a:cubicBezTo>
                    <a:pt x="5441" y="1298"/>
                    <a:pt x="5445" y="1293"/>
                    <a:pt x="5445" y="1298"/>
                  </a:cubicBezTo>
                  <a:cubicBezTo>
                    <a:pt x="5445" y="1302"/>
                    <a:pt x="5445" y="1304"/>
                    <a:pt x="5447" y="1310"/>
                  </a:cubicBezTo>
                  <a:cubicBezTo>
                    <a:pt x="5448" y="1315"/>
                    <a:pt x="5447" y="1323"/>
                    <a:pt x="5450" y="1323"/>
                  </a:cubicBezTo>
                  <a:cubicBezTo>
                    <a:pt x="5453" y="1323"/>
                    <a:pt x="5459" y="1335"/>
                    <a:pt x="5462" y="1331"/>
                  </a:cubicBezTo>
                  <a:cubicBezTo>
                    <a:pt x="5465" y="1326"/>
                    <a:pt x="5485" y="1333"/>
                    <a:pt x="5478" y="1336"/>
                  </a:cubicBezTo>
                  <a:cubicBezTo>
                    <a:pt x="5470" y="1340"/>
                    <a:pt x="5478" y="1339"/>
                    <a:pt x="5469" y="1346"/>
                  </a:cubicBezTo>
                  <a:cubicBezTo>
                    <a:pt x="5460" y="1352"/>
                    <a:pt x="5464" y="1356"/>
                    <a:pt x="5453" y="1356"/>
                  </a:cubicBezTo>
                  <a:cubicBezTo>
                    <a:pt x="5442" y="1356"/>
                    <a:pt x="5436" y="1356"/>
                    <a:pt x="5433" y="1362"/>
                  </a:cubicBezTo>
                  <a:cubicBezTo>
                    <a:pt x="5430" y="1369"/>
                    <a:pt x="5440" y="1378"/>
                    <a:pt x="5450" y="1375"/>
                  </a:cubicBezTo>
                  <a:cubicBezTo>
                    <a:pt x="5460" y="1373"/>
                    <a:pt x="5470" y="1381"/>
                    <a:pt x="5475" y="1373"/>
                  </a:cubicBezTo>
                  <a:cubicBezTo>
                    <a:pt x="5481" y="1365"/>
                    <a:pt x="5486" y="1371"/>
                    <a:pt x="5494" y="1373"/>
                  </a:cubicBezTo>
                  <a:cubicBezTo>
                    <a:pt x="5502" y="1376"/>
                    <a:pt x="5503" y="1374"/>
                    <a:pt x="5509" y="1373"/>
                  </a:cubicBezTo>
                  <a:cubicBezTo>
                    <a:pt x="5516" y="1372"/>
                    <a:pt x="5518" y="1369"/>
                    <a:pt x="5525" y="1370"/>
                  </a:cubicBezTo>
                  <a:cubicBezTo>
                    <a:pt x="5531" y="1371"/>
                    <a:pt x="5546" y="1377"/>
                    <a:pt x="5547" y="1381"/>
                  </a:cubicBezTo>
                  <a:cubicBezTo>
                    <a:pt x="5548" y="1386"/>
                    <a:pt x="5571" y="1375"/>
                    <a:pt x="5569" y="1389"/>
                  </a:cubicBezTo>
                  <a:cubicBezTo>
                    <a:pt x="5566" y="1403"/>
                    <a:pt x="5583" y="1394"/>
                    <a:pt x="5601" y="1400"/>
                  </a:cubicBezTo>
                  <a:cubicBezTo>
                    <a:pt x="5619" y="1405"/>
                    <a:pt x="5635" y="1414"/>
                    <a:pt x="5641" y="1411"/>
                  </a:cubicBezTo>
                  <a:cubicBezTo>
                    <a:pt x="5648" y="1408"/>
                    <a:pt x="5657" y="1413"/>
                    <a:pt x="5672" y="1414"/>
                  </a:cubicBezTo>
                  <a:cubicBezTo>
                    <a:pt x="5687" y="1415"/>
                    <a:pt x="5701" y="1409"/>
                    <a:pt x="5703" y="1404"/>
                  </a:cubicBezTo>
                  <a:cubicBezTo>
                    <a:pt x="5705" y="1400"/>
                    <a:pt x="5703" y="1392"/>
                    <a:pt x="5706" y="1387"/>
                  </a:cubicBezTo>
                  <a:cubicBezTo>
                    <a:pt x="5709" y="1381"/>
                    <a:pt x="5722" y="1387"/>
                    <a:pt x="5732" y="1383"/>
                  </a:cubicBezTo>
                  <a:cubicBezTo>
                    <a:pt x="5742" y="1380"/>
                    <a:pt x="5761" y="1374"/>
                    <a:pt x="5761" y="1374"/>
                  </a:cubicBezTo>
                  <a:cubicBezTo>
                    <a:pt x="5761" y="1374"/>
                    <a:pt x="5766" y="1376"/>
                    <a:pt x="5774" y="1366"/>
                  </a:cubicBezTo>
                  <a:cubicBezTo>
                    <a:pt x="5782" y="1356"/>
                    <a:pt x="5785" y="1348"/>
                    <a:pt x="5792" y="1345"/>
                  </a:cubicBezTo>
                  <a:cubicBezTo>
                    <a:pt x="5798" y="1342"/>
                    <a:pt x="5813" y="1344"/>
                    <a:pt x="5816" y="1338"/>
                  </a:cubicBezTo>
                  <a:cubicBezTo>
                    <a:pt x="5819" y="1333"/>
                    <a:pt x="5801" y="1334"/>
                    <a:pt x="5819" y="1333"/>
                  </a:cubicBezTo>
                  <a:cubicBezTo>
                    <a:pt x="5838" y="1332"/>
                    <a:pt x="5849" y="1336"/>
                    <a:pt x="5853" y="1329"/>
                  </a:cubicBezTo>
                  <a:cubicBezTo>
                    <a:pt x="5858" y="1323"/>
                    <a:pt x="5853" y="1320"/>
                    <a:pt x="5860" y="1310"/>
                  </a:cubicBezTo>
                  <a:cubicBezTo>
                    <a:pt x="5866" y="1300"/>
                    <a:pt x="5868" y="1303"/>
                    <a:pt x="5875" y="1295"/>
                  </a:cubicBezTo>
                  <a:cubicBezTo>
                    <a:pt x="5883" y="1288"/>
                    <a:pt x="5884" y="1288"/>
                    <a:pt x="5886" y="1274"/>
                  </a:cubicBezTo>
                  <a:cubicBezTo>
                    <a:pt x="5888" y="1261"/>
                    <a:pt x="5897" y="1270"/>
                    <a:pt x="5888" y="1261"/>
                  </a:cubicBezTo>
                  <a:cubicBezTo>
                    <a:pt x="5880" y="1253"/>
                    <a:pt x="5874" y="1257"/>
                    <a:pt x="5870" y="1246"/>
                  </a:cubicBezTo>
                  <a:close/>
                  <a:moveTo>
                    <a:pt x="8429" y="7141"/>
                  </a:moveTo>
                  <a:cubicBezTo>
                    <a:pt x="8425" y="7148"/>
                    <a:pt x="8415" y="7156"/>
                    <a:pt x="8404" y="7162"/>
                  </a:cubicBezTo>
                  <a:cubicBezTo>
                    <a:pt x="8393" y="7167"/>
                    <a:pt x="8400" y="7175"/>
                    <a:pt x="8396" y="7182"/>
                  </a:cubicBezTo>
                  <a:cubicBezTo>
                    <a:pt x="8393" y="7190"/>
                    <a:pt x="8381" y="7197"/>
                    <a:pt x="8374" y="7207"/>
                  </a:cubicBezTo>
                  <a:cubicBezTo>
                    <a:pt x="8366" y="7216"/>
                    <a:pt x="8364" y="7218"/>
                    <a:pt x="8359" y="7227"/>
                  </a:cubicBezTo>
                  <a:cubicBezTo>
                    <a:pt x="8353" y="7237"/>
                    <a:pt x="8349" y="7243"/>
                    <a:pt x="8344" y="7252"/>
                  </a:cubicBezTo>
                  <a:cubicBezTo>
                    <a:pt x="8338" y="7261"/>
                    <a:pt x="8327" y="7265"/>
                    <a:pt x="8323" y="7271"/>
                  </a:cubicBezTo>
                  <a:cubicBezTo>
                    <a:pt x="8319" y="7276"/>
                    <a:pt x="8315" y="7280"/>
                    <a:pt x="8308" y="7292"/>
                  </a:cubicBezTo>
                  <a:cubicBezTo>
                    <a:pt x="8300" y="7303"/>
                    <a:pt x="8289" y="7307"/>
                    <a:pt x="8283" y="7316"/>
                  </a:cubicBezTo>
                  <a:cubicBezTo>
                    <a:pt x="8278" y="7325"/>
                    <a:pt x="8268" y="7329"/>
                    <a:pt x="8259" y="7339"/>
                  </a:cubicBezTo>
                  <a:cubicBezTo>
                    <a:pt x="8250" y="7348"/>
                    <a:pt x="8250" y="7342"/>
                    <a:pt x="8242" y="7358"/>
                  </a:cubicBezTo>
                  <a:cubicBezTo>
                    <a:pt x="8234" y="7373"/>
                    <a:pt x="8223" y="7373"/>
                    <a:pt x="8214" y="7376"/>
                  </a:cubicBezTo>
                  <a:cubicBezTo>
                    <a:pt x="8204" y="7380"/>
                    <a:pt x="8204" y="7384"/>
                    <a:pt x="8201" y="7397"/>
                  </a:cubicBezTo>
                  <a:cubicBezTo>
                    <a:pt x="8197" y="7410"/>
                    <a:pt x="8197" y="7408"/>
                    <a:pt x="8199" y="7420"/>
                  </a:cubicBezTo>
                  <a:cubicBezTo>
                    <a:pt x="8201" y="7431"/>
                    <a:pt x="8189" y="7431"/>
                    <a:pt x="8178" y="7435"/>
                  </a:cubicBezTo>
                  <a:cubicBezTo>
                    <a:pt x="8167" y="7439"/>
                    <a:pt x="8165" y="7444"/>
                    <a:pt x="8159" y="7457"/>
                  </a:cubicBezTo>
                  <a:cubicBezTo>
                    <a:pt x="8153" y="7471"/>
                    <a:pt x="8146" y="7486"/>
                    <a:pt x="8136" y="7495"/>
                  </a:cubicBezTo>
                  <a:cubicBezTo>
                    <a:pt x="8127" y="7505"/>
                    <a:pt x="8129" y="7503"/>
                    <a:pt x="8118" y="7514"/>
                  </a:cubicBezTo>
                  <a:cubicBezTo>
                    <a:pt x="8112" y="7519"/>
                    <a:pt x="8112" y="7519"/>
                    <a:pt x="8112" y="7519"/>
                  </a:cubicBezTo>
                  <a:cubicBezTo>
                    <a:pt x="8112" y="7519"/>
                    <a:pt x="8112" y="7520"/>
                    <a:pt x="8108" y="7523"/>
                  </a:cubicBezTo>
                  <a:cubicBezTo>
                    <a:pt x="8099" y="7533"/>
                    <a:pt x="8101" y="7533"/>
                    <a:pt x="8095" y="7542"/>
                  </a:cubicBezTo>
                  <a:cubicBezTo>
                    <a:pt x="8089" y="7552"/>
                    <a:pt x="8086" y="7552"/>
                    <a:pt x="8084" y="7561"/>
                  </a:cubicBezTo>
                  <a:cubicBezTo>
                    <a:pt x="8082" y="7570"/>
                    <a:pt x="8074" y="7569"/>
                    <a:pt x="8067" y="7584"/>
                  </a:cubicBezTo>
                  <a:cubicBezTo>
                    <a:pt x="8059" y="7599"/>
                    <a:pt x="8052" y="7599"/>
                    <a:pt x="8044" y="7610"/>
                  </a:cubicBezTo>
                  <a:cubicBezTo>
                    <a:pt x="8037" y="7621"/>
                    <a:pt x="8037" y="7618"/>
                    <a:pt x="8029" y="7625"/>
                  </a:cubicBezTo>
                  <a:cubicBezTo>
                    <a:pt x="8021" y="7633"/>
                    <a:pt x="8020" y="7635"/>
                    <a:pt x="8012" y="7644"/>
                  </a:cubicBezTo>
                  <a:cubicBezTo>
                    <a:pt x="8005" y="7653"/>
                    <a:pt x="8001" y="7650"/>
                    <a:pt x="7989" y="7661"/>
                  </a:cubicBezTo>
                  <a:cubicBezTo>
                    <a:pt x="7978" y="7672"/>
                    <a:pt x="7980" y="7670"/>
                    <a:pt x="7971" y="7680"/>
                  </a:cubicBezTo>
                  <a:cubicBezTo>
                    <a:pt x="7961" y="7689"/>
                    <a:pt x="7963" y="7684"/>
                    <a:pt x="7957" y="7695"/>
                  </a:cubicBezTo>
                  <a:cubicBezTo>
                    <a:pt x="7952" y="7706"/>
                    <a:pt x="7956" y="7702"/>
                    <a:pt x="7954" y="7714"/>
                  </a:cubicBezTo>
                  <a:cubicBezTo>
                    <a:pt x="7952" y="7725"/>
                    <a:pt x="7940" y="7725"/>
                    <a:pt x="7937" y="7736"/>
                  </a:cubicBezTo>
                  <a:cubicBezTo>
                    <a:pt x="7933" y="7748"/>
                    <a:pt x="7931" y="7744"/>
                    <a:pt x="7927" y="7757"/>
                  </a:cubicBezTo>
                  <a:cubicBezTo>
                    <a:pt x="7924" y="7770"/>
                    <a:pt x="7910" y="7766"/>
                    <a:pt x="7903" y="7776"/>
                  </a:cubicBezTo>
                  <a:cubicBezTo>
                    <a:pt x="7895" y="7785"/>
                    <a:pt x="7878" y="7798"/>
                    <a:pt x="7869" y="7804"/>
                  </a:cubicBezTo>
                  <a:cubicBezTo>
                    <a:pt x="7859" y="7810"/>
                    <a:pt x="7848" y="7825"/>
                    <a:pt x="7846" y="7838"/>
                  </a:cubicBezTo>
                  <a:cubicBezTo>
                    <a:pt x="7844" y="7851"/>
                    <a:pt x="7856" y="7844"/>
                    <a:pt x="7863" y="7840"/>
                  </a:cubicBezTo>
                  <a:cubicBezTo>
                    <a:pt x="7871" y="7836"/>
                    <a:pt x="7878" y="7829"/>
                    <a:pt x="7895" y="7815"/>
                  </a:cubicBezTo>
                  <a:cubicBezTo>
                    <a:pt x="7899" y="7812"/>
                    <a:pt x="7902" y="7811"/>
                    <a:pt x="7904" y="7810"/>
                  </a:cubicBezTo>
                  <a:cubicBezTo>
                    <a:pt x="8107" y="7599"/>
                    <a:pt x="8291" y="7368"/>
                    <a:pt x="8452" y="7121"/>
                  </a:cubicBezTo>
                  <a:cubicBezTo>
                    <a:pt x="8450" y="7122"/>
                    <a:pt x="8449" y="7123"/>
                    <a:pt x="8447" y="7124"/>
                  </a:cubicBezTo>
                  <a:cubicBezTo>
                    <a:pt x="8434" y="7133"/>
                    <a:pt x="8432" y="7133"/>
                    <a:pt x="8429" y="7141"/>
                  </a:cubicBezTo>
                  <a:close/>
                  <a:moveTo>
                    <a:pt x="6157" y="376"/>
                  </a:moveTo>
                  <a:cubicBezTo>
                    <a:pt x="6160" y="379"/>
                    <a:pt x="6180" y="376"/>
                    <a:pt x="6188" y="384"/>
                  </a:cubicBezTo>
                  <a:cubicBezTo>
                    <a:pt x="6196" y="392"/>
                    <a:pt x="6208" y="400"/>
                    <a:pt x="6213" y="403"/>
                  </a:cubicBezTo>
                  <a:cubicBezTo>
                    <a:pt x="6217" y="407"/>
                    <a:pt x="6223" y="403"/>
                    <a:pt x="6231" y="409"/>
                  </a:cubicBezTo>
                  <a:cubicBezTo>
                    <a:pt x="6239" y="415"/>
                    <a:pt x="6240" y="425"/>
                    <a:pt x="6245" y="417"/>
                  </a:cubicBezTo>
                  <a:cubicBezTo>
                    <a:pt x="6249" y="409"/>
                    <a:pt x="6231" y="401"/>
                    <a:pt x="6230" y="393"/>
                  </a:cubicBezTo>
                  <a:cubicBezTo>
                    <a:pt x="6229" y="385"/>
                    <a:pt x="6208" y="367"/>
                    <a:pt x="6203" y="359"/>
                  </a:cubicBezTo>
                  <a:cubicBezTo>
                    <a:pt x="6197" y="351"/>
                    <a:pt x="6174" y="350"/>
                    <a:pt x="6168" y="341"/>
                  </a:cubicBezTo>
                  <a:cubicBezTo>
                    <a:pt x="6163" y="332"/>
                    <a:pt x="6156" y="323"/>
                    <a:pt x="6150" y="320"/>
                  </a:cubicBezTo>
                  <a:cubicBezTo>
                    <a:pt x="6145" y="318"/>
                    <a:pt x="6140" y="307"/>
                    <a:pt x="6135" y="304"/>
                  </a:cubicBezTo>
                  <a:cubicBezTo>
                    <a:pt x="6131" y="302"/>
                    <a:pt x="6101" y="298"/>
                    <a:pt x="6099" y="294"/>
                  </a:cubicBezTo>
                  <a:cubicBezTo>
                    <a:pt x="6097" y="291"/>
                    <a:pt x="6093" y="290"/>
                    <a:pt x="6093" y="286"/>
                  </a:cubicBezTo>
                  <a:cubicBezTo>
                    <a:pt x="6093" y="283"/>
                    <a:pt x="6088" y="283"/>
                    <a:pt x="6093" y="277"/>
                  </a:cubicBezTo>
                  <a:cubicBezTo>
                    <a:pt x="6099" y="271"/>
                    <a:pt x="6105" y="265"/>
                    <a:pt x="6101" y="261"/>
                  </a:cubicBezTo>
                  <a:cubicBezTo>
                    <a:pt x="6098" y="258"/>
                    <a:pt x="6101" y="259"/>
                    <a:pt x="6089" y="258"/>
                  </a:cubicBezTo>
                  <a:cubicBezTo>
                    <a:pt x="6076" y="257"/>
                    <a:pt x="6063" y="253"/>
                    <a:pt x="6055" y="247"/>
                  </a:cubicBezTo>
                  <a:cubicBezTo>
                    <a:pt x="6047" y="242"/>
                    <a:pt x="6038" y="237"/>
                    <a:pt x="6032" y="237"/>
                  </a:cubicBezTo>
                  <a:cubicBezTo>
                    <a:pt x="6026" y="237"/>
                    <a:pt x="6015" y="242"/>
                    <a:pt x="6010" y="240"/>
                  </a:cubicBezTo>
                  <a:cubicBezTo>
                    <a:pt x="6006" y="237"/>
                    <a:pt x="6000" y="234"/>
                    <a:pt x="5993" y="230"/>
                  </a:cubicBezTo>
                  <a:cubicBezTo>
                    <a:pt x="5986" y="227"/>
                    <a:pt x="5976" y="226"/>
                    <a:pt x="5970" y="224"/>
                  </a:cubicBezTo>
                  <a:cubicBezTo>
                    <a:pt x="5965" y="221"/>
                    <a:pt x="5952" y="212"/>
                    <a:pt x="5952" y="212"/>
                  </a:cubicBezTo>
                  <a:cubicBezTo>
                    <a:pt x="5947" y="203"/>
                    <a:pt x="5947" y="203"/>
                    <a:pt x="5947" y="203"/>
                  </a:cubicBezTo>
                  <a:cubicBezTo>
                    <a:pt x="5947" y="203"/>
                    <a:pt x="5958" y="193"/>
                    <a:pt x="5960" y="199"/>
                  </a:cubicBezTo>
                  <a:cubicBezTo>
                    <a:pt x="5963" y="204"/>
                    <a:pt x="5973" y="210"/>
                    <a:pt x="5973" y="210"/>
                  </a:cubicBezTo>
                  <a:cubicBezTo>
                    <a:pt x="5973" y="210"/>
                    <a:pt x="5983" y="219"/>
                    <a:pt x="5988" y="220"/>
                  </a:cubicBezTo>
                  <a:cubicBezTo>
                    <a:pt x="5992" y="221"/>
                    <a:pt x="5999" y="222"/>
                    <a:pt x="6003" y="222"/>
                  </a:cubicBezTo>
                  <a:cubicBezTo>
                    <a:pt x="6008" y="222"/>
                    <a:pt x="6016" y="229"/>
                    <a:pt x="6019" y="225"/>
                  </a:cubicBezTo>
                  <a:cubicBezTo>
                    <a:pt x="6023" y="220"/>
                    <a:pt x="6033" y="222"/>
                    <a:pt x="6038" y="224"/>
                  </a:cubicBezTo>
                  <a:cubicBezTo>
                    <a:pt x="6042" y="225"/>
                    <a:pt x="6046" y="222"/>
                    <a:pt x="6054" y="227"/>
                  </a:cubicBezTo>
                  <a:cubicBezTo>
                    <a:pt x="6061" y="232"/>
                    <a:pt x="6058" y="237"/>
                    <a:pt x="6067" y="237"/>
                  </a:cubicBezTo>
                  <a:cubicBezTo>
                    <a:pt x="6076" y="237"/>
                    <a:pt x="6081" y="240"/>
                    <a:pt x="6085" y="233"/>
                  </a:cubicBezTo>
                  <a:cubicBezTo>
                    <a:pt x="6090" y="226"/>
                    <a:pt x="6084" y="221"/>
                    <a:pt x="6080" y="217"/>
                  </a:cubicBezTo>
                  <a:cubicBezTo>
                    <a:pt x="6075" y="212"/>
                    <a:pt x="6051" y="212"/>
                    <a:pt x="6048" y="204"/>
                  </a:cubicBezTo>
                  <a:cubicBezTo>
                    <a:pt x="6044" y="196"/>
                    <a:pt x="6032" y="197"/>
                    <a:pt x="6027" y="189"/>
                  </a:cubicBezTo>
                  <a:cubicBezTo>
                    <a:pt x="6023" y="182"/>
                    <a:pt x="6018" y="177"/>
                    <a:pt x="6010" y="175"/>
                  </a:cubicBezTo>
                  <a:cubicBezTo>
                    <a:pt x="6002" y="172"/>
                    <a:pt x="5982" y="166"/>
                    <a:pt x="5977" y="164"/>
                  </a:cubicBezTo>
                  <a:cubicBezTo>
                    <a:pt x="5973" y="163"/>
                    <a:pt x="5948" y="169"/>
                    <a:pt x="5948" y="169"/>
                  </a:cubicBezTo>
                  <a:cubicBezTo>
                    <a:pt x="5936" y="168"/>
                    <a:pt x="5936" y="168"/>
                    <a:pt x="5936" y="168"/>
                  </a:cubicBezTo>
                  <a:cubicBezTo>
                    <a:pt x="5936" y="168"/>
                    <a:pt x="5918" y="150"/>
                    <a:pt x="5914" y="149"/>
                  </a:cubicBezTo>
                  <a:cubicBezTo>
                    <a:pt x="5909" y="147"/>
                    <a:pt x="5911" y="161"/>
                    <a:pt x="5902" y="160"/>
                  </a:cubicBezTo>
                  <a:cubicBezTo>
                    <a:pt x="5889" y="158"/>
                    <a:pt x="5890" y="169"/>
                    <a:pt x="5887" y="172"/>
                  </a:cubicBezTo>
                  <a:cubicBezTo>
                    <a:pt x="5885" y="176"/>
                    <a:pt x="5878" y="170"/>
                    <a:pt x="5877" y="174"/>
                  </a:cubicBezTo>
                  <a:cubicBezTo>
                    <a:pt x="5874" y="185"/>
                    <a:pt x="5880" y="188"/>
                    <a:pt x="5881" y="192"/>
                  </a:cubicBezTo>
                  <a:cubicBezTo>
                    <a:pt x="5882" y="195"/>
                    <a:pt x="5882" y="204"/>
                    <a:pt x="5876" y="203"/>
                  </a:cubicBezTo>
                  <a:cubicBezTo>
                    <a:pt x="5870" y="202"/>
                    <a:pt x="5867" y="208"/>
                    <a:pt x="5861" y="205"/>
                  </a:cubicBezTo>
                  <a:cubicBezTo>
                    <a:pt x="5856" y="203"/>
                    <a:pt x="5866" y="203"/>
                    <a:pt x="5856" y="203"/>
                  </a:cubicBezTo>
                  <a:cubicBezTo>
                    <a:pt x="5845" y="203"/>
                    <a:pt x="5842" y="208"/>
                    <a:pt x="5837" y="202"/>
                  </a:cubicBezTo>
                  <a:cubicBezTo>
                    <a:pt x="5833" y="196"/>
                    <a:pt x="5826" y="199"/>
                    <a:pt x="5818" y="200"/>
                  </a:cubicBezTo>
                  <a:cubicBezTo>
                    <a:pt x="5810" y="201"/>
                    <a:pt x="5809" y="208"/>
                    <a:pt x="5803" y="208"/>
                  </a:cubicBezTo>
                  <a:cubicBezTo>
                    <a:pt x="5798" y="208"/>
                    <a:pt x="5786" y="210"/>
                    <a:pt x="5791" y="214"/>
                  </a:cubicBezTo>
                  <a:cubicBezTo>
                    <a:pt x="5795" y="219"/>
                    <a:pt x="5801" y="225"/>
                    <a:pt x="5809" y="222"/>
                  </a:cubicBezTo>
                  <a:cubicBezTo>
                    <a:pt x="5817" y="220"/>
                    <a:pt x="5823" y="220"/>
                    <a:pt x="5826" y="227"/>
                  </a:cubicBezTo>
                  <a:cubicBezTo>
                    <a:pt x="5829" y="234"/>
                    <a:pt x="5834" y="244"/>
                    <a:pt x="5840" y="243"/>
                  </a:cubicBezTo>
                  <a:cubicBezTo>
                    <a:pt x="5845" y="242"/>
                    <a:pt x="5847" y="240"/>
                    <a:pt x="5853" y="240"/>
                  </a:cubicBezTo>
                  <a:cubicBezTo>
                    <a:pt x="5860" y="240"/>
                    <a:pt x="5869" y="235"/>
                    <a:pt x="5869" y="242"/>
                  </a:cubicBezTo>
                  <a:cubicBezTo>
                    <a:pt x="5869" y="249"/>
                    <a:pt x="5868" y="253"/>
                    <a:pt x="5877" y="259"/>
                  </a:cubicBezTo>
                  <a:cubicBezTo>
                    <a:pt x="5886" y="265"/>
                    <a:pt x="5891" y="269"/>
                    <a:pt x="5900" y="269"/>
                  </a:cubicBezTo>
                  <a:cubicBezTo>
                    <a:pt x="5909" y="269"/>
                    <a:pt x="5909" y="268"/>
                    <a:pt x="5914" y="275"/>
                  </a:cubicBezTo>
                  <a:cubicBezTo>
                    <a:pt x="5918" y="282"/>
                    <a:pt x="5917" y="282"/>
                    <a:pt x="5933" y="286"/>
                  </a:cubicBezTo>
                  <a:cubicBezTo>
                    <a:pt x="5949" y="291"/>
                    <a:pt x="5952" y="292"/>
                    <a:pt x="5959" y="291"/>
                  </a:cubicBezTo>
                  <a:cubicBezTo>
                    <a:pt x="5966" y="290"/>
                    <a:pt x="5963" y="293"/>
                    <a:pt x="5973" y="295"/>
                  </a:cubicBezTo>
                  <a:cubicBezTo>
                    <a:pt x="5983" y="298"/>
                    <a:pt x="5992" y="300"/>
                    <a:pt x="5997" y="298"/>
                  </a:cubicBezTo>
                  <a:cubicBezTo>
                    <a:pt x="6001" y="295"/>
                    <a:pt x="5988" y="290"/>
                    <a:pt x="6000" y="283"/>
                  </a:cubicBezTo>
                  <a:cubicBezTo>
                    <a:pt x="6013" y="276"/>
                    <a:pt x="6023" y="278"/>
                    <a:pt x="6025" y="282"/>
                  </a:cubicBezTo>
                  <a:cubicBezTo>
                    <a:pt x="6027" y="285"/>
                    <a:pt x="6041" y="295"/>
                    <a:pt x="6031" y="299"/>
                  </a:cubicBezTo>
                  <a:cubicBezTo>
                    <a:pt x="6021" y="302"/>
                    <a:pt x="6011" y="304"/>
                    <a:pt x="6019" y="311"/>
                  </a:cubicBezTo>
                  <a:cubicBezTo>
                    <a:pt x="6027" y="318"/>
                    <a:pt x="6019" y="327"/>
                    <a:pt x="6036" y="325"/>
                  </a:cubicBezTo>
                  <a:cubicBezTo>
                    <a:pt x="6054" y="323"/>
                    <a:pt x="6059" y="323"/>
                    <a:pt x="6063" y="328"/>
                  </a:cubicBezTo>
                  <a:cubicBezTo>
                    <a:pt x="6066" y="334"/>
                    <a:pt x="6065" y="336"/>
                    <a:pt x="6071" y="333"/>
                  </a:cubicBezTo>
                  <a:cubicBezTo>
                    <a:pt x="6076" y="329"/>
                    <a:pt x="6093" y="316"/>
                    <a:pt x="6093" y="321"/>
                  </a:cubicBezTo>
                  <a:cubicBezTo>
                    <a:pt x="6093" y="327"/>
                    <a:pt x="6079" y="333"/>
                    <a:pt x="6082" y="340"/>
                  </a:cubicBezTo>
                  <a:cubicBezTo>
                    <a:pt x="6085" y="346"/>
                    <a:pt x="6092" y="353"/>
                    <a:pt x="6101" y="353"/>
                  </a:cubicBezTo>
                  <a:cubicBezTo>
                    <a:pt x="6110" y="353"/>
                    <a:pt x="6116" y="367"/>
                    <a:pt x="6119" y="367"/>
                  </a:cubicBezTo>
                  <a:cubicBezTo>
                    <a:pt x="6123" y="367"/>
                    <a:pt x="6112" y="381"/>
                    <a:pt x="6127" y="377"/>
                  </a:cubicBezTo>
                  <a:cubicBezTo>
                    <a:pt x="6143" y="374"/>
                    <a:pt x="6154" y="373"/>
                    <a:pt x="6157" y="376"/>
                  </a:cubicBezTo>
                  <a:close/>
                  <a:moveTo>
                    <a:pt x="7656" y="1857"/>
                  </a:moveTo>
                  <a:cubicBezTo>
                    <a:pt x="7648" y="1852"/>
                    <a:pt x="7655" y="1857"/>
                    <a:pt x="7648" y="1852"/>
                  </a:cubicBezTo>
                  <a:cubicBezTo>
                    <a:pt x="7641" y="1848"/>
                    <a:pt x="7632" y="1853"/>
                    <a:pt x="7632" y="1853"/>
                  </a:cubicBezTo>
                  <a:cubicBezTo>
                    <a:pt x="7632" y="1853"/>
                    <a:pt x="7616" y="1881"/>
                    <a:pt x="7625" y="1889"/>
                  </a:cubicBezTo>
                  <a:cubicBezTo>
                    <a:pt x="7634" y="1897"/>
                    <a:pt x="7638" y="1899"/>
                    <a:pt x="7640" y="1906"/>
                  </a:cubicBezTo>
                  <a:cubicBezTo>
                    <a:pt x="7642" y="1912"/>
                    <a:pt x="7640" y="1920"/>
                    <a:pt x="7645" y="1925"/>
                  </a:cubicBezTo>
                  <a:cubicBezTo>
                    <a:pt x="7649" y="1930"/>
                    <a:pt x="7654" y="1938"/>
                    <a:pt x="7661" y="1935"/>
                  </a:cubicBezTo>
                  <a:cubicBezTo>
                    <a:pt x="7667" y="1933"/>
                    <a:pt x="7670" y="1938"/>
                    <a:pt x="7673" y="1926"/>
                  </a:cubicBezTo>
                  <a:cubicBezTo>
                    <a:pt x="7676" y="1915"/>
                    <a:pt x="7679" y="1915"/>
                    <a:pt x="7670" y="1903"/>
                  </a:cubicBezTo>
                  <a:cubicBezTo>
                    <a:pt x="7661" y="1892"/>
                    <a:pt x="7661" y="1905"/>
                    <a:pt x="7661" y="1892"/>
                  </a:cubicBezTo>
                  <a:cubicBezTo>
                    <a:pt x="7661" y="1880"/>
                    <a:pt x="7665" y="1886"/>
                    <a:pt x="7661" y="1872"/>
                  </a:cubicBezTo>
                  <a:cubicBezTo>
                    <a:pt x="7656" y="1857"/>
                    <a:pt x="7664" y="1861"/>
                    <a:pt x="7656" y="1857"/>
                  </a:cubicBezTo>
                  <a:close/>
                  <a:moveTo>
                    <a:pt x="7761" y="1796"/>
                  </a:moveTo>
                  <a:cubicBezTo>
                    <a:pt x="7753" y="1795"/>
                    <a:pt x="7758" y="1793"/>
                    <a:pt x="7746" y="1796"/>
                  </a:cubicBezTo>
                  <a:cubicBezTo>
                    <a:pt x="7733" y="1800"/>
                    <a:pt x="7723" y="1804"/>
                    <a:pt x="7723" y="1804"/>
                  </a:cubicBezTo>
                  <a:cubicBezTo>
                    <a:pt x="7723" y="1804"/>
                    <a:pt x="7724" y="1823"/>
                    <a:pt x="7729" y="1821"/>
                  </a:cubicBezTo>
                  <a:cubicBezTo>
                    <a:pt x="7733" y="1820"/>
                    <a:pt x="7741" y="1826"/>
                    <a:pt x="7741" y="1833"/>
                  </a:cubicBezTo>
                  <a:cubicBezTo>
                    <a:pt x="7741" y="1840"/>
                    <a:pt x="7745" y="1838"/>
                    <a:pt x="7748" y="1845"/>
                  </a:cubicBezTo>
                  <a:cubicBezTo>
                    <a:pt x="7752" y="1852"/>
                    <a:pt x="7761" y="1857"/>
                    <a:pt x="7765" y="1852"/>
                  </a:cubicBezTo>
                  <a:cubicBezTo>
                    <a:pt x="7770" y="1848"/>
                    <a:pt x="7777" y="1837"/>
                    <a:pt x="7774" y="1829"/>
                  </a:cubicBezTo>
                  <a:cubicBezTo>
                    <a:pt x="7772" y="1821"/>
                    <a:pt x="7764" y="1813"/>
                    <a:pt x="7763" y="1809"/>
                  </a:cubicBezTo>
                  <a:cubicBezTo>
                    <a:pt x="7762" y="1804"/>
                    <a:pt x="7769" y="1798"/>
                    <a:pt x="7761" y="1796"/>
                  </a:cubicBezTo>
                  <a:close/>
                  <a:moveTo>
                    <a:pt x="5213" y="656"/>
                  </a:moveTo>
                  <a:cubicBezTo>
                    <a:pt x="5205" y="657"/>
                    <a:pt x="5201" y="657"/>
                    <a:pt x="5192" y="657"/>
                  </a:cubicBezTo>
                  <a:cubicBezTo>
                    <a:pt x="5183" y="657"/>
                    <a:pt x="5185" y="652"/>
                    <a:pt x="5177" y="651"/>
                  </a:cubicBezTo>
                  <a:cubicBezTo>
                    <a:pt x="5170" y="651"/>
                    <a:pt x="5171" y="650"/>
                    <a:pt x="5163" y="651"/>
                  </a:cubicBezTo>
                  <a:cubicBezTo>
                    <a:pt x="5147" y="652"/>
                    <a:pt x="5148" y="672"/>
                    <a:pt x="5156" y="673"/>
                  </a:cubicBezTo>
                  <a:cubicBezTo>
                    <a:pt x="5163" y="674"/>
                    <a:pt x="5169" y="681"/>
                    <a:pt x="5175" y="685"/>
                  </a:cubicBezTo>
                  <a:cubicBezTo>
                    <a:pt x="5181" y="689"/>
                    <a:pt x="5192" y="690"/>
                    <a:pt x="5195" y="691"/>
                  </a:cubicBezTo>
                  <a:cubicBezTo>
                    <a:pt x="5198" y="692"/>
                    <a:pt x="5209" y="697"/>
                    <a:pt x="5211" y="702"/>
                  </a:cubicBezTo>
                  <a:cubicBezTo>
                    <a:pt x="5212" y="706"/>
                    <a:pt x="5223" y="705"/>
                    <a:pt x="5227" y="709"/>
                  </a:cubicBezTo>
                  <a:cubicBezTo>
                    <a:pt x="5230" y="713"/>
                    <a:pt x="5236" y="715"/>
                    <a:pt x="5239" y="716"/>
                  </a:cubicBezTo>
                  <a:cubicBezTo>
                    <a:pt x="5241" y="717"/>
                    <a:pt x="5247" y="717"/>
                    <a:pt x="5250" y="718"/>
                  </a:cubicBezTo>
                  <a:cubicBezTo>
                    <a:pt x="5253" y="718"/>
                    <a:pt x="5259" y="726"/>
                    <a:pt x="5262" y="723"/>
                  </a:cubicBezTo>
                  <a:cubicBezTo>
                    <a:pt x="5265" y="719"/>
                    <a:pt x="5265" y="713"/>
                    <a:pt x="5264" y="706"/>
                  </a:cubicBezTo>
                  <a:cubicBezTo>
                    <a:pt x="5263" y="700"/>
                    <a:pt x="5254" y="698"/>
                    <a:pt x="5251" y="693"/>
                  </a:cubicBezTo>
                  <a:cubicBezTo>
                    <a:pt x="5248" y="689"/>
                    <a:pt x="5249" y="689"/>
                    <a:pt x="5253" y="682"/>
                  </a:cubicBezTo>
                  <a:cubicBezTo>
                    <a:pt x="5257" y="675"/>
                    <a:pt x="5257" y="673"/>
                    <a:pt x="5255" y="668"/>
                  </a:cubicBezTo>
                  <a:cubicBezTo>
                    <a:pt x="5253" y="662"/>
                    <a:pt x="5247" y="660"/>
                    <a:pt x="5242" y="662"/>
                  </a:cubicBezTo>
                  <a:cubicBezTo>
                    <a:pt x="5237" y="664"/>
                    <a:pt x="5219" y="674"/>
                    <a:pt x="5220" y="667"/>
                  </a:cubicBezTo>
                  <a:cubicBezTo>
                    <a:pt x="5221" y="660"/>
                    <a:pt x="5221" y="655"/>
                    <a:pt x="5213" y="656"/>
                  </a:cubicBezTo>
                  <a:close/>
                  <a:moveTo>
                    <a:pt x="7740" y="1766"/>
                  </a:moveTo>
                  <a:cubicBezTo>
                    <a:pt x="7734" y="1759"/>
                    <a:pt x="7731" y="1758"/>
                    <a:pt x="7726" y="1756"/>
                  </a:cubicBezTo>
                  <a:cubicBezTo>
                    <a:pt x="7721" y="1753"/>
                    <a:pt x="7725" y="1745"/>
                    <a:pt x="7715" y="1752"/>
                  </a:cubicBezTo>
                  <a:cubicBezTo>
                    <a:pt x="7704" y="1759"/>
                    <a:pt x="7706" y="1769"/>
                    <a:pt x="7706" y="1769"/>
                  </a:cubicBezTo>
                  <a:cubicBezTo>
                    <a:pt x="7706" y="1775"/>
                    <a:pt x="7712" y="1781"/>
                    <a:pt x="7718" y="1781"/>
                  </a:cubicBezTo>
                  <a:cubicBezTo>
                    <a:pt x="7724" y="1781"/>
                    <a:pt x="7723" y="1782"/>
                    <a:pt x="7725" y="1787"/>
                  </a:cubicBezTo>
                  <a:cubicBezTo>
                    <a:pt x="7727" y="1793"/>
                    <a:pt x="7736" y="1790"/>
                    <a:pt x="7742" y="1790"/>
                  </a:cubicBezTo>
                  <a:cubicBezTo>
                    <a:pt x="7748" y="1790"/>
                    <a:pt x="7756" y="1785"/>
                    <a:pt x="7751" y="1781"/>
                  </a:cubicBezTo>
                  <a:cubicBezTo>
                    <a:pt x="7747" y="1776"/>
                    <a:pt x="7745" y="1773"/>
                    <a:pt x="7740" y="1766"/>
                  </a:cubicBezTo>
                  <a:close/>
                  <a:moveTo>
                    <a:pt x="8642" y="3658"/>
                  </a:moveTo>
                  <a:cubicBezTo>
                    <a:pt x="8647" y="3655"/>
                    <a:pt x="8648" y="3646"/>
                    <a:pt x="8649" y="3640"/>
                  </a:cubicBezTo>
                  <a:cubicBezTo>
                    <a:pt x="8650" y="3634"/>
                    <a:pt x="8652" y="3632"/>
                    <a:pt x="8649" y="3625"/>
                  </a:cubicBezTo>
                  <a:cubicBezTo>
                    <a:pt x="8645" y="3618"/>
                    <a:pt x="8647" y="3615"/>
                    <a:pt x="8641" y="3614"/>
                  </a:cubicBezTo>
                  <a:cubicBezTo>
                    <a:pt x="8635" y="3613"/>
                    <a:pt x="8628" y="3611"/>
                    <a:pt x="8626" y="3616"/>
                  </a:cubicBezTo>
                  <a:cubicBezTo>
                    <a:pt x="8626" y="3616"/>
                    <a:pt x="8632" y="3638"/>
                    <a:pt x="8632" y="3642"/>
                  </a:cubicBezTo>
                  <a:cubicBezTo>
                    <a:pt x="8632" y="3647"/>
                    <a:pt x="8637" y="3662"/>
                    <a:pt x="8642" y="3658"/>
                  </a:cubicBezTo>
                  <a:close/>
                  <a:moveTo>
                    <a:pt x="8852" y="3686"/>
                  </a:moveTo>
                  <a:cubicBezTo>
                    <a:pt x="8851" y="3679"/>
                    <a:pt x="8850" y="3673"/>
                    <a:pt x="8844" y="3675"/>
                  </a:cubicBezTo>
                  <a:cubicBezTo>
                    <a:pt x="8844" y="3675"/>
                    <a:pt x="8842" y="3689"/>
                    <a:pt x="8833" y="3691"/>
                  </a:cubicBezTo>
                  <a:cubicBezTo>
                    <a:pt x="8824" y="3694"/>
                    <a:pt x="8823" y="3696"/>
                    <a:pt x="8816" y="3699"/>
                  </a:cubicBezTo>
                  <a:cubicBezTo>
                    <a:pt x="8809" y="3703"/>
                    <a:pt x="8812" y="3705"/>
                    <a:pt x="8804" y="3709"/>
                  </a:cubicBezTo>
                  <a:cubicBezTo>
                    <a:pt x="8796" y="3714"/>
                    <a:pt x="8801" y="3714"/>
                    <a:pt x="8797" y="3721"/>
                  </a:cubicBezTo>
                  <a:cubicBezTo>
                    <a:pt x="8792" y="3728"/>
                    <a:pt x="8793" y="3736"/>
                    <a:pt x="8793" y="3736"/>
                  </a:cubicBezTo>
                  <a:cubicBezTo>
                    <a:pt x="8793" y="3736"/>
                    <a:pt x="8794" y="3748"/>
                    <a:pt x="8802" y="3749"/>
                  </a:cubicBezTo>
                  <a:cubicBezTo>
                    <a:pt x="8810" y="3750"/>
                    <a:pt x="8812" y="3753"/>
                    <a:pt x="8818" y="3753"/>
                  </a:cubicBezTo>
                  <a:cubicBezTo>
                    <a:pt x="8825" y="3753"/>
                    <a:pt x="8830" y="3745"/>
                    <a:pt x="8833" y="3741"/>
                  </a:cubicBezTo>
                  <a:cubicBezTo>
                    <a:pt x="8837" y="3738"/>
                    <a:pt x="8838" y="3737"/>
                    <a:pt x="8841" y="3729"/>
                  </a:cubicBezTo>
                  <a:cubicBezTo>
                    <a:pt x="8844" y="3721"/>
                    <a:pt x="8849" y="3713"/>
                    <a:pt x="8847" y="3707"/>
                  </a:cubicBezTo>
                  <a:cubicBezTo>
                    <a:pt x="8844" y="3701"/>
                    <a:pt x="8846" y="3701"/>
                    <a:pt x="8847" y="3697"/>
                  </a:cubicBezTo>
                  <a:cubicBezTo>
                    <a:pt x="8848" y="3692"/>
                    <a:pt x="8854" y="3692"/>
                    <a:pt x="8852" y="3686"/>
                  </a:cubicBezTo>
                  <a:close/>
                  <a:moveTo>
                    <a:pt x="8516" y="3716"/>
                  </a:moveTo>
                  <a:cubicBezTo>
                    <a:pt x="8524" y="3715"/>
                    <a:pt x="8531" y="3712"/>
                    <a:pt x="8533" y="3721"/>
                  </a:cubicBezTo>
                  <a:cubicBezTo>
                    <a:pt x="8535" y="3730"/>
                    <a:pt x="8532" y="3736"/>
                    <a:pt x="8539" y="3738"/>
                  </a:cubicBezTo>
                  <a:cubicBezTo>
                    <a:pt x="8545" y="3740"/>
                    <a:pt x="8551" y="3739"/>
                    <a:pt x="8557" y="3740"/>
                  </a:cubicBezTo>
                  <a:cubicBezTo>
                    <a:pt x="8562" y="3741"/>
                    <a:pt x="8567" y="3733"/>
                    <a:pt x="8573" y="3734"/>
                  </a:cubicBezTo>
                  <a:cubicBezTo>
                    <a:pt x="8578" y="3736"/>
                    <a:pt x="8579" y="3736"/>
                    <a:pt x="8585" y="3737"/>
                  </a:cubicBezTo>
                  <a:cubicBezTo>
                    <a:pt x="8591" y="3738"/>
                    <a:pt x="8598" y="3733"/>
                    <a:pt x="8601" y="3729"/>
                  </a:cubicBezTo>
                  <a:cubicBezTo>
                    <a:pt x="8605" y="3724"/>
                    <a:pt x="8607" y="3722"/>
                    <a:pt x="8608" y="3717"/>
                  </a:cubicBezTo>
                  <a:cubicBezTo>
                    <a:pt x="8609" y="3713"/>
                    <a:pt x="8609" y="3705"/>
                    <a:pt x="8600" y="3704"/>
                  </a:cubicBezTo>
                  <a:cubicBezTo>
                    <a:pt x="8591" y="3703"/>
                    <a:pt x="8592" y="3705"/>
                    <a:pt x="8584" y="3705"/>
                  </a:cubicBezTo>
                  <a:cubicBezTo>
                    <a:pt x="8576" y="3705"/>
                    <a:pt x="8575" y="3714"/>
                    <a:pt x="8569" y="3707"/>
                  </a:cubicBezTo>
                  <a:cubicBezTo>
                    <a:pt x="8564" y="3700"/>
                    <a:pt x="8562" y="3699"/>
                    <a:pt x="8557" y="3695"/>
                  </a:cubicBezTo>
                  <a:cubicBezTo>
                    <a:pt x="8551" y="3690"/>
                    <a:pt x="8548" y="3690"/>
                    <a:pt x="8541" y="3689"/>
                  </a:cubicBezTo>
                  <a:cubicBezTo>
                    <a:pt x="8534" y="3688"/>
                    <a:pt x="8521" y="3691"/>
                    <a:pt x="8518" y="3688"/>
                  </a:cubicBezTo>
                  <a:cubicBezTo>
                    <a:pt x="8515" y="3684"/>
                    <a:pt x="8509" y="3684"/>
                    <a:pt x="8503" y="3682"/>
                  </a:cubicBezTo>
                  <a:cubicBezTo>
                    <a:pt x="8498" y="3680"/>
                    <a:pt x="8489" y="3676"/>
                    <a:pt x="8485" y="3674"/>
                  </a:cubicBezTo>
                  <a:cubicBezTo>
                    <a:pt x="8482" y="3672"/>
                    <a:pt x="8478" y="3672"/>
                    <a:pt x="8478" y="3672"/>
                  </a:cubicBezTo>
                  <a:cubicBezTo>
                    <a:pt x="8478" y="3672"/>
                    <a:pt x="8473" y="3680"/>
                    <a:pt x="8474" y="3689"/>
                  </a:cubicBezTo>
                  <a:cubicBezTo>
                    <a:pt x="8475" y="3698"/>
                    <a:pt x="8476" y="3707"/>
                    <a:pt x="8486" y="3709"/>
                  </a:cubicBezTo>
                  <a:cubicBezTo>
                    <a:pt x="8496" y="3712"/>
                    <a:pt x="8508" y="3717"/>
                    <a:pt x="8516" y="3716"/>
                  </a:cubicBezTo>
                  <a:close/>
                  <a:moveTo>
                    <a:pt x="3543" y="2599"/>
                  </a:moveTo>
                  <a:cubicBezTo>
                    <a:pt x="3543" y="2599"/>
                    <a:pt x="3543" y="2593"/>
                    <a:pt x="3551" y="2593"/>
                  </a:cubicBezTo>
                  <a:cubicBezTo>
                    <a:pt x="3559" y="2593"/>
                    <a:pt x="3556" y="2586"/>
                    <a:pt x="3560" y="2584"/>
                  </a:cubicBezTo>
                  <a:cubicBezTo>
                    <a:pt x="3565" y="2581"/>
                    <a:pt x="3576" y="2585"/>
                    <a:pt x="3578" y="2576"/>
                  </a:cubicBezTo>
                  <a:cubicBezTo>
                    <a:pt x="3580" y="2567"/>
                    <a:pt x="3570" y="2563"/>
                    <a:pt x="3571" y="2559"/>
                  </a:cubicBezTo>
                  <a:cubicBezTo>
                    <a:pt x="3572" y="2556"/>
                    <a:pt x="3567" y="2546"/>
                    <a:pt x="3560" y="2546"/>
                  </a:cubicBezTo>
                  <a:cubicBezTo>
                    <a:pt x="3554" y="2546"/>
                    <a:pt x="3553" y="2547"/>
                    <a:pt x="3546" y="2547"/>
                  </a:cubicBezTo>
                  <a:cubicBezTo>
                    <a:pt x="3540" y="2547"/>
                    <a:pt x="3523" y="2548"/>
                    <a:pt x="3518" y="2546"/>
                  </a:cubicBezTo>
                  <a:cubicBezTo>
                    <a:pt x="3514" y="2544"/>
                    <a:pt x="3504" y="2544"/>
                    <a:pt x="3498" y="2543"/>
                  </a:cubicBezTo>
                  <a:cubicBezTo>
                    <a:pt x="3491" y="2543"/>
                    <a:pt x="3483" y="2544"/>
                    <a:pt x="3480" y="2545"/>
                  </a:cubicBezTo>
                  <a:cubicBezTo>
                    <a:pt x="3477" y="2546"/>
                    <a:pt x="3470" y="2549"/>
                    <a:pt x="3465" y="2554"/>
                  </a:cubicBezTo>
                  <a:cubicBezTo>
                    <a:pt x="3461" y="2558"/>
                    <a:pt x="3460" y="2558"/>
                    <a:pt x="3458" y="2561"/>
                  </a:cubicBezTo>
                  <a:cubicBezTo>
                    <a:pt x="3456" y="2564"/>
                    <a:pt x="3455" y="2568"/>
                    <a:pt x="3451" y="2569"/>
                  </a:cubicBezTo>
                  <a:cubicBezTo>
                    <a:pt x="3447" y="2570"/>
                    <a:pt x="3446" y="2565"/>
                    <a:pt x="3444" y="2571"/>
                  </a:cubicBezTo>
                  <a:cubicBezTo>
                    <a:pt x="3442" y="2578"/>
                    <a:pt x="3441" y="2595"/>
                    <a:pt x="3435" y="2585"/>
                  </a:cubicBezTo>
                  <a:cubicBezTo>
                    <a:pt x="3430" y="2576"/>
                    <a:pt x="3429" y="2568"/>
                    <a:pt x="3435" y="2565"/>
                  </a:cubicBezTo>
                  <a:cubicBezTo>
                    <a:pt x="3442" y="2562"/>
                    <a:pt x="3439" y="2553"/>
                    <a:pt x="3437" y="2549"/>
                  </a:cubicBezTo>
                  <a:cubicBezTo>
                    <a:pt x="3435" y="2545"/>
                    <a:pt x="3440" y="2544"/>
                    <a:pt x="3431" y="2544"/>
                  </a:cubicBezTo>
                  <a:cubicBezTo>
                    <a:pt x="3421" y="2544"/>
                    <a:pt x="3414" y="2552"/>
                    <a:pt x="3411" y="2546"/>
                  </a:cubicBezTo>
                  <a:cubicBezTo>
                    <a:pt x="3408" y="2541"/>
                    <a:pt x="3400" y="2534"/>
                    <a:pt x="3405" y="2532"/>
                  </a:cubicBezTo>
                  <a:cubicBezTo>
                    <a:pt x="3409" y="2530"/>
                    <a:pt x="3417" y="2521"/>
                    <a:pt x="3419" y="2517"/>
                  </a:cubicBezTo>
                  <a:cubicBezTo>
                    <a:pt x="3420" y="2514"/>
                    <a:pt x="3432" y="2511"/>
                    <a:pt x="3419" y="2508"/>
                  </a:cubicBezTo>
                  <a:cubicBezTo>
                    <a:pt x="3406" y="2505"/>
                    <a:pt x="3402" y="2505"/>
                    <a:pt x="3399" y="2501"/>
                  </a:cubicBezTo>
                  <a:cubicBezTo>
                    <a:pt x="3396" y="2496"/>
                    <a:pt x="3393" y="2490"/>
                    <a:pt x="3389" y="2493"/>
                  </a:cubicBezTo>
                  <a:cubicBezTo>
                    <a:pt x="3384" y="2496"/>
                    <a:pt x="3379" y="2500"/>
                    <a:pt x="3379" y="2505"/>
                  </a:cubicBezTo>
                  <a:cubicBezTo>
                    <a:pt x="3379" y="2511"/>
                    <a:pt x="3373" y="2525"/>
                    <a:pt x="3365" y="2521"/>
                  </a:cubicBezTo>
                  <a:cubicBezTo>
                    <a:pt x="3358" y="2517"/>
                    <a:pt x="3353" y="2516"/>
                    <a:pt x="3353" y="2512"/>
                  </a:cubicBezTo>
                  <a:cubicBezTo>
                    <a:pt x="3353" y="2508"/>
                    <a:pt x="3351" y="2503"/>
                    <a:pt x="3357" y="2499"/>
                  </a:cubicBezTo>
                  <a:cubicBezTo>
                    <a:pt x="3364" y="2494"/>
                    <a:pt x="3365" y="2494"/>
                    <a:pt x="3372" y="2488"/>
                  </a:cubicBezTo>
                  <a:cubicBezTo>
                    <a:pt x="3379" y="2483"/>
                    <a:pt x="3379" y="2472"/>
                    <a:pt x="3384" y="2469"/>
                  </a:cubicBezTo>
                  <a:cubicBezTo>
                    <a:pt x="3390" y="2466"/>
                    <a:pt x="3393" y="2466"/>
                    <a:pt x="3402" y="2459"/>
                  </a:cubicBezTo>
                  <a:cubicBezTo>
                    <a:pt x="3410" y="2451"/>
                    <a:pt x="3413" y="2451"/>
                    <a:pt x="3414" y="2443"/>
                  </a:cubicBezTo>
                  <a:cubicBezTo>
                    <a:pt x="3415" y="2434"/>
                    <a:pt x="3411" y="2427"/>
                    <a:pt x="3420" y="2427"/>
                  </a:cubicBezTo>
                  <a:cubicBezTo>
                    <a:pt x="3428" y="2427"/>
                    <a:pt x="3433" y="2427"/>
                    <a:pt x="3436" y="2420"/>
                  </a:cubicBezTo>
                  <a:cubicBezTo>
                    <a:pt x="3440" y="2414"/>
                    <a:pt x="3427" y="2405"/>
                    <a:pt x="3432" y="2404"/>
                  </a:cubicBezTo>
                  <a:cubicBezTo>
                    <a:pt x="3436" y="2402"/>
                    <a:pt x="3434" y="2396"/>
                    <a:pt x="3442" y="2392"/>
                  </a:cubicBezTo>
                  <a:cubicBezTo>
                    <a:pt x="3450" y="2387"/>
                    <a:pt x="3452" y="2382"/>
                    <a:pt x="3451" y="2378"/>
                  </a:cubicBezTo>
                  <a:cubicBezTo>
                    <a:pt x="3450" y="2373"/>
                    <a:pt x="3450" y="2373"/>
                    <a:pt x="3437" y="2377"/>
                  </a:cubicBezTo>
                  <a:cubicBezTo>
                    <a:pt x="3434" y="2378"/>
                    <a:pt x="3421" y="2387"/>
                    <a:pt x="3407" y="2387"/>
                  </a:cubicBezTo>
                  <a:cubicBezTo>
                    <a:pt x="3393" y="2387"/>
                    <a:pt x="3392" y="2388"/>
                    <a:pt x="3385" y="2391"/>
                  </a:cubicBezTo>
                  <a:cubicBezTo>
                    <a:pt x="3378" y="2393"/>
                    <a:pt x="3371" y="2396"/>
                    <a:pt x="3367" y="2402"/>
                  </a:cubicBezTo>
                  <a:cubicBezTo>
                    <a:pt x="3364" y="2407"/>
                    <a:pt x="3363" y="2408"/>
                    <a:pt x="3358" y="2413"/>
                  </a:cubicBezTo>
                  <a:cubicBezTo>
                    <a:pt x="3353" y="2418"/>
                    <a:pt x="3347" y="2428"/>
                    <a:pt x="3344" y="2432"/>
                  </a:cubicBezTo>
                  <a:cubicBezTo>
                    <a:pt x="3341" y="2435"/>
                    <a:pt x="3342" y="2441"/>
                    <a:pt x="3337" y="2446"/>
                  </a:cubicBezTo>
                  <a:cubicBezTo>
                    <a:pt x="3331" y="2450"/>
                    <a:pt x="3323" y="2462"/>
                    <a:pt x="3320" y="2465"/>
                  </a:cubicBezTo>
                  <a:cubicBezTo>
                    <a:pt x="3316" y="2468"/>
                    <a:pt x="3310" y="2479"/>
                    <a:pt x="3306" y="2481"/>
                  </a:cubicBezTo>
                  <a:cubicBezTo>
                    <a:pt x="3301" y="2483"/>
                    <a:pt x="3297" y="2490"/>
                    <a:pt x="3293" y="2494"/>
                  </a:cubicBezTo>
                  <a:cubicBezTo>
                    <a:pt x="3288" y="2498"/>
                    <a:pt x="3282" y="2507"/>
                    <a:pt x="3277" y="2514"/>
                  </a:cubicBezTo>
                  <a:cubicBezTo>
                    <a:pt x="3272" y="2520"/>
                    <a:pt x="3267" y="2530"/>
                    <a:pt x="3264" y="2536"/>
                  </a:cubicBezTo>
                  <a:cubicBezTo>
                    <a:pt x="3261" y="2542"/>
                    <a:pt x="3258" y="2549"/>
                    <a:pt x="3254" y="2552"/>
                  </a:cubicBezTo>
                  <a:cubicBezTo>
                    <a:pt x="3249" y="2555"/>
                    <a:pt x="3245" y="2553"/>
                    <a:pt x="3240" y="2556"/>
                  </a:cubicBezTo>
                  <a:cubicBezTo>
                    <a:pt x="3236" y="2558"/>
                    <a:pt x="3230" y="2567"/>
                    <a:pt x="3235" y="2569"/>
                  </a:cubicBezTo>
                  <a:cubicBezTo>
                    <a:pt x="3240" y="2571"/>
                    <a:pt x="3245" y="2566"/>
                    <a:pt x="3248" y="2571"/>
                  </a:cubicBezTo>
                  <a:cubicBezTo>
                    <a:pt x="3251" y="2577"/>
                    <a:pt x="3254" y="2584"/>
                    <a:pt x="3253" y="2586"/>
                  </a:cubicBezTo>
                  <a:cubicBezTo>
                    <a:pt x="3251" y="2589"/>
                    <a:pt x="3244" y="2599"/>
                    <a:pt x="3240" y="2594"/>
                  </a:cubicBezTo>
                  <a:cubicBezTo>
                    <a:pt x="3235" y="2588"/>
                    <a:pt x="3230" y="2584"/>
                    <a:pt x="3224" y="2587"/>
                  </a:cubicBezTo>
                  <a:cubicBezTo>
                    <a:pt x="3217" y="2591"/>
                    <a:pt x="3215" y="2598"/>
                    <a:pt x="3213" y="2602"/>
                  </a:cubicBezTo>
                  <a:cubicBezTo>
                    <a:pt x="3212" y="2607"/>
                    <a:pt x="3216" y="2620"/>
                    <a:pt x="3205" y="2618"/>
                  </a:cubicBezTo>
                  <a:cubicBezTo>
                    <a:pt x="3194" y="2616"/>
                    <a:pt x="3185" y="2617"/>
                    <a:pt x="3185" y="2617"/>
                  </a:cubicBezTo>
                  <a:cubicBezTo>
                    <a:pt x="3185" y="2617"/>
                    <a:pt x="3179" y="2619"/>
                    <a:pt x="3177" y="2623"/>
                  </a:cubicBezTo>
                  <a:cubicBezTo>
                    <a:pt x="3175" y="2626"/>
                    <a:pt x="3180" y="2640"/>
                    <a:pt x="3180" y="2640"/>
                  </a:cubicBezTo>
                  <a:cubicBezTo>
                    <a:pt x="3180" y="2640"/>
                    <a:pt x="3196" y="2643"/>
                    <a:pt x="3181" y="2648"/>
                  </a:cubicBezTo>
                  <a:cubicBezTo>
                    <a:pt x="3166" y="2653"/>
                    <a:pt x="3164" y="2653"/>
                    <a:pt x="3158" y="2661"/>
                  </a:cubicBezTo>
                  <a:cubicBezTo>
                    <a:pt x="3153" y="2669"/>
                    <a:pt x="3146" y="2671"/>
                    <a:pt x="3149" y="2681"/>
                  </a:cubicBezTo>
                  <a:cubicBezTo>
                    <a:pt x="3152" y="2692"/>
                    <a:pt x="3148" y="2699"/>
                    <a:pt x="3156" y="2703"/>
                  </a:cubicBezTo>
                  <a:cubicBezTo>
                    <a:pt x="3163" y="2707"/>
                    <a:pt x="3163" y="2713"/>
                    <a:pt x="3170" y="2710"/>
                  </a:cubicBezTo>
                  <a:cubicBezTo>
                    <a:pt x="3176" y="2708"/>
                    <a:pt x="3176" y="2703"/>
                    <a:pt x="3185" y="2705"/>
                  </a:cubicBezTo>
                  <a:cubicBezTo>
                    <a:pt x="3195" y="2707"/>
                    <a:pt x="3196" y="2705"/>
                    <a:pt x="3209" y="2707"/>
                  </a:cubicBezTo>
                  <a:cubicBezTo>
                    <a:pt x="3222" y="2709"/>
                    <a:pt x="3229" y="2711"/>
                    <a:pt x="3242" y="2710"/>
                  </a:cubicBezTo>
                  <a:cubicBezTo>
                    <a:pt x="3255" y="2709"/>
                    <a:pt x="3257" y="2713"/>
                    <a:pt x="3268" y="2709"/>
                  </a:cubicBezTo>
                  <a:cubicBezTo>
                    <a:pt x="3278" y="2704"/>
                    <a:pt x="3275" y="2698"/>
                    <a:pt x="3289" y="2702"/>
                  </a:cubicBezTo>
                  <a:cubicBezTo>
                    <a:pt x="3303" y="2706"/>
                    <a:pt x="3299" y="2709"/>
                    <a:pt x="3316" y="2709"/>
                  </a:cubicBezTo>
                  <a:cubicBezTo>
                    <a:pt x="3333" y="2710"/>
                    <a:pt x="3336" y="2713"/>
                    <a:pt x="3344" y="2709"/>
                  </a:cubicBezTo>
                  <a:cubicBezTo>
                    <a:pt x="3352" y="2704"/>
                    <a:pt x="3357" y="2698"/>
                    <a:pt x="3364" y="2694"/>
                  </a:cubicBezTo>
                  <a:cubicBezTo>
                    <a:pt x="3370" y="2689"/>
                    <a:pt x="3385" y="2687"/>
                    <a:pt x="3386" y="2690"/>
                  </a:cubicBezTo>
                  <a:cubicBezTo>
                    <a:pt x="3387" y="2693"/>
                    <a:pt x="3384" y="2703"/>
                    <a:pt x="3391" y="2705"/>
                  </a:cubicBezTo>
                  <a:cubicBezTo>
                    <a:pt x="3397" y="2707"/>
                    <a:pt x="3404" y="2712"/>
                    <a:pt x="3409" y="2712"/>
                  </a:cubicBezTo>
                  <a:cubicBezTo>
                    <a:pt x="3415" y="2712"/>
                    <a:pt x="3421" y="2702"/>
                    <a:pt x="3427" y="2703"/>
                  </a:cubicBezTo>
                  <a:cubicBezTo>
                    <a:pt x="3433" y="2704"/>
                    <a:pt x="3421" y="2719"/>
                    <a:pt x="3421" y="2719"/>
                  </a:cubicBezTo>
                  <a:cubicBezTo>
                    <a:pt x="3421" y="2719"/>
                    <a:pt x="3416" y="2735"/>
                    <a:pt x="3406" y="2737"/>
                  </a:cubicBezTo>
                  <a:cubicBezTo>
                    <a:pt x="3395" y="2740"/>
                    <a:pt x="3398" y="2742"/>
                    <a:pt x="3389" y="2745"/>
                  </a:cubicBezTo>
                  <a:cubicBezTo>
                    <a:pt x="3379" y="2748"/>
                    <a:pt x="3373" y="2745"/>
                    <a:pt x="3372" y="2751"/>
                  </a:cubicBezTo>
                  <a:cubicBezTo>
                    <a:pt x="3371" y="2758"/>
                    <a:pt x="3364" y="2765"/>
                    <a:pt x="3371" y="2767"/>
                  </a:cubicBezTo>
                  <a:cubicBezTo>
                    <a:pt x="3379" y="2769"/>
                    <a:pt x="3384" y="2773"/>
                    <a:pt x="3395" y="2774"/>
                  </a:cubicBezTo>
                  <a:cubicBezTo>
                    <a:pt x="3406" y="2775"/>
                    <a:pt x="3416" y="2775"/>
                    <a:pt x="3420" y="2769"/>
                  </a:cubicBezTo>
                  <a:cubicBezTo>
                    <a:pt x="3425" y="2764"/>
                    <a:pt x="3428" y="2759"/>
                    <a:pt x="3430" y="2752"/>
                  </a:cubicBezTo>
                  <a:cubicBezTo>
                    <a:pt x="3432" y="2746"/>
                    <a:pt x="3430" y="2740"/>
                    <a:pt x="3439" y="2740"/>
                  </a:cubicBezTo>
                  <a:cubicBezTo>
                    <a:pt x="3448" y="2740"/>
                    <a:pt x="3453" y="2737"/>
                    <a:pt x="3455" y="2734"/>
                  </a:cubicBezTo>
                  <a:cubicBezTo>
                    <a:pt x="3457" y="2730"/>
                    <a:pt x="3453" y="2721"/>
                    <a:pt x="3459" y="2719"/>
                  </a:cubicBezTo>
                  <a:cubicBezTo>
                    <a:pt x="3464" y="2717"/>
                    <a:pt x="3473" y="2721"/>
                    <a:pt x="3475" y="2719"/>
                  </a:cubicBezTo>
                  <a:cubicBezTo>
                    <a:pt x="3478" y="2717"/>
                    <a:pt x="3485" y="2710"/>
                    <a:pt x="3489" y="2706"/>
                  </a:cubicBezTo>
                  <a:cubicBezTo>
                    <a:pt x="3494" y="2701"/>
                    <a:pt x="3497" y="2690"/>
                    <a:pt x="3502" y="2689"/>
                  </a:cubicBezTo>
                  <a:cubicBezTo>
                    <a:pt x="3506" y="2688"/>
                    <a:pt x="3515" y="2687"/>
                    <a:pt x="3516" y="2691"/>
                  </a:cubicBezTo>
                  <a:cubicBezTo>
                    <a:pt x="3516" y="2695"/>
                    <a:pt x="3523" y="2694"/>
                    <a:pt x="3519" y="2699"/>
                  </a:cubicBezTo>
                  <a:cubicBezTo>
                    <a:pt x="3516" y="2705"/>
                    <a:pt x="3507" y="2720"/>
                    <a:pt x="3505" y="2723"/>
                  </a:cubicBezTo>
                  <a:cubicBezTo>
                    <a:pt x="3503" y="2725"/>
                    <a:pt x="3515" y="2734"/>
                    <a:pt x="3504" y="2738"/>
                  </a:cubicBezTo>
                  <a:cubicBezTo>
                    <a:pt x="3494" y="2743"/>
                    <a:pt x="3493" y="2744"/>
                    <a:pt x="3493" y="2750"/>
                  </a:cubicBezTo>
                  <a:cubicBezTo>
                    <a:pt x="3493" y="2755"/>
                    <a:pt x="3491" y="2764"/>
                    <a:pt x="3503" y="2770"/>
                  </a:cubicBezTo>
                  <a:cubicBezTo>
                    <a:pt x="3514" y="2776"/>
                    <a:pt x="3519" y="2779"/>
                    <a:pt x="3521" y="2772"/>
                  </a:cubicBezTo>
                  <a:cubicBezTo>
                    <a:pt x="3523" y="2764"/>
                    <a:pt x="3527" y="2751"/>
                    <a:pt x="3531" y="2752"/>
                  </a:cubicBezTo>
                  <a:cubicBezTo>
                    <a:pt x="3536" y="2753"/>
                    <a:pt x="3543" y="2750"/>
                    <a:pt x="3540" y="2758"/>
                  </a:cubicBezTo>
                  <a:cubicBezTo>
                    <a:pt x="3537" y="2766"/>
                    <a:pt x="3533" y="2771"/>
                    <a:pt x="3540" y="2777"/>
                  </a:cubicBezTo>
                  <a:cubicBezTo>
                    <a:pt x="3546" y="2782"/>
                    <a:pt x="3544" y="2785"/>
                    <a:pt x="3553" y="2785"/>
                  </a:cubicBezTo>
                  <a:cubicBezTo>
                    <a:pt x="3561" y="2785"/>
                    <a:pt x="3561" y="2792"/>
                    <a:pt x="3570" y="2787"/>
                  </a:cubicBezTo>
                  <a:cubicBezTo>
                    <a:pt x="3578" y="2782"/>
                    <a:pt x="3585" y="2791"/>
                    <a:pt x="3587" y="2778"/>
                  </a:cubicBezTo>
                  <a:cubicBezTo>
                    <a:pt x="3590" y="2766"/>
                    <a:pt x="3587" y="2759"/>
                    <a:pt x="3588" y="2753"/>
                  </a:cubicBezTo>
                  <a:cubicBezTo>
                    <a:pt x="3589" y="2748"/>
                    <a:pt x="3588" y="2750"/>
                    <a:pt x="3595" y="2744"/>
                  </a:cubicBezTo>
                  <a:cubicBezTo>
                    <a:pt x="3601" y="2737"/>
                    <a:pt x="3603" y="2734"/>
                    <a:pt x="3602" y="2727"/>
                  </a:cubicBezTo>
                  <a:cubicBezTo>
                    <a:pt x="3601" y="2721"/>
                    <a:pt x="3592" y="2729"/>
                    <a:pt x="3601" y="2721"/>
                  </a:cubicBezTo>
                  <a:cubicBezTo>
                    <a:pt x="3611" y="2712"/>
                    <a:pt x="3611" y="2715"/>
                    <a:pt x="3612" y="2707"/>
                  </a:cubicBezTo>
                  <a:cubicBezTo>
                    <a:pt x="3613" y="2698"/>
                    <a:pt x="3613" y="2696"/>
                    <a:pt x="3610" y="2691"/>
                  </a:cubicBezTo>
                  <a:cubicBezTo>
                    <a:pt x="3607" y="2685"/>
                    <a:pt x="3601" y="2681"/>
                    <a:pt x="3599" y="2682"/>
                  </a:cubicBezTo>
                  <a:cubicBezTo>
                    <a:pt x="3596" y="2684"/>
                    <a:pt x="3589" y="2694"/>
                    <a:pt x="3589" y="2694"/>
                  </a:cubicBezTo>
                  <a:cubicBezTo>
                    <a:pt x="3589" y="2694"/>
                    <a:pt x="3593" y="2707"/>
                    <a:pt x="3584" y="2703"/>
                  </a:cubicBezTo>
                  <a:cubicBezTo>
                    <a:pt x="3574" y="2699"/>
                    <a:pt x="3573" y="2696"/>
                    <a:pt x="3574" y="2694"/>
                  </a:cubicBezTo>
                  <a:cubicBezTo>
                    <a:pt x="3575" y="2691"/>
                    <a:pt x="3579" y="2692"/>
                    <a:pt x="3585" y="2683"/>
                  </a:cubicBezTo>
                  <a:cubicBezTo>
                    <a:pt x="3590" y="2675"/>
                    <a:pt x="3593" y="2672"/>
                    <a:pt x="3594" y="2668"/>
                  </a:cubicBezTo>
                  <a:cubicBezTo>
                    <a:pt x="3595" y="2663"/>
                    <a:pt x="3597" y="2654"/>
                    <a:pt x="3594" y="2653"/>
                  </a:cubicBezTo>
                  <a:cubicBezTo>
                    <a:pt x="3591" y="2651"/>
                    <a:pt x="3591" y="2648"/>
                    <a:pt x="3586" y="2651"/>
                  </a:cubicBezTo>
                  <a:cubicBezTo>
                    <a:pt x="3582" y="2654"/>
                    <a:pt x="3578" y="2653"/>
                    <a:pt x="3577" y="2661"/>
                  </a:cubicBezTo>
                  <a:cubicBezTo>
                    <a:pt x="3576" y="2669"/>
                    <a:pt x="3585" y="2666"/>
                    <a:pt x="3576" y="2669"/>
                  </a:cubicBezTo>
                  <a:cubicBezTo>
                    <a:pt x="3567" y="2673"/>
                    <a:pt x="3567" y="2672"/>
                    <a:pt x="3561" y="2676"/>
                  </a:cubicBezTo>
                  <a:cubicBezTo>
                    <a:pt x="3556" y="2680"/>
                    <a:pt x="3555" y="2682"/>
                    <a:pt x="3554" y="2687"/>
                  </a:cubicBezTo>
                  <a:cubicBezTo>
                    <a:pt x="3553" y="2692"/>
                    <a:pt x="3559" y="2693"/>
                    <a:pt x="3549" y="2695"/>
                  </a:cubicBezTo>
                  <a:cubicBezTo>
                    <a:pt x="3539" y="2696"/>
                    <a:pt x="3537" y="2699"/>
                    <a:pt x="3535" y="2694"/>
                  </a:cubicBezTo>
                  <a:cubicBezTo>
                    <a:pt x="3533" y="2688"/>
                    <a:pt x="3534" y="2681"/>
                    <a:pt x="3539" y="2678"/>
                  </a:cubicBezTo>
                  <a:cubicBezTo>
                    <a:pt x="3544" y="2675"/>
                    <a:pt x="3555" y="2671"/>
                    <a:pt x="3550" y="2665"/>
                  </a:cubicBezTo>
                  <a:cubicBezTo>
                    <a:pt x="3545" y="2658"/>
                    <a:pt x="3543" y="2654"/>
                    <a:pt x="3547" y="2654"/>
                  </a:cubicBezTo>
                  <a:cubicBezTo>
                    <a:pt x="3552" y="2653"/>
                    <a:pt x="3555" y="2648"/>
                    <a:pt x="3560" y="2644"/>
                  </a:cubicBezTo>
                  <a:cubicBezTo>
                    <a:pt x="3566" y="2640"/>
                    <a:pt x="3561" y="2633"/>
                    <a:pt x="3570" y="2635"/>
                  </a:cubicBezTo>
                  <a:cubicBezTo>
                    <a:pt x="3578" y="2637"/>
                    <a:pt x="3579" y="2639"/>
                    <a:pt x="3585" y="2633"/>
                  </a:cubicBezTo>
                  <a:cubicBezTo>
                    <a:pt x="3592" y="2627"/>
                    <a:pt x="3595" y="2629"/>
                    <a:pt x="3592" y="2624"/>
                  </a:cubicBezTo>
                  <a:cubicBezTo>
                    <a:pt x="3589" y="2618"/>
                    <a:pt x="3589" y="2615"/>
                    <a:pt x="3585" y="2613"/>
                  </a:cubicBezTo>
                  <a:cubicBezTo>
                    <a:pt x="3580" y="2612"/>
                    <a:pt x="3577" y="2605"/>
                    <a:pt x="3574" y="2609"/>
                  </a:cubicBezTo>
                  <a:cubicBezTo>
                    <a:pt x="3572" y="2612"/>
                    <a:pt x="3572" y="2618"/>
                    <a:pt x="3568" y="2619"/>
                  </a:cubicBezTo>
                  <a:cubicBezTo>
                    <a:pt x="3564" y="2620"/>
                    <a:pt x="3558" y="2624"/>
                    <a:pt x="3555" y="2623"/>
                  </a:cubicBezTo>
                  <a:cubicBezTo>
                    <a:pt x="3552" y="2622"/>
                    <a:pt x="3542" y="2622"/>
                    <a:pt x="3542" y="2622"/>
                  </a:cubicBezTo>
                  <a:cubicBezTo>
                    <a:pt x="3542" y="2622"/>
                    <a:pt x="3538" y="2618"/>
                    <a:pt x="3537" y="2615"/>
                  </a:cubicBezTo>
                  <a:cubicBezTo>
                    <a:pt x="3536" y="2612"/>
                    <a:pt x="3533" y="2604"/>
                    <a:pt x="3536" y="2602"/>
                  </a:cubicBezTo>
                  <a:cubicBezTo>
                    <a:pt x="3539" y="2600"/>
                    <a:pt x="3543" y="2599"/>
                    <a:pt x="3543" y="2599"/>
                  </a:cubicBezTo>
                  <a:close/>
                  <a:moveTo>
                    <a:pt x="2218" y="1430"/>
                  </a:moveTo>
                  <a:cubicBezTo>
                    <a:pt x="2204" y="1432"/>
                    <a:pt x="2201" y="1439"/>
                    <a:pt x="2193" y="1441"/>
                  </a:cubicBezTo>
                  <a:cubicBezTo>
                    <a:pt x="2177" y="1447"/>
                    <a:pt x="2166" y="1452"/>
                    <a:pt x="2155" y="1452"/>
                  </a:cubicBezTo>
                  <a:cubicBezTo>
                    <a:pt x="2144" y="1452"/>
                    <a:pt x="2135" y="1460"/>
                    <a:pt x="2132" y="1465"/>
                  </a:cubicBezTo>
                  <a:cubicBezTo>
                    <a:pt x="2130" y="1471"/>
                    <a:pt x="2127" y="1472"/>
                    <a:pt x="2123" y="1478"/>
                  </a:cubicBezTo>
                  <a:cubicBezTo>
                    <a:pt x="2119" y="1485"/>
                    <a:pt x="2113" y="1497"/>
                    <a:pt x="2123" y="1501"/>
                  </a:cubicBezTo>
                  <a:cubicBezTo>
                    <a:pt x="2134" y="1505"/>
                    <a:pt x="2147" y="1512"/>
                    <a:pt x="2156" y="1508"/>
                  </a:cubicBezTo>
                  <a:cubicBezTo>
                    <a:pt x="2166" y="1504"/>
                    <a:pt x="2175" y="1488"/>
                    <a:pt x="2180" y="1485"/>
                  </a:cubicBezTo>
                  <a:cubicBezTo>
                    <a:pt x="2185" y="1482"/>
                    <a:pt x="2192" y="1485"/>
                    <a:pt x="2200" y="1482"/>
                  </a:cubicBezTo>
                  <a:cubicBezTo>
                    <a:pt x="2208" y="1480"/>
                    <a:pt x="2213" y="1477"/>
                    <a:pt x="2222" y="1472"/>
                  </a:cubicBezTo>
                  <a:cubicBezTo>
                    <a:pt x="2232" y="1467"/>
                    <a:pt x="2230" y="1460"/>
                    <a:pt x="2236" y="1453"/>
                  </a:cubicBezTo>
                  <a:cubicBezTo>
                    <a:pt x="2241" y="1447"/>
                    <a:pt x="2242" y="1435"/>
                    <a:pt x="2237" y="1432"/>
                  </a:cubicBezTo>
                  <a:cubicBezTo>
                    <a:pt x="2232" y="1430"/>
                    <a:pt x="2233" y="1427"/>
                    <a:pt x="2218" y="1430"/>
                  </a:cubicBezTo>
                  <a:close/>
                  <a:moveTo>
                    <a:pt x="2312" y="1523"/>
                  </a:moveTo>
                  <a:cubicBezTo>
                    <a:pt x="2323" y="1516"/>
                    <a:pt x="2335" y="1500"/>
                    <a:pt x="2335" y="1500"/>
                  </a:cubicBezTo>
                  <a:cubicBezTo>
                    <a:pt x="2335" y="1500"/>
                    <a:pt x="2331" y="1488"/>
                    <a:pt x="2329" y="1482"/>
                  </a:cubicBezTo>
                  <a:cubicBezTo>
                    <a:pt x="2328" y="1477"/>
                    <a:pt x="2324" y="1473"/>
                    <a:pt x="2314" y="1476"/>
                  </a:cubicBezTo>
                  <a:cubicBezTo>
                    <a:pt x="2303" y="1478"/>
                    <a:pt x="2298" y="1488"/>
                    <a:pt x="2298" y="1488"/>
                  </a:cubicBezTo>
                  <a:cubicBezTo>
                    <a:pt x="2296" y="1489"/>
                    <a:pt x="2296" y="1490"/>
                    <a:pt x="2296" y="1492"/>
                  </a:cubicBezTo>
                  <a:cubicBezTo>
                    <a:pt x="2294" y="1497"/>
                    <a:pt x="2296" y="1502"/>
                    <a:pt x="2286" y="1505"/>
                  </a:cubicBezTo>
                  <a:cubicBezTo>
                    <a:pt x="2273" y="1509"/>
                    <a:pt x="2271" y="1506"/>
                    <a:pt x="2270" y="1513"/>
                  </a:cubicBezTo>
                  <a:cubicBezTo>
                    <a:pt x="2269" y="1519"/>
                    <a:pt x="2261" y="1526"/>
                    <a:pt x="2266" y="1531"/>
                  </a:cubicBezTo>
                  <a:cubicBezTo>
                    <a:pt x="2271" y="1537"/>
                    <a:pt x="2271" y="1539"/>
                    <a:pt x="2269" y="1545"/>
                  </a:cubicBezTo>
                  <a:cubicBezTo>
                    <a:pt x="2266" y="1550"/>
                    <a:pt x="2262" y="1550"/>
                    <a:pt x="2271" y="1555"/>
                  </a:cubicBezTo>
                  <a:cubicBezTo>
                    <a:pt x="2281" y="1560"/>
                    <a:pt x="2278" y="1566"/>
                    <a:pt x="2288" y="1560"/>
                  </a:cubicBezTo>
                  <a:cubicBezTo>
                    <a:pt x="2299" y="1555"/>
                    <a:pt x="2306" y="1550"/>
                    <a:pt x="2306" y="1543"/>
                  </a:cubicBezTo>
                  <a:cubicBezTo>
                    <a:pt x="2306" y="1537"/>
                    <a:pt x="2302" y="1531"/>
                    <a:pt x="2312" y="1523"/>
                  </a:cubicBezTo>
                  <a:close/>
                  <a:moveTo>
                    <a:pt x="1901" y="2220"/>
                  </a:moveTo>
                  <a:cubicBezTo>
                    <a:pt x="1896" y="2223"/>
                    <a:pt x="1861" y="2240"/>
                    <a:pt x="1856" y="2257"/>
                  </a:cubicBezTo>
                  <a:cubicBezTo>
                    <a:pt x="1856" y="2257"/>
                    <a:pt x="1876" y="2263"/>
                    <a:pt x="1878" y="2270"/>
                  </a:cubicBezTo>
                  <a:cubicBezTo>
                    <a:pt x="1879" y="2277"/>
                    <a:pt x="1878" y="2284"/>
                    <a:pt x="1895" y="2284"/>
                  </a:cubicBezTo>
                  <a:cubicBezTo>
                    <a:pt x="1911" y="2284"/>
                    <a:pt x="1911" y="2285"/>
                    <a:pt x="1920" y="2279"/>
                  </a:cubicBezTo>
                  <a:cubicBezTo>
                    <a:pt x="1928" y="2272"/>
                    <a:pt x="1928" y="2268"/>
                    <a:pt x="1925" y="2258"/>
                  </a:cubicBezTo>
                  <a:cubicBezTo>
                    <a:pt x="1921" y="2248"/>
                    <a:pt x="1910" y="2243"/>
                    <a:pt x="1910" y="2235"/>
                  </a:cubicBezTo>
                  <a:cubicBezTo>
                    <a:pt x="1910" y="2227"/>
                    <a:pt x="1906" y="2217"/>
                    <a:pt x="1901" y="2220"/>
                  </a:cubicBezTo>
                  <a:close/>
                  <a:moveTo>
                    <a:pt x="1642" y="2871"/>
                  </a:moveTo>
                  <a:cubicBezTo>
                    <a:pt x="1647" y="2884"/>
                    <a:pt x="1659" y="2868"/>
                    <a:pt x="1665" y="2871"/>
                  </a:cubicBezTo>
                  <a:cubicBezTo>
                    <a:pt x="1672" y="2874"/>
                    <a:pt x="1690" y="2877"/>
                    <a:pt x="1692" y="2865"/>
                  </a:cubicBezTo>
                  <a:cubicBezTo>
                    <a:pt x="1693" y="2853"/>
                    <a:pt x="1698" y="2851"/>
                    <a:pt x="1687" y="2846"/>
                  </a:cubicBezTo>
                  <a:cubicBezTo>
                    <a:pt x="1676" y="2842"/>
                    <a:pt x="1672" y="2846"/>
                    <a:pt x="1661" y="2846"/>
                  </a:cubicBezTo>
                  <a:cubicBezTo>
                    <a:pt x="1650" y="2846"/>
                    <a:pt x="1648" y="2848"/>
                    <a:pt x="1639" y="2843"/>
                  </a:cubicBezTo>
                  <a:cubicBezTo>
                    <a:pt x="1630" y="2839"/>
                    <a:pt x="1623" y="2834"/>
                    <a:pt x="1614" y="2836"/>
                  </a:cubicBezTo>
                  <a:cubicBezTo>
                    <a:pt x="1600" y="2838"/>
                    <a:pt x="1611" y="2850"/>
                    <a:pt x="1620" y="2859"/>
                  </a:cubicBezTo>
                  <a:cubicBezTo>
                    <a:pt x="1630" y="2868"/>
                    <a:pt x="1637" y="2859"/>
                    <a:pt x="1642" y="2871"/>
                  </a:cubicBezTo>
                  <a:close/>
                  <a:moveTo>
                    <a:pt x="2347" y="1357"/>
                  </a:moveTo>
                  <a:cubicBezTo>
                    <a:pt x="2347" y="1357"/>
                    <a:pt x="2339" y="1350"/>
                    <a:pt x="2331" y="1353"/>
                  </a:cubicBezTo>
                  <a:cubicBezTo>
                    <a:pt x="2323" y="1356"/>
                    <a:pt x="2315" y="1350"/>
                    <a:pt x="2310" y="1352"/>
                  </a:cubicBezTo>
                  <a:cubicBezTo>
                    <a:pt x="2304" y="1353"/>
                    <a:pt x="2302" y="1337"/>
                    <a:pt x="2310" y="1330"/>
                  </a:cubicBezTo>
                  <a:cubicBezTo>
                    <a:pt x="2318" y="1324"/>
                    <a:pt x="2314" y="1315"/>
                    <a:pt x="2308" y="1303"/>
                  </a:cubicBezTo>
                  <a:cubicBezTo>
                    <a:pt x="2303" y="1291"/>
                    <a:pt x="2288" y="1292"/>
                    <a:pt x="2283" y="1282"/>
                  </a:cubicBezTo>
                  <a:cubicBezTo>
                    <a:pt x="2278" y="1271"/>
                    <a:pt x="2270" y="1262"/>
                    <a:pt x="2267" y="1255"/>
                  </a:cubicBezTo>
                  <a:cubicBezTo>
                    <a:pt x="2265" y="1249"/>
                    <a:pt x="2251" y="1250"/>
                    <a:pt x="2247" y="1249"/>
                  </a:cubicBezTo>
                  <a:cubicBezTo>
                    <a:pt x="2244" y="1247"/>
                    <a:pt x="2240" y="1251"/>
                    <a:pt x="2234" y="1256"/>
                  </a:cubicBezTo>
                  <a:cubicBezTo>
                    <a:pt x="2229" y="1262"/>
                    <a:pt x="2227" y="1246"/>
                    <a:pt x="2230" y="1243"/>
                  </a:cubicBezTo>
                  <a:cubicBezTo>
                    <a:pt x="2237" y="1238"/>
                    <a:pt x="2240" y="1235"/>
                    <a:pt x="2240" y="1235"/>
                  </a:cubicBezTo>
                  <a:cubicBezTo>
                    <a:pt x="2240" y="1235"/>
                    <a:pt x="2253" y="1234"/>
                    <a:pt x="2262" y="1233"/>
                  </a:cubicBezTo>
                  <a:cubicBezTo>
                    <a:pt x="2271" y="1231"/>
                    <a:pt x="2270" y="1226"/>
                    <a:pt x="2271" y="1221"/>
                  </a:cubicBezTo>
                  <a:cubicBezTo>
                    <a:pt x="2273" y="1215"/>
                    <a:pt x="2269" y="1211"/>
                    <a:pt x="2262" y="1201"/>
                  </a:cubicBezTo>
                  <a:cubicBezTo>
                    <a:pt x="2255" y="1190"/>
                    <a:pt x="2262" y="1201"/>
                    <a:pt x="2255" y="1206"/>
                  </a:cubicBezTo>
                  <a:cubicBezTo>
                    <a:pt x="2249" y="1211"/>
                    <a:pt x="2251" y="1218"/>
                    <a:pt x="2242" y="1213"/>
                  </a:cubicBezTo>
                  <a:cubicBezTo>
                    <a:pt x="2233" y="1208"/>
                    <a:pt x="2234" y="1209"/>
                    <a:pt x="2229" y="1209"/>
                  </a:cubicBezTo>
                  <a:cubicBezTo>
                    <a:pt x="2224" y="1209"/>
                    <a:pt x="2222" y="1213"/>
                    <a:pt x="2220" y="1219"/>
                  </a:cubicBezTo>
                  <a:cubicBezTo>
                    <a:pt x="2217" y="1226"/>
                    <a:pt x="2213" y="1225"/>
                    <a:pt x="2210" y="1230"/>
                  </a:cubicBezTo>
                  <a:cubicBezTo>
                    <a:pt x="2208" y="1235"/>
                    <a:pt x="2205" y="1238"/>
                    <a:pt x="2200" y="1241"/>
                  </a:cubicBezTo>
                  <a:cubicBezTo>
                    <a:pt x="2195" y="1243"/>
                    <a:pt x="2191" y="1243"/>
                    <a:pt x="2185" y="1250"/>
                  </a:cubicBezTo>
                  <a:cubicBezTo>
                    <a:pt x="2180" y="1256"/>
                    <a:pt x="2181" y="1262"/>
                    <a:pt x="2175" y="1264"/>
                  </a:cubicBezTo>
                  <a:cubicBezTo>
                    <a:pt x="2168" y="1267"/>
                    <a:pt x="2170" y="1272"/>
                    <a:pt x="2166" y="1280"/>
                  </a:cubicBezTo>
                  <a:cubicBezTo>
                    <a:pt x="2162" y="1288"/>
                    <a:pt x="2156" y="1297"/>
                    <a:pt x="2152" y="1301"/>
                  </a:cubicBezTo>
                  <a:cubicBezTo>
                    <a:pt x="2148" y="1305"/>
                    <a:pt x="2139" y="1307"/>
                    <a:pt x="2132" y="1309"/>
                  </a:cubicBezTo>
                  <a:cubicBezTo>
                    <a:pt x="2126" y="1312"/>
                    <a:pt x="2127" y="1320"/>
                    <a:pt x="2126" y="1328"/>
                  </a:cubicBezTo>
                  <a:cubicBezTo>
                    <a:pt x="2125" y="1336"/>
                    <a:pt x="2118" y="1340"/>
                    <a:pt x="2113" y="1340"/>
                  </a:cubicBezTo>
                  <a:cubicBezTo>
                    <a:pt x="2107" y="1340"/>
                    <a:pt x="2105" y="1344"/>
                    <a:pt x="2105" y="1349"/>
                  </a:cubicBezTo>
                  <a:cubicBezTo>
                    <a:pt x="2105" y="1354"/>
                    <a:pt x="2102" y="1360"/>
                    <a:pt x="2099" y="1365"/>
                  </a:cubicBezTo>
                  <a:cubicBezTo>
                    <a:pt x="2097" y="1370"/>
                    <a:pt x="2084" y="1371"/>
                    <a:pt x="2077" y="1371"/>
                  </a:cubicBezTo>
                  <a:cubicBezTo>
                    <a:pt x="2055" y="1371"/>
                    <a:pt x="2055" y="1371"/>
                    <a:pt x="2055" y="1371"/>
                  </a:cubicBezTo>
                  <a:cubicBezTo>
                    <a:pt x="2051" y="1371"/>
                    <a:pt x="2047" y="1378"/>
                    <a:pt x="2045" y="1382"/>
                  </a:cubicBezTo>
                  <a:cubicBezTo>
                    <a:pt x="2044" y="1386"/>
                    <a:pt x="2041" y="1389"/>
                    <a:pt x="2041" y="1397"/>
                  </a:cubicBezTo>
                  <a:cubicBezTo>
                    <a:pt x="2041" y="1404"/>
                    <a:pt x="2052" y="1408"/>
                    <a:pt x="2061" y="1403"/>
                  </a:cubicBezTo>
                  <a:cubicBezTo>
                    <a:pt x="2070" y="1398"/>
                    <a:pt x="2068" y="1399"/>
                    <a:pt x="2072" y="1398"/>
                  </a:cubicBezTo>
                  <a:cubicBezTo>
                    <a:pt x="2076" y="1397"/>
                    <a:pt x="2082" y="1393"/>
                    <a:pt x="2086" y="1393"/>
                  </a:cubicBezTo>
                  <a:cubicBezTo>
                    <a:pt x="2090" y="1393"/>
                    <a:pt x="2097" y="1393"/>
                    <a:pt x="2103" y="1395"/>
                  </a:cubicBezTo>
                  <a:cubicBezTo>
                    <a:pt x="2110" y="1398"/>
                    <a:pt x="2101" y="1406"/>
                    <a:pt x="2097" y="1411"/>
                  </a:cubicBezTo>
                  <a:cubicBezTo>
                    <a:pt x="2093" y="1416"/>
                    <a:pt x="2090" y="1423"/>
                    <a:pt x="2089" y="1427"/>
                  </a:cubicBezTo>
                  <a:cubicBezTo>
                    <a:pt x="2088" y="1431"/>
                    <a:pt x="2089" y="1438"/>
                    <a:pt x="2089" y="1438"/>
                  </a:cubicBezTo>
                  <a:cubicBezTo>
                    <a:pt x="2089" y="1438"/>
                    <a:pt x="2103" y="1432"/>
                    <a:pt x="2118" y="1424"/>
                  </a:cubicBezTo>
                  <a:cubicBezTo>
                    <a:pt x="2132" y="1416"/>
                    <a:pt x="2132" y="1416"/>
                    <a:pt x="2132" y="1416"/>
                  </a:cubicBezTo>
                  <a:cubicBezTo>
                    <a:pt x="2142" y="1414"/>
                    <a:pt x="2142" y="1414"/>
                    <a:pt x="2142" y="1414"/>
                  </a:cubicBezTo>
                  <a:cubicBezTo>
                    <a:pt x="2142" y="1414"/>
                    <a:pt x="2155" y="1404"/>
                    <a:pt x="2160" y="1401"/>
                  </a:cubicBezTo>
                  <a:cubicBezTo>
                    <a:pt x="2166" y="1397"/>
                    <a:pt x="2176" y="1391"/>
                    <a:pt x="2176" y="1391"/>
                  </a:cubicBezTo>
                  <a:cubicBezTo>
                    <a:pt x="2176" y="1391"/>
                    <a:pt x="2189" y="1387"/>
                    <a:pt x="2195" y="1387"/>
                  </a:cubicBezTo>
                  <a:cubicBezTo>
                    <a:pt x="2200" y="1387"/>
                    <a:pt x="2204" y="1382"/>
                    <a:pt x="2207" y="1378"/>
                  </a:cubicBezTo>
                  <a:cubicBezTo>
                    <a:pt x="2209" y="1374"/>
                    <a:pt x="2210" y="1367"/>
                    <a:pt x="2209" y="1360"/>
                  </a:cubicBezTo>
                  <a:cubicBezTo>
                    <a:pt x="2208" y="1352"/>
                    <a:pt x="2213" y="1353"/>
                    <a:pt x="2217" y="1352"/>
                  </a:cubicBezTo>
                  <a:cubicBezTo>
                    <a:pt x="2221" y="1350"/>
                    <a:pt x="2230" y="1354"/>
                    <a:pt x="2230" y="1354"/>
                  </a:cubicBezTo>
                  <a:cubicBezTo>
                    <a:pt x="2230" y="1354"/>
                    <a:pt x="2244" y="1362"/>
                    <a:pt x="2247" y="1363"/>
                  </a:cubicBezTo>
                  <a:cubicBezTo>
                    <a:pt x="2251" y="1365"/>
                    <a:pt x="2254" y="1374"/>
                    <a:pt x="2254" y="1374"/>
                  </a:cubicBezTo>
                  <a:cubicBezTo>
                    <a:pt x="2254" y="1374"/>
                    <a:pt x="2254" y="1382"/>
                    <a:pt x="2254" y="1386"/>
                  </a:cubicBezTo>
                  <a:cubicBezTo>
                    <a:pt x="2254" y="1390"/>
                    <a:pt x="2265" y="1393"/>
                    <a:pt x="2271" y="1393"/>
                  </a:cubicBezTo>
                  <a:cubicBezTo>
                    <a:pt x="2278" y="1393"/>
                    <a:pt x="2283" y="1391"/>
                    <a:pt x="2285" y="1397"/>
                  </a:cubicBezTo>
                  <a:cubicBezTo>
                    <a:pt x="2286" y="1402"/>
                    <a:pt x="2292" y="1402"/>
                    <a:pt x="2296" y="1406"/>
                  </a:cubicBezTo>
                  <a:cubicBezTo>
                    <a:pt x="2300" y="1410"/>
                    <a:pt x="2308" y="1412"/>
                    <a:pt x="2314" y="1408"/>
                  </a:cubicBezTo>
                  <a:cubicBezTo>
                    <a:pt x="2319" y="1404"/>
                    <a:pt x="2323" y="1398"/>
                    <a:pt x="2329" y="1395"/>
                  </a:cubicBezTo>
                  <a:cubicBezTo>
                    <a:pt x="2336" y="1393"/>
                    <a:pt x="2337" y="1398"/>
                    <a:pt x="2341" y="1398"/>
                  </a:cubicBezTo>
                  <a:cubicBezTo>
                    <a:pt x="2345" y="1398"/>
                    <a:pt x="2353" y="1383"/>
                    <a:pt x="2349" y="1379"/>
                  </a:cubicBezTo>
                  <a:cubicBezTo>
                    <a:pt x="2345" y="1375"/>
                    <a:pt x="2344" y="1375"/>
                    <a:pt x="2349" y="1366"/>
                  </a:cubicBezTo>
                  <a:cubicBezTo>
                    <a:pt x="2355" y="1357"/>
                    <a:pt x="2347" y="1357"/>
                    <a:pt x="2347" y="1357"/>
                  </a:cubicBezTo>
                  <a:close/>
                  <a:moveTo>
                    <a:pt x="4832" y="6751"/>
                  </a:moveTo>
                  <a:cubicBezTo>
                    <a:pt x="4829" y="6738"/>
                    <a:pt x="4815" y="6719"/>
                    <a:pt x="4817" y="6715"/>
                  </a:cubicBezTo>
                  <a:cubicBezTo>
                    <a:pt x="4818" y="6711"/>
                    <a:pt x="4815" y="6702"/>
                    <a:pt x="4815" y="6692"/>
                  </a:cubicBezTo>
                  <a:cubicBezTo>
                    <a:pt x="4815" y="6683"/>
                    <a:pt x="4821" y="6674"/>
                    <a:pt x="4818" y="6670"/>
                  </a:cubicBezTo>
                  <a:cubicBezTo>
                    <a:pt x="4815" y="6666"/>
                    <a:pt x="4825" y="6663"/>
                    <a:pt x="4813" y="6660"/>
                  </a:cubicBezTo>
                  <a:cubicBezTo>
                    <a:pt x="4800" y="6658"/>
                    <a:pt x="4796" y="6656"/>
                    <a:pt x="4786" y="6658"/>
                  </a:cubicBezTo>
                  <a:cubicBezTo>
                    <a:pt x="4776" y="6659"/>
                    <a:pt x="4760" y="6662"/>
                    <a:pt x="4751" y="6660"/>
                  </a:cubicBezTo>
                  <a:cubicBezTo>
                    <a:pt x="4743" y="6659"/>
                    <a:pt x="4722" y="6660"/>
                    <a:pt x="4716" y="6658"/>
                  </a:cubicBezTo>
                  <a:cubicBezTo>
                    <a:pt x="4711" y="6655"/>
                    <a:pt x="4701" y="6656"/>
                    <a:pt x="4698" y="6652"/>
                  </a:cubicBezTo>
                  <a:cubicBezTo>
                    <a:pt x="4696" y="6648"/>
                    <a:pt x="4682" y="6639"/>
                    <a:pt x="4676" y="6637"/>
                  </a:cubicBezTo>
                  <a:cubicBezTo>
                    <a:pt x="4670" y="6634"/>
                    <a:pt x="4602" y="6584"/>
                    <a:pt x="4597" y="6581"/>
                  </a:cubicBezTo>
                  <a:cubicBezTo>
                    <a:pt x="4591" y="6578"/>
                    <a:pt x="4556" y="6566"/>
                    <a:pt x="4553" y="6554"/>
                  </a:cubicBezTo>
                  <a:cubicBezTo>
                    <a:pt x="4551" y="6543"/>
                    <a:pt x="4544" y="6543"/>
                    <a:pt x="4541" y="6539"/>
                  </a:cubicBezTo>
                  <a:cubicBezTo>
                    <a:pt x="4538" y="6535"/>
                    <a:pt x="4530" y="6531"/>
                    <a:pt x="4524" y="6525"/>
                  </a:cubicBezTo>
                  <a:cubicBezTo>
                    <a:pt x="4519" y="6520"/>
                    <a:pt x="4513" y="6515"/>
                    <a:pt x="4507" y="6513"/>
                  </a:cubicBezTo>
                  <a:cubicBezTo>
                    <a:pt x="4502" y="6510"/>
                    <a:pt x="4500" y="6507"/>
                    <a:pt x="4492" y="6507"/>
                  </a:cubicBezTo>
                  <a:cubicBezTo>
                    <a:pt x="4484" y="6507"/>
                    <a:pt x="4467" y="6511"/>
                    <a:pt x="4460" y="6510"/>
                  </a:cubicBezTo>
                  <a:cubicBezTo>
                    <a:pt x="4453" y="6508"/>
                    <a:pt x="4407" y="6510"/>
                    <a:pt x="4407" y="6510"/>
                  </a:cubicBezTo>
                  <a:cubicBezTo>
                    <a:pt x="4407" y="6510"/>
                    <a:pt x="4393" y="6511"/>
                    <a:pt x="4386" y="6517"/>
                  </a:cubicBezTo>
                  <a:cubicBezTo>
                    <a:pt x="4379" y="6522"/>
                    <a:pt x="4390" y="6528"/>
                    <a:pt x="4379" y="6522"/>
                  </a:cubicBezTo>
                  <a:cubicBezTo>
                    <a:pt x="4368" y="6517"/>
                    <a:pt x="4365" y="6513"/>
                    <a:pt x="4358" y="6508"/>
                  </a:cubicBezTo>
                  <a:cubicBezTo>
                    <a:pt x="4351" y="6504"/>
                    <a:pt x="4335" y="6504"/>
                    <a:pt x="4328" y="6503"/>
                  </a:cubicBezTo>
                  <a:cubicBezTo>
                    <a:pt x="4321" y="6501"/>
                    <a:pt x="4310" y="6499"/>
                    <a:pt x="4305" y="6499"/>
                  </a:cubicBezTo>
                  <a:cubicBezTo>
                    <a:pt x="4301" y="6499"/>
                    <a:pt x="4296" y="6496"/>
                    <a:pt x="4291" y="6490"/>
                  </a:cubicBezTo>
                  <a:cubicBezTo>
                    <a:pt x="4287" y="6485"/>
                    <a:pt x="4255" y="6482"/>
                    <a:pt x="4255" y="6482"/>
                  </a:cubicBezTo>
                  <a:cubicBezTo>
                    <a:pt x="4255" y="6482"/>
                    <a:pt x="4248" y="6488"/>
                    <a:pt x="4244" y="6488"/>
                  </a:cubicBezTo>
                  <a:cubicBezTo>
                    <a:pt x="4240" y="6488"/>
                    <a:pt x="4216" y="6503"/>
                    <a:pt x="4211" y="6500"/>
                  </a:cubicBezTo>
                  <a:cubicBezTo>
                    <a:pt x="4205" y="6497"/>
                    <a:pt x="4199" y="6513"/>
                    <a:pt x="4195" y="6507"/>
                  </a:cubicBezTo>
                  <a:cubicBezTo>
                    <a:pt x="4191" y="6501"/>
                    <a:pt x="4194" y="6490"/>
                    <a:pt x="4188" y="6492"/>
                  </a:cubicBezTo>
                  <a:cubicBezTo>
                    <a:pt x="4183" y="6493"/>
                    <a:pt x="4180" y="6499"/>
                    <a:pt x="4180" y="6506"/>
                  </a:cubicBezTo>
                  <a:cubicBezTo>
                    <a:pt x="4180" y="6513"/>
                    <a:pt x="4185" y="6525"/>
                    <a:pt x="4179" y="6525"/>
                  </a:cubicBezTo>
                  <a:cubicBezTo>
                    <a:pt x="4172" y="6525"/>
                    <a:pt x="4163" y="6517"/>
                    <a:pt x="4163" y="6517"/>
                  </a:cubicBezTo>
                  <a:cubicBezTo>
                    <a:pt x="4163" y="6517"/>
                    <a:pt x="4159" y="6504"/>
                    <a:pt x="4162" y="6500"/>
                  </a:cubicBezTo>
                  <a:cubicBezTo>
                    <a:pt x="4165" y="6496"/>
                    <a:pt x="4179" y="6483"/>
                    <a:pt x="4180" y="6479"/>
                  </a:cubicBezTo>
                  <a:cubicBezTo>
                    <a:pt x="4181" y="6475"/>
                    <a:pt x="4177" y="6460"/>
                    <a:pt x="4177" y="6455"/>
                  </a:cubicBezTo>
                  <a:cubicBezTo>
                    <a:pt x="4177" y="6451"/>
                    <a:pt x="4163" y="6426"/>
                    <a:pt x="4158" y="6423"/>
                  </a:cubicBezTo>
                  <a:cubicBezTo>
                    <a:pt x="4152" y="6421"/>
                    <a:pt x="4126" y="6422"/>
                    <a:pt x="4116" y="6421"/>
                  </a:cubicBezTo>
                  <a:cubicBezTo>
                    <a:pt x="4106" y="6419"/>
                    <a:pt x="4081" y="6412"/>
                    <a:pt x="4081" y="6408"/>
                  </a:cubicBezTo>
                  <a:cubicBezTo>
                    <a:pt x="4081" y="6404"/>
                    <a:pt x="4050" y="6409"/>
                    <a:pt x="4046" y="6404"/>
                  </a:cubicBezTo>
                  <a:cubicBezTo>
                    <a:pt x="4042" y="6398"/>
                    <a:pt x="4032" y="6394"/>
                    <a:pt x="4027" y="6393"/>
                  </a:cubicBezTo>
                  <a:cubicBezTo>
                    <a:pt x="4021" y="6391"/>
                    <a:pt x="4011" y="6394"/>
                    <a:pt x="4007" y="6390"/>
                  </a:cubicBezTo>
                  <a:cubicBezTo>
                    <a:pt x="4003" y="6386"/>
                    <a:pt x="3989" y="6379"/>
                    <a:pt x="3989" y="6379"/>
                  </a:cubicBezTo>
                  <a:cubicBezTo>
                    <a:pt x="3975" y="6375"/>
                    <a:pt x="3975" y="6375"/>
                    <a:pt x="3975" y="6375"/>
                  </a:cubicBezTo>
                  <a:cubicBezTo>
                    <a:pt x="3975" y="6375"/>
                    <a:pt x="3954" y="6372"/>
                    <a:pt x="3949" y="6370"/>
                  </a:cubicBezTo>
                  <a:cubicBezTo>
                    <a:pt x="3943" y="6369"/>
                    <a:pt x="3928" y="6370"/>
                    <a:pt x="3928" y="6370"/>
                  </a:cubicBezTo>
                  <a:cubicBezTo>
                    <a:pt x="3912" y="6389"/>
                    <a:pt x="3912" y="6389"/>
                    <a:pt x="3912" y="6389"/>
                  </a:cubicBezTo>
                  <a:cubicBezTo>
                    <a:pt x="3912" y="6389"/>
                    <a:pt x="3911" y="6404"/>
                    <a:pt x="3907" y="6407"/>
                  </a:cubicBezTo>
                  <a:cubicBezTo>
                    <a:pt x="3903" y="6409"/>
                    <a:pt x="3897" y="6418"/>
                    <a:pt x="3897" y="6423"/>
                  </a:cubicBezTo>
                  <a:cubicBezTo>
                    <a:pt x="3897" y="6429"/>
                    <a:pt x="3900" y="6437"/>
                    <a:pt x="3896" y="6435"/>
                  </a:cubicBezTo>
                  <a:cubicBezTo>
                    <a:pt x="3891" y="6432"/>
                    <a:pt x="3880" y="6423"/>
                    <a:pt x="3876" y="6426"/>
                  </a:cubicBezTo>
                  <a:cubicBezTo>
                    <a:pt x="3872" y="6429"/>
                    <a:pt x="3866" y="6443"/>
                    <a:pt x="3866" y="6443"/>
                  </a:cubicBezTo>
                  <a:cubicBezTo>
                    <a:pt x="3855" y="6451"/>
                    <a:pt x="3855" y="6451"/>
                    <a:pt x="3855" y="6451"/>
                  </a:cubicBezTo>
                  <a:cubicBezTo>
                    <a:pt x="3841" y="6464"/>
                    <a:pt x="3841" y="6464"/>
                    <a:pt x="3841" y="6464"/>
                  </a:cubicBezTo>
                  <a:cubicBezTo>
                    <a:pt x="3841" y="6464"/>
                    <a:pt x="3831" y="6453"/>
                    <a:pt x="3836" y="6451"/>
                  </a:cubicBezTo>
                  <a:cubicBezTo>
                    <a:pt x="3840" y="6450"/>
                    <a:pt x="3843" y="6439"/>
                    <a:pt x="3838" y="6437"/>
                  </a:cubicBezTo>
                  <a:cubicBezTo>
                    <a:pt x="3834" y="6436"/>
                    <a:pt x="3823" y="6444"/>
                    <a:pt x="3820" y="6440"/>
                  </a:cubicBezTo>
                  <a:cubicBezTo>
                    <a:pt x="3818" y="6436"/>
                    <a:pt x="3820" y="6429"/>
                    <a:pt x="3824" y="6428"/>
                  </a:cubicBezTo>
                  <a:cubicBezTo>
                    <a:pt x="3829" y="6426"/>
                    <a:pt x="3847" y="6428"/>
                    <a:pt x="3847" y="6428"/>
                  </a:cubicBezTo>
                  <a:cubicBezTo>
                    <a:pt x="3847" y="6428"/>
                    <a:pt x="3852" y="6430"/>
                    <a:pt x="3857" y="6426"/>
                  </a:cubicBezTo>
                  <a:cubicBezTo>
                    <a:pt x="3861" y="6422"/>
                    <a:pt x="3866" y="6416"/>
                    <a:pt x="3872" y="6412"/>
                  </a:cubicBezTo>
                  <a:cubicBezTo>
                    <a:pt x="3877" y="6408"/>
                    <a:pt x="3887" y="6394"/>
                    <a:pt x="3887" y="6394"/>
                  </a:cubicBezTo>
                  <a:cubicBezTo>
                    <a:pt x="3887" y="6394"/>
                    <a:pt x="3893" y="6382"/>
                    <a:pt x="3894" y="6375"/>
                  </a:cubicBezTo>
                  <a:cubicBezTo>
                    <a:pt x="3896" y="6368"/>
                    <a:pt x="3889" y="6359"/>
                    <a:pt x="3887" y="6354"/>
                  </a:cubicBezTo>
                  <a:cubicBezTo>
                    <a:pt x="3886" y="6348"/>
                    <a:pt x="3890" y="6350"/>
                    <a:pt x="3891" y="6344"/>
                  </a:cubicBezTo>
                  <a:cubicBezTo>
                    <a:pt x="3893" y="6338"/>
                    <a:pt x="3876" y="6337"/>
                    <a:pt x="3872" y="6337"/>
                  </a:cubicBezTo>
                  <a:cubicBezTo>
                    <a:pt x="3868" y="6337"/>
                    <a:pt x="3852" y="6340"/>
                    <a:pt x="3847" y="6341"/>
                  </a:cubicBezTo>
                  <a:cubicBezTo>
                    <a:pt x="3841" y="6343"/>
                    <a:pt x="3826" y="6344"/>
                    <a:pt x="3826" y="6344"/>
                  </a:cubicBezTo>
                  <a:cubicBezTo>
                    <a:pt x="3826" y="6344"/>
                    <a:pt x="3812" y="6343"/>
                    <a:pt x="3811" y="6337"/>
                  </a:cubicBezTo>
                  <a:cubicBezTo>
                    <a:pt x="3809" y="6331"/>
                    <a:pt x="3801" y="6334"/>
                    <a:pt x="3794" y="6333"/>
                  </a:cubicBezTo>
                  <a:cubicBezTo>
                    <a:pt x="3787" y="6331"/>
                    <a:pt x="3783" y="6331"/>
                    <a:pt x="3776" y="6336"/>
                  </a:cubicBezTo>
                  <a:cubicBezTo>
                    <a:pt x="3769" y="6340"/>
                    <a:pt x="3777" y="6337"/>
                    <a:pt x="3769" y="6340"/>
                  </a:cubicBezTo>
                  <a:cubicBezTo>
                    <a:pt x="3760" y="6343"/>
                    <a:pt x="3755" y="6332"/>
                    <a:pt x="3751" y="6336"/>
                  </a:cubicBezTo>
                  <a:cubicBezTo>
                    <a:pt x="3741" y="6344"/>
                    <a:pt x="3737" y="6373"/>
                    <a:pt x="3737" y="6377"/>
                  </a:cubicBezTo>
                  <a:cubicBezTo>
                    <a:pt x="3737" y="6382"/>
                    <a:pt x="3742" y="6382"/>
                    <a:pt x="3738" y="6389"/>
                  </a:cubicBezTo>
                  <a:cubicBezTo>
                    <a:pt x="3734" y="6396"/>
                    <a:pt x="3738" y="6404"/>
                    <a:pt x="3738" y="6404"/>
                  </a:cubicBezTo>
                  <a:cubicBezTo>
                    <a:pt x="3738" y="6404"/>
                    <a:pt x="3721" y="6398"/>
                    <a:pt x="3716" y="6398"/>
                  </a:cubicBezTo>
                  <a:cubicBezTo>
                    <a:pt x="3710" y="6398"/>
                    <a:pt x="3702" y="6401"/>
                    <a:pt x="3702" y="6401"/>
                  </a:cubicBezTo>
                  <a:cubicBezTo>
                    <a:pt x="3689" y="6405"/>
                    <a:pt x="3689" y="6405"/>
                    <a:pt x="3689" y="6405"/>
                  </a:cubicBezTo>
                  <a:cubicBezTo>
                    <a:pt x="3675" y="6419"/>
                    <a:pt x="3675" y="6419"/>
                    <a:pt x="3675" y="6419"/>
                  </a:cubicBezTo>
                  <a:cubicBezTo>
                    <a:pt x="3664" y="6426"/>
                    <a:pt x="3664" y="6426"/>
                    <a:pt x="3664" y="6426"/>
                  </a:cubicBezTo>
                  <a:cubicBezTo>
                    <a:pt x="3647" y="6436"/>
                    <a:pt x="3647" y="6436"/>
                    <a:pt x="3647" y="6436"/>
                  </a:cubicBezTo>
                  <a:cubicBezTo>
                    <a:pt x="3634" y="6435"/>
                    <a:pt x="3634" y="6435"/>
                    <a:pt x="3634" y="6435"/>
                  </a:cubicBezTo>
                  <a:cubicBezTo>
                    <a:pt x="3618" y="6416"/>
                    <a:pt x="3618" y="6416"/>
                    <a:pt x="3618" y="6416"/>
                  </a:cubicBezTo>
                  <a:cubicBezTo>
                    <a:pt x="3618" y="6416"/>
                    <a:pt x="3632" y="6416"/>
                    <a:pt x="3638" y="6416"/>
                  </a:cubicBezTo>
                  <a:cubicBezTo>
                    <a:pt x="3643" y="6416"/>
                    <a:pt x="3659" y="6412"/>
                    <a:pt x="3659" y="6412"/>
                  </a:cubicBezTo>
                  <a:cubicBezTo>
                    <a:pt x="3659" y="6412"/>
                    <a:pt x="3670" y="6404"/>
                    <a:pt x="3670" y="6398"/>
                  </a:cubicBezTo>
                  <a:cubicBezTo>
                    <a:pt x="3670" y="6386"/>
                    <a:pt x="3670" y="6386"/>
                    <a:pt x="3670" y="6386"/>
                  </a:cubicBezTo>
                  <a:cubicBezTo>
                    <a:pt x="3670" y="6382"/>
                    <a:pt x="3675" y="6373"/>
                    <a:pt x="3681" y="6373"/>
                  </a:cubicBezTo>
                  <a:cubicBezTo>
                    <a:pt x="3687" y="6373"/>
                    <a:pt x="3692" y="6358"/>
                    <a:pt x="3691" y="6354"/>
                  </a:cubicBezTo>
                  <a:cubicBezTo>
                    <a:pt x="3689" y="6350"/>
                    <a:pt x="3688" y="6341"/>
                    <a:pt x="3692" y="6340"/>
                  </a:cubicBezTo>
                  <a:cubicBezTo>
                    <a:pt x="3696" y="6338"/>
                    <a:pt x="3707" y="6331"/>
                    <a:pt x="3712" y="6329"/>
                  </a:cubicBezTo>
                  <a:cubicBezTo>
                    <a:pt x="3716" y="6326"/>
                    <a:pt x="3719" y="6315"/>
                    <a:pt x="3719" y="6315"/>
                  </a:cubicBezTo>
                  <a:cubicBezTo>
                    <a:pt x="3719" y="6315"/>
                    <a:pt x="3726" y="6317"/>
                    <a:pt x="3730" y="6317"/>
                  </a:cubicBezTo>
                  <a:cubicBezTo>
                    <a:pt x="3734" y="6317"/>
                    <a:pt x="3746" y="6315"/>
                    <a:pt x="3748" y="6309"/>
                  </a:cubicBezTo>
                  <a:cubicBezTo>
                    <a:pt x="3749" y="6304"/>
                    <a:pt x="3749" y="6285"/>
                    <a:pt x="3756" y="6284"/>
                  </a:cubicBezTo>
                  <a:cubicBezTo>
                    <a:pt x="3763" y="6283"/>
                    <a:pt x="3767" y="6265"/>
                    <a:pt x="3776" y="6260"/>
                  </a:cubicBezTo>
                  <a:cubicBezTo>
                    <a:pt x="3784" y="6256"/>
                    <a:pt x="3773" y="6244"/>
                    <a:pt x="3783" y="6235"/>
                  </a:cubicBezTo>
                  <a:cubicBezTo>
                    <a:pt x="3792" y="6227"/>
                    <a:pt x="3788" y="6217"/>
                    <a:pt x="3781" y="6212"/>
                  </a:cubicBezTo>
                  <a:cubicBezTo>
                    <a:pt x="3774" y="6206"/>
                    <a:pt x="3772" y="6214"/>
                    <a:pt x="3760" y="6210"/>
                  </a:cubicBezTo>
                  <a:cubicBezTo>
                    <a:pt x="3749" y="6206"/>
                    <a:pt x="3739" y="6203"/>
                    <a:pt x="3733" y="6193"/>
                  </a:cubicBezTo>
                  <a:cubicBezTo>
                    <a:pt x="3726" y="6184"/>
                    <a:pt x="3717" y="6185"/>
                    <a:pt x="3717" y="6174"/>
                  </a:cubicBezTo>
                  <a:cubicBezTo>
                    <a:pt x="3717" y="6163"/>
                    <a:pt x="3710" y="6156"/>
                    <a:pt x="3706" y="6145"/>
                  </a:cubicBezTo>
                  <a:cubicBezTo>
                    <a:pt x="3702" y="6134"/>
                    <a:pt x="3699" y="6129"/>
                    <a:pt x="3696" y="6120"/>
                  </a:cubicBezTo>
                  <a:cubicBezTo>
                    <a:pt x="3693" y="6110"/>
                    <a:pt x="3687" y="6106"/>
                    <a:pt x="3691" y="6097"/>
                  </a:cubicBezTo>
                  <a:cubicBezTo>
                    <a:pt x="3695" y="6089"/>
                    <a:pt x="3700" y="6085"/>
                    <a:pt x="3695" y="6078"/>
                  </a:cubicBezTo>
                  <a:cubicBezTo>
                    <a:pt x="3689" y="6071"/>
                    <a:pt x="3695" y="6067"/>
                    <a:pt x="3688" y="6058"/>
                  </a:cubicBezTo>
                  <a:cubicBezTo>
                    <a:pt x="3681" y="6050"/>
                    <a:pt x="3680" y="6047"/>
                    <a:pt x="3674" y="6047"/>
                  </a:cubicBezTo>
                  <a:cubicBezTo>
                    <a:pt x="3668" y="6047"/>
                    <a:pt x="3664" y="6048"/>
                    <a:pt x="3659" y="6048"/>
                  </a:cubicBezTo>
                  <a:cubicBezTo>
                    <a:pt x="3653" y="6048"/>
                    <a:pt x="3660" y="6050"/>
                    <a:pt x="3653" y="6048"/>
                  </a:cubicBezTo>
                  <a:cubicBezTo>
                    <a:pt x="3646" y="6047"/>
                    <a:pt x="3647" y="6039"/>
                    <a:pt x="3636" y="6028"/>
                  </a:cubicBezTo>
                  <a:cubicBezTo>
                    <a:pt x="3625" y="6016"/>
                    <a:pt x="3607" y="6009"/>
                    <a:pt x="3596" y="5997"/>
                  </a:cubicBezTo>
                  <a:cubicBezTo>
                    <a:pt x="3585" y="5984"/>
                    <a:pt x="3575" y="5973"/>
                    <a:pt x="3564" y="5969"/>
                  </a:cubicBezTo>
                  <a:cubicBezTo>
                    <a:pt x="3553" y="5965"/>
                    <a:pt x="3526" y="5965"/>
                    <a:pt x="3522" y="5965"/>
                  </a:cubicBezTo>
                  <a:cubicBezTo>
                    <a:pt x="3518" y="5965"/>
                    <a:pt x="3503" y="5966"/>
                    <a:pt x="3498" y="5961"/>
                  </a:cubicBezTo>
                  <a:cubicBezTo>
                    <a:pt x="3494" y="5955"/>
                    <a:pt x="3496" y="5950"/>
                    <a:pt x="3489" y="5941"/>
                  </a:cubicBezTo>
                  <a:cubicBezTo>
                    <a:pt x="3482" y="5933"/>
                    <a:pt x="3469" y="5926"/>
                    <a:pt x="3464" y="5927"/>
                  </a:cubicBezTo>
                  <a:cubicBezTo>
                    <a:pt x="3458" y="5929"/>
                    <a:pt x="3455" y="5936"/>
                    <a:pt x="3451" y="5937"/>
                  </a:cubicBezTo>
                  <a:cubicBezTo>
                    <a:pt x="3447" y="5938"/>
                    <a:pt x="3437" y="5936"/>
                    <a:pt x="3433" y="5931"/>
                  </a:cubicBezTo>
                  <a:cubicBezTo>
                    <a:pt x="3429" y="5927"/>
                    <a:pt x="3427" y="5922"/>
                    <a:pt x="3412" y="5920"/>
                  </a:cubicBezTo>
                  <a:cubicBezTo>
                    <a:pt x="3397" y="5919"/>
                    <a:pt x="3397" y="5920"/>
                    <a:pt x="3395" y="5926"/>
                  </a:cubicBezTo>
                  <a:cubicBezTo>
                    <a:pt x="3394" y="5931"/>
                    <a:pt x="3401" y="5948"/>
                    <a:pt x="3391" y="5941"/>
                  </a:cubicBezTo>
                  <a:cubicBezTo>
                    <a:pt x="3381" y="5934"/>
                    <a:pt x="3372" y="5931"/>
                    <a:pt x="3372" y="5927"/>
                  </a:cubicBezTo>
                  <a:cubicBezTo>
                    <a:pt x="3372" y="5923"/>
                    <a:pt x="3381" y="5930"/>
                    <a:pt x="3372" y="5923"/>
                  </a:cubicBezTo>
                  <a:cubicBezTo>
                    <a:pt x="3362" y="5916"/>
                    <a:pt x="3358" y="5913"/>
                    <a:pt x="3345" y="5916"/>
                  </a:cubicBezTo>
                  <a:cubicBezTo>
                    <a:pt x="3333" y="5919"/>
                    <a:pt x="3328" y="5929"/>
                    <a:pt x="3328" y="5929"/>
                  </a:cubicBezTo>
                  <a:cubicBezTo>
                    <a:pt x="3328" y="5929"/>
                    <a:pt x="3339" y="5941"/>
                    <a:pt x="3330" y="5943"/>
                  </a:cubicBezTo>
                  <a:cubicBezTo>
                    <a:pt x="3320" y="5944"/>
                    <a:pt x="3313" y="5943"/>
                    <a:pt x="3312" y="5938"/>
                  </a:cubicBezTo>
                  <a:cubicBezTo>
                    <a:pt x="3310" y="5934"/>
                    <a:pt x="3307" y="5927"/>
                    <a:pt x="3296" y="5929"/>
                  </a:cubicBezTo>
                  <a:cubicBezTo>
                    <a:pt x="3285" y="5930"/>
                    <a:pt x="3268" y="5931"/>
                    <a:pt x="3268" y="5931"/>
                  </a:cubicBezTo>
                  <a:cubicBezTo>
                    <a:pt x="3268" y="5931"/>
                    <a:pt x="3259" y="5929"/>
                    <a:pt x="3254" y="5929"/>
                  </a:cubicBezTo>
                  <a:cubicBezTo>
                    <a:pt x="3250" y="5929"/>
                    <a:pt x="3252" y="5945"/>
                    <a:pt x="3246" y="5944"/>
                  </a:cubicBezTo>
                  <a:cubicBezTo>
                    <a:pt x="3241" y="5943"/>
                    <a:pt x="3235" y="5938"/>
                    <a:pt x="3236" y="5930"/>
                  </a:cubicBezTo>
                  <a:cubicBezTo>
                    <a:pt x="3238" y="5922"/>
                    <a:pt x="3239" y="5904"/>
                    <a:pt x="3232" y="5901"/>
                  </a:cubicBezTo>
                  <a:cubicBezTo>
                    <a:pt x="3225" y="5898"/>
                    <a:pt x="3207" y="5887"/>
                    <a:pt x="3207" y="5887"/>
                  </a:cubicBezTo>
                  <a:cubicBezTo>
                    <a:pt x="3207" y="5887"/>
                    <a:pt x="3192" y="5873"/>
                    <a:pt x="3186" y="5873"/>
                  </a:cubicBezTo>
                  <a:cubicBezTo>
                    <a:pt x="3181" y="5873"/>
                    <a:pt x="3171" y="5867"/>
                    <a:pt x="3165" y="5867"/>
                  </a:cubicBezTo>
                  <a:cubicBezTo>
                    <a:pt x="3160" y="5867"/>
                    <a:pt x="3142" y="5876"/>
                    <a:pt x="3142" y="5876"/>
                  </a:cubicBezTo>
                  <a:cubicBezTo>
                    <a:pt x="3142" y="5876"/>
                    <a:pt x="3140" y="5883"/>
                    <a:pt x="3139" y="5866"/>
                  </a:cubicBezTo>
                  <a:cubicBezTo>
                    <a:pt x="3137" y="5849"/>
                    <a:pt x="3157" y="5849"/>
                    <a:pt x="3135" y="5824"/>
                  </a:cubicBezTo>
                  <a:cubicBezTo>
                    <a:pt x="3112" y="5799"/>
                    <a:pt x="3080" y="5782"/>
                    <a:pt x="3061" y="5773"/>
                  </a:cubicBezTo>
                  <a:cubicBezTo>
                    <a:pt x="3041" y="5763"/>
                    <a:pt x="3036" y="5749"/>
                    <a:pt x="3020" y="5746"/>
                  </a:cubicBezTo>
                  <a:cubicBezTo>
                    <a:pt x="3005" y="5743"/>
                    <a:pt x="3002" y="5738"/>
                    <a:pt x="2994" y="5740"/>
                  </a:cubicBezTo>
                  <a:cubicBezTo>
                    <a:pt x="2985" y="5743"/>
                    <a:pt x="2984" y="5747"/>
                    <a:pt x="2972" y="5749"/>
                  </a:cubicBezTo>
                  <a:cubicBezTo>
                    <a:pt x="2959" y="5750"/>
                    <a:pt x="2953" y="5743"/>
                    <a:pt x="2952" y="5747"/>
                  </a:cubicBezTo>
                  <a:cubicBezTo>
                    <a:pt x="2951" y="5752"/>
                    <a:pt x="2949" y="5760"/>
                    <a:pt x="2939" y="5760"/>
                  </a:cubicBezTo>
                  <a:cubicBezTo>
                    <a:pt x="2930" y="5760"/>
                    <a:pt x="2909" y="5752"/>
                    <a:pt x="2916" y="5746"/>
                  </a:cubicBezTo>
                  <a:cubicBezTo>
                    <a:pt x="2923" y="5740"/>
                    <a:pt x="2933" y="5752"/>
                    <a:pt x="2938" y="5743"/>
                  </a:cubicBezTo>
                  <a:cubicBezTo>
                    <a:pt x="2944" y="5735"/>
                    <a:pt x="2933" y="5729"/>
                    <a:pt x="2944" y="5722"/>
                  </a:cubicBezTo>
                  <a:cubicBezTo>
                    <a:pt x="2955" y="5715"/>
                    <a:pt x="2960" y="5711"/>
                    <a:pt x="2960" y="5699"/>
                  </a:cubicBezTo>
                  <a:cubicBezTo>
                    <a:pt x="2960" y="5686"/>
                    <a:pt x="2967" y="5685"/>
                    <a:pt x="2956" y="5681"/>
                  </a:cubicBezTo>
                  <a:cubicBezTo>
                    <a:pt x="2945" y="5676"/>
                    <a:pt x="2953" y="5668"/>
                    <a:pt x="2931" y="5667"/>
                  </a:cubicBezTo>
                  <a:cubicBezTo>
                    <a:pt x="2909" y="5665"/>
                    <a:pt x="2909" y="5674"/>
                    <a:pt x="2899" y="5662"/>
                  </a:cubicBezTo>
                  <a:cubicBezTo>
                    <a:pt x="2889" y="5651"/>
                    <a:pt x="2906" y="5655"/>
                    <a:pt x="2889" y="5651"/>
                  </a:cubicBezTo>
                  <a:cubicBezTo>
                    <a:pt x="2873" y="5647"/>
                    <a:pt x="2871" y="5647"/>
                    <a:pt x="2867" y="5647"/>
                  </a:cubicBezTo>
                  <a:cubicBezTo>
                    <a:pt x="2863" y="5647"/>
                    <a:pt x="2866" y="5661"/>
                    <a:pt x="2856" y="5660"/>
                  </a:cubicBezTo>
                  <a:cubicBezTo>
                    <a:pt x="2846" y="5658"/>
                    <a:pt x="2841" y="5651"/>
                    <a:pt x="2839" y="5644"/>
                  </a:cubicBezTo>
                  <a:cubicBezTo>
                    <a:pt x="2838" y="5637"/>
                    <a:pt x="2841" y="5630"/>
                    <a:pt x="2831" y="5632"/>
                  </a:cubicBezTo>
                  <a:cubicBezTo>
                    <a:pt x="2821" y="5633"/>
                    <a:pt x="2811" y="5636"/>
                    <a:pt x="2808" y="5629"/>
                  </a:cubicBezTo>
                  <a:cubicBezTo>
                    <a:pt x="2806" y="5622"/>
                    <a:pt x="2813" y="5612"/>
                    <a:pt x="2818" y="5615"/>
                  </a:cubicBezTo>
                  <a:cubicBezTo>
                    <a:pt x="2824" y="5618"/>
                    <a:pt x="2847" y="5619"/>
                    <a:pt x="2853" y="5616"/>
                  </a:cubicBezTo>
                  <a:cubicBezTo>
                    <a:pt x="2859" y="5614"/>
                    <a:pt x="2863" y="5604"/>
                    <a:pt x="2857" y="5598"/>
                  </a:cubicBezTo>
                  <a:cubicBezTo>
                    <a:pt x="2852" y="5593"/>
                    <a:pt x="2841" y="5593"/>
                    <a:pt x="2827" y="5596"/>
                  </a:cubicBezTo>
                  <a:cubicBezTo>
                    <a:pt x="2813" y="5598"/>
                    <a:pt x="2800" y="5598"/>
                    <a:pt x="2792" y="5597"/>
                  </a:cubicBezTo>
                  <a:cubicBezTo>
                    <a:pt x="2783" y="5596"/>
                    <a:pt x="2778" y="5587"/>
                    <a:pt x="2768" y="5587"/>
                  </a:cubicBezTo>
                  <a:cubicBezTo>
                    <a:pt x="2758" y="5587"/>
                    <a:pt x="2746" y="5594"/>
                    <a:pt x="2746" y="5594"/>
                  </a:cubicBezTo>
                  <a:cubicBezTo>
                    <a:pt x="2746" y="5594"/>
                    <a:pt x="2733" y="5602"/>
                    <a:pt x="2729" y="5604"/>
                  </a:cubicBezTo>
                  <a:cubicBezTo>
                    <a:pt x="2725" y="5605"/>
                    <a:pt x="2729" y="5591"/>
                    <a:pt x="2715" y="5598"/>
                  </a:cubicBezTo>
                  <a:cubicBezTo>
                    <a:pt x="2701" y="5605"/>
                    <a:pt x="2701" y="5622"/>
                    <a:pt x="2696" y="5623"/>
                  </a:cubicBezTo>
                  <a:cubicBezTo>
                    <a:pt x="2690" y="5625"/>
                    <a:pt x="2679" y="5632"/>
                    <a:pt x="2679" y="5632"/>
                  </a:cubicBezTo>
                  <a:cubicBezTo>
                    <a:pt x="2679" y="5632"/>
                    <a:pt x="2658" y="5640"/>
                    <a:pt x="2650" y="5642"/>
                  </a:cubicBezTo>
                  <a:cubicBezTo>
                    <a:pt x="2641" y="5643"/>
                    <a:pt x="2629" y="5639"/>
                    <a:pt x="2624" y="5639"/>
                  </a:cubicBezTo>
                  <a:cubicBezTo>
                    <a:pt x="2620" y="5639"/>
                    <a:pt x="2605" y="5628"/>
                    <a:pt x="2601" y="5628"/>
                  </a:cubicBezTo>
                  <a:cubicBezTo>
                    <a:pt x="2597" y="5628"/>
                    <a:pt x="2583" y="5622"/>
                    <a:pt x="2581" y="5612"/>
                  </a:cubicBezTo>
                  <a:cubicBezTo>
                    <a:pt x="2580" y="5602"/>
                    <a:pt x="2577" y="5600"/>
                    <a:pt x="2560" y="5602"/>
                  </a:cubicBezTo>
                  <a:cubicBezTo>
                    <a:pt x="2544" y="5605"/>
                    <a:pt x="2521" y="5607"/>
                    <a:pt x="2509" y="5609"/>
                  </a:cubicBezTo>
                  <a:cubicBezTo>
                    <a:pt x="2496" y="5612"/>
                    <a:pt x="2485" y="5612"/>
                    <a:pt x="2473" y="5614"/>
                  </a:cubicBezTo>
                  <a:cubicBezTo>
                    <a:pt x="2460" y="5615"/>
                    <a:pt x="2443" y="5622"/>
                    <a:pt x="2436" y="5619"/>
                  </a:cubicBezTo>
                  <a:cubicBezTo>
                    <a:pt x="2429" y="5616"/>
                    <a:pt x="2425" y="5628"/>
                    <a:pt x="2425" y="5609"/>
                  </a:cubicBezTo>
                  <a:cubicBezTo>
                    <a:pt x="2425" y="5591"/>
                    <a:pt x="2410" y="5575"/>
                    <a:pt x="2406" y="5568"/>
                  </a:cubicBezTo>
                  <a:cubicBezTo>
                    <a:pt x="2401" y="5561"/>
                    <a:pt x="2406" y="5544"/>
                    <a:pt x="2396" y="5544"/>
                  </a:cubicBezTo>
                  <a:cubicBezTo>
                    <a:pt x="2386" y="5544"/>
                    <a:pt x="2376" y="5543"/>
                    <a:pt x="2368" y="5543"/>
                  </a:cubicBezTo>
                  <a:cubicBezTo>
                    <a:pt x="2360" y="5543"/>
                    <a:pt x="2339" y="5544"/>
                    <a:pt x="2339" y="5544"/>
                  </a:cubicBezTo>
                  <a:cubicBezTo>
                    <a:pt x="2339" y="5544"/>
                    <a:pt x="2318" y="5551"/>
                    <a:pt x="2318" y="5547"/>
                  </a:cubicBezTo>
                  <a:cubicBezTo>
                    <a:pt x="2318" y="5543"/>
                    <a:pt x="2312" y="5538"/>
                    <a:pt x="2310" y="5530"/>
                  </a:cubicBezTo>
                  <a:cubicBezTo>
                    <a:pt x="2307" y="5522"/>
                    <a:pt x="2310" y="5515"/>
                    <a:pt x="2305" y="5509"/>
                  </a:cubicBezTo>
                  <a:cubicBezTo>
                    <a:pt x="2301" y="5504"/>
                    <a:pt x="2310" y="5497"/>
                    <a:pt x="2300" y="5494"/>
                  </a:cubicBezTo>
                  <a:cubicBezTo>
                    <a:pt x="2290" y="5491"/>
                    <a:pt x="2296" y="5487"/>
                    <a:pt x="2290" y="5491"/>
                  </a:cubicBezTo>
                  <a:cubicBezTo>
                    <a:pt x="2284" y="5495"/>
                    <a:pt x="2279" y="5497"/>
                    <a:pt x="2282" y="5501"/>
                  </a:cubicBezTo>
                  <a:cubicBezTo>
                    <a:pt x="2284" y="5505"/>
                    <a:pt x="2280" y="5509"/>
                    <a:pt x="2286" y="5515"/>
                  </a:cubicBezTo>
                  <a:cubicBezTo>
                    <a:pt x="2291" y="5520"/>
                    <a:pt x="2291" y="5523"/>
                    <a:pt x="2293" y="5531"/>
                  </a:cubicBezTo>
                  <a:cubicBezTo>
                    <a:pt x="2294" y="5540"/>
                    <a:pt x="2290" y="5547"/>
                    <a:pt x="2290" y="5547"/>
                  </a:cubicBezTo>
                  <a:cubicBezTo>
                    <a:pt x="2275" y="5556"/>
                    <a:pt x="2264" y="5555"/>
                    <a:pt x="2264" y="5555"/>
                  </a:cubicBezTo>
                  <a:cubicBezTo>
                    <a:pt x="2264" y="5555"/>
                    <a:pt x="2240" y="5562"/>
                    <a:pt x="2227" y="5566"/>
                  </a:cubicBezTo>
                  <a:cubicBezTo>
                    <a:pt x="2215" y="5570"/>
                    <a:pt x="2211" y="5572"/>
                    <a:pt x="2206" y="5582"/>
                  </a:cubicBezTo>
                  <a:cubicBezTo>
                    <a:pt x="2202" y="5591"/>
                    <a:pt x="2205" y="5598"/>
                    <a:pt x="2205" y="5604"/>
                  </a:cubicBezTo>
                  <a:cubicBezTo>
                    <a:pt x="2205" y="5609"/>
                    <a:pt x="2205" y="5621"/>
                    <a:pt x="2208" y="5625"/>
                  </a:cubicBezTo>
                  <a:cubicBezTo>
                    <a:pt x="2211" y="5629"/>
                    <a:pt x="2218" y="5639"/>
                    <a:pt x="2218" y="5639"/>
                  </a:cubicBezTo>
                  <a:cubicBezTo>
                    <a:pt x="2218" y="5639"/>
                    <a:pt x="2223" y="5647"/>
                    <a:pt x="2224" y="5651"/>
                  </a:cubicBezTo>
                  <a:cubicBezTo>
                    <a:pt x="2226" y="5655"/>
                    <a:pt x="2230" y="5657"/>
                    <a:pt x="2233" y="5662"/>
                  </a:cubicBezTo>
                  <a:cubicBezTo>
                    <a:pt x="2236" y="5668"/>
                    <a:pt x="2237" y="5678"/>
                    <a:pt x="2237" y="5678"/>
                  </a:cubicBezTo>
                  <a:cubicBezTo>
                    <a:pt x="2237" y="5678"/>
                    <a:pt x="2243" y="5681"/>
                    <a:pt x="2240" y="5688"/>
                  </a:cubicBezTo>
                  <a:cubicBezTo>
                    <a:pt x="2237" y="5694"/>
                    <a:pt x="2231" y="5701"/>
                    <a:pt x="2231" y="5701"/>
                  </a:cubicBezTo>
                  <a:cubicBezTo>
                    <a:pt x="2231" y="5701"/>
                    <a:pt x="2229" y="5706"/>
                    <a:pt x="2222" y="5708"/>
                  </a:cubicBezTo>
                  <a:cubicBezTo>
                    <a:pt x="2215" y="5711"/>
                    <a:pt x="2202" y="5714"/>
                    <a:pt x="2202" y="5710"/>
                  </a:cubicBezTo>
                  <a:cubicBezTo>
                    <a:pt x="2202" y="5706"/>
                    <a:pt x="2201" y="5706"/>
                    <a:pt x="2204" y="5699"/>
                  </a:cubicBezTo>
                  <a:cubicBezTo>
                    <a:pt x="2206" y="5692"/>
                    <a:pt x="2202" y="5679"/>
                    <a:pt x="2195" y="5682"/>
                  </a:cubicBezTo>
                  <a:cubicBezTo>
                    <a:pt x="2188" y="5685"/>
                    <a:pt x="2190" y="5692"/>
                    <a:pt x="2183" y="5688"/>
                  </a:cubicBezTo>
                  <a:cubicBezTo>
                    <a:pt x="2176" y="5683"/>
                    <a:pt x="2173" y="5672"/>
                    <a:pt x="2172" y="5668"/>
                  </a:cubicBezTo>
                  <a:cubicBezTo>
                    <a:pt x="2170" y="5664"/>
                    <a:pt x="2160" y="5655"/>
                    <a:pt x="2170" y="5653"/>
                  </a:cubicBezTo>
                  <a:cubicBezTo>
                    <a:pt x="2180" y="5650"/>
                    <a:pt x="2184" y="5640"/>
                    <a:pt x="2184" y="5640"/>
                  </a:cubicBezTo>
                  <a:cubicBezTo>
                    <a:pt x="2184" y="5629"/>
                    <a:pt x="2184" y="5629"/>
                    <a:pt x="2184" y="5629"/>
                  </a:cubicBezTo>
                  <a:cubicBezTo>
                    <a:pt x="2190" y="5618"/>
                    <a:pt x="2202" y="5615"/>
                    <a:pt x="2191" y="5591"/>
                  </a:cubicBezTo>
                  <a:cubicBezTo>
                    <a:pt x="2180" y="5568"/>
                    <a:pt x="2177" y="5555"/>
                    <a:pt x="2173" y="5550"/>
                  </a:cubicBezTo>
                  <a:cubicBezTo>
                    <a:pt x="2169" y="5544"/>
                    <a:pt x="2162" y="5536"/>
                    <a:pt x="2170" y="5537"/>
                  </a:cubicBezTo>
                  <a:cubicBezTo>
                    <a:pt x="2178" y="5538"/>
                    <a:pt x="2181" y="5534"/>
                    <a:pt x="2188" y="5537"/>
                  </a:cubicBezTo>
                  <a:cubicBezTo>
                    <a:pt x="2195" y="5540"/>
                    <a:pt x="2205" y="5531"/>
                    <a:pt x="2206" y="5527"/>
                  </a:cubicBezTo>
                  <a:cubicBezTo>
                    <a:pt x="2208" y="5523"/>
                    <a:pt x="2198" y="5519"/>
                    <a:pt x="2209" y="5517"/>
                  </a:cubicBezTo>
                  <a:cubicBezTo>
                    <a:pt x="2220" y="5516"/>
                    <a:pt x="2223" y="5513"/>
                    <a:pt x="2219" y="5495"/>
                  </a:cubicBezTo>
                  <a:cubicBezTo>
                    <a:pt x="2215" y="5477"/>
                    <a:pt x="2220" y="5478"/>
                    <a:pt x="2209" y="5474"/>
                  </a:cubicBezTo>
                  <a:cubicBezTo>
                    <a:pt x="2198" y="5470"/>
                    <a:pt x="2197" y="5474"/>
                    <a:pt x="2191" y="5467"/>
                  </a:cubicBezTo>
                  <a:cubicBezTo>
                    <a:pt x="2185" y="5460"/>
                    <a:pt x="2178" y="5463"/>
                    <a:pt x="2167" y="5476"/>
                  </a:cubicBezTo>
                  <a:cubicBezTo>
                    <a:pt x="2156" y="5488"/>
                    <a:pt x="2151" y="5490"/>
                    <a:pt x="2142" y="5497"/>
                  </a:cubicBezTo>
                  <a:cubicBezTo>
                    <a:pt x="2134" y="5504"/>
                    <a:pt x="2127" y="5498"/>
                    <a:pt x="2124" y="5512"/>
                  </a:cubicBezTo>
                  <a:cubicBezTo>
                    <a:pt x="2121" y="5526"/>
                    <a:pt x="2120" y="5526"/>
                    <a:pt x="2113" y="5530"/>
                  </a:cubicBezTo>
                  <a:cubicBezTo>
                    <a:pt x="2106" y="5534"/>
                    <a:pt x="2106" y="5541"/>
                    <a:pt x="2091" y="5543"/>
                  </a:cubicBezTo>
                  <a:cubicBezTo>
                    <a:pt x="2075" y="5544"/>
                    <a:pt x="2073" y="5552"/>
                    <a:pt x="2063" y="5550"/>
                  </a:cubicBezTo>
                  <a:cubicBezTo>
                    <a:pt x="2053" y="5547"/>
                    <a:pt x="2053" y="5552"/>
                    <a:pt x="2041" y="5550"/>
                  </a:cubicBezTo>
                  <a:cubicBezTo>
                    <a:pt x="2028" y="5547"/>
                    <a:pt x="2028" y="5550"/>
                    <a:pt x="2022" y="5550"/>
                  </a:cubicBezTo>
                  <a:cubicBezTo>
                    <a:pt x="2017" y="5550"/>
                    <a:pt x="2015" y="5550"/>
                    <a:pt x="2013" y="5558"/>
                  </a:cubicBezTo>
                  <a:cubicBezTo>
                    <a:pt x="2010" y="5566"/>
                    <a:pt x="2008" y="5576"/>
                    <a:pt x="2008" y="5580"/>
                  </a:cubicBezTo>
                  <a:cubicBezTo>
                    <a:pt x="2008" y="5584"/>
                    <a:pt x="2011" y="5589"/>
                    <a:pt x="2006" y="5593"/>
                  </a:cubicBezTo>
                  <a:cubicBezTo>
                    <a:pt x="2000" y="5597"/>
                    <a:pt x="2006" y="5608"/>
                    <a:pt x="2000" y="5597"/>
                  </a:cubicBezTo>
                  <a:cubicBezTo>
                    <a:pt x="1995" y="5586"/>
                    <a:pt x="1997" y="5579"/>
                    <a:pt x="1990" y="5575"/>
                  </a:cubicBezTo>
                  <a:cubicBezTo>
                    <a:pt x="1983" y="5570"/>
                    <a:pt x="1985" y="5561"/>
                    <a:pt x="1976" y="5566"/>
                  </a:cubicBezTo>
                  <a:cubicBezTo>
                    <a:pt x="1968" y="5572"/>
                    <a:pt x="1968" y="5573"/>
                    <a:pt x="1960" y="5579"/>
                  </a:cubicBezTo>
                  <a:cubicBezTo>
                    <a:pt x="1951" y="5584"/>
                    <a:pt x="1949" y="5587"/>
                    <a:pt x="1947" y="5591"/>
                  </a:cubicBezTo>
                  <a:cubicBezTo>
                    <a:pt x="1946" y="5596"/>
                    <a:pt x="1953" y="5601"/>
                    <a:pt x="1946" y="5605"/>
                  </a:cubicBezTo>
                  <a:cubicBezTo>
                    <a:pt x="1939" y="5609"/>
                    <a:pt x="1933" y="5614"/>
                    <a:pt x="1933" y="5614"/>
                  </a:cubicBezTo>
                  <a:cubicBezTo>
                    <a:pt x="1933" y="5614"/>
                    <a:pt x="1944" y="5679"/>
                    <a:pt x="1936" y="5683"/>
                  </a:cubicBezTo>
                  <a:cubicBezTo>
                    <a:pt x="1928" y="5688"/>
                    <a:pt x="1911" y="5693"/>
                    <a:pt x="1907" y="5703"/>
                  </a:cubicBezTo>
                  <a:cubicBezTo>
                    <a:pt x="1903" y="5713"/>
                    <a:pt x="1896" y="5722"/>
                    <a:pt x="1883" y="5727"/>
                  </a:cubicBezTo>
                  <a:cubicBezTo>
                    <a:pt x="1870" y="5731"/>
                    <a:pt x="1869" y="5739"/>
                    <a:pt x="1869" y="5739"/>
                  </a:cubicBezTo>
                  <a:cubicBezTo>
                    <a:pt x="1869" y="5739"/>
                    <a:pt x="1873" y="5754"/>
                    <a:pt x="1868" y="5757"/>
                  </a:cubicBezTo>
                  <a:cubicBezTo>
                    <a:pt x="1862" y="5760"/>
                    <a:pt x="1872" y="5768"/>
                    <a:pt x="1862" y="5760"/>
                  </a:cubicBezTo>
                  <a:cubicBezTo>
                    <a:pt x="1852" y="5752"/>
                    <a:pt x="1836" y="5757"/>
                    <a:pt x="1831" y="5746"/>
                  </a:cubicBezTo>
                  <a:cubicBezTo>
                    <a:pt x="1827" y="5735"/>
                    <a:pt x="1820" y="5731"/>
                    <a:pt x="1809" y="5722"/>
                  </a:cubicBezTo>
                  <a:cubicBezTo>
                    <a:pt x="1798" y="5714"/>
                    <a:pt x="1785" y="5720"/>
                    <a:pt x="1778" y="5707"/>
                  </a:cubicBezTo>
                  <a:cubicBezTo>
                    <a:pt x="1772" y="5694"/>
                    <a:pt x="1752" y="5690"/>
                    <a:pt x="1748" y="5688"/>
                  </a:cubicBezTo>
                  <a:cubicBezTo>
                    <a:pt x="1744" y="5685"/>
                    <a:pt x="1737" y="5686"/>
                    <a:pt x="1728" y="5688"/>
                  </a:cubicBezTo>
                  <a:cubicBezTo>
                    <a:pt x="1720" y="5689"/>
                    <a:pt x="1719" y="5693"/>
                    <a:pt x="1716" y="5689"/>
                  </a:cubicBezTo>
                  <a:cubicBezTo>
                    <a:pt x="1713" y="5685"/>
                    <a:pt x="1707" y="5675"/>
                    <a:pt x="1703" y="5674"/>
                  </a:cubicBezTo>
                  <a:cubicBezTo>
                    <a:pt x="1699" y="5672"/>
                    <a:pt x="1693" y="5674"/>
                    <a:pt x="1687" y="5679"/>
                  </a:cubicBezTo>
                  <a:cubicBezTo>
                    <a:pt x="1680" y="5685"/>
                    <a:pt x="1675" y="5692"/>
                    <a:pt x="1670" y="5696"/>
                  </a:cubicBezTo>
                  <a:cubicBezTo>
                    <a:pt x="1664" y="5700"/>
                    <a:pt x="1656" y="5707"/>
                    <a:pt x="1656" y="5707"/>
                  </a:cubicBezTo>
                  <a:cubicBezTo>
                    <a:pt x="1656" y="5707"/>
                    <a:pt x="1647" y="5714"/>
                    <a:pt x="1641" y="5713"/>
                  </a:cubicBezTo>
                  <a:cubicBezTo>
                    <a:pt x="1634" y="5711"/>
                    <a:pt x="1621" y="5710"/>
                    <a:pt x="1618" y="5714"/>
                  </a:cubicBezTo>
                  <a:cubicBezTo>
                    <a:pt x="1615" y="5718"/>
                    <a:pt x="1610" y="5724"/>
                    <a:pt x="1606" y="5727"/>
                  </a:cubicBezTo>
                  <a:cubicBezTo>
                    <a:pt x="1601" y="5729"/>
                    <a:pt x="1596" y="5738"/>
                    <a:pt x="1592" y="5733"/>
                  </a:cubicBezTo>
                  <a:cubicBezTo>
                    <a:pt x="1588" y="5729"/>
                    <a:pt x="1581" y="5727"/>
                    <a:pt x="1576" y="5725"/>
                  </a:cubicBezTo>
                  <a:cubicBezTo>
                    <a:pt x="1572" y="5724"/>
                    <a:pt x="1560" y="5715"/>
                    <a:pt x="1553" y="5718"/>
                  </a:cubicBezTo>
                  <a:cubicBezTo>
                    <a:pt x="1546" y="5721"/>
                    <a:pt x="1537" y="5727"/>
                    <a:pt x="1532" y="5717"/>
                  </a:cubicBezTo>
                  <a:cubicBezTo>
                    <a:pt x="1526" y="5707"/>
                    <a:pt x="1521" y="5692"/>
                    <a:pt x="1521" y="5686"/>
                  </a:cubicBezTo>
                  <a:cubicBezTo>
                    <a:pt x="1521" y="5681"/>
                    <a:pt x="1510" y="5668"/>
                    <a:pt x="1503" y="5665"/>
                  </a:cubicBezTo>
                  <a:cubicBezTo>
                    <a:pt x="1496" y="5662"/>
                    <a:pt x="1482" y="5654"/>
                    <a:pt x="1479" y="5650"/>
                  </a:cubicBezTo>
                  <a:cubicBezTo>
                    <a:pt x="1476" y="5646"/>
                    <a:pt x="1466" y="5639"/>
                    <a:pt x="1459" y="5633"/>
                  </a:cubicBezTo>
                  <a:cubicBezTo>
                    <a:pt x="1452" y="5628"/>
                    <a:pt x="1450" y="5625"/>
                    <a:pt x="1444" y="5619"/>
                  </a:cubicBezTo>
                  <a:cubicBezTo>
                    <a:pt x="1438" y="5614"/>
                    <a:pt x="1437" y="5607"/>
                    <a:pt x="1437" y="5598"/>
                  </a:cubicBezTo>
                  <a:cubicBezTo>
                    <a:pt x="1437" y="5590"/>
                    <a:pt x="1434" y="5577"/>
                    <a:pt x="1431" y="5573"/>
                  </a:cubicBezTo>
                  <a:cubicBezTo>
                    <a:pt x="1429" y="5569"/>
                    <a:pt x="1423" y="5565"/>
                    <a:pt x="1424" y="5556"/>
                  </a:cubicBezTo>
                  <a:cubicBezTo>
                    <a:pt x="1426" y="5548"/>
                    <a:pt x="1424" y="5540"/>
                    <a:pt x="1424" y="5536"/>
                  </a:cubicBezTo>
                  <a:cubicBezTo>
                    <a:pt x="1424" y="5531"/>
                    <a:pt x="1427" y="5529"/>
                    <a:pt x="1424" y="5523"/>
                  </a:cubicBezTo>
                  <a:cubicBezTo>
                    <a:pt x="1422" y="5517"/>
                    <a:pt x="1416" y="5509"/>
                    <a:pt x="1419" y="5505"/>
                  </a:cubicBezTo>
                  <a:cubicBezTo>
                    <a:pt x="1422" y="5501"/>
                    <a:pt x="1423" y="5499"/>
                    <a:pt x="1426" y="5494"/>
                  </a:cubicBezTo>
                  <a:cubicBezTo>
                    <a:pt x="1429" y="5488"/>
                    <a:pt x="1429" y="5480"/>
                    <a:pt x="1427" y="5476"/>
                  </a:cubicBezTo>
                  <a:cubicBezTo>
                    <a:pt x="1426" y="5471"/>
                    <a:pt x="1426" y="5463"/>
                    <a:pt x="1424" y="5458"/>
                  </a:cubicBezTo>
                  <a:cubicBezTo>
                    <a:pt x="1423" y="5452"/>
                    <a:pt x="1426" y="5438"/>
                    <a:pt x="1426" y="5431"/>
                  </a:cubicBezTo>
                  <a:cubicBezTo>
                    <a:pt x="1426" y="5424"/>
                    <a:pt x="1427" y="5424"/>
                    <a:pt x="1422" y="5416"/>
                  </a:cubicBezTo>
                  <a:cubicBezTo>
                    <a:pt x="1416" y="5407"/>
                    <a:pt x="1413" y="5403"/>
                    <a:pt x="1415" y="5399"/>
                  </a:cubicBezTo>
                  <a:cubicBezTo>
                    <a:pt x="1416" y="5395"/>
                    <a:pt x="1419" y="5386"/>
                    <a:pt x="1419" y="5381"/>
                  </a:cubicBezTo>
                  <a:cubicBezTo>
                    <a:pt x="1419" y="5375"/>
                    <a:pt x="1416" y="5370"/>
                    <a:pt x="1420" y="5367"/>
                  </a:cubicBezTo>
                  <a:cubicBezTo>
                    <a:pt x="1424" y="5364"/>
                    <a:pt x="1424" y="5364"/>
                    <a:pt x="1429" y="5357"/>
                  </a:cubicBezTo>
                  <a:cubicBezTo>
                    <a:pt x="1433" y="5350"/>
                    <a:pt x="1440" y="5343"/>
                    <a:pt x="1438" y="5339"/>
                  </a:cubicBezTo>
                  <a:cubicBezTo>
                    <a:pt x="1437" y="5335"/>
                    <a:pt x="1426" y="5318"/>
                    <a:pt x="1426" y="5318"/>
                  </a:cubicBezTo>
                  <a:cubicBezTo>
                    <a:pt x="1426" y="5318"/>
                    <a:pt x="1423" y="5317"/>
                    <a:pt x="1424" y="5310"/>
                  </a:cubicBezTo>
                  <a:cubicBezTo>
                    <a:pt x="1426" y="5303"/>
                    <a:pt x="1429" y="5285"/>
                    <a:pt x="1429" y="5285"/>
                  </a:cubicBezTo>
                  <a:cubicBezTo>
                    <a:pt x="1429" y="5285"/>
                    <a:pt x="1429" y="5272"/>
                    <a:pt x="1422" y="5272"/>
                  </a:cubicBezTo>
                  <a:cubicBezTo>
                    <a:pt x="1415" y="5272"/>
                    <a:pt x="1415" y="5272"/>
                    <a:pt x="1405" y="5274"/>
                  </a:cubicBezTo>
                  <a:cubicBezTo>
                    <a:pt x="1395" y="5275"/>
                    <a:pt x="1383" y="5278"/>
                    <a:pt x="1383" y="5274"/>
                  </a:cubicBezTo>
                  <a:cubicBezTo>
                    <a:pt x="1383" y="5269"/>
                    <a:pt x="1380" y="5275"/>
                    <a:pt x="1378" y="5264"/>
                  </a:cubicBezTo>
                  <a:cubicBezTo>
                    <a:pt x="1377" y="5253"/>
                    <a:pt x="1380" y="5253"/>
                    <a:pt x="1374" y="5243"/>
                  </a:cubicBezTo>
                  <a:cubicBezTo>
                    <a:pt x="1369" y="5233"/>
                    <a:pt x="1369" y="5219"/>
                    <a:pt x="1362" y="5218"/>
                  </a:cubicBezTo>
                  <a:cubicBezTo>
                    <a:pt x="1355" y="5216"/>
                    <a:pt x="1346" y="5225"/>
                    <a:pt x="1334" y="5222"/>
                  </a:cubicBezTo>
                  <a:cubicBezTo>
                    <a:pt x="1321" y="5219"/>
                    <a:pt x="1316" y="5208"/>
                    <a:pt x="1305" y="5211"/>
                  </a:cubicBezTo>
                  <a:cubicBezTo>
                    <a:pt x="1293" y="5214"/>
                    <a:pt x="1300" y="5219"/>
                    <a:pt x="1282" y="5221"/>
                  </a:cubicBezTo>
                  <a:cubicBezTo>
                    <a:pt x="1264" y="5222"/>
                    <a:pt x="1260" y="5226"/>
                    <a:pt x="1253" y="5223"/>
                  </a:cubicBezTo>
                  <a:cubicBezTo>
                    <a:pt x="1246" y="5221"/>
                    <a:pt x="1254" y="5221"/>
                    <a:pt x="1246" y="5221"/>
                  </a:cubicBezTo>
                  <a:cubicBezTo>
                    <a:pt x="1238" y="5221"/>
                    <a:pt x="1232" y="5228"/>
                    <a:pt x="1232" y="5228"/>
                  </a:cubicBezTo>
                  <a:cubicBezTo>
                    <a:pt x="1232" y="5228"/>
                    <a:pt x="1229" y="5230"/>
                    <a:pt x="1220" y="5230"/>
                  </a:cubicBezTo>
                  <a:cubicBezTo>
                    <a:pt x="1210" y="5230"/>
                    <a:pt x="1193" y="5235"/>
                    <a:pt x="1193" y="5235"/>
                  </a:cubicBezTo>
                  <a:cubicBezTo>
                    <a:pt x="1193" y="5235"/>
                    <a:pt x="1193" y="5228"/>
                    <a:pt x="1189" y="5225"/>
                  </a:cubicBezTo>
                  <a:cubicBezTo>
                    <a:pt x="1185" y="5222"/>
                    <a:pt x="1176" y="5221"/>
                    <a:pt x="1171" y="5222"/>
                  </a:cubicBezTo>
                  <a:cubicBezTo>
                    <a:pt x="1165" y="5223"/>
                    <a:pt x="1160" y="5228"/>
                    <a:pt x="1156" y="5230"/>
                  </a:cubicBezTo>
                  <a:cubicBezTo>
                    <a:pt x="1151" y="5233"/>
                    <a:pt x="1146" y="5240"/>
                    <a:pt x="1146" y="5240"/>
                  </a:cubicBezTo>
                  <a:cubicBezTo>
                    <a:pt x="1146" y="5240"/>
                    <a:pt x="1137" y="5236"/>
                    <a:pt x="1137" y="5232"/>
                  </a:cubicBezTo>
                  <a:cubicBezTo>
                    <a:pt x="1137" y="5228"/>
                    <a:pt x="1129" y="5228"/>
                    <a:pt x="1129" y="5228"/>
                  </a:cubicBezTo>
                  <a:cubicBezTo>
                    <a:pt x="1129" y="5228"/>
                    <a:pt x="1129" y="5236"/>
                    <a:pt x="1123" y="5237"/>
                  </a:cubicBezTo>
                  <a:cubicBezTo>
                    <a:pt x="1118" y="5239"/>
                    <a:pt x="1118" y="5239"/>
                    <a:pt x="1118" y="5239"/>
                  </a:cubicBezTo>
                  <a:cubicBezTo>
                    <a:pt x="1118" y="5239"/>
                    <a:pt x="1128" y="5215"/>
                    <a:pt x="1116" y="5218"/>
                  </a:cubicBezTo>
                  <a:cubicBezTo>
                    <a:pt x="1105" y="5221"/>
                    <a:pt x="1105" y="5221"/>
                    <a:pt x="1105" y="5221"/>
                  </a:cubicBezTo>
                  <a:cubicBezTo>
                    <a:pt x="1105" y="5221"/>
                    <a:pt x="1104" y="5203"/>
                    <a:pt x="1108" y="5201"/>
                  </a:cubicBezTo>
                  <a:cubicBezTo>
                    <a:pt x="1122" y="5194"/>
                    <a:pt x="1128" y="5187"/>
                    <a:pt x="1128" y="5187"/>
                  </a:cubicBezTo>
                  <a:cubicBezTo>
                    <a:pt x="1126" y="5172"/>
                    <a:pt x="1126" y="5172"/>
                    <a:pt x="1126" y="5172"/>
                  </a:cubicBezTo>
                  <a:cubicBezTo>
                    <a:pt x="1123" y="5152"/>
                    <a:pt x="1123" y="5152"/>
                    <a:pt x="1123" y="5152"/>
                  </a:cubicBezTo>
                  <a:cubicBezTo>
                    <a:pt x="1123" y="5152"/>
                    <a:pt x="1126" y="5104"/>
                    <a:pt x="1125" y="5092"/>
                  </a:cubicBezTo>
                  <a:cubicBezTo>
                    <a:pt x="1123" y="5081"/>
                    <a:pt x="1125" y="5065"/>
                    <a:pt x="1125" y="5059"/>
                  </a:cubicBezTo>
                  <a:cubicBezTo>
                    <a:pt x="1125" y="5053"/>
                    <a:pt x="1130" y="5041"/>
                    <a:pt x="1125" y="5038"/>
                  </a:cubicBezTo>
                  <a:cubicBezTo>
                    <a:pt x="1119" y="5035"/>
                    <a:pt x="1111" y="5030"/>
                    <a:pt x="1111" y="5024"/>
                  </a:cubicBezTo>
                  <a:cubicBezTo>
                    <a:pt x="1111" y="5019"/>
                    <a:pt x="1111" y="5005"/>
                    <a:pt x="1116" y="5009"/>
                  </a:cubicBezTo>
                  <a:cubicBezTo>
                    <a:pt x="1122" y="5013"/>
                    <a:pt x="1129" y="5012"/>
                    <a:pt x="1132" y="5023"/>
                  </a:cubicBezTo>
                  <a:cubicBezTo>
                    <a:pt x="1135" y="5034"/>
                    <a:pt x="1136" y="5041"/>
                    <a:pt x="1140" y="5037"/>
                  </a:cubicBezTo>
                  <a:cubicBezTo>
                    <a:pt x="1151" y="5025"/>
                    <a:pt x="1162" y="5013"/>
                    <a:pt x="1157" y="5006"/>
                  </a:cubicBezTo>
                  <a:cubicBezTo>
                    <a:pt x="1151" y="4999"/>
                    <a:pt x="1150" y="4992"/>
                    <a:pt x="1151" y="4985"/>
                  </a:cubicBezTo>
                  <a:cubicBezTo>
                    <a:pt x="1153" y="4978"/>
                    <a:pt x="1153" y="4978"/>
                    <a:pt x="1153" y="4968"/>
                  </a:cubicBezTo>
                  <a:cubicBezTo>
                    <a:pt x="1153" y="4931"/>
                    <a:pt x="1153" y="4931"/>
                    <a:pt x="1153" y="4931"/>
                  </a:cubicBezTo>
                  <a:cubicBezTo>
                    <a:pt x="1153" y="4924"/>
                    <a:pt x="1157" y="4911"/>
                    <a:pt x="1158" y="4904"/>
                  </a:cubicBezTo>
                  <a:cubicBezTo>
                    <a:pt x="1160" y="4897"/>
                    <a:pt x="1162" y="4885"/>
                    <a:pt x="1162" y="4885"/>
                  </a:cubicBezTo>
                  <a:cubicBezTo>
                    <a:pt x="1162" y="4885"/>
                    <a:pt x="1162" y="4882"/>
                    <a:pt x="1168" y="4876"/>
                  </a:cubicBezTo>
                  <a:cubicBezTo>
                    <a:pt x="1174" y="4871"/>
                    <a:pt x="1179" y="4869"/>
                    <a:pt x="1182" y="4862"/>
                  </a:cubicBezTo>
                  <a:cubicBezTo>
                    <a:pt x="1185" y="4855"/>
                    <a:pt x="1189" y="4848"/>
                    <a:pt x="1189" y="4844"/>
                  </a:cubicBezTo>
                  <a:cubicBezTo>
                    <a:pt x="1189" y="4840"/>
                    <a:pt x="1185" y="4826"/>
                    <a:pt x="1185" y="4821"/>
                  </a:cubicBezTo>
                  <a:cubicBezTo>
                    <a:pt x="1185" y="4815"/>
                    <a:pt x="1183" y="4805"/>
                    <a:pt x="1182" y="4798"/>
                  </a:cubicBezTo>
                  <a:cubicBezTo>
                    <a:pt x="1181" y="4791"/>
                    <a:pt x="1176" y="4784"/>
                    <a:pt x="1176" y="4784"/>
                  </a:cubicBezTo>
                  <a:cubicBezTo>
                    <a:pt x="1176" y="4784"/>
                    <a:pt x="1174" y="4779"/>
                    <a:pt x="1168" y="4787"/>
                  </a:cubicBezTo>
                  <a:cubicBezTo>
                    <a:pt x="1162" y="4796"/>
                    <a:pt x="1164" y="4806"/>
                    <a:pt x="1160" y="4802"/>
                  </a:cubicBezTo>
                  <a:cubicBezTo>
                    <a:pt x="1147" y="4793"/>
                    <a:pt x="1150" y="4794"/>
                    <a:pt x="1137" y="4789"/>
                  </a:cubicBezTo>
                  <a:cubicBezTo>
                    <a:pt x="1125" y="4783"/>
                    <a:pt x="1116" y="4786"/>
                    <a:pt x="1110" y="4790"/>
                  </a:cubicBezTo>
                  <a:cubicBezTo>
                    <a:pt x="1103" y="4794"/>
                    <a:pt x="1103" y="4794"/>
                    <a:pt x="1097" y="4796"/>
                  </a:cubicBezTo>
                  <a:cubicBezTo>
                    <a:pt x="1091" y="4797"/>
                    <a:pt x="1091" y="4794"/>
                    <a:pt x="1084" y="4800"/>
                  </a:cubicBezTo>
                  <a:cubicBezTo>
                    <a:pt x="1077" y="4805"/>
                    <a:pt x="1077" y="4805"/>
                    <a:pt x="1077" y="4805"/>
                  </a:cubicBezTo>
                  <a:cubicBezTo>
                    <a:pt x="1077" y="4805"/>
                    <a:pt x="1058" y="4809"/>
                    <a:pt x="1045" y="4812"/>
                  </a:cubicBezTo>
                  <a:cubicBezTo>
                    <a:pt x="1033" y="4815"/>
                    <a:pt x="1027" y="4819"/>
                    <a:pt x="1016" y="4821"/>
                  </a:cubicBezTo>
                  <a:cubicBezTo>
                    <a:pt x="1005" y="4822"/>
                    <a:pt x="1005" y="4822"/>
                    <a:pt x="1005" y="4822"/>
                  </a:cubicBezTo>
                  <a:cubicBezTo>
                    <a:pt x="998" y="4836"/>
                    <a:pt x="998" y="4836"/>
                    <a:pt x="998" y="4836"/>
                  </a:cubicBezTo>
                  <a:cubicBezTo>
                    <a:pt x="999" y="4851"/>
                    <a:pt x="999" y="4851"/>
                    <a:pt x="999" y="4851"/>
                  </a:cubicBezTo>
                  <a:cubicBezTo>
                    <a:pt x="999" y="4851"/>
                    <a:pt x="985" y="4864"/>
                    <a:pt x="990" y="4868"/>
                  </a:cubicBezTo>
                  <a:cubicBezTo>
                    <a:pt x="994" y="4872"/>
                    <a:pt x="994" y="4882"/>
                    <a:pt x="995" y="4886"/>
                  </a:cubicBezTo>
                  <a:cubicBezTo>
                    <a:pt x="997" y="4890"/>
                    <a:pt x="999" y="4892"/>
                    <a:pt x="998" y="4900"/>
                  </a:cubicBezTo>
                  <a:cubicBezTo>
                    <a:pt x="997" y="4908"/>
                    <a:pt x="997" y="4913"/>
                    <a:pt x="997" y="4917"/>
                  </a:cubicBezTo>
                  <a:cubicBezTo>
                    <a:pt x="997" y="4921"/>
                    <a:pt x="991" y="4928"/>
                    <a:pt x="990" y="4932"/>
                  </a:cubicBezTo>
                  <a:cubicBezTo>
                    <a:pt x="988" y="4936"/>
                    <a:pt x="984" y="4953"/>
                    <a:pt x="981" y="4960"/>
                  </a:cubicBezTo>
                  <a:cubicBezTo>
                    <a:pt x="978" y="4967"/>
                    <a:pt x="974" y="4971"/>
                    <a:pt x="974" y="4971"/>
                  </a:cubicBezTo>
                  <a:cubicBezTo>
                    <a:pt x="974" y="4971"/>
                    <a:pt x="969" y="4982"/>
                    <a:pt x="965" y="4984"/>
                  </a:cubicBezTo>
                  <a:cubicBezTo>
                    <a:pt x="960" y="4985"/>
                    <a:pt x="960" y="4985"/>
                    <a:pt x="960" y="4985"/>
                  </a:cubicBezTo>
                  <a:cubicBezTo>
                    <a:pt x="960" y="4985"/>
                    <a:pt x="952" y="4993"/>
                    <a:pt x="948" y="4998"/>
                  </a:cubicBezTo>
                  <a:cubicBezTo>
                    <a:pt x="944" y="5002"/>
                    <a:pt x="944" y="5002"/>
                    <a:pt x="944" y="5002"/>
                  </a:cubicBezTo>
                  <a:cubicBezTo>
                    <a:pt x="944" y="5002"/>
                    <a:pt x="953" y="5009"/>
                    <a:pt x="953" y="5014"/>
                  </a:cubicBezTo>
                  <a:cubicBezTo>
                    <a:pt x="953" y="5020"/>
                    <a:pt x="958" y="5019"/>
                    <a:pt x="952" y="5025"/>
                  </a:cubicBezTo>
                  <a:cubicBezTo>
                    <a:pt x="946" y="5032"/>
                    <a:pt x="946" y="5032"/>
                    <a:pt x="946" y="5032"/>
                  </a:cubicBezTo>
                  <a:cubicBezTo>
                    <a:pt x="946" y="5032"/>
                    <a:pt x="934" y="5028"/>
                    <a:pt x="934" y="5020"/>
                  </a:cubicBezTo>
                  <a:cubicBezTo>
                    <a:pt x="934" y="5012"/>
                    <a:pt x="931" y="5002"/>
                    <a:pt x="923" y="5006"/>
                  </a:cubicBezTo>
                  <a:cubicBezTo>
                    <a:pt x="914" y="5010"/>
                    <a:pt x="916" y="5012"/>
                    <a:pt x="910" y="5019"/>
                  </a:cubicBezTo>
                  <a:cubicBezTo>
                    <a:pt x="905" y="5025"/>
                    <a:pt x="891" y="5037"/>
                    <a:pt x="891" y="5037"/>
                  </a:cubicBezTo>
                  <a:cubicBezTo>
                    <a:pt x="863" y="5041"/>
                    <a:pt x="863" y="5041"/>
                    <a:pt x="863" y="5041"/>
                  </a:cubicBezTo>
                  <a:cubicBezTo>
                    <a:pt x="863" y="5041"/>
                    <a:pt x="866" y="5030"/>
                    <a:pt x="857" y="5034"/>
                  </a:cubicBezTo>
                  <a:cubicBezTo>
                    <a:pt x="849" y="5038"/>
                    <a:pt x="843" y="5039"/>
                    <a:pt x="838" y="5039"/>
                  </a:cubicBezTo>
                  <a:cubicBezTo>
                    <a:pt x="832" y="5039"/>
                    <a:pt x="832" y="5048"/>
                    <a:pt x="827" y="5048"/>
                  </a:cubicBezTo>
                  <a:cubicBezTo>
                    <a:pt x="821" y="5048"/>
                    <a:pt x="815" y="5052"/>
                    <a:pt x="811" y="5052"/>
                  </a:cubicBezTo>
                  <a:cubicBezTo>
                    <a:pt x="795" y="5031"/>
                    <a:pt x="795" y="5031"/>
                    <a:pt x="795" y="5031"/>
                  </a:cubicBezTo>
                  <a:cubicBezTo>
                    <a:pt x="795" y="5031"/>
                    <a:pt x="769" y="5014"/>
                    <a:pt x="761" y="5014"/>
                  </a:cubicBezTo>
                  <a:cubicBezTo>
                    <a:pt x="753" y="5014"/>
                    <a:pt x="750" y="5014"/>
                    <a:pt x="747" y="5006"/>
                  </a:cubicBezTo>
                  <a:cubicBezTo>
                    <a:pt x="744" y="4998"/>
                    <a:pt x="743" y="4984"/>
                    <a:pt x="743" y="4984"/>
                  </a:cubicBezTo>
                  <a:cubicBezTo>
                    <a:pt x="736" y="4966"/>
                    <a:pt x="736" y="4966"/>
                    <a:pt x="736" y="4966"/>
                  </a:cubicBezTo>
                  <a:cubicBezTo>
                    <a:pt x="725" y="4954"/>
                    <a:pt x="725" y="4954"/>
                    <a:pt x="725" y="4954"/>
                  </a:cubicBezTo>
                  <a:cubicBezTo>
                    <a:pt x="715" y="4942"/>
                    <a:pt x="715" y="4942"/>
                    <a:pt x="715" y="4942"/>
                  </a:cubicBezTo>
                  <a:cubicBezTo>
                    <a:pt x="705" y="4922"/>
                    <a:pt x="705" y="4922"/>
                    <a:pt x="705" y="4922"/>
                  </a:cubicBezTo>
                  <a:cubicBezTo>
                    <a:pt x="698" y="4906"/>
                    <a:pt x="698" y="4906"/>
                    <a:pt x="698" y="4906"/>
                  </a:cubicBezTo>
                  <a:cubicBezTo>
                    <a:pt x="698" y="4906"/>
                    <a:pt x="693" y="4899"/>
                    <a:pt x="689" y="4894"/>
                  </a:cubicBezTo>
                  <a:cubicBezTo>
                    <a:pt x="684" y="4890"/>
                    <a:pt x="683" y="4886"/>
                    <a:pt x="682" y="4879"/>
                  </a:cubicBezTo>
                  <a:cubicBezTo>
                    <a:pt x="680" y="4872"/>
                    <a:pt x="677" y="4864"/>
                    <a:pt x="677" y="4864"/>
                  </a:cubicBezTo>
                  <a:cubicBezTo>
                    <a:pt x="677" y="4864"/>
                    <a:pt x="679" y="4851"/>
                    <a:pt x="675" y="4840"/>
                  </a:cubicBezTo>
                  <a:cubicBezTo>
                    <a:pt x="670" y="4829"/>
                    <a:pt x="668" y="4819"/>
                    <a:pt x="668" y="4819"/>
                  </a:cubicBezTo>
                  <a:cubicBezTo>
                    <a:pt x="668" y="4798"/>
                    <a:pt x="668" y="4798"/>
                    <a:pt x="668" y="4798"/>
                  </a:cubicBezTo>
                  <a:cubicBezTo>
                    <a:pt x="651" y="4779"/>
                    <a:pt x="651" y="4779"/>
                    <a:pt x="651" y="4779"/>
                  </a:cubicBezTo>
                  <a:cubicBezTo>
                    <a:pt x="648" y="4752"/>
                    <a:pt x="648" y="4752"/>
                    <a:pt x="648" y="4752"/>
                  </a:cubicBezTo>
                  <a:cubicBezTo>
                    <a:pt x="645" y="4729"/>
                    <a:pt x="645" y="4729"/>
                    <a:pt x="645" y="4729"/>
                  </a:cubicBezTo>
                  <a:cubicBezTo>
                    <a:pt x="645" y="4697"/>
                    <a:pt x="645" y="4697"/>
                    <a:pt x="645" y="4697"/>
                  </a:cubicBezTo>
                  <a:cubicBezTo>
                    <a:pt x="641" y="4671"/>
                    <a:pt x="641" y="4671"/>
                    <a:pt x="641" y="4671"/>
                  </a:cubicBezTo>
                  <a:cubicBezTo>
                    <a:pt x="643" y="4649"/>
                    <a:pt x="643" y="4649"/>
                    <a:pt x="643" y="4649"/>
                  </a:cubicBezTo>
                  <a:cubicBezTo>
                    <a:pt x="647" y="4627"/>
                    <a:pt x="647" y="4627"/>
                    <a:pt x="647" y="4627"/>
                  </a:cubicBezTo>
                  <a:cubicBezTo>
                    <a:pt x="647" y="4627"/>
                    <a:pt x="648" y="4593"/>
                    <a:pt x="645" y="4582"/>
                  </a:cubicBezTo>
                  <a:cubicBezTo>
                    <a:pt x="643" y="4571"/>
                    <a:pt x="637" y="4561"/>
                    <a:pt x="644" y="4557"/>
                  </a:cubicBezTo>
                  <a:cubicBezTo>
                    <a:pt x="651" y="4553"/>
                    <a:pt x="661" y="4540"/>
                    <a:pt x="654" y="4535"/>
                  </a:cubicBezTo>
                  <a:cubicBezTo>
                    <a:pt x="647" y="4529"/>
                    <a:pt x="640" y="4506"/>
                    <a:pt x="645" y="4506"/>
                  </a:cubicBezTo>
                  <a:cubicBezTo>
                    <a:pt x="651" y="4506"/>
                    <a:pt x="657" y="4515"/>
                    <a:pt x="662" y="4503"/>
                  </a:cubicBezTo>
                  <a:cubicBezTo>
                    <a:pt x="668" y="4490"/>
                    <a:pt x="673" y="4485"/>
                    <a:pt x="670" y="4474"/>
                  </a:cubicBezTo>
                  <a:cubicBezTo>
                    <a:pt x="668" y="4462"/>
                    <a:pt x="672" y="4435"/>
                    <a:pt x="670" y="4423"/>
                  </a:cubicBezTo>
                  <a:cubicBezTo>
                    <a:pt x="669" y="4412"/>
                    <a:pt x="672" y="4405"/>
                    <a:pt x="666" y="4393"/>
                  </a:cubicBezTo>
                  <a:cubicBezTo>
                    <a:pt x="661" y="4380"/>
                    <a:pt x="655" y="4379"/>
                    <a:pt x="661" y="4366"/>
                  </a:cubicBezTo>
                  <a:cubicBezTo>
                    <a:pt x="666" y="4354"/>
                    <a:pt x="664" y="4347"/>
                    <a:pt x="664" y="4341"/>
                  </a:cubicBezTo>
                  <a:cubicBezTo>
                    <a:pt x="664" y="4336"/>
                    <a:pt x="673" y="4341"/>
                    <a:pt x="673" y="4336"/>
                  </a:cubicBezTo>
                  <a:cubicBezTo>
                    <a:pt x="673" y="4330"/>
                    <a:pt x="680" y="4320"/>
                    <a:pt x="677" y="4315"/>
                  </a:cubicBezTo>
                  <a:cubicBezTo>
                    <a:pt x="675" y="4309"/>
                    <a:pt x="676" y="4299"/>
                    <a:pt x="676" y="4295"/>
                  </a:cubicBezTo>
                  <a:cubicBezTo>
                    <a:pt x="676" y="4291"/>
                    <a:pt x="682" y="4283"/>
                    <a:pt x="680" y="4276"/>
                  </a:cubicBezTo>
                  <a:cubicBezTo>
                    <a:pt x="679" y="4269"/>
                    <a:pt x="680" y="4265"/>
                    <a:pt x="684" y="4265"/>
                  </a:cubicBezTo>
                  <a:cubicBezTo>
                    <a:pt x="689" y="4265"/>
                    <a:pt x="696" y="4267"/>
                    <a:pt x="698" y="4263"/>
                  </a:cubicBezTo>
                  <a:cubicBezTo>
                    <a:pt x="701" y="4259"/>
                    <a:pt x="707" y="4259"/>
                    <a:pt x="708" y="4251"/>
                  </a:cubicBezTo>
                  <a:cubicBezTo>
                    <a:pt x="710" y="4242"/>
                    <a:pt x="712" y="4234"/>
                    <a:pt x="712" y="4234"/>
                  </a:cubicBezTo>
                  <a:cubicBezTo>
                    <a:pt x="712" y="4234"/>
                    <a:pt x="729" y="4241"/>
                    <a:pt x="728" y="4248"/>
                  </a:cubicBezTo>
                  <a:cubicBezTo>
                    <a:pt x="726" y="4255"/>
                    <a:pt x="733" y="4258"/>
                    <a:pt x="742" y="4248"/>
                  </a:cubicBezTo>
                  <a:cubicBezTo>
                    <a:pt x="750" y="4238"/>
                    <a:pt x="757" y="4235"/>
                    <a:pt x="758" y="4227"/>
                  </a:cubicBezTo>
                  <a:cubicBezTo>
                    <a:pt x="760" y="4219"/>
                    <a:pt x="761" y="4214"/>
                    <a:pt x="768" y="4210"/>
                  </a:cubicBezTo>
                  <a:cubicBezTo>
                    <a:pt x="775" y="4206"/>
                    <a:pt x="781" y="4207"/>
                    <a:pt x="781" y="4199"/>
                  </a:cubicBezTo>
                  <a:cubicBezTo>
                    <a:pt x="781" y="4191"/>
                    <a:pt x="781" y="4181"/>
                    <a:pt x="781" y="4181"/>
                  </a:cubicBezTo>
                  <a:cubicBezTo>
                    <a:pt x="781" y="4181"/>
                    <a:pt x="783" y="4174"/>
                    <a:pt x="783" y="4170"/>
                  </a:cubicBezTo>
                  <a:cubicBezTo>
                    <a:pt x="783" y="4166"/>
                    <a:pt x="785" y="4154"/>
                    <a:pt x="789" y="4156"/>
                  </a:cubicBezTo>
                  <a:cubicBezTo>
                    <a:pt x="793" y="4157"/>
                    <a:pt x="793" y="4157"/>
                    <a:pt x="795" y="4164"/>
                  </a:cubicBezTo>
                  <a:cubicBezTo>
                    <a:pt x="795" y="4164"/>
                    <a:pt x="813" y="4173"/>
                    <a:pt x="817" y="4168"/>
                  </a:cubicBezTo>
                  <a:cubicBezTo>
                    <a:pt x="821" y="4164"/>
                    <a:pt x="829" y="4157"/>
                    <a:pt x="831" y="4153"/>
                  </a:cubicBezTo>
                  <a:cubicBezTo>
                    <a:pt x="832" y="4149"/>
                    <a:pt x="841" y="4147"/>
                    <a:pt x="847" y="4149"/>
                  </a:cubicBezTo>
                  <a:cubicBezTo>
                    <a:pt x="854" y="4150"/>
                    <a:pt x="867" y="4146"/>
                    <a:pt x="875" y="4154"/>
                  </a:cubicBezTo>
                  <a:cubicBezTo>
                    <a:pt x="884" y="4163"/>
                    <a:pt x="861" y="4159"/>
                    <a:pt x="884" y="4163"/>
                  </a:cubicBezTo>
                  <a:cubicBezTo>
                    <a:pt x="906" y="4167"/>
                    <a:pt x="900" y="4166"/>
                    <a:pt x="913" y="4166"/>
                  </a:cubicBezTo>
                  <a:cubicBezTo>
                    <a:pt x="926" y="4166"/>
                    <a:pt x="927" y="4170"/>
                    <a:pt x="931" y="4166"/>
                  </a:cubicBezTo>
                  <a:cubicBezTo>
                    <a:pt x="935" y="4161"/>
                    <a:pt x="933" y="4150"/>
                    <a:pt x="938" y="4152"/>
                  </a:cubicBezTo>
                  <a:cubicBezTo>
                    <a:pt x="944" y="4153"/>
                    <a:pt x="962" y="4171"/>
                    <a:pt x="963" y="4178"/>
                  </a:cubicBezTo>
                  <a:cubicBezTo>
                    <a:pt x="965" y="4185"/>
                    <a:pt x="973" y="4188"/>
                    <a:pt x="970" y="4193"/>
                  </a:cubicBezTo>
                  <a:cubicBezTo>
                    <a:pt x="967" y="4199"/>
                    <a:pt x="970" y="4202"/>
                    <a:pt x="978" y="4202"/>
                  </a:cubicBezTo>
                  <a:cubicBezTo>
                    <a:pt x="987" y="4202"/>
                    <a:pt x="998" y="4207"/>
                    <a:pt x="998" y="4203"/>
                  </a:cubicBezTo>
                  <a:cubicBezTo>
                    <a:pt x="998" y="4199"/>
                    <a:pt x="1000" y="4186"/>
                    <a:pt x="1004" y="4189"/>
                  </a:cubicBezTo>
                  <a:cubicBezTo>
                    <a:pt x="1015" y="4199"/>
                    <a:pt x="1020" y="4193"/>
                    <a:pt x="1022" y="4188"/>
                  </a:cubicBezTo>
                  <a:cubicBezTo>
                    <a:pt x="1023" y="4182"/>
                    <a:pt x="1018" y="4171"/>
                    <a:pt x="1026" y="4173"/>
                  </a:cubicBezTo>
                  <a:cubicBezTo>
                    <a:pt x="1034" y="4174"/>
                    <a:pt x="1037" y="4182"/>
                    <a:pt x="1040" y="4189"/>
                  </a:cubicBezTo>
                  <a:cubicBezTo>
                    <a:pt x="1043" y="4196"/>
                    <a:pt x="1062" y="4181"/>
                    <a:pt x="1054" y="4193"/>
                  </a:cubicBezTo>
                  <a:cubicBezTo>
                    <a:pt x="1045" y="4206"/>
                    <a:pt x="1040" y="4216"/>
                    <a:pt x="1048" y="4214"/>
                  </a:cubicBezTo>
                  <a:cubicBezTo>
                    <a:pt x="1057" y="4213"/>
                    <a:pt x="1069" y="4205"/>
                    <a:pt x="1069" y="4205"/>
                  </a:cubicBezTo>
                  <a:cubicBezTo>
                    <a:pt x="1079" y="4198"/>
                    <a:pt x="1090" y="4186"/>
                    <a:pt x="1086" y="4181"/>
                  </a:cubicBezTo>
                  <a:cubicBezTo>
                    <a:pt x="1082" y="4175"/>
                    <a:pt x="1080" y="4167"/>
                    <a:pt x="1070" y="4168"/>
                  </a:cubicBezTo>
                  <a:cubicBezTo>
                    <a:pt x="1061" y="4170"/>
                    <a:pt x="1052" y="4167"/>
                    <a:pt x="1052" y="4167"/>
                  </a:cubicBezTo>
                  <a:cubicBezTo>
                    <a:pt x="1052" y="4167"/>
                    <a:pt x="1044" y="4163"/>
                    <a:pt x="1048" y="4159"/>
                  </a:cubicBezTo>
                  <a:cubicBezTo>
                    <a:pt x="1052" y="4154"/>
                    <a:pt x="1058" y="4139"/>
                    <a:pt x="1058" y="4139"/>
                  </a:cubicBezTo>
                  <a:cubicBezTo>
                    <a:pt x="1058" y="4139"/>
                    <a:pt x="1066" y="4132"/>
                    <a:pt x="1059" y="4131"/>
                  </a:cubicBezTo>
                  <a:cubicBezTo>
                    <a:pt x="1052" y="4129"/>
                    <a:pt x="1043" y="4124"/>
                    <a:pt x="1043" y="4124"/>
                  </a:cubicBezTo>
                  <a:cubicBezTo>
                    <a:pt x="1043" y="4124"/>
                    <a:pt x="1047" y="4113"/>
                    <a:pt x="1038" y="4115"/>
                  </a:cubicBezTo>
                  <a:cubicBezTo>
                    <a:pt x="1030" y="4118"/>
                    <a:pt x="1024" y="4117"/>
                    <a:pt x="1020" y="4117"/>
                  </a:cubicBezTo>
                  <a:cubicBezTo>
                    <a:pt x="1016" y="4117"/>
                    <a:pt x="1016" y="4108"/>
                    <a:pt x="1016" y="4108"/>
                  </a:cubicBezTo>
                  <a:cubicBezTo>
                    <a:pt x="1016" y="4108"/>
                    <a:pt x="1018" y="4099"/>
                    <a:pt x="1023" y="4097"/>
                  </a:cubicBezTo>
                  <a:cubicBezTo>
                    <a:pt x="1029" y="4096"/>
                    <a:pt x="1034" y="4092"/>
                    <a:pt x="1036" y="4097"/>
                  </a:cubicBezTo>
                  <a:cubicBezTo>
                    <a:pt x="1037" y="4103"/>
                    <a:pt x="1030" y="4094"/>
                    <a:pt x="1037" y="4103"/>
                  </a:cubicBezTo>
                  <a:cubicBezTo>
                    <a:pt x="1044" y="4111"/>
                    <a:pt x="1048" y="4114"/>
                    <a:pt x="1054" y="4113"/>
                  </a:cubicBezTo>
                  <a:cubicBezTo>
                    <a:pt x="1054" y="4113"/>
                    <a:pt x="1054" y="4113"/>
                    <a:pt x="1054" y="4112"/>
                  </a:cubicBezTo>
                  <a:cubicBezTo>
                    <a:pt x="1054" y="4112"/>
                    <a:pt x="1055" y="4112"/>
                    <a:pt x="1059" y="4111"/>
                  </a:cubicBezTo>
                  <a:cubicBezTo>
                    <a:pt x="1070" y="4108"/>
                    <a:pt x="1065" y="4107"/>
                    <a:pt x="1076" y="4101"/>
                  </a:cubicBezTo>
                  <a:cubicBezTo>
                    <a:pt x="1087" y="4096"/>
                    <a:pt x="1091" y="4093"/>
                    <a:pt x="1101" y="4097"/>
                  </a:cubicBezTo>
                  <a:cubicBezTo>
                    <a:pt x="1111" y="4101"/>
                    <a:pt x="1114" y="4097"/>
                    <a:pt x="1119" y="4099"/>
                  </a:cubicBezTo>
                  <a:cubicBezTo>
                    <a:pt x="1125" y="4100"/>
                    <a:pt x="1128" y="4101"/>
                    <a:pt x="1130" y="4096"/>
                  </a:cubicBezTo>
                  <a:cubicBezTo>
                    <a:pt x="1139" y="4085"/>
                    <a:pt x="1139" y="4085"/>
                    <a:pt x="1139" y="4085"/>
                  </a:cubicBezTo>
                  <a:cubicBezTo>
                    <a:pt x="1144" y="4108"/>
                    <a:pt x="1144" y="4108"/>
                    <a:pt x="1144" y="4108"/>
                  </a:cubicBezTo>
                  <a:cubicBezTo>
                    <a:pt x="1144" y="4108"/>
                    <a:pt x="1167" y="4101"/>
                    <a:pt x="1165" y="4096"/>
                  </a:cubicBezTo>
                  <a:cubicBezTo>
                    <a:pt x="1164" y="4090"/>
                    <a:pt x="1174" y="4075"/>
                    <a:pt x="1183" y="4082"/>
                  </a:cubicBezTo>
                  <a:cubicBezTo>
                    <a:pt x="1193" y="4089"/>
                    <a:pt x="1207" y="4099"/>
                    <a:pt x="1218" y="4094"/>
                  </a:cubicBezTo>
                  <a:cubicBezTo>
                    <a:pt x="1229" y="4090"/>
                    <a:pt x="1238" y="4083"/>
                    <a:pt x="1242" y="4090"/>
                  </a:cubicBezTo>
                  <a:cubicBezTo>
                    <a:pt x="1246" y="4097"/>
                    <a:pt x="1253" y="4096"/>
                    <a:pt x="1259" y="4103"/>
                  </a:cubicBezTo>
                  <a:cubicBezTo>
                    <a:pt x="1264" y="4110"/>
                    <a:pt x="1266" y="4110"/>
                    <a:pt x="1266" y="4118"/>
                  </a:cubicBezTo>
                  <a:cubicBezTo>
                    <a:pt x="1266" y="4127"/>
                    <a:pt x="1282" y="4136"/>
                    <a:pt x="1280" y="4143"/>
                  </a:cubicBezTo>
                  <a:cubicBezTo>
                    <a:pt x="1277" y="4150"/>
                    <a:pt x="1274" y="4154"/>
                    <a:pt x="1278" y="4159"/>
                  </a:cubicBezTo>
                  <a:cubicBezTo>
                    <a:pt x="1282" y="4163"/>
                    <a:pt x="1306" y="4164"/>
                    <a:pt x="1313" y="4157"/>
                  </a:cubicBezTo>
                  <a:cubicBezTo>
                    <a:pt x="1320" y="4150"/>
                    <a:pt x="1334" y="4147"/>
                    <a:pt x="1335" y="4139"/>
                  </a:cubicBezTo>
                  <a:cubicBezTo>
                    <a:pt x="1337" y="4131"/>
                    <a:pt x="1344" y="4124"/>
                    <a:pt x="1349" y="4122"/>
                  </a:cubicBezTo>
                  <a:cubicBezTo>
                    <a:pt x="1355" y="4121"/>
                    <a:pt x="1369" y="4121"/>
                    <a:pt x="1369" y="4121"/>
                  </a:cubicBezTo>
                  <a:cubicBezTo>
                    <a:pt x="1369" y="4121"/>
                    <a:pt x="1374" y="4145"/>
                    <a:pt x="1381" y="4157"/>
                  </a:cubicBezTo>
                  <a:cubicBezTo>
                    <a:pt x="1388" y="4170"/>
                    <a:pt x="1388" y="4179"/>
                    <a:pt x="1397" y="4185"/>
                  </a:cubicBezTo>
                  <a:cubicBezTo>
                    <a:pt x="1405" y="4191"/>
                    <a:pt x="1418" y="4193"/>
                    <a:pt x="1422" y="4196"/>
                  </a:cubicBezTo>
                  <a:cubicBezTo>
                    <a:pt x="1426" y="4199"/>
                    <a:pt x="1443" y="4195"/>
                    <a:pt x="1436" y="4210"/>
                  </a:cubicBezTo>
                  <a:cubicBezTo>
                    <a:pt x="1429" y="4225"/>
                    <a:pt x="1430" y="4225"/>
                    <a:pt x="1430" y="4234"/>
                  </a:cubicBezTo>
                  <a:cubicBezTo>
                    <a:pt x="1430" y="4242"/>
                    <a:pt x="1433" y="4251"/>
                    <a:pt x="1429" y="4262"/>
                  </a:cubicBezTo>
                  <a:cubicBezTo>
                    <a:pt x="1424" y="4273"/>
                    <a:pt x="1424" y="4277"/>
                    <a:pt x="1420" y="4281"/>
                  </a:cubicBezTo>
                  <a:cubicBezTo>
                    <a:pt x="1416" y="4285"/>
                    <a:pt x="1411" y="4291"/>
                    <a:pt x="1411" y="4291"/>
                  </a:cubicBezTo>
                  <a:cubicBezTo>
                    <a:pt x="1411" y="4291"/>
                    <a:pt x="1406" y="4310"/>
                    <a:pt x="1412" y="4312"/>
                  </a:cubicBezTo>
                  <a:cubicBezTo>
                    <a:pt x="1418" y="4313"/>
                    <a:pt x="1431" y="4302"/>
                    <a:pt x="1431" y="4309"/>
                  </a:cubicBezTo>
                  <a:cubicBezTo>
                    <a:pt x="1431" y="4316"/>
                    <a:pt x="1431" y="4324"/>
                    <a:pt x="1430" y="4329"/>
                  </a:cubicBezTo>
                  <a:cubicBezTo>
                    <a:pt x="1429" y="4333"/>
                    <a:pt x="1426" y="4337"/>
                    <a:pt x="1427" y="4344"/>
                  </a:cubicBezTo>
                  <a:cubicBezTo>
                    <a:pt x="1429" y="4351"/>
                    <a:pt x="1431" y="4356"/>
                    <a:pt x="1433" y="4361"/>
                  </a:cubicBezTo>
                  <a:cubicBezTo>
                    <a:pt x="1434" y="4365"/>
                    <a:pt x="1445" y="4368"/>
                    <a:pt x="1448" y="4372"/>
                  </a:cubicBezTo>
                  <a:cubicBezTo>
                    <a:pt x="1451" y="4376"/>
                    <a:pt x="1450" y="4380"/>
                    <a:pt x="1450" y="4386"/>
                  </a:cubicBezTo>
                  <a:cubicBezTo>
                    <a:pt x="1450" y="4391"/>
                    <a:pt x="1459" y="4401"/>
                    <a:pt x="1457" y="4407"/>
                  </a:cubicBezTo>
                  <a:cubicBezTo>
                    <a:pt x="1454" y="4412"/>
                    <a:pt x="1466" y="4419"/>
                    <a:pt x="1466" y="4419"/>
                  </a:cubicBezTo>
                  <a:cubicBezTo>
                    <a:pt x="1470" y="4433"/>
                    <a:pt x="1470" y="4433"/>
                    <a:pt x="1470" y="4433"/>
                  </a:cubicBezTo>
                  <a:cubicBezTo>
                    <a:pt x="1473" y="4453"/>
                    <a:pt x="1473" y="4453"/>
                    <a:pt x="1473" y="4453"/>
                  </a:cubicBezTo>
                  <a:cubicBezTo>
                    <a:pt x="1473" y="4453"/>
                    <a:pt x="1482" y="4455"/>
                    <a:pt x="1486" y="4460"/>
                  </a:cubicBezTo>
                  <a:cubicBezTo>
                    <a:pt x="1504" y="4479"/>
                    <a:pt x="1504" y="4479"/>
                    <a:pt x="1504" y="4479"/>
                  </a:cubicBezTo>
                  <a:cubicBezTo>
                    <a:pt x="1510" y="4494"/>
                    <a:pt x="1510" y="4494"/>
                    <a:pt x="1510" y="4494"/>
                  </a:cubicBezTo>
                  <a:cubicBezTo>
                    <a:pt x="1518" y="4506"/>
                    <a:pt x="1518" y="4506"/>
                    <a:pt x="1518" y="4506"/>
                  </a:cubicBezTo>
                  <a:cubicBezTo>
                    <a:pt x="1535" y="4513"/>
                    <a:pt x="1546" y="4511"/>
                    <a:pt x="1546" y="4511"/>
                  </a:cubicBezTo>
                  <a:cubicBezTo>
                    <a:pt x="1546" y="4511"/>
                    <a:pt x="1562" y="4501"/>
                    <a:pt x="1567" y="4500"/>
                  </a:cubicBezTo>
                  <a:cubicBezTo>
                    <a:pt x="1571" y="4499"/>
                    <a:pt x="1567" y="4501"/>
                    <a:pt x="1571" y="4489"/>
                  </a:cubicBezTo>
                  <a:cubicBezTo>
                    <a:pt x="1575" y="4476"/>
                    <a:pt x="1579" y="4460"/>
                    <a:pt x="1581" y="4455"/>
                  </a:cubicBezTo>
                  <a:cubicBezTo>
                    <a:pt x="1582" y="4451"/>
                    <a:pt x="1585" y="4455"/>
                    <a:pt x="1585" y="4432"/>
                  </a:cubicBezTo>
                  <a:cubicBezTo>
                    <a:pt x="1585" y="4408"/>
                    <a:pt x="1585" y="4408"/>
                    <a:pt x="1585" y="4408"/>
                  </a:cubicBezTo>
                  <a:cubicBezTo>
                    <a:pt x="1586" y="4373"/>
                    <a:pt x="1586" y="4373"/>
                    <a:pt x="1586" y="4373"/>
                  </a:cubicBezTo>
                  <a:cubicBezTo>
                    <a:pt x="1586" y="4373"/>
                    <a:pt x="1585" y="4356"/>
                    <a:pt x="1579" y="4354"/>
                  </a:cubicBezTo>
                  <a:cubicBezTo>
                    <a:pt x="1574" y="4351"/>
                    <a:pt x="1569" y="4343"/>
                    <a:pt x="1568" y="4337"/>
                  </a:cubicBezTo>
                  <a:cubicBezTo>
                    <a:pt x="1567" y="4331"/>
                    <a:pt x="1564" y="4326"/>
                    <a:pt x="1567" y="4317"/>
                  </a:cubicBezTo>
                  <a:cubicBezTo>
                    <a:pt x="1569" y="4309"/>
                    <a:pt x="1568" y="4295"/>
                    <a:pt x="1568" y="4295"/>
                  </a:cubicBezTo>
                  <a:cubicBezTo>
                    <a:pt x="1550" y="4277"/>
                    <a:pt x="1550" y="4277"/>
                    <a:pt x="1550" y="4277"/>
                  </a:cubicBezTo>
                  <a:cubicBezTo>
                    <a:pt x="1550" y="4277"/>
                    <a:pt x="1543" y="4266"/>
                    <a:pt x="1543" y="4262"/>
                  </a:cubicBezTo>
                  <a:cubicBezTo>
                    <a:pt x="1543" y="4258"/>
                    <a:pt x="1543" y="4259"/>
                    <a:pt x="1543" y="4252"/>
                  </a:cubicBezTo>
                  <a:cubicBezTo>
                    <a:pt x="1543" y="4245"/>
                    <a:pt x="1536" y="4237"/>
                    <a:pt x="1543" y="4235"/>
                  </a:cubicBezTo>
                  <a:cubicBezTo>
                    <a:pt x="1550" y="4234"/>
                    <a:pt x="1561" y="4237"/>
                    <a:pt x="1555" y="4228"/>
                  </a:cubicBezTo>
                  <a:cubicBezTo>
                    <a:pt x="1550" y="4220"/>
                    <a:pt x="1553" y="4210"/>
                    <a:pt x="1549" y="4209"/>
                  </a:cubicBezTo>
                  <a:cubicBezTo>
                    <a:pt x="1544" y="4207"/>
                    <a:pt x="1535" y="4202"/>
                    <a:pt x="1535" y="4202"/>
                  </a:cubicBezTo>
                  <a:cubicBezTo>
                    <a:pt x="1535" y="4202"/>
                    <a:pt x="1532" y="4195"/>
                    <a:pt x="1530" y="4191"/>
                  </a:cubicBezTo>
                  <a:cubicBezTo>
                    <a:pt x="1529" y="4186"/>
                    <a:pt x="1528" y="4171"/>
                    <a:pt x="1530" y="4164"/>
                  </a:cubicBezTo>
                  <a:cubicBezTo>
                    <a:pt x="1533" y="4157"/>
                    <a:pt x="1537" y="4156"/>
                    <a:pt x="1530" y="4150"/>
                  </a:cubicBezTo>
                  <a:cubicBezTo>
                    <a:pt x="1523" y="4145"/>
                    <a:pt x="1522" y="4133"/>
                    <a:pt x="1522" y="4128"/>
                  </a:cubicBezTo>
                  <a:cubicBezTo>
                    <a:pt x="1522" y="4122"/>
                    <a:pt x="1518" y="4115"/>
                    <a:pt x="1518" y="4110"/>
                  </a:cubicBezTo>
                  <a:cubicBezTo>
                    <a:pt x="1518" y="4104"/>
                    <a:pt x="1512" y="4087"/>
                    <a:pt x="1512" y="4087"/>
                  </a:cubicBezTo>
                  <a:cubicBezTo>
                    <a:pt x="1514" y="4062"/>
                    <a:pt x="1514" y="4062"/>
                    <a:pt x="1514" y="4062"/>
                  </a:cubicBezTo>
                  <a:cubicBezTo>
                    <a:pt x="1515" y="4046"/>
                    <a:pt x="1515" y="4046"/>
                    <a:pt x="1515" y="4046"/>
                  </a:cubicBezTo>
                  <a:cubicBezTo>
                    <a:pt x="1515" y="4046"/>
                    <a:pt x="1519" y="4057"/>
                    <a:pt x="1521" y="4039"/>
                  </a:cubicBezTo>
                  <a:cubicBezTo>
                    <a:pt x="1522" y="4021"/>
                    <a:pt x="1525" y="4015"/>
                    <a:pt x="1529" y="4005"/>
                  </a:cubicBezTo>
                  <a:cubicBezTo>
                    <a:pt x="1533" y="3996"/>
                    <a:pt x="1540" y="3987"/>
                    <a:pt x="1540" y="3980"/>
                  </a:cubicBezTo>
                  <a:cubicBezTo>
                    <a:pt x="1540" y="3973"/>
                    <a:pt x="1544" y="3979"/>
                    <a:pt x="1550" y="3977"/>
                  </a:cubicBezTo>
                  <a:cubicBezTo>
                    <a:pt x="1555" y="3976"/>
                    <a:pt x="1555" y="3969"/>
                    <a:pt x="1558" y="3959"/>
                  </a:cubicBezTo>
                  <a:cubicBezTo>
                    <a:pt x="1561" y="3950"/>
                    <a:pt x="1560" y="3941"/>
                    <a:pt x="1568" y="3941"/>
                  </a:cubicBezTo>
                  <a:cubicBezTo>
                    <a:pt x="1576" y="3941"/>
                    <a:pt x="1590" y="3938"/>
                    <a:pt x="1590" y="3938"/>
                  </a:cubicBezTo>
                  <a:cubicBezTo>
                    <a:pt x="1590" y="3938"/>
                    <a:pt x="1601" y="3931"/>
                    <a:pt x="1610" y="3922"/>
                  </a:cubicBezTo>
                  <a:cubicBezTo>
                    <a:pt x="1618" y="3912"/>
                    <a:pt x="1621" y="3905"/>
                    <a:pt x="1628" y="3902"/>
                  </a:cubicBezTo>
                  <a:cubicBezTo>
                    <a:pt x="1635" y="3899"/>
                    <a:pt x="1638" y="3901"/>
                    <a:pt x="1646" y="3891"/>
                  </a:cubicBezTo>
                  <a:cubicBezTo>
                    <a:pt x="1654" y="3881"/>
                    <a:pt x="1654" y="3873"/>
                    <a:pt x="1660" y="3869"/>
                  </a:cubicBezTo>
                  <a:cubicBezTo>
                    <a:pt x="1666" y="3865"/>
                    <a:pt x="1667" y="3863"/>
                    <a:pt x="1674" y="3860"/>
                  </a:cubicBezTo>
                  <a:cubicBezTo>
                    <a:pt x="1681" y="3858"/>
                    <a:pt x="1682" y="3851"/>
                    <a:pt x="1689" y="3841"/>
                  </a:cubicBezTo>
                  <a:cubicBezTo>
                    <a:pt x="1696" y="3831"/>
                    <a:pt x="1696" y="3831"/>
                    <a:pt x="1696" y="3831"/>
                  </a:cubicBezTo>
                  <a:cubicBezTo>
                    <a:pt x="1696" y="3831"/>
                    <a:pt x="1705" y="3827"/>
                    <a:pt x="1717" y="3824"/>
                  </a:cubicBezTo>
                  <a:cubicBezTo>
                    <a:pt x="1730" y="3821"/>
                    <a:pt x="1731" y="3825"/>
                    <a:pt x="1741" y="3817"/>
                  </a:cubicBezTo>
                  <a:cubicBezTo>
                    <a:pt x="1751" y="3809"/>
                    <a:pt x="1745" y="3810"/>
                    <a:pt x="1758" y="3805"/>
                  </a:cubicBezTo>
                  <a:cubicBezTo>
                    <a:pt x="1770" y="3799"/>
                    <a:pt x="1760" y="3789"/>
                    <a:pt x="1774" y="3781"/>
                  </a:cubicBezTo>
                  <a:cubicBezTo>
                    <a:pt x="1788" y="3773"/>
                    <a:pt x="1787" y="3759"/>
                    <a:pt x="1799" y="3754"/>
                  </a:cubicBezTo>
                  <a:cubicBezTo>
                    <a:pt x="1812" y="3750"/>
                    <a:pt x="1836" y="3739"/>
                    <a:pt x="1844" y="3738"/>
                  </a:cubicBezTo>
                  <a:cubicBezTo>
                    <a:pt x="1852" y="3736"/>
                    <a:pt x="1865" y="3740"/>
                    <a:pt x="1872" y="3733"/>
                  </a:cubicBezTo>
                  <a:cubicBezTo>
                    <a:pt x="1879" y="3727"/>
                    <a:pt x="1869" y="3724"/>
                    <a:pt x="1862" y="3718"/>
                  </a:cubicBezTo>
                  <a:cubicBezTo>
                    <a:pt x="1855" y="3713"/>
                    <a:pt x="1848" y="3699"/>
                    <a:pt x="1848" y="3699"/>
                  </a:cubicBezTo>
                  <a:cubicBezTo>
                    <a:pt x="1848" y="3699"/>
                    <a:pt x="1855" y="3690"/>
                    <a:pt x="1861" y="3696"/>
                  </a:cubicBezTo>
                  <a:cubicBezTo>
                    <a:pt x="1866" y="3701"/>
                    <a:pt x="1875" y="3707"/>
                    <a:pt x="1880" y="3704"/>
                  </a:cubicBezTo>
                  <a:cubicBezTo>
                    <a:pt x="1886" y="3701"/>
                    <a:pt x="1894" y="3694"/>
                    <a:pt x="1898" y="3688"/>
                  </a:cubicBezTo>
                  <a:cubicBezTo>
                    <a:pt x="1903" y="3681"/>
                    <a:pt x="1907" y="3686"/>
                    <a:pt x="1915" y="3685"/>
                  </a:cubicBezTo>
                  <a:cubicBezTo>
                    <a:pt x="1923" y="3683"/>
                    <a:pt x="1929" y="3669"/>
                    <a:pt x="1925" y="3664"/>
                  </a:cubicBezTo>
                  <a:cubicBezTo>
                    <a:pt x="1921" y="3658"/>
                    <a:pt x="1912" y="3648"/>
                    <a:pt x="1897" y="3648"/>
                  </a:cubicBezTo>
                  <a:cubicBezTo>
                    <a:pt x="1882" y="3648"/>
                    <a:pt x="1866" y="3644"/>
                    <a:pt x="1875" y="3639"/>
                  </a:cubicBezTo>
                  <a:cubicBezTo>
                    <a:pt x="1883" y="3633"/>
                    <a:pt x="1891" y="3636"/>
                    <a:pt x="1901" y="3630"/>
                  </a:cubicBezTo>
                  <a:cubicBezTo>
                    <a:pt x="1911" y="3625"/>
                    <a:pt x="1910" y="3612"/>
                    <a:pt x="1910" y="3605"/>
                  </a:cubicBezTo>
                  <a:cubicBezTo>
                    <a:pt x="1910" y="3599"/>
                    <a:pt x="1898" y="3572"/>
                    <a:pt x="1907" y="3571"/>
                  </a:cubicBezTo>
                  <a:cubicBezTo>
                    <a:pt x="1900" y="3570"/>
                    <a:pt x="1886" y="3568"/>
                    <a:pt x="1879" y="3565"/>
                  </a:cubicBezTo>
                  <a:cubicBezTo>
                    <a:pt x="1868" y="3559"/>
                    <a:pt x="1864" y="3550"/>
                    <a:pt x="1868" y="3544"/>
                  </a:cubicBezTo>
                  <a:cubicBezTo>
                    <a:pt x="1872" y="3538"/>
                    <a:pt x="1875" y="3529"/>
                    <a:pt x="1877" y="3523"/>
                  </a:cubicBezTo>
                  <a:cubicBezTo>
                    <a:pt x="1880" y="3517"/>
                    <a:pt x="1886" y="3497"/>
                    <a:pt x="1886" y="3497"/>
                  </a:cubicBezTo>
                  <a:cubicBezTo>
                    <a:pt x="1886" y="3497"/>
                    <a:pt x="1898" y="3488"/>
                    <a:pt x="1889" y="3487"/>
                  </a:cubicBezTo>
                  <a:cubicBezTo>
                    <a:pt x="1879" y="3485"/>
                    <a:pt x="1861" y="3470"/>
                    <a:pt x="1857" y="3470"/>
                  </a:cubicBezTo>
                  <a:cubicBezTo>
                    <a:pt x="1852" y="3470"/>
                    <a:pt x="1830" y="3452"/>
                    <a:pt x="1840" y="3455"/>
                  </a:cubicBezTo>
                  <a:cubicBezTo>
                    <a:pt x="1850" y="3458"/>
                    <a:pt x="1861" y="3456"/>
                    <a:pt x="1866" y="3460"/>
                  </a:cubicBezTo>
                  <a:cubicBezTo>
                    <a:pt x="1872" y="3465"/>
                    <a:pt x="1877" y="3463"/>
                    <a:pt x="1877" y="3459"/>
                  </a:cubicBezTo>
                  <a:cubicBezTo>
                    <a:pt x="1877" y="3455"/>
                    <a:pt x="1876" y="3458"/>
                    <a:pt x="1875" y="3449"/>
                  </a:cubicBezTo>
                  <a:cubicBezTo>
                    <a:pt x="1873" y="3441"/>
                    <a:pt x="1875" y="3434"/>
                    <a:pt x="1883" y="3434"/>
                  </a:cubicBezTo>
                  <a:cubicBezTo>
                    <a:pt x="1891" y="3434"/>
                    <a:pt x="1893" y="3431"/>
                    <a:pt x="1893" y="3420"/>
                  </a:cubicBezTo>
                  <a:cubicBezTo>
                    <a:pt x="1893" y="3409"/>
                    <a:pt x="1894" y="3382"/>
                    <a:pt x="1900" y="3382"/>
                  </a:cubicBezTo>
                  <a:cubicBezTo>
                    <a:pt x="1905" y="3382"/>
                    <a:pt x="1914" y="3378"/>
                    <a:pt x="1914" y="3378"/>
                  </a:cubicBezTo>
                  <a:cubicBezTo>
                    <a:pt x="1914" y="3378"/>
                    <a:pt x="1923" y="3356"/>
                    <a:pt x="1923" y="3363"/>
                  </a:cubicBezTo>
                  <a:cubicBezTo>
                    <a:pt x="1923" y="3370"/>
                    <a:pt x="1911" y="3396"/>
                    <a:pt x="1910" y="3409"/>
                  </a:cubicBezTo>
                  <a:cubicBezTo>
                    <a:pt x="1908" y="3421"/>
                    <a:pt x="1916" y="3428"/>
                    <a:pt x="1911" y="3434"/>
                  </a:cubicBezTo>
                  <a:cubicBezTo>
                    <a:pt x="1905" y="3439"/>
                    <a:pt x="1914" y="3441"/>
                    <a:pt x="1903" y="3445"/>
                  </a:cubicBezTo>
                  <a:cubicBezTo>
                    <a:pt x="1891" y="3449"/>
                    <a:pt x="1883" y="3437"/>
                    <a:pt x="1891" y="3449"/>
                  </a:cubicBezTo>
                  <a:cubicBezTo>
                    <a:pt x="1900" y="3462"/>
                    <a:pt x="1903" y="3467"/>
                    <a:pt x="1907" y="3469"/>
                  </a:cubicBezTo>
                  <a:cubicBezTo>
                    <a:pt x="1911" y="3470"/>
                    <a:pt x="1918" y="3469"/>
                    <a:pt x="1919" y="3476"/>
                  </a:cubicBezTo>
                  <a:cubicBezTo>
                    <a:pt x="1921" y="3483"/>
                    <a:pt x="1925" y="3491"/>
                    <a:pt x="1923" y="3497"/>
                  </a:cubicBezTo>
                  <a:cubicBezTo>
                    <a:pt x="1922" y="3502"/>
                    <a:pt x="1921" y="3512"/>
                    <a:pt x="1912" y="3522"/>
                  </a:cubicBezTo>
                  <a:cubicBezTo>
                    <a:pt x="1904" y="3531"/>
                    <a:pt x="1901" y="3538"/>
                    <a:pt x="1901" y="3544"/>
                  </a:cubicBezTo>
                  <a:cubicBezTo>
                    <a:pt x="1901" y="3550"/>
                    <a:pt x="1910" y="3556"/>
                    <a:pt x="1910" y="3556"/>
                  </a:cubicBezTo>
                  <a:cubicBezTo>
                    <a:pt x="1910" y="3556"/>
                    <a:pt x="1915" y="3550"/>
                    <a:pt x="1916" y="3541"/>
                  </a:cubicBezTo>
                  <a:cubicBezTo>
                    <a:pt x="1918" y="3533"/>
                    <a:pt x="1929" y="3523"/>
                    <a:pt x="1929" y="3523"/>
                  </a:cubicBezTo>
                  <a:cubicBezTo>
                    <a:pt x="1929" y="3523"/>
                    <a:pt x="1936" y="3524"/>
                    <a:pt x="1940" y="3517"/>
                  </a:cubicBezTo>
                  <a:cubicBezTo>
                    <a:pt x="1944" y="3510"/>
                    <a:pt x="1954" y="3490"/>
                    <a:pt x="1954" y="3485"/>
                  </a:cubicBezTo>
                  <a:cubicBezTo>
                    <a:pt x="1954" y="3481"/>
                    <a:pt x="1951" y="3471"/>
                    <a:pt x="1960" y="3471"/>
                  </a:cubicBezTo>
                  <a:cubicBezTo>
                    <a:pt x="1968" y="3471"/>
                    <a:pt x="1976" y="3469"/>
                    <a:pt x="1978" y="3460"/>
                  </a:cubicBezTo>
                  <a:cubicBezTo>
                    <a:pt x="1979" y="3452"/>
                    <a:pt x="1974" y="3437"/>
                    <a:pt x="1974" y="3437"/>
                  </a:cubicBezTo>
                  <a:cubicBezTo>
                    <a:pt x="1974" y="3437"/>
                    <a:pt x="1971" y="3424"/>
                    <a:pt x="1974" y="3420"/>
                  </a:cubicBezTo>
                  <a:cubicBezTo>
                    <a:pt x="1976" y="3416"/>
                    <a:pt x="1967" y="3400"/>
                    <a:pt x="1967" y="3400"/>
                  </a:cubicBezTo>
                  <a:cubicBezTo>
                    <a:pt x="1951" y="3375"/>
                    <a:pt x="1951" y="3375"/>
                    <a:pt x="1951" y="3375"/>
                  </a:cubicBezTo>
                  <a:cubicBezTo>
                    <a:pt x="1951" y="3375"/>
                    <a:pt x="1955" y="3368"/>
                    <a:pt x="1961" y="3374"/>
                  </a:cubicBezTo>
                  <a:cubicBezTo>
                    <a:pt x="1967" y="3379"/>
                    <a:pt x="1978" y="3384"/>
                    <a:pt x="1982" y="3395"/>
                  </a:cubicBezTo>
                  <a:cubicBezTo>
                    <a:pt x="1986" y="3406"/>
                    <a:pt x="1995" y="3416"/>
                    <a:pt x="2001" y="3409"/>
                  </a:cubicBezTo>
                  <a:cubicBezTo>
                    <a:pt x="2008" y="3402"/>
                    <a:pt x="2027" y="3389"/>
                    <a:pt x="2028" y="3382"/>
                  </a:cubicBezTo>
                  <a:cubicBezTo>
                    <a:pt x="2029" y="3375"/>
                    <a:pt x="2034" y="3352"/>
                    <a:pt x="2043" y="3350"/>
                  </a:cubicBezTo>
                  <a:cubicBezTo>
                    <a:pt x="2053" y="3349"/>
                    <a:pt x="2060" y="3346"/>
                    <a:pt x="2060" y="3340"/>
                  </a:cubicBezTo>
                  <a:cubicBezTo>
                    <a:pt x="2060" y="3335"/>
                    <a:pt x="2056" y="3317"/>
                    <a:pt x="2060" y="3315"/>
                  </a:cubicBezTo>
                  <a:cubicBezTo>
                    <a:pt x="2064" y="3314"/>
                    <a:pt x="2071" y="3311"/>
                    <a:pt x="2073" y="3306"/>
                  </a:cubicBezTo>
                  <a:cubicBezTo>
                    <a:pt x="2074" y="3300"/>
                    <a:pt x="2071" y="3289"/>
                    <a:pt x="2067" y="3289"/>
                  </a:cubicBezTo>
                  <a:cubicBezTo>
                    <a:pt x="2063" y="3289"/>
                    <a:pt x="2047" y="3287"/>
                    <a:pt x="2050" y="3282"/>
                  </a:cubicBezTo>
                  <a:cubicBezTo>
                    <a:pt x="2053" y="3276"/>
                    <a:pt x="2059" y="3267"/>
                    <a:pt x="2063" y="3271"/>
                  </a:cubicBezTo>
                  <a:cubicBezTo>
                    <a:pt x="2067" y="3275"/>
                    <a:pt x="2071" y="3281"/>
                    <a:pt x="2081" y="3281"/>
                  </a:cubicBezTo>
                  <a:cubicBezTo>
                    <a:pt x="2091" y="3281"/>
                    <a:pt x="2093" y="3279"/>
                    <a:pt x="2100" y="3275"/>
                  </a:cubicBezTo>
                  <a:cubicBezTo>
                    <a:pt x="2107" y="3271"/>
                    <a:pt x="2114" y="3274"/>
                    <a:pt x="2123" y="3269"/>
                  </a:cubicBezTo>
                  <a:cubicBezTo>
                    <a:pt x="2131" y="3265"/>
                    <a:pt x="2160" y="3254"/>
                    <a:pt x="2165" y="3254"/>
                  </a:cubicBezTo>
                  <a:cubicBezTo>
                    <a:pt x="2169" y="3254"/>
                    <a:pt x="2195" y="3251"/>
                    <a:pt x="2195" y="3251"/>
                  </a:cubicBezTo>
                  <a:cubicBezTo>
                    <a:pt x="2195" y="3251"/>
                    <a:pt x="2208" y="3242"/>
                    <a:pt x="2211" y="3242"/>
                  </a:cubicBezTo>
                  <a:cubicBezTo>
                    <a:pt x="2213" y="3242"/>
                    <a:pt x="2198" y="3235"/>
                    <a:pt x="2192" y="3235"/>
                  </a:cubicBezTo>
                  <a:cubicBezTo>
                    <a:pt x="2187" y="3235"/>
                    <a:pt x="2170" y="3232"/>
                    <a:pt x="2165" y="3235"/>
                  </a:cubicBezTo>
                  <a:cubicBezTo>
                    <a:pt x="2159" y="3237"/>
                    <a:pt x="2137" y="3242"/>
                    <a:pt x="2131" y="3244"/>
                  </a:cubicBezTo>
                  <a:cubicBezTo>
                    <a:pt x="2126" y="3247"/>
                    <a:pt x="2109" y="3244"/>
                    <a:pt x="2109" y="3244"/>
                  </a:cubicBezTo>
                  <a:cubicBezTo>
                    <a:pt x="2109" y="3244"/>
                    <a:pt x="2123" y="3235"/>
                    <a:pt x="2127" y="3232"/>
                  </a:cubicBezTo>
                  <a:cubicBezTo>
                    <a:pt x="2131" y="3229"/>
                    <a:pt x="2133" y="3226"/>
                    <a:pt x="2146" y="3225"/>
                  </a:cubicBezTo>
                  <a:cubicBezTo>
                    <a:pt x="2160" y="3223"/>
                    <a:pt x="2167" y="3223"/>
                    <a:pt x="2176" y="3223"/>
                  </a:cubicBezTo>
                  <a:cubicBezTo>
                    <a:pt x="2184" y="3223"/>
                    <a:pt x="2194" y="3225"/>
                    <a:pt x="2201" y="3223"/>
                  </a:cubicBezTo>
                  <a:cubicBezTo>
                    <a:pt x="2208" y="3222"/>
                    <a:pt x="2231" y="3222"/>
                    <a:pt x="2231" y="3222"/>
                  </a:cubicBezTo>
                  <a:cubicBezTo>
                    <a:pt x="2231" y="3222"/>
                    <a:pt x="2237" y="3215"/>
                    <a:pt x="2245" y="3214"/>
                  </a:cubicBezTo>
                  <a:cubicBezTo>
                    <a:pt x="2254" y="3212"/>
                    <a:pt x="2262" y="3212"/>
                    <a:pt x="2264" y="3204"/>
                  </a:cubicBezTo>
                  <a:cubicBezTo>
                    <a:pt x="2265" y="3196"/>
                    <a:pt x="2273" y="3190"/>
                    <a:pt x="2273" y="3190"/>
                  </a:cubicBezTo>
                  <a:cubicBezTo>
                    <a:pt x="2273" y="3190"/>
                    <a:pt x="2270" y="3205"/>
                    <a:pt x="2277" y="3207"/>
                  </a:cubicBezTo>
                  <a:cubicBezTo>
                    <a:pt x="2284" y="3208"/>
                    <a:pt x="2291" y="3200"/>
                    <a:pt x="2296" y="3201"/>
                  </a:cubicBezTo>
                  <a:cubicBezTo>
                    <a:pt x="2300" y="3202"/>
                    <a:pt x="2297" y="3187"/>
                    <a:pt x="2308" y="3193"/>
                  </a:cubicBezTo>
                  <a:cubicBezTo>
                    <a:pt x="2319" y="3198"/>
                    <a:pt x="2328" y="3200"/>
                    <a:pt x="2333" y="3201"/>
                  </a:cubicBezTo>
                  <a:cubicBezTo>
                    <a:pt x="2339" y="3202"/>
                    <a:pt x="2367" y="3196"/>
                    <a:pt x="2367" y="3196"/>
                  </a:cubicBezTo>
                  <a:cubicBezTo>
                    <a:pt x="2371" y="3182"/>
                    <a:pt x="2371" y="3182"/>
                    <a:pt x="2371" y="3182"/>
                  </a:cubicBezTo>
                  <a:cubicBezTo>
                    <a:pt x="2371" y="3182"/>
                    <a:pt x="2347" y="3184"/>
                    <a:pt x="2339" y="3183"/>
                  </a:cubicBezTo>
                  <a:cubicBezTo>
                    <a:pt x="2330" y="3182"/>
                    <a:pt x="2335" y="3193"/>
                    <a:pt x="2330" y="3182"/>
                  </a:cubicBezTo>
                  <a:cubicBezTo>
                    <a:pt x="2326" y="3170"/>
                    <a:pt x="2319" y="3165"/>
                    <a:pt x="2319" y="3165"/>
                  </a:cubicBezTo>
                  <a:cubicBezTo>
                    <a:pt x="2319" y="3165"/>
                    <a:pt x="2315" y="3162"/>
                    <a:pt x="2315" y="3152"/>
                  </a:cubicBezTo>
                  <a:cubicBezTo>
                    <a:pt x="2315" y="3143"/>
                    <a:pt x="2312" y="3140"/>
                    <a:pt x="2311" y="3134"/>
                  </a:cubicBezTo>
                  <a:cubicBezTo>
                    <a:pt x="2308" y="3123"/>
                    <a:pt x="2321" y="3102"/>
                    <a:pt x="2321" y="3102"/>
                  </a:cubicBezTo>
                  <a:cubicBezTo>
                    <a:pt x="2318" y="3074"/>
                    <a:pt x="2318" y="3074"/>
                    <a:pt x="2318" y="3074"/>
                  </a:cubicBezTo>
                  <a:cubicBezTo>
                    <a:pt x="2318" y="3074"/>
                    <a:pt x="2307" y="3058"/>
                    <a:pt x="2333" y="3053"/>
                  </a:cubicBezTo>
                  <a:cubicBezTo>
                    <a:pt x="2360" y="3049"/>
                    <a:pt x="2365" y="3044"/>
                    <a:pt x="2372" y="3032"/>
                  </a:cubicBezTo>
                  <a:cubicBezTo>
                    <a:pt x="2379" y="3021"/>
                    <a:pt x="2378" y="3013"/>
                    <a:pt x="2383" y="3016"/>
                  </a:cubicBezTo>
                  <a:cubicBezTo>
                    <a:pt x="2389" y="3019"/>
                    <a:pt x="2400" y="3020"/>
                    <a:pt x="2407" y="3017"/>
                  </a:cubicBezTo>
                  <a:cubicBezTo>
                    <a:pt x="2414" y="3014"/>
                    <a:pt x="2438" y="3005"/>
                    <a:pt x="2442" y="3000"/>
                  </a:cubicBezTo>
                  <a:cubicBezTo>
                    <a:pt x="2446" y="2996"/>
                    <a:pt x="2443" y="2992"/>
                    <a:pt x="2452" y="2992"/>
                  </a:cubicBezTo>
                  <a:cubicBezTo>
                    <a:pt x="2460" y="2992"/>
                    <a:pt x="2454" y="2975"/>
                    <a:pt x="2460" y="2970"/>
                  </a:cubicBezTo>
                  <a:cubicBezTo>
                    <a:pt x="2466" y="2964"/>
                    <a:pt x="2473" y="2975"/>
                    <a:pt x="2480" y="2977"/>
                  </a:cubicBezTo>
                  <a:cubicBezTo>
                    <a:pt x="2487" y="2978"/>
                    <a:pt x="2496" y="2977"/>
                    <a:pt x="2503" y="2968"/>
                  </a:cubicBezTo>
                  <a:cubicBezTo>
                    <a:pt x="2510" y="2960"/>
                    <a:pt x="2509" y="2952"/>
                    <a:pt x="2519" y="2953"/>
                  </a:cubicBezTo>
                  <a:cubicBezTo>
                    <a:pt x="2528" y="2954"/>
                    <a:pt x="2530" y="2961"/>
                    <a:pt x="2544" y="2957"/>
                  </a:cubicBezTo>
                  <a:cubicBezTo>
                    <a:pt x="2558" y="2953"/>
                    <a:pt x="2563" y="2952"/>
                    <a:pt x="2573" y="2946"/>
                  </a:cubicBezTo>
                  <a:cubicBezTo>
                    <a:pt x="2583" y="2940"/>
                    <a:pt x="2585" y="2931"/>
                    <a:pt x="2591" y="2928"/>
                  </a:cubicBezTo>
                  <a:cubicBezTo>
                    <a:pt x="2597" y="2925"/>
                    <a:pt x="2595" y="2904"/>
                    <a:pt x="2606" y="2908"/>
                  </a:cubicBezTo>
                  <a:cubicBezTo>
                    <a:pt x="2618" y="2913"/>
                    <a:pt x="2627" y="2913"/>
                    <a:pt x="2638" y="2911"/>
                  </a:cubicBezTo>
                  <a:cubicBezTo>
                    <a:pt x="2650" y="2910"/>
                    <a:pt x="2650" y="2906"/>
                    <a:pt x="2654" y="2903"/>
                  </a:cubicBezTo>
                  <a:cubicBezTo>
                    <a:pt x="2658" y="2900"/>
                    <a:pt x="2651" y="2887"/>
                    <a:pt x="2659" y="2889"/>
                  </a:cubicBezTo>
                  <a:cubicBezTo>
                    <a:pt x="2668" y="2890"/>
                    <a:pt x="2668" y="2896"/>
                    <a:pt x="2675" y="2897"/>
                  </a:cubicBezTo>
                  <a:cubicBezTo>
                    <a:pt x="2682" y="2899"/>
                    <a:pt x="2680" y="2887"/>
                    <a:pt x="2696" y="2886"/>
                  </a:cubicBezTo>
                  <a:cubicBezTo>
                    <a:pt x="2711" y="2885"/>
                    <a:pt x="2719" y="2878"/>
                    <a:pt x="2728" y="2875"/>
                  </a:cubicBezTo>
                  <a:cubicBezTo>
                    <a:pt x="2736" y="2872"/>
                    <a:pt x="2744" y="2865"/>
                    <a:pt x="2757" y="2861"/>
                  </a:cubicBezTo>
                  <a:cubicBezTo>
                    <a:pt x="2769" y="2857"/>
                    <a:pt x="2790" y="2847"/>
                    <a:pt x="2792" y="2851"/>
                  </a:cubicBezTo>
                  <a:cubicBezTo>
                    <a:pt x="2793" y="2855"/>
                    <a:pt x="2799" y="2862"/>
                    <a:pt x="2789" y="2868"/>
                  </a:cubicBezTo>
                  <a:cubicBezTo>
                    <a:pt x="2779" y="2874"/>
                    <a:pt x="2764" y="2868"/>
                    <a:pt x="2762" y="2874"/>
                  </a:cubicBezTo>
                  <a:cubicBezTo>
                    <a:pt x="2761" y="2879"/>
                    <a:pt x="2762" y="2885"/>
                    <a:pt x="2771" y="2883"/>
                  </a:cubicBezTo>
                  <a:cubicBezTo>
                    <a:pt x="2779" y="2882"/>
                    <a:pt x="2804" y="2881"/>
                    <a:pt x="2804" y="2885"/>
                  </a:cubicBezTo>
                  <a:cubicBezTo>
                    <a:pt x="2804" y="2889"/>
                    <a:pt x="2789" y="2894"/>
                    <a:pt x="2792" y="2899"/>
                  </a:cubicBezTo>
                  <a:cubicBezTo>
                    <a:pt x="2795" y="2903"/>
                    <a:pt x="2793" y="2908"/>
                    <a:pt x="2786" y="2904"/>
                  </a:cubicBezTo>
                  <a:cubicBezTo>
                    <a:pt x="2779" y="2900"/>
                    <a:pt x="2776" y="2900"/>
                    <a:pt x="2769" y="2897"/>
                  </a:cubicBezTo>
                  <a:cubicBezTo>
                    <a:pt x="2762" y="2894"/>
                    <a:pt x="2769" y="2890"/>
                    <a:pt x="2753" y="2899"/>
                  </a:cubicBezTo>
                  <a:cubicBezTo>
                    <a:pt x="2736" y="2907"/>
                    <a:pt x="2729" y="2906"/>
                    <a:pt x="2718" y="2913"/>
                  </a:cubicBezTo>
                  <a:cubicBezTo>
                    <a:pt x="2707" y="2920"/>
                    <a:pt x="2705" y="2921"/>
                    <a:pt x="2701" y="2929"/>
                  </a:cubicBezTo>
                  <a:cubicBezTo>
                    <a:pt x="2697" y="2938"/>
                    <a:pt x="2697" y="2938"/>
                    <a:pt x="2689" y="2945"/>
                  </a:cubicBezTo>
                  <a:cubicBezTo>
                    <a:pt x="2680" y="2952"/>
                    <a:pt x="2679" y="2950"/>
                    <a:pt x="2668" y="2953"/>
                  </a:cubicBezTo>
                  <a:cubicBezTo>
                    <a:pt x="2657" y="2956"/>
                    <a:pt x="2648" y="2960"/>
                    <a:pt x="2644" y="2966"/>
                  </a:cubicBezTo>
                  <a:cubicBezTo>
                    <a:pt x="2640" y="2971"/>
                    <a:pt x="2634" y="2977"/>
                    <a:pt x="2634" y="2982"/>
                  </a:cubicBezTo>
                  <a:cubicBezTo>
                    <a:pt x="2634" y="2988"/>
                    <a:pt x="2637" y="2998"/>
                    <a:pt x="2641" y="3003"/>
                  </a:cubicBezTo>
                  <a:cubicBezTo>
                    <a:pt x="2645" y="3009"/>
                    <a:pt x="2662" y="3017"/>
                    <a:pt x="2661" y="3023"/>
                  </a:cubicBezTo>
                  <a:cubicBezTo>
                    <a:pt x="2659" y="3028"/>
                    <a:pt x="2654" y="3049"/>
                    <a:pt x="2664" y="3048"/>
                  </a:cubicBezTo>
                  <a:cubicBezTo>
                    <a:pt x="2673" y="3046"/>
                    <a:pt x="2689" y="3041"/>
                    <a:pt x="2696" y="3035"/>
                  </a:cubicBezTo>
                  <a:cubicBezTo>
                    <a:pt x="2703" y="3030"/>
                    <a:pt x="2718" y="3017"/>
                    <a:pt x="2718" y="3017"/>
                  </a:cubicBezTo>
                  <a:cubicBezTo>
                    <a:pt x="2718" y="3017"/>
                    <a:pt x="2729" y="3010"/>
                    <a:pt x="2737" y="3007"/>
                  </a:cubicBezTo>
                  <a:cubicBezTo>
                    <a:pt x="2746" y="3005"/>
                    <a:pt x="2746" y="2991"/>
                    <a:pt x="2753" y="2984"/>
                  </a:cubicBezTo>
                  <a:cubicBezTo>
                    <a:pt x="2760" y="2977"/>
                    <a:pt x="2775" y="2966"/>
                    <a:pt x="2782" y="2966"/>
                  </a:cubicBezTo>
                  <a:cubicBezTo>
                    <a:pt x="2789" y="2966"/>
                    <a:pt x="2807" y="2959"/>
                    <a:pt x="2807" y="2959"/>
                  </a:cubicBezTo>
                  <a:cubicBezTo>
                    <a:pt x="2807" y="2959"/>
                    <a:pt x="2828" y="2953"/>
                    <a:pt x="2832" y="2953"/>
                  </a:cubicBezTo>
                  <a:cubicBezTo>
                    <a:pt x="2836" y="2953"/>
                    <a:pt x="2849" y="2943"/>
                    <a:pt x="2849" y="2943"/>
                  </a:cubicBezTo>
                  <a:cubicBezTo>
                    <a:pt x="2849" y="2943"/>
                    <a:pt x="2898" y="2924"/>
                    <a:pt x="2914" y="2922"/>
                  </a:cubicBezTo>
                  <a:cubicBezTo>
                    <a:pt x="2931" y="2921"/>
                    <a:pt x="2949" y="2907"/>
                    <a:pt x="2960" y="2908"/>
                  </a:cubicBezTo>
                  <a:cubicBezTo>
                    <a:pt x="2972" y="2910"/>
                    <a:pt x="3002" y="2901"/>
                    <a:pt x="3001" y="2897"/>
                  </a:cubicBezTo>
                  <a:cubicBezTo>
                    <a:pt x="2999" y="2893"/>
                    <a:pt x="2987" y="2876"/>
                    <a:pt x="2987" y="2876"/>
                  </a:cubicBezTo>
                  <a:cubicBezTo>
                    <a:pt x="2987" y="2876"/>
                    <a:pt x="3002" y="2875"/>
                    <a:pt x="3012" y="2876"/>
                  </a:cubicBezTo>
                  <a:cubicBezTo>
                    <a:pt x="3022" y="2878"/>
                    <a:pt x="3036" y="2886"/>
                    <a:pt x="3050" y="2879"/>
                  </a:cubicBezTo>
                  <a:cubicBezTo>
                    <a:pt x="3064" y="2872"/>
                    <a:pt x="3069" y="2867"/>
                    <a:pt x="3069" y="2867"/>
                  </a:cubicBezTo>
                  <a:cubicBezTo>
                    <a:pt x="3069" y="2867"/>
                    <a:pt x="3068" y="2865"/>
                    <a:pt x="3073" y="2858"/>
                  </a:cubicBezTo>
                  <a:cubicBezTo>
                    <a:pt x="3079" y="2851"/>
                    <a:pt x="3090" y="2848"/>
                    <a:pt x="3090" y="2848"/>
                  </a:cubicBezTo>
                  <a:cubicBezTo>
                    <a:pt x="3090" y="2848"/>
                    <a:pt x="3096" y="2835"/>
                    <a:pt x="3103" y="2828"/>
                  </a:cubicBezTo>
                  <a:cubicBezTo>
                    <a:pt x="3110" y="2821"/>
                    <a:pt x="3101" y="2815"/>
                    <a:pt x="3094" y="2816"/>
                  </a:cubicBezTo>
                  <a:cubicBezTo>
                    <a:pt x="3087" y="2818"/>
                    <a:pt x="3069" y="2808"/>
                    <a:pt x="3069" y="2802"/>
                  </a:cubicBezTo>
                  <a:cubicBezTo>
                    <a:pt x="3069" y="2797"/>
                    <a:pt x="3072" y="2794"/>
                    <a:pt x="3076" y="2786"/>
                  </a:cubicBezTo>
                  <a:cubicBezTo>
                    <a:pt x="3080" y="2777"/>
                    <a:pt x="3079" y="2762"/>
                    <a:pt x="3079" y="2762"/>
                  </a:cubicBezTo>
                  <a:cubicBezTo>
                    <a:pt x="3079" y="2762"/>
                    <a:pt x="3057" y="2758"/>
                    <a:pt x="3052" y="2758"/>
                  </a:cubicBezTo>
                  <a:cubicBezTo>
                    <a:pt x="3048" y="2758"/>
                    <a:pt x="3034" y="2763"/>
                    <a:pt x="3033" y="2772"/>
                  </a:cubicBezTo>
                  <a:cubicBezTo>
                    <a:pt x="3031" y="2780"/>
                    <a:pt x="3030" y="2790"/>
                    <a:pt x="3022" y="2794"/>
                  </a:cubicBezTo>
                  <a:cubicBezTo>
                    <a:pt x="3013" y="2798"/>
                    <a:pt x="3006" y="2800"/>
                    <a:pt x="2995" y="2804"/>
                  </a:cubicBezTo>
                  <a:cubicBezTo>
                    <a:pt x="2984" y="2808"/>
                    <a:pt x="2974" y="2811"/>
                    <a:pt x="2977" y="2819"/>
                  </a:cubicBezTo>
                  <a:cubicBezTo>
                    <a:pt x="2980" y="2828"/>
                    <a:pt x="2973" y="2832"/>
                    <a:pt x="2974" y="2836"/>
                  </a:cubicBezTo>
                  <a:cubicBezTo>
                    <a:pt x="2976" y="2840"/>
                    <a:pt x="2973" y="2847"/>
                    <a:pt x="2974" y="2851"/>
                  </a:cubicBezTo>
                  <a:cubicBezTo>
                    <a:pt x="2976" y="2855"/>
                    <a:pt x="2987" y="2857"/>
                    <a:pt x="2970" y="2862"/>
                  </a:cubicBezTo>
                  <a:cubicBezTo>
                    <a:pt x="2953" y="2868"/>
                    <a:pt x="2953" y="2876"/>
                    <a:pt x="2953" y="2868"/>
                  </a:cubicBezTo>
                  <a:cubicBezTo>
                    <a:pt x="2953" y="2860"/>
                    <a:pt x="2958" y="2846"/>
                    <a:pt x="2953" y="2844"/>
                  </a:cubicBezTo>
                  <a:cubicBezTo>
                    <a:pt x="2949" y="2843"/>
                    <a:pt x="2941" y="2848"/>
                    <a:pt x="2941" y="2848"/>
                  </a:cubicBezTo>
                  <a:cubicBezTo>
                    <a:pt x="2941" y="2848"/>
                    <a:pt x="2937" y="2860"/>
                    <a:pt x="2930" y="2862"/>
                  </a:cubicBezTo>
                  <a:cubicBezTo>
                    <a:pt x="2923" y="2865"/>
                    <a:pt x="2896" y="2868"/>
                    <a:pt x="2898" y="2862"/>
                  </a:cubicBezTo>
                  <a:cubicBezTo>
                    <a:pt x="2899" y="2857"/>
                    <a:pt x="2903" y="2851"/>
                    <a:pt x="2896" y="2850"/>
                  </a:cubicBezTo>
                  <a:cubicBezTo>
                    <a:pt x="2889" y="2848"/>
                    <a:pt x="2868" y="2855"/>
                    <a:pt x="2863" y="2855"/>
                  </a:cubicBezTo>
                  <a:cubicBezTo>
                    <a:pt x="2857" y="2855"/>
                    <a:pt x="2847" y="2851"/>
                    <a:pt x="2847" y="2851"/>
                  </a:cubicBezTo>
                  <a:cubicBezTo>
                    <a:pt x="2847" y="2851"/>
                    <a:pt x="2857" y="2842"/>
                    <a:pt x="2849" y="2839"/>
                  </a:cubicBezTo>
                  <a:cubicBezTo>
                    <a:pt x="2841" y="2836"/>
                    <a:pt x="2825" y="2840"/>
                    <a:pt x="2825" y="2840"/>
                  </a:cubicBezTo>
                  <a:cubicBezTo>
                    <a:pt x="2825" y="2840"/>
                    <a:pt x="2820" y="2839"/>
                    <a:pt x="2821" y="2832"/>
                  </a:cubicBezTo>
                  <a:cubicBezTo>
                    <a:pt x="2822" y="2825"/>
                    <a:pt x="2810" y="2818"/>
                    <a:pt x="2810" y="2818"/>
                  </a:cubicBezTo>
                  <a:cubicBezTo>
                    <a:pt x="2796" y="2818"/>
                    <a:pt x="2796" y="2818"/>
                    <a:pt x="2796" y="2818"/>
                  </a:cubicBezTo>
                  <a:cubicBezTo>
                    <a:pt x="2796" y="2818"/>
                    <a:pt x="2785" y="2814"/>
                    <a:pt x="2786" y="2808"/>
                  </a:cubicBezTo>
                  <a:cubicBezTo>
                    <a:pt x="2788" y="2802"/>
                    <a:pt x="2789" y="2804"/>
                    <a:pt x="2788" y="2797"/>
                  </a:cubicBezTo>
                  <a:cubicBezTo>
                    <a:pt x="2786" y="2790"/>
                    <a:pt x="2783" y="2786"/>
                    <a:pt x="2781" y="2779"/>
                  </a:cubicBezTo>
                  <a:cubicBezTo>
                    <a:pt x="2778" y="2772"/>
                    <a:pt x="2765" y="2754"/>
                    <a:pt x="2765" y="2754"/>
                  </a:cubicBezTo>
                  <a:cubicBezTo>
                    <a:pt x="2765" y="2754"/>
                    <a:pt x="2786" y="2752"/>
                    <a:pt x="2775" y="2747"/>
                  </a:cubicBezTo>
                  <a:cubicBezTo>
                    <a:pt x="2764" y="2741"/>
                    <a:pt x="2767" y="2743"/>
                    <a:pt x="2758" y="2744"/>
                  </a:cubicBezTo>
                  <a:cubicBezTo>
                    <a:pt x="2750" y="2745"/>
                    <a:pt x="2778" y="2720"/>
                    <a:pt x="2778" y="2720"/>
                  </a:cubicBezTo>
                  <a:cubicBezTo>
                    <a:pt x="2778" y="2720"/>
                    <a:pt x="2788" y="2702"/>
                    <a:pt x="2783" y="2695"/>
                  </a:cubicBezTo>
                  <a:cubicBezTo>
                    <a:pt x="2779" y="2688"/>
                    <a:pt x="2778" y="2680"/>
                    <a:pt x="2778" y="2680"/>
                  </a:cubicBezTo>
                  <a:cubicBezTo>
                    <a:pt x="2747" y="2692"/>
                    <a:pt x="2747" y="2692"/>
                    <a:pt x="2747" y="2692"/>
                  </a:cubicBezTo>
                  <a:cubicBezTo>
                    <a:pt x="2747" y="2692"/>
                    <a:pt x="2728" y="2694"/>
                    <a:pt x="2722" y="2694"/>
                  </a:cubicBezTo>
                  <a:cubicBezTo>
                    <a:pt x="2716" y="2694"/>
                    <a:pt x="2716" y="2681"/>
                    <a:pt x="2716" y="2681"/>
                  </a:cubicBezTo>
                  <a:cubicBezTo>
                    <a:pt x="2716" y="2681"/>
                    <a:pt x="2696" y="2680"/>
                    <a:pt x="2689" y="2681"/>
                  </a:cubicBezTo>
                  <a:cubicBezTo>
                    <a:pt x="2682" y="2683"/>
                    <a:pt x="2673" y="2674"/>
                    <a:pt x="2673" y="2674"/>
                  </a:cubicBezTo>
                  <a:cubicBezTo>
                    <a:pt x="2673" y="2674"/>
                    <a:pt x="2673" y="2665"/>
                    <a:pt x="2680" y="2663"/>
                  </a:cubicBezTo>
                  <a:cubicBezTo>
                    <a:pt x="2687" y="2662"/>
                    <a:pt x="2718" y="2662"/>
                    <a:pt x="2722" y="2670"/>
                  </a:cubicBezTo>
                  <a:cubicBezTo>
                    <a:pt x="2726" y="2678"/>
                    <a:pt x="2740" y="2684"/>
                    <a:pt x="2740" y="2684"/>
                  </a:cubicBezTo>
                  <a:cubicBezTo>
                    <a:pt x="2740" y="2684"/>
                    <a:pt x="2762" y="2681"/>
                    <a:pt x="2765" y="2671"/>
                  </a:cubicBezTo>
                  <a:cubicBezTo>
                    <a:pt x="2768" y="2662"/>
                    <a:pt x="2775" y="2653"/>
                    <a:pt x="2783" y="2655"/>
                  </a:cubicBezTo>
                  <a:cubicBezTo>
                    <a:pt x="2792" y="2656"/>
                    <a:pt x="2807" y="2652"/>
                    <a:pt x="2807" y="2652"/>
                  </a:cubicBezTo>
                  <a:cubicBezTo>
                    <a:pt x="2807" y="2652"/>
                    <a:pt x="2814" y="2631"/>
                    <a:pt x="2820" y="2625"/>
                  </a:cubicBezTo>
                  <a:cubicBezTo>
                    <a:pt x="2825" y="2620"/>
                    <a:pt x="2828" y="2616"/>
                    <a:pt x="2834" y="2614"/>
                  </a:cubicBezTo>
                  <a:cubicBezTo>
                    <a:pt x="2839" y="2613"/>
                    <a:pt x="2839" y="2591"/>
                    <a:pt x="2832" y="2588"/>
                  </a:cubicBezTo>
                  <a:cubicBezTo>
                    <a:pt x="2825" y="2585"/>
                    <a:pt x="2808" y="2582"/>
                    <a:pt x="2808" y="2573"/>
                  </a:cubicBezTo>
                  <a:cubicBezTo>
                    <a:pt x="2808" y="2563"/>
                    <a:pt x="2800" y="2561"/>
                    <a:pt x="2795" y="2561"/>
                  </a:cubicBezTo>
                  <a:cubicBezTo>
                    <a:pt x="2789" y="2561"/>
                    <a:pt x="2736" y="2570"/>
                    <a:pt x="2736" y="2570"/>
                  </a:cubicBezTo>
                  <a:cubicBezTo>
                    <a:pt x="2736" y="2570"/>
                    <a:pt x="2715" y="2563"/>
                    <a:pt x="2710" y="2563"/>
                  </a:cubicBezTo>
                  <a:cubicBezTo>
                    <a:pt x="2704" y="2563"/>
                    <a:pt x="2658" y="2584"/>
                    <a:pt x="2645" y="2589"/>
                  </a:cubicBezTo>
                  <a:cubicBezTo>
                    <a:pt x="2633" y="2595"/>
                    <a:pt x="2626" y="2598"/>
                    <a:pt x="2616" y="2600"/>
                  </a:cubicBezTo>
                  <a:cubicBezTo>
                    <a:pt x="2606" y="2603"/>
                    <a:pt x="2580" y="2616"/>
                    <a:pt x="2572" y="2616"/>
                  </a:cubicBezTo>
                  <a:cubicBezTo>
                    <a:pt x="2563" y="2616"/>
                    <a:pt x="2548" y="2627"/>
                    <a:pt x="2548" y="2627"/>
                  </a:cubicBezTo>
                  <a:cubicBezTo>
                    <a:pt x="2537" y="2639"/>
                    <a:pt x="2537" y="2639"/>
                    <a:pt x="2537" y="2639"/>
                  </a:cubicBezTo>
                  <a:cubicBezTo>
                    <a:pt x="2537" y="2639"/>
                    <a:pt x="2530" y="2646"/>
                    <a:pt x="2523" y="2652"/>
                  </a:cubicBezTo>
                  <a:cubicBezTo>
                    <a:pt x="2516" y="2658"/>
                    <a:pt x="2499" y="2667"/>
                    <a:pt x="2499" y="2667"/>
                  </a:cubicBezTo>
                  <a:cubicBezTo>
                    <a:pt x="2485" y="2676"/>
                    <a:pt x="2485" y="2676"/>
                    <a:pt x="2485" y="2676"/>
                  </a:cubicBezTo>
                  <a:cubicBezTo>
                    <a:pt x="2471" y="2687"/>
                    <a:pt x="2471" y="2687"/>
                    <a:pt x="2471" y="2687"/>
                  </a:cubicBezTo>
                  <a:cubicBezTo>
                    <a:pt x="2471" y="2687"/>
                    <a:pt x="2464" y="2695"/>
                    <a:pt x="2460" y="2697"/>
                  </a:cubicBezTo>
                  <a:cubicBezTo>
                    <a:pt x="2456" y="2698"/>
                    <a:pt x="2443" y="2701"/>
                    <a:pt x="2438" y="2704"/>
                  </a:cubicBezTo>
                  <a:cubicBezTo>
                    <a:pt x="2432" y="2706"/>
                    <a:pt x="2425" y="2713"/>
                    <a:pt x="2425" y="2713"/>
                  </a:cubicBezTo>
                  <a:cubicBezTo>
                    <a:pt x="2425" y="2713"/>
                    <a:pt x="2420" y="2720"/>
                    <a:pt x="2413" y="2724"/>
                  </a:cubicBezTo>
                  <a:cubicBezTo>
                    <a:pt x="2406" y="2729"/>
                    <a:pt x="2400" y="2734"/>
                    <a:pt x="2396" y="2738"/>
                  </a:cubicBezTo>
                  <a:cubicBezTo>
                    <a:pt x="2392" y="2743"/>
                    <a:pt x="2396" y="2745"/>
                    <a:pt x="2388" y="2750"/>
                  </a:cubicBezTo>
                  <a:cubicBezTo>
                    <a:pt x="2379" y="2754"/>
                    <a:pt x="2369" y="2754"/>
                    <a:pt x="2369" y="2754"/>
                  </a:cubicBezTo>
                  <a:cubicBezTo>
                    <a:pt x="2371" y="2738"/>
                    <a:pt x="2371" y="2738"/>
                    <a:pt x="2371" y="2738"/>
                  </a:cubicBezTo>
                  <a:cubicBezTo>
                    <a:pt x="2381" y="2733"/>
                    <a:pt x="2381" y="2733"/>
                    <a:pt x="2381" y="2733"/>
                  </a:cubicBezTo>
                  <a:cubicBezTo>
                    <a:pt x="2381" y="2733"/>
                    <a:pt x="2383" y="2730"/>
                    <a:pt x="2389" y="2724"/>
                  </a:cubicBezTo>
                  <a:cubicBezTo>
                    <a:pt x="2395" y="2719"/>
                    <a:pt x="2406" y="2712"/>
                    <a:pt x="2406" y="2712"/>
                  </a:cubicBezTo>
                  <a:cubicBezTo>
                    <a:pt x="2428" y="2699"/>
                    <a:pt x="2428" y="2699"/>
                    <a:pt x="2428" y="2699"/>
                  </a:cubicBezTo>
                  <a:cubicBezTo>
                    <a:pt x="2446" y="2687"/>
                    <a:pt x="2446" y="2687"/>
                    <a:pt x="2446" y="2687"/>
                  </a:cubicBezTo>
                  <a:cubicBezTo>
                    <a:pt x="2446" y="2687"/>
                    <a:pt x="2454" y="2676"/>
                    <a:pt x="2463" y="2670"/>
                  </a:cubicBezTo>
                  <a:cubicBezTo>
                    <a:pt x="2471" y="2665"/>
                    <a:pt x="2478" y="2658"/>
                    <a:pt x="2478" y="2658"/>
                  </a:cubicBezTo>
                  <a:cubicBezTo>
                    <a:pt x="2478" y="2658"/>
                    <a:pt x="2478" y="2655"/>
                    <a:pt x="2491" y="2648"/>
                  </a:cubicBezTo>
                  <a:cubicBezTo>
                    <a:pt x="2503" y="2641"/>
                    <a:pt x="2507" y="2641"/>
                    <a:pt x="2514" y="2635"/>
                  </a:cubicBezTo>
                  <a:cubicBezTo>
                    <a:pt x="2521" y="2630"/>
                    <a:pt x="2521" y="2625"/>
                    <a:pt x="2531" y="2619"/>
                  </a:cubicBezTo>
                  <a:cubicBezTo>
                    <a:pt x="2541" y="2612"/>
                    <a:pt x="2542" y="2610"/>
                    <a:pt x="2546" y="2607"/>
                  </a:cubicBezTo>
                  <a:cubicBezTo>
                    <a:pt x="2551" y="2605"/>
                    <a:pt x="2552" y="2605"/>
                    <a:pt x="2562" y="2595"/>
                  </a:cubicBezTo>
                  <a:cubicBezTo>
                    <a:pt x="2572" y="2585"/>
                    <a:pt x="2562" y="2586"/>
                    <a:pt x="2577" y="2582"/>
                  </a:cubicBezTo>
                  <a:cubicBezTo>
                    <a:pt x="2592" y="2578"/>
                    <a:pt x="2594" y="2575"/>
                    <a:pt x="2604" y="2575"/>
                  </a:cubicBezTo>
                  <a:cubicBezTo>
                    <a:pt x="2613" y="2575"/>
                    <a:pt x="2631" y="2563"/>
                    <a:pt x="2631" y="2563"/>
                  </a:cubicBezTo>
                  <a:cubicBezTo>
                    <a:pt x="2631" y="2563"/>
                    <a:pt x="2657" y="2542"/>
                    <a:pt x="2659" y="2532"/>
                  </a:cubicBezTo>
                  <a:cubicBezTo>
                    <a:pt x="2662" y="2522"/>
                    <a:pt x="2676" y="2514"/>
                    <a:pt x="2676" y="2514"/>
                  </a:cubicBezTo>
                  <a:cubicBezTo>
                    <a:pt x="2700" y="2510"/>
                    <a:pt x="2700" y="2510"/>
                    <a:pt x="2700" y="2510"/>
                  </a:cubicBezTo>
                  <a:cubicBezTo>
                    <a:pt x="2700" y="2510"/>
                    <a:pt x="2696" y="2503"/>
                    <a:pt x="2708" y="2497"/>
                  </a:cubicBezTo>
                  <a:cubicBezTo>
                    <a:pt x="2721" y="2492"/>
                    <a:pt x="2730" y="2487"/>
                    <a:pt x="2746" y="2490"/>
                  </a:cubicBezTo>
                  <a:cubicBezTo>
                    <a:pt x="2761" y="2493"/>
                    <a:pt x="2771" y="2490"/>
                    <a:pt x="2788" y="2490"/>
                  </a:cubicBezTo>
                  <a:cubicBezTo>
                    <a:pt x="2804" y="2490"/>
                    <a:pt x="2808" y="2489"/>
                    <a:pt x="2829" y="2487"/>
                  </a:cubicBezTo>
                  <a:cubicBezTo>
                    <a:pt x="2850" y="2486"/>
                    <a:pt x="2857" y="2482"/>
                    <a:pt x="2864" y="2487"/>
                  </a:cubicBezTo>
                  <a:cubicBezTo>
                    <a:pt x="2871" y="2493"/>
                    <a:pt x="2870" y="2497"/>
                    <a:pt x="2898" y="2489"/>
                  </a:cubicBezTo>
                  <a:cubicBezTo>
                    <a:pt x="2926" y="2481"/>
                    <a:pt x="2923" y="2475"/>
                    <a:pt x="2935" y="2479"/>
                  </a:cubicBezTo>
                  <a:cubicBezTo>
                    <a:pt x="2948" y="2483"/>
                    <a:pt x="2970" y="2483"/>
                    <a:pt x="2974" y="2485"/>
                  </a:cubicBezTo>
                  <a:cubicBezTo>
                    <a:pt x="2978" y="2486"/>
                    <a:pt x="3002" y="2489"/>
                    <a:pt x="3006" y="2489"/>
                  </a:cubicBezTo>
                  <a:cubicBezTo>
                    <a:pt x="3011" y="2489"/>
                    <a:pt x="3033" y="2490"/>
                    <a:pt x="3033" y="2490"/>
                  </a:cubicBezTo>
                  <a:cubicBezTo>
                    <a:pt x="3033" y="2490"/>
                    <a:pt x="3055" y="2497"/>
                    <a:pt x="3068" y="2494"/>
                  </a:cubicBezTo>
                  <a:cubicBezTo>
                    <a:pt x="3080" y="2492"/>
                    <a:pt x="3065" y="2496"/>
                    <a:pt x="3108" y="2492"/>
                  </a:cubicBezTo>
                  <a:cubicBezTo>
                    <a:pt x="3151" y="2487"/>
                    <a:pt x="3156" y="2490"/>
                    <a:pt x="3160" y="2483"/>
                  </a:cubicBezTo>
                  <a:cubicBezTo>
                    <a:pt x="3164" y="2476"/>
                    <a:pt x="3160" y="2455"/>
                    <a:pt x="3178" y="2461"/>
                  </a:cubicBezTo>
                  <a:cubicBezTo>
                    <a:pt x="3196" y="2467"/>
                    <a:pt x="3210" y="2444"/>
                    <a:pt x="3218" y="2437"/>
                  </a:cubicBezTo>
                  <a:cubicBezTo>
                    <a:pt x="3227" y="2430"/>
                    <a:pt x="3234" y="2415"/>
                    <a:pt x="3235" y="2411"/>
                  </a:cubicBezTo>
                  <a:cubicBezTo>
                    <a:pt x="3236" y="2407"/>
                    <a:pt x="3239" y="2404"/>
                    <a:pt x="3246" y="2402"/>
                  </a:cubicBezTo>
                  <a:cubicBezTo>
                    <a:pt x="3253" y="2401"/>
                    <a:pt x="3256" y="2398"/>
                    <a:pt x="3263" y="2400"/>
                  </a:cubicBezTo>
                  <a:cubicBezTo>
                    <a:pt x="3270" y="2401"/>
                    <a:pt x="3281" y="2398"/>
                    <a:pt x="3289" y="2398"/>
                  </a:cubicBezTo>
                  <a:cubicBezTo>
                    <a:pt x="3298" y="2398"/>
                    <a:pt x="3306" y="2397"/>
                    <a:pt x="3313" y="2396"/>
                  </a:cubicBezTo>
                  <a:cubicBezTo>
                    <a:pt x="3320" y="2394"/>
                    <a:pt x="3326" y="2383"/>
                    <a:pt x="3334" y="2383"/>
                  </a:cubicBezTo>
                  <a:cubicBezTo>
                    <a:pt x="3342" y="2383"/>
                    <a:pt x="3346" y="2382"/>
                    <a:pt x="3351" y="2386"/>
                  </a:cubicBezTo>
                  <a:cubicBezTo>
                    <a:pt x="3355" y="2390"/>
                    <a:pt x="3366" y="2384"/>
                    <a:pt x="3372" y="2383"/>
                  </a:cubicBezTo>
                  <a:cubicBezTo>
                    <a:pt x="3377" y="2382"/>
                    <a:pt x="3383" y="2368"/>
                    <a:pt x="3388" y="2368"/>
                  </a:cubicBezTo>
                  <a:cubicBezTo>
                    <a:pt x="3394" y="2368"/>
                    <a:pt x="3409" y="2375"/>
                    <a:pt x="3415" y="2370"/>
                  </a:cubicBezTo>
                  <a:cubicBezTo>
                    <a:pt x="3420" y="2366"/>
                    <a:pt x="3439" y="2350"/>
                    <a:pt x="3444" y="2347"/>
                  </a:cubicBezTo>
                  <a:cubicBezTo>
                    <a:pt x="3455" y="2340"/>
                    <a:pt x="3461" y="2316"/>
                    <a:pt x="3461" y="2316"/>
                  </a:cubicBezTo>
                  <a:cubicBezTo>
                    <a:pt x="3438" y="2297"/>
                    <a:pt x="3438" y="2297"/>
                    <a:pt x="3438" y="2297"/>
                  </a:cubicBezTo>
                  <a:cubicBezTo>
                    <a:pt x="3438" y="2297"/>
                    <a:pt x="3413" y="2299"/>
                    <a:pt x="3424" y="2291"/>
                  </a:cubicBezTo>
                  <a:cubicBezTo>
                    <a:pt x="3436" y="2283"/>
                    <a:pt x="3443" y="2283"/>
                    <a:pt x="3450" y="2273"/>
                  </a:cubicBezTo>
                  <a:cubicBezTo>
                    <a:pt x="3457" y="2263"/>
                    <a:pt x="3464" y="2238"/>
                    <a:pt x="3464" y="2238"/>
                  </a:cubicBezTo>
                  <a:cubicBezTo>
                    <a:pt x="3448" y="2219"/>
                    <a:pt x="3448" y="2219"/>
                    <a:pt x="3448" y="2219"/>
                  </a:cubicBezTo>
                  <a:cubicBezTo>
                    <a:pt x="3448" y="2219"/>
                    <a:pt x="3462" y="2202"/>
                    <a:pt x="3451" y="2199"/>
                  </a:cubicBezTo>
                  <a:cubicBezTo>
                    <a:pt x="3440" y="2196"/>
                    <a:pt x="3418" y="2196"/>
                    <a:pt x="3413" y="2196"/>
                  </a:cubicBezTo>
                  <a:cubicBezTo>
                    <a:pt x="3409" y="2196"/>
                    <a:pt x="3408" y="2191"/>
                    <a:pt x="3404" y="2188"/>
                  </a:cubicBezTo>
                  <a:cubicBezTo>
                    <a:pt x="3399" y="2185"/>
                    <a:pt x="3384" y="2186"/>
                    <a:pt x="3383" y="2192"/>
                  </a:cubicBezTo>
                  <a:cubicBezTo>
                    <a:pt x="3381" y="2198"/>
                    <a:pt x="3380" y="2209"/>
                    <a:pt x="3372" y="2212"/>
                  </a:cubicBezTo>
                  <a:cubicBezTo>
                    <a:pt x="3363" y="2214"/>
                    <a:pt x="3360" y="2224"/>
                    <a:pt x="3358" y="2219"/>
                  </a:cubicBezTo>
                  <a:cubicBezTo>
                    <a:pt x="3355" y="2213"/>
                    <a:pt x="3362" y="2206"/>
                    <a:pt x="3365" y="2199"/>
                  </a:cubicBezTo>
                  <a:cubicBezTo>
                    <a:pt x="3367" y="2192"/>
                    <a:pt x="3377" y="2186"/>
                    <a:pt x="3373" y="2182"/>
                  </a:cubicBezTo>
                  <a:cubicBezTo>
                    <a:pt x="3369" y="2178"/>
                    <a:pt x="3369" y="2164"/>
                    <a:pt x="3369" y="2164"/>
                  </a:cubicBezTo>
                  <a:cubicBezTo>
                    <a:pt x="3344" y="2170"/>
                    <a:pt x="3344" y="2170"/>
                    <a:pt x="3344" y="2170"/>
                  </a:cubicBezTo>
                  <a:cubicBezTo>
                    <a:pt x="3344" y="2170"/>
                    <a:pt x="3344" y="2163"/>
                    <a:pt x="3335" y="2161"/>
                  </a:cubicBezTo>
                  <a:cubicBezTo>
                    <a:pt x="3327" y="2160"/>
                    <a:pt x="3307" y="2161"/>
                    <a:pt x="3305" y="2167"/>
                  </a:cubicBezTo>
                  <a:cubicBezTo>
                    <a:pt x="3303" y="2173"/>
                    <a:pt x="3297" y="2180"/>
                    <a:pt x="3292" y="2178"/>
                  </a:cubicBezTo>
                  <a:cubicBezTo>
                    <a:pt x="3288" y="2176"/>
                    <a:pt x="3276" y="2168"/>
                    <a:pt x="3276" y="2168"/>
                  </a:cubicBezTo>
                  <a:cubicBezTo>
                    <a:pt x="3276" y="2168"/>
                    <a:pt x="3264" y="2177"/>
                    <a:pt x="3258" y="2181"/>
                  </a:cubicBezTo>
                  <a:cubicBezTo>
                    <a:pt x="3252" y="2184"/>
                    <a:pt x="3239" y="2195"/>
                    <a:pt x="3235" y="2196"/>
                  </a:cubicBezTo>
                  <a:cubicBezTo>
                    <a:pt x="3232" y="2197"/>
                    <a:pt x="3223" y="2204"/>
                    <a:pt x="3215" y="2205"/>
                  </a:cubicBezTo>
                  <a:cubicBezTo>
                    <a:pt x="3208" y="2206"/>
                    <a:pt x="3202" y="2210"/>
                    <a:pt x="3199" y="2208"/>
                  </a:cubicBezTo>
                  <a:cubicBezTo>
                    <a:pt x="3195" y="2205"/>
                    <a:pt x="3192" y="2200"/>
                    <a:pt x="3192" y="2200"/>
                  </a:cubicBezTo>
                  <a:cubicBezTo>
                    <a:pt x="3192" y="2200"/>
                    <a:pt x="3192" y="2196"/>
                    <a:pt x="3196" y="2197"/>
                  </a:cubicBezTo>
                  <a:cubicBezTo>
                    <a:pt x="3199" y="2198"/>
                    <a:pt x="3207" y="2197"/>
                    <a:pt x="3210" y="2196"/>
                  </a:cubicBezTo>
                  <a:cubicBezTo>
                    <a:pt x="3213" y="2195"/>
                    <a:pt x="3218" y="2192"/>
                    <a:pt x="3222" y="2189"/>
                  </a:cubicBezTo>
                  <a:cubicBezTo>
                    <a:pt x="3225" y="2186"/>
                    <a:pt x="3235" y="2177"/>
                    <a:pt x="3237" y="2176"/>
                  </a:cubicBezTo>
                  <a:cubicBezTo>
                    <a:pt x="3239" y="2174"/>
                    <a:pt x="3252" y="2168"/>
                    <a:pt x="3252" y="2168"/>
                  </a:cubicBezTo>
                  <a:cubicBezTo>
                    <a:pt x="3267" y="2157"/>
                    <a:pt x="3267" y="2157"/>
                    <a:pt x="3267" y="2157"/>
                  </a:cubicBezTo>
                  <a:cubicBezTo>
                    <a:pt x="3267" y="2157"/>
                    <a:pt x="3289" y="2151"/>
                    <a:pt x="3295" y="2155"/>
                  </a:cubicBezTo>
                  <a:cubicBezTo>
                    <a:pt x="3295" y="2155"/>
                    <a:pt x="3306" y="2149"/>
                    <a:pt x="3313" y="2150"/>
                  </a:cubicBezTo>
                  <a:cubicBezTo>
                    <a:pt x="3320" y="2151"/>
                    <a:pt x="3322" y="2142"/>
                    <a:pt x="3330" y="2144"/>
                  </a:cubicBezTo>
                  <a:cubicBezTo>
                    <a:pt x="3338" y="2146"/>
                    <a:pt x="3339" y="2151"/>
                    <a:pt x="3344" y="2145"/>
                  </a:cubicBezTo>
                  <a:cubicBezTo>
                    <a:pt x="3350" y="2140"/>
                    <a:pt x="3355" y="2135"/>
                    <a:pt x="3358" y="2134"/>
                  </a:cubicBezTo>
                  <a:cubicBezTo>
                    <a:pt x="3361" y="2133"/>
                    <a:pt x="3365" y="2135"/>
                    <a:pt x="3366" y="2131"/>
                  </a:cubicBezTo>
                  <a:cubicBezTo>
                    <a:pt x="3367" y="2126"/>
                    <a:pt x="3368" y="2118"/>
                    <a:pt x="3363" y="2119"/>
                  </a:cubicBezTo>
                  <a:cubicBezTo>
                    <a:pt x="3357" y="2121"/>
                    <a:pt x="3352" y="2122"/>
                    <a:pt x="3343" y="2122"/>
                  </a:cubicBezTo>
                  <a:cubicBezTo>
                    <a:pt x="3334" y="2122"/>
                    <a:pt x="3326" y="2123"/>
                    <a:pt x="3325" y="2118"/>
                  </a:cubicBezTo>
                  <a:cubicBezTo>
                    <a:pt x="3324" y="2114"/>
                    <a:pt x="3320" y="2108"/>
                    <a:pt x="3315" y="2108"/>
                  </a:cubicBezTo>
                  <a:cubicBezTo>
                    <a:pt x="3311" y="2108"/>
                    <a:pt x="3309" y="2104"/>
                    <a:pt x="3303" y="2105"/>
                  </a:cubicBezTo>
                  <a:cubicBezTo>
                    <a:pt x="3296" y="2106"/>
                    <a:pt x="3296" y="2111"/>
                    <a:pt x="3290" y="2106"/>
                  </a:cubicBezTo>
                  <a:cubicBezTo>
                    <a:pt x="3285" y="2100"/>
                    <a:pt x="3278" y="2104"/>
                    <a:pt x="3276" y="2097"/>
                  </a:cubicBezTo>
                  <a:cubicBezTo>
                    <a:pt x="3273" y="2090"/>
                    <a:pt x="3272" y="2086"/>
                    <a:pt x="3267" y="2086"/>
                  </a:cubicBezTo>
                  <a:cubicBezTo>
                    <a:pt x="3261" y="2086"/>
                    <a:pt x="3262" y="2079"/>
                    <a:pt x="3250" y="2082"/>
                  </a:cubicBezTo>
                  <a:cubicBezTo>
                    <a:pt x="3237" y="2086"/>
                    <a:pt x="3233" y="2090"/>
                    <a:pt x="3232" y="2087"/>
                  </a:cubicBezTo>
                  <a:cubicBezTo>
                    <a:pt x="3230" y="2083"/>
                    <a:pt x="3234" y="2073"/>
                    <a:pt x="3227" y="2072"/>
                  </a:cubicBezTo>
                  <a:cubicBezTo>
                    <a:pt x="3220" y="2071"/>
                    <a:pt x="3216" y="2072"/>
                    <a:pt x="3209" y="2073"/>
                  </a:cubicBezTo>
                  <a:cubicBezTo>
                    <a:pt x="3202" y="2074"/>
                    <a:pt x="3192" y="2078"/>
                    <a:pt x="3186" y="2078"/>
                  </a:cubicBezTo>
                  <a:cubicBezTo>
                    <a:pt x="3181" y="2078"/>
                    <a:pt x="3181" y="2078"/>
                    <a:pt x="3181" y="2078"/>
                  </a:cubicBezTo>
                  <a:cubicBezTo>
                    <a:pt x="3181" y="2078"/>
                    <a:pt x="3182" y="2063"/>
                    <a:pt x="3182" y="2058"/>
                  </a:cubicBezTo>
                  <a:cubicBezTo>
                    <a:pt x="3182" y="2054"/>
                    <a:pt x="3184" y="2048"/>
                    <a:pt x="3177" y="2045"/>
                  </a:cubicBezTo>
                  <a:cubicBezTo>
                    <a:pt x="3171" y="2042"/>
                    <a:pt x="3168" y="2036"/>
                    <a:pt x="3164" y="2032"/>
                  </a:cubicBezTo>
                  <a:cubicBezTo>
                    <a:pt x="3159" y="2029"/>
                    <a:pt x="3157" y="2026"/>
                    <a:pt x="3145" y="2019"/>
                  </a:cubicBezTo>
                  <a:cubicBezTo>
                    <a:pt x="3132" y="2012"/>
                    <a:pt x="3126" y="2010"/>
                    <a:pt x="3121" y="2002"/>
                  </a:cubicBezTo>
                  <a:cubicBezTo>
                    <a:pt x="3116" y="1994"/>
                    <a:pt x="3112" y="1986"/>
                    <a:pt x="3112" y="1986"/>
                  </a:cubicBezTo>
                  <a:cubicBezTo>
                    <a:pt x="3118" y="1960"/>
                    <a:pt x="3118" y="1960"/>
                    <a:pt x="3118" y="1960"/>
                  </a:cubicBezTo>
                  <a:cubicBezTo>
                    <a:pt x="3131" y="1946"/>
                    <a:pt x="3131" y="1946"/>
                    <a:pt x="3131" y="1946"/>
                  </a:cubicBezTo>
                  <a:cubicBezTo>
                    <a:pt x="3131" y="1946"/>
                    <a:pt x="3150" y="1933"/>
                    <a:pt x="3156" y="1927"/>
                  </a:cubicBezTo>
                  <a:cubicBezTo>
                    <a:pt x="3162" y="1922"/>
                    <a:pt x="3164" y="1922"/>
                    <a:pt x="3156" y="1913"/>
                  </a:cubicBezTo>
                  <a:cubicBezTo>
                    <a:pt x="3148" y="1904"/>
                    <a:pt x="3147" y="1908"/>
                    <a:pt x="3140" y="1903"/>
                  </a:cubicBezTo>
                  <a:cubicBezTo>
                    <a:pt x="3133" y="1897"/>
                    <a:pt x="3127" y="1888"/>
                    <a:pt x="3127" y="1888"/>
                  </a:cubicBezTo>
                  <a:cubicBezTo>
                    <a:pt x="3127" y="1888"/>
                    <a:pt x="3116" y="1889"/>
                    <a:pt x="3113" y="1889"/>
                  </a:cubicBezTo>
                  <a:cubicBezTo>
                    <a:pt x="3110" y="1889"/>
                    <a:pt x="3110" y="1877"/>
                    <a:pt x="3115" y="1879"/>
                  </a:cubicBezTo>
                  <a:cubicBezTo>
                    <a:pt x="3121" y="1881"/>
                    <a:pt x="3137" y="1877"/>
                    <a:pt x="3133" y="1870"/>
                  </a:cubicBezTo>
                  <a:cubicBezTo>
                    <a:pt x="3130" y="1863"/>
                    <a:pt x="3132" y="1859"/>
                    <a:pt x="3129" y="1858"/>
                  </a:cubicBezTo>
                  <a:cubicBezTo>
                    <a:pt x="3126" y="1856"/>
                    <a:pt x="3118" y="1852"/>
                    <a:pt x="3114" y="1848"/>
                  </a:cubicBezTo>
                  <a:cubicBezTo>
                    <a:pt x="3111" y="1845"/>
                    <a:pt x="3111" y="1837"/>
                    <a:pt x="3107" y="1832"/>
                  </a:cubicBezTo>
                  <a:cubicBezTo>
                    <a:pt x="3104" y="1826"/>
                    <a:pt x="3105" y="1818"/>
                    <a:pt x="3103" y="1814"/>
                  </a:cubicBezTo>
                  <a:cubicBezTo>
                    <a:pt x="3101" y="1809"/>
                    <a:pt x="3104" y="1799"/>
                    <a:pt x="3098" y="1798"/>
                  </a:cubicBezTo>
                  <a:cubicBezTo>
                    <a:pt x="3093" y="1797"/>
                    <a:pt x="3087" y="1791"/>
                    <a:pt x="3087" y="1782"/>
                  </a:cubicBezTo>
                  <a:cubicBezTo>
                    <a:pt x="3087" y="1773"/>
                    <a:pt x="3087" y="1759"/>
                    <a:pt x="3087" y="1759"/>
                  </a:cubicBezTo>
                  <a:cubicBezTo>
                    <a:pt x="3075" y="1744"/>
                    <a:pt x="3075" y="1744"/>
                    <a:pt x="3075" y="1744"/>
                  </a:cubicBezTo>
                  <a:cubicBezTo>
                    <a:pt x="3070" y="1720"/>
                    <a:pt x="3070" y="1720"/>
                    <a:pt x="3070" y="1720"/>
                  </a:cubicBezTo>
                  <a:cubicBezTo>
                    <a:pt x="3070" y="1720"/>
                    <a:pt x="3063" y="1714"/>
                    <a:pt x="3060" y="1711"/>
                  </a:cubicBezTo>
                  <a:cubicBezTo>
                    <a:pt x="3057" y="1707"/>
                    <a:pt x="3053" y="1707"/>
                    <a:pt x="3054" y="1698"/>
                  </a:cubicBezTo>
                  <a:cubicBezTo>
                    <a:pt x="3056" y="1689"/>
                    <a:pt x="3051" y="1680"/>
                    <a:pt x="3051" y="1680"/>
                  </a:cubicBezTo>
                  <a:cubicBezTo>
                    <a:pt x="3047" y="1663"/>
                    <a:pt x="3047" y="1663"/>
                    <a:pt x="3047" y="1663"/>
                  </a:cubicBezTo>
                  <a:cubicBezTo>
                    <a:pt x="3047" y="1663"/>
                    <a:pt x="3040" y="1653"/>
                    <a:pt x="3036" y="1652"/>
                  </a:cubicBezTo>
                  <a:cubicBezTo>
                    <a:pt x="3033" y="1651"/>
                    <a:pt x="3016" y="1663"/>
                    <a:pt x="3014" y="1670"/>
                  </a:cubicBezTo>
                  <a:cubicBezTo>
                    <a:pt x="3012" y="1677"/>
                    <a:pt x="3004" y="1686"/>
                    <a:pt x="3004" y="1686"/>
                  </a:cubicBezTo>
                  <a:cubicBezTo>
                    <a:pt x="3004" y="1686"/>
                    <a:pt x="2981" y="1707"/>
                    <a:pt x="2978" y="1707"/>
                  </a:cubicBezTo>
                  <a:cubicBezTo>
                    <a:pt x="2974" y="1707"/>
                    <a:pt x="2977" y="1716"/>
                    <a:pt x="2978" y="1724"/>
                  </a:cubicBezTo>
                  <a:cubicBezTo>
                    <a:pt x="2979" y="1732"/>
                    <a:pt x="2973" y="1738"/>
                    <a:pt x="2970" y="1740"/>
                  </a:cubicBezTo>
                  <a:cubicBezTo>
                    <a:pt x="2966" y="1742"/>
                    <a:pt x="2952" y="1748"/>
                    <a:pt x="2948" y="1751"/>
                  </a:cubicBezTo>
                  <a:cubicBezTo>
                    <a:pt x="2945" y="1755"/>
                    <a:pt x="2936" y="1766"/>
                    <a:pt x="2934" y="1772"/>
                  </a:cubicBezTo>
                  <a:cubicBezTo>
                    <a:pt x="2931" y="1777"/>
                    <a:pt x="2918" y="1780"/>
                    <a:pt x="2918" y="1788"/>
                  </a:cubicBezTo>
                  <a:cubicBezTo>
                    <a:pt x="2918" y="1795"/>
                    <a:pt x="2919" y="1807"/>
                    <a:pt x="2910" y="1806"/>
                  </a:cubicBezTo>
                  <a:cubicBezTo>
                    <a:pt x="2901" y="1804"/>
                    <a:pt x="2902" y="1785"/>
                    <a:pt x="2894" y="1791"/>
                  </a:cubicBezTo>
                  <a:cubicBezTo>
                    <a:pt x="2886" y="1797"/>
                    <a:pt x="2883" y="1797"/>
                    <a:pt x="2875" y="1806"/>
                  </a:cubicBezTo>
                  <a:cubicBezTo>
                    <a:pt x="2867" y="1815"/>
                    <a:pt x="2861" y="1818"/>
                    <a:pt x="2856" y="1818"/>
                  </a:cubicBezTo>
                  <a:cubicBezTo>
                    <a:pt x="2850" y="1818"/>
                    <a:pt x="2839" y="1820"/>
                    <a:pt x="2833" y="1823"/>
                  </a:cubicBezTo>
                  <a:cubicBezTo>
                    <a:pt x="2828" y="1825"/>
                    <a:pt x="2821" y="1832"/>
                    <a:pt x="2821" y="1832"/>
                  </a:cubicBezTo>
                  <a:cubicBezTo>
                    <a:pt x="2811" y="1839"/>
                    <a:pt x="2811" y="1839"/>
                    <a:pt x="2811" y="1839"/>
                  </a:cubicBezTo>
                  <a:cubicBezTo>
                    <a:pt x="2811" y="1839"/>
                    <a:pt x="2807" y="1824"/>
                    <a:pt x="2805" y="1817"/>
                  </a:cubicBezTo>
                  <a:cubicBezTo>
                    <a:pt x="2803" y="1810"/>
                    <a:pt x="2802" y="1806"/>
                    <a:pt x="2797" y="1806"/>
                  </a:cubicBezTo>
                  <a:cubicBezTo>
                    <a:pt x="2793" y="1806"/>
                    <a:pt x="2787" y="1808"/>
                    <a:pt x="2785" y="1800"/>
                  </a:cubicBezTo>
                  <a:cubicBezTo>
                    <a:pt x="2782" y="1792"/>
                    <a:pt x="2786" y="1777"/>
                    <a:pt x="2780" y="1776"/>
                  </a:cubicBezTo>
                  <a:cubicBezTo>
                    <a:pt x="2774" y="1775"/>
                    <a:pt x="2760" y="1771"/>
                    <a:pt x="2760" y="1771"/>
                  </a:cubicBezTo>
                  <a:cubicBezTo>
                    <a:pt x="2743" y="1772"/>
                    <a:pt x="2743" y="1772"/>
                    <a:pt x="2743" y="1772"/>
                  </a:cubicBezTo>
                  <a:cubicBezTo>
                    <a:pt x="2743" y="1772"/>
                    <a:pt x="2735" y="1764"/>
                    <a:pt x="2730" y="1769"/>
                  </a:cubicBezTo>
                  <a:cubicBezTo>
                    <a:pt x="2726" y="1775"/>
                    <a:pt x="2718" y="1781"/>
                    <a:pt x="2718" y="1781"/>
                  </a:cubicBezTo>
                  <a:cubicBezTo>
                    <a:pt x="2718" y="1781"/>
                    <a:pt x="2707" y="1790"/>
                    <a:pt x="2702" y="1788"/>
                  </a:cubicBezTo>
                  <a:cubicBezTo>
                    <a:pt x="2698" y="1785"/>
                    <a:pt x="2695" y="1771"/>
                    <a:pt x="2695" y="1771"/>
                  </a:cubicBezTo>
                  <a:cubicBezTo>
                    <a:pt x="2695" y="1771"/>
                    <a:pt x="2701" y="1766"/>
                    <a:pt x="2704" y="1766"/>
                  </a:cubicBezTo>
                  <a:cubicBezTo>
                    <a:pt x="2708" y="1766"/>
                    <a:pt x="2723" y="1758"/>
                    <a:pt x="2723" y="1758"/>
                  </a:cubicBezTo>
                  <a:cubicBezTo>
                    <a:pt x="2733" y="1754"/>
                    <a:pt x="2733" y="1754"/>
                    <a:pt x="2733" y="1754"/>
                  </a:cubicBezTo>
                  <a:cubicBezTo>
                    <a:pt x="2733" y="1754"/>
                    <a:pt x="2737" y="1747"/>
                    <a:pt x="2736" y="1744"/>
                  </a:cubicBezTo>
                  <a:cubicBezTo>
                    <a:pt x="2735" y="1740"/>
                    <a:pt x="2736" y="1733"/>
                    <a:pt x="2734" y="1730"/>
                  </a:cubicBezTo>
                  <a:cubicBezTo>
                    <a:pt x="2732" y="1727"/>
                    <a:pt x="2730" y="1719"/>
                    <a:pt x="2730" y="1719"/>
                  </a:cubicBezTo>
                  <a:cubicBezTo>
                    <a:pt x="2730" y="1719"/>
                    <a:pt x="2733" y="1714"/>
                    <a:pt x="2744" y="1710"/>
                  </a:cubicBezTo>
                  <a:cubicBezTo>
                    <a:pt x="2755" y="1705"/>
                    <a:pt x="2739" y="1684"/>
                    <a:pt x="2749" y="1679"/>
                  </a:cubicBezTo>
                  <a:cubicBezTo>
                    <a:pt x="2758" y="1675"/>
                    <a:pt x="2761" y="1671"/>
                    <a:pt x="2762" y="1667"/>
                  </a:cubicBezTo>
                  <a:cubicBezTo>
                    <a:pt x="2763" y="1662"/>
                    <a:pt x="2756" y="1646"/>
                    <a:pt x="2760" y="1644"/>
                  </a:cubicBezTo>
                  <a:cubicBezTo>
                    <a:pt x="2763" y="1642"/>
                    <a:pt x="2773" y="1633"/>
                    <a:pt x="2773" y="1633"/>
                  </a:cubicBezTo>
                  <a:cubicBezTo>
                    <a:pt x="2773" y="1633"/>
                    <a:pt x="2768" y="1626"/>
                    <a:pt x="2774" y="1625"/>
                  </a:cubicBezTo>
                  <a:cubicBezTo>
                    <a:pt x="2781" y="1624"/>
                    <a:pt x="2791" y="1617"/>
                    <a:pt x="2793" y="1613"/>
                  </a:cubicBezTo>
                  <a:cubicBezTo>
                    <a:pt x="2794" y="1608"/>
                    <a:pt x="2791" y="1601"/>
                    <a:pt x="2790" y="1597"/>
                  </a:cubicBezTo>
                  <a:cubicBezTo>
                    <a:pt x="2789" y="1592"/>
                    <a:pt x="2780" y="1584"/>
                    <a:pt x="2778" y="1589"/>
                  </a:cubicBezTo>
                  <a:cubicBezTo>
                    <a:pt x="2776" y="1593"/>
                    <a:pt x="2776" y="1599"/>
                    <a:pt x="2770" y="1602"/>
                  </a:cubicBezTo>
                  <a:cubicBezTo>
                    <a:pt x="2764" y="1606"/>
                    <a:pt x="2760" y="1605"/>
                    <a:pt x="2755" y="1600"/>
                  </a:cubicBezTo>
                  <a:cubicBezTo>
                    <a:pt x="2751" y="1596"/>
                    <a:pt x="2744" y="1591"/>
                    <a:pt x="2737" y="1588"/>
                  </a:cubicBezTo>
                  <a:cubicBezTo>
                    <a:pt x="2730" y="1584"/>
                    <a:pt x="2732" y="1584"/>
                    <a:pt x="2717" y="1584"/>
                  </a:cubicBezTo>
                  <a:cubicBezTo>
                    <a:pt x="2702" y="1584"/>
                    <a:pt x="2699" y="1590"/>
                    <a:pt x="2691" y="1583"/>
                  </a:cubicBezTo>
                  <a:cubicBezTo>
                    <a:pt x="2683" y="1576"/>
                    <a:pt x="2680" y="1571"/>
                    <a:pt x="2680" y="1571"/>
                  </a:cubicBezTo>
                  <a:cubicBezTo>
                    <a:pt x="2680" y="1571"/>
                    <a:pt x="2688" y="1557"/>
                    <a:pt x="2685" y="1554"/>
                  </a:cubicBezTo>
                  <a:cubicBezTo>
                    <a:pt x="2683" y="1551"/>
                    <a:pt x="2690" y="1546"/>
                    <a:pt x="2681" y="1545"/>
                  </a:cubicBezTo>
                  <a:cubicBezTo>
                    <a:pt x="2672" y="1544"/>
                    <a:pt x="2660" y="1540"/>
                    <a:pt x="2660" y="1540"/>
                  </a:cubicBezTo>
                  <a:cubicBezTo>
                    <a:pt x="2660" y="1540"/>
                    <a:pt x="2665" y="1527"/>
                    <a:pt x="2657" y="1520"/>
                  </a:cubicBezTo>
                  <a:cubicBezTo>
                    <a:pt x="2649" y="1513"/>
                    <a:pt x="2645" y="1506"/>
                    <a:pt x="2641" y="1504"/>
                  </a:cubicBezTo>
                  <a:cubicBezTo>
                    <a:pt x="2638" y="1502"/>
                    <a:pt x="2636" y="1495"/>
                    <a:pt x="2633" y="1490"/>
                  </a:cubicBezTo>
                  <a:cubicBezTo>
                    <a:pt x="2631" y="1484"/>
                    <a:pt x="2622" y="1476"/>
                    <a:pt x="2622" y="1476"/>
                  </a:cubicBezTo>
                  <a:cubicBezTo>
                    <a:pt x="2604" y="1483"/>
                    <a:pt x="2604" y="1483"/>
                    <a:pt x="2604" y="1483"/>
                  </a:cubicBezTo>
                  <a:cubicBezTo>
                    <a:pt x="2604" y="1483"/>
                    <a:pt x="2586" y="1490"/>
                    <a:pt x="2571" y="1491"/>
                  </a:cubicBezTo>
                  <a:cubicBezTo>
                    <a:pt x="2557" y="1492"/>
                    <a:pt x="2546" y="1508"/>
                    <a:pt x="2534" y="1501"/>
                  </a:cubicBezTo>
                  <a:cubicBezTo>
                    <a:pt x="2522" y="1494"/>
                    <a:pt x="2510" y="1504"/>
                    <a:pt x="2501" y="1496"/>
                  </a:cubicBezTo>
                  <a:cubicBezTo>
                    <a:pt x="2492" y="1488"/>
                    <a:pt x="2479" y="1493"/>
                    <a:pt x="2474" y="1488"/>
                  </a:cubicBezTo>
                  <a:cubicBezTo>
                    <a:pt x="2470" y="1484"/>
                    <a:pt x="2462" y="1483"/>
                    <a:pt x="2457" y="1479"/>
                  </a:cubicBezTo>
                  <a:cubicBezTo>
                    <a:pt x="2453" y="1476"/>
                    <a:pt x="2440" y="1467"/>
                    <a:pt x="2434" y="1469"/>
                  </a:cubicBezTo>
                  <a:cubicBezTo>
                    <a:pt x="2427" y="1471"/>
                    <a:pt x="2419" y="1475"/>
                    <a:pt x="2414" y="1476"/>
                  </a:cubicBezTo>
                  <a:cubicBezTo>
                    <a:pt x="2410" y="1477"/>
                    <a:pt x="2407" y="1487"/>
                    <a:pt x="2402" y="1488"/>
                  </a:cubicBezTo>
                  <a:cubicBezTo>
                    <a:pt x="2397" y="1490"/>
                    <a:pt x="2392" y="1494"/>
                    <a:pt x="2385" y="1495"/>
                  </a:cubicBezTo>
                  <a:cubicBezTo>
                    <a:pt x="2378" y="1496"/>
                    <a:pt x="2377" y="1502"/>
                    <a:pt x="2375" y="1506"/>
                  </a:cubicBezTo>
                  <a:cubicBezTo>
                    <a:pt x="2373" y="1511"/>
                    <a:pt x="2379" y="1517"/>
                    <a:pt x="2379" y="1526"/>
                  </a:cubicBezTo>
                  <a:cubicBezTo>
                    <a:pt x="2379" y="1535"/>
                    <a:pt x="2378" y="1539"/>
                    <a:pt x="2382" y="1544"/>
                  </a:cubicBezTo>
                  <a:cubicBezTo>
                    <a:pt x="2385" y="1548"/>
                    <a:pt x="2382" y="1556"/>
                    <a:pt x="2382" y="1556"/>
                  </a:cubicBezTo>
                  <a:cubicBezTo>
                    <a:pt x="2382" y="1556"/>
                    <a:pt x="2377" y="1566"/>
                    <a:pt x="2373" y="1567"/>
                  </a:cubicBezTo>
                  <a:cubicBezTo>
                    <a:pt x="2368" y="1569"/>
                    <a:pt x="2365" y="1571"/>
                    <a:pt x="2359" y="1579"/>
                  </a:cubicBezTo>
                  <a:cubicBezTo>
                    <a:pt x="2353" y="1587"/>
                    <a:pt x="2350" y="1590"/>
                    <a:pt x="2348" y="1596"/>
                  </a:cubicBezTo>
                  <a:cubicBezTo>
                    <a:pt x="2346" y="1601"/>
                    <a:pt x="2337" y="1608"/>
                    <a:pt x="2337" y="1608"/>
                  </a:cubicBezTo>
                  <a:cubicBezTo>
                    <a:pt x="2330" y="1617"/>
                    <a:pt x="2326" y="1625"/>
                    <a:pt x="2330" y="1630"/>
                  </a:cubicBezTo>
                  <a:cubicBezTo>
                    <a:pt x="2333" y="1634"/>
                    <a:pt x="2332" y="1636"/>
                    <a:pt x="2333" y="1646"/>
                  </a:cubicBezTo>
                  <a:cubicBezTo>
                    <a:pt x="2334" y="1657"/>
                    <a:pt x="2330" y="1659"/>
                    <a:pt x="2330" y="1672"/>
                  </a:cubicBezTo>
                  <a:cubicBezTo>
                    <a:pt x="2330" y="1686"/>
                    <a:pt x="2333" y="1686"/>
                    <a:pt x="2325" y="1693"/>
                  </a:cubicBezTo>
                  <a:cubicBezTo>
                    <a:pt x="2317" y="1699"/>
                    <a:pt x="2309" y="1718"/>
                    <a:pt x="2293" y="1732"/>
                  </a:cubicBezTo>
                  <a:cubicBezTo>
                    <a:pt x="2276" y="1747"/>
                    <a:pt x="2268" y="1747"/>
                    <a:pt x="2255" y="1758"/>
                  </a:cubicBezTo>
                  <a:cubicBezTo>
                    <a:pt x="2243" y="1769"/>
                    <a:pt x="2242" y="1771"/>
                    <a:pt x="2234" y="1773"/>
                  </a:cubicBezTo>
                  <a:cubicBezTo>
                    <a:pt x="2226" y="1775"/>
                    <a:pt x="2221" y="1776"/>
                    <a:pt x="2220" y="1783"/>
                  </a:cubicBezTo>
                  <a:cubicBezTo>
                    <a:pt x="2219" y="1790"/>
                    <a:pt x="2223" y="1790"/>
                    <a:pt x="2225" y="1795"/>
                  </a:cubicBezTo>
                  <a:cubicBezTo>
                    <a:pt x="2227" y="1801"/>
                    <a:pt x="2228" y="1804"/>
                    <a:pt x="2235" y="1809"/>
                  </a:cubicBezTo>
                  <a:cubicBezTo>
                    <a:pt x="2242" y="1814"/>
                    <a:pt x="2248" y="1815"/>
                    <a:pt x="2253" y="1824"/>
                  </a:cubicBezTo>
                  <a:cubicBezTo>
                    <a:pt x="2258" y="1833"/>
                    <a:pt x="2269" y="1838"/>
                    <a:pt x="2271" y="1850"/>
                  </a:cubicBezTo>
                  <a:cubicBezTo>
                    <a:pt x="2273" y="1861"/>
                    <a:pt x="2274" y="1865"/>
                    <a:pt x="2276" y="1874"/>
                  </a:cubicBezTo>
                  <a:cubicBezTo>
                    <a:pt x="2277" y="1883"/>
                    <a:pt x="2283" y="1885"/>
                    <a:pt x="2281" y="1898"/>
                  </a:cubicBezTo>
                  <a:cubicBezTo>
                    <a:pt x="2279" y="1912"/>
                    <a:pt x="2278" y="1917"/>
                    <a:pt x="2274" y="1925"/>
                  </a:cubicBezTo>
                  <a:cubicBezTo>
                    <a:pt x="2271" y="1933"/>
                    <a:pt x="2260" y="1951"/>
                    <a:pt x="2258" y="1959"/>
                  </a:cubicBezTo>
                  <a:cubicBezTo>
                    <a:pt x="2255" y="1967"/>
                    <a:pt x="2250" y="1988"/>
                    <a:pt x="2232" y="2004"/>
                  </a:cubicBezTo>
                  <a:cubicBezTo>
                    <a:pt x="2214" y="2020"/>
                    <a:pt x="2206" y="2031"/>
                    <a:pt x="2194" y="2039"/>
                  </a:cubicBezTo>
                  <a:cubicBezTo>
                    <a:pt x="2183" y="2047"/>
                    <a:pt x="2172" y="2060"/>
                    <a:pt x="2166" y="2062"/>
                  </a:cubicBezTo>
                  <a:cubicBezTo>
                    <a:pt x="2160" y="2064"/>
                    <a:pt x="2153" y="2073"/>
                    <a:pt x="2145" y="2075"/>
                  </a:cubicBezTo>
                  <a:cubicBezTo>
                    <a:pt x="2137" y="2078"/>
                    <a:pt x="2132" y="2081"/>
                    <a:pt x="2122" y="2084"/>
                  </a:cubicBezTo>
                  <a:cubicBezTo>
                    <a:pt x="2112" y="2088"/>
                    <a:pt x="2097" y="2096"/>
                    <a:pt x="2092" y="2097"/>
                  </a:cubicBezTo>
                  <a:cubicBezTo>
                    <a:pt x="2086" y="2098"/>
                    <a:pt x="2074" y="2107"/>
                    <a:pt x="2068" y="2107"/>
                  </a:cubicBezTo>
                  <a:cubicBezTo>
                    <a:pt x="2062" y="2107"/>
                    <a:pt x="2046" y="2110"/>
                    <a:pt x="2046" y="2110"/>
                  </a:cubicBezTo>
                  <a:cubicBezTo>
                    <a:pt x="2046" y="2110"/>
                    <a:pt x="2033" y="2113"/>
                    <a:pt x="2032" y="2116"/>
                  </a:cubicBezTo>
                  <a:cubicBezTo>
                    <a:pt x="2031" y="2119"/>
                    <a:pt x="2030" y="2126"/>
                    <a:pt x="2033" y="2132"/>
                  </a:cubicBezTo>
                  <a:cubicBezTo>
                    <a:pt x="2036" y="2137"/>
                    <a:pt x="2034" y="2140"/>
                    <a:pt x="2036" y="2149"/>
                  </a:cubicBezTo>
                  <a:cubicBezTo>
                    <a:pt x="2039" y="2158"/>
                    <a:pt x="2040" y="2170"/>
                    <a:pt x="2037" y="2176"/>
                  </a:cubicBezTo>
                  <a:cubicBezTo>
                    <a:pt x="2035" y="2181"/>
                    <a:pt x="2036" y="2187"/>
                    <a:pt x="2035" y="2194"/>
                  </a:cubicBezTo>
                  <a:cubicBezTo>
                    <a:pt x="2034" y="2201"/>
                    <a:pt x="2030" y="2220"/>
                    <a:pt x="2030" y="2220"/>
                  </a:cubicBezTo>
                  <a:cubicBezTo>
                    <a:pt x="2025" y="2239"/>
                    <a:pt x="2025" y="2239"/>
                    <a:pt x="2025" y="2239"/>
                  </a:cubicBezTo>
                  <a:cubicBezTo>
                    <a:pt x="2024" y="2259"/>
                    <a:pt x="2024" y="2259"/>
                    <a:pt x="2024" y="2259"/>
                  </a:cubicBezTo>
                  <a:cubicBezTo>
                    <a:pt x="2026" y="2275"/>
                    <a:pt x="2026" y="2275"/>
                    <a:pt x="2026" y="2275"/>
                  </a:cubicBezTo>
                  <a:cubicBezTo>
                    <a:pt x="2020" y="2286"/>
                    <a:pt x="2020" y="2307"/>
                    <a:pt x="2020" y="2307"/>
                  </a:cubicBezTo>
                  <a:cubicBezTo>
                    <a:pt x="2027" y="2323"/>
                    <a:pt x="2027" y="2323"/>
                    <a:pt x="2027" y="2323"/>
                  </a:cubicBezTo>
                  <a:cubicBezTo>
                    <a:pt x="2027" y="2323"/>
                    <a:pt x="2030" y="2335"/>
                    <a:pt x="2026" y="2336"/>
                  </a:cubicBezTo>
                  <a:cubicBezTo>
                    <a:pt x="2023" y="2337"/>
                    <a:pt x="2020" y="2336"/>
                    <a:pt x="2010" y="2341"/>
                  </a:cubicBezTo>
                  <a:cubicBezTo>
                    <a:pt x="2000" y="2345"/>
                    <a:pt x="1989" y="2353"/>
                    <a:pt x="1989" y="2353"/>
                  </a:cubicBezTo>
                  <a:cubicBezTo>
                    <a:pt x="1989" y="2353"/>
                    <a:pt x="1980" y="2361"/>
                    <a:pt x="1981" y="2364"/>
                  </a:cubicBezTo>
                  <a:cubicBezTo>
                    <a:pt x="1982" y="2368"/>
                    <a:pt x="1983" y="2377"/>
                    <a:pt x="1982" y="2381"/>
                  </a:cubicBezTo>
                  <a:cubicBezTo>
                    <a:pt x="1981" y="2386"/>
                    <a:pt x="1970" y="2393"/>
                    <a:pt x="1970" y="2393"/>
                  </a:cubicBezTo>
                  <a:cubicBezTo>
                    <a:pt x="1970" y="2393"/>
                    <a:pt x="1966" y="2378"/>
                    <a:pt x="1963" y="2376"/>
                  </a:cubicBezTo>
                  <a:cubicBezTo>
                    <a:pt x="1960" y="2373"/>
                    <a:pt x="1954" y="2372"/>
                    <a:pt x="1954" y="2372"/>
                  </a:cubicBezTo>
                  <a:cubicBezTo>
                    <a:pt x="1954" y="2372"/>
                    <a:pt x="1937" y="2376"/>
                    <a:pt x="1937" y="2379"/>
                  </a:cubicBezTo>
                  <a:cubicBezTo>
                    <a:pt x="1937" y="2382"/>
                    <a:pt x="1928" y="2389"/>
                    <a:pt x="1931" y="2393"/>
                  </a:cubicBezTo>
                  <a:cubicBezTo>
                    <a:pt x="1935" y="2396"/>
                    <a:pt x="1931" y="2408"/>
                    <a:pt x="1931" y="2408"/>
                  </a:cubicBezTo>
                  <a:cubicBezTo>
                    <a:pt x="1921" y="2413"/>
                    <a:pt x="1921" y="2413"/>
                    <a:pt x="1921" y="2413"/>
                  </a:cubicBezTo>
                  <a:cubicBezTo>
                    <a:pt x="1921" y="2413"/>
                    <a:pt x="1904" y="2408"/>
                    <a:pt x="1904" y="2404"/>
                  </a:cubicBezTo>
                  <a:cubicBezTo>
                    <a:pt x="1904" y="2399"/>
                    <a:pt x="1905" y="2400"/>
                    <a:pt x="1902" y="2391"/>
                  </a:cubicBezTo>
                  <a:cubicBezTo>
                    <a:pt x="1899" y="2382"/>
                    <a:pt x="1910" y="2386"/>
                    <a:pt x="1899" y="2382"/>
                  </a:cubicBezTo>
                  <a:cubicBezTo>
                    <a:pt x="1887" y="2379"/>
                    <a:pt x="1885" y="2371"/>
                    <a:pt x="1885" y="2368"/>
                  </a:cubicBezTo>
                  <a:cubicBezTo>
                    <a:pt x="1885" y="2364"/>
                    <a:pt x="1875" y="2353"/>
                    <a:pt x="1873" y="2350"/>
                  </a:cubicBezTo>
                  <a:cubicBezTo>
                    <a:pt x="1870" y="2346"/>
                    <a:pt x="1864" y="2335"/>
                    <a:pt x="1862" y="2332"/>
                  </a:cubicBezTo>
                  <a:cubicBezTo>
                    <a:pt x="1861" y="2328"/>
                    <a:pt x="1855" y="2312"/>
                    <a:pt x="1855" y="2312"/>
                  </a:cubicBezTo>
                  <a:cubicBezTo>
                    <a:pt x="1853" y="2294"/>
                    <a:pt x="1853" y="2294"/>
                    <a:pt x="1853" y="2294"/>
                  </a:cubicBezTo>
                  <a:cubicBezTo>
                    <a:pt x="1844" y="2276"/>
                    <a:pt x="1844" y="2276"/>
                    <a:pt x="1844" y="2276"/>
                  </a:cubicBezTo>
                  <a:cubicBezTo>
                    <a:pt x="1841" y="2260"/>
                    <a:pt x="1841" y="2260"/>
                    <a:pt x="1841" y="2260"/>
                  </a:cubicBezTo>
                  <a:cubicBezTo>
                    <a:pt x="1848" y="2250"/>
                    <a:pt x="1848" y="2250"/>
                    <a:pt x="1848" y="2250"/>
                  </a:cubicBezTo>
                  <a:cubicBezTo>
                    <a:pt x="1848" y="2238"/>
                    <a:pt x="1848" y="2238"/>
                    <a:pt x="1848" y="2238"/>
                  </a:cubicBezTo>
                  <a:cubicBezTo>
                    <a:pt x="1858" y="2233"/>
                    <a:pt x="1858" y="2233"/>
                    <a:pt x="1858" y="2233"/>
                  </a:cubicBezTo>
                  <a:cubicBezTo>
                    <a:pt x="1858" y="2233"/>
                    <a:pt x="1868" y="2207"/>
                    <a:pt x="1872" y="2203"/>
                  </a:cubicBezTo>
                  <a:cubicBezTo>
                    <a:pt x="1875" y="2198"/>
                    <a:pt x="1875" y="2194"/>
                    <a:pt x="1872" y="2185"/>
                  </a:cubicBezTo>
                  <a:cubicBezTo>
                    <a:pt x="1868" y="2176"/>
                    <a:pt x="1874" y="2171"/>
                    <a:pt x="1877" y="2166"/>
                  </a:cubicBezTo>
                  <a:cubicBezTo>
                    <a:pt x="1881" y="2160"/>
                    <a:pt x="1873" y="2156"/>
                    <a:pt x="1877" y="2146"/>
                  </a:cubicBezTo>
                  <a:cubicBezTo>
                    <a:pt x="1882" y="2137"/>
                    <a:pt x="1888" y="2134"/>
                    <a:pt x="1896" y="2130"/>
                  </a:cubicBezTo>
                  <a:cubicBezTo>
                    <a:pt x="1904" y="2125"/>
                    <a:pt x="1904" y="2113"/>
                    <a:pt x="1911" y="2106"/>
                  </a:cubicBezTo>
                  <a:cubicBezTo>
                    <a:pt x="1918" y="2099"/>
                    <a:pt x="1925" y="2096"/>
                    <a:pt x="1919" y="2090"/>
                  </a:cubicBezTo>
                  <a:cubicBezTo>
                    <a:pt x="1913" y="2084"/>
                    <a:pt x="1908" y="2084"/>
                    <a:pt x="1899" y="2082"/>
                  </a:cubicBezTo>
                  <a:cubicBezTo>
                    <a:pt x="1890" y="2080"/>
                    <a:pt x="1881" y="2089"/>
                    <a:pt x="1876" y="2086"/>
                  </a:cubicBezTo>
                  <a:cubicBezTo>
                    <a:pt x="1872" y="2082"/>
                    <a:pt x="1872" y="2076"/>
                    <a:pt x="1867" y="2073"/>
                  </a:cubicBezTo>
                  <a:cubicBezTo>
                    <a:pt x="1862" y="2070"/>
                    <a:pt x="1853" y="2072"/>
                    <a:pt x="1847" y="2072"/>
                  </a:cubicBezTo>
                  <a:cubicBezTo>
                    <a:pt x="1840" y="2072"/>
                    <a:pt x="1826" y="2075"/>
                    <a:pt x="1820" y="2075"/>
                  </a:cubicBezTo>
                  <a:cubicBezTo>
                    <a:pt x="1813" y="2075"/>
                    <a:pt x="1796" y="2074"/>
                    <a:pt x="1796" y="2074"/>
                  </a:cubicBezTo>
                  <a:cubicBezTo>
                    <a:pt x="1774" y="2079"/>
                    <a:pt x="1774" y="2079"/>
                    <a:pt x="1774" y="2079"/>
                  </a:cubicBezTo>
                  <a:cubicBezTo>
                    <a:pt x="1774" y="2079"/>
                    <a:pt x="1771" y="2075"/>
                    <a:pt x="1770" y="2069"/>
                  </a:cubicBezTo>
                  <a:cubicBezTo>
                    <a:pt x="1769" y="2062"/>
                    <a:pt x="1767" y="2056"/>
                    <a:pt x="1765" y="2051"/>
                  </a:cubicBezTo>
                  <a:cubicBezTo>
                    <a:pt x="1764" y="2045"/>
                    <a:pt x="1768" y="2032"/>
                    <a:pt x="1760" y="2031"/>
                  </a:cubicBezTo>
                  <a:cubicBezTo>
                    <a:pt x="1752" y="2030"/>
                    <a:pt x="1751" y="2034"/>
                    <a:pt x="1744" y="2032"/>
                  </a:cubicBezTo>
                  <a:cubicBezTo>
                    <a:pt x="1737" y="2031"/>
                    <a:pt x="1735" y="2025"/>
                    <a:pt x="1728" y="2022"/>
                  </a:cubicBezTo>
                  <a:cubicBezTo>
                    <a:pt x="1721" y="2020"/>
                    <a:pt x="1709" y="2011"/>
                    <a:pt x="1701" y="2011"/>
                  </a:cubicBezTo>
                  <a:cubicBezTo>
                    <a:pt x="1693" y="2011"/>
                    <a:pt x="1683" y="2017"/>
                    <a:pt x="1682" y="2008"/>
                  </a:cubicBezTo>
                  <a:cubicBezTo>
                    <a:pt x="1681" y="1999"/>
                    <a:pt x="1685" y="1992"/>
                    <a:pt x="1683" y="1987"/>
                  </a:cubicBezTo>
                  <a:cubicBezTo>
                    <a:pt x="1681" y="1983"/>
                    <a:pt x="1678" y="1973"/>
                    <a:pt x="1676" y="1968"/>
                  </a:cubicBezTo>
                  <a:cubicBezTo>
                    <a:pt x="1674" y="1964"/>
                    <a:pt x="1668" y="1952"/>
                    <a:pt x="1668" y="1952"/>
                  </a:cubicBezTo>
                  <a:cubicBezTo>
                    <a:pt x="1668" y="1952"/>
                    <a:pt x="1655" y="1950"/>
                    <a:pt x="1647" y="1940"/>
                  </a:cubicBezTo>
                  <a:cubicBezTo>
                    <a:pt x="1639" y="1930"/>
                    <a:pt x="1630" y="1930"/>
                    <a:pt x="1623" y="1930"/>
                  </a:cubicBezTo>
                  <a:cubicBezTo>
                    <a:pt x="1616" y="1930"/>
                    <a:pt x="1611" y="1927"/>
                    <a:pt x="1611" y="1927"/>
                  </a:cubicBezTo>
                  <a:cubicBezTo>
                    <a:pt x="1605" y="1917"/>
                    <a:pt x="1605" y="1917"/>
                    <a:pt x="1605" y="1917"/>
                  </a:cubicBezTo>
                  <a:cubicBezTo>
                    <a:pt x="1593" y="1914"/>
                    <a:pt x="1593" y="1914"/>
                    <a:pt x="1593" y="1914"/>
                  </a:cubicBezTo>
                  <a:cubicBezTo>
                    <a:pt x="1583" y="1912"/>
                    <a:pt x="1583" y="1912"/>
                    <a:pt x="1583" y="1912"/>
                  </a:cubicBezTo>
                  <a:cubicBezTo>
                    <a:pt x="1564" y="1912"/>
                    <a:pt x="1564" y="1912"/>
                    <a:pt x="1564" y="1912"/>
                  </a:cubicBezTo>
                  <a:cubicBezTo>
                    <a:pt x="1554" y="1917"/>
                    <a:pt x="1554" y="1917"/>
                    <a:pt x="1554" y="1917"/>
                  </a:cubicBezTo>
                  <a:cubicBezTo>
                    <a:pt x="1542" y="1929"/>
                    <a:pt x="1542" y="1929"/>
                    <a:pt x="1542" y="1929"/>
                  </a:cubicBezTo>
                  <a:cubicBezTo>
                    <a:pt x="1542" y="1929"/>
                    <a:pt x="1528" y="1935"/>
                    <a:pt x="1525" y="1929"/>
                  </a:cubicBezTo>
                  <a:cubicBezTo>
                    <a:pt x="1522" y="1922"/>
                    <a:pt x="1522" y="1917"/>
                    <a:pt x="1525" y="1914"/>
                  </a:cubicBezTo>
                  <a:cubicBezTo>
                    <a:pt x="1528" y="1911"/>
                    <a:pt x="1532" y="1914"/>
                    <a:pt x="1533" y="1907"/>
                  </a:cubicBezTo>
                  <a:cubicBezTo>
                    <a:pt x="1534" y="1900"/>
                    <a:pt x="1536" y="1898"/>
                    <a:pt x="1535" y="1893"/>
                  </a:cubicBezTo>
                  <a:cubicBezTo>
                    <a:pt x="1534" y="1887"/>
                    <a:pt x="1534" y="1881"/>
                    <a:pt x="1534" y="1881"/>
                  </a:cubicBezTo>
                  <a:cubicBezTo>
                    <a:pt x="1542" y="1868"/>
                    <a:pt x="1542" y="1868"/>
                    <a:pt x="1542" y="1868"/>
                  </a:cubicBezTo>
                  <a:cubicBezTo>
                    <a:pt x="1542" y="1868"/>
                    <a:pt x="1552" y="1851"/>
                    <a:pt x="1548" y="1846"/>
                  </a:cubicBezTo>
                  <a:cubicBezTo>
                    <a:pt x="1543" y="1842"/>
                    <a:pt x="1542" y="1836"/>
                    <a:pt x="1542" y="1836"/>
                  </a:cubicBezTo>
                  <a:cubicBezTo>
                    <a:pt x="1558" y="1820"/>
                    <a:pt x="1558" y="1820"/>
                    <a:pt x="1558" y="1820"/>
                  </a:cubicBezTo>
                  <a:cubicBezTo>
                    <a:pt x="1560" y="1804"/>
                    <a:pt x="1560" y="1804"/>
                    <a:pt x="1560" y="1804"/>
                  </a:cubicBezTo>
                  <a:cubicBezTo>
                    <a:pt x="1560" y="1792"/>
                    <a:pt x="1560" y="1792"/>
                    <a:pt x="1560" y="1792"/>
                  </a:cubicBezTo>
                  <a:cubicBezTo>
                    <a:pt x="1548" y="1782"/>
                    <a:pt x="1548" y="1782"/>
                    <a:pt x="1548" y="1782"/>
                  </a:cubicBezTo>
                  <a:cubicBezTo>
                    <a:pt x="1539" y="1784"/>
                    <a:pt x="1539" y="1784"/>
                    <a:pt x="1539" y="1784"/>
                  </a:cubicBezTo>
                  <a:cubicBezTo>
                    <a:pt x="1522" y="1783"/>
                    <a:pt x="1522" y="1783"/>
                    <a:pt x="1522" y="1783"/>
                  </a:cubicBezTo>
                  <a:cubicBezTo>
                    <a:pt x="1520" y="1771"/>
                    <a:pt x="1520" y="1771"/>
                    <a:pt x="1520" y="1771"/>
                  </a:cubicBezTo>
                  <a:cubicBezTo>
                    <a:pt x="1525" y="1749"/>
                    <a:pt x="1525" y="1749"/>
                    <a:pt x="1525" y="1749"/>
                  </a:cubicBezTo>
                  <a:cubicBezTo>
                    <a:pt x="1531" y="1739"/>
                    <a:pt x="1531" y="1739"/>
                    <a:pt x="1531" y="1739"/>
                  </a:cubicBezTo>
                  <a:cubicBezTo>
                    <a:pt x="1531" y="1739"/>
                    <a:pt x="1537" y="1710"/>
                    <a:pt x="1549" y="1701"/>
                  </a:cubicBezTo>
                  <a:cubicBezTo>
                    <a:pt x="1560" y="1692"/>
                    <a:pt x="1570" y="1688"/>
                    <a:pt x="1571" y="1678"/>
                  </a:cubicBezTo>
                  <a:cubicBezTo>
                    <a:pt x="1572" y="1668"/>
                    <a:pt x="1563" y="1661"/>
                    <a:pt x="1575" y="1660"/>
                  </a:cubicBezTo>
                  <a:cubicBezTo>
                    <a:pt x="1586" y="1659"/>
                    <a:pt x="1599" y="1660"/>
                    <a:pt x="1603" y="1652"/>
                  </a:cubicBezTo>
                  <a:cubicBezTo>
                    <a:pt x="1606" y="1644"/>
                    <a:pt x="1598" y="1639"/>
                    <a:pt x="1606" y="1633"/>
                  </a:cubicBezTo>
                  <a:cubicBezTo>
                    <a:pt x="1614" y="1627"/>
                    <a:pt x="1621" y="1625"/>
                    <a:pt x="1628" y="1624"/>
                  </a:cubicBezTo>
                  <a:cubicBezTo>
                    <a:pt x="1634" y="1623"/>
                    <a:pt x="1637" y="1613"/>
                    <a:pt x="1642" y="1606"/>
                  </a:cubicBezTo>
                  <a:cubicBezTo>
                    <a:pt x="1648" y="1599"/>
                    <a:pt x="1648" y="1589"/>
                    <a:pt x="1657" y="1588"/>
                  </a:cubicBezTo>
                  <a:cubicBezTo>
                    <a:pt x="1666" y="1587"/>
                    <a:pt x="1672" y="1582"/>
                    <a:pt x="1678" y="1578"/>
                  </a:cubicBezTo>
                  <a:cubicBezTo>
                    <a:pt x="1685" y="1573"/>
                    <a:pt x="1677" y="1556"/>
                    <a:pt x="1685" y="1555"/>
                  </a:cubicBezTo>
                  <a:cubicBezTo>
                    <a:pt x="1693" y="1554"/>
                    <a:pt x="1693" y="1553"/>
                    <a:pt x="1702" y="1548"/>
                  </a:cubicBezTo>
                  <a:cubicBezTo>
                    <a:pt x="1711" y="1544"/>
                    <a:pt x="1712" y="1538"/>
                    <a:pt x="1719" y="1530"/>
                  </a:cubicBezTo>
                  <a:cubicBezTo>
                    <a:pt x="1726" y="1522"/>
                    <a:pt x="1735" y="1509"/>
                    <a:pt x="1743" y="1509"/>
                  </a:cubicBezTo>
                  <a:cubicBezTo>
                    <a:pt x="1751" y="1509"/>
                    <a:pt x="1761" y="1503"/>
                    <a:pt x="1761" y="1503"/>
                  </a:cubicBezTo>
                  <a:cubicBezTo>
                    <a:pt x="1761" y="1503"/>
                    <a:pt x="1763" y="1487"/>
                    <a:pt x="1774" y="1488"/>
                  </a:cubicBezTo>
                  <a:cubicBezTo>
                    <a:pt x="1786" y="1490"/>
                    <a:pt x="1786" y="1478"/>
                    <a:pt x="1788" y="1475"/>
                  </a:cubicBezTo>
                  <a:cubicBezTo>
                    <a:pt x="1790" y="1471"/>
                    <a:pt x="1799" y="1473"/>
                    <a:pt x="1800" y="1467"/>
                  </a:cubicBezTo>
                  <a:cubicBezTo>
                    <a:pt x="1802" y="1461"/>
                    <a:pt x="1795" y="1455"/>
                    <a:pt x="1802" y="1455"/>
                  </a:cubicBezTo>
                  <a:cubicBezTo>
                    <a:pt x="1808" y="1455"/>
                    <a:pt x="1813" y="1451"/>
                    <a:pt x="1823" y="1451"/>
                  </a:cubicBezTo>
                  <a:cubicBezTo>
                    <a:pt x="1833" y="1451"/>
                    <a:pt x="1838" y="1444"/>
                    <a:pt x="1849" y="1443"/>
                  </a:cubicBezTo>
                  <a:cubicBezTo>
                    <a:pt x="1860" y="1442"/>
                    <a:pt x="1860" y="1433"/>
                    <a:pt x="1865" y="1437"/>
                  </a:cubicBezTo>
                  <a:cubicBezTo>
                    <a:pt x="1869" y="1440"/>
                    <a:pt x="1868" y="1439"/>
                    <a:pt x="1875" y="1434"/>
                  </a:cubicBezTo>
                  <a:cubicBezTo>
                    <a:pt x="1882" y="1430"/>
                    <a:pt x="1882" y="1413"/>
                    <a:pt x="1882" y="1413"/>
                  </a:cubicBezTo>
                  <a:cubicBezTo>
                    <a:pt x="1882" y="1413"/>
                    <a:pt x="1884" y="1403"/>
                    <a:pt x="1882" y="1396"/>
                  </a:cubicBezTo>
                  <a:cubicBezTo>
                    <a:pt x="1879" y="1390"/>
                    <a:pt x="1875" y="1389"/>
                    <a:pt x="1869" y="1386"/>
                  </a:cubicBezTo>
                  <a:cubicBezTo>
                    <a:pt x="1862" y="1384"/>
                    <a:pt x="1854" y="1384"/>
                    <a:pt x="1856" y="1380"/>
                  </a:cubicBezTo>
                  <a:cubicBezTo>
                    <a:pt x="1857" y="1375"/>
                    <a:pt x="1857" y="1373"/>
                    <a:pt x="1852" y="1372"/>
                  </a:cubicBezTo>
                  <a:cubicBezTo>
                    <a:pt x="1848" y="1371"/>
                    <a:pt x="1851" y="1365"/>
                    <a:pt x="1851" y="1365"/>
                  </a:cubicBezTo>
                  <a:cubicBezTo>
                    <a:pt x="1851" y="1365"/>
                    <a:pt x="1861" y="1364"/>
                    <a:pt x="1864" y="1371"/>
                  </a:cubicBezTo>
                  <a:cubicBezTo>
                    <a:pt x="1868" y="1379"/>
                    <a:pt x="1871" y="1374"/>
                    <a:pt x="1875" y="1380"/>
                  </a:cubicBezTo>
                  <a:cubicBezTo>
                    <a:pt x="1879" y="1385"/>
                    <a:pt x="1887" y="1381"/>
                    <a:pt x="1891" y="1389"/>
                  </a:cubicBezTo>
                  <a:cubicBezTo>
                    <a:pt x="1896" y="1396"/>
                    <a:pt x="1897" y="1402"/>
                    <a:pt x="1908" y="1398"/>
                  </a:cubicBezTo>
                  <a:cubicBezTo>
                    <a:pt x="1919" y="1395"/>
                    <a:pt x="1920" y="1390"/>
                    <a:pt x="1934" y="1390"/>
                  </a:cubicBezTo>
                  <a:cubicBezTo>
                    <a:pt x="1948" y="1390"/>
                    <a:pt x="1953" y="1391"/>
                    <a:pt x="1958" y="1380"/>
                  </a:cubicBezTo>
                  <a:cubicBezTo>
                    <a:pt x="1962" y="1369"/>
                    <a:pt x="1963" y="1358"/>
                    <a:pt x="1963" y="1358"/>
                  </a:cubicBezTo>
                  <a:cubicBezTo>
                    <a:pt x="1963" y="1358"/>
                    <a:pt x="1965" y="1350"/>
                    <a:pt x="1974" y="1356"/>
                  </a:cubicBezTo>
                  <a:cubicBezTo>
                    <a:pt x="1983" y="1361"/>
                    <a:pt x="2002" y="1361"/>
                    <a:pt x="2006" y="1361"/>
                  </a:cubicBezTo>
                  <a:cubicBezTo>
                    <a:pt x="2009" y="1361"/>
                    <a:pt x="2025" y="1358"/>
                    <a:pt x="2032" y="1350"/>
                  </a:cubicBezTo>
                  <a:cubicBezTo>
                    <a:pt x="2038" y="1343"/>
                    <a:pt x="2053" y="1354"/>
                    <a:pt x="2058" y="1348"/>
                  </a:cubicBezTo>
                  <a:cubicBezTo>
                    <a:pt x="2062" y="1343"/>
                    <a:pt x="2058" y="1337"/>
                    <a:pt x="2065" y="1331"/>
                  </a:cubicBezTo>
                  <a:cubicBezTo>
                    <a:pt x="2073" y="1324"/>
                    <a:pt x="2082" y="1321"/>
                    <a:pt x="2088" y="1318"/>
                  </a:cubicBezTo>
                  <a:cubicBezTo>
                    <a:pt x="2095" y="1315"/>
                    <a:pt x="2106" y="1296"/>
                    <a:pt x="2108" y="1292"/>
                  </a:cubicBezTo>
                  <a:cubicBezTo>
                    <a:pt x="2110" y="1287"/>
                    <a:pt x="2110" y="1287"/>
                    <a:pt x="2120" y="1283"/>
                  </a:cubicBezTo>
                  <a:cubicBezTo>
                    <a:pt x="2129" y="1279"/>
                    <a:pt x="2140" y="1271"/>
                    <a:pt x="2139" y="1267"/>
                  </a:cubicBezTo>
                  <a:cubicBezTo>
                    <a:pt x="2138" y="1262"/>
                    <a:pt x="2137" y="1258"/>
                    <a:pt x="2133" y="1257"/>
                  </a:cubicBezTo>
                  <a:cubicBezTo>
                    <a:pt x="2128" y="1256"/>
                    <a:pt x="2128" y="1256"/>
                    <a:pt x="2121" y="1256"/>
                  </a:cubicBezTo>
                  <a:cubicBezTo>
                    <a:pt x="2113" y="1256"/>
                    <a:pt x="2104" y="1256"/>
                    <a:pt x="2104" y="1256"/>
                  </a:cubicBezTo>
                  <a:cubicBezTo>
                    <a:pt x="2104" y="1256"/>
                    <a:pt x="2100" y="1255"/>
                    <a:pt x="2097" y="1253"/>
                  </a:cubicBezTo>
                  <a:cubicBezTo>
                    <a:pt x="2094" y="1250"/>
                    <a:pt x="2086" y="1247"/>
                    <a:pt x="2086" y="1247"/>
                  </a:cubicBezTo>
                  <a:cubicBezTo>
                    <a:pt x="2079" y="1244"/>
                    <a:pt x="2079" y="1244"/>
                    <a:pt x="2079" y="1244"/>
                  </a:cubicBezTo>
                  <a:cubicBezTo>
                    <a:pt x="2079" y="1244"/>
                    <a:pt x="2074" y="1241"/>
                    <a:pt x="2074" y="1236"/>
                  </a:cubicBezTo>
                  <a:cubicBezTo>
                    <a:pt x="2074" y="1232"/>
                    <a:pt x="2075" y="1228"/>
                    <a:pt x="2075" y="1228"/>
                  </a:cubicBezTo>
                  <a:cubicBezTo>
                    <a:pt x="2075" y="1228"/>
                    <a:pt x="2072" y="1225"/>
                    <a:pt x="2071" y="1220"/>
                  </a:cubicBezTo>
                  <a:cubicBezTo>
                    <a:pt x="2070" y="1215"/>
                    <a:pt x="2073" y="1209"/>
                    <a:pt x="2076" y="1209"/>
                  </a:cubicBezTo>
                  <a:cubicBezTo>
                    <a:pt x="2079" y="1209"/>
                    <a:pt x="2084" y="1207"/>
                    <a:pt x="2085" y="1216"/>
                  </a:cubicBezTo>
                  <a:cubicBezTo>
                    <a:pt x="2086" y="1224"/>
                    <a:pt x="2089" y="1225"/>
                    <a:pt x="2089" y="1232"/>
                  </a:cubicBezTo>
                  <a:cubicBezTo>
                    <a:pt x="2089" y="1239"/>
                    <a:pt x="2089" y="1246"/>
                    <a:pt x="2095" y="1247"/>
                  </a:cubicBezTo>
                  <a:cubicBezTo>
                    <a:pt x="2100" y="1248"/>
                    <a:pt x="2107" y="1246"/>
                    <a:pt x="2112" y="1245"/>
                  </a:cubicBezTo>
                  <a:cubicBezTo>
                    <a:pt x="2118" y="1244"/>
                    <a:pt x="2125" y="1244"/>
                    <a:pt x="2128" y="1244"/>
                  </a:cubicBezTo>
                  <a:cubicBezTo>
                    <a:pt x="2132" y="1244"/>
                    <a:pt x="2137" y="1245"/>
                    <a:pt x="2144" y="1247"/>
                  </a:cubicBezTo>
                  <a:cubicBezTo>
                    <a:pt x="2150" y="1249"/>
                    <a:pt x="2152" y="1250"/>
                    <a:pt x="2157" y="1249"/>
                  </a:cubicBezTo>
                  <a:cubicBezTo>
                    <a:pt x="2161" y="1248"/>
                    <a:pt x="2162" y="1247"/>
                    <a:pt x="2168" y="1243"/>
                  </a:cubicBezTo>
                  <a:cubicBezTo>
                    <a:pt x="2173" y="1239"/>
                    <a:pt x="2177" y="1233"/>
                    <a:pt x="2182" y="1229"/>
                  </a:cubicBezTo>
                  <a:cubicBezTo>
                    <a:pt x="2186" y="1224"/>
                    <a:pt x="2185" y="1221"/>
                    <a:pt x="2194" y="1220"/>
                  </a:cubicBezTo>
                  <a:cubicBezTo>
                    <a:pt x="2202" y="1219"/>
                    <a:pt x="2210" y="1208"/>
                    <a:pt x="2214" y="1205"/>
                  </a:cubicBezTo>
                  <a:cubicBezTo>
                    <a:pt x="2219" y="1202"/>
                    <a:pt x="2218" y="1195"/>
                    <a:pt x="2218" y="1195"/>
                  </a:cubicBezTo>
                  <a:cubicBezTo>
                    <a:pt x="2218" y="1195"/>
                    <a:pt x="2234" y="1195"/>
                    <a:pt x="2235" y="1192"/>
                  </a:cubicBezTo>
                  <a:cubicBezTo>
                    <a:pt x="2236" y="1189"/>
                    <a:pt x="2231" y="1182"/>
                    <a:pt x="2227" y="1179"/>
                  </a:cubicBezTo>
                  <a:cubicBezTo>
                    <a:pt x="2224" y="1175"/>
                    <a:pt x="2219" y="1168"/>
                    <a:pt x="2223" y="1166"/>
                  </a:cubicBezTo>
                  <a:cubicBezTo>
                    <a:pt x="2227" y="1164"/>
                    <a:pt x="2240" y="1158"/>
                    <a:pt x="2246" y="1158"/>
                  </a:cubicBezTo>
                  <a:cubicBezTo>
                    <a:pt x="2251" y="1158"/>
                    <a:pt x="2270" y="1158"/>
                    <a:pt x="2270" y="1158"/>
                  </a:cubicBezTo>
                  <a:cubicBezTo>
                    <a:pt x="2270" y="1158"/>
                    <a:pt x="2281" y="1159"/>
                    <a:pt x="2275" y="1167"/>
                  </a:cubicBezTo>
                  <a:cubicBezTo>
                    <a:pt x="2270" y="1174"/>
                    <a:pt x="2265" y="1178"/>
                    <a:pt x="2271" y="1181"/>
                  </a:cubicBezTo>
                  <a:cubicBezTo>
                    <a:pt x="2276" y="1184"/>
                    <a:pt x="2285" y="1181"/>
                    <a:pt x="2286" y="1185"/>
                  </a:cubicBezTo>
                  <a:cubicBezTo>
                    <a:pt x="2287" y="1190"/>
                    <a:pt x="2291" y="1194"/>
                    <a:pt x="2289" y="1198"/>
                  </a:cubicBezTo>
                  <a:cubicBezTo>
                    <a:pt x="2287" y="1203"/>
                    <a:pt x="2290" y="1211"/>
                    <a:pt x="2290" y="1211"/>
                  </a:cubicBezTo>
                  <a:cubicBezTo>
                    <a:pt x="2290" y="1211"/>
                    <a:pt x="2287" y="1218"/>
                    <a:pt x="2291" y="1223"/>
                  </a:cubicBezTo>
                  <a:cubicBezTo>
                    <a:pt x="2296" y="1229"/>
                    <a:pt x="2301" y="1235"/>
                    <a:pt x="2308" y="1227"/>
                  </a:cubicBezTo>
                  <a:cubicBezTo>
                    <a:pt x="2314" y="1218"/>
                    <a:pt x="2316" y="1216"/>
                    <a:pt x="2314" y="1209"/>
                  </a:cubicBezTo>
                  <a:cubicBezTo>
                    <a:pt x="2312" y="1203"/>
                    <a:pt x="2311" y="1204"/>
                    <a:pt x="2310" y="1196"/>
                  </a:cubicBezTo>
                  <a:cubicBezTo>
                    <a:pt x="2309" y="1189"/>
                    <a:pt x="2310" y="1180"/>
                    <a:pt x="2310" y="1180"/>
                  </a:cubicBezTo>
                  <a:cubicBezTo>
                    <a:pt x="2310" y="1180"/>
                    <a:pt x="2311" y="1177"/>
                    <a:pt x="2318" y="1180"/>
                  </a:cubicBezTo>
                  <a:cubicBezTo>
                    <a:pt x="2324" y="1183"/>
                    <a:pt x="2324" y="1186"/>
                    <a:pt x="2328" y="1182"/>
                  </a:cubicBezTo>
                  <a:cubicBezTo>
                    <a:pt x="2333" y="1178"/>
                    <a:pt x="2335" y="1173"/>
                    <a:pt x="2335" y="1169"/>
                  </a:cubicBezTo>
                  <a:cubicBezTo>
                    <a:pt x="2335" y="1165"/>
                    <a:pt x="2337" y="1164"/>
                    <a:pt x="2333" y="1159"/>
                  </a:cubicBezTo>
                  <a:cubicBezTo>
                    <a:pt x="2328" y="1155"/>
                    <a:pt x="2327" y="1155"/>
                    <a:pt x="2331" y="1150"/>
                  </a:cubicBezTo>
                  <a:cubicBezTo>
                    <a:pt x="2338" y="1142"/>
                    <a:pt x="2349" y="1148"/>
                    <a:pt x="2349" y="1148"/>
                  </a:cubicBezTo>
                  <a:cubicBezTo>
                    <a:pt x="2349" y="1148"/>
                    <a:pt x="2354" y="1158"/>
                    <a:pt x="2351" y="1161"/>
                  </a:cubicBezTo>
                  <a:cubicBezTo>
                    <a:pt x="2348" y="1165"/>
                    <a:pt x="2348" y="1172"/>
                    <a:pt x="2352" y="1170"/>
                  </a:cubicBezTo>
                  <a:cubicBezTo>
                    <a:pt x="2357" y="1168"/>
                    <a:pt x="2357" y="1166"/>
                    <a:pt x="2366" y="1164"/>
                  </a:cubicBezTo>
                  <a:cubicBezTo>
                    <a:pt x="2376" y="1161"/>
                    <a:pt x="2377" y="1155"/>
                    <a:pt x="2382" y="1153"/>
                  </a:cubicBezTo>
                  <a:cubicBezTo>
                    <a:pt x="2386" y="1150"/>
                    <a:pt x="2395" y="1152"/>
                    <a:pt x="2398" y="1150"/>
                  </a:cubicBezTo>
                  <a:cubicBezTo>
                    <a:pt x="2401" y="1149"/>
                    <a:pt x="2418" y="1140"/>
                    <a:pt x="2418" y="1140"/>
                  </a:cubicBezTo>
                  <a:cubicBezTo>
                    <a:pt x="2418" y="1140"/>
                    <a:pt x="2437" y="1120"/>
                    <a:pt x="2449" y="1119"/>
                  </a:cubicBezTo>
                  <a:cubicBezTo>
                    <a:pt x="2461" y="1118"/>
                    <a:pt x="2466" y="1115"/>
                    <a:pt x="2474" y="1107"/>
                  </a:cubicBezTo>
                  <a:cubicBezTo>
                    <a:pt x="2482" y="1099"/>
                    <a:pt x="2477" y="1093"/>
                    <a:pt x="2486" y="1090"/>
                  </a:cubicBezTo>
                  <a:cubicBezTo>
                    <a:pt x="2495" y="1086"/>
                    <a:pt x="2503" y="1086"/>
                    <a:pt x="2500" y="1073"/>
                  </a:cubicBezTo>
                  <a:cubicBezTo>
                    <a:pt x="2497" y="1060"/>
                    <a:pt x="2491" y="1050"/>
                    <a:pt x="2495" y="1048"/>
                  </a:cubicBezTo>
                  <a:cubicBezTo>
                    <a:pt x="2498" y="1046"/>
                    <a:pt x="2507" y="1044"/>
                    <a:pt x="2505" y="1034"/>
                  </a:cubicBezTo>
                  <a:cubicBezTo>
                    <a:pt x="2502" y="1024"/>
                    <a:pt x="2498" y="1023"/>
                    <a:pt x="2503" y="1020"/>
                  </a:cubicBezTo>
                  <a:cubicBezTo>
                    <a:pt x="2509" y="1017"/>
                    <a:pt x="2509" y="1001"/>
                    <a:pt x="2513" y="1003"/>
                  </a:cubicBezTo>
                  <a:cubicBezTo>
                    <a:pt x="2523" y="1006"/>
                    <a:pt x="2533" y="1009"/>
                    <a:pt x="2533" y="1009"/>
                  </a:cubicBezTo>
                  <a:cubicBezTo>
                    <a:pt x="2533" y="1009"/>
                    <a:pt x="2544" y="999"/>
                    <a:pt x="2547" y="998"/>
                  </a:cubicBezTo>
                  <a:cubicBezTo>
                    <a:pt x="2550" y="997"/>
                    <a:pt x="2558" y="994"/>
                    <a:pt x="2562" y="992"/>
                  </a:cubicBezTo>
                  <a:cubicBezTo>
                    <a:pt x="2566" y="990"/>
                    <a:pt x="2573" y="986"/>
                    <a:pt x="2572" y="981"/>
                  </a:cubicBezTo>
                  <a:cubicBezTo>
                    <a:pt x="2571" y="975"/>
                    <a:pt x="2563" y="968"/>
                    <a:pt x="2566" y="967"/>
                  </a:cubicBezTo>
                  <a:cubicBezTo>
                    <a:pt x="2570" y="966"/>
                    <a:pt x="2577" y="957"/>
                    <a:pt x="2583" y="959"/>
                  </a:cubicBezTo>
                  <a:cubicBezTo>
                    <a:pt x="2588" y="961"/>
                    <a:pt x="2589" y="961"/>
                    <a:pt x="2594" y="953"/>
                  </a:cubicBezTo>
                  <a:cubicBezTo>
                    <a:pt x="2598" y="944"/>
                    <a:pt x="2601" y="942"/>
                    <a:pt x="2595" y="940"/>
                  </a:cubicBezTo>
                  <a:cubicBezTo>
                    <a:pt x="2588" y="937"/>
                    <a:pt x="2578" y="933"/>
                    <a:pt x="2575" y="933"/>
                  </a:cubicBezTo>
                  <a:cubicBezTo>
                    <a:pt x="2572" y="933"/>
                    <a:pt x="2559" y="934"/>
                    <a:pt x="2565" y="928"/>
                  </a:cubicBezTo>
                  <a:cubicBezTo>
                    <a:pt x="2572" y="921"/>
                    <a:pt x="2572" y="917"/>
                    <a:pt x="2573" y="910"/>
                  </a:cubicBezTo>
                  <a:cubicBezTo>
                    <a:pt x="2574" y="904"/>
                    <a:pt x="2573" y="899"/>
                    <a:pt x="2573" y="899"/>
                  </a:cubicBezTo>
                  <a:cubicBezTo>
                    <a:pt x="2573" y="899"/>
                    <a:pt x="2561" y="892"/>
                    <a:pt x="2551" y="896"/>
                  </a:cubicBezTo>
                  <a:cubicBezTo>
                    <a:pt x="2541" y="900"/>
                    <a:pt x="2537" y="903"/>
                    <a:pt x="2531" y="896"/>
                  </a:cubicBezTo>
                  <a:cubicBezTo>
                    <a:pt x="2524" y="890"/>
                    <a:pt x="2522" y="885"/>
                    <a:pt x="2513" y="889"/>
                  </a:cubicBezTo>
                  <a:cubicBezTo>
                    <a:pt x="2505" y="892"/>
                    <a:pt x="2502" y="902"/>
                    <a:pt x="2488" y="899"/>
                  </a:cubicBezTo>
                  <a:cubicBezTo>
                    <a:pt x="2474" y="897"/>
                    <a:pt x="2471" y="893"/>
                    <a:pt x="2465" y="897"/>
                  </a:cubicBezTo>
                  <a:cubicBezTo>
                    <a:pt x="2460" y="902"/>
                    <a:pt x="2458" y="904"/>
                    <a:pt x="2454" y="909"/>
                  </a:cubicBezTo>
                  <a:cubicBezTo>
                    <a:pt x="2451" y="915"/>
                    <a:pt x="2452" y="916"/>
                    <a:pt x="2452" y="922"/>
                  </a:cubicBezTo>
                  <a:cubicBezTo>
                    <a:pt x="2452" y="929"/>
                    <a:pt x="2448" y="927"/>
                    <a:pt x="2445" y="934"/>
                  </a:cubicBezTo>
                  <a:cubicBezTo>
                    <a:pt x="2441" y="942"/>
                    <a:pt x="2445" y="942"/>
                    <a:pt x="2445" y="950"/>
                  </a:cubicBezTo>
                  <a:cubicBezTo>
                    <a:pt x="2445" y="959"/>
                    <a:pt x="2441" y="962"/>
                    <a:pt x="2439" y="967"/>
                  </a:cubicBezTo>
                  <a:cubicBezTo>
                    <a:pt x="2437" y="971"/>
                    <a:pt x="2441" y="967"/>
                    <a:pt x="2433" y="970"/>
                  </a:cubicBezTo>
                  <a:cubicBezTo>
                    <a:pt x="2424" y="973"/>
                    <a:pt x="2418" y="976"/>
                    <a:pt x="2414" y="978"/>
                  </a:cubicBezTo>
                  <a:cubicBezTo>
                    <a:pt x="2401" y="982"/>
                    <a:pt x="2389" y="980"/>
                    <a:pt x="2389" y="980"/>
                  </a:cubicBezTo>
                  <a:cubicBezTo>
                    <a:pt x="2389" y="980"/>
                    <a:pt x="2388" y="989"/>
                    <a:pt x="2384" y="993"/>
                  </a:cubicBezTo>
                  <a:cubicBezTo>
                    <a:pt x="2379" y="997"/>
                    <a:pt x="2378" y="999"/>
                    <a:pt x="2373" y="1003"/>
                  </a:cubicBezTo>
                  <a:cubicBezTo>
                    <a:pt x="2368" y="1006"/>
                    <a:pt x="2358" y="1005"/>
                    <a:pt x="2358" y="1010"/>
                  </a:cubicBezTo>
                  <a:cubicBezTo>
                    <a:pt x="2358" y="1016"/>
                    <a:pt x="2352" y="1032"/>
                    <a:pt x="2348" y="1031"/>
                  </a:cubicBezTo>
                  <a:cubicBezTo>
                    <a:pt x="2344" y="1030"/>
                    <a:pt x="2344" y="1021"/>
                    <a:pt x="2336" y="1018"/>
                  </a:cubicBezTo>
                  <a:cubicBezTo>
                    <a:pt x="2328" y="1015"/>
                    <a:pt x="2321" y="1011"/>
                    <a:pt x="2316" y="1018"/>
                  </a:cubicBezTo>
                  <a:cubicBezTo>
                    <a:pt x="2312" y="1024"/>
                    <a:pt x="2316" y="1025"/>
                    <a:pt x="2309" y="1035"/>
                  </a:cubicBezTo>
                  <a:cubicBezTo>
                    <a:pt x="2301" y="1045"/>
                    <a:pt x="2298" y="1042"/>
                    <a:pt x="2297" y="1048"/>
                  </a:cubicBezTo>
                  <a:cubicBezTo>
                    <a:pt x="2296" y="1055"/>
                    <a:pt x="2297" y="1059"/>
                    <a:pt x="2295" y="1066"/>
                  </a:cubicBezTo>
                  <a:cubicBezTo>
                    <a:pt x="2293" y="1072"/>
                    <a:pt x="2295" y="1073"/>
                    <a:pt x="2288" y="1074"/>
                  </a:cubicBezTo>
                  <a:cubicBezTo>
                    <a:pt x="2282" y="1075"/>
                    <a:pt x="2282" y="1073"/>
                    <a:pt x="2275" y="1075"/>
                  </a:cubicBezTo>
                  <a:cubicBezTo>
                    <a:pt x="2269" y="1078"/>
                    <a:pt x="2268" y="1079"/>
                    <a:pt x="2264" y="1083"/>
                  </a:cubicBezTo>
                  <a:cubicBezTo>
                    <a:pt x="2261" y="1087"/>
                    <a:pt x="2260" y="1096"/>
                    <a:pt x="2254" y="1090"/>
                  </a:cubicBezTo>
                  <a:cubicBezTo>
                    <a:pt x="2249" y="1083"/>
                    <a:pt x="2249" y="1077"/>
                    <a:pt x="2249" y="1073"/>
                  </a:cubicBezTo>
                  <a:cubicBezTo>
                    <a:pt x="2249" y="1070"/>
                    <a:pt x="2252" y="1062"/>
                    <a:pt x="2253" y="1058"/>
                  </a:cubicBezTo>
                  <a:cubicBezTo>
                    <a:pt x="2254" y="1054"/>
                    <a:pt x="2253" y="1044"/>
                    <a:pt x="2259" y="1045"/>
                  </a:cubicBezTo>
                  <a:cubicBezTo>
                    <a:pt x="2264" y="1046"/>
                    <a:pt x="2272" y="1043"/>
                    <a:pt x="2272" y="1043"/>
                  </a:cubicBezTo>
                  <a:cubicBezTo>
                    <a:pt x="2277" y="1028"/>
                    <a:pt x="2277" y="1028"/>
                    <a:pt x="2277" y="1028"/>
                  </a:cubicBezTo>
                  <a:cubicBezTo>
                    <a:pt x="2277" y="1028"/>
                    <a:pt x="2282" y="1019"/>
                    <a:pt x="2286" y="1020"/>
                  </a:cubicBezTo>
                  <a:cubicBezTo>
                    <a:pt x="2290" y="1021"/>
                    <a:pt x="2300" y="1017"/>
                    <a:pt x="2300" y="1017"/>
                  </a:cubicBezTo>
                  <a:cubicBezTo>
                    <a:pt x="2300" y="1017"/>
                    <a:pt x="2301" y="1002"/>
                    <a:pt x="2307" y="1000"/>
                  </a:cubicBezTo>
                  <a:cubicBezTo>
                    <a:pt x="2312" y="999"/>
                    <a:pt x="2314" y="993"/>
                    <a:pt x="2319" y="993"/>
                  </a:cubicBezTo>
                  <a:cubicBezTo>
                    <a:pt x="2323" y="993"/>
                    <a:pt x="2326" y="991"/>
                    <a:pt x="2327" y="983"/>
                  </a:cubicBezTo>
                  <a:cubicBezTo>
                    <a:pt x="2328" y="975"/>
                    <a:pt x="2324" y="971"/>
                    <a:pt x="2324" y="967"/>
                  </a:cubicBezTo>
                  <a:cubicBezTo>
                    <a:pt x="2324" y="962"/>
                    <a:pt x="2322" y="956"/>
                    <a:pt x="2321" y="948"/>
                  </a:cubicBezTo>
                  <a:cubicBezTo>
                    <a:pt x="2320" y="941"/>
                    <a:pt x="2320" y="935"/>
                    <a:pt x="2316" y="935"/>
                  </a:cubicBezTo>
                  <a:cubicBezTo>
                    <a:pt x="2313" y="935"/>
                    <a:pt x="2306" y="941"/>
                    <a:pt x="2302" y="946"/>
                  </a:cubicBezTo>
                  <a:cubicBezTo>
                    <a:pt x="2299" y="952"/>
                    <a:pt x="2298" y="953"/>
                    <a:pt x="2291" y="962"/>
                  </a:cubicBezTo>
                  <a:cubicBezTo>
                    <a:pt x="2285" y="972"/>
                    <a:pt x="2278" y="979"/>
                    <a:pt x="2275" y="979"/>
                  </a:cubicBezTo>
                  <a:cubicBezTo>
                    <a:pt x="2272" y="979"/>
                    <a:pt x="2269" y="974"/>
                    <a:pt x="2263" y="979"/>
                  </a:cubicBezTo>
                  <a:cubicBezTo>
                    <a:pt x="2258" y="983"/>
                    <a:pt x="2253" y="989"/>
                    <a:pt x="2250" y="991"/>
                  </a:cubicBezTo>
                  <a:cubicBezTo>
                    <a:pt x="2247" y="993"/>
                    <a:pt x="2245" y="994"/>
                    <a:pt x="2241" y="996"/>
                  </a:cubicBezTo>
                  <a:cubicBezTo>
                    <a:pt x="2238" y="998"/>
                    <a:pt x="2235" y="1003"/>
                    <a:pt x="2232" y="1004"/>
                  </a:cubicBezTo>
                  <a:cubicBezTo>
                    <a:pt x="2228" y="1005"/>
                    <a:pt x="2225" y="1005"/>
                    <a:pt x="2222" y="1006"/>
                  </a:cubicBezTo>
                  <a:cubicBezTo>
                    <a:pt x="2215" y="993"/>
                    <a:pt x="2215" y="993"/>
                    <a:pt x="2215" y="993"/>
                  </a:cubicBezTo>
                  <a:cubicBezTo>
                    <a:pt x="2215" y="993"/>
                    <a:pt x="2216" y="989"/>
                    <a:pt x="2224" y="989"/>
                  </a:cubicBezTo>
                  <a:cubicBezTo>
                    <a:pt x="2232" y="989"/>
                    <a:pt x="2236" y="985"/>
                    <a:pt x="2239" y="982"/>
                  </a:cubicBezTo>
                  <a:cubicBezTo>
                    <a:pt x="2243" y="979"/>
                    <a:pt x="2245" y="974"/>
                    <a:pt x="2245" y="970"/>
                  </a:cubicBezTo>
                  <a:cubicBezTo>
                    <a:pt x="2245" y="966"/>
                    <a:pt x="2248" y="957"/>
                    <a:pt x="2253" y="957"/>
                  </a:cubicBezTo>
                  <a:cubicBezTo>
                    <a:pt x="2259" y="957"/>
                    <a:pt x="2260" y="947"/>
                    <a:pt x="2264" y="945"/>
                  </a:cubicBezTo>
                  <a:cubicBezTo>
                    <a:pt x="2274" y="941"/>
                    <a:pt x="2276" y="929"/>
                    <a:pt x="2281" y="928"/>
                  </a:cubicBezTo>
                  <a:cubicBezTo>
                    <a:pt x="2285" y="927"/>
                    <a:pt x="2290" y="917"/>
                    <a:pt x="2290" y="917"/>
                  </a:cubicBezTo>
                  <a:cubicBezTo>
                    <a:pt x="2290" y="917"/>
                    <a:pt x="2288" y="907"/>
                    <a:pt x="2285" y="906"/>
                  </a:cubicBezTo>
                  <a:cubicBezTo>
                    <a:pt x="2282" y="905"/>
                    <a:pt x="2277" y="902"/>
                    <a:pt x="2274" y="904"/>
                  </a:cubicBezTo>
                  <a:cubicBezTo>
                    <a:pt x="2271" y="906"/>
                    <a:pt x="2254" y="915"/>
                    <a:pt x="2254" y="915"/>
                  </a:cubicBezTo>
                  <a:cubicBezTo>
                    <a:pt x="2254" y="915"/>
                    <a:pt x="2245" y="906"/>
                    <a:pt x="2248" y="904"/>
                  </a:cubicBezTo>
                  <a:cubicBezTo>
                    <a:pt x="2251" y="902"/>
                    <a:pt x="2249" y="892"/>
                    <a:pt x="2254" y="891"/>
                  </a:cubicBezTo>
                  <a:cubicBezTo>
                    <a:pt x="2260" y="890"/>
                    <a:pt x="2264" y="887"/>
                    <a:pt x="2270" y="890"/>
                  </a:cubicBezTo>
                  <a:cubicBezTo>
                    <a:pt x="2275" y="892"/>
                    <a:pt x="2283" y="886"/>
                    <a:pt x="2288" y="886"/>
                  </a:cubicBezTo>
                  <a:cubicBezTo>
                    <a:pt x="2294" y="886"/>
                    <a:pt x="2284" y="871"/>
                    <a:pt x="2289" y="873"/>
                  </a:cubicBezTo>
                  <a:cubicBezTo>
                    <a:pt x="2295" y="875"/>
                    <a:pt x="2307" y="877"/>
                    <a:pt x="2311" y="874"/>
                  </a:cubicBezTo>
                  <a:cubicBezTo>
                    <a:pt x="2315" y="872"/>
                    <a:pt x="2310" y="859"/>
                    <a:pt x="2309" y="854"/>
                  </a:cubicBezTo>
                  <a:cubicBezTo>
                    <a:pt x="2308" y="848"/>
                    <a:pt x="2308" y="836"/>
                    <a:pt x="2308" y="836"/>
                  </a:cubicBezTo>
                  <a:cubicBezTo>
                    <a:pt x="2321" y="820"/>
                    <a:pt x="2321" y="820"/>
                    <a:pt x="2321" y="820"/>
                  </a:cubicBezTo>
                  <a:cubicBezTo>
                    <a:pt x="2321" y="820"/>
                    <a:pt x="2320" y="808"/>
                    <a:pt x="2324" y="810"/>
                  </a:cubicBezTo>
                  <a:cubicBezTo>
                    <a:pt x="2328" y="812"/>
                    <a:pt x="2335" y="811"/>
                    <a:pt x="2339" y="809"/>
                  </a:cubicBezTo>
                  <a:cubicBezTo>
                    <a:pt x="2344" y="807"/>
                    <a:pt x="2340" y="798"/>
                    <a:pt x="2345" y="796"/>
                  </a:cubicBezTo>
                  <a:cubicBezTo>
                    <a:pt x="2349" y="794"/>
                    <a:pt x="2354" y="785"/>
                    <a:pt x="2358" y="784"/>
                  </a:cubicBezTo>
                  <a:cubicBezTo>
                    <a:pt x="2361" y="783"/>
                    <a:pt x="2365" y="772"/>
                    <a:pt x="2364" y="767"/>
                  </a:cubicBezTo>
                  <a:cubicBezTo>
                    <a:pt x="2363" y="761"/>
                    <a:pt x="2362" y="754"/>
                    <a:pt x="2365" y="754"/>
                  </a:cubicBezTo>
                  <a:cubicBezTo>
                    <a:pt x="2369" y="754"/>
                    <a:pt x="2363" y="739"/>
                    <a:pt x="2363" y="739"/>
                  </a:cubicBezTo>
                  <a:cubicBezTo>
                    <a:pt x="2364" y="732"/>
                    <a:pt x="2373" y="722"/>
                    <a:pt x="2373" y="722"/>
                  </a:cubicBezTo>
                  <a:cubicBezTo>
                    <a:pt x="2373" y="722"/>
                    <a:pt x="2383" y="724"/>
                    <a:pt x="2387" y="724"/>
                  </a:cubicBezTo>
                  <a:cubicBezTo>
                    <a:pt x="2403" y="724"/>
                    <a:pt x="2403" y="724"/>
                    <a:pt x="2403" y="724"/>
                  </a:cubicBezTo>
                  <a:cubicBezTo>
                    <a:pt x="2411" y="724"/>
                    <a:pt x="2414" y="720"/>
                    <a:pt x="2419" y="715"/>
                  </a:cubicBezTo>
                  <a:cubicBezTo>
                    <a:pt x="2423" y="709"/>
                    <a:pt x="2428" y="704"/>
                    <a:pt x="2428" y="704"/>
                  </a:cubicBezTo>
                  <a:cubicBezTo>
                    <a:pt x="2428" y="704"/>
                    <a:pt x="2441" y="704"/>
                    <a:pt x="2446" y="699"/>
                  </a:cubicBezTo>
                  <a:cubicBezTo>
                    <a:pt x="2450" y="695"/>
                    <a:pt x="2447" y="683"/>
                    <a:pt x="2452" y="681"/>
                  </a:cubicBezTo>
                  <a:cubicBezTo>
                    <a:pt x="2458" y="679"/>
                    <a:pt x="2460" y="675"/>
                    <a:pt x="2469" y="679"/>
                  </a:cubicBezTo>
                  <a:cubicBezTo>
                    <a:pt x="2477" y="682"/>
                    <a:pt x="2480" y="681"/>
                    <a:pt x="2487" y="681"/>
                  </a:cubicBezTo>
                  <a:cubicBezTo>
                    <a:pt x="2495" y="681"/>
                    <a:pt x="2496" y="670"/>
                    <a:pt x="2505" y="668"/>
                  </a:cubicBezTo>
                  <a:cubicBezTo>
                    <a:pt x="2513" y="666"/>
                    <a:pt x="2525" y="658"/>
                    <a:pt x="2525" y="658"/>
                  </a:cubicBezTo>
                  <a:cubicBezTo>
                    <a:pt x="2525" y="658"/>
                    <a:pt x="2553" y="632"/>
                    <a:pt x="2565" y="631"/>
                  </a:cubicBezTo>
                  <a:cubicBezTo>
                    <a:pt x="2577" y="630"/>
                    <a:pt x="2586" y="627"/>
                    <a:pt x="2590" y="625"/>
                  </a:cubicBezTo>
                  <a:cubicBezTo>
                    <a:pt x="2595" y="624"/>
                    <a:pt x="2606" y="612"/>
                    <a:pt x="2612" y="609"/>
                  </a:cubicBezTo>
                  <a:cubicBezTo>
                    <a:pt x="2619" y="606"/>
                    <a:pt x="2627" y="606"/>
                    <a:pt x="2633" y="602"/>
                  </a:cubicBezTo>
                  <a:cubicBezTo>
                    <a:pt x="2638" y="597"/>
                    <a:pt x="2645" y="595"/>
                    <a:pt x="2645" y="588"/>
                  </a:cubicBezTo>
                  <a:cubicBezTo>
                    <a:pt x="2645" y="582"/>
                    <a:pt x="2624" y="581"/>
                    <a:pt x="2620" y="581"/>
                  </a:cubicBezTo>
                  <a:cubicBezTo>
                    <a:pt x="2615" y="581"/>
                    <a:pt x="2609" y="582"/>
                    <a:pt x="2606" y="575"/>
                  </a:cubicBezTo>
                  <a:cubicBezTo>
                    <a:pt x="2602" y="569"/>
                    <a:pt x="2596" y="567"/>
                    <a:pt x="2590" y="563"/>
                  </a:cubicBezTo>
                  <a:cubicBezTo>
                    <a:pt x="2585" y="560"/>
                    <a:pt x="2575" y="562"/>
                    <a:pt x="2572" y="562"/>
                  </a:cubicBezTo>
                  <a:cubicBezTo>
                    <a:pt x="2569" y="562"/>
                    <a:pt x="2564" y="570"/>
                    <a:pt x="2559" y="570"/>
                  </a:cubicBezTo>
                  <a:cubicBezTo>
                    <a:pt x="2553" y="570"/>
                    <a:pt x="2544" y="570"/>
                    <a:pt x="2544" y="570"/>
                  </a:cubicBezTo>
                  <a:cubicBezTo>
                    <a:pt x="2544" y="570"/>
                    <a:pt x="2534" y="580"/>
                    <a:pt x="2527" y="582"/>
                  </a:cubicBezTo>
                  <a:cubicBezTo>
                    <a:pt x="2521" y="584"/>
                    <a:pt x="2507" y="595"/>
                    <a:pt x="2503" y="597"/>
                  </a:cubicBezTo>
                  <a:cubicBezTo>
                    <a:pt x="2500" y="599"/>
                    <a:pt x="2493" y="606"/>
                    <a:pt x="2488" y="608"/>
                  </a:cubicBezTo>
                  <a:cubicBezTo>
                    <a:pt x="2484" y="610"/>
                    <a:pt x="2483" y="612"/>
                    <a:pt x="2474" y="617"/>
                  </a:cubicBezTo>
                  <a:cubicBezTo>
                    <a:pt x="2465" y="621"/>
                    <a:pt x="2463" y="624"/>
                    <a:pt x="2458" y="628"/>
                  </a:cubicBezTo>
                  <a:cubicBezTo>
                    <a:pt x="2452" y="631"/>
                    <a:pt x="2445" y="637"/>
                    <a:pt x="2437" y="642"/>
                  </a:cubicBezTo>
                  <a:cubicBezTo>
                    <a:pt x="2429" y="646"/>
                    <a:pt x="2426" y="648"/>
                    <a:pt x="2422" y="652"/>
                  </a:cubicBezTo>
                  <a:cubicBezTo>
                    <a:pt x="2418" y="655"/>
                    <a:pt x="2413" y="657"/>
                    <a:pt x="2409" y="661"/>
                  </a:cubicBezTo>
                  <a:cubicBezTo>
                    <a:pt x="2404" y="666"/>
                    <a:pt x="2401" y="670"/>
                    <a:pt x="2396" y="675"/>
                  </a:cubicBezTo>
                  <a:cubicBezTo>
                    <a:pt x="2390" y="681"/>
                    <a:pt x="2388" y="685"/>
                    <a:pt x="2384" y="690"/>
                  </a:cubicBezTo>
                  <a:cubicBezTo>
                    <a:pt x="2379" y="694"/>
                    <a:pt x="2375" y="694"/>
                    <a:pt x="2373" y="702"/>
                  </a:cubicBezTo>
                  <a:cubicBezTo>
                    <a:pt x="2371" y="709"/>
                    <a:pt x="2373" y="711"/>
                    <a:pt x="2364" y="716"/>
                  </a:cubicBezTo>
                  <a:cubicBezTo>
                    <a:pt x="2356" y="720"/>
                    <a:pt x="2351" y="723"/>
                    <a:pt x="2348" y="725"/>
                  </a:cubicBezTo>
                  <a:cubicBezTo>
                    <a:pt x="2345" y="728"/>
                    <a:pt x="2333" y="731"/>
                    <a:pt x="2329" y="734"/>
                  </a:cubicBezTo>
                  <a:cubicBezTo>
                    <a:pt x="2326" y="737"/>
                    <a:pt x="2319" y="736"/>
                    <a:pt x="2314" y="743"/>
                  </a:cubicBezTo>
                  <a:cubicBezTo>
                    <a:pt x="2310" y="749"/>
                    <a:pt x="2315" y="755"/>
                    <a:pt x="2306" y="756"/>
                  </a:cubicBezTo>
                  <a:cubicBezTo>
                    <a:pt x="2296" y="757"/>
                    <a:pt x="2284" y="775"/>
                    <a:pt x="2277" y="775"/>
                  </a:cubicBezTo>
                  <a:cubicBezTo>
                    <a:pt x="2271" y="775"/>
                    <a:pt x="2252" y="783"/>
                    <a:pt x="2251" y="790"/>
                  </a:cubicBezTo>
                  <a:cubicBezTo>
                    <a:pt x="2250" y="796"/>
                    <a:pt x="2231" y="809"/>
                    <a:pt x="2227" y="809"/>
                  </a:cubicBezTo>
                  <a:cubicBezTo>
                    <a:pt x="2224" y="809"/>
                    <a:pt x="2213" y="818"/>
                    <a:pt x="2208" y="821"/>
                  </a:cubicBezTo>
                  <a:cubicBezTo>
                    <a:pt x="2202" y="824"/>
                    <a:pt x="2198" y="832"/>
                    <a:pt x="2187" y="840"/>
                  </a:cubicBezTo>
                  <a:cubicBezTo>
                    <a:pt x="2176" y="847"/>
                    <a:pt x="2173" y="847"/>
                    <a:pt x="2165" y="854"/>
                  </a:cubicBezTo>
                  <a:cubicBezTo>
                    <a:pt x="2158" y="860"/>
                    <a:pt x="2149" y="868"/>
                    <a:pt x="2146" y="873"/>
                  </a:cubicBezTo>
                  <a:cubicBezTo>
                    <a:pt x="2143" y="879"/>
                    <a:pt x="2141" y="882"/>
                    <a:pt x="2141" y="887"/>
                  </a:cubicBezTo>
                  <a:cubicBezTo>
                    <a:pt x="2141" y="893"/>
                    <a:pt x="2150" y="895"/>
                    <a:pt x="2154" y="900"/>
                  </a:cubicBezTo>
                  <a:cubicBezTo>
                    <a:pt x="2159" y="906"/>
                    <a:pt x="2163" y="914"/>
                    <a:pt x="2164" y="918"/>
                  </a:cubicBezTo>
                  <a:cubicBezTo>
                    <a:pt x="2165" y="922"/>
                    <a:pt x="2165" y="932"/>
                    <a:pt x="2161" y="932"/>
                  </a:cubicBezTo>
                  <a:cubicBezTo>
                    <a:pt x="2157" y="932"/>
                    <a:pt x="2149" y="932"/>
                    <a:pt x="2148" y="936"/>
                  </a:cubicBezTo>
                  <a:cubicBezTo>
                    <a:pt x="2147" y="941"/>
                    <a:pt x="2144" y="946"/>
                    <a:pt x="2148" y="949"/>
                  </a:cubicBezTo>
                  <a:cubicBezTo>
                    <a:pt x="2152" y="953"/>
                    <a:pt x="2137" y="954"/>
                    <a:pt x="2131" y="966"/>
                  </a:cubicBezTo>
                  <a:cubicBezTo>
                    <a:pt x="2124" y="978"/>
                    <a:pt x="2138" y="984"/>
                    <a:pt x="2126" y="990"/>
                  </a:cubicBezTo>
                  <a:cubicBezTo>
                    <a:pt x="2114" y="995"/>
                    <a:pt x="2106" y="1005"/>
                    <a:pt x="2101" y="1007"/>
                  </a:cubicBezTo>
                  <a:cubicBezTo>
                    <a:pt x="2097" y="1009"/>
                    <a:pt x="2093" y="1015"/>
                    <a:pt x="2076" y="1021"/>
                  </a:cubicBezTo>
                  <a:cubicBezTo>
                    <a:pt x="2060" y="1028"/>
                    <a:pt x="2049" y="1034"/>
                    <a:pt x="2043" y="1036"/>
                  </a:cubicBezTo>
                  <a:cubicBezTo>
                    <a:pt x="2036" y="1039"/>
                    <a:pt x="2027" y="1046"/>
                    <a:pt x="2024" y="1048"/>
                  </a:cubicBezTo>
                  <a:cubicBezTo>
                    <a:pt x="2021" y="1050"/>
                    <a:pt x="2014" y="1058"/>
                    <a:pt x="2011" y="1060"/>
                  </a:cubicBezTo>
                  <a:cubicBezTo>
                    <a:pt x="2008" y="1062"/>
                    <a:pt x="2002" y="1067"/>
                    <a:pt x="1999" y="1072"/>
                  </a:cubicBezTo>
                  <a:cubicBezTo>
                    <a:pt x="1996" y="1078"/>
                    <a:pt x="1986" y="1085"/>
                    <a:pt x="1984" y="1089"/>
                  </a:cubicBezTo>
                  <a:cubicBezTo>
                    <a:pt x="1982" y="1092"/>
                    <a:pt x="1981" y="1096"/>
                    <a:pt x="1975" y="1096"/>
                  </a:cubicBezTo>
                  <a:cubicBezTo>
                    <a:pt x="1970" y="1096"/>
                    <a:pt x="1961" y="1091"/>
                    <a:pt x="1961" y="1091"/>
                  </a:cubicBezTo>
                  <a:cubicBezTo>
                    <a:pt x="1962" y="1080"/>
                    <a:pt x="1962" y="1080"/>
                    <a:pt x="1962" y="1080"/>
                  </a:cubicBezTo>
                  <a:cubicBezTo>
                    <a:pt x="1962" y="1080"/>
                    <a:pt x="1964" y="1072"/>
                    <a:pt x="1970" y="1072"/>
                  </a:cubicBezTo>
                  <a:cubicBezTo>
                    <a:pt x="1975" y="1072"/>
                    <a:pt x="1979" y="1069"/>
                    <a:pt x="1982" y="1066"/>
                  </a:cubicBezTo>
                  <a:cubicBezTo>
                    <a:pt x="1984" y="1062"/>
                    <a:pt x="1986" y="1059"/>
                    <a:pt x="1988" y="1056"/>
                  </a:cubicBezTo>
                  <a:cubicBezTo>
                    <a:pt x="1990" y="1053"/>
                    <a:pt x="1999" y="1053"/>
                    <a:pt x="1999" y="1053"/>
                  </a:cubicBezTo>
                  <a:cubicBezTo>
                    <a:pt x="1999" y="1053"/>
                    <a:pt x="2003" y="1045"/>
                    <a:pt x="2009" y="1043"/>
                  </a:cubicBezTo>
                  <a:cubicBezTo>
                    <a:pt x="2014" y="1041"/>
                    <a:pt x="2014" y="1041"/>
                    <a:pt x="2014" y="1041"/>
                  </a:cubicBezTo>
                  <a:cubicBezTo>
                    <a:pt x="2028" y="1035"/>
                    <a:pt x="2028" y="1035"/>
                    <a:pt x="2028" y="1035"/>
                  </a:cubicBezTo>
                  <a:cubicBezTo>
                    <a:pt x="2028" y="1035"/>
                    <a:pt x="2033" y="1025"/>
                    <a:pt x="2028" y="1024"/>
                  </a:cubicBezTo>
                  <a:cubicBezTo>
                    <a:pt x="2024" y="1023"/>
                    <a:pt x="2022" y="1027"/>
                    <a:pt x="2016" y="1024"/>
                  </a:cubicBezTo>
                  <a:cubicBezTo>
                    <a:pt x="2011" y="1022"/>
                    <a:pt x="2003" y="1024"/>
                    <a:pt x="2004" y="1019"/>
                  </a:cubicBezTo>
                  <a:cubicBezTo>
                    <a:pt x="2006" y="1014"/>
                    <a:pt x="2000" y="1007"/>
                    <a:pt x="2000" y="1007"/>
                  </a:cubicBezTo>
                  <a:cubicBezTo>
                    <a:pt x="2000" y="1007"/>
                    <a:pt x="1996" y="1005"/>
                    <a:pt x="1991" y="1003"/>
                  </a:cubicBezTo>
                  <a:cubicBezTo>
                    <a:pt x="1987" y="1000"/>
                    <a:pt x="1987" y="998"/>
                    <a:pt x="1983" y="1000"/>
                  </a:cubicBezTo>
                  <a:cubicBezTo>
                    <a:pt x="1978" y="1003"/>
                    <a:pt x="1978" y="1006"/>
                    <a:pt x="1972" y="1009"/>
                  </a:cubicBezTo>
                  <a:cubicBezTo>
                    <a:pt x="1965" y="1012"/>
                    <a:pt x="1966" y="1010"/>
                    <a:pt x="1958" y="1015"/>
                  </a:cubicBezTo>
                  <a:cubicBezTo>
                    <a:pt x="1949" y="1019"/>
                    <a:pt x="1941" y="1023"/>
                    <a:pt x="1941" y="1027"/>
                  </a:cubicBezTo>
                  <a:cubicBezTo>
                    <a:pt x="1941" y="1030"/>
                    <a:pt x="1943" y="1031"/>
                    <a:pt x="1937" y="1036"/>
                  </a:cubicBezTo>
                  <a:cubicBezTo>
                    <a:pt x="1932" y="1042"/>
                    <a:pt x="1936" y="1046"/>
                    <a:pt x="1927" y="1047"/>
                  </a:cubicBezTo>
                  <a:cubicBezTo>
                    <a:pt x="1919" y="1048"/>
                    <a:pt x="1922" y="1041"/>
                    <a:pt x="1919" y="1048"/>
                  </a:cubicBezTo>
                  <a:cubicBezTo>
                    <a:pt x="1915" y="1056"/>
                    <a:pt x="1920" y="1049"/>
                    <a:pt x="1915" y="1056"/>
                  </a:cubicBezTo>
                  <a:cubicBezTo>
                    <a:pt x="1911" y="1062"/>
                    <a:pt x="1913" y="1067"/>
                    <a:pt x="1904" y="1066"/>
                  </a:cubicBezTo>
                  <a:cubicBezTo>
                    <a:pt x="1896" y="1065"/>
                    <a:pt x="1885" y="1060"/>
                    <a:pt x="1875" y="1059"/>
                  </a:cubicBezTo>
                  <a:cubicBezTo>
                    <a:pt x="1865" y="1058"/>
                    <a:pt x="1848" y="1056"/>
                    <a:pt x="1839" y="1056"/>
                  </a:cubicBezTo>
                  <a:cubicBezTo>
                    <a:pt x="1831" y="1056"/>
                    <a:pt x="1827" y="1057"/>
                    <a:pt x="1816" y="1054"/>
                  </a:cubicBezTo>
                  <a:cubicBezTo>
                    <a:pt x="1806" y="1050"/>
                    <a:pt x="1796" y="1052"/>
                    <a:pt x="1802" y="1046"/>
                  </a:cubicBezTo>
                  <a:cubicBezTo>
                    <a:pt x="1809" y="1041"/>
                    <a:pt x="1812" y="1037"/>
                    <a:pt x="1807" y="1035"/>
                  </a:cubicBezTo>
                  <a:cubicBezTo>
                    <a:pt x="1801" y="1033"/>
                    <a:pt x="1786" y="1039"/>
                    <a:pt x="1787" y="1034"/>
                  </a:cubicBezTo>
                  <a:cubicBezTo>
                    <a:pt x="1788" y="1030"/>
                    <a:pt x="1788" y="1019"/>
                    <a:pt x="1788" y="1019"/>
                  </a:cubicBezTo>
                  <a:cubicBezTo>
                    <a:pt x="1788" y="1019"/>
                    <a:pt x="1779" y="1008"/>
                    <a:pt x="1786" y="1009"/>
                  </a:cubicBezTo>
                  <a:cubicBezTo>
                    <a:pt x="1793" y="1010"/>
                    <a:pt x="1799" y="1005"/>
                    <a:pt x="1803" y="1005"/>
                  </a:cubicBezTo>
                  <a:cubicBezTo>
                    <a:pt x="1808" y="1005"/>
                    <a:pt x="1788" y="997"/>
                    <a:pt x="1794" y="996"/>
                  </a:cubicBezTo>
                  <a:cubicBezTo>
                    <a:pt x="1799" y="995"/>
                    <a:pt x="1814" y="992"/>
                    <a:pt x="1814" y="992"/>
                  </a:cubicBezTo>
                  <a:cubicBezTo>
                    <a:pt x="1814" y="992"/>
                    <a:pt x="1823" y="990"/>
                    <a:pt x="1822" y="981"/>
                  </a:cubicBezTo>
                  <a:cubicBezTo>
                    <a:pt x="1821" y="972"/>
                    <a:pt x="1826" y="961"/>
                    <a:pt x="1815" y="966"/>
                  </a:cubicBezTo>
                  <a:cubicBezTo>
                    <a:pt x="1804" y="970"/>
                    <a:pt x="1809" y="975"/>
                    <a:pt x="1791" y="980"/>
                  </a:cubicBezTo>
                  <a:cubicBezTo>
                    <a:pt x="1774" y="984"/>
                    <a:pt x="1771" y="986"/>
                    <a:pt x="1764" y="987"/>
                  </a:cubicBezTo>
                  <a:cubicBezTo>
                    <a:pt x="1758" y="989"/>
                    <a:pt x="1757" y="994"/>
                    <a:pt x="1748" y="995"/>
                  </a:cubicBezTo>
                  <a:cubicBezTo>
                    <a:pt x="1739" y="996"/>
                    <a:pt x="1733" y="994"/>
                    <a:pt x="1728" y="998"/>
                  </a:cubicBezTo>
                  <a:cubicBezTo>
                    <a:pt x="1724" y="1003"/>
                    <a:pt x="1724" y="1013"/>
                    <a:pt x="1713" y="1016"/>
                  </a:cubicBezTo>
                  <a:cubicBezTo>
                    <a:pt x="1700" y="1019"/>
                    <a:pt x="1695" y="1014"/>
                    <a:pt x="1704" y="1022"/>
                  </a:cubicBezTo>
                  <a:cubicBezTo>
                    <a:pt x="1714" y="1031"/>
                    <a:pt x="1707" y="1033"/>
                    <a:pt x="1714" y="1031"/>
                  </a:cubicBezTo>
                  <a:cubicBezTo>
                    <a:pt x="1722" y="1029"/>
                    <a:pt x="1723" y="1024"/>
                    <a:pt x="1727" y="1023"/>
                  </a:cubicBezTo>
                  <a:cubicBezTo>
                    <a:pt x="1732" y="1022"/>
                    <a:pt x="1740" y="1012"/>
                    <a:pt x="1741" y="1018"/>
                  </a:cubicBezTo>
                  <a:cubicBezTo>
                    <a:pt x="1743" y="1023"/>
                    <a:pt x="1748" y="1027"/>
                    <a:pt x="1738" y="1029"/>
                  </a:cubicBezTo>
                  <a:cubicBezTo>
                    <a:pt x="1728" y="1031"/>
                    <a:pt x="1727" y="1034"/>
                    <a:pt x="1719" y="1036"/>
                  </a:cubicBezTo>
                  <a:cubicBezTo>
                    <a:pt x="1710" y="1039"/>
                    <a:pt x="1703" y="1041"/>
                    <a:pt x="1698" y="1043"/>
                  </a:cubicBezTo>
                  <a:cubicBezTo>
                    <a:pt x="1693" y="1045"/>
                    <a:pt x="1691" y="1042"/>
                    <a:pt x="1691" y="1049"/>
                  </a:cubicBezTo>
                  <a:cubicBezTo>
                    <a:pt x="1691" y="1057"/>
                    <a:pt x="1693" y="1058"/>
                    <a:pt x="1687" y="1065"/>
                  </a:cubicBezTo>
                  <a:cubicBezTo>
                    <a:pt x="1682" y="1071"/>
                    <a:pt x="1684" y="1074"/>
                    <a:pt x="1676" y="1080"/>
                  </a:cubicBezTo>
                  <a:cubicBezTo>
                    <a:pt x="1669" y="1085"/>
                    <a:pt x="1666" y="1086"/>
                    <a:pt x="1662" y="1092"/>
                  </a:cubicBezTo>
                  <a:cubicBezTo>
                    <a:pt x="1658" y="1097"/>
                    <a:pt x="1658" y="1099"/>
                    <a:pt x="1653" y="1104"/>
                  </a:cubicBezTo>
                  <a:cubicBezTo>
                    <a:pt x="1649" y="1108"/>
                    <a:pt x="1634" y="1123"/>
                    <a:pt x="1629" y="1125"/>
                  </a:cubicBezTo>
                  <a:cubicBezTo>
                    <a:pt x="1625" y="1128"/>
                    <a:pt x="1628" y="1114"/>
                    <a:pt x="1628" y="1114"/>
                  </a:cubicBezTo>
                  <a:cubicBezTo>
                    <a:pt x="1628" y="1114"/>
                    <a:pt x="1644" y="1100"/>
                    <a:pt x="1646" y="1091"/>
                  </a:cubicBezTo>
                  <a:cubicBezTo>
                    <a:pt x="1648" y="1081"/>
                    <a:pt x="1657" y="1079"/>
                    <a:pt x="1652" y="1074"/>
                  </a:cubicBezTo>
                  <a:cubicBezTo>
                    <a:pt x="1648" y="1070"/>
                    <a:pt x="1641" y="1066"/>
                    <a:pt x="1648" y="1065"/>
                  </a:cubicBezTo>
                  <a:cubicBezTo>
                    <a:pt x="1654" y="1064"/>
                    <a:pt x="1657" y="1056"/>
                    <a:pt x="1656" y="1050"/>
                  </a:cubicBezTo>
                  <a:cubicBezTo>
                    <a:pt x="1654" y="1045"/>
                    <a:pt x="1652" y="1040"/>
                    <a:pt x="1652" y="1040"/>
                  </a:cubicBezTo>
                  <a:cubicBezTo>
                    <a:pt x="1652" y="1040"/>
                    <a:pt x="1641" y="1044"/>
                    <a:pt x="1636" y="1050"/>
                  </a:cubicBezTo>
                  <a:cubicBezTo>
                    <a:pt x="1631" y="1057"/>
                    <a:pt x="1621" y="1060"/>
                    <a:pt x="1615" y="1061"/>
                  </a:cubicBezTo>
                  <a:cubicBezTo>
                    <a:pt x="1610" y="1062"/>
                    <a:pt x="1596" y="1061"/>
                    <a:pt x="1596" y="1061"/>
                  </a:cubicBezTo>
                  <a:cubicBezTo>
                    <a:pt x="1579" y="1059"/>
                    <a:pt x="1579" y="1059"/>
                    <a:pt x="1579" y="1059"/>
                  </a:cubicBezTo>
                  <a:cubicBezTo>
                    <a:pt x="1566" y="1055"/>
                    <a:pt x="1566" y="1055"/>
                    <a:pt x="1566" y="1055"/>
                  </a:cubicBezTo>
                  <a:cubicBezTo>
                    <a:pt x="1566" y="1055"/>
                    <a:pt x="1550" y="1055"/>
                    <a:pt x="1557" y="1052"/>
                  </a:cubicBezTo>
                  <a:cubicBezTo>
                    <a:pt x="1563" y="1048"/>
                    <a:pt x="1578" y="1046"/>
                    <a:pt x="1579" y="1042"/>
                  </a:cubicBezTo>
                  <a:cubicBezTo>
                    <a:pt x="1581" y="1037"/>
                    <a:pt x="1582" y="1031"/>
                    <a:pt x="1587" y="1032"/>
                  </a:cubicBezTo>
                  <a:cubicBezTo>
                    <a:pt x="1592" y="1033"/>
                    <a:pt x="1603" y="1027"/>
                    <a:pt x="1606" y="1023"/>
                  </a:cubicBezTo>
                  <a:cubicBezTo>
                    <a:pt x="1608" y="1020"/>
                    <a:pt x="1601" y="1012"/>
                    <a:pt x="1611" y="1014"/>
                  </a:cubicBezTo>
                  <a:cubicBezTo>
                    <a:pt x="1621" y="1015"/>
                    <a:pt x="1623" y="1010"/>
                    <a:pt x="1628" y="1007"/>
                  </a:cubicBezTo>
                  <a:cubicBezTo>
                    <a:pt x="1634" y="1004"/>
                    <a:pt x="1635" y="995"/>
                    <a:pt x="1637" y="991"/>
                  </a:cubicBezTo>
                  <a:cubicBezTo>
                    <a:pt x="1639" y="986"/>
                    <a:pt x="1642" y="983"/>
                    <a:pt x="1646" y="982"/>
                  </a:cubicBezTo>
                  <a:cubicBezTo>
                    <a:pt x="1649" y="981"/>
                    <a:pt x="1642" y="975"/>
                    <a:pt x="1648" y="970"/>
                  </a:cubicBezTo>
                  <a:cubicBezTo>
                    <a:pt x="1653" y="965"/>
                    <a:pt x="1641" y="964"/>
                    <a:pt x="1638" y="965"/>
                  </a:cubicBezTo>
                  <a:cubicBezTo>
                    <a:pt x="1635" y="966"/>
                    <a:pt x="1624" y="970"/>
                    <a:pt x="1623" y="967"/>
                  </a:cubicBezTo>
                  <a:cubicBezTo>
                    <a:pt x="1622" y="964"/>
                    <a:pt x="1624" y="957"/>
                    <a:pt x="1626" y="946"/>
                  </a:cubicBezTo>
                  <a:cubicBezTo>
                    <a:pt x="1628" y="938"/>
                    <a:pt x="1623" y="929"/>
                    <a:pt x="1621" y="925"/>
                  </a:cubicBezTo>
                  <a:cubicBezTo>
                    <a:pt x="1544" y="986"/>
                    <a:pt x="1470" y="1050"/>
                    <a:pt x="1397" y="1116"/>
                  </a:cubicBezTo>
                  <a:cubicBezTo>
                    <a:pt x="1405" y="1116"/>
                    <a:pt x="1429" y="1116"/>
                    <a:pt x="1416" y="1124"/>
                  </a:cubicBezTo>
                  <a:cubicBezTo>
                    <a:pt x="1401" y="1134"/>
                    <a:pt x="1391" y="1142"/>
                    <a:pt x="1386" y="1145"/>
                  </a:cubicBezTo>
                  <a:cubicBezTo>
                    <a:pt x="1381" y="1148"/>
                    <a:pt x="1361" y="1154"/>
                    <a:pt x="1363" y="1158"/>
                  </a:cubicBezTo>
                  <a:cubicBezTo>
                    <a:pt x="1365" y="1162"/>
                    <a:pt x="1352" y="1160"/>
                    <a:pt x="1365" y="1162"/>
                  </a:cubicBezTo>
                  <a:cubicBezTo>
                    <a:pt x="1378" y="1165"/>
                    <a:pt x="1384" y="1165"/>
                    <a:pt x="1384" y="1165"/>
                  </a:cubicBezTo>
                  <a:cubicBezTo>
                    <a:pt x="1384" y="1165"/>
                    <a:pt x="1384" y="1167"/>
                    <a:pt x="1379" y="1172"/>
                  </a:cubicBezTo>
                  <a:cubicBezTo>
                    <a:pt x="1375" y="1178"/>
                    <a:pt x="1361" y="1187"/>
                    <a:pt x="1358" y="1192"/>
                  </a:cubicBezTo>
                  <a:cubicBezTo>
                    <a:pt x="1354" y="1196"/>
                    <a:pt x="1349" y="1200"/>
                    <a:pt x="1348" y="1206"/>
                  </a:cubicBezTo>
                  <a:cubicBezTo>
                    <a:pt x="1347" y="1211"/>
                    <a:pt x="1344" y="1217"/>
                    <a:pt x="1339" y="1217"/>
                  </a:cubicBezTo>
                  <a:cubicBezTo>
                    <a:pt x="1335" y="1217"/>
                    <a:pt x="1327" y="1217"/>
                    <a:pt x="1320" y="1218"/>
                  </a:cubicBezTo>
                  <a:cubicBezTo>
                    <a:pt x="1312" y="1219"/>
                    <a:pt x="1300" y="1231"/>
                    <a:pt x="1300" y="1231"/>
                  </a:cubicBezTo>
                  <a:cubicBezTo>
                    <a:pt x="1300" y="1231"/>
                    <a:pt x="1289" y="1244"/>
                    <a:pt x="1288" y="1247"/>
                  </a:cubicBezTo>
                  <a:cubicBezTo>
                    <a:pt x="1287" y="1250"/>
                    <a:pt x="1287" y="1252"/>
                    <a:pt x="1281" y="1252"/>
                  </a:cubicBezTo>
                  <a:cubicBezTo>
                    <a:pt x="1274" y="1252"/>
                    <a:pt x="1256" y="1266"/>
                    <a:pt x="1256" y="1266"/>
                  </a:cubicBezTo>
                  <a:cubicBezTo>
                    <a:pt x="1245" y="1274"/>
                    <a:pt x="1245" y="1274"/>
                    <a:pt x="1245" y="1274"/>
                  </a:cubicBezTo>
                  <a:cubicBezTo>
                    <a:pt x="1236" y="1270"/>
                    <a:pt x="1236" y="1270"/>
                    <a:pt x="1236" y="1270"/>
                  </a:cubicBezTo>
                  <a:cubicBezTo>
                    <a:pt x="817" y="1688"/>
                    <a:pt x="478" y="2185"/>
                    <a:pt x="241" y="2737"/>
                  </a:cubicBezTo>
                  <a:cubicBezTo>
                    <a:pt x="241" y="2744"/>
                    <a:pt x="240" y="2750"/>
                    <a:pt x="239" y="2753"/>
                  </a:cubicBezTo>
                  <a:cubicBezTo>
                    <a:pt x="236" y="2765"/>
                    <a:pt x="242" y="2768"/>
                    <a:pt x="233" y="2786"/>
                  </a:cubicBezTo>
                  <a:cubicBezTo>
                    <a:pt x="224" y="2805"/>
                    <a:pt x="218" y="2811"/>
                    <a:pt x="215" y="2820"/>
                  </a:cubicBezTo>
                  <a:cubicBezTo>
                    <a:pt x="212" y="2829"/>
                    <a:pt x="209" y="2835"/>
                    <a:pt x="203" y="2853"/>
                  </a:cubicBezTo>
                  <a:cubicBezTo>
                    <a:pt x="197" y="2871"/>
                    <a:pt x="188" y="2874"/>
                    <a:pt x="185" y="2889"/>
                  </a:cubicBezTo>
                  <a:cubicBezTo>
                    <a:pt x="182" y="2905"/>
                    <a:pt x="182" y="2911"/>
                    <a:pt x="179" y="2929"/>
                  </a:cubicBezTo>
                  <a:cubicBezTo>
                    <a:pt x="176" y="2947"/>
                    <a:pt x="161" y="2987"/>
                    <a:pt x="152" y="3003"/>
                  </a:cubicBezTo>
                  <a:cubicBezTo>
                    <a:pt x="143" y="3019"/>
                    <a:pt x="134" y="3037"/>
                    <a:pt x="129" y="3055"/>
                  </a:cubicBezTo>
                  <a:cubicBezTo>
                    <a:pt x="125" y="3074"/>
                    <a:pt x="116" y="3094"/>
                    <a:pt x="116" y="3103"/>
                  </a:cubicBezTo>
                  <a:cubicBezTo>
                    <a:pt x="116" y="3112"/>
                    <a:pt x="107" y="3124"/>
                    <a:pt x="104" y="3133"/>
                  </a:cubicBezTo>
                  <a:cubicBezTo>
                    <a:pt x="102" y="3142"/>
                    <a:pt x="109" y="3174"/>
                    <a:pt x="100" y="3185"/>
                  </a:cubicBezTo>
                  <a:cubicBezTo>
                    <a:pt x="91" y="3197"/>
                    <a:pt x="77" y="3203"/>
                    <a:pt x="77" y="3215"/>
                  </a:cubicBezTo>
                  <a:cubicBezTo>
                    <a:pt x="77" y="3226"/>
                    <a:pt x="72" y="3251"/>
                    <a:pt x="72" y="3260"/>
                  </a:cubicBezTo>
                  <a:cubicBezTo>
                    <a:pt x="72" y="3269"/>
                    <a:pt x="66" y="3283"/>
                    <a:pt x="66" y="3294"/>
                  </a:cubicBezTo>
                  <a:cubicBezTo>
                    <a:pt x="66" y="3306"/>
                    <a:pt x="66" y="3317"/>
                    <a:pt x="63" y="3333"/>
                  </a:cubicBezTo>
                  <a:cubicBezTo>
                    <a:pt x="61" y="3349"/>
                    <a:pt x="47" y="3369"/>
                    <a:pt x="50" y="3378"/>
                  </a:cubicBezTo>
                  <a:cubicBezTo>
                    <a:pt x="52" y="3388"/>
                    <a:pt x="50" y="3401"/>
                    <a:pt x="50" y="3415"/>
                  </a:cubicBezTo>
                  <a:cubicBezTo>
                    <a:pt x="50" y="3429"/>
                    <a:pt x="45" y="3481"/>
                    <a:pt x="43" y="3490"/>
                  </a:cubicBezTo>
                  <a:cubicBezTo>
                    <a:pt x="41" y="3499"/>
                    <a:pt x="29" y="3517"/>
                    <a:pt x="27" y="3529"/>
                  </a:cubicBezTo>
                  <a:cubicBezTo>
                    <a:pt x="25" y="3540"/>
                    <a:pt x="22" y="3558"/>
                    <a:pt x="20" y="3572"/>
                  </a:cubicBezTo>
                  <a:cubicBezTo>
                    <a:pt x="18" y="3585"/>
                    <a:pt x="9" y="3601"/>
                    <a:pt x="11" y="3620"/>
                  </a:cubicBezTo>
                  <a:cubicBezTo>
                    <a:pt x="13" y="3638"/>
                    <a:pt x="22" y="3645"/>
                    <a:pt x="18" y="3663"/>
                  </a:cubicBezTo>
                  <a:cubicBezTo>
                    <a:pt x="13" y="3681"/>
                    <a:pt x="13" y="3679"/>
                    <a:pt x="9" y="3695"/>
                  </a:cubicBezTo>
                  <a:cubicBezTo>
                    <a:pt x="4" y="3711"/>
                    <a:pt x="4" y="3711"/>
                    <a:pt x="4" y="3722"/>
                  </a:cubicBezTo>
                  <a:cubicBezTo>
                    <a:pt x="4" y="3733"/>
                    <a:pt x="0" y="3742"/>
                    <a:pt x="4" y="3749"/>
                  </a:cubicBezTo>
                  <a:cubicBezTo>
                    <a:pt x="9" y="3756"/>
                    <a:pt x="4" y="3776"/>
                    <a:pt x="13" y="3778"/>
                  </a:cubicBezTo>
                  <a:cubicBezTo>
                    <a:pt x="22" y="3781"/>
                    <a:pt x="26" y="3782"/>
                    <a:pt x="29" y="3789"/>
                  </a:cubicBezTo>
                  <a:cubicBezTo>
                    <a:pt x="31" y="3795"/>
                    <a:pt x="36" y="3811"/>
                    <a:pt x="36" y="3811"/>
                  </a:cubicBezTo>
                  <a:cubicBezTo>
                    <a:pt x="36" y="3811"/>
                    <a:pt x="38" y="3827"/>
                    <a:pt x="40" y="3833"/>
                  </a:cubicBezTo>
                  <a:cubicBezTo>
                    <a:pt x="43" y="3840"/>
                    <a:pt x="52" y="3847"/>
                    <a:pt x="52" y="3857"/>
                  </a:cubicBezTo>
                  <a:cubicBezTo>
                    <a:pt x="52" y="3866"/>
                    <a:pt x="52" y="3880"/>
                    <a:pt x="52" y="3880"/>
                  </a:cubicBezTo>
                  <a:cubicBezTo>
                    <a:pt x="52" y="3880"/>
                    <a:pt x="52" y="3904"/>
                    <a:pt x="52" y="3910"/>
                  </a:cubicBezTo>
                  <a:cubicBezTo>
                    <a:pt x="52" y="3917"/>
                    <a:pt x="55" y="3938"/>
                    <a:pt x="56" y="3944"/>
                  </a:cubicBezTo>
                  <a:cubicBezTo>
                    <a:pt x="57" y="3951"/>
                    <a:pt x="61" y="3960"/>
                    <a:pt x="60" y="3969"/>
                  </a:cubicBezTo>
                  <a:cubicBezTo>
                    <a:pt x="59" y="3978"/>
                    <a:pt x="51" y="4009"/>
                    <a:pt x="49" y="4013"/>
                  </a:cubicBezTo>
                  <a:cubicBezTo>
                    <a:pt x="48" y="4017"/>
                    <a:pt x="57" y="4097"/>
                    <a:pt x="56" y="4112"/>
                  </a:cubicBezTo>
                  <a:cubicBezTo>
                    <a:pt x="55" y="4128"/>
                    <a:pt x="65" y="4167"/>
                    <a:pt x="69" y="4175"/>
                  </a:cubicBezTo>
                  <a:cubicBezTo>
                    <a:pt x="73" y="4183"/>
                    <a:pt x="77" y="4200"/>
                    <a:pt x="77" y="4206"/>
                  </a:cubicBezTo>
                  <a:cubicBezTo>
                    <a:pt x="77" y="4213"/>
                    <a:pt x="78" y="4234"/>
                    <a:pt x="81" y="4239"/>
                  </a:cubicBezTo>
                  <a:cubicBezTo>
                    <a:pt x="83" y="4244"/>
                    <a:pt x="85" y="4261"/>
                    <a:pt x="85" y="4265"/>
                  </a:cubicBezTo>
                  <a:cubicBezTo>
                    <a:pt x="85" y="4269"/>
                    <a:pt x="83" y="4277"/>
                    <a:pt x="83" y="4281"/>
                  </a:cubicBezTo>
                  <a:cubicBezTo>
                    <a:pt x="83" y="4285"/>
                    <a:pt x="81" y="4286"/>
                    <a:pt x="81" y="4291"/>
                  </a:cubicBezTo>
                  <a:cubicBezTo>
                    <a:pt x="81" y="4296"/>
                    <a:pt x="81" y="4296"/>
                    <a:pt x="81" y="4296"/>
                  </a:cubicBezTo>
                  <a:cubicBezTo>
                    <a:pt x="81" y="4296"/>
                    <a:pt x="76" y="4304"/>
                    <a:pt x="69" y="4304"/>
                  </a:cubicBezTo>
                  <a:cubicBezTo>
                    <a:pt x="62" y="4304"/>
                    <a:pt x="57" y="4306"/>
                    <a:pt x="57" y="4306"/>
                  </a:cubicBezTo>
                  <a:cubicBezTo>
                    <a:pt x="57" y="4324"/>
                    <a:pt x="57" y="4324"/>
                    <a:pt x="57" y="4324"/>
                  </a:cubicBezTo>
                  <a:cubicBezTo>
                    <a:pt x="57" y="4324"/>
                    <a:pt x="59" y="4327"/>
                    <a:pt x="64" y="4332"/>
                  </a:cubicBezTo>
                  <a:cubicBezTo>
                    <a:pt x="69" y="4337"/>
                    <a:pt x="74" y="4337"/>
                    <a:pt x="78" y="4346"/>
                  </a:cubicBezTo>
                  <a:cubicBezTo>
                    <a:pt x="82" y="4355"/>
                    <a:pt x="83" y="4368"/>
                    <a:pt x="83" y="4368"/>
                  </a:cubicBezTo>
                  <a:cubicBezTo>
                    <a:pt x="83" y="4368"/>
                    <a:pt x="96" y="4387"/>
                    <a:pt x="100" y="4397"/>
                  </a:cubicBezTo>
                  <a:cubicBezTo>
                    <a:pt x="104" y="4407"/>
                    <a:pt x="108" y="4422"/>
                    <a:pt x="113" y="4426"/>
                  </a:cubicBezTo>
                  <a:cubicBezTo>
                    <a:pt x="119" y="4430"/>
                    <a:pt x="125" y="4431"/>
                    <a:pt x="128" y="4437"/>
                  </a:cubicBezTo>
                  <a:cubicBezTo>
                    <a:pt x="130" y="4444"/>
                    <a:pt x="130" y="4447"/>
                    <a:pt x="132" y="4452"/>
                  </a:cubicBezTo>
                  <a:cubicBezTo>
                    <a:pt x="133" y="4457"/>
                    <a:pt x="132" y="4464"/>
                    <a:pt x="132" y="4473"/>
                  </a:cubicBezTo>
                  <a:cubicBezTo>
                    <a:pt x="132" y="4482"/>
                    <a:pt x="130" y="4488"/>
                    <a:pt x="132" y="4496"/>
                  </a:cubicBezTo>
                  <a:cubicBezTo>
                    <a:pt x="133" y="4504"/>
                    <a:pt x="136" y="4507"/>
                    <a:pt x="134" y="4513"/>
                  </a:cubicBezTo>
                  <a:cubicBezTo>
                    <a:pt x="133" y="4520"/>
                    <a:pt x="133" y="4525"/>
                    <a:pt x="133" y="4529"/>
                  </a:cubicBezTo>
                  <a:cubicBezTo>
                    <a:pt x="133" y="4533"/>
                    <a:pt x="126" y="4539"/>
                    <a:pt x="129" y="4546"/>
                  </a:cubicBezTo>
                  <a:cubicBezTo>
                    <a:pt x="132" y="4552"/>
                    <a:pt x="137" y="4560"/>
                    <a:pt x="141" y="4560"/>
                  </a:cubicBezTo>
                  <a:cubicBezTo>
                    <a:pt x="145" y="4560"/>
                    <a:pt x="160" y="4572"/>
                    <a:pt x="159" y="4580"/>
                  </a:cubicBezTo>
                  <a:cubicBezTo>
                    <a:pt x="158" y="4588"/>
                    <a:pt x="168" y="4603"/>
                    <a:pt x="166" y="4608"/>
                  </a:cubicBezTo>
                  <a:cubicBezTo>
                    <a:pt x="163" y="4614"/>
                    <a:pt x="170" y="4623"/>
                    <a:pt x="173" y="4623"/>
                  </a:cubicBezTo>
                  <a:cubicBezTo>
                    <a:pt x="177" y="4623"/>
                    <a:pt x="181" y="4636"/>
                    <a:pt x="181" y="4640"/>
                  </a:cubicBezTo>
                  <a:cubicBezTo>
                    <a:pt x="181" y="4644"/>
                    <a:pt x="188" y="4652"/>
                    <a:pt x="185" y="4662"/>
                  </a:cubicBezTo>
                  <a:cubicBezTo>
                    <a:pt x="183" y="4672"/>
                    <a:pt x="180" y="4692"/>
                    <a:pt x="184" y="4693"/>
                  </a:cubicBezTo>
                  <a:cubicBezTo>
                    <a:pt x="188" y="4695"/>
                    <a:pt x="196" y="4699"/>
                    <a:pt x="200" y="4697"/>
                  </a:cubicBezTo>
                  <a:cubicBezTo>
                    <a:pt x="203" y="4696"/>
                    <a:pt x="214" y="4692"/>
                    <a:pt x="214" y="4683"/>
                  </a:cubicBezTo>
                  <a:cubicBezTo>
                    <a:pt x="214" y="4674"/>
                    <a:pt x="205" y="4680"/>
                    <a:pt x="214" y="4674"/>
                  </a:cubicBezTo>
                  <a:cubicBezTo>
                    <a:pt x="223" y="4667"/>
                    <a:pt x="224" y="4663"/>
                    <a:pt x="223" y="4653"/>
                  </a:cubicBezTo>
                  <a:cubicBezTo>
                    <a:pt x="222" y="4642"/>
                    <a:pt x="220" y="4636"/>
                    <a:pt x="215" y="4632"/>
                  </a:cubicBezTo>
                  <a:cubicBezTo>
                    <a:pt x="210" y="4628"/>
                    <a:pt x="214" y="4640"/>
                    <a:pt x="210" y="4628"/>
                  </a:cubicBezTo>
                  <a:cubicBezTo>
                    <a:pt x="206" y="4616"/>
                    <a:pt x="205" y="4611"/>
                    <a:pt x="205" y="4607"/>
                  </a:cubicBezTo>
                  <a:cubicBezTo>
                    <a:pt x="205" y="4603"/>
                    <a:pt x="202" y="4593"/>
                    <a:pt x="198" y="4590"/>
                  </a:cubicBezTo>
                  <a:cubicBezTo>
                    <a:pt x="194" y="4588"/>
                    <a:pt x="190" y="4586"/>
                    <a:pt x="185" y="4584"/>
                  </a:cubicBezTo>
                  <a:cubicBezTo>
                    <a:pt x="180" y="4581"/>
                    <a:pt x="171" y="4584"/>
                    <a:pt x="173" y="4576"/>
                  </a:cubicBezTo>
                  <a:cubicBezTo>
                    <a:pt x="176" y="4568"/>
                    <a:pt x="173" y="4567"/>
                    <a:pt x="176" y="4555"/>
                  </a:cubicBezTo>
                  <a:cubicBezTo>
                    <a:pt x="179" y="4543"/>
                    <a:pt x="179" y="4524"/>
                    <a:pt x="179" y="4517"/>
                  </a:cubicBezTo>
                  <a:cubicBezTo>
                    <a:pt x="179" y="4511"/>
                    <a:pt x="179" y="4509"/>
                    <a:pt x="173" y="4501"/>
                  </a:cubicBezTo>
                  <a:cubicBezTo>
                    <a:pt x="168" y="4494"/>
                    <a:pt x="163" y="4494"/>
                    <a:pt x="162" y="4484"/>
                  </a:cubicBezTo>
                  <a:cubicBezTo>
                    <a:pt x="160" y="4475"/>
                    <a:pt x="159" y="4469"/>
                    <a:pt x="160" y="4462"/>
                  </a:cubicBezTo>
                  <a:cubicBezTo>
                    <a:pt x="162" y="4456"/>
                    <a:pt x="162" y="4447"/>
                    <a:pt x="162" y="4440"/>
                  </a:cubicBezTo>
                  <a:cubicBezTo>
                    <a:pt x="162" y="4434"/>
                    <a:pt x="162" y="4411"/>
                    <a:pt x="162" y="4411"/>
                  </a:cubicBezTo>
                  <a:cubicBezTo>
                    <a:pt x="162" y="4411"/>
                    <a:pt x="154" y="4398"/>
                    <a:pt x="154" y="4390"/>
                  </a:cubicBezTo>
                  <a:cubicBezTo>
                    <a:pt x="154" y="4383"/>
                    <a:pt x="149" y="4372"/>
                    <a:pt x="149" y="4372"/>
                  </a:cubicBezTo>
                  <a:cubicBezTo>
                    <a:pt x="149" y="4372"/>
                    <a:pt x="141" y="4345"/>
                    <a:pt x="137" y="4332"/>
                  </a:cubicBezTo>
                  <a:cubicBezTo>
                    <a:pt x="133" y="4319"/>
                    <a:pt x="130" y="4313"/>
                    <a:pt x="130" y="4302"/>
                  </a:cubicBezTo>
                  <a:cubicBezTo>
                    <a:pt x="130" y="4290"/>
                    <a:pt x="133" y="4287"/>
                    <a:pt x="129" y="4276"/>
                  </a:cubicBezTo>
                  <a:cubicBezTo>
                    <a:pt x="125" y="4264"/>
                    <a:pt x="120" y="4255"/>
                    <a:pt x="121" y="4244"/>
                  </a:cubicBezTo>
                  <a:cubicBezTo>
                    <a:pt x="123" y="4234"/>
                    <a:pt x="120" y="4230"/>
                    <a:pt x="120" y="4222"/>
                  </a:cubicBezTo>
                  <a:cubicBezTo>
                    <a:pt x="120" y="4214"/>
                    <a:pt x="120" y="4208"/>
                    <a:pt x="117" y="4201"/>
                  </a:cubicBezTo>
                  <a:cubicBezTo>
                    <a:pt x="115" y="4195"/>
                    <a:pt x="120" y="4192"/>
                    <a:pt x="113" y="4188"/>
                  </a:cubicBezTo>
                  <a:cubicBezTo>
                    <a:pt x="107" y="4184"/>
                    <a:pt x="106" y="4174"/>
                    <a:pt x="106" y="4170"/>
                  </a:cubicBezTo>
                  <a:cubicBezTo>
                    <a:pt x="106" y="4166"/>
                    <a:pt x="99" y="4161"/>
                    <a:pt x="96" y="4156"/>
                  </a:cubicBezTo>
                  <a:cubicBezTo>
                    <a:pt x="94" y="4150"/>
                    <a:pt x="89" y="4148"/>
                    <a:pt x="90" y="4137"/>
                  </a:cubicBezTo>
                  <a:cubicBezTo>
                    <a:pt x="91" y="4127"/>
                    <a:pt x="90" y="4123"/>
                    <a:pt x="89" y="4112"/>
                  </a:cubicBezTo>
                  <a:cubicBezTo>
                    <a:pt x="87" y="4102"/>
                    <a:pt x="82" y="4093"/>
                    <a:pt x="85" y="4085"/>
                  </a:cubicBezTo>
                  <a:cubicBezTo>
                    <a:pt x="87" y="4077"/>
                    <a:pt x="91" y="4060"/>
                    <a:pt x="91" y="4055"/>
                  </a:cubicBezTo>
                  <a:cubicBezTo>
                    <a:pt x="91" y="4050"/>
                    <a:pt x="87" y="4041"/>
                    <a:pt x="87" y="4029"/>
                  </a:cubicBezTo>
                  <a:cubicBezTo>
                    <a:pt x="87" y="4017"/>
                    <a:pt x="91" y="3986"/>
                    <a:pt x="91" y="3986"/>
                  </a:cubicBezTo>
                  <a:cubicBezTo>
                    <a:pt x="91" y="3986"/>
                    <a:pt x="118" y="4009"/>
                    <a:pt x="125" y="4022"/>
                  </a:cubicBezTo>
                  <a:cubicBezTo>
                    <a:pt x="132" y="4036"/>
                    <a:pt x="138" y="4102"/>
                    <a:pt x="138" y="4143"/>
                  </a:cubicBezTo>
                  <a:cubicBezTo>
                    <a:pt x="138" y="4184"/>
                    <a:pt x="159" y="4243"/>
                    <a:pt x="159" y="4266"/>
                  </a:cubicBezTo>
                  <a:cubicBezTo>
                    <a:pt x="159" y="4288"/>
                    <a:pt x="184" y="4313"/>
                    <a:pt x="184" y="4327"/>
                  </a:cubicBezTo>
                  <a:cubicBezTo>
                    <a:pt x="184" y="4341"/>
                    <a:pt x="191" y="4363"/>
                    <a:pt x="195" y="4375"/>
                  </a:cubicBezTo>
                  <a:cubicBezTo>
                    <a:pt x="200" y="4386"/>
                    <a:pt x="218" y="4413"/>
                    <a:pt x="218" y="4420"/>
                  </a:cubicBezTo>
                  <a:cubicBezTo>
                    <a:pt x="218" y="4427"/>
                    <a:pt x="207" y="4461"/>
                    <a:pt x="216" y="4475"/>
                  </a:cubicBezTo>
                  <a:cubicBezTo>
                    <a:pt x="225" y="4489"/>
                    <a:pt x="243" y="4486"/>
                    <a:pt x="243" y="4500"/>
                  </a:cubicBezTo>
                  <a:cubicBezTo>
                    <a:pt x="243" y="4514"/>
                    <a:pt x="250" y="4541"/>
                    <a:pt x="248" y="4550"/>
                  </a:cubicBezTo>
                  <a:cubicBezTo>
                    <a:pt x="245" y="4559"/>
                    <a:pt x="261" y="4569"/>
                    <a:pt x="267" y="4575"/>
                  </a:cubicBezTo>
                  <a:cubicBezTo>
                    <a:pt x="272" y="4581"/>
                    <a:pt x="291" y="4611"/>
                    <a:pt x="304" y="4642"/>
                  </a:cubicBezTo>
                  <a:cubicBezTo>
                    <a:pt x="318" y="4674"/>
                    <a:pt x="335" y="4711"/>
                    <a:pt x="333" y="4726"/>
                  </a:cubicBezTo>
                  <a:cubicBezTo>
                    <a:pt x="332" y="4741"/>
                    <a:pt x="329" y="4767"/>
                    <a:pt x="333" y="4774"/>
                  </a:cubicBezTo>
                  <a:cubicBezTo>
                    <a:pt x="338" y="4782"/>
                    <a:pt x="351" y="4788"/>
                    <a:pt x="350" y="4803"/>
                  </a:cubicBezTo>
                  <a:cubicBezTo>
                    <a:pt x="348" y="4818"/>
                    <a:pt x="350" y="4841"/>
                    <a:pt x="347" y="4849"/>
                  </a:cubicBezTo>
                  <a:cubicBezTo>
                    <a:pt x="344" y="4856"/>
                    <a:pt x="341" y="4858"/>
                    <a:pt x="344" y="4865"/>
                  </a:cubicBezTo>
                  <a:cubicBezTo>
                    <a:pt x="347" y="4873"/>
                    <a:pt x="336" y="4874"/>
                    <a:pt x="336" y="4884"/>
                  </a:cubicBezTo>
                  <a:cubicBezTo>
                    <a:pt x="336" y="4893"/>
                    <a:pt x="335" y="4897"/>
                    <a:pt x="339" y="4908"/>
                  </a:cubicBezTo>
                  <a:cubicBezTo>
                    <a:pt x="344" y="4918"/>
                    <a:pt x="370" y="4955"/>
                    <a:pt x="374" y="4968"/>
                  </a:cubicBezTo>
                  <a:cubicBezTo>
                    <a:pt x="379" y="4982"/>
                    <a:pt x="394" y="4982"/>
                    <a:pt x="397" y="4993"/>
                  </a:cubicBezTo>
                  <a:cubicBezTo>
                    <a:pt x="400" y="5003"/>
                    <a:pt x="414" y="5015"/>
                    <a:pt x="415" y="5022"/>
                  </a:cubicBezTo>
                  <a:cubicBezTo>
                    <a:pt x="417" y="5028"/>
                    <a:pt x="418" y="5022"/>
                    <a:pt x="429" y="5037"/>
                  </a:cubicBezTo>
                  <a:cubicBezTo>
                    <a:pt x="439" y="5052"/>
                    <a:pt x="453" y="5050"/>
                    <a:pt x="464" y="5062"/>
                  </a:cubicBezTo>
                  <a:cubicBezTo>
                    <a:pt x="474" y="5075"/>
                    <a:pt x="492" y="5069"/>
                    <a:pt x="494" y="5078"/>
                  </a:cubicBezTo>
                  <a:cubicBezTo>
                    <a:pt x="495" y="5087"/>
                    <a:pt x="512" y="5100"/>
                    <a:pt x="521" y="5113"/>
                  </a:cubicBezTo>
                  <a:cubicBezTo>
                    <a:pt x="530" y="5125"/>
                    <a:pt x="559" y="5134"/>
                    <a:pt x="568" y="5146"/>
                  </a:cubicBezTo>
                  <a:cubicBezTo>
                    <a:pt x="577" y="5158"/>
                    <a:pt x="617" y="5179"/>
                    <a:pt x="626" y="5184"/>
                  </a:cubicBezTo>
                  <a:cubicBezTo>
                    <a:pt x="635" y="5188"/>
                    <a:pt x="659" y="5199"/>
                    <a:pt x="665" y="5205"/>
                  </a:cubicBezTo>
                  <a:cubicBezTo>
                    <a:pt x="671" y="5211"/>
                    <a:pt x="703" y="5223"/>
                    <a:pt x="709" y="5231"/>
                  </a:cubicBezTo>
                  <a:cubicBezTo>
                    <a:pt x="715" y="5238"/>
                    <a:pt x="734" y="5247"/>
                    <a:pt x="744" y="5244"/>
                  </a:cubicBezTo>
                  <a:cubicBezTo>
                    <a:pt x="755" y="5241"/>
                    <a:pt x="782" y="5223"/>
                    <a:pt x="787" y="5217"/>
                  </a:cubicBezTo>
                  <a:cubicBezTo>
                    <a:pt x="791" y="5211"/>
                    <a:pt x="800" y="5197"/>
                    <a:pt x="800" y="5197"/>
                  </a:cubicBezTo>
                  <a:cubicBezTo>
                    <a:pt x="800" y="5197"/>
                    <a:pt x="812" y="5193"/>
                    <a:pt x="815" y="5197"/>
                  </a:cubicBezTo>
                  <a:cubicBezTo>
                    <a:pt x="818" y="5202"/>
                    <a:pt x="835" y="5211"/>
                    <a:pt x="844" y="5210"/>
                  </a:cubicBezTo>
                  <a:cubicBezTo>
                    <a:pt x="853" y="5208"/>
                    <a:pt x="864" y="5222"/>
                    <a:pt x="872" y="5234"/>
                  </a:cubicBezTo>
                  <a:cubicBezTo>
                    <a:pt x="879" y="5246"/>
                    <a:pt x="943" y="5326"/>
                    <a:pt x="952" y="5343"/>
                  </a:cubicBezTo>
                  <a:cubicBezTo>
                    <a:pt x="961" y="5360"/>
                    <a:pt x="985" y="5364"/>
                    <a:pt x="993" y="5367"/>
                  </a:cubicBezTo>
                  <a:cubicBezTo>
                    <a:pt x="1000" y="5370"/>
                    <a:pt x="1020" y="5364"/>
                    <a:pt x="1028" y="5366"/>
                  </a:cubicBezTo>
                  <a:cubicBezTo>
                    <a:pt x="1035" y="5367"/>
                    <a:pt x="1055" y="5382"/>
                    <a:pt x="1061" y="5387"/>
                  </a:cubicBezTo>
                  <a:cubicBezTo>
                    <a:pt x="1067" y="5392"/>
                    <a:pt x="1105" y="5401"/>
                    <a:pt x="1111" y="5408"/>
                  </a:cubicBezTo>
                  <a:cubicBezTo>
                    <a:pt x="1117" y="5416"/>
                    <a:pt x="1137" y="5423"/>
                    <a:pt x="1145" y="5423"/>
                  </a:cubicBezTo>
                  <a:cubicBezTo>
                    <a:pt x="1152" y="5423"/>
                    <a:pt x="1178" y="5434"/>
                    <a:pt x="1179" y="5426"/>
                  </a:cubicBezTo>
                  <a:cubicBezTo>
                    <a:pt x="1181" y="5419"/>
                    <a:pt x="1181" y="5410"/>
                    <a:pt x="1187" y="5411"/>
                  </a:cubicBezTo>
                  <a:cubicBezTo>
                    <a:pt x="1193" y="5413"/>
                    <a:pt x="1210" y="5420"/>
                    <a:pt x="1205" y="5425"/>
                  </a:cubicBezTo>
                  <a:cubicBezTo>
                    <a:pt x="1201" y="5429"/>
                    <a:pt x="1199" y="5429"/>
                    <a:pt x="1195" y="5437"/>
                  </a:cubicBezTo>
                  <a:cubicBezTo>
                    <a:pt x="1190" y="5445"/>
                    <a:pt x="1192" y="5446"/>
                    <a:pt x="1198" y="5452"/>
                  </a:cubicBezTo>
                  <a:cubicBezTo>
                    <a:pt x="1204" y="5458"/>
                    <a:pt x="1217" y="5457"/>
                    <a:pt x="1220" y="5466"/>
                  </a:cubicBezTo>
                  <a:cubicBezTo>
                    <a:pt x="1223" y="5475"/>
                    <a:pt x="1240" y="5472"/>
                    <a:pt x="1246" y="5484"/>
                  </a:cubicBezTo>
                  <a:cubicBezTo>
                    <a:pt x="1252" y="5496"/>
                    <a:pt x="1257" y="5510"/>
                    <a:pt x="1264" y="5517"/>
                  </a:cubicBezTo>
                  <a:cubicBezTo>
                    <a:pt x="1272" y="5525"/>
                    <a:pt x="1275" y="5542"/>
                    <a:pt x="1284" y="5545"/>
                  </a:cubicBezTo>
                  <a:cubicBezTo>
                    <a:pt x="1293" y="5548"/>
                    <a:pt x="1308" y="5545"/>
                    <a:pt x="1308" y="5558"/>
                  </a:cubicBezTo>
                  <a:cubicBezTo>
                    <a:pt x="1308" y="5572"/>
                    <a:pt x="1310" y="5589"/>
                    <a:pt x="1308" y="5595"/>
                  </a:cubicBezTo>
                  <a:cubicBezTo>
                    <a:pt x="1307" y="5601"/>
                    <a:pt x="1317" y="5610"/>
                    <a:pt x="1317" y="5619"/>
                  </a:cubicBezTo>
                  <a:cubicBezTo>
                    <a:pt x="1317" y="5628"/>
                    <a:pt x="1317" y="5642"/>
                    <a:pt x="1325" y="5645"/>
                  </a:cubicBezTo>
                  <a:cubicBezTo>
                    <a:pt x="1333" y="5648"/>
                    <a:pt x="1349" y="5652"/>
                    <a:pt x="1352" y="5661"/>
                  </a:cubicBezTo>
                  <a:cubicBezTo>
                    <a:pt x="1355" y="5671"/>
                    <a:pt x="1357" y="5677"/>
                    <a:pt x="1363" y="5675"/>
                  </a:cubicBezTo>
                  <a:cubicBezTo>
                    <a:pt x="1369" y="5674"/>
                    <a:pt x="1378" y="5668"/>
                    <a:pt x="1383" y="5672"/>
                  </a:cubicBezTo>
                  <a:cubicBezTo>
                    <a:pt x="1387" y="5677"/>
                    <a:pt x="1421" y="5683"/>
                    <a:pt x="1428" y="5695"/>
                  </a:cubicBezTo>
                  <a:cubicBezTo>
                    <a:pt x="1436" y="5707"/>
                    <a:pt x="1457" y="5721"/>
                    <a:pt x="1455" y="5731"/>
                  </a:cubicBezTo>
                  <a:cubicBezTo>
                    <a:pt x="1454" y="5742"/>
                    <a:pt x="1451" y="5751"/>
                    <a:pt x="1458" y="5757"/>
                  </a:cubicBezTo>
                  <a:cubicBezTo>
                    <a:pt x="1466" y="5763"/>
                    <a:pt x="1478" y="5762"/>
                    <a:pt x="1483" y="5763"/>
                  </a:cubicBezTo>
                  <a:cubicBezTo>
                    <a:pt x="1487" y="5765"/>
                    <a:pt x="1499" y="5768"/>
                    <a:pt x="1499" y="5777"/>
                  </a:cubicBezTo>
                  <a:cubicBezTo>
                    <a:pt x="1499" y="5786"/>
                    <a:pt x="1507" y="5790"/>
                    <a:pt x="1511" y="5787"/>
                  </a:cubicBezTo>
                  <a:cubicBezTo>
                    <a:pt x="1516" y="5784"/>
                    <a:pt x="1531" y="5771"/>
                    <a:pt x="1536" y="5775"/>
                  </a:cubicBezTo>
                  <a:cubicBezTo>
                    <a:pt x="1540" y="5780"/>
                    <a:pt x="1577" y="5783"/>
                    <a:pt x="1577" y="5792"/>
                  </a:cubicBezTo>
                  <a:cubicBezTo>
                    <a:pt x="1577" y="5801"/>
                    <a:pt x="1583" y="5806"/>
                    <a:pt x="1590" y="5810"/>
                  </a:cubicBezTo>
                  <a:cubicBezTo>
                    <a:pt x="1598" y="5815"/>
                    <a:pt x="1606" y="5810"/>
                    <a:pt x="1610" y="5810"/>
                  </a:cubicBezTo>
                  <a:cubicBezTo>
                    <a:pt x="1615" y="5810"/>
                    <a:pt x="1622" y="5821"/>
                    <a:pt x="1624" y="5827"/>
                  </a:cubicBezTo>
                  <a:cubicBezTo>
                    <a:pt x="1625" y="5833"/>
                    <a:pt x="1640" y="5840"/>
                    <a:pt x="1645" y="5848"/>
                  </a:cubicBezTo>
                  <a:cubicBezTo>
                    <a:pt x="1649" y="5856"/>
                    <a:pt x="1657" y="5840"/>
                    <a:pt x="1668" y="5840"/>
                  </a:cubicBezTo>
                  <a:cubicBezTo>
                    <a:pt x="1678" y="5840"/>
                    <a:pt x="1672" y="5822"/>
                    <a:pt x="1680" y="5825"/>
                  </a:cubicBezTo>
                  <a:cubicBezTo>
                    <a:pt x="1687" y="5828"/>
                    <a:pt x="1693" y="5821"/>
                    <a:pt x="1690" y="5816"/>
                  </a:cubicBezTo>
                  <a:cubicBezTo>
                    <a:pt x="1687" y="5812"/>
                    <a:pt x="1663" y="5802"/>
                    <a:pt x="1663" y="5798"/>
                  </a:cubicBezTo>
                  <a:cubicBezTo>
                    <a:pt x="1663" y="5793"/>
                    <a:pt x="1657" y="5783"/>
                    <a:pt x="1657" y="5783"/>
                  </a:cubicBezTo>
                  <a:cubicBezTo>
                    <a:pt x="1657" y="5783"/>
                    <a:pt x="1654" y="5772"/>
                    <a:pt x="1663" y="5772"/>
                  </a:cubicBezTo>
                  <a:cubicBezTo>
                    <a:pt x="1672" y="5772"/>
                    <a:pt x="1684" y="5765"/>
                    <a:pt x="1686" y="5760"/>
                  </a:cubicBezTo>
                  <a:cubicBezTo>
                    <a:pt x="1687" y="5755"/>
                    <a:pt x="1695" y="5749"/>
                    <a:pt x="1693" y="5743"/>
                  </a:cubicBezTo>
                  <a:cubicBezTo>
                    <a:pt x="1692" y="5737"/>
                    <a:pt x="1696" y="5727"/>
                    <a:pt x="1696" y="5727"/>
                  </a:cubicBezTo>
                  <a:cubicBezTo>
                    <a:pt x="1696" y="5727"/>
                    <a:pt x="1698" y="5721"/>
                    <a:pt x="1706" y="5719"/>
                  </a:cubicBezTo>
                  <a:cubicBezTo>
                    <a:pt x="1713" y="5718"/>
                    <a:pt x="1716" y="5715"/>
                    <a:pt x="1724" y="5716"/>
                  </a:cubicBezTo>
                  <a:cubicBezTo>
                    <a:pt x="1731" y="5718"/>
                    <a:pt x="1740" y="5719"/>
                    <a:pt x="1743" y="5728"/>
                  </a:cubicBezTo>
                  <a:cubicBezTo>
                    <a:pt x="1747" y="5737"/>
                    <a:pt x="1754" y="5739"/>
                    <a:pt x="1759" y="5740"/>
                  </a:cubicBezTo>
                  <a:cubicBezTo>
                    <a:pt x="1763" y="5742"/>
                    <a:pt x="1772" y="5740"/>
                    <a:pt x="1774" y="5748"/>
                  </a:cubicBezTo>
                  <a:cubicBezTo>
                    <a:pt x="1775" y="5755"/>
                    <a:pt x="1786" y="5755"/>
                    <a:pt x="1781" y="5765"/>
                  </a:cubicBezTo>
                  <a:cubicBezTo>
                    <a:pt x="1777" y="5774"/>
                    <a:pt x="1792" y="5772"/>
                    <a:pt x="1784" y="5778"/>
                  </a:cubicBezTo>
                  <a:cubicBezTo>
                    <a:pt x="1777" y="5784"/>
                    <a:pt x="1765" y="5798"/>
                    <a:pt x="1772" y="5802"/>
                  </a:cubicBezTo>
                  <a:cubicBezTo>
                    <a:pt x="1780" y="5807"/>
                    <a:pt x="1803" y="5819"/>
                    <a:pt x="1803" y="5825"/>
                  </a:cubicBezTo>
                  <a:cubicBezTo>
                    <a:pt x="1803" y="5831"/>
                    <a:pt x="1815" y="5842"/>
                    <a:pt x="1822" y="5848"/>
                  </a:cubicBezTo>
                  <a:cubicBezTo>
                    <a:pt x="1830" y="5854"/>
                    <a:pt x="1850" y="5877"/>
                    <a:pt x="1848" y="5884"/>
                  </a:cubicBezTo>
                  <a:cubicBezTo>
                    <a:pt x="1847" y="5892"/>
                    <a:pt x="1860" y="5918"/>
                    <a:pt x="1862" y="5930"/>
                  </a:cubicBezTo>
                  <a:cubicBezTo>
                    <a:pt x="1863" y="5942"/>
                    <a:pt x="1871" y="5945"/>
                    <a:pt x="1866" y="5960"/>
                  </a:cubicBezTo>
                  <a:cubicBezTo>
                    <a:pt x="1862" y="5975"/>
                    <a:pt x="1865" y="5991"/>
                    <a:pt x="1866" y="5995"/>
                  </a:cubicBezTo>
                  <a:cubicBezTo>
                    <a:pt x="1868" y="6000"/>
                    <a:pt x="1878" y="6013"/>
                    <a:pt x="1878" y="6028"/>
                  </a:cubicBezTo>
                  <a:cubicBezTo>
                    <a:pt x="1878" y="6044"/>
                    <a:pt x="1880" y="6063"/>
                    <a:pt x="1888" y="6066"/>
                  </a:cubicBezTo>
                  <a:cubicBezTo>
                    <a:pt x="1895" y="6069"/>
                    <a:pt x="1909" y="6071"/>
                    <a:pt x="1904" y="6080"/>
                  </a:cubicBezTo>
                  <a:cubicBezTo>
                    <a:pt x="1900" y="6089"/>
                    <a:pt x="1895" y="6095"/>
                    <a:pt x="1894" y="6100"/>
                  </a:cubicBezTo>
                  <a:cubicBezTo>
                    <a:pt x="1892" y="6104"/>
                    <a:pt x="1885" y="6113"/>
                    <a:pt x="1885" y="6121"/>
                  </a:cubicBezTo>
                  <a:cubicBezTo>
                    <a:pt x="1885" y="6128"/>
                    <a:pt x="1880" y="6133"/>
                    <a:pt x="1878" y="6139"/>
                  </a:cubicBezTo>
                  <a:cubicBezTo>
                    <a:pt x="1877" y="6145"/>
                    <a:pt x="1874" y="6153"/>
                    <a:pt x="1874" y="6153"/>
                  </a:cubicBezTo>
                  <a:cubicBezTo>
                    <a:pt x="1863" y="6162"/>
                    <a:pt x="1863" y="6162"/>
                    <a:pt x="1863" y="6162"/>
                  </a:cubicBezTo>
                  <a:cubicBezTo>
                    <a:pt x="1863" y="6162"/>
                    <a:pt x="1847" y="6162"/>
                    <a:pt x="1847" y="6162"/>
                  </a:cubicBezTo>
                  <a:cubicBezTo>
                    <a:pt x="1841" y="6162"/>
                    <a:pt x="1838" y="6162"/>
                    <a:pt x="1834" y="6168"/>
                  </a:cubicBezTo>
                  <a:cubicBezTo>
                    <a:pt x="1834" y="6168"/>
                    <a:pt x="1834" y="6184"/>
                    <a:pt x="1836" y="6187"/>
                  </a:cubicBezTo>
                  <a:cubicBezTo>
                    <a:pt x="1838" y="6190"/>
                    <a:pt x="1841" y="6199"/>
                    <a:pt x="1838" y="6202"/>
                  </a:cubicBezTo>
                  <a:cubicBezTo>
                    <a:pt x="1835" y="6206"/>
                    <a:pt x="1824" y="6206"/>
                    <a:pt x="1827" y="6221"/>
                  </a:cubicBezTo>
                  <a:cubicBezTo>
                    <a:pt x="1831" y="6235"/>
                    <a:pt x="1841" y="6251"/>
                    <a:pt x="1832" y="6252"/>
                  </a:cubicBezTo>
                  <a:cubicBezTo>
                    <a:pt x="1823" y="6254"/>
                    <a:pt x="1815" y="6254"/>
                    <a:pt x="1803" y="6260"/>
                  </a:cubicBezTo>
                  <a:cubicBezTo>
                    <a:pt x="1803" y="6260"/>
                    <a:pt x="1794" y="6275"/>
                    <a:pt x="1785" y="6275"/>
                  </a:cubicBezTo>
                  <a:cubicBezTo>
                    <a:pt x="1776" y="6275"/>
                    <a:pt x="1773" y="6281"/>
                    <a:pt x="1774" y="6289"/>
                  </a:cubicBezTo>
                  <a:cubicBezTo>
                    <a:pt x="1775" y="6297"/>
                    <a:pt x="1790" y="6309"/>
                    <a:pt x="1784" y="6314"/>
                  </a:cubicBezTo>
                  <a:cubicBezTo>
                    <a:pt x="1778" y="6318"/>
                    <a:pt x="1785" y="6334"/>
                    <a:pt x="1780" y="6338"/>
                  </a:cubicBezTo>
                  <a:cubicBezTo>
                    <a:pt x="1774" y="6341"/>
                    <a:pt x="1766" y="6347"/>
                    <a:pt x="1767" y="6355"/>
                  </a:cubicBezTo>
                  <a:cubicBezTo>
                    <a:pt x="1768" y="6363"/>
                    <a:pt x="1778" y="6375"/>
                    <a:pt x="1772" y="6380"/>
                  </a:cubicBezTo>
                  <a:cubicBezTo>
                    <a:pt x="1765" y="6384"/>
                    <a:pt x="1764" y="6397"/>
                    <a:pt x="1760" y="6399"/>
                  </a:cubicBezTo>
                  <a:cubicBezTo>
                    <a:pt x="1757" y="6401"/>
                    <a:pt x="1772" y="6407"/>
                    <a:pt x="1769" y="6420"/>
                  </a:cubicBezTo>
                  <a:cubicBezTo>
                    <a:pt x="1767" y="6432"/>
                    <a:pt x="1780" y="6442"/>
                    <a:pt x="1777" y="6452"/>
                  </a:cubicBezTo>
                  <a:cubicBezTo>
                    <a:pt x="1775" y="6461"/>
                    <a:pt x="1776" y="6480"/>
                    <a:pt x="1781" y="6486"/>
                  </a:cubicBezTo>
                  <a:cubicBezTo>
                    <a:pt x="1785" y="6491"/>
                    <a:pt x="1795" y="6499"/>
                    <a:pt x="1808" y="6500"/>
                  </a:cubicBezTo>
                  <a:cubicBezTo>
                    <a:pt x="1820" y="6502"/>
                    <a:pt x="1824" y="6515"/>
                    <a:pt x="1831" y="6506"/>
                  </a:cubicBezTo>
                  <a:cubicBezTo>
                    <a:pt x="1838" y="6497"/>
                    <a:pt x="1850" y="6491"/>
                    <a:pt x="1850" y="6502"/>
                  </a:cubicBezTo>
                  <a:cubicBezTo>
                    <a:pt x="1850" y="6512"/>
                    <a:pt x="1858" y="6542"/>
                    <a:pt x="1845" y="6544"/>
                  </a:cubicBezTo>
                  <a:cubicBezTo>
                    <a:pt x="1833" y="6545"/>
                    <a:pt x="1823" y="6547"/>
                    <a:pt x="1817" y="6558"/>
                  </a:cubicBezTo>
                  <a:cubicBezTo>
                    <a:pt x="1811" y="6570"/>
                    <a:pt x="1807" y="6583"/>
                    <a:pt x="1794" y="6594"/>
                  </a:cubicBezTo>
                  <a:cubicBezTo>
                    <a:pt x="1782" y="6604"/>
                    <a:pt x="1797" y="6627"/>
                    <a:pt x="1803" y="6640"/>
                  </a:cubicBezTo>
                  <a:cubicBezTo>
                    <a:pt x="1810" y="6654"/>
                    <a:pt x="1814" y="6669"/>
                    <a:pt x="1825" y="6674"/>
                  </a:cubicBezTo>
                  <a:cubicBezTo>
                    <a:pt x="1836" y="6680"/>
                    <a:pt x="1858" y="6699"/>
                    <a:pt x="1845" y="6703"/>
                  </a:cubicBezTo>
                  <a:cubicBezTo>
                    <a:pt x="1833" y="6706"/>
                    <a:pt x="1830" y="6719"/>
                    <a:pt x="1836" y="6721"/>
                  </a:cubicBezTo>
                  <a:cubicBezTo>
                    <a:pt x="1843" y="6723"/>
                    <a:pt x="1866" y="6728"/>
                    <a:pt x="1872" y="6738"/>
                  </a:cubicBezTo>
                  <a:cubicBezTo>
                    <a:pt x="1877" y="6748"/>
                    <a:pt x="1893" y="6755"/>
                    <a:pt x="1906" y="6760"/>
                  </a:cubicBezTo>
                  <a:cubicBezTo>
                    <a:pt x="1918" y="6764"/>
                    <a:pt x="1933" y="6767"/>
                    <a:pt x="1938" y="6779"/>
                  </a:cubicBezTo>
                  <a:cubicBezTo>
                    <a:pt x="1942" y="6792"/>
                    <a:pt x="1947" y="6801"/>
                    <a:pt x="1948" y="6812"/>
                  </a:cubicBezTo>
                  <a:cubicBezTo>
                    <a:pt x="1949" y="6823"/>
                    <a:pt x="1961" y="6826"/>
                    <a:pt x="1968" y="6835"/>
                  </a:cubicBezTo>
                  <a:cubicBezTo>
                    <a:pt x="1975" y="6844"/>
                    <a:pt x="1996" y="6842"/>
                    <a:pt x="2014" y="6868"/>
                  </a:cubicBezTo>
                  <a:cubicBezTo>
                    <a:pt x="2032" y="6894"/>
                    <a:pt x="2097" y="6978"/>
                    <a:pt x="2145" y="7027"/>
                  </a:cubicBezTo>
                  <a:cubicBezTo>
                    <a:pt x="2192" y="7076"/>
                    <a:pt x="2264" y="7163"/>
                    <a:pt x="2272" y="7179"/>
                  </a:cubicBezTo>
                  <a:cubicBezTo>
                    <a:pt x="2280" y="7195"/>
                    <a:pt x="2310" y="7237"/>
                    <a:pt x="2321" y="7246"/>
                  </a:cubicBezTo>
                  <a:cubicBezTo>
                    <a:pt x="2332" y="7256"/>
                    <a:pt x="2596" y="7381"/>
                    <a:pt x="2614" y="7394"/>
                  </a:cubicBezTo>
                  <a:cubicBezTo>
                    <a:pt x="2632" y="7408"/>
                    <a:pt x="2631" y="7420"/>
                    <a:pt x="2645" y="7428"/>
                  </a:cubicBezTo>
                  <a:cubicBezTo>
                    <a:pt x="2659" y="7436"/>
                    <a:pt x="2704" y="7441"/>
                    <a:pt x="2706" y="7452"/>
                  </a:cubicBezTo>
                  <a:cubicBezTo>
                    <a:pt x="2709" y="7464"/>
                    <a:pt x="2710" y="7481"/>
                    <a:pt x="2713" y="7492"/>
                  </a:cubicBezTo>
                  <a:cubicBezTo>
                    <a:pt x="2717" y="7504"/>
                    <a:pt x="2734" y="7526"/>
                    <a:pt x="2741" y="7532"/>
                  </a:cubicBezTo>
                  <a:cubicBezTo>
                    <a:pt x="2747" y="7538"/>
                    <a:pt x="2755" y="7552"/>
                    <a:pt x="2755" y="7564"/>
                  </a:cubicBezTo>
                  <a:cubicBezTo>
                    <a:pt x="2755" y="7575"/>
                    <a:pt x="2764" y="7602"/>
                    <a:pt x="2772" y="7610"/>
                  </a:cubicBezTo>
                  <a:cubicBezTo>
                    <a:pt x="2780" y="7618"/>
                    <a:pt x="2791" y="7626"/>
                    <a:pt x="2789" y="7638"/>
                  </a:cubicBezTo>
                  <a:cubicBezTo>
                    <a:pt x="2788" y="7649"/>
                    <a:pt x="2802" y="7677"/>
                    <a:pt x="2802" y="7698"/>
                  </a:cubicBezTo>
                  <a:cubicBezTo>
                    <a:pt x="2802" y="7719"/>
                    <a:pt x="2814" y="7768"/>
                    <a:pt x="2826" y="7787"/>
                  </a:cubicBezTo>
                  <a:cubicBezTo>
                    <a:pt x="2838" y="7807"/>
                    <a:pt x="2863" y="7819"/>
                    <a:pt x="2858" y="7836"/>
                  </a:cubicBezTo>
                  <a:cubicBezTo>
                    <a:pt x="2854" y="7853"/>
                    <a:pt x="2847" y="7863"/>
                    <a:pt x="2855" y="7872"/>
                  </a:cubicBezTo>
                  <a:cubicBezTo>
                    <a:pt x="2863" y="7881"/>
                    <a:pt x="2882" y="7875"/>
                    <a:pt x="2881" y="7898"/>
                  </a:cubicBezTo>
                  <a:cubicBezTo>
                    <a:pt x="2879" y="7921"/>
                    <a:pt x="2888" y="7939"/>
                    <a:pt x="2890" y="7963"/>
                  </a:cubicBezTo>
                  <a:cubicBezTo>
                    <a:pt x="2891" y="7988"/>
                    <a:pt x="2893" y="8029"/>
                    <a:pt x="2901" y="8033"/>
                  </a:cubicBezTo>
                  <a:cubicBezTo>
                    <a:pt x="2908" y="8038"/>
                    <a:pt x="2937" y="8080"/>
                    <a:pt x="2934" y="8097"/>
                  </a:cubicBezTo>
                  <a:cubicBezTo>
                    <a:pt x="2931" y="8113"/>
                    <a:pt x="2951" y="8126"/>
                    <a:pt x="2955" y="8129"/>
                  </a:cubicBezTo>
                  <a:cubicBezTo>
                    <a:pt x="2960" y="8132"/>
                    <a:pt x="3010" y="8204"/>
                    <a:pt x="3026" y="8248"/>
                  </a:cubicBezTo>
                  <a:cubicBezTo>
                    <a:pt x="3043" y="8292"/>
                    <a:pt x="3058" y="8336"/>
                    <a:pt x="3058" y="8355"/>
                  </a:cubicBezTo>
                  <a:cubicBezTo>
                    <a:pt x="3058" y="8373"/>
                    <a:pt x="3075" y="8406"/>
                    <a:pt x="3070" y="8417"/>
                  </a:cubicBezTo>
                  <a:cubicBezTo>
                    <a:pt x="3066" y="8427"/>
                    <a:pt x="3058" y="8440"/>
                    <a:pt x="3066" y="8447"/>
                  </a:cubicBezTo>
                  <a:cubicBezTo>
                    <a:pt x="3073" y="8455"/>
                    <a:pt x="3134" y="8487"/>
                    <a:pt x="3152" y="8531"/>
                  </a:cubicBezTo>
                  <a:cubicBezTo>
                    <a:pt x="3170" y="8574"/>
                    <a:pt x="3224" y="8618"/>
                    <a:pt x="3231" y="8634"/>
                  </a:cubicBezTo>
                  <a:cubicBezTo>
                    <a:pt x="3239" y="8649"/>
                    <a:pt x="3245" y="8638"/>
                    <a:pt x="3249" y="8638"/>
                  </a:cubicBezTo>
                  <a:cubicBezTo>
                    <a:pt x="3254" y="8638"/>
                    <a:pt x="3251" y="8618"/>
                    <a:pt x="3260" y="8629"/>
                  </a:cubicBezTo>
                  <a:cubicBezTo>
                    <a:pt x="3269" y="8640"/>
                    <a:pt x="3305" y="8685"/>
                    <a:pt x="3316" y="8700"/>
                  </a:cubicBezTo>
                  <a:cubicBezTo>
                    <a:pt x="3327" y="8716"/>
                    <a:pt x="3331" y="8743"/>
                    <a:pt x="3345" y="8741"/>
                  </a:cubicBezTo>
                  <a:cubicBezTo>
                    <a:pt x="3358" y="8740"/>
                    <a:pt x="3377" y="8729"/>
                    <a:pt x="3377" y="8741"/>
                  </a:cubicBezTo>
                  <a:cubicBezTo>
                    <a:pt x="3377" y="8753"/>
                    <a:pt x="3381" y="8773"/>
                    <a:pt x="3384" y="8785"/>
                  </a:cubicBezTo>
                  <a:cubicBezTo>
                    <a:pt x="3387" y="8797"/>
                    <a:pt x="3409" y="8805"/>
                    <a:pt x="3398" y="8807"/>
                  </a:cubicBezTo>
                  <a:cubicBezTo>
                    <a:pt x="3387" y="8808"/>
                    <a:pt x="3366" y="8802"/>
                    <a:pt x="3369" y="8807"/>
                  </a:cubicBezTo>
                  <a:cubicBezTo>
                    <a:pt x="3372" y="8811"/>
                    <a:pt x="3377" y="8822"/>
                    <a:pt x="3383" y="8825"/>
                  </a:cubicBezTo>
                  <a:cubicBezTo>
                    <a:pt x="3389" y="8828"/>
                    <a:pt x="3402" y="8822"/>
                    <a:pt x="3409" y="8834"/>
                  </a:cubicBezTo>
                  <a:cubicBezTo>
                    <a:pt x="3415" y="8846"/>
                    <a:pt x="3419" y="8831"/>
                    <a:pt x="3427" y="8837"/>
                  </a:cubicBezTo>
                  <a:cubicBezTo>
                    <a:pt x="3434" y="8843"/>
                    <a:pt x="3437" y="8852"/>
                    <a:pt x="3442" y="8857"/>
                  </a:cubicBezTo>
                  <a:cubicBezTo>
                    <a:pt x="3446" y="8861"/>
                    <a:pt x="3451" y="8873"/>
                    <a:pt x="3463" y="8873"/>
                  </a:cubicBezTo>
                  <a:cubicBezTo>
                    <a:pt x="3475" y="8873"/>
                    <a:pt x="3487" y="8867"/>
                    <a:pt x="3489" y="8873"/>
                  </a:cubicBezTo>
                  <a:cubicBezTo>
                    <a:pt x="3490" y="8879"/>
                    <a:pt x="3486" y="8890"/>
                    <a:pt x="3492" y="8896"/>
                  </a:cubicBezTo>
                  <a:cubicBezTo>
                    <a:pt x="3498" y="8902"/>
                    <a:pt x="3509" y="8905"/>
                    <a:pt x="3518" y="8914"/>
                  </a:cubicBezTo>
                  <a:cubicBezTo>
                    <a:pt x="3527" y="8923"/>
                    <a:pt x="3601" y="8982"/>
                    <a:pt x="3616" y="8991"/>
                  </a:cubicBezTo>
                  <a:cubicBezTo>
                    <a:pt x="3631" y="9001"/>
                    <a:pt x="3648" y="9002"/>
                    <a:pt x="3656" y="9011"/>
                  </a:cubicBezTo>
                  <a:cubicBezTo>
                    <a:pt x="3663" y="9020"/>
                    <a:pt x="3675" y="9020"/>
                    <a:pt x="3681" y="9022"/>
                  </a:cubicBezTo>
                  <a:cubicBezTo>
                    <a:pt x="3688" y="9023"/>
                    <a:pt x="3704" y="9023"/>
                    <a:pt x="3712" y="9037"/>
                  </a:cubicBezTo>
                  <a:cubicBezTo>
                    <a:pt x="3719" y="9051"/>
                    <a:pt x="3732" y="9043"/>
                    <a:pt x="3747" y="9055"/>
                  </a:cubicBezTo>
                  <a:cubicBezTo>
                    <a:pt x="3762" y="9067"/>
                    <a:pt x="3769" y="9073"/>
                    <a:pt x="3783" y="9078"/>
                  </a:cubicBezTo>
                  <a:cubicBezTo>
                    <a:pt x="3797" y="9082"/>
                    <a:pt x="3812" y="9087"/>
                    <a:pt x="3816" y="9076"/>
                  </a:cubicBezTo>
                  <a:cubicBezTo>
                    <a:pt x="3821" y="9066"/>
                    <a:pt x="3824" y="9055"/>
                    <a:pt x="3829" y="9058"/>
                  </a:cubicBezTo>
                  <a:cubicBezTo>
                    <a:pt x="3833" y="9061"/>
                    <a:pt x="3845" y="9072"/>
                    <a:pt x="3839" y="9079"/>
                  </a:cubicBezTo>
                  <a:cubicBezTo>
                    <a:pt x="3833" y="9087"/>
                    <a:pt x="3835" y="9096"/>
                    <a:pt x="3841" y="9098"/>
                  </a:cubicBezTo>
                  <a:cubicBezTo>
                    <a:pt x="3847" y="9099"/>
                    <a:pt x="3876" y="9096"/>
                    <a:pt x="3882" y="9096"/>
                  </a:cubicBezTo>
                  <a:cubicBezTo>
                    <a:pt x="3888" y="9096"/>
                    <a:pt x="3903" y="9104"/>
                    <a:pt x="3907" y="9107"/>
                  </a:cubicBezTo>
                  <a:cubicBezTo>
                    <a:pt x="3912" y="9110"/>
                    <a:pt x="3941" y="9117"/>
                    <a:pt x="3944" y="9113"/>
                  </a:cubicBezTo>
                  <a:cubicBezTo>
                    <a:pt x="3947" y="9108"/>
                    <a:pt x="3930" y="9101"/>
                    <a:pt x="3941" y="9102"/>
                  </a:cubicBezTo>
                  <a:cubicBezTo>
                    <a:pt x="3951" y="9104"/>
                    <a:pt x="3965" y="9102"/>
                    <a:pt x="3965" y="9102"/>
                  </a:cubicBezTo>
                  <a:cubicBezTo>
                    <a:pt x="3977" y="9095"/>
                    <a:pt x="3977" y="9095"/>
                    <a:pt x="3977" y="9095"/>
                  </a:cubicBezTo>
                  <a:cubicBezTo>
                    <a:pt x="3951" y="9086"/>
                    <a:pt x="3951" y="9086"/>
                    <a:pt x="3951" y="9086"/>
                  </a:cubicBezTo>
                  <a:cubicBezTo>
                    <a:pt x="3920" y="9086"/>
                    <a:pt x="3920" y="9086"/>
                    <a:pt x="3920" y="9086"/>
                  </a:cubicBezTo>
                  <a:cubicBezTo>
                    <a:pt x="3903" y="9072"/>
                    <a:pt x="3903" y="9072"/>
                    <a:pt x="3903" y="9072"/>
                  </a:cubicBezTo>
                  <a:cubicBezTo>
                    <a:pt x="3903" y="9072"/>
                    <a:pt x="3891" y="9069"/>
                    <a:pt x="3886" y="9069"/>
                  </a:cubicBezTo>
                  <a:cubicBezTo>
                    <a:pt x="3882" y="9069"/>
                    <a:pt x="3876" y="9066"/>
                    <a:pt x="3876" y="9066"/>
                  </a:cubicBezTo>
                  <a:cubicBezTo>
                    <a:pt x="3863" y="9058"/>
                    <a:pt x="3863" y="9058"/>
                    <a:pt x="3863" y="9058"/>
                  </a:cubicBezTo>
                  <a:cubicBezTo>
                    <a:pt x="3850" y="9052"/>
                    <a:pt x="3850" y="9052"/>
                    <a:pt x="3850" y="9052"/>
                  </a:cubicBezTo>
                  <a:cubicBezTo>
                    <a:pt x="3829" y="9034"/>
                    <a:pt x="3829" y="9034"/>
                    <a:pt x="3829" y="9034"/>
                  </a:cubicBezTo>
                  <a:cubicBezTo>
                    <a:pt x="3801" y="9029"/>
                    <a:pt x="3801" y="9029"/>
                    <a:pt x="3801" y="9029"/>
                  </a:cubicBezTo>
                  <a:cubicBezTo>
                    <a:pt x="3792" y="9020"/>
                    <a:pt x="3792" y="9020"/>
                    <a:pt x="3792" y="9020"/>
                  </a:cubicBezTo>
                  <a:cubicBezTo>
                    <a:pt x="3791" y="9008"/>
                    <a:pt x="3791" y="9008"/>
                    <a:pt x="3791" y="9008"/>
                  </a:cubicBezTo>
                  <a:cubicBezTo>
                    <a:pt x="3791" y="9008"/>
                    <a:pt x="3774" y="8999"/>
                    <a:pt x="3766" y="9001"/>
                  </a:cubicBezTo>
                  <a:cubicBezTo>
                    <a:pt x="3759" y="9002"/>
                    <a:pt x="3733" y="8979"/>
                    <a:pt x="3733" y="8979"/>
                  </a:cubicBezTo>
                  <a:cubicBezTo>
                    <a:pt x="3718" y="8961"/>
                    <a:pt x="3718" y="8961"/>
                    <a:pt x="3718" y="8961"/>
                  </a:cubicBezTo>
                  <a:cubicBezTo>
                    <a:pt x="3718" y="8961"/>
                    <a:pt x="3733" y="8938"/>
                    <a:pt x="3724" y="8932"/>
                  </a:cubicBezTo>
                  <a:cubicBezTo>
                    <a:pt x="3715" y="8926"/>
                    <a:pt x="3700" y="8917"/>
                    <a:pt x="3701" y="8911"/>
                  </a:cubicBezTo>
                  <a:cubicBezTo>
                    <a:pt x="3703" y="8905"/>
                    <a:pt x="3710" y="8888"/>
                    <a:pt x="3710" y="8888"/>
                  </a:cubicBezTo>
                  <a:cubicBezTo>
                    <a:pt x="3706" y="8863"/>
                    <a:pt x="3706" y="8863"/>
                    <a:pt x="3706" y="8863"/>
                  </a:cubicBezTo>
                  <a:cubicBezTo>
                    <a:pt x="3706" y="8863"/>
                    <a:pt x="3681" y="8840"/>
                    <a:pt x="3672" y="8840"/>
                  </a:cubicBezTo>
                  <a:cubicBezTo>
                    <a:pt x="3663" y="8840"/>
                    <a:pt x="3633" y="8826"/>
                    <a:pt x="3628" y="8825"/>
                  </a:cubicBezTo>
                  <a:cubicBezTo>
                    <a:pt x="3624" y="8823"/>
                    <a:pt x="3597" y="8816"/>
                    <a:pt x="3590" y="8813"/>
                  </a:cubicBezTo>
                  <a:cubicBezTo>
                    <a:pt x="3584" y="8810"/>
                    <a:pt x="3583" y="8797"/>
                    <a:pt x="3584" y="8793"/>
                  </a:cubicBezTo>
                  <a:cubicBezTo>
                    <a:pt x="3586" y="8788"/>
                    <a:pt x="3587" y="8770"/>
                    <a:pt x="3587" y="8770"/>
                  </a:cubicBezTo>
                  <a:cubicBezTo>
                    <a:pt x="3587" y="8770"/>
                    <a:pt x="3597" y="8770"/>
                    <a:pt x="3604" y="8770"/>
                  </a:cubicBezTo>
                  <a:cubicBezTo>
                    <a:pt x="3612" y="8770"/>
                    <a:pt x="3622" y="8772"/>
                    <a:pt x="3622" y="8767"/>
                  </a:cubicBezTo>
                  <a:cubicBezTo>
                    <a:pt x="3622" y="8763"/>
                    <a:pt x="3621" y="8750"/>
                    <a:pt x="3621" y="8750"/>
                  </a:cubicBezTo>
                  <a:cubicBezTo>
                    <a:pt x="3621" y="8750"/>
                    <a:pt x="3613" y="8731"/>
                    <a:pt x="3609" y="8731"/>
                  </a:cubicBezTo>
                  <a:cubicBezTo>
                    <a:pt x="3604" y="8731"/>
                    <a:pt x="3595" y="8712"/>
                    <a:pt x="3595" y="8712"/>
                  </a:cubicBezTo>
                  <a:cubicBezTo>
                    <a:pt x="3587" y="8688"/>
                    <a:pt x="3587" y="8688"/>
                    <a:pt x="3587" y="8688"/>
                  </a:cubicBezTo>
                  <a:cubicBezTo>
                    <a:pt x="3594" y="8676"/>
                    <a:pt x="3592" y="8665"/>
                    <a:pt x="3601" y="8673"/>
                  </a:cubicBezTo>
                  <a:cubicBezTo>
                    <a:pt x="3610" y="8681"/>
                    <a:pt x="3627" y="8678"/>
                    <a:pt x="3625" y="8672"/>
                  </a:cubicBezTo>
                  <a:cubicBezTo>
                    <a:pt x="3624" y="8665"/>
                    <a:pt x="3618" y="8650"/>
                    <a:pt x="3618" y="8650"/>
                  </a:cubicBezTo>
                  <a:cubicBezTo>
                    <a:pt x="3618" y="8650"/>
                    <a:pt x="3600" y="8646"/>
                    <a:pt x="3600" y="8641"/>
                  </a:cubicBezTo>
                  <a:cubicBezTo>
                    <a:pt x="3600" y="8637"/>
                    <a:pt x="3589" y="8640"/>
                    <a:pt x="3586" y="8644"/>
                  </a:cubicBezTo>
                  <a:cubicBezTo>
                    <a:pt x="3583" y="8649"/>
                    <a:pt x="3587" y="8652"/>
                    <a:pt x="3583" y="8655"/>
                  </a:cubicBezTo>
                  <a:cubicBezTo>
                    <a:pt x="3578" y="8658"/>
                    <a:pt x="3572" y="8662"/>
                    <a:pt x="3569" y="8658"/>
                  </a:cubicBezTo>
                  <a:cubicBezTo>
                    <a:pt x="3566" y="8653"/>
                    <a:pt x="3565" y="8646"/>
                    <a:pt x="3557" y="8644"/>
                  </a:cubicBezTo>
                  <a:cubicBezTo>
                    <a:pt x="3550" y="8643"/>
                    <a:pt x="3539" y="8647"/>
                    <a:pt x="3539" y="8640"/>
                  </a:cubicBezTo>
                  <a:cubicBezTo>
                    <a:pt x="3539" y="8632"/>
                    <a:pt x="3530" y="8623"/>
                    <a:pt x="3528" y="8617"/>
                  </a:cubicBezTo>
                  <a:cubicBezTo>
                    <a:pt x="3527" y="8611"/>
                    <a:pt x="3515" y="8605"/>
                    <a:pt x="3515" y="8599"/>
                  </a:cubicBezTo>
                  <a:cubicBezTo>
                    <a:pt x="3515" y="8593"/>
                    <a:pt x="3515" y="8581"/>
                    <a:pt x="3519" y="8584"/>
                  </a:cubicBezTo>
                  <a:cubicBezTo>
                    <a:pt x="3524" y="8587"/>
                    <a:pt x="3542" y="8594"/>
                    <a:pt x="3542" y="8594"/>
                  </a:cubicBezTo>
                  <a:cubicBezTo>
                    <a:pt x="3542" y="8594"/>
                    <a:pt x="3550" y="8608"/>
                    <a:pt x="3556" y="8608"/>
                  </a:cubicBezTo>
                  <a:cubicBezTo>
                    <a:pt x="3562" y="8608"/>
                    <a:pt x="3575" y="8609"/>
                    <a:pt x="3581" y="8609"/>
                  </a:cubicBezTo>
                  <a:cubicBezTo>
                    <a:pt x="3587" y="8609"/>
                    <a:pt x="3609" y="8609"/>
                    <a:pt x="3609" y="8609"/>
                  </a:cubicBezTo>
                  <a:cubicBezTo>
                    <a:pt x="3621" y="8605"/>
                    <a:pt x="3621" y="8605"/>
                    <a:pt x="3621" y="8605"/>
                  </a:cubicBezTo>
                  <a:cubicBezTo>
                    <a:pt x="3630" y="8594"/>
                    <a:pt x="3625" y="8582"/>
                    <a:pt x="3625" y="8582"/>
                  </a:cubicBezTo>
                  <a:cubicBezTo>
                    <a:pt x="3609" y="8570"/>
                    <a:pt x="3609" y="8570"/>
                    <a:pt x="3609" y="8570"/>
                  </a:cubicBezTo>
                  <a:cubicBezTo>
                    <a:pt x="3609" y="8556"/>
                    <a:pt x="3601" y="8538"/>
                    <a:pt x="3601" y="8538"/>
                  </a:cubicBezTo>
                  <a:cubicBezTo>
                    <a:pt x="3589" y="8532"/>
                    <a:pt x="3578" y="8514"/>
                    <a:pt x="3578" y="8514"/>
                  </a:cubicBezTo>
                  <a:cubicBezTo>
                    <a:pt x="3589" y="8511"/>
                    <a:pt x="3609" y="8512"/>
                    <a:pt x="3621" y="8514"/>
                  </a:cubicBezTo>
                  <a:cubicBezTo>
                    <a:pt x="3633" y="8515"/>
                    <a:pt x="3659" y="8508"/>
                    <a:pt x="3663" y="8508"/>
                  </a:cubicBezTo>
                  <a:cubicBezTo>
                    <a:pt x="3668" y="8508"/>
                    <a:pt x="3678" y="8497"/>
                    <a:pt x="3689" y="8499"/>
                  </a:cubicBezTo>
                  <a:cubicBezTo>
                    <a:pt x="3700" y="8500"/>
                    <a:pt x="3727" y="8488"/>
                    <a:pt x="3727" y="8488"/>
                  </a:cubicBezTo>
                  <a:cubicBezTo>
                    <a:pt x="3750" y="8476"/>
                    <a:pt x="3750" y="8476"/>
                    <a:pt x="3750" y="8476"/>
                  </a:cubicBezTo>
                  <a:cubicBezTo>
                    <a:pt x="3750" y="8449"/>
                    <a:pt x="3750" y="8449"/>
                    <a:pt x="3750" y="8449"/>
                  </a:cubicBezTo>
                  <a:cubicBezTo>
                    <a:pt x="3763" y="8436"/>
                    <a:pt x="3763" y="8436"/>
                    <a:pt x="3763" y="8436"/>
                  </a:cubicBezTo>
                  <a:cubicBezTo>
                    <a:pt x="3762" y="8414"/>
                    <a:pt x="3762" y="8414"/>
                    <a:pt x="3762" y="8414"/>
                  </a:cubicBezTo>
                  <a:cubicBezTo>
                    <a:pt x="3757" y="8402"/>
                    <a:pt x="3757" y="8402"/>
                    <a:pt x="3757" y="8402"/>
                  </a:cubicBezTo>
                  <a:cubicBezTo>
                    <a:pt x="3751" y="8385"/>
                    <a:pt x="3751" y="8385"/>
                    <a:pt x="3751" y="8385"/>
                  </a:cubicBezTo>
                  <a:cubicBezTo>
                    <a:pt x="3732" y="8386"/>
                    <a:pt x="3732" y="8386"/>
                    <a:pt x="3732" y="8386"/>
                  </a:cubicBezTo>
                  <a:cubicBezTo>
                    <a:pt x="3722" y="8379"/>
                    <a:pt x="3722" y="8379"/>
                    <a:pt x="3722" y="8379"/>
                  </a:cubicBezTo>
                  <a:cubicBezTo>
                    <a:pt x="3724" y="8353"/>
                    <a:pt x="3724" y="8353"/>
                    <a:pt x="3724" y="8353"/>
                  </a:cubicBezTo>
                  <a:cubicBezTo>
                    <a:pt x="3724" y="8353"/>
                    <a:pt x="3716" y="8330"/>
                    <a:pt x="3712" y="8332"/>
                  </a:cubicBezTo>
                  <a:cubicBezTo>
                    <a:pt x="3707" y="8333"/>
                    <a:pt x="3689" y="8327"/>
                    <a:pt x="3689" y="8327"/>
                  </a:cubicBezTo>
                  <a:cubicBezTo>
                    <a:pt x="3689" y="8327"/>
                    <a:pt x="3674" y="8314"/>
                    <a:pt x="3669" y="8314"/>
                  </a:cubicBezTo>
                  <a:cubicBezTo>
                    <a:pt x="3665" y="8314"/>
                    <a:pt x="3653" y="8308"/>
                    <a:pt x="3653" y="8308"/>
                  </a:cubicBezTo>
                  <a:cubicBezTo>
                    <a:pt x="3642" y="8298"/>
                    <a:pt x="3642" y="8298"/>
                    <a:pt x="3642" y="8298"/>
                  </a:cubicBezTo>
                  <a:cubicBezTo>
                    <a:pt x="3628" y="8276"/>
                    <a:pt x="3628" y="8276"/>
                    <a:pt x="3628" y="8276"/>
                  </a:cubicBezTo>
                  <a:cubicBezTo>
                    <a:pt x="3628" y="8276"/>
                    <a:pt x="3650" y="8300"/>
                    <a:pt x="3662" y="8302"/>
                  </a:cubicBezTo>
                  <a:cubicBezTo>
                    <a:pt x="3674" y="8303"/>
                    <a:pt x="3691" y="8302"/>
                    <a:pt x="3697" y="8305"/>
                  </a:cubicBezTo>
                  <a:cubicBezTo>
                    <a:pt x="3703" y="8308"/>
                    <a:pt x="3716" y="8306"/>
                    <a:pt x="3721" y="8309"/>
                  </a:cubicBezTo>
                  <a:cubicBezTo>
                    <a:pt x="3725" y="8312"/>
                    <a:pt x="3739" y="8305"/>
                    <a:pt x="3739" y="8311"/>
                  </a:cubicBezTo>
                  <a:cubicBezTo>
                    <a:pt x="3739" y="8317"/>
                    <a:pt x="3741" y="8317"/>
                    <a:pt x="3748" y="8320"/>
                  </a:cubicBezTo>
                  <a:cubicBezTo>
                    <a:pt x="3756" y="8323"/>
                    <a:pt x="3759" y="8321"/>
                    <a:pt x="3765" y="8318"/>
                  </a:cubicBezTo>
                  <a:cubicBezTo>
                    <a:pt x="3771" y="8315"/>
                    <a:pt x="3777" y="8312"/>
                    <a:pt x="3782" y="8312"/>
                  </a:cubicBezTo>
                  <a:cubicBezTo>
                    <a:pt x="3786" y="8312"/>
                    <a:pt x="3791" y="8309"/>
                    <a:pt x="3795" y="8312"/>
                  </a:cubicBezTo>
                  <a:cubicBezTo>
                    <a:pt x="3800" y="8315"/>
                    <a:pt x="3791" y="8306"/>
                    <a:pt x="3800" y="8315"/>
                  </a:cubicBezTo>
                  <a:cubicBezTo>
                    <a:pt x="3809" y="8324"/>
                    <a:pt x="3819" y="8323"/>
                    <a:pt x="3826" y="8321"/>
                  </a:cubicBezTo>
                  <a:cubicBezTo>
                    <a:pt x="3832" y="8320"/>
                    <a:pt x="3839" y="8311"/>
                    <a:pt x="3847" y="8306"/>
                  </a:cubicBezTo>
                  <a:cubicBezTo>
                    <a:pt x="3854" y="8302"/>
                    <a:pt x="3857" y="8265"/>
                    <a:pt x="3866" y="8265"/>
                  </a:cubicBezTo>
                  <a:cubicBezTo>
                    <a:pt x="3876" y="8265"/>
                    <a:pt x="3880" y="8261"/>
                    <a:pt x="3885" y="8253"/>
                  </a:cubicBezTo>
                  <a:cubicBezTo>
                    <a:pt x="3889" y="8245"/>
                    <a:pt x="3889" y="8236"/>
                    <a:pt x="3891" y="8230"/>
                  </a:cubicBezTo>
                  <a:cubicBezTo>
                    <a:pt x="3892" y="8224"/>
                    <a:pt x="3891" y="8211"/>
                    <a:pt x="3897" y="8214"/>
                  </a:cubicBezTo>
                  <a:cubicBezTo>
                    <a:pt x="3903" y="8217"/>
                    <a:pt x="3909" y="8197"/>
                    <a:pt x="3909" y="8197"/>
                  </a:cubicBezTo>
                  <a:cubicBezTo>
                    <a:pt x="3904" y="8182"/>
                    <a:pt x="3904" y="8182"/>
                    <a:pt x="3904" y="8182"/>
                  </a:cubicBezTo>
                  <a:cubicBezTo>
                    <a:pt x="3901" y="8173"/>
                    <a:pt x="3901" y="8173"/>
                    <a:pt x="3901" y="8173"/>
                  </a:cubicBezTo>
                  <a:cubicBezTo>
                    <a:pt x="3901" y="8173"/>
                    <a:pt x="3901" y="8156"/>
                    <a:pt x="3906" y="8153"/>
                  </a:cubicBezTo>
                  <a:cubicBezTo>
                    <a:pt x="3910" y="8150"/>
                    <a:pt x="3912" y="8141"/>
                    <a:pt x="3917" y="8138"/>
                  </a:cubicBezTo>
                  <a:cubicBezTo>
                    <a:pt x="3921" y="8135"/>
                    <a:pt x="3920" y="8121"/>
                    <a:pt x="3927" y="8123"/>
                  </a:cubicBezTo>
                  <a:cubicBezTo>
                    <a:pt x="3935" y="8124"/>
                    <a:pt x="3941" y="8117"/>
                    <a:pt x="3941" y="8110"/>
                  </a:cubicBezTo>
                  <a:cubicBezTo>
                    <a:pt x="3941" y="8104"/>
                    <a:pt x="3941" y="8097"/>
                    <a:pt x="3941" y="8097"/>
                  </a:cubicBezTo>
                  <a:cubicBezTo>
                    <a:pt x="3953" y="8091"/>
                    <a:pt x="3953" y="8091"/>
                    <a:pt x="3953" y="8091"/>
                  </a:cubicBezTo>
                  <a:cubicBezTo>
                    <a:pt x="3953" y="8091"/>
                    <a:pt x="3965" y="8083"/>
                    <a:pt x="3965" y="8089"/>
                  </a:cubicBezTo>
                  <a:cubicBezTo>
                    <a:pt x="3965" y="8095"/>
                    <a:pt x="3964" y="8110"/>
                    <a:pt x="3964" y="8110"/>
                  </a:cubicBezTo>
                  <a:cubicBezTo>
                    <a:pt x="3947" y="8130"/>
                    <a:pt x="3947" y="8130"/>
                    <a:pt x="3947" y="8130"/>
                  </a:cubicBezTo>
                  <a:cubicBezTo>
                    <a:pt x="3947" y="8130"/>
                    <a:pt x="3935" y="8139"/>
                    <a:pt x="3932" y="8142"/>
                  </a:cubicBezTo>
                  <a:cubicBezTo>
                    <a:pt x="3921" y="8154"/>
                    <a:pt x="3921" y="8154"/>
                    <a:pt x="3921" y="8154"/>
                  </a:cubicBezTo>
                  <a:cubicBezTo>
                    <a:pt x="3918" y="8170"/>
                    <a:pt x="3910" y="8169"/>
                    <a:pt x="3913" y="8173"/>
                  </a:cubicBezTo>
                  <a:cubicBezTo>
                    <a:pt x="3917" y="8178"/>
                    <a:pt x="3930" y="8181"/>
                    <a:pt x="3930" y="8175"/>
                  </a:cubicBezTo>
                  <a:cubicBezTo>
                    <a:pt x="3930" y="8168"/>
                    <a:pt x="3929" y="8156"/>
                    <a:pt x="3935" y="8155"/>
                  </a:cubicBezTo>
                  <a:cubicBezTo>
                    <a:pt x="3940" y="8154"/>
                    <a:pt x="3946" y="8151"/>
                    <a:pt x="3951" y="8146"/>
                  </a:cubicBezTo>
                  <a:cubicBezTo>
                    <a:pt x="3955" y="8142"/>
                    <a:pt x="3968" y="8128"/>
                    <a:pt x="3968" y="8128"/>
                  </a:cubicBezTo>
                  <a:cubicBezTo>
                    <a:pt x="3968" y="8128"/>
                    <a:pt x="3973" y="8121"/>
                    <a:pt x="3977" y="8117"/>
                  </a:cubicBezTo>
                  <a:cubicBezTo>
                    <a:pt x="3980" y="8112"/>
                    <a:pt x="3988" y="8112"/>
                    <a:pt x="3986" y="8104"/>
                  </a:cubicBezTo>
                  <a:cubicBezTo>
                    <a:pt x="3984" y="8096"/>
                    <a:pt x="3982" y="8086"/>
                    <a:pt x="3982" y="8086"/>
                  </a:cubicBezTo>
                  <a:cubicBezTo>
                    <a:pt x="3982" y="8086"/>
                    <a:pt x="3982" y="8077"/>
                    <a:pt x="3984" y="8072"/>
                  </a:cubicBezTo>
                  <a:cubicBezTo>
                    <a:pt x="3985" y="8068"/>
                    <a:pt x="3987" y="8059"/>
                    <a:pt x="3990" y="8056"/>
                  </a:cubicBezTo>
                  <a:cubicBezTo>
                    <a:pt x="3994" y="8054"/>
                    <a:pt x="3996" y="8051"/>
                    <a:pt x="4001" y="8047"/>
                  </a:cubicBezTo>
                  <a:cubicBezTo>
                    <a:pt x="4005" y="8044"/>
                    <a:pt x="4005" y="8043"/>
                    <a:pt x="4011" y="8038"/>
                  </a:cubicBezTo>
                  <a:cubicBezTo>
                    <a:pt x="4017" y="8034"/>
                    <a:pt x="4020" y="8032"/>
                    <a:pt x="4020" y="8028"/>
                  </a:cubicBezTo>
                  <a:cubicBezTo>
                    <a:pt x="4020" y="8023"/>
                    <a:pt x="4018" y="8016"/>
                    <a:pt x="4025" y="8015"/>
                  </a:cubicBezTo>
                  <a:cubicBezTo>
                    <a:pt x="4031" y="8014"/>
                    <a:pt x="4038" y="8012"/>
                    <a:pt x="4039" y="8005"/>
                  </a:cubicBezTo>
                  <a:cubicBezTo>
                    <a:pt x="4040" y="7998"/>
                    <a:pt x="4046" y="7982"/>
                    <a:pt x="4046" y="7982"/>
                  </a:cubicBezTo>
                  <a:cubicBezTo>
                    <a:pt x="4046" y="7982"/>
                    <a:pt x="4038" y="7972"/>
                    <a:pt x="4038" y="7968"/>
                  </a:cubicBezTo>
                  <a:cubicBezTo>
                    <a:pt x="4038" y="7963"/>
                    <a:pt x="4035" y="7947"/>
                    <a:pt x="4038" y="7941"/>
                  </a:cubicBezTo>
                  <a:cubicBezTo>
                    <a:pt x="4042" y="7936"/>
                    <a:pt x="4040" y="7923"/>
                    <a:pt x="4040" y="7923"/>
                  </a:cubicBezTo>
                  <a:cubicBezTo>
                    <a:pt x="4040" y="7923"/>
                    <a:pt x="4039" y="7913"/>
                    <a:pt x="4036" y="7910"/>
                  </a:cubicBezTo>
                  <a:cubicBezTo>
                    <a:pt x="4033" y="7906"/>
                    <a:pt x="4031" y="7897"/>
                    <a:pt x="4027" y="7894"/>
                  </a:cubicBezTo>
                  <a:cubicBezTo>
                    <a:pt x="4022" y="7890"/>
                    <a:pt x="4022" y="7881"/>
                    <a:pt x="4022" y="7881"/>
                  </a:cubicBezTo>
                  <a:cubicBezTo>
                    <a:pt x="4022" y="7881"/>
                    <a:pt x="4023" y="7875"/>
                    <a:pt x="4026" y="7872"/>
                  </a:cubicBezTo>
                  <a:cubicBezTo>
                    <a:pt x="4028" y="7869"/>
                    <a:pt x="4030" y="7867"/>
                    <a:pt x="4029" y="7863"/>
                  </a:cubicBezTo>
                  <a:cubicBezTo>
                    <a:pt x="4028" y="7858"/>
                    <a:pt x="4022" y="7850"/>
                    <a:pt x="4026" y="7847"/>
                  </a:cubicBezTo>
                  <a:cubicBezTo>
                    <a:pt x="4029" y="7844"/>
                    <a:pt x="4035" y="7838"/>
                    <a:pt x="4035" y="7838"/>
                  </a:cubicBezTo>
                  <a:cubicBezTo>
                    <a:pt x="4035" y="7838"/>
                    <a:pt x="4046" y="7831"/>
                    <a:pt x="4060" y="7823"/>
                  </a:cubicBezTo>
                  <a:cubicBezTo>
                    <a:pt x="4074" y="7814"/>
                    <a:pt x="4077" y="7812"/>
                    <a:pt x="4082" y="7805"/>
                  </a:cubicBezTo>
                  <a:cubicBezTo>
                    <a:pt x="4088" y="7798"/>
                    <a:pt x="4100" y="7795"/>
                    <a:pt x="4107" y="7793"/>
                  </a:cubicBezTo>
                  <a:cubicBezTo>
                    <a:pt x="4114" y="7792"/>
                    <a:pt x="4119" y="7784"/>
                    <a:pt x="4121" y="7778"/>
                  </a:cubicBezTo>
                  <a:cubicBezTo>
                    <a:pt x="4124" y="7773"/>
                    <a:pt x="4135" y="7766"/>
                    <a:pt x="4144" y="7764"/>
                  </a:cubicBezTo>
                  <a:cubicBezTo>
                    <a:pt x="4152" y="7763"/>
                    <a:pt x="4172" y="7753"/>
                    <a:pt x="4180" y="7750"/>
                  </a:cubicBezTo>
                  <a:cubicBezTo>
                    <a:pt x="4188" y="7747"/>
                    <a:pt x="4199" y="7747"/>
                    <a:pt x="4205" y="7745"/>
                  </a:cubicBezTo>
                  <a:cubicBezTo>
                    <a:pt x="4211" y="7742"/>
                    <a:pt x="4219" y="7732"/>
                    <a:pt x="4222" y="7727"/>
                  </a:cubicBezTo>
                  <a:cubicBezTo>
                    <a:pt x="4224" y="7721"/>
                    <a:pt x="4230" y="7708"/>
                    <a:pt x="4234" y="7707"/>
                  </a:cubicBezTo>
                  <a:cubicBezTo>
                    <a:pt x="4238" y="7706"/>
                    <a:pt x="4241" y="7700"/>
                    <a:pt x="4250" y="7706"/>
                  </a:cubicBezTo>
                  <a:cubicBezTo>
                    <a:pt x="4258" y="7711"/>
                    <a:pt x="4287" y="7700"/>
                    <a:pt x="4293" y="7703"/>
                  </a:cubicBezTo>
                  <a:cubicBezTo>
                    <a:pt x="4298" y="7706"/>
                    <a:pt x="4323" y="7699"/>
                    <a:pt x="4332" y="7701"/>
                  </a:cubicBezTo>
                  <a:cubicBezTo>
                    <a:pt x="4340" y="7704"/>
                    <a:pt x="4364" y="7707"/>
                    <a:pt x="4372" y="7703"/>
                  </a:cubicBezTo>
                  <a:cubicBezTo>
                    <a:pt x="4381" y="7699"/>
                    <a:pt x="4382" y="7690"/>
                    <a:pt x="4389" y="7685"/>
                  </a:cubicBezTo>
                  <a:cubicBezTo>
                    <a:pt x="4396" y="7679"/>
                    <a:pt x="4408" y="7674"/>
                    <a:pt x="4418" y="7672"/>
                  </a:cubicBezTo>
                  <a:cubicBezTo>
                    <a:pt x="4428" y="7671"/>
                    <a:pt x="4438" y="7671"/>
                    <a:pt x="4442" y="7662"/>
                  </a:cubicBezTo>
                  <a:cubicBezTo>
                    <a:pt x="4446" y="7654"/>
                    <a:pt x="4446" y="7644"/>
                    <a:pt x="4446" y="7637"/>
                  </a:cubicBezTo>
                  <a:cubicBezTo>
                    <a:pt x="4446" y="7630"/>
                    <a:pt x="4446" y="7612"/>
                    <a:pt x="4446" y="7612"/>
                  </a:cubicBezTo>
                  <a:cubicBezTo>
                    <a:pt x="4454" y="7597"/>
                    <a:pt x="4454" y="7597"/>
                    <a:pt x="4454" y="7597"/>
                  </a:cubicBezTo>
                  <a:cubicBezTo>
                    <a:pt x="4454" y="7597"/>
                    <a:pt x="4470" y="7586"/>
                    <a:pt x="4475" y="7580"/>
                  </a:cubicBezTo>
                  <a:cubicBezTo>
                    <a:pt x="4481" y="7575"/>
                    <a:pt x="4487" y="7561"/>
                    <a:pt x="4487" y="7561"/>
                  </a:cubicBezTo>
                  <a:cubicBezTo>
                    <a:pt x="4487" y="7561"/>
                    <a:pt x="4489" y="7544"/>
                    <a:pt x="4489" y="7540"/>
                  </a:cubicBezTo>
                  <a:cubicBezTo>
                    <a:pt x="4489" y="7536"/>
                    <a:pt x="4491" y="7524"/>
                    <a:pt x="4500" y="7524"/>
                  </a:cubicBezTo>
                  <a:cubicBezTo>
                    <a:pt x="4510" y="7524"/>
                    <a:pt x="4521" y="7524"/>
                    <a:pt x="4524" y="7517"/>
                  </a:cubicBezTo>
                  <a:cubicBezTo>
                    <a:pt x="4527" y="7511"/>
                    <a:pt x="4526" y="7498"/>
                    <a:pt x="4526" y="7498"/>
                  </a:cubicBezTo>
                  <a:cubicBezTo>
                    <a:pt x="4526" y="7498"/>
                    <a:pt x="4516" y="7484"/>
                    <a:pt x="4516" y="7473"/>
                  </a:cubicBezTo>
                  <a:cubicBezTo>
                    <a:pt x="4516" y="7446"/>
                    <a:pt x="4516" y="7446"/>
                    <a:pt x="4516" y="7446"/>
                  </a:cubicBezTo>
                  <a:cubicBezTo>
                    <a:pt x="4516" y="7442"/>
                    <a:pt x="4514" y="7435"/>
                    <a:pt x="4521" y="7434"/>
                  </a:cubicBezTo>
                  <a:cubicBezTo>
                    <a:pt x="4528" y="7432"/>
                    <a:pt x="4534" y="7432"/>
                    <a:pt x="4538" y="7423"/>
                  </a:cubicBezTo>
                  <a:cubicBezTo>
                    <a:pt x="4542" y="7413"/>
                    <a:pt x="4538" y="7374"/>
                    <a:pt x="4544" y="7367"/>
                  </a:cubicBezTo>
                  <a:cubicBezTo>
                    <a:pt x="4549" y="7360"/>
                    <a:pt x="4567" y="7325"/>
                    <a:pt x="4565" y="7318"/>
                  </a:cubicBezTo>
                  <a:cubicBezTo>
                    <a:pt x="4562" y="7311"/>
                    <a:pt x="4560" y="7293"/>
                    <a:pt x="4556" y="7285"/>
                  </a:cubicBezTo>
                  <a:cubicBezTo>
                    <a:pt x="4552" y="7276"/>
                    <a:pt x="4549" y="7248"/>
                    <a:pt x="4553" y="7247"/>
                  </a:cubicBezTo>
                  <a:cubicBezTo>
                    <a:pt x="4558" y="7246"/>
                    <a:pt x="4562" y="7236"/>
                    <a:pt x="4558" y="7229"/>
                  </a:cubicBezTo>
                  <a:cubicBezTo>
                    <a:pt x="4553" y="7222"/>
                    <a:pt x="4546" y="7207"/>
                    <a:pt x="4549" y="7202"/>
                  </a:cubicBezTo>
                  <a:cubicBezTo>
                    <a:pt x="4552" y="7198"/>
                    <a:pt x="4558" y="7186"/>
                    <a:pt x="4562" y="7184"/>
                  </a:cubicBezTo>
                  <a:cubicBezTo>
                    <a:pt x="4566" y="7183"/>
                    <a:pt x="4553" y="7166"/>
                    <a:pt x="4553" y="7166"/>
                  </a:cubicBezTo>
                  <a:cubicBezTo>
                    <a:pt x="4560" y="7155"/>
                    <a:pt x="4560" y="7155"/>
                    <a:pt x="4560" y="7155"/>
                  </a:cubicBezTo>
                  <a:cubicBezTo>
                    <a:pt x="4560" y="7155"/>
                    <a:pt x="4563" y="7137"/>
                    <a:pt x="4565" y="7130"/>
                  </a:cubicBezTo>
                  <a:cubicBezTo>
                    <a:pt x="4566" y="7123"/>
                    <a:pt x="4556" y="7104"/>
                    <a:pt x="4566" y="7109"/>
                  </a:cubicBezTo>
                  <a:cubicBezTo>
                    <a:pt x="4576" y="7115"/>
                    <a:pt x="4587" y="7117"/>
                    <a:pt x="4588" y="7130"/>
                  </a:cubicBezTo>
                  <a:cubicBezTo>
                    <a:pt x="4590" y="7143"/>
                    <a:pt x="4608" y="7143"/>
                    <a:pt x="4609" y="7137"/>
                  </a:cubicBezTo>
                  <a:cubicBezTo>
                    <a:pt x="4611" y="7131"/>
                    <a:pt x="4616" y="7117"/>
                    <a:pt x="4619" y="7111"/>
                  </a:cubicBezTo>
                  <a:cubicBezTo>
                    <a:pt x="4622" y="7104"/>
                    <a:pt x="4634" y="7102"/>
                    <a:pt x="4640" y="7097"/>
                  </a:cubicBezTo>
                  <a:cubicBezTo>
                    <a:pt x="4645" y="7091"/>
                    <a:pt x="4664" y="7071"/>
                    <a:pt x="4662" y="7065"/>
                  </a:cubicBezTo>
                  <a:cubicBezTo>
                    <a:pt x="4661" y="7058"/>
                    <a:pt x="4664" y="7046"/>
                    <a:pt x="4664" y="7042"/>
                  </a:cubicBezTo>
                  <a:cubicBezTo>
                    <a:pt x="4664" y="7038"/>
                    <a:pt x="4682" y="7021"/>
                    <a:pt x="4682" y="7021"/>
                  </a:cubicBezTo>
                  <a:cubicBezTo>
                    <a:pt x="4682" y="7021"/>
                    <a:pt x="4694" y="7016"/>
                    <a:pt x="4705" y="7007"/>
                  </a:cubicBezTo>
                  <a:cubicBezTo>
                    <a:pt x="4716" y="6999"/>
                    <a:pt x="4756" y="6954"/>
                    <a:pt x="4764" y="6953"/>
                  </a:cubicBezTo>
                  <a:cubicBezTo>
                    <a:pt x="4772" y="6952"/>
                    <a:pt x="4781" y="6932"/>
                    <a:pt x="4789" y="6921"/>
                  </a:cubicBezTo>
                  <a:cubicBezTo>
                    <a:pt x="4797" y="6910"/>
                    <a:pt x="4806" y="6892"/>
                    <a:pt x="4811" y="6886"/>
                  </a:cubicBezTo>
                  <a:cubicBezTo>
                    <a:pt x="4817" y="6881"/>
                    <a:pt x="4828" y="6869"/>
                    <a:pt x="4829" y="6860"/>
                  </a:cubicBezTo>
                  <a:cubicBezTo>
                    <a:pt x="4831" y="6850"/>
                    <a:pt x="4838" y="6835"/>
                    <a:pt x="4836" y="6828"/>
                  </a:cubicBezTo>
                  <a:cubicBezTo>
                    <a:pt x="4835" y="6821"/>
                    <a:pt x="4850" y="6790"/>
                    <a:pt x="4846" y="6782"/>
                  </a:cubicBezTo>
                  <a:cubicBezTo>
                    <a:pt x="4842" y="6773"/>
                    <a:pt x="4835" y="6763"/>
                    <a:pt x="4832" y="6751"/>
                  </a:cubicBezTo>
                  <a:close/>
                  <a:moveTo>
                    <a:pt x="1171" y="2175"/>
                  </a:moveTo>
                  <a:cubicBezTo>
                    <a:pt x="1171" y="2186"/>
                    <a:pt x="1169" y="2218"/>
                    <a:pt x="1166" y="2226"/>
                  </a:cubicBezTo>
                  <a:cubicBezTo>
                    <a:pt x="1162" y="2235"/>
                    <a:pt x="1168" y="2246"/>
                    <a:pt x="1164" y="2252"/>
                  </a:cubicBezTo>
                  <a:cubicBezTo>
                    <a:pt x="1160" y="2258"/>
                    <a:pt x="1166" y="2267"/>
                    <a:pt x="1160" y="2276"/>
                  </a:cubicBezTo>
                  <a:cubicBezTo>
                    <a:pt x="1154" y="2286"/>
                    <a:pt x="1154" y="2293"/>
                    <a:pt x="1153" y="2301"/>
                  </a:cubicBezTo>
                  <a:cubicBezTo>
                    <a:pt x="1151" y="2308"/>
                    <a:pt x="1153" y="2318"/>
                    <a:pt x="1149" y="2327"/>
                  </a:cubicBezTo>
                  <a:cubicBezTo>
                    <a:pt x="1145" y="2337"/>
                    <a:pt x="1141" y="2348"/>
                    <a:pt x="1141" y="2354"/>
                  </a:cubicBezTo>
                  <a:cubicBezTo>
                    <a:pt x="1141" y="2359"/>
                    <a:pt x="1143" y="2372"/>
                    <a:pt x="1143" y="2378"/>
                  </a:cubicBezTo>
                  <a:cubicBezTo>
                    <a:pt x="1143" y="2384"/>
                    <a:pt x="1145" y="2395"/>
                    <a:pt x="1145" y="2395"/>
                  </a:cubicBezTo>
                  <a:cubicBezTo>
                    <a:pt x="1145" y="2395"/>
                    <a:pt x="1147" y="2412"/>
                    <a:pt x="1141" y="2414"/>
                  </a:cubicBezTo>
                  <a:cubicBezTo>
                    <a:pt x="1136" y="2416"/>
                    <a:pt x="1124" y="2425"/>
                    <a:pt x="1124" y="2425"/>
                  </a:cubicBezTo>
                  <a:cubicBezTo>
                    <a:pt x="1124" y="2425"/>
                    <a:pt x="1119" y="2438"/>
                    <a:pt x="1117" y="2444"/>
                  </a:cubicBezTo>
                  <a:cubicBezTo>
                    <a:pt x="1115" y="2450"/>
                    <a:pt x="1113" y="2463"/>
                    <a:pt x="1105" y="2468"/>
                  </a:cubicBezTo>
                  <a:cubicBezTo>
                    <a:pt x="1098" y="2474"/>
                    <a:pt x="1090" y="2467"/>
                    <a:pt x="1090" y="2459"/>
                  </a:cubicBezTo>
                  <a:cubicBezTo>
                    <a:pt x="1090" y="2452"/>
                    <a:pt x="1083" y="2433"/>
                    <a:pt x="1094" y="2427"/>
                  </a:cubicBezTo>
                  <a:cubicBezTo>
                    <a:pt x="1105" y="2421"/>
                    <a:pt x="1113" y="2414"/>
                    <a:pt x="1117" y="2406"/>
                  </a:cubicBezTo>
                  <a:cubicBezTo>
                    <a:pt x="1121" y="2399"/>
                    <a:pt x="1126" y="2386"/>
                    <a:pt x="1126" y="2386"/>
                  </a:cubicBezTo>
                  <a:cubicBezTo>
                    <a:pt x="1126" y="2386"/>
                    <a:pt x="1128" y="2376"/>
                    <a:pt x="1126" y="2367"/>
                  </a:cubicBezTo>
                  <a:cubicBezTo>
                    <a:pt x="1124" y="2357"/>
                    <a:pt x="1121" y="2348"/>
                    <a:pt x="1121" y="2348"/>
                  </a:cubicBezTo>
                  <a:cubicBezTo>
                    <a:pt x="1121" y="2348"/>
                    <a:pt x="1117" y="2335"/>
                    <a:pt x="1111" y="2335"/>
                  </a:cubicBezTo>
                  <a:cubicBezTo>
                    <a:pt x="1105" y="2335"/>
                    <a:pt x="1107" y="2331"/>
                    <a:pt x="1105" y="2323"/>
                  </a:cubicBezTo>
                  <a:cubicBezTo>
                    <a:pt x="1104" y="2316"/>
                    <a:pt x="1113" y="2312"/>
                    <a:pt x="1111" y="2297"/>
                  </a:cubicBezTo>
                  <a:cubicBezTo>
                    <a:pt x="1109" y="2282"/>
                    <a:pt x="1113" y="2280"/>
                    <a:pt x="1107" y="2275"/>
                  </a:cubicBezTo>
                  <a:cubicBezTo>
                    <a:pt x="1102" y="2269"/>
                    <a:pt x="1100" y="2263"/>
                    <a:pt x="1105" y="2254"/>
                  </a:cubicBezTo>
                  <a:cubicBezTo>
                    <a:pt x="1111" y="2244"/>
                    <a:pt x="1121" y="2227"/>
                    <a:pt x="1117" y="2220"/>
                  </a:cubicBezTo>
                  <a:cubicBezTo>
                    <a:pt x="1113" y="2212"/>
                    <a:pt x="1119" y="2212"/>
                    <a:pt x="1124" y="2201"/>
                  </a:cubicBezTo>
                  <a:cubicBezTo>
                    <a:pt x="1130" y="2190"/>
                    <a:pt x="1139" y="2186"/>
                    <a:pt x="1147" y="2190"/>
                  </a:cubicBezTo>
                  <a:cubicBezTo>
                    <a:pt x="1153" y="2193"/>
                    <a:pt x="1167" y="2181"/>
                    <a:pt x="1171" y="2175"/>
                  </a:cubicBezTo>
                  <a:cubicBezTo>
                    <a:pt x="1171" y="2172"/>
                    <a:pt x="1171" y="2171"/>
                    <a:pt x="1171" y="2171"/>
                  </a:cubicBezTo>
                  <a:cubicBezTo>
                    <a:pt x="1173" y="2171"/>
                    <a:pt x="1172" y="2173"/>
                    <a:pt x="1171" y="2175"/>
                  </a:cubicBezTo>
                  <a:close/>
                  <a:moveTo>
                    <a:pt x="1784" y="3108"/>
                  </a:moveTo>
                  <a:cubicBezTo>
                    <a:pt x="1774" y="3111"/>
                    <a:pt x="1764" y="3127"/>
                    <a:pt x="1761" y="3127"/>
                  </a:cubicBezTo>
                  <a:cubicBezTo>
                    <a:pt x="1757" y="3127"/>
                    <a:pt x="1746" y="3133"/>
                    <a:pt x="1736" y="3137"/>
                  </a:cubicBezTo>
                  <a:cubicBezTo>
                    <a:pt x="1726" y="3140"/>
                    <a:pt x="1717" y="3149"/>
                    <a:pt x="1705" y="3150"/>
                  </a:cubicBezTo>
                  <a:cubicBezTo>
                    <a:pt x="1693" y="3151"/>
                    <a:pt x="1678" y="3160"/>
                    <a:pt x="1670" y="3165"/>
                  </a:cubicBezTo>
                  <a:cubicBezTo>
                    <a:pt x="1663" y="3170"/>
                    <a:pt x="1662" y="3175"/>
                    <a:pt x="1654" y="3179"/>
                  </a:cubicBezTo>
                  <a:cubicBezTo>
                    <a:pt x="1647" y="3182"/>
                    <a:pt x="1635" y="3191"/>
                    <a:pt x="1626" y="3195"/>
                  </a:cubicBezTo>
                  <a:cubicBezTo>
                    <a:pt x="1617" y="3198"/>
                    <a:pt x="1605" y="3203"/>
                    <a:pt x="1595" y="3203"/>
                  </a:cubicBezTo>
                  <a:cubicBezTo>
                    <a:pt x="1585" y="3203"/>
                    <a:pt x="1554" y="3216"/>
                    <a:pt x="1548" y="3211"/>
                  </a:cubicBezTo>
                  <a:cubicBezTo>
                    <a:pt x="1542" y="3206"/>
                    <a:pt x="1542" y="3197"/>
                    <a:pt x="1533" y="3195"/>
                  </a:cubicBezTo>
                  <a:cubicBezTo>
                    <a:pt x="1525" y="3192"/>
                    <a:pt x="1515" y="3191"/>
                    <a:pt x="1516" y="3182"/>
                  </a:cubicBezTo>
                  <a:cubicBezTo>
                    <a:pt x="1517" y="3174"/>
                    <a:pt x="1516" y="3169"/>
                    <a:pt x="1521" y="3167"/>
                  </a:cubicBezTo>
                  <a:cubicBezTo>
                    <a:pt x="1526" y="3166"/>
                    <a:pt x="1533" y="3176"/>
                    <a:pt x="1535" y="3170"/>
                  </a:cubicBezTo>
                  <a:cubicBezTo>
                    <a:pt x="1536" y="3164"/>
                    <a:pt x="1542" y="3158"/>
                    <a:pt x="1542" y="3158"/>
                  </a:cubicBezTo>
                  <a:cubicBezTo>
                    <a:pt x="1542" y="3158"/>
                    <a:pt x="1551" y="3174"/>
                    <a:pt x="1559" y="3169"/>
                  </a:cubicBezTo>
                  <a:cubicBezTo>
                    <a:pt x="1568" y="3164"/>
                    <a:pt x="1582" y="3169"/>
                    <a:pt x="1585" y="3159"/>
                  </a:cubicBezTo>
                  <a:cubicBezTo>
                    <a:pt x="1589" y="3149"/>
                    <a:pt x="1595" y="3158"/>
                    <a:pt x="1589" y="3149"/>
                  </a:cubicBezTo>
                  <a:cubicBezTo>
                    <a:pt x="1583" y="3140"/>
                    <a:pt x="1564" y="3146"/>
                    <a:pt x="1564" y="3138"/>
                  </a:cubicBezTo>
                  <a:cubicBezTo>
                    <a:pt x="1564" y="3129"/>
                    <a:pt x="1567" y="3121"/>
                    <a:pt x="1567" y="3121"/>
                  </a:cubicBezTo>
                  <a:cubicBezTo>
                    <a:pt x="1567" y="3121"/>
                    <a:pt x="1588" y="3123"/>
                    <a:pt x="1591" y="3128"/>
                  </a:cubicBezTo>
                  <a:cubicBezTo>
                    <a:pt x="1595" y="3133"/>
                    <a:pt x="1598" y="3146"/>
                    <a:pt x="1603" y="3144"/>
                  </a:cubicBezTo>
                  <a:cubicBezTo>
                    <a:pt x="1608" y="3141"/>
                    <a:pt x="1611" y="3150"/>
                    <a:pt x="1616" y="3141"/>
                  </a:cubicBezTo>
                  <a:cubicBezTo>
                    <a:pt x="1621" y="3133"/>
                    <a:pt x="1626" y="3129"/>
                    <a:pt x="1630" y="3125"/>
                  </a:cubicBezTo>
                  <a:cubicBezTo>
                    <a:pt x="1633" y="3122"/>
                    <a:pt x="1640" y="3119"/>
                    <a:pt x="1646" y="3118"/>
                  </a:cubicBezTo>
                  <a:cubicBezTo>
                    <a:pt x="1652" y="3117"/>
                    <a:pt x="1659" y="3104"/>
                    <a:pt x="1663" y="3109"/>
                  </a:cubicBezTo>
                  <a:cubicBezTo>
                    <a:pt x="1667" y="3114"/>
                    <a:pt x="1669" y="3111"/>
                    <a:pt x="1678" y="3114"/>
                  </a:cubicBezTo>
                  <a:cubicBezTo>
                    <a:pt x="1687" y="3118"/>
                    <a:pt x="1687" y="3119"/>
                    <a:pt x="1694" y="3117"/>
                  </a:cubicBezTo>
                  <a:cubicBezTo>
                    <a:pt x="1701" y="3114"/>
                    <a:pt x="1711" y="3109"/>
                    <a:pt x="1712" y="3106"/>
                  </a:cubicBezTo>
                  <a:cubicBezTo>
                    <a:pt x="1714" y="3102"/>
                    <a:pt x="1717" y="3093"/>
                    <a:pt x="1725" y="3096"/>
                  </a:cubicBezTo>
                  <a:cubicBezTo>
                    <a:pt x="1732" y="3098"/>
                    <a:pt x="1738" y="3108"/>
                    <a:pt x="1748" y="3102"/>
                  </a:cubicBezTo>
                  <a:cubicBezTo>
                    <a:pt x="1758" y="3096"/>
                    <a:pt x="1774" y="3090"/>
                    <a:pt x="1774" y="3090"/>
                  </a:cubicBezTo>
                  <a:cubicBezTo>
                    <a:pt x="1786" y="3087"/>
                    <a:pt x="1791" y="3080"/>
                    <a:pt x="1793" y="3086"/>
                  </a:cubicBezTo>
                  <a:cubicBezTo>
                    <a:pt x="1794" y="3092"/>
                    <a:pt x="1794" y="3106"/>
                    <a:pt x="1784" y="3108"/>
                  </a:cubicBezTo>
                  <a:close/>
                  <a:moveTo>
                    <a:pt x="1789" y="3027"/>
                  </a:moveTo>
                  <a:cubicBezTo>
                    <a:pt x="1795" y="3023"/>
                    <a:pt x="1795" y="3017"/>
                    <a:pt x="1800" y="3014"/>
                  </a:cubicBezTo>
                  <a:cubicBezTo>
                    <a:pt x="1804" y="3011"/>
                    <a:pt x="1807" y="3011"/>
                    <a:pt x="1816" y="3012"/>
                  </a:cubicBezTo>
                  <a:cubicBezTo>
                    <a:pt x="1825" y="3014"/>
                    <a:pt x="1828" y="3008"/>
                    <a:pt x="1839" y="3008"/>
                  </a:cubicBezTo>
                  <a:cubicBezTo>
                    <a:pt x="1850" y="3008"/>
                    <a:pt x="1853" y="3003"/>
                    <a:pt x="1868" y="3006"/>
                  </a:cubicBezTo>
                  <a:cubicBezTo>
                    <a:pt x="1883" y="3009"/>
                    <a:pt x="1875" y="3008"/>
                    <a:pt x="1886" y="3015"/>
                  </a:cubicBezTo>
                  <a:cubicBezTo>
                    <a:pt x="1897" y="3023"/>
                    <a:pt x="1897" y="3012"/>
                    <a:pt x="1912" y="3008"/>
                  </a:cubicBezTo>
                  <a:cubicBezTo>
                    <a:pt x="1927" y="3003"/>
                    <a:pt x="1930" y="3003"/>
                    <a:pt x="1945" y="3000"/>
                  </a:cubicBezTo>
                  <a:cubicBezTo>
                    <a:pt x="1960" y="2997"/>
                    <a:pt x="1954" y="2980"/>
                    <a:pt x="1962" y="2980"/>
                  </a:cubicBezTo>
                  <a:cubicBezTo>
                    <a:pt x="1969" y="2980"/>
                    <a:pt x="1968" y="3005"/>
                    <a:pt x="1966" y="3026"/>
                  </a:cubicBezTo>
                  <a:cubicBezTo>
                    <a:pt x="1965" y="3047"/>
                    <a:pt x="1966" y="3026"/>
                    <a:pt x="1965" y="3035"/>
                  </a:cubicBezTo>
                  <a:cubicBezTo>
                    <a:pt x="1963" y="3044"/>
                    <a:pt x="1959" y="3043"/>
                    <a:pt x="1954" y="3053"/>
                  </a:cubicBezTo>
                  <a:cubicBezTo>
                    <a:pt x="1950" y="3064"/>
                    <a:pt x="1935" y="3049"/>
                    <a:pt x="1930" y="3049"/>
                  </a:cubicBezTo>
                  <a:cubicBezTo>
                    <a:pt x="1925" y="3049"/>
                    <a:pt x="1919" y="3053"/>
                    <a:pt x="1913" y="3056"/>
                  </a:cubicBezTo>
                  <a:cubicBezTo>
                    <a:pt x="1907" y="3059"/>
                    <a:pt x="1903" y="3055"/>
                    <a:pt x="1897" y="3055"/>
                  </a:cubicBezTo>
                  <a:cubicBezTo>
                    <a:pt x="1891" y="3055"/>
                    <a:pt x="1885" y="3052"/>
                    <a:pt x="1880" y="3055"/>
                  </a:cubicBezTo>
                  <a:cubicBezTo>
                    <a:pt x="1875" y="3058"/>
                    <a:pt x="1868" y="3055"/>
                    <a:pt x="1863" y="3055"/>
                  </a:cubicBezTo>
                  <a:cubicBezTo>
                    <a:pt x="1859" y="3055"/>
                    <a:pt x="1854" y="3046"/>
                    <a:pt x="1850" y="3046"/>
                  </a:cubicBezTo>
                  <a:cubicBezTo>
                    <a:pt x="1845" y="3046"/>
                    <a:pt x="1839" y="3040"/>
                    <a:pt x="1830" y="3040"/>
                  </a:cubicBezTo>
                  <a:cubicBezTo>
                    <a:pt x="1821" y="3040"/>
                    <a:pt x="1810" y="3041"/>
                    <a:pt x="1804" y="3050"/>
                  </a:cubicBezTo>
                  <a:cubicBezTo>
                    <a:pt x="1798" y="3059"/>
                    <a:pt x="1769" y="3056"/>
                    <a:pt x="1769" y="3056"/>
                  </a:cubicBezTo>
                  <a:cubicBezTo>
                    <a:pt x="1778" y="3056"/>
                    <a:pt x="1777" y="3044"/>
                    <a:pt x="1777" y="3044"/>
                  </a:cubicBezTo>
                  <a:cubicBezTo>
                    <a:pt x="1777" y="3044"/>
                    <a:pt x="1783" y="3032"/>
                    <a:pt x="1789" y="3027"/>
                  </a:cubicBezTo>
                  <a:close/>
                  <a:moveTo>
                    <a:pt x="1569" y="2796"/>
                  </a:moveTo>
                  <a:cubicBezTo>
                    <a:pt x="1574" y="2794"/>
                    <a:pt x="1580" y="2796"/>
                    <a:pt x="1584" y="2798"/>
                  </a:cubicBezTo>
                  <a:cubicBezTo>
                    <a:pt x="1587" y="2801"/>
                    <a:pt x="1596" y="2805"/>
                    <a:pt x="1602" y="2807"/>
                  </a:cubicBezTo>
                  <a:cubicBezTo>
                    <a:pt x="1609" y="2808"/>
                    <a:pt x="1607" y="2814"/>
                    <a:pt x="1609" y="2817"/>
                  </a:cubicBezTo>
                  <a:cubicBezTo>
                    <a:pt x="1610" y="2819"/>
                    <a:pt x="1620" y="2819"/>
                    <a:pt x="1626" y="2820"/>
                  </a:cubicBezTo>
                  <a:cubicBezTo>
                    <a:pt x="1632" y="2822"/>
                    <a:pt x="1637" y="2825"/>
                    <a:pt x="1644" y="2824"/>
                  </a:cubicBezTo>
                  <a:cubicBezTo>
                    <a:pt x="1651" y="2823"/>
                    <a:pt x="1656" y="2821"/>
                    <a:pt x="1662" y="2819"/>
                  </a:cubicBezTo>
                  <a:cubicBezTo>
                    <a:pt x="1667" y="2817"/>
                    <a:pt x="1670" y="2820"/>
                    <a:pt x="1672" y="2820"/>
                  </a:cubicBezTo>
                  <a:cubicBezTo>
                    <a:pt x="1675" y="2820"/>
                    <a:pt x="1693" y="2831"/>
                    <a:pt x="1693" y="2831"/>
                  </a:cubicBezTo>
                  <a:cubicBezTo>
                    <a:pt x="1693" y="2831"/>
                    <a:pt x="1704" y="2833"/>
                    <a:pt x="1709" y="2834"/>
                  </a:cubicBezTo>
                  <a:cubicBezTo>
                    <a:pt x="1713" y="2836"/>
                    <a:pt x="1722" y="2838"/>
                    <a:pt x="1725" y="2839"/>
                  </a:cubicBezTo>
                  <a:cubicBezTo>
                    <a:pt x="1728" y="2839"/>
                    <a:pt x="1736" y="2844"/>
                    <a:pt x="1736" y="2844"/>
                  </a:cubicBezTo>
                  <a:cubicBezTo>
                    <a:pt x="1736" y="2844"/>
                    <a:pt x="1747" y="2855"/>
                    <a:pt x="1750" y="2856"/>
                  </a:cubicBezTo>
                  <a:cubicBezTo>
                    <a:pt x="1753" y="2858"/>
                    <a:pt x="1751" y="2866"/>
                    <a:pt x="1746" y="2874"/>
                  </a:cubicBezTo>
                  <a:cubicBezTo>
                    <a:pt x="1740" y="2881"/>
                    <a:pt x="1755" y="2881"/>
                    <a:pt x="1759" y="2886"/>
                  </a:cubicBezTo>
                  <a:cubicBezTo>
                    <a:pt x="1762" y="2892"/>
                    <a:pt x="1774" y="2902"/>
                    <a:pt x="1776" y="2907"/>
                  </a:cubicBezTo>
                  <a:cubicBezTo>
                    <a:pt x="1778" y="2911"/>
                    <a:pt x="1778" y="2919"/>
                    <a:pt x="1773" y="2927"/>
                  </a:cubicBezTo>
                  <a:cubicBezTo>
                    <a:pt x="1769" y="2934"/>
                    <a:pt x="1767" y="2927"/>
                    <a:pt x="1761" y="2932"/>
                  </a:cubicBezTo>
                  <a:cubicBezTo>
                    <a:pt x="1755" y="2936"/>
                    <a:pt x="1762" y="2943"/>
                    <a:pt x="1756" y="2953"/>
                  </a:cubicBezTo>
                  <a:cubicBezTo>
                    <a:pt x="1750" y="2963"/>
                    <a:pt x="1751" y="2956"/>
                    <a:pt x="1747" y="2957"/>
                  </a:cubicBezTo>
                  <a:cubicBezTo>
                    <a:pt x="1742" y="2958"/>
                    <a:pt x="1731" y="2961"/>
                    <a:pt x="1729" y="2958"/>
                  </a:cubicBezTo>
                  <a:cubicBezTo>
                    <a:pt x="1728" y="2956"/>
                    <a:pt x="1718" y="2943"/>
                    <a:pt x="1722" y="2937"/>
                  </a:cubicBezTo>
                  <a:cubicBezTo>
                    <a:pt x="1726" y="2931"/>
                    <a:pt x="1713" y="2928"/>
                    <a:pt x="1714" y="2924"/>
                  </a:cubicBezTo>
                  <a:cubicBezTo>
                    <a:pt x="1715" y="2919"/>
                    <a:pt x="1709" y="2917"/>
                    <a:pt x="1703" y="2916"/>
                  </a:cubicBezTo>
                  <a:cubicBezTo>
                    <a:pt x="1696" y="2914"/>
                    <a:pt x="1699" y="2913"/>
                    <a:pt x="1698" y="2905"/>
                  </a:cubicBezTo>
                  <a:cubicBezTo>
                    <a:pt x="1697" y="2898"/>
                    <a:pt x="1692" y="2903"/>
                    <a:pt x="1691" y="2895"/>
                  </a:cubicBezTo>
                  <a:cubicBezTo>
                    <a:pt x="1690" y="2886"/>
                    <a:pt x="1685" y="2890"/>
                    <a:pt x="1685" y="2890"/>
                  </a:cubicBezTo>
                  <a:cubicBezTo>
                    <a:pt x="1677" y="2892"/>
                    <a:pt x="1677" y="2892"/>
                    <a:pt x="1677" y="2892"/>
                  </a:cubicBezTo>
                  <a:cubicBezTo>
                    <a:pt x="1677" y="2892"/>
                    <a:pt x="1671" y="2896"/>
                    <a:pt x="1674" y="2897"/>
                  </a:cubicBezTo>
                  <a:cubicBezTo>
                    <a:pt x="1676" y="2898"/>
                    <a:pt x="1679" y="2902"/>
                    <a:pt x="1681" y="2905"/>
                  </a:cubicBezTo>
                  <a:cubicBezTo>
                    <a:pt x="1682" y="2908"/>
                    <a:pt x="1684" y="2911"/>
                    <a:pt x="1687" y="2913"/>
                  </a:cubicBezTo>
                  <a:cubicBezTo>
                    <a:pt x="1689" y="2915"/>
                    <a:pt x="1687" y="2919"/>
                    <a:pt x="1687" y="2925"/>
                  </a:cubicBezTo>
                  <a:cubicBezTo>
                    <a:pt x="1687" y="2931"/>
                    <a:pt x="1690" y="2935"/>
                    <a:pt x="1691" y="2939"/>
                  </a:cubicBezTo>
                  <a:cubicBezTo>
                    <a:pt x="1692" y="2944"/>
                    <a:pt x="1690" y="2943"/>
                    <a:pt x="1686" y="2947"/>
                  </a:cubicBezTo>
                  <a:cubicBezTo>
                    <a:pt x="1682" y="2951"/>
                    <a:pt x="1682" y="2951"/>
                    <a:pt x="1679" y="2953"/>
                  </a:cubicBezTo>
                  <a:cubicBezTo>
                    <a:pt x="1676" y="2955"/>
                    <a:pt x="1669" y="2955"/>
                    <a:pt x="1665" y="2958"/>
                  </a:cubicBezTo>
                  <a:cubicBezTo>
                    <a:pt x="1662" y="2961"/>
                    <a:pt x="1664" y="2969"/>
                    <a:pt x="1661" y="2971"/>
                  </a:cubicBezTo>
                  <a:cubicBezTo>
                    <a:pt x="1658" y="2974"/>
                    <a:pt x="1656" y="2976"/>
                    <a:pt x="1654" y="2977"/>
                  </a:cubicBezTo>
                  <a:cubicBezTo>
                    <a:pt x="1652" y="2979"/>
                    <a:pt x="1650" y="2983"/>
                    <a:pt x="1652" y="2993"/>
                  </a:cubicBezTo>
                  <a:cubicBezTo>
                    <a:pt x="1653" y="3002"/>
                    <a:pt x="1647" y="3002"/>
                    <a:pt x="1643" y="3003"/>
                  </a:cubicBezTo>
                  <a:cubicBezTo>
                    <a:pt x="1640" y="3004"/>
                    <a:pt x="1640" y="3012"/>
                    <a:pt x="1642" y="3015"/>
                  </a:cubicBezTo>
                  <a:cubicBezTo>
                    <a:pt x="1643" y="3019"/>
                    <a:pt x="1643" y="3024"/>
                    <a:pt x="1643" y="3028"/>
                  </a:cubicBezTo>
                  <a:cubicBezTo>
                    <a:pt x="1643" y="3032"/>
                    <a:pt x="1640" y="3038"/>
                    <a:pt x="1639" y="3042"/>
                  </a:cubicBezTo>
                  <a:cubicBezTo>
                    <a:pt x="1638" y="3046"/>
                    <a:pt x="1637" y="3052"/>
                    <a:pt x="1637" y="3055"/>
                  </a:cubicBezTo>
                  <a:cubicBezTo>
                    <a:pt x="1637" y="3059"/>
                    <a:pt x="1625" y="3058"/>
                    <a:pt x="1622" y="3060"/>
                  </a:cubicBezTo>
                  <a:cubicBezTo>
                    <a:pt x="1619" y="3062"/>
                    <a:pt x="1618" y="3067"/>
                    <a:pt x="1615" y="3068"/>
                  </a:cubicBezTo>
                  <a:cubicBezTo>
                    <a:pt x="1612" y="3068"/>
                    <a:pt x="1609" y="3071"/>
                    <a:pt x="1607" y="3067"/>
                  </a:cubicBezTo>
                  <a:cubicBezTo>
                    <a:pt x="1605" y="3063"/>
                    <a:pt x="1604" y="3052"/>
                    <a:pt x="1610" y="3043"/>
                  </a:cubicBezTo>
                  <a:cubicBezTo>
                    <a:pt x="1616" y="3035"/>
                    <a:pt x="1606" y="3030"/>
                    <a:pt x="1606" y="3024"/>
                  </a:cubicBezTo>
                  <a:cubicBezTo>
                    <a:pt x="1606" y="3019"/>
                    <a:pt x="1602" y="3013"/>
                    <a:pt x="1606" y="3000"/>
                  </a:cubicBezTo>
                  <a:cubicBezTo>
                    <a:pt x="1609" y="2987"/>
                    <a:pt x="1604" y="2986"/>
                    <a:pt x="1601" y="2986"/>
                  </a:cubicBezTo>
                  <a:cubicBezTo>
                    <a:pt x="1598" y="2987"/>
                    <a:pt x="1586" y="2983"/>
                    <a:pt x="1578" y="2984"/>
                  </a:cubicBezTo>
                  <a:cubicBezTo>
                    <a:pt x="1571" y="2986"/>
                    <a:pt x="1568" y="2993"/>
                    <a:pt x="1565" y="2994"/>
                  </a:cubicBezTo>
                  <a:cubicBezTo>
                    <a:pt x="1563" y="2995"/>
                    <a:pt x="1555" y="2998"/>
                    <a:pt x="1555" y="3005"/>
                  </a:cubicBezTo>
                  <a:cubicBezTo>
                    <a:pt x="1554" y="3012"/>
                    <a:pt x="1551" y="3011"/>
                    <a:pt x="1546" y="3011"/>
                  </a:cubicBezTo>
                  <a:cubicBezTo>
                    <a:pt x="1542" y="3011"/>
                    <a:pt x="1540" y="3015"/>
                    <a:pt x="1541" y="3021"/>
                  </a:cubicBezTo>
                  <a:cubicBezTo>
                    <a:pt x="1542" y="3027"/>
                    <a:pt x="1537" y="3025"/>
                    <a:pt x="1533" y="3022"/>
                  </a:cubicBezTo>
                  <a:cubicBezTo>
                    <a:pt x="1529" y="3019"/>
                    <a:pt x="1535" y="3011"/>
                    <a:pt x="1536" y="3008"/>
                  </a:cubicBezTo>
                  <a:cubicBezTo>
                    <a:pt x="1537" y="3005"/>
                    <a:pt x="1543" y="3000"/>
                    <a:pt x="1544" y="2998"/>
                  </a:cubicBezTo>
                  <a:cubicBezTo>
                    <a:pt x="1546" y="2996"/>
                    <a:pt x="1552" y="2987"/>
                    <a:pt x="1553" y="2985"/>
                  </a:cubicBezTo>
                  <a:cubicBezTo>
                    <a:pt x="1555" y="2983"/>
                    <a:pt x="1555" y="2975"/>
                    <a:pt x="1556" y="2970"/>
                  </a:cubicBezTo>
                  <a:cubicBezTo>
                    <a:pt x="1557" y="2965"/>
                    <a:pt x="1572" y="2956"/>
                    <a:pt x="1582" y="2951"/>
                  </a:cubicBezTo>
                  <a:cubicBezTo>
                    <a:pt x="1592" y="2946"/>
                    <a:pt x="1584" y="2937"/>
                    <a:pt x="1584" y="2929"/>
                  </a:cubicBezTo>
                  <a:cubicBezTo>
                    <a:pt x="1583" y="2921"/>
                    <a:pt x="1590" y="2917"/>
                    <a:pt x="1593" y="2910"/>
                  </a:cubicBezTo>
                  <a:cubicBezTo>
                    <a:pt x="1596" y="2902"/>
                    <a:pt x="1591" y="2898"/>
                    <a:pt x="1589" y="2892"/>
                  </a:cubicBezTo>
                  <a:cubicBezTo>
                    <a:pt x="1587" y="2887"/>
                    <a:pt x="1579" y="2885"/>
                    <a:pt x="1579" y="2876"/>
                  </a:cubicBezTo>
                  <a:cubicBezTo>
                    <a:pt x="1579" y="2867"/>
                    <a:pt x="1565" y="2872"/>
                    <a:pt x="1559" y="2872"/>
                  </a:cubicBezTo>
                  <a:cubicBezTo>
                    <a:pt x="1553" y="2872"/>
                    <a:pt x="1540" y="2870"/>
                    <a:pt x="1540" y="2864"/>
                  </a:cubicBezTo>
                  <a:cubicBezTo>
                    <a:pt x="1540" y="2857"/>
                    <a:pt x="1526" y="2855"/>
                    <a:pt x="1524" y="2853"/>
                  </a:cubicBezTo>
                  <a:cubicBezTo>
                    <a:pt x="1521" y="2851"/>
                    <a:pt x="1508" y="2850"/>
                    <a:pt x="1502" y="2851"/>
                  </a:cubicBezTo>
                  <a:cubicBezTo>
                    <a:pt x="1497" y="2852"/>
                    <a:pt x="1501" y="2861"/>
                    <a:pt x="1497" y="2870"/>
                  </a:cubicBezTo>
                  <a:cubicBezTo>
                    <a:pt x="1493" y="2880"/>
                    <a:pt x="1495" y="2881"/>
                    <a:pt x="1490" y="2880"/>
                  </a:cubicBezTo>
                  <a:cubicBezTo>
                    <a:pt x="1486" y="2880"/>
                    <a:pt x="1481" y="2884"/>
                    <a:pt x="1479" y="2891"/>
                  </a:cubicBezTo>
                  <a:cubicBezTo>
                    <a:pt x="1477" y="2898"/>
                    <a:pt x="1470" y="2906"/>
                    <a:pt x="1467" y="2909"/>
                  </a:cubicBezTo>
                  <a:cubicBezTo>
                    <a:pt x="1464" y="2912"/>
                    <a:pt x="1452" y="2901"/>
                    <a:pt x="1448" y="2901"/>
                  </a:cubicBezTo>
                  <a:cubicBezTo>
                    <a:pt x="1443" y="2901"/>
                    <a:pt x="1448" y="2908"/>
                    <a:pt x="1444" y="2913"/>
                  </a:cubicBezTo>
                  <a:cubicBezTo>
                    <a:pt x="1440" y="2918"/>
                    <a:pt x="1436" y="2916"/>
                    <a:pt x="1433" y="2917"/>
                  </a:cubicBezTo>
                  <a:cubicBezTo>
                    <a:pt x="1429" y="2917"/>
                    <a:pt x="1430" y="2921"/>
                    <a:pt x="1428" y="2933"/>
                  </a:cubicBezTo>
                  <a:cubicBezTo>
                    <a:pt x="1426" y="2946"/>
                    <a:pt x="1422" y="2946"/>
                    <a:pt x="1417" y="2950"/>
                  </a:cubicBezTo>
                  <a:cubicBezTo>
                    <a:pt x="1411" y="2954"/>
                    <a:pt x="1410" y="2956"/>
                    <a:pt x="1405" y="2961"/>
                  </a:cubicBezTo>
                  <a:cubicBezTo>
                    <a:pt x="1401" y="2967"/>
                    <a:pt x="1402" y="2969"/>
                    <a:pt x="1397" y="2975"/>
                  </a:cubicBezTo>
                  <a:cubicBezTo>
                    <a:pt x="1392" y="2981"/>
                    <a:pt x="1389" y="2986"/>
                    <a:pt x="1385" y="3012"/>
                  </a:cubicBezTo>
                  <a:cubicBezTo>
                    <a:pt x="1381" y="3037"/>
                    <a:pt x="1380" y="3019"/>
                    <a:pt x="1378" y="3026"/>
                  </a:cubicBezTo>
                  <a:cubicBezTo>
                    <a:pt x="1376" y="3033"/>
                    <a:pt x="1377" y="3039"/>
                    <a:pt x="1380" y="3049"/>
                  </a:cubicBezTo>
                  <a:cubicBezTo>
                    <a:pt x="1383" y="3059"/>
                    <a:pt x="1382" y="3052"/>
                    <a:pt x="1382" y="3055"/>
                  </a:cubicBezTo>
                  <a:cubicBezTo>
                    <a:pt x="1382" y="3059"/>
                    <a:pt x="1382" y="3060"/>
                    <a:pt x="1381" y="3066"/>
                  </a:cubicBezTo>
                  <a:cubicBezTo>
                    <a:pt x="1380" y="3072"/>
                    <a:pt x="1381" y="3078"/>
                    <a:pt x="1381" y="3082"/>
                  </a:cubicBezTo>
                  <a:cubicBezTo>
                    <a:pt x="1381" y="3086"/>
                    <a:pt x="1379" y="3098"/>
                    <a:pt x="1377" y="3103"/>
                  </a:cubicBezTo>
                  <a:cubicBezTo>
                    <a:pt x="1376" y="3109"/>
                    <a:pt x="1378" y="3115"/>
                    <a:pt x="1376" y="3119"/>
                  </a:cubicBezTo>
                  <a:cubicBezTo>
                    <a:pt x="1373" y="3123"/>
                    <a:pt x="1373" y="3128"/>
                    <a:pt x="1367" y="3131"/>
                  </a:cubicBezTo>
                  <a:cubicBezTo>
                    <a:pt x="1361" y="3134"/>
                    <a:pt x="1360" y="3133"/>
                    <a:pt x="1359" y="3137"/>
                  </a:cubicBezTo>
                  <a:cubicBezTo>
                    <a:pt x="1358" y="3140"/>
                    <a:pt x="1359" y="3146"/>
                    <a:pt x="1359" y="3150"/>
                  </a:cubicBezTo>
                  <a:cubicBezTo>
                    <a:pt x="1359" y="3154"/>
                    <a:pt x="1355" y="3157"/>
                    <a:pt x="1344" y="3158"/>
                  </a:cubicBezTo>
                  <a:cubicBezTo>
                    <a:pt x="1333" y="3159"/>
                    <a:pt x="1336" y="3162"/>
                    <a:pt x="1333" y="3171"/>
                  </a:cubicBezTo>
                  <a:cubicBezTo>
                    <a:pt x="1331" y="3179"/>
                    <a:pt x="1326" y="3186"/>
                    <a:pt x="1323" y="3187"/>
                  </a:cubicBezTo>
                  <a:cubicBezTo>
                    <a:pt x="1320" y="3187"/>
                    <a:pt x="1312" y="3192"/>
                    <a:pt x="1305" y="3189"/>
                  </a:cubicBezTo>
                  <a:cubicBezTo>
                    <a:pt x="1297" y="3186"/>
                    <a:pt x="1298" y="3185"/>
                    <a:pt x="1295" y="3178"/>
                  </a:cubicBezTo>
                  <a:cubicBezTo>
                    <a:pt x="1291" y="3171"/>
                    <a:pt x="1292" y="3166"/>
                    <a:pt x="1292" y="3160"/>
                  </a:cubicBezTo>
                  <a:cubicBezTo>
                    <a:pt x="1292" y="3154"/>
                    <a:pt x="1291" y="3150"/>
                    <a:pt x="1292" y="3142"/>
                  </a:cubicBezTo>
                  <a:cubicBezTo>
                    <a:pt x="1294" y="3134"/>
                    <a:pt x="1295" y="3124"/>
                    <a:pt x="1296" y="3119"/>
                  </a:cubicBezTo>
                  <a:cubicBezTo>
                    <a:pt x="1298" y="3114"/>
                    <a:pt x="1303" y="3106"/>
                    <a:pt x="1301" y="3099"/>
                  </a:cubicBezTo>
                  <a:cubicBezTo>
                    <a:pt x="1298" y="3093"/>
                    <a:pt x="1303" y="3083"/>
                    <a:pt x="1302" y="3077"/>
                  </a:cubicBezTo>
                  <a:cubicBezTo>
                    <a:pt x="1301" y="3072"/>
                    <a:pt x="1298" y="3068"/>
                    <a:pt x="1296" y="3063"/>
                  </a:cubicBezTo>
                  <a:cubicBezTo>
                    <a:pt x="1294" y="3058"/>
                    <a:pt x="1295" y="3059"/>
                    <a:pt x="1311" y="3062"/>
                  </a:cubicBezTo>
                  <a:cubicBezTo>
                    <a:pt x="1326" y="3066"/>
                    <a:pt x="1315" y="3055"/>
                    <a:pt x="1313" y="3050"/>
                  </a:cubicBezTo>
                  <a:cubicBezTo>
                    <a:pt x="1311" y="3045"/>
                    <a:pt x="1320" y="3034"/>
                    <a:pt x="1325" y="3025"/>
                  </a:cubicBezTo>
                  <a:cubicBezTo>
                    <a:pt x="1330" y="3016"/>
                    <a:pt x="1323" y="3019"/>
                    <a:pt x="1329" y="3011"/>
                  </a:cubicBezTo>
                  <a:cubicBezTo>
                    <a:pt x="1335" y="3002"/>
                    <a:pt x="1333" y="2998"/>
                    <a:pt x="1342" y="2993"/>
                  </a:cubicBezTo>
                  <a:cubicBezTo>
                    <a:pt x="1349" y="2990"/>
                    <a:pt x="1352" y="2977"/>
                    <a:pt x="1352" y="2975"/>
                  </a:cubicBezTo>
                  <a:cubicBezTo>
                    <a:pt x="1353" y="2973"/>
                    <a:pt x="1353" y="2968"/>
                    <a:pt x="1355" y="2963"/>
                  </a:cubicBezTo>
                  <a:cubicBezTo>
                    <a:pt x="1356" y="2958"/>
                    <a:pt x="1352" y="2955"/>
                    <a:pt x="1352" y="2952"/>
                  </a:cubicBezTo>
                  <a:cubicBezTo>
                    <a:pt x="1352" y="2949"/>
                    <a:pt x="1360" y="2949"/>
                    <a:pt x="1363" y="2946"/>
                  </a:cubicBezTo>
                  <a:cubicBezTo>
                    <a:pt x="1366" y="2943"/>
                    <a:pt x="1370" y="2939"/>
                    <a:pt x="1372" y="2933"/>
                  </a:cubicBezTo>
                  <a:cubicBezTo>
                    <a:pt x="1374" y="2928"/>
                    <a:pt x="1377" y="2927"/>
                    <a:pt x="1378" y="2923"/>
                  </a:cubicBezTo>
                  <a:cubicBezTo>
                    <a:pt x="1379" y="2919"/>
                    <a:pt x="1382" y="2917"/>
                    <a:pt x="1382" y="2917"/>
                  </a:cubicBezTo>
                  <a:cubicBezTo>
                    <a:pt x="1382" y="2917"/>
                    <a:pt x="1389" y="2915"/>
                    <a:pt x="1392" y="2915"/>
                  </a:cubicBezTo>
                  <a:cubicBezTo>
                    <a:pt x="1394" y="2915"/>
                    <a:pt x="1397" y="2906"/>
                    <a:pt x="1399" y="2902"/>
                  </a:cubicBezTo>
                  <a:cubicBezTo>
                    <a:pt x="1400" y="2897"/>
                    <a:pt x="1392" y="2892"/>
                    <a:pt x="1392" y="2892"/>
                  </a:cubicBezTo>
                  <a:cubicBezTo>
                    <a:pt x="1392" y="2892"/>
                    <a:pt x="1386" y="2896"/>
                    <a:pt x="1386" y="2899"/>
                  </a:cubicBezTo>
                  <a:cubicBezTo>
                    <a:pt x="1386" y="2901"/>
                    <a:pt x="1382" y="2904"/>
                    <a:pt x="1378" y="2902"/>
                  </a:cubicBezTo>
                  <a:cubicBezTo>
                    <a:pt x="1374" y="2901"/>
                    <a:pt x="1372" y="2905"/>
                    <a:pt x="1370" y="2909"/>
                  </a:cubicBezTo>
                  <a:cubicBezTo>
                    <a:pt x="1369" y="2913"/>
                    <a:pt x="1367" y="2917"/>
                    <a:pt x="1363" y="2919"/>
                  </a:cubicBezTo>
                  <a:cubicBezTo>
                    <a:pt x="1358" y="2921"/>
                    <a:pt x="1356" y="2924"/>
                    <a:pt x="1353" y="2927"/>
                  </a:cubicBezTo>
                  <a:cubicBezTo>
                    <a:pt x="1350" y="2930"/>
                    <a:pt x="1348" y="2936"/>
                    <a:pt x="1346" y="2940"/>
                  </a:cubicBezTo>
                  <a:cubicBezTo>
                    <a:pt x="1345" y="2945"/>
                    <a:pt x="1342" y="2946"/>
                    <a:pt x="1338" y="2944"/>
                  </a:cubicBezTo>
                  <a:cubicBezTo>
                    <a:pt x="1333" y="2943"/>
                    <a:pt x="1336" y="2938"/>
                    <a:pt x="1339" y="2935"/>
                  </a:cubicBezTo>
                  <a:cubicBezTo>
                    <a:pt x="1341" y="2932"/>
                    <a:pt x="1343" y="2927"/>
                    <a:pt x="1345" y="2924"/>
                  </a:cubicBezTo>
                  <a:cubicBezTo>
                    <a:pt x="1348" y="2920"/>
                    <a:pt x="1351" y="2916"/>
                    <a:pt x="1352" y="2914"/>
                  </a:cubicBezTo>
                  <a:cubicBezTo>
                    <a:pt x="1354" y="2911"/>
                    <a:pt x="1358" y="2905"/>
                    <a:pt x="1361" y="2900"/>
                  </a:cubicBezTo>
                  <a:cubicBezTo>
                    <a:pt x="1364" y="2896"/>
                    <a:pt x="1368" y="2892"/>
                    <a:pt x="1371" y="2891"/>
                  </a:cubicBezTo>
                  <a:cubicBezTo>
                    <a:pt x="1374" y="2889"/>
                    <a:pt x="1380" y="2883"/>
                    <a:pt x="1383" y="2883"/>
                  </a:cubicBezTo>
                  <a:cubicBezTo>
                    <a:pt x="1387" y="2882"/>
                    <a:pt x="1392" y="2877"/>
                    <a:pt x="1394" y="2874"/>
                  </a:cubicBezTo>
                  <a:cubicBezTo>
                    <a:pt x="1395" y="2872"/>
                    <a:pt x="1399" y="2867"/>
                    <a:pt x="1401" y="2864"/>
                  </a:cubicBezTo>
                  <a:cubicBezTo>
                    <a:pt x="1402" y="2861"/>
                    <a:pt x="1409" y="2853"/>
                    <a:pt x="1412" y="2852"/>
                  </a:cubicBezTo>
                  <a:cubicBezTo>
                    <a:pt x="1415" y="2852"/>
                    <a:pt x="1422" y="2853"/>
                    <a:pt x="1426" y="2855"/>
                  </a:cubicBezTo>
                  <a:cubicBezTo>
                    <a:pt x="1430" y="2856"/>
                    <a:pt x="1442" y="2851"/>
                    <a:pt x="1446" y="2848"/>
                  </a:cubicBezTo>
                  <a:cubicBezTo>
                    <a:pt x="1449" y="2845"/>
                    <a:pt x="1455" y="2837"/>
                    <a:pt x="1458" y="2835"/>
                  </a:cubicBezTo>
                  <a:cubicBezTo>
                    <a:pt x="1461" y="2833"/>
                    <a:pt x="1488" y="2829"/>
                    <a:pt x="1493" y="2830"/>
                  </a:cubicBezTo>
                  <a:cubicBezTo>
                    <a:pt x="1497" y="2832"/>
                    <a:pt x="1507" y="2834"/>
                    <a:pt x="1513" y="2836"/>
                  </a:cubicBezTo>
                  <a:cubicBezTo>
                    <a:pt x="1519" y="2837"/>
                    <a:pt x="1518" y="2830"/>
                    <a:pt x="1525" y="2825"/>
                  </a:cubicBezTo>
                  <a:cubicBezTo>
                    <a:pt x="1532" y="2820"/>
                    <a:pt x="1535" y="2825"/>
                    <a:pt x="1538" y="2827"/>
                  </a:cubicBezTo>
                  <a:cubicBezTo>
                    <a:pt x="1541" y="2830"/>
                    <a:pt x="1549" y="2832"/>
                    <a:pt x="1549" y="2832"/>
                  </a:cubicBezTo>
                  <a:cubicBezTo>
                    <a:pt x="1549" y="2832"/>
                    <a:pt x="1560" y="2835"/>
                    <a:pt x="1565" y="2832"/>
                  </a:cubicBezTo>
                  <a:cubicBezTo>
                    <a:pt x="1569" y="2829"/>
                    <a:pt x="1565" y="2824"/>
                    <a:pt x="1565" y="2819"/>
                  </a:cubicBezTo>
                  <a:cubicBezTo>
                    <a:pt x="1565" y="2814"/>
                    <a:pt x="1563" y="2811"/>
                    <a:pt x="1560" y="2805"/>
                  </a:cubicBezTo>
                  <a:cubicBezTo>
                    <a:pt x="1557" y="2800"/>
                    <a:pt x="1564" y="2798"/>
                    <a:pt x="1569" y="2796"/>
                  </a:cubicBezTo>
                  <a:close/>
                  <a:moveTo>
                    <a:pt x="1320" y="2689"/>
                  </a:moveTo>
                  <a:cubicBezTo>
                    <a:pt x="1330" y="2681"/>
                    <a:pt x="1331" y="2685"/>
                    <a:pt x="1341" y="2677"/>
                  </a:cubicBezTo>
                  <a:cubicBezTo>
                    <a:pt x="1350" y="2670"/>
                    <a:pt x="1354" y="2655"/>
                    <a:pt x="1356" y="2649"/>
                  </a:cubicBezTo>
                  <a:cubicBezTo>
                    <a:pt x="1358" y="2644"/>
                    <a:pt x="1358" y="2636"/>
                    <a:pt x="1365" y="2634"/>
                  </a:cubicBezTo>
                  <a:cubicBezTo>
                    <a:pt x="1373" y="2632"/>
                    <a:pt x="1382" y="2623"/>
                    <a:pt x="1388" y="2627"/>
                  </a:cubicBezTo>
                  <a:cubicBezTo>
                    <a:pt x="1394" y="2630"/>
                    <a:pt x="1407" y="2634"/>
                    <a:pt x="1405" y="2627"/>
                  </a:cubicBezTo>
                  <a:cubicBezTo>
                    <a:pt x="1403" y="2619"/>
                    <a:pt x="1414" y="2625"/>
                    <a:pt x="1422" y="2619"/>
                  </a:cubicBezTo>
                  <a:cubicBezTo>
                    <a:pt x="1429" y="2613"/>
                    <a:pt x="1426" y="2591"/>
                    <a:pt x="1433" y="2595"/>
                  </a:cubicBezTo>
                  <a:cubicBezTo>
                    <a:pt x="1441" y="2598"/>
                    <a:pt x="1446" y="2591"/>
                    <a:pt x="1456" y="2604"/>
                  </a:cubicBezTo>
                  <a:cubicBezTo>
                    <a:pt x="1465" y="2617"/>
                    <a:pt x="1480" y="2619"/>
                    <a:pt x="1490" y="2613"/>
                  </a:cubicBezTo>
                  <a:cubicBezTo>
                    <a:pt x="1499" y="2608"/>
                    <a:pt x="1510" y="2606"/>
                    <a:pt x="1510" y="2617"/>
                  </a:cubicBezTo>
                  <a:cubicBezTo>
                    <a:pt x="1510" y="2628"/>
                    <a:pt x="1516" y="2630"/>
                    <a:pt x="1512" y="2651"/>
                  </a:cubicBezTo>
                  <a:cubicBezTo>
                    <a:pt x="1508" y="2672"/>
                    <a:pt x="1503" y="2676"/>
                    <a:pt x="1516" y="2677"/>
                  </a:cubicBezTo>
                  <a:cubicBezTo>
                    <a:pt x="1529" y="2679"/>
                    <a:pt x="1554" y="2672"/>
                    <a:pt x="1548" y="2683"/>
                  </a:cubicBezTo>
                  <a:cubicBezTo>
                    <a:pt x="1542" y="2694"/>
                    <a:pt x="1540" y="2696"/>
                    <a:pt x="1538" y="2704"/>
                  </a:cubicBezTo>
                  <a:cubicBezTo>
                    <a:pt x="1537" y="2711"/>
                    <a:pt x="1535" y="2713"/>
                    <a:pt x="1544" y="2721"/>
                  </a:cubicBezTo>
                  <a:cubicBezTo>
                    <a:pt x="1554" y="2728"/>
                    <a:pt x="1569" y="2725"/>
                    <a:pt x="1557" y="2736"/>
                  </a:cubicBezTo>
                  <a:cubicBezTo>
                    <a:pt x="1546" y="2747"/>
                    <a:pt x="1546" y="2751"/>
                    <a:pt x="1548" y="2760"/>
                  </a:cubicBezTo>
                  <a:cubicBezTo>
                    <a:pt x="1550" y="2770"/>
                    <a:pt x="1563" y="2785"/>
                    <a:pt x="1548" y="2785"/>
                  </a:cubicBezTo>
                  <a:cubicBezTo>
                    <a:pt x="1533" y="2785"/>
                    <a:pt x="1546" y="2798"/>
                    <a:pt x="1533" y="2785"/>
                  </a:cubicBezTo>
                  <a:cubicBezTo>
                    <a:pt x="1520" y="2772"/>
                    <a:pt x="1529" y="2766"/>
                    <a:pt x="1520" y="2772"/>
                  </a:cubicBezTo>
                  <a:cubicBezTo>
                    <a:pt x="1510" y="2777"/>
                    <a:pt x="1514" y="2787"/>
                    <a:pt x="1497" y="2787"/>
                  </a:cubicBezTo>
                  <a:cubicBezTo>
                    <a:pt x="1480" y="2787"/>
                    <a:pt x="1473" y="2785"/>
                    <a:pt x="1459" y="2783"/>
                  </a:cubicBezTo>
                  <a:cubicBezTo>
                    <a:pt x="1446" y="2781"/>
                    <a:pt x="1441" y="2785"/>
                    <a:pt x="1435" y="2787"/>
                  </a:cubicBezTo>
                  <a:cubicBezTo>
                    <a:pt x="1429" y="2789"/>
                    <a:pt x="1420" y="2796"/>
                    <a:pt x="1420" y="2796"/>
                  </a:cubicBezTo>
                  <a:cubicBezTo>
                    <a:pt x="1420" y="2796"/>
                    <a:pt x="1410" y="2800"/>
                    <a:pt x="1401" y="2785"/>
                  </a:cubicBezTo>
                  <a:cubicBezTo>
                    <a:pt x="1392" y="2770"/>
                    <a:pt x="1404" y="2767"/>
                    <a:pt x="1398" y="2765"/>
                  </a:cubicBezTo>
                  <a:cubicBezTo>
                    <a:pt x="1391" y="2763"/>
                    <a:pt x="1387" y="2760"/>
                    <a:pt x="1381" y="2759"/>
                  </a:cubicBezTo>
                  <a:cubicBezTo>
                    <a:pt x="1375" y="2758"/>
                    <a:pt x="1369" y="2757"/>
                    <a:pt x="1369" y="2754"/>
                  </a:cubicBezTo>
                  <a:cubicBezTo>
                    <a:pt x="1370" y="2751"/>
                    <a:pt x="1369" y="2745"/>
                    <a:pt x="1372" y="2745"/>
                  </a:cubicBezTo>
                  <a:cubicBezTo>
                    <a:pt x="1375" y="2745"/>
                    <a:pt x="1378" y="2745"/>
                    <a:pt x="1382" y="2742"/>
                  </a:cubicBezTo>
                  <a:cubicBezTo>
                    <a:pt x="1386" y="2738"/>
                    <a:pt x="1387" y="2734"/>
                    <a:pt x="1389" y="2731"/>
                  </a:cubicBezTo>
                  <a:cubicBezTo>
                    <a:pt x="1390" y="2727"/>
                    <a:pt x="1392" y="2724"/>
                    <a:pt x="1396" y="2724"/>
                  </a:cubicBezTo>
                  <a:cubicBezTo>
                    <a:pt x="1400" y="2724"/>
                    <a:pt x="1399" y="2726"/>
                    <a:pt x="1402" y="2722"/>
                  </a:cubicBezTo>
                  <a:cubicBezTo>
                    <a:pt x="1404" y="2717"/>
                    <a:pt x="1409" y="2722"/>
                    <a:pt x="1404" y="2717"/>
                  </a:cubicBezTo>
                  <a:cubicBezTo>
                    <a:pt x="1399" y="2713"/>
                    <a:pt x="1398" y="2715"/>
                    <a:pt x="1394" y="2714"/>
                  </a:cubicBezTo>
                  <a:cubicBezTo>
                    <a:pt x="1389" y="2713"/>
                    <a:pt x="1388" y="2711"/>
                    <a:pt x="1384" y="2711"/>
                  </a:cubicBezTo>
                  <a:cubicBezTo>
                    <a:pt x="1380" y="2711"/>
                    <a:pt x="1378" y="2711"/>
                    <a:pt x="1376" y="2712"/>
                  </a:cubicBezTo>
                  <a:cubicBezTo>
                    <a:pt x="1373" y="2713"/>
                    <a:pt x="1373" y="2714"/>
                    <a:pt x="1370" y="2717"/>
                  </a:cubicBezTo>
                  <a:cubicBezTo>
                    <a:pt x="1367" y="2720"/>
                    <a:pt x="1362" y="2722"/>
                    <a:pt x="1358" y="2726"/>
                  </a:cubicBezTo>
                  <a:cubicBezTo>
                    <a:pt x="1353" y="2730"/>
                    <a:pt x="1346" y="2733"/>
                    <a:pt x="1342" y="2735"/>
                  </a:cubicBezTo>
                  <a:cubicBezTo>
                    <a:pt x="1337" y="2738"/>
                    <a:pt x="1331" y="2739"/>
                    <a:pt x="1330" y="2746"/>
                  </a:cubicBezTo>
                  <a:cubicBezTo>
                    <a:pt x="1329" y="2752"/>
                    <a:pt x="1331" y="2754"/>
                    <a:pt x="1323" y="2758"/>
                  </a:cubicBezTo>
                  <a:cubicBezTo>
                    <a:pt x="1314" y="2763"/>
                    <a:pt x="1312" y="2767"/>
                    <a:pt x="1305" y="2765"/>
                  </a:cubicBezTo>
                  <a:cubicBezTo>
                    <a:pt x="1298" y="2763"/>
                    <a:pt x="1287" y="2761"/>
                    <a:pt x="1284" y="2764"/>
                  </a:cubicBezTo>
                  <a:cubicBezTo>
                    <a:pt x="1281" y="2766"/>
                    <a:pt x="1276" y="2771"/>
                    <a:pt x="1272" y="2773"/>
                  </a:cubicBezTo>
                  <a:cubicBezTo>
                    <a:pt x="1267" y="2775"/>
                    <a:pt x="1261" y="2784"/>
                    <a:pt x="1256" y="2784"/>
                  </a:cubicBezTo>
                  <a:cubicBezTo>
                    <a:pt x="1250" y="2784"/>
                    <a:pt x="1242" y="2781"/>
                    <a:pt x="1241" y="2778"/>
                  </a:cubicBezTo>
                  <a:cubicBezTo>
                    <a:pt x="1241" y="2775"/>
                    <a:pt x="1241" y="2770"/>
                    <a:pt x="1241" y="2766"/>
                  </a:cubicBezTo>
                  <a:cubicBezTo>
                    <a:pt x="1241" y="2762"/>
                    <a:pt x="1237" y="2759"/>
                    <a:pt x="1237" y="2759"/>
                  </a:cubicBezTo>
                  <a:cubicBezTo>
                    <a:pt x="1237" y="2759"/>
                    <a:pt x="1239" y="2759"/>
                    <a:pt x="1230" y="2760"/>
                  </a:cubicBezTo>
                  <a:cubicBezTo>
                    <a:pt x="1230" y="2760"/>
                    <a:pt x="1217" y="2777"/>
                    <a:pt x="1200" y="2779"/>
                  </a:cubicBezTo>
                  <a:cubicBezTo>
                    <a:pt x="1183" y="2781"/>
                    <a:pt x="1188" y="2792"/>
                    <a:pt x="1179" y="2789"/>
                  </a:cubicBezTo>
                  <a:cubicBezTo>
                    <a:pt x="1169" y="2785"/>
                    <a:pt x="1171" y="2773"/>
                    <a:pt x="1179" y="2766"/>
                  </a:cubicBezTo>
                  <a:cubicBezTo>
                    <a:pt x="1186" y="2758"/>
                    <a:pt x="1205" y="2751"/>
                    <a:pt x="1211" y="2749"/>
                  </a:cubicBezTo>
                  <a:cubicBezTo>
                    <a:pt x="1217" y="2747"/>
                    <a:pt x="1232" y="2749"/>
                    <a:pt x="1239" y="2741"/>
                  </a:cubicBezTo>
                  <a:cubicBezTo>
                    <a:pt x="1247" y="2734"/>
                    <a:pt x="1262" y="2728"/>
                    <a:pt x="1265" y="2721"/>
                  </a:cubicBezTo>
                  <a:cubicBezTo>
                    <a:pt x="1269" y="2713"/>
                    <a:pt x="1284" y="2702"/>
                    <a:pt x="1296" y="2698"/>
                  </a:cubicBezTo>
                  <a:cubicBezTo>
                    <a:pt x="1307" y="2694"/>
                    <a:pt x="1311" y="2696"/>
                    <a:pt x="1320" y="2689"/>
                  </a:cubicBezTo>
                  <a:close/>
                  <a:moveTo>
                    <a:pt x="1031" y="1589"/>
                  </a:moveTo>
                  <a:cubicBezTo>
                    <a:pt x="1034" y="1581"/>
                    <a:pt x="1038" y="1586"/>
                    <a:pt x="1050" y="1586"/>
                  </a:cubicBezTo>
                  <a:cubicBezTo>
                    <a:pt x="1063" y="1586"/>
                    <a:pt x="1054" y="1579"/>
                    <a:pt x="1058" y="1575"/>
                  </a:cubicBezTo>
                  <a:cubicBezTo>
                    <a:pt x="1063" y="1571"/>
                    <a:pt x="1057" y="1568"/>
                    <a:pt x="1068" y="1567"/>
                  </a:cubicBezTo>
                  <a:cubicBezTo>
                    <a:pt x="1079" y="1566"/>
                    <a:pt x="1074" y="1564"/>
                    <a:pt x="1090" y="1557"/>
                  </a:cubicBezTo>
                  <a:cubicBezTo>
                    <a:pt x="1107" y="1550"/>
                    <a:pt x="1094" y="1549"/>
                    <a:pt x="1105" y="1538"/>
                  </a:cubicBezTo>
                  <a:cubicBezTo>
                    <a:pt x="1116" y="1527"/>
                    <a:pt x="1118" y="1526"/>
                    <a:pt x="1134" y="1516"/>
                  </a:cubicBezTo>
                  <a:cubicBezTo>
                    <a:pt x="1151" y="1506"/>
                    <a:pt x="1150" y="1470"/>
                    <a:pt x="1150" y="1470"/>
                  </a:cubicBezTo>
                  <a:cubicBezTo>
                    <a:pt x="1157" y="1470"/>
                    <a:pt x="1157" y="1480"/>
                    <a:pt x="1162" y="1484"/>
                  </a:cubicBezTo>
                  <a:cubicBezTo>
                    <a:pt x="1168" y="1488"/>
                    <a:pt x="1152" y="1499"/>
                    <a:pt x="1152" y="1513"/>
                  </a:cubicBezTo>
                  <a:cubicBezTo>
                    <a:pt x="1152" y="1527"/>
                    <a:pt x="1152" y="1513"/>
                    <a:pt x="1159" y="1516"/>
                  </a:cubicBezTo>
                  <a:cubicBezTo>
                    <a:pt x="1166" y="1519"/>
                    <a:pt x="1165" y="1513"/>
                    <a:pt x="1179" y="1512"/>
                  </a:cubicBezTo>
                  <a:cubicBezTo>
                    <a:pt x="1193" y="1510"/>
                    <a:pt x="1187" y="1508"/>
                    <a:pt x="1197" y="1503"/>
                  </a:cubicBezTo>
                  <a:cubicBezTo>
                    <a:pt x="1206" y="1499"/>
                    <a:pt x="1205" y="1492"/>
                    <a:pt x="1213" y="1490"/>
                  </a:cubicBezTo>
                  <a:cubicBezTo>
                    <a:pt x="1222" y="1487"/>
                    <a:pt x="1219" y="1484"/>
                    <a:pt x="1228" y="1479"/>
                  </a:cubicBezTo>
                  <a:cubicBezTo>
                    <a:pt x="1238" y="1473"/>
                    <a:pt x="1228" y="1479"/>
                    <a:pt x="1240" y="1477"/>
                  </a:cubicBezTo>
                  <a:cubicBezTo>
                    <a:pt x="1251" y="1476"/>
                    <a:pt x="1246" y="1472"/>
                    <a:pt x="1255" y="1467"/>
                  </a:cubicBezTo>
                  <a:cubicBezTo>
                    <a:pt x="1263" y="1463"/>
                    <a:pt x="1259" y="1456"/>
                    <a:pt x="1269" y="1449"/>
                  </a:cubicBezTo>
                  <a:cubicBezTo>
                    <a:pt x="1278" y="1443"/>
                    <a:pt x="1275" y="1438"/>
                    <a:pt x="1284" y="1444"/>
                  </a:cubicBezTo>
                  <a:cubicBezTo>
                    <a:pt x="1292" y="1449"/>
                    <a:pt x="1284" y="1444"/>
                    <a:pt x="1289" y="1454"/>
                  </a:cubicBezTo>
                  <a:cubicBezTo>
                    <a:pt x="1295" y="1463"/>
                    <a:pt x="1295" y="1456"/>
                    <a:pt x="1292" y="1463"/>
                  </a:cubicBezTo>
                  <a:cubicBezTo>
                    <a:pt x="1289" y="1470"/>
                    <a:pt x="1280" y="1470"/>
                    <a:pt x="1270" y="1477"/>
                  </a:cubicBezTo>
                  <a:cubicBezTo>
                    <a:pt x="1260" y="1484"/>
                    <a:pt x="1258" y="1479"/>
                    <a:pt x="1252" y="1485"/>
                  </a:cubicBezTo>
                  <a:cubicBezTo>
                    <a:pt x="1246" y="1492"/>
                    <a:pt x="1252" y="1485"/>
                    <a:pt x="1249" y="1491"/>
                  </a:cubicBezTo>
                  <a:cubicBezTo>
                    <a:pt x="1246" y="1497"/>
                    <a:pt x="1234" y="1495"/>
                    <a:pt x="1230" y="1495"/>
                  </a:cubicBezTo>
                  <a:cubicBezTo>
                    <a:pt x="1226" y="1495"/>
                    <a:pt x="1223" y="1497"/>
                    <a:pt x="1213" y="1506"/>
                  </a:cubicBezTo>
                  <a:cubicBezTo>
                    <a:pt x="1204" y="1516"/>
                    <a:pt x="1197" y="1512"/>
                    <a:pt x="1190" y="1516"/>
                  </a:cubicBezTo>
                  <a:cubicBezTo>
                    <a:pt x="1183" y="1520"/>
                    <a:pt x="1186" y="1521"/>
                    <a:pt x="1184" y="1528"/>
                  </a:cubicBezTo>
                  <a:cubicBezTo>
                    <a:pt x="1183" y="1535"/>
                    <a:pt x="1169" y="1538"/>
                    <a:pt x="1162" y="1542"/>
                  </a:cubicBezTo>
                  <a:cubicBezTo>
                    <a:pt x="1155" y="1546"/>
                    <a:pt x="1151" y="1541"/>
                    <a:pt x="1147" y="1548"/>
                  </a:cubicBezTo>
                  <a:cubicBezTo>
                    <a:pt x="1143" y="1555"/>
                    <a:pt x="1143" y="1556"/>
                    <a:pt x="1143" y="1563"/>
                  </a:cubicBezTo>
                  <a:cubicBezTo>
                    <a:pt x="1143" y="1570"/>
                    <a:pt x="1132" y="1566"/>
                    <a:pt x="1132" y="1566"/>
                  </a:cubicBezTo>
                  <a:cubicBezTo>
                    <a:pt x="1132" y="1566"/>
                    <a:pt x="1116" y="1566"/>
                    <a:pt x="1115" y="1570"/>
                  </a:cubicBezTo>
                  <a:cubicBezTo>
                    <a:pt x="1114" y="1574"/>
                    <a:pt x="1108" y="1575"/>
                    <a:pt x="1105" y="1581"/>
                  </a:cubicBezTo>
                  <a:cubicBezTo>
                    <a:pt x="1103" y="1586"/>
                    <a:pt x="1093" y="1591"/>
                    <a:pt x="1089" y="1595"/>
                  </a:cubicBezTo>
                  <a:cubicBezTo>
                    <a:pt x="1085" y="1599"/>
                    <a:pt x="1076" y="1596"/>
                    <a:pt x="1068" y="1603"/>
                  </a:cubicBezTo>
                  <a:cubicBezTo>
                    <a:pt x="1060" y="1610"/>
                    <a:pt x="1061" y="1611"/>
                    <a:pt x="1054" y="1609"/>
                  </a:cubicBezTo>
                  <a:cubicBezTo>
                    <a:pt x="1047" y="1606"/>
                    <a:pt x="1032" y="1614"/>
                    <a:pt x="1031" y="1610"/>
                  </a:cubicBezTo>
                  <a:cubicBezTo>
                    <a:pt x="1029" y="1606"/>
                    <a:pt x="1028" y="1597"/>
                    <a:pt x="1031" y="1589"/>
                  </a:cubicBezTo>
                  <a:close/>
                  <a:moveTo>
                    <a:pt x="2735" y="7350"/>
                  </a:moveTo>
                  <a:cubicBezTo>
                    <a:pt x="2726" y="7349"/>
                    <a:pt x="2728" y="7340"/>
                    <a:pt x="2728" y="7340"/>
                  </a:cubicBezTo>
                  <a:cubicBezTo>
                    <a:pt x="2722" y="7329"/>
                    <a:pt x="2722" y="7329"/>
                    <a:pt x="2722" y="7329"/>
                  </a:cubicBezTo>
                  <a:cubicBezTo>
                    <a:pt x="2707" y="7324"/>
                    <a:pt x="2707" y="7324"/>
                    <a:pt x="2707" y="7324"/>
                  </a:cubicBezTo>
                  <a:cubicBezTo>
                    <a:pt x="2707" y="7324"/>
                    <a:pt x="2702" y="7317"/>
                    <a:pt x="2697" y="7317"/>
                  </a:cubicBezTo>
                  <a:cubicBezTo>
                    <a:pt x="2693" y="7317"/>
                    <a:pt x="2678" y="7313"/>
                    <a:pt x="2674" y="7313"/>
                  </a:cubicBezTo>
                  <a:cubicBezTo>
                    <a:pt x="2670" y="7313"/>
                    <a:pt x="2667" y="7306"/>
                    <a:pt x="2667" y="7301"/>
                  </a:cubicBezTo>
                  <a:cubicBezTo>
                    <a:pt x="2667" y="7297"/>
                    <a:pt x="2663" y="7287"/>
                    <a:pt x="2663" y="7287"/>
                  </a:cubicBezTo>
                  <a:cubicBezTo>
                    <a:pt x="2663" y="7287"/>
                    <a:pt x="2664" y="7275"/>
                    <a:pt x="2668" y="7270"/>
                  </a:cubicBezTo>
                  <a:cubicBezTo>
                    <a:pt x="2673" y="7264"/>
                    <a:pt x="2674" y="7268"/>
                    <a:pt x="2681" y="7270"/>
                  </a:cubicBezTo>
                  <a:cubicBezTo>
                    <a:pt x="2689" y="7271"/>
                    <a:pt x="2693" y="7277"/>
                    <a:pt x="2693" y="7277"/>
                  </a:cubicBezTo>
                  <a:cubicBezTo>
                    <a:pt x="2693" y="7277"/>
                    <a:pt x="2706" y="7288"/>
                    <a:pt x="2710" y="7293"/>
                  </a:cubicBezTo>
                  <a:cubicBezTo>
                    <a:pt x="2715" y="7297"/>
                    <a:pt x="2719" y="7304"/>
                    <a:pt x="2720" y="7311"/>
                  </a:cubicBezTo>
                  <a:cubicBezTo>
                    <a:pt x="2722" y="7319"/>
                    <a:pt x="2735" y="7319"/>
                    <a:pt x="2738" y="7327"/>
                  </a:cubicBezTo>
                  <a:cubicBezTo>
                    <a:pt x="2740" y="7336"/>
                    <a:pt x="2758" y="7345"/>
                    <a:pt x="2758" y="7345"/>
                  </a:cubicBezTo>
                  <a:cubicBezTo>
                    <a:pt x="2758" y="7345"/>
                    <a:pt x="2743" y="7352"/>
                    <a:pt x="2735" y="7350"/>
                  </a:cubicBezTo>
                  <a:close/>
                  <a:moveTo>
                    <a:pt x="2442" y="1406"/>
                  </a:moveTo>
                  <a:cubicBezTo>
                    <a:pt x="2438" y="1406"/>
                    <a:pt x="2423" y="1399"/>
                    <a:pt x="2418" y="1411"/>
                  </a:cubicBezTo>
                  <a:cubicBezTo>
                    <a:pt x="2413" y="1423"/>
                    <a:pt x="2413" y="1428"/>
                    <a:pt x="2419" y="1428"/>
                  </a:cubicBezTo>
                  <a:cubicBezTo>
                    <a:pt x="2426" y="1428"/>
                    <a:pt x="2435" y="1419"/>
                    <a:pt x="2439" y="1423"/>
                  </a:cubicBezTo>
                  <a:cubicBezTo>
                    <a:pt x="2443" y="1427"/>
                    <a:pt x="2444" y="1434"/>
                    <a:pt x="2452" y="1431"/>
                  </a:cubicBezTo>
                  <a:cubicBezTo>
                    <a:pt x="2460" y="1428"/>
                    <a:pt x="2463" y="1424"/>
                    <a:pt x="2466" y="1416"/>
                  </a:cubicBezTo>
                  <a:cubicBezTo>
                    <a:pt x="2468" y="1408"/>
                    <a:pt x="2471" y="1406"/>
                    <a:pt x="2462" y="1406"/>
                  </a:cubicBezTo>
                  <a:cubicBezTo>
                    <a:pt x="2452" y="1406"/>
                    <a:pt x="2442" y="1406"/>
                    <a:pt x="2442" y="1406"/>
                  </a:cubicBezTo>
                  <a:close/>
                  <a:moveTo>
                    <a:pt x="2198" y="5052"/>
                  </a:moveTo>
                  <a:cubicBezTo>
                    <a:pt x="2212" y="5052"/>
                    <a:pt x="2218" y="5044"/>
                    <a:pt x="2226" y="5052"/>
                  </a:cubicBezTo>
                  <a:cubicBezTo>
                    <a:pt x="2234" y="5060"/>
                    <a:pt x="2242" y="5062"/>
                    <a:pt x="2246" y="5058"/>
                  </a:cubicBezTo>
                  <a:cubicBezTo>
                    <a:pt x="2251" y="5053"/>
                    <a:pt x="2259" y="5052"/>
                    <a:pt x="2263" y="5044"/>
                  </a:cubicBezTo>
                  <a:cubicBezTo>
                    <a:pt x="2267" y="5036"/>
                    <a:pt x="2267" y="5029"/>
                    <a:pt x="2272" y="5033"/>
                  </a:cubicBezTo>
                  <a:cubicBezTo>
                    <a:pt x="2278" y="5037"/>
                    <a:pt x="2320" y="5033"/>
                    <a:pt x="2329" y="5037"/>
                  </a:cubicBezTo>
                  <a:cubicBezTo>
                    <a:pt x="2337" y="5041"/>
                    <a:pt x="2340" y="5040"/>
                    <a:pt x="2349" y="5041"/>
                  </a:cubicBezTo>
                  <a:cubicBezTo>
                    <a:pt x="2359" y="5042"/>
                    <a:pt x="2360" y="5040"/>
                    <a:pt x="2368" y="5037"/>
                  </a:cubicBezTo>
                  <a:cubicBezTo>
                    <a:pt x="2377" y="5034"/>
                    <a:pt x="2382" y="5031"/>
                    <a:pt x="2381" y="5023"/>
                  </a:cubicBezTo>
                  <a:cubicBezTo>
                    <a:pt x="2379" y="5015"/>
                    <a:pt x="2374" y="5004"/>
                    <a:pt x="2370" y="5000"/>
                  </a:cubicBezTo>
                  <a:cubicBezTo>
                    <a:pt x="2366" y="4996"/>
                    <a:pt x="2361" y="4988"/>
                    <a:pt x="2355" y="4988"/>
                  </a:cubicBezTo>
                  <a:cubicBezTo>
                    <a:pt x="2348" y="4988"/>
                    <a:pt x="2344" y="4988"/>
                    <a:pt x="2335" y="4989"/>
                  </a:cubicBezTo>
                  <a:cubicBezTo>
                    <a:pt x="2327" y="4990"/>
                    <a:pt x="2314" y="4989"/>
                    <a:pt x="2309" y="4986"/>
                  </a:cubicBezTo>
                  <a:cubicBezTo>
                    <a:pt x="2305" y="4984"/>
                    <a:pt x="2289" y="4981"/>
                    <a:pt x="2298" y="4979"/>
                  </a:cubicBezTo>
                  <a:cubicBezTo>
                    <a:pt x="2308" y="4978"/>
                    <a:pt x="2316" y="4981"/>
                    <a:pt x="2314" y="4974"/>
                  </a:cubicBezTo>
                  <a:cubicBezTo>
                    <a:pt x="2311" y="4967"/>
                    <a:pt x="2315" y="4964"/>
                    <a:pt x="2304" y="4964"/>
                  </a:cubicBezTo>
                  <a:cubicBezTo>
                    <a:pt x="2293" y="4964"/>
                    <a:pt x="2281" y="4968"/>
                    <a:pt x="2278" y="4964"/>
                  </a:cubicBezTo>
                  <a:cubicBezTo>
                    <a:pt x="2275" y="4960"/>
                    <a:pt x="2271" y="4962"/>
                    <a:pt x="2271" y="4953"/>
                  </a:cubicBezTo>
                  <a:cubicBezTo>
                    <a:pt x="2271" y="4945"/>
                    <a:pt x="2268" y="4941"/>
                    <a:pt x="2260" y="4940"/>
                  </a:cubicBezTo>
                  <a:cubicBezTo>
                    <a:pt x="2252" y="4938"/>
                    <a:pt x="2245" y="4936"/>
                    <a:pt x="2241" y="4937"/>
                  </a:cubicBezTo>
                  <a:cubicBezTo>
                    <a:pt x="2237" y="4938"/>
                    <a:pt x="2225" y="4933"/>
                    <a:pt x="2225" y="4933"/>
                  </a:cubicBezTo>
                  <a:cubicBezTo>
                    <a:pt x="2225" y="4933"/>
                    <a:pt x="2218" y="4933"/>
                    <a:pt x="2214" y="4929"/>
                  </a:cubicBezTo>
                  <a:cubicBezTo>
                    <a:pt x="2209" y="4925"/>
                    <a:pt x="2197" y="4923"/>
                    <a:pt x="2197" y="4923"/>
                  </a:cubicBezTo>
                  <a:cubicBezTo>
                    <a:pt x="2197" y="4923"/>
                    <a:pt x="2153" y="4930"/>
                    <a:pt x="2148" y="4927"/>
                  </a:cubicBezTo>
                  <a:cubicBezTo>
                    <a:pt x="2142" y="4925"/>
                    <a:pt x="2144" y="4937"/>
                    <a:pt x="2130" y="4936"/>
                  </a:cubicBezTo>
                  <a:cubicBezTo>
                    <a:pt x="2116" y="4934"/>
                    <a:pt x="2118" y="4937"/>
                    <a:pt x="2107" y="4934"/>
                  </a:cubicBezTo>
                  <a:cubicBezTo>
                    <a:pt x="2096" y="4932"/>
                    <a:pt x="2097" y="4930"/>
                    <a:pt x="2083" y="4929"/>
                  </a:cubicBezTo>
                  <a:cubicBezTo>
                    <a:pt x="2070" y="4927"/>
                    <a:pt x="2083" y="4921"/>
                    <a:pt x="2063" y="4922"/>
                  </a:cubicBezTo>
                  <a:cubicBezTo>
                    <a:pt x="2042" y="4923"/>
                    <a:pt x="2033" y="4923"/>
                    <a:pt x="2027" y="4926"/>
                  </a:cubicBezTo>
                  <a:cubicBezTo>
                    <a:pt x="2022" y="4929"/>
                    <a:pt x="2029" y="4936"/>
                    <a:pt x="2030" y="4940"/>
                  </a:cubicBezTo>
                  <a:cubicBezTo>
                    <a:pt x="2031" y="4944"/>
                    <a:pt x="2037" y="4949"/>
                    <a:pt x="2045" y="4948"/>
                  </a:cubicBezTo>
                  <a:cubicBezTo>
                    <a:pt x="2053" y="4947"/>
                    <a:pt x="2066" y="4941"/>
                    <a:pt x="2064" y="4947"/>
                  </a:cubicBezTo>
                  <a:cubicBezTo>
                    <a:pt x="2063" y="4952"/>
                    <a:pt x="2064" y="4960"/>
                    <a:pt x="2062" y="4966"/>
                  </a:cubicBezTo>
                  <a:cubicBezTo>
                    <a:pt x="2059" y="4971"/>
                    <a:pt x="2062" y="4982"/>
                    <a:pt x="2066" y="4985"/>
                  </a:cubicBezTo>
                  <a:cubicBezTo>
                    <a:pt x="2070" y="4988"/>
                    <a:pt x="2082" y="4989"/>
                    <a:pt x="2081" y="4995"/>
                  </a:cubicBezTo>
                  <a:cubicBezTo>
                    <a:pt x="2079" y="5000"/>
                    <a:pt x="2071" y="5003"/>
                    <a:pt x="2075" y="5008"/>
                  </a:cubicBezTo>
                  <a:cubicBezTo>
                    <a:pt x="2079" y="5014"/>
                    <a:pt x="2094" y="5027"/>
                    <a:pt x="2094" y="5027"/>
                  </a:cubicBezTo>
                  <a:cubicBezTo>
                    <a:pt x="2094" y="5027"/>
                    <a:pt x="2072" y="5030"/>
                    <a:pt x="2062" y="5030"/>
                  </a:cubicBezTo>
                  <a:cubicBezTo>
                    <a:pt x="2051" y="5030"/>
                    <a:pt x="2045" y="5031"/>
                    <a:pt x="2036" y="5027"/>
                  </a:cubicBezTo>
                  <a:cubicBezTo>
                    <a:pt x="2026" y="5023"/>
                    <a:pt x="2009" y="5026"/>
                    <a:pt x="2000" y="5023"/>
                  </a:cubicBezTo>
                  <a:cubicBezTo>
                    <a:pt x="1990" y="5021"/>
                    <a:pt x="1996" y="5021"/>
                    <a:pt x="1979" y="5018"/>
                  </a:cubicBezTo>
                  <a:cubicBezTo>
                    <a:pt x="1963" y="5015"/>
                    <a:pt x="1952" y="5016"/>
                    <a:pt x="1949" y="5021"/>
                  </a:cubicBezTo>
                  <a:cubicBezTo>
                    <a:pt x="1947" y="5025"/>
                    <a:pt x="1936" y="5044"/>
                    <a:pt x="1949" y="5042"/>
                  </a:cubicBezTo>
                  <a:cubicBezTo>
                    <a:pt x="1963" y="5041"/>
                    <a:pt x="1979" y="5048"/>
                    <a:pt x="1977" y="5055"/>
                  </a:cubicBezTo>
                  <a:cubicBezTo>
                    <a:pt x="1974" y="5062"/>
                    <a:pt x="1968" y="5066"/>
                    <a:pt x="1977" y="5068"/>
                  </a:cubicBezTo>
                  <a:cubicBezTo>
                    <a:pt x="1985" y="5071"/>
                    <a:pt x="1993" y="5071"/>
                    <a:pt x="2000" y="5067"/>
                  </a:cubicBezTo>
                  <a:cubicBezTo>
                    <a:pt x="2007" y="5063"/>
                    <a:pt x="2009" y="5058"/>
                    <a:pt x="2015" y="5053"/>
                  </a:cubicBezTo>
                  <a:cubicBezTo>
                    <a:pt x="2020" y="5049"/>
                    <a:pt x="2020" y="5045"/>
                    <a:pt x="2029" y="5049"/>
                  </a:cubicBezTo>
                  <a:cubicBezTo>
                    <a:pt x="2037" y="5053"/>
                    <a:pt x="2042" y="5051"/>
                    <a:pt x="2052" y="5055"/>
                  </a:cubicBezTo>
                  <a:cubicBezTo>
                    <a:pt x="2062" y="5059"/>
                    <a:pt x="2060" y="5045"/>
                    <a:pt x="2074" y="5048"/>
                  </a:cubicBezTo>
                  <a:cubicBezTo>
                    <a:pt x="2088" y="5051"/>
                    <a:pt x="2092" y="5045"/>
                    <a:pt x="2099" y="5048"/>
                  </a:cubicBezTo>
                  <a:cubicBezTo>
                    <a:pt x="2105" y="5051"/>
                    <a:pt x="2112" y="5051"/>
                    <a:pt x="2112" y="5051"/>
                  </a:cubicBezTo>
                  <a:cubicBezTo>
                    <a:pt x="2112" y="5051"/>
                    <a:pt x="2119" y="5051"/>
                    <a:pt x="2125" y="5058"/>
                  </a:cubicBezTo>
                  <a:cubicBezTo>
                    <a:pt x="2130" y="5064"/>
                    <a:pt x="2142" y="5060"/>
                    <a:pt x="2142" y="5068"/>
                  </a:cubicBezTo>
                  <a:cubicBezTo>
                    <a:pt x="2142" y="5077"/>
                    <a:pt x="2138" y="5082"/>
                    <a:pt x="2148" y="5088"/>
                  </a:cubicBezTo>
                  <a:cubicBezTo>
                    <a:pt x="2157" y="5093"/>
                    <a:pt x="2153" y="5088"/>
                    <a:pt x="2164" y="5089"/>
                  </a:cubicBezTo>
                  <a:cubicBezTo>
                    <a:pt x="2175" y="5090"/>
                    <a:pt x="2179" y="5086"/>
                    <a:pt x="2186" y="5084"/>
                  </a:cubicBezTo>
                  <a:cubicBezTo>
                    <a:pt x="2193" y="5081"/>
                    <a:pt x="2198" y="5070"/>
                    <a:pt x="2197" y="5064"/>
                  </a:cubicBezTo>
                  <a:cubicBezTo>
                    <a:pt x="2196" y="5059"/>
                    <a:pt x="2193" y="5052"/>
                    <a:pt x="2198" y="5052"/>
                  </a:cubicBezTo>
                  <a:close/>
                  <a:moveTo>
                    <a:pt x="1727" y="5077"/>
                  </a:moveTo>
                  <a:cubicBezTo>
                    <a:pt x="1738" y="5086"/>
                    <a:pt x="1740" y="5086"/>
                    <a:pt x="1752" y="5088"/>
                  </a:cubicBezTo>
                  <a:cubicBezTo>
                    <a:pt x="1764" y="5089"/>
                    <a:pt x="1768" y="5089"/>
                    <a:pt x="1777" y="5090"/>
                  </a:cubicBezTo>
                  <a:cubicBezTo>
                    <a:pt x="1785" y="5092"/>
                    <a:pt x="1784" y="5089"/>
                    <a:pt x="1793" y="5084"/>
                  </a:cubicBezTo>
                  <a:cubicBezTo>
                    <a:pt x="1803" y="5078"/>
                    <a:pt x="1800" y="5077"/>
                    <a:pt x="1812" y="5081"/>
                  </a:cubicBezTo>
                  <a:cubicBezTo>
                    <a:pt x="1825" y="5085"/>
                    <a:pt x="1826" y="5085"/>
                    <a:pt x="1831" y="5084"/>
                  </a:cubicBezTo>
                  <a:cubicBezTo>
                    <a:pt x="1837" y="5082"/>
                    <a:pt x="1842" y="5084"/>
                    <a:pt x="1844" y="5079"/>
                  </a:cubicBezTo>
                  <a:cubicBezTo>
                    <a:pt x="1845" y="5075"/>
                    <a:pt x="1847" y="5060"/>
                    <a:pt x="1834" y="5060"/>
                  </a:cubicBezTo>
                  <a:cubicBezTo>
                    <a:pt x="1834" y="5060"/>
                    <a:pt x="1808" y="5058"/>
                    <a:pt x="1803" y="5048"/>
                  </a:cubicBezTo>
                  <a:cubicBezTo>
                    <a:pt x="1797" y="5038"/>
                    <a:pt x="1785" y="5033"/>
                    <a:pt x="1779" y="5030"/>
                  </a:cubicBezTo>
                  <a:cubicBezTo>
                    <a:pt x="1774" y="5027"/>
                    <a:pt x="1756" y="5029"/>
                    <a:pt x="1748" y="5029"/>
                  </a:cubicBezTo>
                  <a:cubicBezTo>
                    <a:pt x="1740" y="5029"/>
                    <a:pt x="1716" y="5030"/>
                    <a:pt x="1716" y="5030"/>
                  </a:cubicBezTo>
                  <a:cubicBezTo>
                    <a:pt x="1716" y="5030"/>
                    <a:pt x="1697" y="5034"/>
                    <a:pt x="1692" y="5034"/>
                  </a:cubicBezTo>
                  <a:cubicBezTo>
                    <a:pt x="1686" y="5034"/>
                    <a:pt x="1679" y="5036"/>
                    <a:pt x="1681" y="5040"/>
                  </a:cubicBezTo>
                  <a:cubicBezTo>
                    <a:pt x="1682" y="5044"/>
                    <a:pt x="1692" y="5059"/>
                    <a:pt x="1700" y="5058"/>
                  </a:cubicBezTo>
                  <a:cubicBezTo>
                    <a:pt x="1708" y="5056"/>
                    <a:pt x="1719" y="5049"/>
                    <a:pt x="1722" y="5059"/>
                  </a:cubicBezTo>
                  <a:cubicBezTo>
                    <a:pt x="1725" y="5068"/>
                    <a:pt x="1716" y="5067"/>
                    <a:pt x="1727" y="5077"/>
                  </a:cubicBezTo>
                  <a:close/>
                  <a:moveTo>
                    <a:pt x="2936" y="2806"/>
                  </a:moveTo>
                  <a:cubicBezTo>
                    <a:pt x="2945" y="2803"/>
                    <a:pt x="2952" y="2788"/>
                    <a:pt x="2952" y="2788"/>
                  </a:cubicBezTo>
                  <a:cubicBezTo>
                    <a:pt x="2952" y="2788"/>
                    <a:pt x="2940" y="2781"/>
                    <a:pt x="2928" y="2784"/>
                  </a:cubicBezTo>
                  <a:cubicBezTo>
                    <a:pt x="2916" y="2788"/>
                    <a:pt x="2888" y="2786"/>
                    <a:pt x="2883" y="2788"/>
                  </a:cubicBezTo>
                  <a:cubicBezTo>
                    <a:pt x="2878" y="2789"/>
                    <a:pt x="2858" y="2786"/>
                    <a:pt x="2851" y="2789"/>
                  </a:cubicBezTo>
                  <a:cubicBezTo>
                    <a:pt x="2851" y="2789"/>
                    <a:pt x="2841" y="2793"/>
                    <a:pt x="2828" y="2776"/>
                  </a:cubicBezTo>
                  <a:cubicBezTo>
                    <a:pt x="2814" y="2759"/>
                    <a:pt x="2809" y="2754"/>
                    <a:pt x="2809" y="2754"/>
                  </a:cubicBezTo>
                  <a:cubicBezTo>
                    <a:pt x="2806" y="2759"/>
                    <a:pt x="2816" y="2761"/>
                    <a:pt x="2806" y="2769"/>
                  </a:cubicBezTo>
                  <a:cubicBezTo>
                    <a:pt x="2796" y="2778"/>
                    <a:pt x="2797" y="2788"/>
                    <a:pt x="2811" y="2791"/>
                  </a:cubicBezTo>
                  <a:cubicBezTo>
                    <a:pt x="2824" y="2794"/>
                    <a:pt x="2838" y="2791"/>
                    <a:pt x="2838" y="2803"/>
                  </a:cubicBezTo>
                  <a:cubicBezTo>
                    <a:pt x="2838" y="2815"/>
                    <a:pt x="2839" y="2820"/>
                    <a:pt x="2849" y="2820"/>
                  </a:cubicBezTo>
                  <a:cubicBezTo>
                    <a:pt x="2859" y="2820"/>
                    <a:pt x="2871" y="2806"/>
                    <a:pt x="2876" y="2811"/>
                  </a:cubicBezTo>
                  <a:cubicBezTo>
                    <a:pt x="2881" y="2816"/>
                    <a:pt x="2883" y="2815"/>
                    <a:pt x="2890" y="2821"/>
                  </a:cubicBezTo>
                  <a:cubicBezTo>
                    <a:pt x="2896" y="2828"/>
                    <a:pt x="2898" y="2826"/>
                    <a:pt x="2908" y="2830"/>
                  </a:cubicBezTo>
                  <a:cubicBezTo>
                    <a:pt x="2918" y="2833"/>
                    <a:pt x="2930" y="2820"/>
                    <a:pt x="2930" y="2820"/>
                  </a:cubicBezTo>
                  <a:cubicBezTo>
                    <a:pt x="2930" y="2820"/>
                    <a:pt x="2928" y="2810"/>
                    <a:pt x="2936" y="2806"/>
                  </a:cubicBezTo>
                  <a:close/>
                  <a:moveTo>
                    <a:pt x="3821" y="935"/>
                  </a:moveTo>
                  <a:cubicBezTo>
                    <a:pt x="3822" y="942"/>
                    <a:pt x="3821" y="940"/>
                    <a:pt x="3824" y="946"/>
                  </a:cubicBezTo>
                  <a:cubicBezTo>
                    <a:pt x="3827" y="952"/>
                    <a:pt x="3835" y="948"/>
                    <a:pt x="3841" y="948"/>
                  </a:cubicBezTo>
                  <a:cubicBezTo>
                    <a:pt x="3847" y="948"/>
                    <a:pt x="3852" y="943"/>
                    <a:pt x="3859" y="941"/>
                  </a:cubicBezTo>
                  <a:cubicBezTo>
                    <a:pt x="3866" y="939"/>
                    <a:pt x="3872" y="937"/>
                    <a:pt x="3877" y="937"/>
                  </a:cubicBezTo>
                  <a:cubicBezTo>
                    <a:pt x="3883" y="937"/>
                    <a:pt x="3884" y="936"/>
                    <a:pt x="3895" y="936"/>
                  </a:cubicBezTo>
                  <a:cubicBezTo>
                    <a:pt x="3905" y="937"/>
                    <a:pt x="3914" y="928"/>
                    <a:pt x="3918" y="926"/>
                  </a:cubicBezTo>
                  <a:cubicBezTo>
                    <a:pt x="3922" y="924"/>
                    <a:pt x="3926" y="925"/>
                    <a:pt x="3928" y="920"/>
                  </a:cubicBezTo>
                  <a:cubicBezTo>
                    <a:pt x="3929" y="915"/>
                    <a:pt x="3927" y="910"/>
                    <a:pt x="3924" y="905"/>
                  </a:cubicBezTo>
                  <a:cubicBezTo>
                    <a:pt x="3921" y="900"/>
                    <a:pt x="3924" y="895"/>
                    <a:pt x="3914" y="894"/>
                  </a:cubicBezTo>
                  <a:cubicBezTo>
                    <a:pt x="3904" y="893"/>
                    <a:pt x="3903" y="896"/>
                    <a:pt x="3900" y="892"/>
                  </a:cubicBezTo>
                  <a:cubicBezTo>
                    <a:pt x="3896" y="888"/>
                    <a:pt x="3895" y="882"/>
                    <a:pt x="3891" y="879"/>
                  </a:cubicBezTo>
                  <a:cubicBezTo>
                    <a:pt x="3887" y="876"/>
                    <a:pt x="3885" y="874"/>
                    <a:pt x="3877" y="872"/>
                  </a:cubicBezTo>
                  <a:cubicBezTo>
                    <a:pt x="3870" y="870"/>
                    <a:pt x="3864" y="873"/>
                    <a:pt x="3859" y="872"/>
                  </a:cubicBezTo>
                  <a:cubicBezTo>
                    <a:pt x="3854" y="871"/>
                    <a:pt x="3847" y="870"/>
                    <a:pt x="3843" y="866"/>
                  </a:cubicBezTo>
                  <a:cubicBezTo>
                    <a:pt x="3839" y="862"/>
                    <a:pt x="3834" y="860"/>
                    <a:pt x="3830" y="859"/>
                  </a:cubicBezTo>
                  <a:cubicBezTo>
                    <a:pt x="3827" y="857"/>
                    <a:pt x="3820" y="865"/>
                    <a:pt x="3809" y="865"/>
                  </a:cubicBezTo>
                  <a:cubicBezTo>
                    <a:pt x="3792" y="865"/>
                    <a:pt x="3802" y="888"/>
                    <a:pt x="3794" y="892"/>
                  </a:cubicBezTo>
                  <a:cubicBezTo>
                    <a:pt x="3786" y="896"/>
                    <a:pt x="3785" y="906"/>
                    <a:pt x="3785" y="913"/>
                  </a:cubicBezTo>
                  <a:cubicBezTo>
                    <a:pt x="3785" y="921"/>
                    <a:pt x="3803" y="934"/>
                    <a:pt x="3808" y="934"/>
                  </a:cubicBezTo>
                  <a:cubicBezTo>
                    <a:pt x="3813" y="934"/>
                    <a:pt x="3820" y="927"/>
                    <a:pt x="3821" y="935"/>
                  </a:cubicBezTo>
                  <a:close/>
                  <a:moveTo>
                    <a:pt x="5321" y="882"/>
                  </a:moveTo>
                  <a:cubicBezTo>
                    <a:pt x="5318" y="879"/>
                    <a:pt x="5318" y="875"/>
                    <a:pt x="5310" y="876"/>
                  </a:cubicBezTo>
                  <a:cubicBezTo>
                    <a:pt x="5302" y="878"/>
                    <a:pt x="5296" y="868"/>
                    <a:pt x="5286" y="873"/>
                  </a:cubicBezTo>
                  <a:cubicBezTo>
                    <a:pt x="5276" y="878"/>
                    <a:pt x="5274" y="880"/>
                    <a:pt x="5268" y="880"/>
                  </a:cubicBezTo>
                  <a:cubicBezTo>
                    <a:pt x="5261" y="880"/>
                    <a:pt x="5248" y="880"/>
                    <a:pt x="5244" y="875"/>
                  </a:cubicBezTo>
                  <a:cubicBezTo>
                    <a:pt x="5239" y="871"/>
                    <a:pt x="5229" y="868"/>
                    <a:pt x="5229" y="868"/>
                  </a:cubicBezTo>
                  <a:cubicBezTo>
                    <a:pt x="5214" y="864"/>
                    <a:pt x="5214" y="864"/>
                    <a:pt x="5214" y="864"/>
                  </a:cubicBezTo>
                  <a:cubicBezTo>
                    <a:pt x="5214" y="864"/>
                    <a:pt x="5205" y="858"/>
                    <a:pt x="5202" y="857"/>
                  </a:cubicBezTo>
                  <a:cubicBezTo>
                    <a:pt x="5198" y="856"/>
                    <a:pt x="5181" y="855"/>
                    <a:pt x="5181" y="855"/>
                  </a:cubicBezTo>
                  <a:cubicBezTo>
                    <a:pt x="5166" y="856"/>
                    <a:pt x="5166" y="856"/>
                    <a:pt x="5166" y="856"/>
                  </a:cubicBezTo>
                  <a:cubicBezTo>
                    <a:pt x="5149" y="856"/>
                    <a:pt x="5149" y="856"/>
                    <a:pt x="5149" y="856"/>
                  </a:cubicBezTo>
                  <a:cubicBezTo>
                    <a:pt x="5137" y="863"/>
                    <a:pt x="5137" y="863"/>
                    <a:pt x="5137" y="863"/>
                  </a:cubicBezTo>
                  <a:cubicBezTo>
                    <a:pt x="5129" y="870"/>
                    <a:pt x="5125" y="863"/>
                    <a:pt x="5121" y="864"/>
                  </a:cubicBezTo>
                  <a:cubicBezTo>
                    <a:pt x="5116" y="865"/>
                    <a:pt x="5106" y="871"/>
                    <a:pt x="5106" y="871"/>
                  </a:cubicBezTo>
                  <a:cubicBezTo>
                    <a:pt x="5093" y="882"/>
                    <a:pt x="5093" y="882"/>
                    <a:pt x="5093" y="882"/>
                  </a:cubicBezTo>
                  <a:cubicBezTo>
                    <a:pt x="5093" y="882"/>
                    <a:pt x="5072" y="881"/>
                    <a:pt x="5066" y="885"/>
                  </a:cubicBezTo>
                  <a:cubicBezTo>
                    <a:pt x="5061" y="890"/>
                    <a:pt x="5039" y="888"/>
                    <a:pt x="5039" y="888"/>
                  </a:cubicBezTo>
                  <a:cubicBezTo>
                    <a:pt x="5038" y="881"/>
                    <a:pt x="5038" y="881"/>
                    <a:pt x="5038" y="881"/>
                  </a:cubicBezTo>
                  <a:cubicBezTo>
                    <a:pt x="5038" y="881"/>
                    <a:pt x="5057" y="882"/>
                    <a:pt x="5063" y="874"/>
                  </a:cubicBezTo>
                  <a:cubicBezTo>
                    <a:pt x="5069" y="866"/>
                    <a:pt x="5082" y="868"/>
                    <a:pt x="5086" y="867"/>
                  </a:cubicBezTo>
                  <a:cubicBezTo>
                    <a:pt x="5089" y="866"/>
                    <a:pt x="5100" y="864"/>
                    <a:pt x="5102" y="859"/>
                  </a:cubicBezTo>
                  <a:cubicBezTo>
                    <a:pt x="5103" y="855"/>
                    <a:pt x="5102" y="853"/>
                    <a:pt x="5108" y="853"/>
                  </a:cubicBezTo>
                  <a:cubicBezTo>
                    <a:pt x="5115" y="853"/>
                    <a:pt x="5119" y="851"/>
                    <a:pt x="5123" y="850"/>
                  </a:cubicBezTo>
                  <a:cubicBezTo>
                    <a:pt x="5128" y="849"/>
                    <a:pt x="5132" y="835"/>
                    <a:pt x="5132" y="835"/>
                  </a:cubicBezTo>
                  <a:cubicBezTo>
                    <a:pt x="5132" y="835"/>
                    <a:pt x="5140" y="837"/>
                    <a:pt x="5147" y="835"/>
                  </a:cubicBezTo>
                  <a:cubicBezTo>
                    <a:pt x="5154" y="834"/>
                    <a:pt x="5157" y="835"/>
                    <a:pt x="5161" y="830"/>
                  </a:cubicBezTo>
                  <a:cubicBezTo>
                    <a:pt x="5164" y="824"/>
                    <a:pt x="5160" y="821"/>
                    <a:pt x="5156" y="817"/>
                  </a:cubicBezTo>
                  <a:cubicBezTo>
                    <a:pt x="5153" y="814"/>
                    <a:pt x="5148" y="814"/>
                    <a:pt x="5144" y="810"/>
                  </a:cubicBezTo>
                  <a:cubicBezTo>
                    <a:pt x="5139" y="807"/>
                    <a:pt x="5137" y="805"/>
                    <a:pt x="5130" y="808"/>
                  </a:cubicBezTo>
                  <a:cubicBezTo>
                    <a:pt x="5123" y="812"/>
                    <a:pt x="5137" y="817"/>
                    <a:pt x="5108" y="818"/>
                  </a:cubicBezTo>
                  <a:cubicBezTo>
                    <a:pt x="5080" y="820"/>
                    <a:pt x="5074" y="824"/>
                    <a:pt x="5074" y="824"/>
                  </a:cubicBezTo>
                  <a:cubicBezTo>
                    <a:pt x="5060" y="838"/>
                    <a:pt x="5060" y="838"/>
                    <a:pt x="5060" y="838"/>
                  </a:cubicBezTo>
                  <a:cubicBezTo>
                    <a:pt x="5060" y="838"/>
                    <a:pt x="5046" y="845"/>
                    <a:pt x="5042" y="845"/>
                  </a:cubicBezTo>
                  <a:cubicBezTo>
                    <a:pt x="5042" y="845"/>
                    <a:pt x="5039" y="831"/>
                    <a:pt x="5038" y="827"/>
                  </a:cubicBezTo>
                  <a:cubicBezTo>
                    <a:pt x="5037" y="822"/>
                    <a:pt x="5042" y="812"/>
                    <a:pt x="5042" y="812"/>
                  </a:cubicBezTo>
                  <a:cubicBezTo>
                    <a:pt x="5042" y="812"/>
                    <a:pt x="5051" y="817"/>
                    <a:pt x="5053" y="822"/>
                  </a:cubicBezTo>
                  <a:cubicBezTo>
                    <a:pt x="5054" y="827"/>
                    <a:pt x="5061" y="827"/>
                    <a:pt x="5062" y="824"/>
                  </a:cubicBezTo>
                  <a:cubicBezTo>
                    <a:pt x="5063" y="821"/>
                    <a:pt x="5105" y="808"/>
                    <a:pt x="5107" y="811"/>
                  </a:cubicBezTo>
                  <a:cubicBezTo>
                    <a:pt x="5109" y="814"/>
                    <a:pt x="5120" y="804"/>
                    <a:pt x="5120" y="804"/>
                  </a:cubicBezTo>
                  <a:cubicBezTo>
                    <a:pt x="5130" y="794"/>
                    <a:pt x="5130" y="794"/>
                    <a:pt x="5130" y="794"/>
                  </a:cubicBezTo>
                  <a:cubicBezTo>
                    <a:pt x="5124" y="782"/>
                    <a:pt x="5124" y="782"/>
                    <a:pt x="5124" y="782"/>
                  </a:cubicBezTo>
                  <a:cubicBezTo>
                    <a:pt x="5124" y="782"/>
                    <a:pt x="5116" y="776"/>
                    <a:pt x="5112" y="775"/>
                  </a:cubicBezTo>
                  <a:cubicBezTo>
                    <a:pt x="5107" y="774"/>
                    <a:pt x="5096" y="770"/>
                    <a:pt x="5093" y="771"/>
                  </a:cubicBezTo>
                  <a:cubicBezTo>
                    <a:pt x="5090" y="773"/>
                    <a:pt x="5079" y="772"/>
                    <a:pt x="5079" y="772"/>
                  </a:cubicBezTo>
                  <a:cubicBezTo>
                    <a:pt x="5068" y="769"/>
                    <a:pt x="5068" y="769"/>
                    <a:pt x="5068" y="769"/>
                  </a:cubicBezTo>
                  <a:cubicBezTo>
                    <a:pt x="5060" y="763"/>
                    <a:pt x="5043" y="751"/>
                    <a:pt x="5043" y="751"/>
                  </a:cubicBezTo>
                  <a:cubicBezTo>
                    <a:pt x="5043" y="751"/>
                    <a:pt x="5040" y="745"/>
                    <a:pt x="5036" y="744"/>
                  </a:cubicBezTo>
                  <a:cubicBezTo>
                    <a:pt x="5032" y="743"/>
                    <a:pt x="5026" y="734"/>
                    <a:pt x="5022" y="734"/>
                  </a:cubicBezTo>
                  <a:cubicBezTo>
                    <a:pt x="5018" y="733"/>
                    <a:pt x="5013" y="722"/>
                    <a:pt x="5013" y="722"/>
                  </a:cubicBezTo>
                  <a:cubicBezTo>
                    <a:pt x="5013" y="722"/>
                    <a:pt x="5047" y="737"/>
                    <a:pt x="5057" y="750"/>
                  </a:cubicBezTo>
                  <a:cubicBezTo>
                    <a:pt x="5067" y="763"/>
                    <a:pt x="5071" y="767"/>
                    <a:pt x="5076" y="767"/>
                  </a:cubicBezTo>
                  <a:cubicBezTo>
                    <a:pt x="5080" y="767"/>
                    <a:pt x="5089" y="763"/>
                    <a:pt x="5091" y="763"/>
                  </a:cubicBezTo>
                  <a:cubicBezTo>
                    <a:pt x="5094" y="763"/>
                    <a:pt x="5115" y="760"/>
                    <a:pt x="5117" y="763"/>
                  </a:cubicBezTo>
                  <a:cubicBezTo>
                    <a:pt x="5119" y="766"/>
                    <a:pt x="5132" y="767"/>
                    <a:pt x="5135" y="771"/>
                  </a:cubicBezTo>
                  <a:cubicBezTo>
                    <a:pt x="5138" y="776"/>
                    <a:pt x="5133" y="783"/>
                    <a:pt x="5142" y="786"/>
                  </a:cubicBezTo>
                  <a:cubicBezTo>
                    <a:pt x="5151" y="789"/>
                    <a:pt x="5158" y="788"/>
                    <a:pt x="5162" y="785"/>
                  </a:cubicBezTo>
                  <a:cubicBezTo>
                    <a:pt x="5165" y="782"/>
                    <a:pt x="5172" y="782"/>
                    <a:pt x="5173" y="785"/>
                  </a:cubicBezTo>
                  <a:cubicBezTo>
                    <a:pt x="5174" y="789"/>
                    <a:pt x="5183" y="793"/>
                    <a:pt x="5186" y="800"/>
                  </a:cubicBezTo>
                  <a:cubicBezTo>
                    <a:pt x="5188" y="806"/>
                    <a:pt x="5215" y="814"/>
                    <a:pt x="5214" y="821"/>
                  </a:cubicBezTo>
                  <a:cubicBezTo>
                    <a:pt x="5213" y="829"/>
                    <a:pt x="5221" y="837"/>
                    <a:pt x="5224" y="840"/>
                  </a:cubicBezTo>
                  <a:cubicBezTo>
                    <a:pt x="5228" y="842"/>
                    <a:pt x="5248" y="848"/>
                    <a:pt x="5251" y="849"/>
                  </a:cubicBezTo>
                  <a:cubicBezTo>
                    <a:pt x="5254" y="850"/>
                    <a:pt x="5263" y="850"/>
                    <a:pt x="5267" y="850"/>
                  </a:cubicBezTo>
                  <a:cubicBezTo>
                    <a:pt x="5270" y="850"/>
                    <a:pt x="5284" y="854"/>
                    <a:pt x="5284" y="854"/>
                  </a:cubicBezTo>
                  <a:cubicBezTo>
                    <a:pt x="5284" y="854"/>
                    <a:pt x="5286" y="843"/>
                    <a:pt x="5290" y="841"/>
                  </a:cubicBezTo>
                  <a:cubicBezTo>
                    <a:pt x="5294" y="838"/>
                    <a:pt x="5296" y="839"/>
                    <a:pt x="5300" y="844"/>
                  </a:cubicBezTo>
                  <a:cubicBezTo>
                    <a:pt x="5304" y="850"/>
                    <a:pt x="5309" y="842"/>
                    <a:pt x="5314" y="848"/>
                  </a:cubicBezTo>
                  <a:cubicBezTo>
                    <a:pt x="5318" y="853"/>
                    <a:pt x="5319" y="850"/>
                    <a:pt x="5327" y="853"/>
                  </a:cubicBezTo>
                  <a:cubicBezTo>
                    <a:pt x="5334" y="857"/>
                    <a:pt x="5338" y="859"/>
                    <a:pt x="5340" y="853"/>
                  </a:cubicBezTo>
                  <a:cubicBezTo>
                    <a:pt x="5341" y="848"/>
                    <a:pt x="5343" y="838"/>
                    <a:pt x="5343" y="838"/>
                  </a:cubicBezTo>
                  <a:cubicBezTo>
                    <a:pt x="5343" y="838"/>
                    <a:pt x="5333" y="831"/>
                    <a:pt x="5332" y="827"/>
                  </a:cubicBezTo>
                  <a:cubicBezTo>
                    <a:pt x="5331" y="822"/>
                    <a:pt x="5325" y="817"/>
                    <a:pt x="5325" y="811"/>
                  </a:cubicBezTo>
                  <a:cubicBezTo>
                    <a:pt x="5325" y="805"/>
                    <a:pt x="5314" y="800"/>
                    <a:pt x="5314" y="800"/>
                  </a:cubicBezTo>
                  <a:cubicBezTo>
                    <a:pt x="5314" y="800"/>
                    <a:pt x="5310" y="798"/>
                    <a:pt x="5309" y="792"/>
                  </a:cubicBezTo>
                  <a:cubicBezTo>
                    <a:pt x="5308" y="785"/>
                    <a:pt x="5305" y="779"/>
                    <a:pt x="5302" y="774"/>
                  </a:cubicBezTo>
                  <a:cubicBezTo>
                    <a:pt x="5298" y="770"/>
                    <a:pt x="5300" y="763"/>
                    <a:pt x="5295" y="762"/>
                  </a:cubicBezTo>
                  <a:cubicBezTo>
                    <a:pt x="5291" y="761"/>
                    <a:pt x="5288" y="768"/>
                    <a:pt x="5283" y="770"/>
                  </a:cubicBezTo>
                  <a:cubicBezTo>
                    <a:pt x="5279" y="771"/>
                    <a:pt x="5276" y="770"/>
                    <a:pt x="5278" y="765"/>
                  </a:cubicBezTo>
                  <a:cubicBezTo>
                    <a:pt x="5280" y="759"/>
                    <a:pt x="5283" y="746"/>
                    <a:pt x="5278" y="744"/>
                  </a:cubicBezTo>
                  <a:cubicBezTo>
                    <a:pt x="5272" y="741"/>
                    <a:pt x="5270" y="739"/>
                    <a:pt x="5265" y="740"/>
                  </a:cubicBezTo>
                  <a:cubicBezTo>
                    <a:pt x="5260" y="741"/>
                    <a:pt x="5250" y="748"/>
                    <a:pt x="5250" y="748"/>
                  </a:cubicBezTo>
                  <a:cubicBezTo>
                    <a:pt x="5250" y="748"/>
                    <a:pt x="5246" y="749"/>
                    <a:pt x="5248" y="743"/>
                  </a:cubicBezTo>
                  <a:cubicBezTo>
                    <a:pt x="5251" y="736"/>
                    <a:pt x="5255" y="728"/>
                    <a:pt x="5251" y="727"/>
                  </a:cubicBezTo>
                  <a:cubicBezTo>
                    <a:pt x="5247" y="726"/>
                    <a:pt x="5239" y="726"/>
                    <a:pt x="5232" y="726"/>
                  </a:cubicBezTo>
                  <a:cubicBezTo>
                    <a:pt x="5224" y="726"/>
                    <a:pt x="5220" y="721"/>
                    <a:pt x="5216" y="721"/>
                  </a:cubicBezTo>
                  <a:cubicBezTo>
                    <a:pt x="5212" y="721"/>
                    <a:pt x="5200" y="715"/>
                    <a:pt x="5195" y="713"/>
                  </a:cubicBezTo>
                  <a:cubicBezTo>
                    <a:pt x="5189" y="711"/>
                    <a:pt x="5184" y="711"/>
                    <a:pt x="5180" y="711"/>
                  </a:cubicBezTo>
                  <a:cubicBezTo>
                    <a:pt x="5176" y="711"/>
                    <a:pt x="5171" y="709"/>
                    <a:pt x="5167" y="707"/>
                  </a:cubicBezTo>
                  <a:cubicBezTo>
                    <a:pt x="5163" y="705"/>
                    <a:pt x="5151" y="698"/>
                    <a:pt x="5151" y="698"/>
                  </a:cubicBezTo>
                  <a:cubicBezTo>
                    <a:pt x="5151" y="698"/>
                    <a:pt x="5153" y="689"/>
                    <a:pt x="5150" y="687"/>
                  </a:cubicBezTo>
                  <a:cubicBezTo>
                    <a:pt x="5148" y="686"/>
                    <a:pt x="5142" y="681"/>
                    <a:pt x="5142" y="681"/>
                  </a:cubicBezTo>
                  <a:cubicBezTo>
                    <a:pt x="5133" y="676"/>
                    <a:pt x="5133" y="676"/>
                    <a:pt x="5133" y="676"/>
                  </a:cubicBezTo>
                  <a:cubicBezTo>
                    <a:pt x="5133" y="676"/>
                    <a:pt x="5130" y="662"/>
                    <a:pt x="5126" y="657"/>
                  </a:cubicBezTo>
                  <a:cubicBezTo>
                    <a:pt x="5123" y="651"/>
                    <a:pt x="5122" y="646"/>
                    <a:pt x="5115" y="642"/>
                  </a:cubicBezTo>
                  <a:cubicBezTo>
                    <a:pt x="5109" y="638"/>
                    <a:pt x="5101" y="638"/>
                    <a:pt x="5101" y="638"/>
                  </a:cubicBezTo>
                  <a:cubicBezTo>
                    <a:pt x="5096" y="628"/>
                    <a:pt x="5096" y="628"/>
                    <a:pt x="5096" y="628"/>
                  </a:cubicBezTo>
                  <a:cubicBezTo>
                    <a:pt x="5096" y="628"/>
                    <a:pt x="5121" y="635"/>
                    <a:pt x="5123" y="626"/>
                  </a:cubicBezTo>
                  <a:cubicBezTo>
                    <a:pt x="5125" y="616"/>
                    <a:pt x="5129" y="611"/>
                    <a:pt x="5135" y="609"/>
                  </a:cubicBezTo>
                  <a:cubicBezTo>
                    <a:pt x="5140" y="607"/>
                    <a:pt x="5148" y="602"/>
                    <a:pt x="5149" y="605"/>
                  </a:cubicBezTo>
                  <a:cubicBezTo>
                    <a:pt x="5150" y="608"/>
                    <a:pt x="5146" y="616"/>
                    <a:pt x="5152" y="622"/>
                  </a:cubicBezTo>
                  <a:cubicBezTo>
                    <a:pt x="5159" y="627"/>
                    <a:pt x="5164" y="621"/>
                    <a:pt x="5168" y="626"/>
                  </a:cubicBezTo>
                  <a:cubicBezTo>
                    <a:pt x="5172" y="632"/>
                    <a:pt x="5174" y="634"/>
                    <a:pt x="5177" y="636"/>
                  </a:cubicBezTo>
                  <a:cubicBezTo>
                    <a:pt x="5180" y="638"/>
                    <a:pt x="5186" y="638"/>
                    <a:pt x="5192" y="638"/>
                  </a:cubicBezTo>
                  <a:cubicBezTo>
                    <a:pt x="5198" y="638"/>
                    <a:pt x="5207" y="634"/>
                    <a:pt x="5211" y="635"/>
                  </a:cubicBezTo>
                  <a:cubicBezTo>
                    <a:pt x="5216" y="636"/>
                    <a:pt x="5221" y="638"/>
                    <a:pt x="5231" y="638"/>
                  </a:cubicBezTo>
                  <a:cubicBezTo>
                    <a:pt x="5241" y="638"/>
                    <a:pt x="5255" y="630"/>
                    <a:pt x="5259" y="629"/>
                  </a:cubicBezTo>
                  <a:cubicBezTo>
                    <a:pt x="5264" y="628"/>
                    <a:pt x="5272" y="629"/>
                    <a:pt x="5279" y="629"/>
                  </a:cubicBezTo>
                  <a:cubicBezTo>
                    <a:pt x="5285" y="629"/>
                    <a:pt x="5287" y="629"/>
                    <a:pt x="5289" y="626"/>
                  </a:cubicBezTo>
                  <a:cubicBezTo>
                    <a:pt x="5291" y="622"/>
                    <a:pt x="5294" y="620"/>
                    <a:pt x="5294" y="614"/>
                  </a:cubicBezTo>
                  <a:cubicBezTo>
                    <a:pt x="5295" y="609"/>
                    <a:pt x="5286" y="600"/>
                    <a:pt x="5287" y="596"/>
                  </a:cubicBezTo>
                  <a:cubicBezTo>
                    <a:pt x="5288" y="592"/>
                    <a:pt x="5278" y="593"/>
                    <a:pt x="5273" y="593"/>
                  </a:cubicBezTo>
                  <a:cubicBezTo>
                    <a:pt x="5269" y="593"/>
                    <a:pt x="5261" y="586"/>
                    <a:pt x="5255" y="587"/>
                  </a:cubicBezTo>
                  <a:cubicBezTo>
                    <a:pt x="5248" y="588"/>
                    <a:pt x="5240" y="591"/>
                    <a:pt x="5235" y="590"/>
                  </a:cubicBezTo>
                  <a:cubicBezTo>
                    <a:pt x="5231" y="588"/>
                    <a:pt x="5228" y="578"/>
                    <a:pt x="5222" y="578"/>
                  </a:cubicBezTo>
                  <a:cubicBezTo>
                    <a:pt x="5215" y="578"/>
                    <a:pt x="5209" y="572"/>
                    <a:pt x="5209" y="569"/>
                  </a:cubicBezTo>
                  <a:cubicBezTo>
                    <a:pt x="5209" y="566"/>
                    <a:pt x="5214" y="564"/>
                    <a:pt x="5214" y="564"/>
                  </a:cubicBezTo>
                  <a:cubicBezTo>
                    <a:pt x="5214" y="564"/>
                    <a:pt x="5220" y="561"/>
                    <a:pt x="5226" y="566"/>
                  </a:cubicBezTo>
                  <a:cubicBezTo>
                    <a:pt x="5233" y="572"/>
                    <a:pt x="5238" y="575"/>
                    <a:pt x="5245" y="575"/>
                  </a:cubicBezTo>
                  <a:cubicBezTo>
                    <a:pt x="5251" y="575"/>
                    <a:pt x="5258" y="576"/>
                    <a:pt x="5262" y="574"/>
                  </a:cubicBezTo>
                  <a:cubicBezTo>
                    <a:pt x="5267" y="572"/>
                    <a:pt x="5272" y="574"/>
                    <a:pt x="5277" y="573"/>
                  </a:cubicBezTo>
                  <a:cubicBezTo>
                    <a:pt x="5282" y="572"/>
                    <a:pt x="5270" y="565"/>
                    <a:pt x="5282" y="565"/>
                  </a:cubicBezTo>
                  <a:cubicBezTo>
                    <a:pt x="5293" y="565"/>
                    <a:pt x="5290" y="568"/>
                    <a:pt x="5299" y="566"/>
                  </a:cubicBezTo>
                  <a:cubicBezTo>
                    <a:pt x="5308" y="563"/>
                    <a:pt x="5314" y="557"/>
                    <a:pt x="5311" y="554"/>
                  </a:cubicBezTo>
                  <a:cubicBezTo>
                    <a:pt x="5308" y="550"/>
                    <a:pt x="5309" y="542"/>
                    <a:pt x="5298" y="543"/>
                  </a:cubicBezTo>
                  <a:cubicBezTo>
                    <a:pt x="5298" y="540"/>
                    <a:pt x="5298" y="540"/>
                    <a:pt x="5298" y="540"/>
                  </a:cubicBezTo>
                  <a:cubicBezTo>
                    <a:pt x="5298" y="540"/>
                    <a:pt x="5282" y="540"/>
                    <a:pt x="5278" y="541"/>
                  </a:cubicBezTo>
                  <a:cubicBezTo>
                    <a:pt x="5273" y="542"/>
                    <a:pt x="5270" y="537"/>
                    <a:pt x="5270" y="530"/>
                  </a:cubicBezTo>
                  <a:cubicBezTo>
                    <a:pt x="5270" y="524"/>
                    <a:pt x="5274" y="524"/>
                    <a:pt x="5267" y="520"/>
                  </a:cubicBezTo>
                  <a:cubicBezTo>
                    <a:pt x="5259" y="517"/>
                    <a:pt x="5249" y="515"/>
                    <a:pt x="5249" y="512"/>
                  </a:cubicBezTo>
                  <a:cubicBezTo>
                    <a:pt x="5249" y="509"/>
                    <a:pt x="5251" y="503"/>
                    <a:pt x="5244" y="505"/>
                  </a:cubicBezTo>
                  <a:cubicBezTo>
                    <a:pt x="5236" y="507"/>
                    <a:pt x="5228" y="507"/>
                    <a:pt x="5227" y="502"/>
                  </a:cubicBezTo>
                  <a:cubicBezTo>
                    <a:pt x="5226" y="496"/>
                    <a:pt x="5232" y="490"/>
                    <a:pt x="5232" y="490"/>
                  </a:cubicBezTo>
                  <a:cubicBezTo>
                    <a:pt x="5242" y="489"/>
                    <a:pt x="5242" y="489"/>
                    <a:pt x="5242" y="489"/>
                  </a:cubicBezTo>
                  <a:cubicBezTo>
                    <a:pt x="5242" y="489"/>
                    <a:pt x="5250" y="495"/>
                    <a:pt x="5254" y="498"/>
                  </a:cubicBezTo>
                  <a:cubicBezTo>
                    <a:pt x="5258" y="501"/>
                    <a:pt x="5261" y="506"/>
                    <a:pt x="5265" y="504"/>
                  </a:cubicBezTo>
                  <a:cubicBezTo>
                    <a:pt x="5269" y="502"/>
                    <a:pt x="5272" y="505"/>
                    <a:pt x="5272" y="496"/>
                  </a:cubicBezTo>
                  <a:cubicBezTo>
                    <a:pt x="5272" y="488"/>
                    <a:pt x="5270" y="492"/>
                    <a:pt x="5269" y="484"/>
                  </a:cubicBezTo>
                  <a:cubicBezTo>
                    <a:pt x="5267" y="477"/>
                    <a:pt x="5266" y="474"/>
                    <a:pt x="5263" y="470"/>
                  </a:cubicBezTo>
                  <a:cubicBezTo>
                    <a:pt x="5260" y="465"/>
                    <a:pt x="5256" y="465"/>
                    <a:pt x="5248" y="463"/>
                  </a:cubicBezTo>
                  <a:cubicBezTo>
                    <a:pt x="5241" y="461"/>
                    <a:pt x="5232" y="461"/>
                    <a:pt x="5233" y="453"/>
                  </a:cubicBezTo>
                  <a:cubicBezTo>
                    <a:pt x="5234" y="445"/>
                    <a:pt x="5233" y="438"/>
                    <a:pt x="5230" y="435"/>
                  </a:cubicBezTo>
                  <a:cubicBezTo>
                    <a:pt x="5227" y="431"/>
                    <a:pt x="5222" y="423"/>
                    <a:pt x="5220" y="422"/>
                  </a:cubicBezTo>
                  <a:cubicBezTo>
                    <a:pt x="5217" y="421"/>
                    <a:pt x="5214" y="420"/>
                    <a:pt x="5208" y="420"/>
                  </a:cubicBezTo>
                  <a:cubicBezTo>
                    <a:pt x="5201" y="420"/>
                    <a:pt x="5193" y="429"/>
                    <a:pt x="5184" y="429"/>
                  </a:cubicBezTo>
                  <a:cubicBezTo>
                    <a:pt x="5174" y="429"/>
                    <a:pt x="5162" y="428"/>
                    <a:pt x="5160" y="422"/>
                  </a:cubicBezTo>
                  <a:cubicBezTo>
                    <a:pt x="5157" y="415"/>
                    <a:pt x="5159" y="413"/>
                    <a:pt x="5151" y="414"/>
                  </a:cubicBezTo>
                  <a:cubicBezTo>
                    <a:pt x="5144" y="415"/>
                    <a:pt x="5139" y="420"/>
                    <a:pt x="5136" y="418"/>
                  </a:cubicBezTo>
                  <a:cubicBezTo>
                    <a:pt x="5132" y="416"/>
                    <a:pt x="5126" y="400"/>
                    <a:pt x="5122" y="399"/>
                  </a:cubicBezTo>
                  <a:cubicBezTo>
                    <a:pt x="5117" y="399"/>
                    <a:pt x="5109" y="395"/>
                    <a:pt x="5108" y="391"/>
                  </a:cubicBezTo>
                  <a:cubicBezTo>
                    <a:pt x="5107" y="387"/>
                    <a:pt x="5113" y="379"/>
                    <a:pt x="5116" y="382"/>
                  </a:cubicBezTo>
                  <a:cubicBezTo>
                    <a:pt x="5120" y="385"/>
                    <a:pt x="5129" y="391"/>
                    <a:pt x="5135" y="395"/>
                  </a:cubicBezTo>
                  <a:cubicBezTo>
                    <a:pt x="5140" y="399"/>
                    <a:pt x="5148" y="403"/>
                    <a:pt x="5150" y="398"/>
                  </a:cubicBezTo>
                  <a:cubicBezTo>
                    <a:pt x="5151" y="392"/>
                    <a:pt x="5154" y="389"/>
                    <a:pt x="5156" y="386"/>
                  </a:cubicBezTo>
                  <a:cubicBezTo>
                    <a:pt x="5158" y="382"/>
                    <a:pt x="5167" y="380"/>
                    <a:pt x="5171" y="381"/>
                  </a:cubicBezTo>
                  <a:cubicBezTo>
                    <a:pt x="5174" y="382"/>
                    <a:pt x="5178" y="382"/>
                    <a:pt x="5186" y="384"/>
                  </a:cubicBezTo>
                  <a:cubicBezTo>
                    <a:pt x="5195" y="386"/>
                    <a:pt x="5197" y="387"/>
                    <a:pt x="5206" y="388"/>
                  </a:cubicBezTo>
                  <a:cubicBezTo>
                    <a:pt x="5215" y="389"/>
                    <a:pt x="5222" y="389"/>
                    <a:pt x="5227" y="387"/>
                  </a:cubicBezTo>
                  <a:cubicBezTo>
                    <a:pt x="5233" y="386"/>
                    <a:pt x="5243" y="387"/>
                    <a:pt x="5243" y="384"/>
                  </a:cubicBezTo>
                  <a:cubicBezTo>
                    <a:pt x="5243" y="381"/>
                    <a:pt x="5241" y="377"/>
                    <a:pt x="5237" y="375"/>
                  </a:cubicBezTo>
                  <a:cubicBezTo>
                    <a:pt x="5234" y="374"/>
                    <a:pt x="5225" y="375"/>
                    <a:pt x="5224" y="368"/>
                  </a:cubicBezTo>
                  <a:cubicBezTo>
                    <a:pt x="5223" y="362"/>
                    <a:pt x="5222" y="356"/>
                    <a:pt x="5218" y="353"/>
                  </a:cubicBezTo>
                  <a:cubicBezTo>
                    <a:pt x="5213" y="351"/>
                    <a:pt x="5211" y="349"/>
                    <a:pt x="5208" y="349"/>
                  </a:cubicBezTo>
                  <a:cubicBezTo>
                    <a:pt x="5204" y="349"/>
                    <a:pt x="5197" y="353"/>
                    <a:pt x="5192" y="354"/>
                  </a:cubicBezTo>
                  <a:cubicBezTo>
                    <a:pt x="5187" y="355"/>
                    <a:pt x="5182" y="360"/>
                    <a:pt x="5180" y="354"/>
                  </a:cubicBezTo>
                  <a:cubicBezTo>
                    <a:pt x="5178" y="349"/>
                    <a:pt x="5172" y="346"/>
                    <a:pt x="5165" y="346"/>
                  </a:cubicBezTo>
                  <a:cubicBezTo>
                    <a:pt x="5159" y="346"/>
                    <a:pt x="5150" y="350"/>
                    <a:pt x="5146" y="347"/>
                  </a:cubicBezTo>
                  <a:cubicBezTo>
                    <a:pt x="5142" y="344"/>
                    <a:pt x="5131" y="339"/>
                    <a:pt x="5134" y="336"/>
                  </a:cubicBezTo>
                  <a:cubicBezTo>
                    <a:pt x="5137" y="333"/>
                    <a:pt x="5147" y="339"/>
                    <a:pt x="5151" y="338"/>
                  </a:cubicBezTo>
                  <a:cubicBezTo>
                    <a:pt x="5156" y="337"/>
                    <a:pt x="5169" y="337"/>
                    <a:pt x="5167" y="330"/>
                  </a:cubicBezTo>
                  <a:cubicBezTo>
                    <a:pt x="5165" y="324"/>
                    <a:pt x="5154" y="321"/>
                    <a:pt x="5154" y="321"/>
                  </a:cubicBezTo>
                  <a:cubicBezTo>
                    <a:pt x="5154" y="321"/>
                    <a:pt x="5154" y="315"/>
                    <a:pt x="5150" y="315"/>
                  </a:cubicBezTo>
                  <a:cubicBezTo>
                    <a:pt x="5147" y="314"/>
                    <a:pt x="5134" y="309"/>
                    <a:pt x="5134" y="309"/>
                  </a:cubicBezTo>
                  <a:cubicBezTo>
                    <a:pt x="5126" y="311"/>
                    <a:pt x="5126" y="311"/>
                    <a:pt x="5126" y="311"/>
                  </a:cubicBezTo>
                  <a:cubicBezTo>
                    <a:pt x="5126" y="311"/>
                    <a:pt x="5114" y="304"/>
                    <a:pt x="5109" y="307"/>
                  </a:cubicBezTo>
                  <a:cubicBezTo>
                    <a:pt x="5103" y="310"/>
                    <a:pt x="5103" y="318"/>
                    <a:pt x="5102" y="323"/>
                  </a:cubicBezTo>
                  <a:cubicBezTo>
                    <a:pt x="5102" y="327"/>
                    <a:pt x="5094" y="339"/>
                    <a:pt x="5089" y="334"/>
                  </a:cubicBezTo>
                  <a:cubicBezTo>
                    <a:pt x="5083" y="329"/>
                    <a:pt x="5076" y="326"/>
                    <a:pt x="5082" y="312"/>
                  </a:cubicBezTo>
                  <a:cubicBezTo>
                    <a:pt x="5089" y="298"/>
                    <a:pt x="5089" y="288"/>
                    <a:pt x="5084" y="283"/>
                  </a:cubicBezTo>
                  <a:cubicBezTo>
                    <a:pt x="5079" y="279"/>
                    <a:pt x="5078" y="276"/>
                    <a:pt x="5073" y="275"/>
                  </a:cubicBezTo>
                  <a:cubicBezTo>
                    <a:pt x="5068" y="274"/>
                    <a:pt x="5065" y="262"/>
                    <a:pt x="5067" y="260"/>
                  </a:cubicBezTo>
                  <a:cubicBezTo>
                    <a:pt x="5070" y="258"/>
                    <a:pt x="5073" y="255"/>
                    <a:pt x="5077" y="258"/>
                  </a:cubicBezTo>
                  <a:cubicBezTo>
                    <a:pt x="5080" y="262"/>
                    <a:pt x="5087" y="268"/>
                    <a:pt x="5090" y="263"/>
                  </a:cubicBezTo>
                  <a:cubicBezTo>
                    <a:pt x="5092" y="257"/>
                    <a:pt x="5098" y="255"/>
                    <a:pt x="5099" y="246"/>
                  </a:cubicBezTo>
                  <a:cubicBezTo>
                    <a:pt x="5100" y="238"/>
                    <a:pt x="5102" y="232"/>
                    <a:pt x="5099" y="229"/>
                  </a:cubicBezTo>
                  <a:cubicBezTo>
                    <a:pt x="5095" y="226"/>
                    <a:pt x="5087" y="227"/>
                    <a:pt x="5085" y="222"/>
                  </a:cubicBezTo>
                  <a:cubicBezTo>
                    <a:pt x="5083" y="218"/>
                    <a:pt x="5079" y="209"/>
                    <a:pt x="5078" y="207"/>
                  </a:cubicBezTo>
                  <a:cubicBezTo>
                    <a:pt x="5078" y="204"/>
                    <a:pt x="5086" y="202"/>
                    <a:pt x="5089" y="204"/>
                  </a:cubicBezTo>
                  <a:cubicBezTo>
                    <a:pt x="5091" y="206"/>
                    <a:pt x="5093" y="209"/>
                    <a:pt x="5099" y="208"/>
                  </a:cubicBezTo>
                  <a:cubicBezTo>
                    <a:pt x="5104" y="208"/>
                    <a:pt x="5111" y="196"/>
                    <a:pt x="5109" y="191"/>
                  </a:cubicBezTo>
                  <a:cubicBezTo>
                    <a:pt x="5107" y="185"/>
                    <a:pt x="5108" y="185"/>
                    <a:pt x="5099" y="184"/>
                  </a:cubicBezTo>
                  <a:cubicBezTo>
                    <a:pt x="5090" y="184"/>
                    <a:pt x="5090" y="183"/>
                    <a:pt x="5079" y="183"/>
                  </a:cubicBezTo>
                  <a:cubicBezTo>
                    <a:pt x="5069" y="183"/>
                    <a:pt x="5060" y="184"/>
                    <a:pt x="5058" y="186"/>
                  </a:cubicBezTo>
                  <a:cubicBezTo>
                    <a:pt x="5056" y="189"/>
                    <a:pt x="5053" y="193"/>
                    <a:pt x="5049" y="193"/>
                  </a:cubicBezTo>
                  <a:cubicBezTo>
                    <a:pt x="5045" y="193"/>
                    <a:pt x="5041" y="201"/>
                    <a:pt x="5036" y="196"/>
                  </a:cubicBezTo>
                  <a:cubicBezTo>
                    <a:pt x="5031" y="192"/>
                    <a:pt x="5031" y="188"/>
                    <a:pt x="5031" y="184"/>
                  </a:cubicBezTo>
                  <a:cubicBezTo>
                    <a:pt x="5031" y="181"/>
                    <a:pt x="5033" y="173"/>
                    <a:pt x="5033" y="173"/>
                  </a:cubicBezTo>
                  <a:cubicBezTo>
                    <a:pt x="5051" y="171"/>
                    <a:pt x="5051" y="171"/>
                    <a:pt x="5051" y="171"/>
                  </a:cubicBezTo>
                  <a:cubicBezTo>
                    <a:pt x="5051" y="171"/>
                    <a:pt x="5062" y="171"/>
                    <a:pt x="5065" y="171"/>
                  </a:cubicBezTo>
                  <a:cubicBezTo>
                    <a:pt x="5067" y="171"/>
                    <a:pt x="5074" y="171"/>
                    <a:pt x="5078" y="172"/>
                  </a:cubicBezTo>
                  <a:cubicBezTo>
                    <a:pt x="5081" y="172"/>
                    <a:pt x="5090" y="177"/>
                    <a:pt x="5093" y="175"/>
                  </a:cubicBezTo>
                  <a:cubicBezTo>
                    <a:pt x="5096" y="173"/>
                    <a:pt x="5103" y="172"/>
                    <a:pt x="5108" y="169"/>
                  </a:cubicBezTo>
                  <a:cubicBezTo>
                    <a:pt x="5113" y="165"/>
                    <a:pt x="5121" y="164"/>
                    <a:pt x="5117" y="159"/>
                  </a:cubicBezTo>
                  <a:cubicBezTo>
                    <a:pt x="5114" y="153"/>
                    <a:pt x="5114" y="151"/>
                    <a:pt x="5104" y="153"/>
                  </a:cubicBezTo>
                  <a:cubicBezTo>
                    <a:pt x="5095" y="155"/>
                    <a:pt x="5090" y="156"/>
                    <a:pt x="5083" y="154"/>
                  </a:cubicBezTo>
                  <a:cubicBezTo>
                    <a:pt x="5077" y="152"/>
                    <a:pt x="5067" y="156"/>
                    <a:pt x="5066" y="152"/>
                  </a:cubicBezTo>
                  <a:cubicBezTo>
                    <a:pt x="5064" y="148"/>
                    <a:pt x="5061" y="145"/>
                    <a:pt x="5067" y="142"/>
                  </a:cubicBezTo>
                  <a:cubicBezTo>
                    <a:pt x="5074" y="139"/>
                    <a:pt x="5081" y="138"/>
                    <a:pt x="5085" y="140"/>
                  </a:cubicBezTo>
                  <a:cubicBezTo>
                    <a:pt x="5089" y="142"/>
                    <a:pt x="5092" y="146"/>
                    <a:pt x="5097" y="145"/>
                  </a:cubicBezTo>
                  <a:cubicBezTo>
                    <a:pt x="5102" y="144"/>
                    <a:pt x="5102" y="146"/>
                    <a:pt x="5108" y="143"/>
                  </a:cubicBezTo>
                  <a:cubicBezTo>
                    <a:pt x="5114" y="140"/>
                    <a:pt x="5118" y="136"/>
                    <a:pt x="5121" y="135"/>
                  </a:cubicBezTo>
                  <a:cubicBezTo>
                    <a:pt x="5132" y="128"/>
                    <a:pt x="5133" y="132"/>
                    <a:pt x="5135" y="122"/>
                  </a:cubicBezTo>
                  <a:cubicBezTo>
                    <a:pt x="5137" y="112"/>
                    <a:pt x="5133" y="112"/>
                    <a:pt x="5133" y="105"/>
                  </a:cubicBezTo>
                  <a:cubicBezTo>
                    <a:pt x="5133" y="98"/>
                    <a:pt x="5128" y="98"/>
                    <a:pt x="5122" y="95"/>
                  </a:cubicBezTo>
                  <a:cubicBezTo>
                    <a:pt x="5115" y="92"/>
                    <a:pt x="5114" y="90"/>
                    <a:pt x="5106" y="87"/>
                  </a:cubicBezTo>
                  <a:cubicBezTo>
                    <a:pt x="5099" y="83"/>
                    <a:pt x="5085" y="84"/>
                    <a:pt x="5081" y="83"/>
                  </a:cubicBezTo>
                  <a:cubicBezTo>
                    <a:pt x="5078" y="82"/>
                    <a:pt x="5069" y="85"/>
                    <a:pt x="5059" y="85"/>
                  </a:cubicBezTo>
                  <a:cubicBezTo>
                    <a:pt x="5049" y="85"/>
                    <a:pt x="5036" y="85"/>
                    <a:pt x="5031" y="84"/>
                  </a:cubicBezTo>
                  <a:cubicBezTo>
                    <a:pt x="5025" y="83"/>
                    <a:pt x="5013" y="85"/>
                    <a:pt x="5013" y="85"/>
                  </a:cubicBezTo>
                  <a:cubicBezTo>
                    <a:pt x="5013" y="85"/>
                    <a:pt x="5011" y="87"/>
                    <a:pt x="5007" y="93"/>
                  </a:cubicBezTo>
                  <a:cubicBezTo>
                    <a:pt x="5004" y="100"/>
                    <a:pt x="5011" y="106"/>
                    <a:pt x="5002" y="106"/>
                  </a:cubicBezTo>
                  <a:cubicBezTo>
                    <a:pt x="4993" y="106"/>
                    <a:pt x="4987" y="103"/>
                    <a:pt x="4980" y="100"/>
                  </a:cubicBezTo>
                  <a:cubicBezTo>
                    <a:pt x="4972" y="98"/>
                    <a:pt x="4971" y="99"/>
                    <a:pt x="4967" y="99"/>
                  </a:cubicBezTo>
                  <a:cubicBezTo>
                    <a:pt x="4962" y="99"/>
                    <a:pt x="4961" y="91"/>
                    <a:pt x="4957" y="89"/>
                  </a:cubicBezTo>
                  <a:cubicBezTo>
                    <a:pt x="4952" y="88"/>
                    <a:pt x="4947" y="98"/>
                    <a:pt x="4947" y="101"/>
                  </a:cubicBezTo>
                  <a:cubicBezTo>
                    <a:pt x="4946" y="105"/>
                    <a:pt x="4947" y="113"/>
                    <a:pt x="4944" y="114"/>
                  </a:cubicBezTo>
                  <a:cubicBezTo>
                    <a:pt x="4941" y="115"/>
                    <a:pt x="4937" y="112"/>
                    <a:pt x="4935" y="117"/>
                  </a:cubicBezTo>
                  <a:cubicBezTo>
                    <a:pt x="4932" y="123"/>
                    <a:pt x="4931" y="131"/>
                    <a:pt x="4928" y="134"/>
                  </a:cubicBezTo>
                  <a:cubicBezTo>
                    <a:pt x="4925" y="136"/>
                    <a:pt x="4914" y="152"/>
                    <a:pt x="4914" y="152"/>
                  </a:cubicBezTo>
                  <a:cubicBezTo>
                    <a:pt x="4901" y="157"/>
                    <a:pt x="4901" y="157"/>
                    <a:pt x="4901" y="157"/>
                  </a:cubicBezTo>
                  <a:cubicBezTo>
                    <a:pt x="4901" y="157"/>
                    <a:pt x="4921" y="135"/>
                    <a:pt x="4920" y="122"/>
                  </a:cubicBezTo>
                  <a:cubicBezTo>
                    <a:pt x="4919" y="109"/>
                    <a:pt x="4924" y="107"/>
                    <a:pt x="4925" y="100"/>
                  </a:cubicBezTo>
                  <a:cubicBezTo>
                    <a:pt x="4926" y="94"/>
                    <a:pt x="4921" y="95"/>
                    <a:pt x="4920" y="88"/>
                  </a:cubicBezTo>
                  <a:cubicBezTo>
                    <a:pt x="4919" y="80"/>
                    <a:pt x="4916" y="76"/>
                    <a:pt x="4911" y="73"/>
                  </a:cubicBezTo>
                  <a:cubicBezTo>
                    <a:pt x="4907" y="70"/>
                    <a:pt x="4904" y="76"/>
                    <a:pt x="4897" y="72"/>
                  </a:cubicBezTo>
                  <a:cubicBezTo>
                    <a:pt x="4889" y="68"/>
                    <a:pt x="4887" y="69"/>
                    <a:pt x="4881" y="68"/>
                  </a:cubicBezTo>
                  <a:cubicBezTo>
                    <a:pt x="4875" y="67"/>
                    <a:pt x="4866" y="76"/>
                    <a:pt x="4866" y="76"/>
                  </a:cubicBezTo>
                  <a:cubicBezTo>
                    <a:pt x="4866" y="76"/>
                    <a:pt x="4863" y="80"/>
                    <a:pt x="4859" y="86"/>
                  </a:cubicBezTo>
                  <a:cubicBezTo>
                    <a:pt x="4855" y="91"/>
                    <a:pt x="4854" y="97"/>
                    <a:pt x="4851" y="94"/>
                  </a:cubicBezTo>
                  <a:cubicBezTo>
                    <a:pt x="4847" y="91"/>
                    <a:pt x="4845" y="91"/>
                    <a:pt x="4841" y="94"/>
                  </a:cubicBezTo>
                  <a:cubicBezTo>
                    <a:pt x="4838" y="97"/>
                    <a:pt x="4827" y="107"/>
                    <a:pt x="4824" y="109"/>
                  </a:cubicBezTo>
                  <a:cubicBezTo>
                    <a:pt x="4821" y="111"/>
                    <a:pt x="4815" y="116"/>
                    <a:pt x="4811" y="116"/>
                  </a:cubicBezTo>
                  <a:cubicBezTo>
                    <a:pt x="4807" y="116"/>
                    <a:pt x="4797" y="120"/>
                    <a:pt x="4799" y="117"/>
                  </a:cubicBezTo>
                  <a:cubicBezTo>
                    <a:pt x="4801" y="114"/>
                    <a:pt x="4808" y="110"/>
                    <a:pt x="4813" y="107"/>
                  </a:cubicBezTo>
                  <a:cubicBezTo>
                    <a:pt x="4817" y="104"/>
                    <a:pt x="4821" y="107"/>
                    <a:pt x="4824" y="102"/>
                  </a:cubicBezTo>
                  <a:cubicBezTo>
                    <a:pt x="4827" y="98"/>
                    <a:pt x="4833" y="92"/>
                    <a:pt x="4834" y="89"/>
                  </a:cubicBezTo>
                  <a:cubicBezTo>
                    <a:pt x="4835" y="87"/>
                    <a:pt x="4839" y="89"/>
                    <a:pt x="4839" y="85"/>
                  </a:cubicBezTo>
                  <a:cubicBezTo>
                    <a:pt x="4839" y="80"/>
                    <a:pt x="4846" y="83"/>
                    <a:pt x="4839" y="80"/>
                  </a:cubicBezTo>
                  <a:cubicBezTo>
                    <a:pt x="4833" y="77"/>
                    <a:pt x="4826" y="76"/>
                    <a:pt x="4826" y="76"/>
                  </a:cubicBezTo>
                  <a:cubicBezTo>
                    <a:pt x="4826" y="76"/>
                    <a:pt x="4771" y="75"/>
                    <a:pt x="4763" y="77"/>
                  </a:cubicBezTo>
                  <a:cubicBezTo>
                    <a:pt x="4755" y="80"/>
                    <a:pt x="4750" y="83"/>
                    <a:pt x="4744" y="84"/>
                  </a:cubicBezTo>
                  <a:cubicBezTo>
                    <a:pt x="4739" y="85"/>
                    <a:pt x="4733" y="81"/>
                    <a:pt x="4726" y="84"/>
                  </a:cubicBezTo>
                  <a:cubicBezTo>
                    <a:pt x="4719" y="87"/>
                    <a:pt x="4714" y="92"/>
                    <a:pt x="4708" y="91"/>
                  </a:cubicBezTo>
                  <a:cubicBezTo>
                    <a:pt x="4703" y="90"/>
                    <a:pt x="4697" y="98"/>
                    <a:pt x="4690" y="96"/>
                  </a:cubicBezTo>
                  <a:cubicBezTo>
                    <a:pt x="4683" y="94"/>
                    <a:pt x="4677" y="97"/>
                    <a:pt x="4673" y="91"/>
                  </a:cubicBezTo>
                  <a:cubicBezTo>
                    <a:pt x="4670" y="86"/>
                    <a:pt x="4668" y="82"/>
                    <a:pt x="4672" y="78"/>
                  </a:cubicBezTo>
                  <a:cubicBezTo>
                    <a:pt x="4677" y="75"/>
                    <a:pt x="4686" y="81"/>
                    <a:pt x="4695" y="78"/>
                  </a:cubicBezTo>
                  <a:cubicBezTo>
                    <a:pt x="4703" y="76"/>
                    <a:pt x="4731" y="80"/>
                    <a:pt x="4731" y="75"/>
                  </a:cubicBezTo>
                  <a:cubicBezTo>
                    <a:pt x="4731" y="69"/>
                    <a:pt x="4742" y="66"/>
                    <a:pt x="4745" y="67"/>
                  </a:cubicBezTo>
                  <a:cubicBezTo>
                    <a:pt x="4749" y="68"/>
                    <a:pt x="4763" y="64"/>
                    <a:pt x="4767" y="66"/>
                  </a:cubicBezTo>
                  <a:cubicBezTo>
                    <a:pt x="4772" y="68"/>
                    <a:pt x="4797" y="67"/>
                    <a:pt x="4802" y="67"/>
                  </a:cubicBezTo>
                  <a:cubicBezTo>
                    <a:pt x="4806" y="67"/>
                    <a:pt x="4834" y="66"/>
                    <a:pt x="4839" y="68"/>
                  </a:cubicBezTo>
                  <a:cubicBezTo>
                    <a:pt x="4845" y="70"/>
                    <a:pt x="4854" y="75"/>
                    <a:pt x="4854" y="70"/>
                  </a:cubicBezTo>
                  <a:cubicBezTo>
                    <a:pt x="4854" y="65"/>
                    <a:pt x="4852" y="62"/>
                    <a:pt x="4856" y="60"/>
                  </a:cubicBezTo>
                  <a:cubicBezTo>
                    <a:pt x="4860" y="58"/>
                    <a:pt x="4862" y="62"/>
                    <a:pt x="4868" y="60"/>
                  </a:cubicBezTo>
                  <a:cubicBezTo>
                    <a:pt x="4875" y="58"/>
                    <a:pt x="4879" y="62"/>
                    <a:pt x="4884" y="58"/>
                  </a:cubicBezTo>
                  <a:cubicBezTo>
                    <a:pt x="4888" y="54"/>
                    <a:pt x="4891" y="58"/>
                    <a:pt x="4892" y="53"/>
                  </a:cubicBezTo>
                  <a:cubicBezTo>
                    <a:pt x="4893" y="49"/>
                    <a:pt x="4894" y="44"/>
                    <a:pt x="4888" y="43"/>
                  </a:cubicBezTo>
                  <a:cubicBezTo>
                    <a:pt x="4883" y="42"/>
                    <a:pt x="4875" y="44"/>
                    <a:pt x="4872" y="42"/>
                  </a:cubicBezTo>
                  <a:cubicBezTo>
                    <a:pt x="4868" y="40"/>
                    <a:pt x="4862" y="40"/>
                    <a:pt x="4857" y="40"/>
                  </a:cubicBezTo>
                  <a:cubicBezTo>
                    <a:pt x="4852" y="39"/>
                    <a:pt x="4846" y="40"/>
                    <a:pt x="4839" y="40"/>
                  </a:cubicBezTo>
                  <a:cubicBezTo>
                    <a:pt x="4831" y="40"/>
                    <a:pt x="4818" y="43"/>
                    <a:pt x="4814" y="41"/>
                  </a:cubicBezTo>
                  <a:cubicBezTo>
                    <a:pt x="4809" y="40"/>
                    <a:pt x="4804" y="42"/>
                    <a:pt x="4802" y="39"/>
                  </a:cubicBezTo>
                  <a:cubicBezTo>
                    <a:pt x="4799" y="35"/>
                    <a:pt x="4798" y="33"/>
                    <a:pt x="4795" y="30"/>
                  </a:cubicBezTo>
                  <a:cubicBezTo>
                    <a:pt x="4792" y="28"/>
                    <a:pt x="4793" y="28"/>
                    <a:pt x="4789" y="25"/>
                  </a:cubicBezTo>
                  <a:cubicBezTo>
                    <a:pt x="4784" y="22"/>
                    <a:pt x="4774" y="28"/>
                    <a:pt x="4772" y="24"/>
                  </a:cubicBezTo>
                  <a:cubicBezTo>
                    <a:pt x="4770" y="20"/>
                    <a:pt x="4774" y="18"/>
                    <a:pt x="4767" y="15"/>
                  </a:cubicBezTo>
                  <a:cubicBezTo>
                    <a:pt x="4759" y="11"/>
                    <a:pt x="4751" y="12"/>
                    <a:pt x="4744" y="9"/>
                  </a:cubicBezTo>
                  <a:cubicBezTo>
                    <a:pt x="4738" y="6"/>
                    <a:pt x="4734" y="8"/>
                    <a:pt x="4723" y="9"/>
                  </a:cubicBezTo>
                  <a:cubicBezTo>
                    <a:pt x="4712" y="10"/>
                    <a:pt x="4710" y="9"/>
                    <a:pt x="4704" y="9"/>
                  </a:cubicBezTo>
                  <a:cubicBezTo>
                    <a:pt x="4697" y="9"/>
                    <a:pt x="4701" y="5"/>
                    <a:pt x="4686" y="4"/>
                  </a:cubicBezTo>
                  <a:cubicBezTo>
                    <a:pt x="4672" y="4"/>
                    <a:pt x="4682" y="4"/>
                    <a:pt x="4663" y="5"/>
                  </a:cubicBezTo>
                  <a:cubicBezTo>
                    <a:pt x="4645" y="7"/>
                    <a:pt x="4604" y="0"/>
                    <a:pt x="4588" y="3"/>
                  </a:cubicBezTo>
                  <a:cubicBezTo>
                    <a:pt x="4571" y="5"/>
                    <a:pt x="4564" y="7"/>
                    <a:pt x="4553" y="7"/>
                  </a:cubicBezTo>
                  <a:cubicBezTo>
                    <a:pt x="4543" y="7"/>
                    <a:pt x="4540" y="5"/>
                    <a:pt x="4534" y="4"/>
                  </a:cubicBezTo>
                  <a:cubicBezTo>
                    <a:pt x="4528" y="4"/>
                    <a:pt x="4528" y="15"/>
                    <a:pt x="4528" y="15"/>
                  </a:cubicBezTo>
                  <a:cubicBezTo>
                    <a:pt x="4528" y="15"/>
                    <a:pt x="4534" y="26"/>
                    <a:pt x="4536" y="27"/>
                  </a:cubicBezTo>
                  <a:cubicBezTo>
                    <a:pt x="4538" y="28"/>
                    <a:pt x="4529" y="32"/>
                    <a:pt x="4524" y="28"/>
                  </a:cubicBezTo>
                  <a:cubicBezTo>
                    <a:pt x="4518" y="25"/>
                    <a:pt x="4514" y="26"/>
                    <a:pt x="4504" y="23"/>
                  </a:cubicBezTo>
                  <a:cubicBezTo>
                    <a:pt x="4495" y="20"/>
                    <a:pt x="4493" y="26"/>
                    <a:pt x="4483" y="24"/>
                  </a:cubicBezTo>
                  <a:cubicBezTo>
                    <a:pt x="4473" y="22"/>
                    <a:pt x="4468" y="26"/>
                    <a:pt x="4462" y="24"/>
                  </a:cubicBezTo>
                  <a:cubicBezTo>
                    <a:pt x="4456" y="22"/>
                    <a:pt x="4453" y="25"/>
                    <a:pt x="4441" y="24"/>
                  </a:cubicBezTo>
                  <a:cubicBezTo>
                    <a:pt x="4429" y="23"/>
                    <a:pt x="4419" y="25"/>
                    <a:pt x="4411" y="24"/>
                  </a:cubicBezTo>
                  <a:cubicBezTo>
                    <a:pt x="4404" y="23"/>
                    <a:pt x="4395" y="27"/>
                    <a:pt x="4388" y="28"/>
                  </a:cubicBezTo>
                  <a:cubicBezTo>
                    <a:pt x="4382" y="28"/>
                    <a:pt x="4376" y="35"/>
                    <a:pt x="4376" y="35"/>
                  </a:cubicBezTo>
                  <a:cubicBezTo>
                    <a:pt x="4385" y="41"/>
                    <a:pt x="4385" y="41"/>
                    <a:pt x="4385" y="41"/>
                  </a:cubicBezTo>
                  <a:cubicBezTo>
                    <a:pt x="4385" y="41"/>
                    <a:pt x="4388" y="54"/>
                    <a:pt x="4379" y="49"/>
                  </a:cubicBezTo>
                  <a:cubicBezTo>
                    <a:pt x="4370" y="43"/>
                    <a:pt x="4367" y="44"/>
                    <a:pt x="4358" y="42"/>
                  </a:cubicBezTo>
                  <a:cubicBezTo>
                    <a:pt x="4349" y="40"/>
                    <a:pt x="4339" y="44"/>
                    <a:pt x="4342" y="45"/>
                  </a:cubicBezTo>
                  <a:cubicBezTo>
                    <a:pt x="4345" y="46"/>
                    <a:pt x="4349" y="52"/>
                    <a:pt x="4353" y="54"/>
                  </a:cubicBezTo>
                  <a:cubicBezTo>
                    <a:pt x="4357" y="56"/>
                    <a:pt x="4366" y="56"/>
                    <a:pt x="4368" y="59"/>
                  </a:cubicBezTo>
                  <a:cubicBezTo>
                    <a:pt x="4370" y="62"/>
                    <a:pt x="4376" y="64"/>
                    <a:pt x="4378" y="67"/>
                  </a:cubicBezTo>
                  <a:cubicBezTo>
                    <a:pt x="4380" y="71"/>
                    <a:pt x="4386" y="72"/>
                    <a:pt x="4388" y="75"/>
                  </a:cubicBezTo>
                  <a:cubicBezTo>
                    <a:pt x="4390" y="77"/>
                    <a:pt x="4397" y="84"/>
                    <a:pt x="4393" y="84"/>
                  </a:cubicBezTo>
                  <a:cubicBezTo>
                    <a:pt x="4388" y="84"/>
                    <a:pt x="4382" y="84"/>
                    <a:pt x="4377" y="79"/>
                  </a:cubicBezTo>
                  <a:cubicBezTo>
                    <a:pt x="4373" y="75"/>
                    <a:pt x="4364" y="74"/>
                    <a:pt x="4360" y="69"/>
                  </a:cubicBezTo>
                  <a:cubicBezTo>
                    <a:pt x="4355" y="64"/>
                    <a:pt x="4349" y="61"/>
                    <a:pt x="4340" y="59"/>
                  </a:cubicBezTo>
                  <a:cubicBezTo>
                    <a:pt x="4332" y="57"/>
                    <a:pt x="4330" y="60"/>
                    <a:pt x="4325" y="57"/>
                  </a:cubicBezTo>
                  <a:cubicBezTo>
                    <a:pt x="4319" y="54"/>
                    <a:pt x="4314" y="52"/>
                    <a:pt x="4307" y="50"/>
                  </a:cubicBezTo>
                  <a:cubicBezTo>
                    <a:pt x="4300" y="47"/>
                    <a:pt x="4292" y="50"/>
                    <a:pt x="4287" y="52"/>
                  </a:cubicBezTo>
                  <a:cubicBezTo>
                    <a:pt x="4281" y="53"/>
                    <a:pt x="4277" y="51"/>
                    <a:pt x="4271" y="51"/>
                  </a:cubicBezTo>
                  <a:cubicBezTo>
                    <a:pt x="4265" y="51"/>
                    <a:pt x="4263" y="55"/>
                    <a:pt x="4262" y="59"/>
                  </a:cubicBezTo>
                  <a:cubicBezTo>
                    <a:pt x="4261" y="63"/>
                    <a:pt x="4269" y="73"/>
                    <a:pt x="4272" y="75"/>
                  </a:cubicBezTo>
                  <a:cubicBezTo>
                    <a:pt x="4275" y="76"/>
                    <a:pt x="4294" y="87"/>
                    <a:pt x="4282" y="87"/>
                  </a:cubicBezTo>
                  <a:cubicBezTo>
                    <a:pt x="4282" y="87"/>
                    <a:pt x="4265" y="94"/>
                    <a:pt x="4262" y="86"/>
                  </a:cubicBezTo>
                  <a:cubicBezTo>
                    <a:pt x="4258" y="77"/>
                    <a:pt x="4254" y="76"/>
                    <a:pt x="4250" y="70"/>
                  </a:cubicBezTo>
                  <a:cubicBezTo>
                    <a:pt x="4245" y="64"/>
                    <a:pt x="4236" y="64"/>
                    <a:pt x="4232" y="63"/>
                  </a:cubicBezTo>
                  <a:cubicBezTo>
                    <a:pt x="4229" y="62"/>
                    <a:pt x="4222" y="64"/>
                    <a:pt x="4219" y="64"/>
                  </a:cubicBezTo>
                  <a:cubicBezTo>
                    <a:pt x="4217" y="65"/>
                    <a:pt x="4212" y="63"/>
                    <a:pt x="4212" y="67"/>
                  </a:cubicBezTo>
                  <a:cubicBezTo>
                    <a:pt x="4212" y="72"/>
                    <a:pt x="4210" y="83"/>
                    <a:pt x="4207" y="83"/>
                  </a:cubicBezTo>
                  <a:cubicBezTo>
                    <a:pt x="4205" y="83"/>
                    <a:pt x="4193" y="96"/>
                    <a:pt x="4196" y="87"/>
                  </a:cubicBezTo>
                  <a:cubicBezTo>
                    <a:pt x="4200" y="77"/>
                    <a:pt x="4203" y="67"/>
                    <a:pt x="4200" y="64"/>
                  </a:cubicBezTo>
                  <a:cubicBezTo>
                    <a:pt x="4197" y="60"/>
                    <a:pt x="4196" y="64"/>
                    <a:pt x="4193" y="62"/>
                  </a:cubicBezTo>
                  <a:cubicBezTo>
                    <a:pt x="4189" y="59"/>
                    <a:pt x="4185" y="60"/>
                    <a:pt x="4178" y="60"/>
                  </a:cubicBezTo>
                  <a:cubicBezTo>
                    <a:pt x="4170" y="60"/>
                    <a:pt x="4154" y="66"/>
                    <a:pt x="4148" y="67"/>
                  </a:cubicBezTo>
                  <a:cubicBezTo>
                    <a:pt x="4143" y="68"/>
                    <a:pt x="4134" y="72"/>
                    <a:pt x="4130" y="71"/>
                  </a:cubicBezTo>
                  <a:cubicBezTo>
                    <a:pt x="4125" y="70"/>
                    <a:pt x="4119" y="67"/>
                    <a:pt x="4113" y="67"/>
                  </a:cubicBezTo>
                  <a:cubicBezTo>
                    <a:pt x="4108" y="67"/>
                    <a:pt x="4101" y="70"/>
                    <a:pt x="4097" y="70"/>
                  </a:cubicBezTo>
                  <a:cubicBezTo>
                    <a:pt x="4092" y="70"/>
                    <a:pt x="4091" y="67"/>
                    <a:pt x="4086" y="70"/>
                  </a:cubicBezTo>
                  <a:cubicBezTo>
                    <a:pt x="4082" y="73"/>
                    <a:pt x="4077" y="82"/>
                    <a:pt x="4076" y="86"/>
                  </a:cubicBezTo>
                  <a:cubicBezTo>
                    <a:pt x="4075" y="89"/>
                    <a:pt x="4075" y="98"/>
                    <a:pt x="4075" y="98"/>
                  </a:cubicBezTo>
                  <a:cubicBezTo>
                    <a:pt x="4075" y="98"/>
                    <a:pt x="4078" y="102"/>
                    <a:pt x="4070" y="97"/>
                  </a:cubicBezTo>
                  <a:cubicBezTo>
                    <a:pt x="4062" y="91"/>
                    <a:pt x="4053" y="84"/>
                    <a:pt x="4049" y="85"/>
                  </a:cubicBezTo>
                  <a:cubicBezTo>
                    <a:pt x="4044" y="86"/>
                    <a:pt x="4041" y="86"/>
                    <a:pt x="4037" y="86"/>
                  </a:cubicBezTo>
                  <a:cubicBezTo>
                    <a:pt x="4032" y="86"/>
                    <a:pt x="4014" y="85"/>
                    <a:pt x="4011" y="92"/>
                  </a:cubicBezTo>
                  <a:cubicBezTo>
                    <a:pt x="4007" y="100"/>
                    <a:pt x="4014" y="104"/>
                    <a:pt x="4008" y="109"/>
                  </a:cubicBezTo>
                  <a:cubicBezTo>
                    <a:pt x="4002" y="113"/>
                    <a:pt x="3996" y="112"/>
                    <a:pt x="3993" y="114"/>
                  </a:cubicBezTo>
                  <a:cubicBezTo>
                    <a:pt x="3990" y="116"/>
                    <a:pt x="3995" y="132"/>
                    <a:pt x="3990" y="129"/>
                  </a:cubicBezTo>
                  <a:cubicBezTo>
                    <a:pt x="3986" y="126"/>
                    <a:pt x="3972" y="125"/>
                    <a:pt x="3967" y="122"/>
                  </a:cubicBezTo>
                  <a:cubicBezTo>
                    <a:pt x="3963" y="118"/>
                    <a:pt x="3960" y="124"/>
                    <a:pt x="3954" y="123"/>
                  </a:cubicBezTo>
                  <a:cubicBezTo>
                    <a:pt x="3949" y="122"/>
                    <a:pt x="3945" y="125"/>
                    <a:pt x="3936" y="124"/>
                  </a:cubicBezTo>
                  <a:cubicBezTo>
                    <a:pt x="3927" y="122"/>
                    <a:pt x="3923" y="124"/>
                    <a:pt x="3916" y="123"/>
                  </a:cubicBezTo>
                  <a:cubicBezTo>
                    <a:pt x="3908" y="121"/>
                    <a:pt x="3906" y="124"/>
                    <a:pt x="3899" y="125"/>
                  </a:cubicBezTo>
                  <a:cubicBezTo>
                    <a:pt x="3893" y="126"/>
                    <a:pt x="3883" y="134"/>
                    <a:pt x="3879" y="134"/>
                  </a:cubicBezTo>
                  <a:cubicBezTo>
                    <a:pt x="3874" y="134"/>
                    <a:pt x="3870" y="136"/>
                    <a:pt x="3864" y="136"/>
                  </a:cubicBezTo>
                  <a:cubicBezTo>
                    <a:pt x="3859" y="136"/>
                    <a:pt x="3850" y="139"/>
                    <a:pt x="3847" y="139"/>
                  </a:cubicBezTo>
                  <a:cubicBezTo>
                    <a:pt x="3845" y="139"/>
                    <a:pt x="3837" y="147"/>
                    <a:pt x="3834" y="148"/>
                  </a:cubicBezTo>
                  <a:cubicBezTo>
                    <a:pt x="3830" y="148"/>
                    <a:pt x="3823" y="150"/>
                    <a:pt x="3819" y="151"/>
                  </a:cubicBezTo>
                  <a:cubicBezTo>
                    <a:pt x="3815" y="152"/>
                    <a:pt x="3808" y="160"/>
                    <a:pt x="3803" y="160"/>
                  </a:cubicBezTo>
                  <a:cubicBezTo>
                    <a:pt x="3799" y="160"/>
                    <a:pt x="3787" y="163"/>
                    <a:pt x="3787" y="163"/>
                  </a:cubicBezTo>
                  <a:cubicBezTo>
                    <a:pt x="3787" y="163"/>
                    <a:pt x="3782" y="168"/>
                    <a:pt x="3777" y="168"/>
                  </a:cubicBezTo>
                  <a:cubicBezTo>
                    <a:pt x="3773" y="168"/>
                    <a:pt x="3763" y="177"/>
                    <a:pt x="3763" y="180"/>
                  </a:cubicBezTo>
                  <a:cubicBezTo>
                    <a:pt x="3763" y="183"/>
                    <a:pt x="3768" y="186"/>
                    <a:pt x="3771" y="189"/>
                  </a:cubicBezTo>
                  <a:cubicBezTo>
                    <a:pt x="3774" y="192"/>
                    <a:pt x="3778" y="193"/>
                    <a:pt x="3781" y="193"/>
                  </a:cubicBezTo>
                  <a:cubicBezTo>
                    <a:pt x="3784" y="193"/>
                    <a:pt x="3791" y="186"/>
                    <a:pt x="3794" y="191"/>
                  </a:cubicBezTo>
                  <a:cubicBezTo>
                    <a:pt x="3797" y="196"/>
                    <a:pt x="3801" y="197"/>
                    <a:pt x="3800" y="200"/>
                  </a:cubicBezTo>
                  <a:cubicBezTo>
                    <a:pt x="3799" y="211"/>
                    <a:pt x="3797" y="217"/>
                    <a:pt x="3794" y="218"/>
                  </a:cubicBezTo>
                  <a:cubicBezTo>
                    <a:pt x="3791" y="219"/>
                    <a:pt x="3779" y="224"/>
                    <a:pt x="3775" y="224"/>
                  </a:cubicBezTo>
                  <a:cubicBezTo>
                    <a:pt x="3772" y="224"/>
                    <a:pt x="3754" y="230"/>
                    <a:pt x="3744" y="232"/>
                  </a:cubicBezTo>
                  <a:cubicBezTo>
                    <a:pt x="3734" y="233"/>
                    <a:pt x="3727" y="239"/>
                    <a:pt x="3719" y="238"/>
                  </a:cubicBezTo>
                  <a:cubicBezTo>
                    <a:pt x="3712" y="237"/>
                    <a:pt x="3710" y="239"/>
                    <a:pt x="3700" y="240"/>
                  </a:cubicBezTo>
                  <a:cubicBezTo>
                    <a:pt x="3690" y="241"/>
                    <a:pt x="3681" y="244"/>
                    <a:pt x="3677" y="244"/>
                  </a:cubicBezTo>
                  <a:cubicBezTo>
                    <a:pt x="3672" y="244"/>
                    <a:pt x="3667" y="244"/>
                    <a:pt x="3665" y="247"/>
                  </a:cubicBezTo>
                  <a:cubicBezTo>
                    <a:pt x="3663" y="250"/>
                    <a:pt x="3664" y="256"/>
                    <a:pt x="3655" y="257"/>
                  </a:cubicBezTo>
                  <a:cubicBezTo>
                    <a:pt x="3647" y="258"/>
                    <a:pt x="3628" y="264"/>
                    <a:pt x="3628" y="264"/>
                  </a:cubicBezTo>
                  <a:cubicBezTo>
                    <a:pt x="3628" y="264"/>
                    <a:pt x="3628" y="267"/>
                    <a:pt x="3616" y="266"/>
                  </a:cubicBezTo>
                  <a:cubicBezTo>
                    <a:pt x="3604" y="265"/>
                    <a:pt x="3598" y="266"/>
                    <a:pt x="3589" y="265"/>
                  </a:cubicBezTo>
                  <a:cubicBezTo>
                    <a:pt x="3580" y="264"/>
                    <a:pt x="3572" y="267"/>
                    <a:pt x="3570" y="267"/>
                  </a:cubicBezTo>
                  <a:cubicBezTo>
                    <a:pt x="3567" y="268"/>
                    <a:pt x="3563" y="271"/>
                    <a:pt x="3559" y="274"/>
                  </a:cubicBezTo>
                  <a:cubicBezTo>
                    <a:pt x="3554" y="277"/>
                    <a:pt x="3550" y="279"/>
                    <a:pt x="3546" y="279"/>
                  </a:cubicBezTo>
                  <a:cubicBezTo>
                    <a:pt x="3541" y="279"/>
                    <a:pt x="3533" y="280"/>
                    <a:pt x="3528" y="281"/>
                  </a:cubicBezTo>
                  <a:cubicBezTo>
                    <a:pt x="3524" y="282"/>
                    <a:pt x="3512" y="285"/>
                    <a:pt x="3509" y="285"/>
                  </a:cubicBezTo>
                  <a:cubicBezTo>
                    <a:pt x="3506" y="285"/>
                    <a:pt x="3500" y="287"/>
                    <a:pt x="3497" y="290"/>
                  </a:cubicBezTo>
                  <a:cubicBezTo>
                    <a:pt x="3493" y="292"/>
                    <a:pt x="3489" y="298"/>
                    <a:pt x="3489" y="301"/>
                  </a:cubicBezTo>
                  <a:cubicBezTo>
                    <a:pt x="3489" y="303"/>
                    <a:pt x="3492" y="311"/>
                    <a:pt x="3495" y="315"/>
                  </a:cubicBezTo>
                  <a:cubicBezTo>
                    <a:pt x="3498" y="318"/>
                    <a:pt x="3506" y="312"/>
                    <a:pt x="3507" y="320"/>
                  </a:cubicBezTo>
                  <a:cubicBezTo>
                    <a:pt x="3508" y="328"/>
                    <a:pt x="3512" y="336"/>
                    <a:pt x="3514" y="339"/>
                  </a:cubicBezTo>
                  <a:cubicBezTo>
                    <a:pt x="3516" y="343"/>
                    <a:pt x="3518" y="345"/>
                    <a:pt x="3523" y="345"/>
                  </a:cubicBezTo>
                  <a:cubicBezTo>
                    <a:pt x="3527" y="345"/>
                    <a:pt x="3535" y="340"/>
                    <a:pt x="3536" y="343"/>
                  </a:cubicBezTo>
                  <a:cubicBezTo>
                    <a:pt x="3536" y="346"/>
                    <a:pt x="3535" y="352"/>
                    <a:pt x="3540" y="351"/>
                  </a:cubicBezTo>
                  <a:cubicBezTo>
                    <a:pt x="3546" y="349"/>
                    <a:pt x="3550" y="345"/>
                    <a:pt x="3554" y="343"/>
                  </a:cubicBezTo>
                  <a:cubicBezTo>
                    <a:pt x="3558" y="341"/>
                    <a:pt x="3564" y="340"/>
                    <a:pt x="3567" y="343"/>
                  </a:cubicBezTo>
                  <a:cubicBezTo>
                    <a:pt x="3570" y="346"/>
                    <a:pt x="3572" y="348"/>
                    <a:pt x="3577" y="348"/>
                  </a:cubicBezTo>
                  <a:cubicBezTo>
                    <a:pt x="3582" y="348"/>
                    <a:pt x="3586" y="347"/>
                    <a:pt x="3592" y="344"/>
                  </a:cubicBezTo>
                  <a:cubicBezTo>
                    <a:pt x="3597" y="341"/>
                    <a:pt x="3603" y="336"/>
                    <a:pt x="3608" y="338"/>
                  </a:cubicBezTo>
                  <a:cubicBezTo>
                    <a:pt x="3614" y="339"/>
                    <a:pt x="3620" y="337"/>
                    <a:pt x="3623" y="337"/>
                  </a:cubicBezTo>
                  <a:cubicBezTo>
                    <a:pt x="3627" y="337"/>
                    <a:pt x="3632" y="332"/>
                    <a:pt x="3637" y="336"/>
                  </a:cubicBezTo>
                  <a:cubicBezTo>
                    <a:pt x="3642" y="339"/>
                    <a:pt x="3644" y="347"/>
                    <a:pt x="3641" y="348"/>
                  </a:cubicBezTo>
                  <a:cubicBezTo>
                    <a:pt x="3637" y="349"/>
                    <a:pt x="3631" y="354"/>
                    <a:pt x="3627" y="351"/>
                  </a:cubicBezTo>
                  <a:cubicBezTo>
                    <a:pt x="3623" y="347"/>
                    <a:pt x="3620" y="345"/>
                    <a:pt x="3613" y="347"/>
                  </a:cubicBezTo>
                  <a:cubicBezTo>
                    <a:pt x="3606" y="349"/>
                    <a:pt x="3608" y="351"/>
                    <a:pt x="3598" y="351"/>
                  </a:cubicBezTo>
                  <a:cubicBezTo>
                    <a:pt x="3588" y="352"/>
                    <a:pt x="3586" y="353"/>
                    <a:pt x="3581" y="355"/>
                  </a:cubicBezTo>
                  <a:cubicBezTo>
                    <a:pt x="3575" y="357"/>
                    <a:pt x="3572" y="352"/>
                    <a:pt x="3561" y="357"/>
                  </a:cubicBezTo>
                  <a:cubicBezTo>
                    <a:pt x="3551" y="362"/>
                    <a:pt x="3548" y="363"/>
                    <a:pt x="3546" y="365"/>
                  </a:cubicBezTo>
                  <a:cubicBezTo>
                    <a:pt x="3544" y="368"/>
                    <a:pt x="3542" y="371"/>
                    <a:pt x="3539" y="373"/>
                  </a:cubicBezTo>
                  <a:cubicBezTo>
                    <a:pt x="3536" y="375"/>
                    <a:pt x="3526" y="382"/>
                    <a:pt x="3524" y="377"/>
                  </a:cubicBezTo>
                  <a:cubicBezTo>
                    <a:pt x="3521" y="373"/>
                    <a:pt x="3522" y="366"/>
                    <a:pt x="3513" y="366"/>
                  </a:cubicBezTo>
                  <a:cubicBezTo>
                    <a:pt x="3505" y="366"/>
                    <a:pt x="3500" y="363"/>
                    <a:pt x="3494" y="362"/>
                  </a:cubicBezTo>
                  <a:cubicBezTo>
                    <a:pt x="3488" y="360"/>
                    <a:pt x="3479" y="357"/>
                    <a:pt x="3474" y="358"/>
                  </a:cubicBezTo>
                  <a:cubicBezTo>
                    <a:pt x="3468" y="359"/>
                    <a:pt x="3459" y="366"/>
                    <a:pt x="3456" y="367"/>
                  </a:cubicBezTo>
                  <a:cubicBezTo>
                    <a:pt x="3453" y="368"/>
                    <a:pt x="3452" y="375"/>
                    <a:pt x="3452" y="381"/>
                  </a:cubicBezTo>
                  <a:cubicBezTo>
                    <a:pt x="3452" y="387"/>
                    <a:pt x="3452" y="397"/>
                    <a:pt x="3458" y="393"/>
                  </a:cubicBezTo>
                  <a:cubicBezTo>
                    <a:pt x="3464" y="389"/>
                    <a:pt x="3474" y="387"/>
                    <a:pt x="3476" y="387"/>
                  </a:cubicBezTo>
                  <a:cubicBezTo>
                    <a:pt x="3479" y="387"/>
                    <a:pt x="3484" y="386"/>
                    <a:pt x="3487" y="392"/>
                  </a:cubicBezTo>
                  <a:cubicBezTo>
                    <a:pt x="3489" y="399"/>
                    <a:pt x="3500" y="404"/>
                    <a:pt x="3501" y="401"/>
                  </a:cubicBezTo>
                  <a:cubicBezTo>
                    <a:pt x="3502" y="399"/>
                    <a:pt x="3508" y="402"/>
                    <a:pt x="3508" y="402"/>
                  </a:cubicBezTo>
                  <a:cubicBezTo>
                    <a:pt x="3508" y="402"/>
                    <a:pt x="3493" y="417"/>
                    <a:pt x="3483" y="417"/>
                  </a:cubicBezTo>
                  <a:cubicBezTo>
                    <a:pt x="3474" y="417"/>
                    <a:pt x="3479" y="404"/>
                    <a:pt x="3474" y="417"/>
                  </a:cubicBezTo>
                  <a:cubicBezTo>
                    <a:pt x="3468" y="431"/>
                    <a:pt x="3468" y="450"/>
                    <a:pt x="3475" y="450"/>
                  </a:cubicBezTo>
                  <a:cubicBezTo>
                    <a:pt x="3483" y="450"/>
                    <a:pt x="3493" y="456"/>
                    <a:pt x="3502" y="452"/>
                  </a:cubicBezTo>
                  <a:cubicBezTo>
                    <a:pt x="3512" y="448"/>
                    <a:pt x="3549" y="456"/>
                    <a:pt x="3550" y="446"/>
                  </a:cubicBezTo>
                  <a:cubicBezTo>
                    <a:pt x="3552" y="431"/>
                    <a:pt x="3571" y="428"/>
                    <a:pt x="3573" y="429"/>
                  </a:cubicBezTo>
                  <a:cubicBezTo>
                    <a:pt x="3575" y="431"/>
                    <a:pt x="3572" y="439"/>
                    <a:pt x="3578" y="440"/>
                  </a:cubicBezTo>
                  <a:cubicBezTo>
                    <a:pt x="3585" y="442"/>
                    <a:pt x="3589" y="443"/>
                    <a:pt x="3594" y="441"/>
                  </a:cubicBezTo>
                  <a:cubicBezTo>
                    <a:pt x="3598" y="440"/>
                    <a:pt x="3600" y="434"/>
                    <a:pt x="3606" y="434"/>
                  </a:cubicBezTo>
                  <a:cubicBezTo>
                    <a:pt x="3612" y="434"/>
                    <a:pt x="3619" y="436"/>
                    <a:pt x="3626" y="438"/>
                  </a:cubicBezTo>
                  <a:cubicBezTo>
                    <a:pt x="3633" y="440"/>
                    <a:pt x="3633" y="442"/>
                    <a:pt x="3639" y="435"/>
                  </a:cubicBezTo>
                  <a:cubicBezTo>
                    <a:pt x="3645" y="428"/>
                    <a:pt x="3647" y="420"/>
                    <a:pt x="3654" y="425"/>
                  </a:cubicBezTo>
                  <a:cubicBezTo>
                    <a:pt x="3662" y="431"/>
                    <a:pt x="3670" y="434"/>
                    <a:pt x="3670" y="434"/>
                  </a:cubicBezTo>
                  <a:cubicBezTo>
                    <a:pt x="3670" y="434"/>
                    <a:pt x="3686" y="431"/>
                    <a:pt x="3694" y="424"/>
                  </a:cubicBezTo>
                  <a:cubicBezTo>
                    <a:pt x="3702" y="417"/>
                    <a:pt x="3713" y="415"/>
                    <a:pt x="3720" y="424"/>
                  </a:cubicBezTo>
                  <a:cubicBezTo>
                    <a:pt x="3727" y="433"/>
                    <a:pt x="3730" y="433"/>
                    <a:pt x="3737" y="440"/>
                  </a:cubicBezTo>
                  <a:cubicBezTo>
                    <a:pt x="3744" y="447"/>
                    <a:pt x="3749" y="442"/>
                    <a:pt x="3757" y="443"/>
                  </a:cubicBezTo>
                  <a:cubicBezTo>
                    <a:pt x="3765" y="444"/>
                    <a:pt x="3771" y="442"/>
                    <a:pt x="3772" y="451"/>
                  </a:cubicBezTo>
                  <a:cubicBezTo>
                    <a:pt x="3773" y="460"/>
                    <a:pt x="3774" y="464"/>
                    <a:pt x="3780" y="466"/>
                  </a:cubicBezTo>
                  <a:cubicBezTo>
                    <a:pt x="3786" y="468"/>
                    <a:pt x="3798" y="464"/>
                    <a:pt x="3802" y="462"/>
                  </a:cubicBezTo>
                  <a:cubicBezTo>
                    <a:pt x="3805" y="461"/>
                    <a:pt x="3813" y="461"/>
                    <a:pt x="3816" y="467"/>
                  </a:cubicBezTo>
                  <a:cubicBezTo>
                    <a:pt x="3820" y="473"/>
                    <a:pt x="3836" y="470"/>
                    <a:pt x="3829" y="477"/>
                  </a:cubicBezTo>
                  <a:cubicBezTo>
                    <a:pt x="3822" y="484"/>
                    <a:pt x="3812" y="476"/>
                    <a:pt x="3812" y="482"/>
                  </a:cubicBezTo>
                  <a:cubicBezTo>
                    <a:pt x="3812" y="487"/>
                    <a:pt x="3813" y="495"/>
                    <a:pt x="3816" y="499"/>
                  </a:cubicBezTo>
                  <a:cubicBezTo>
                    <a:pt x="3820" y="502"/>
                    <a:pt x="3833" y="501"/>
                    <a:pt x="3833" y="508"/>
                  </a:cubicBezTo>
                  <a:cubicBezTo>
                    <a:pt x="3833" y="515"/>
                    <a:pt x="3829" y="520"/>
                    <a:pt x="3833" y="526"/>
                  </a:cubicBezTo>
                  <a:cubicBezTo>
                    <a:pt x="3838" y="532"/>
                    <a:pt x="3848" y="534"/>
                    <a:pt x="3849" y="539"/>
                  </a:cubicBezTo>
                  <a:cubicBezTo>
                    <a:pt x="3851" y="543"/>
                    <a:pt x="3853" y="558"/>
                    <a:pt x="3851" y="560"/>
                  </a:cubicBezTo>
                  <a:cubicBezTo>
                    <a:pt x="3838" y="569"/>
                    <a:pt x="3832" y="572"/>
                    <a:pt x="3837" y="575"/>
                  </a:cubicBezTo>
                  <a:cubicBezTo>
                    <a:pt x="3841" y="578"/>
                    <a:pt x="3851" y="573"/>
                    <a:pt x="3851" y="582"/>
                  </a:cubicBezTo>
                  <a:cubicBezTo>
                    <a:pt x="3851" y="591"/>
                    <a:pt x="3851" y="595"/>
                    <a:pt x="3849" y="599"/>
                  </a:cubicBezTo>
                  <a:cubicBezTo>
                    <a:pt x="3848" y="602"/>
                    <a:pt x="3841" y="605"/>
                    <a:pt x="3845" y="610"/>
                  </a:cubicBezTo>
                  <a:cubicBezTo>
                    <a:pt x="3848" y="616"/>
                    <a:pt x="3853" y="617"/>
                    <a:pt x="3854" y="621"/>
                  </a:cubicBezTo>
                  <a:cubicBezTo>
                    <a:pt x="3855" y="624"/>
                    <a:pt x="3862" y="626"/>
                    <a:pt x="3854" y="632"/>
                  </a:cubicBezTo>
                  <a:cubicBezTo>
                    <a:pt x="3846" y="638"/>
                    <a:pt x="3839" y="641"/>
                    <a:pt x="3845" y="643"/>
                  </a:cubicBezTo>
                  <a:cubicBezTo>
                    <a:pt x="3851" y="646"/>
                    <a:pt x="3855" y="647"/>
                    <a:pt x="3859" y="649"/>
                  </a:cubicBezTo>
                  <a:cubicBezTo>
                    <a:pt x="3862" y="651"/>
                    <a:pt x="3866" y="651"/>
                    <a:pt x="3866" y="660"/>
                  </a:cubicBezTo>
                  <a:cubicBezTo>
                    <a:pt x="3866" y="669"/>
                    <a:pt x="3866" y="674"/>
                    <a:pt x="3864" y="681"/>
                  </a:cubicBezTo>
                  <a:cubicBezTo>
                    <a:pt x="3862" y="688"/>
                    <a:pt x="3852" y="686"/>
                    <a:pt x="3852" y="693"/>
                  </a:cubicBezTo>
                  <a:cubicBezTo>
                    <a:pt x="3852" y="700"/>
                    <a:pt x="3856" y="701"/>
                    <a:pt x="3852" y="707"/>
                  </a:cubicBezTo>
                  <a:cubicBezTo>
                    <a:pt x="3847" y="713"/>
                    <a:pt x="3843" y="716"/>
                    <a:pt x="3837" y="719"/>
                  </a:cubicBezTo>
                  <a:cubicBezTo>
                    <a:pt x="3831" y="723"/>
                    <a:pt x="3831" y="723"/>
                    <a:pt x="3831" y="723"/>
                  </a:cubicBezTo>
                  <a:cubicBezTo>
                    <a:pt x="3831" y="723"/>
                    <a:pt x="3823" y="731"/>
                    <a:pt x="3823" y="735"/>
                  </a:cubicBezTo>
                  <a:cubicBezTo>
                    <a:pt x="3823" y="740"/>
                    <a:pt x="3819" y="746"/>
                    <a:pt x="3811" y="744"/>
                  </a:cubicBezTo>
                  <a:cubicBezTo>
                    <a:pt x="3803" y="743"/>
                    <a:pt x="3801" y="738"/>
                    <a:pt x="3798" y="744"/>
                  </a:cubicBezTo>
                  <a:cubicBezTo>
                    <a:pt x="3796" y="751"/>
                    <a:pt x="3788" y="763"/>
                    <a:pt x="3796" y="766"/>
                  </a:cubicBezTo>
                  <a:cubicBezTo>
                    <a:pt x="3804" y="769"/>
                    <a:pt x="3801" y="773"/>
                    <a:pt x="3813" y="775"/>
                  </a:cubicBezTo>
                  <a:cubicBezTo>
                    <a:pt x="3826" y="777"/>
                    <a:pt x="3840" y="773"/>
                    <a:pt x="3847" y="777"/>
                  </a:cubicBezTo>
                  <a:cubicBezTo>
                    <a:pt x="3854" y="782"/>
                    <a:pt x="3874" y="784"/>
                    <a:pt x="3878" y="776"/>
                  </a:cubicBezTo>
                  <a:cubicBezTo>
                    <a:pt x="3881" y="768"/>
                    <a:pt x="3880" y="760"/>
                    <a:pt x="3888" y="760"/>
                  </a:cubicBezTo>
                  <a:cubicBezTo>
                    <a:pt x="3896" y="760"/>
                    <a:pt x="3896" y="746"/>
                    <a:pt x="3902" y="749"/>
                  </a:cubicBezTo>
                  <a:cubicBezTo>
                    <a:pt x="3907" y="752"/>
                    <a:pt x="3913" y="750"/>
                    <a:pt x="3913" y="750"/>
                  </a:cubicBezTo>
                  <a:cubicBezTo>
                    <a:pt x="3913" y="750"/>
                    <a:pt x="3914" y="733"/>
                    <a:pt x="3919" y="739"/>
                  </a:cubicBezTo>
                  <a:cubicBezTo>
                    <a:pt x="3923" y="744"/>
                    <a:pt x="3926" y="757"/>
                    <a:pt x="3924" y="763"/>
                  </a:cubicBezTo>
                  <a:cubicBezTo>
                    <a:pt x="3923" y="768"/>
                    <a:pt x="3926" y="772"/>
                    <a:pt x="3929" y="773"/>
                  </a:cubicBezTo>
                  <a:cubicBezTo>
                    <a:pt x="3932" y="774"/>
                    <a:pt x="3923" y="771"/>
                    <a:pt x="3924" y="781"/>
                  </a:cubicBezTo>
                  <a:cubicBezTo>
                    <a:pt x="3926" y="791"/>
                    <a:pt x="3932" y="795"/>
                    <a:pt x="3938" y="798"/>
                  </a:cubicBezTo>
                  <a:cubicBezTo>
                    <a:pt x="3944" y="801"/>
                    <a:pt x="3946" y="815"/>
                    <a:pt x="3950" y="817"/>
                  </a:cubicBezTo>
                  <a:cubicBezTo>
                    <a:pt x="3953" y="820"/>
                    <a:pt x="3965" y="822"/>
                    <a:pt x="3973" y="821"/>
                  </a:cubicBezTo>
                  <a:cubicBezTo>
                    <a:pt x="3981" y="820"/>
                    <a:pt x="3987" y="827"/>
                    <a:pt x="3986" y="832"/>
                  </a:cubicBezTo>
                  <a:cubicBezTo>
                    <a:pt x="3985" y="837"/>
                    <a:pt x="3982" y="847"/>
                    <a:pt x="3978" y="849"/>
                  </a:cubicBezTo>
                  <a:cubicBezTo>
                    <a:pt x="3973" y="851"/>
                    <a:pt x="3959" y="848"/>
                    <a:pt x="3959" y="848"/>
                  </a:cubicBezTo>
                  <a:cubicBezTo>
                    <a:pt x="3959" y="848"/>
                    <a:pt x="3953" y="846"/>
                    <a:pt x="3950" y="840"/>
                  </a:cubicBezTo>
                  <a:cubicBezTo>
                    <a:pt x="3946" y="834"/>
                    <a:pt x="3943" y="830"/>
                    <a:pt x="3936" y="827"/>
                  </a:cubicBezTo>
                  <a:cubicBezTo>
                    <a:pt x="3929" y="825"/>
                    <a:pt x="3921" y="822"/>
                    <a:pt x="3918" y="820"/>
                  </a:cubicBezTo>
                  <a:cubicBezTo>
                    <a:pt x="3914" y="817"/>
                    <a:pt x="3899" y="822"/>
                    <a:pt x="3890" y="822"/>
                  </a:cubicBezTo>
                  <a:cubicBezTo>
                    <a:pt x="3881" y="822"/>
                    <a:pt x="3866" y="829"/>
                    <a:pt x="3861" y="825"/>
                  </a:cubicBezTo>
                  <a:cubicBezTo>
                    <a:pt x="3855" y="822"/>
                    <a:pt x="3845" y="820"/>
                    <a:pt x="3843" y="823"/>
                  </a:cubicBezTo>
                  <a:cubicBezTo>
                    <a:pt x="3833" y="835"/>
                    <a:pt x="3823" y="846"/>
                    <a:pt x="3830" y="849"/>
                  </a:cubicBezTo>
                  <a:cubicBezTo>
                    <a:pt x="3837" y="853"/>
                    <a:pt x="3839" y="854"/>
                    <a:pt x="3852" y="856"/>
                  </a:cubicBezTo>
                  <a:cubicBezTo>
                    <a:pt x="3864" y="858"/>
                    <a:pt x="3865" y="855"/>
                    <a:pt x="3877" y="859"/>
                  </a:cubicBezTo>
                  <a:cubicBezTo>
                    <a:pt x="3888" y="864"/>
                    <a:pt x="3890" y="864"/>
                    <a:pt x="3898" y="870"/>
                  </a:cubicBezTo>
                  <a:cubicBezTo>
                    <a:pt x="3906" y="875"/>
                    <a:pt x="3913" y="879"/>
                    <a:pt x="3920" y="882"/>
                  </a:cubicBezTo>
                  <a:cubicBezTo>
                    <a:pt x="3927" y="885"/>
                    <a:pt x="3921" y="895"/>
                    <a:pt x="3932" y="895"/>
                  </a:cubicBezTo>
                  <a:cubicBezTo>
                    <a:pt x="3944" y="895"/>
                    <a:pt x="3955" y="892"/>
                    <a:pt x="3962" y="891"/>
                  </a:cubicBezTo>
                  <a:cubicBezTo>
                    <a:pt x="3969" y="890"/>
                    <a:pt x="3977" y="885"/>
                    <a:pt x="3981" y="887"/>
                  </a:cubicBezTo>
                  <a:cubicBezTo>
                    <a:pt x="3986" y="888"/>
                    <a:pt x="3995" y="885"/>
                    <a:pt x="3998" y="890"/>
                  </a:cubicBezTo>
                  <a:cubicBezTo>
                    <a:pt x="4002" y="895"/>
                    <a:pt x="4006" y="884"/>
                    <a:pt x="4008" y="890"/>
                  </a:cubicBezTo>
                  <a:cubicBezTo>
                    <a:pt x="4009" y="896"/>
                    <a:pt x="3992" y="904"/>
                    <a:pt x="3988" y="909"/>
                  </a:cubicBezTo>
                  <a:cubicBezTo>
                    <a:pt x="3985" y="915"/>
                    <a:pt x="3979" y="924"/>
                    <a:pt x="3978" y="930"/>
                  </a:cubicBezTo>
                  <a:cubicBezTo>
                    <a:pt x="3977" y="936"/>
                    <a:pt x="3973" y="938"/>
                    <a:pt x="3980" y="941"/>
                  </a:cubicBezTo>
                  <a:cubicBezTo>
                    <a:pt x="3987" y="945"/>
                    <a:pt x="3986" y="934"/>
                    <a:pt x="3987" y="945"/>
                  </a:cubicBezTo>
                  <a:cubicBezTo>
                    <a:pt x="3988" y="955"/>
                    <a:pt x="3992" y="963"/>
                    <a:pt x="3987" y="964"/>
                  </a:cubicBezTo>
                  <a:cubicBezTo>
                    <a:pt x="3982" y="965"/>
                    <a:pt x="3978" y="962"/>
                    <a:pt x="3973" y="956"/>
                  </a:cubicBezTo>
                  <a:cubicBezTo>
                    <a:pt x="3969" y="950"/>
                    <a:pt x="3964" y="944"/>
                    <a:pt x="3961" y="950"/>
                  </a:cubicBezTo>
                  <a:cubicBezTo>
                    <a:pt x="3957" y="957"/>
                    <a:pt x="3954" y="959"/>
                    <a:pt x="3947" y="970"/>
                  </a:cubicBezTo>
                  <a:cubicBezTo>
                    <a:pt x="3940" y="980"/>
                    <a:pt x="3944" y="983"/>
                    <a:pt x="3946" y="994"/>
                  </a:cubicBezTo>
                  <a:cubicBezTo>
                    <a:pt x="3948" y="1004"/>
                    <a:pt x="3946" y="1005"/>
                    <a:pt x="3943" y="1012"/>
                  </a:cubicBezTo>
                  <a:cubicBezTo>
                    <a:pt x="3939" y="1019"/>
                    <a:pt x="3937" y="1016"/>
                    <a:pt x="3934" y="1022"/>
                  </a:cubicBezTo>
                  <a:cubicBezTo>
                    <a:pt x="3930" y="1028"/>
                    <a:pt x="3926" y="1032"/>
                    <a:pt x="3932" y="1036"/>
                  </a:cubicBezTo>
                  <a:cubicBezTo>
                    <a:pt x="3939" y="1039"/>
                    <a:pt x="3946" y="1037"/>
                    <a:pt x="3950" y="1041"/>
                  </a:cubicBezTo>
                  <a:cubicBezTo>
                    <a:pt x="3953" y="1046"/>
                    <a:pt x="3953" y="1053"/>
                    <a:pt x="3948" y="1054"/>
                  </a:cubicBezTo>
                  <a:cubicBezTo>
                    <a:pt x="3944" y="1055"/>
                    <a:pt x="3927" y="1038"/>
                    <a:pt x="3920" y="1037"/>
                  </a:cubicBezTo>
                  <a:cubicBezTo>
                    <a:pt x="3913" y="1036"/>
                    <a:pt x="3909" y="1036"/>
                    <a:pt x="3902" y="1036"/>
                  </a:cubicBezTo>
                  <a:cubicBezTo>
                    <a:pt x="3895" y="1036"/>
                    <a:pt x="3884" y="1040"/>
                    <a:pt x="3885" y="1034"/>
                  </a:cubicBezTo>
                  <a:cubicBezTo>
                    <a:pt x="3886" y="1029"/>
                    <a:pt x="3892" y="1022"/>
                    <a:pt x="3899" y="1022"/>
                  </a:cubicBezTo>
                  <a:cubicBezTo>
                    <a:pt x="3907" y="1022"/>
                    <a:pt x="3913" y="1017"/>
                    <a:pt x="3919" y="1014"/>
                  </a:cubicBezTo>
                  <a:cubicBezTo>
                    <a:pt x="3924" y="1011"/>
                    <a:pt x="3929" y="1005"/>
                    <a:pt x="3929" y="1005"/>
                  </a:cubicBezTo>
                  <a:cubicBezTo>
                    <a:pt x="3929" y="1005"/>
                    <a:pt x="3928" y="995"/>
                    <a:pt x="3921" y="994"/>
                  </a:cubicBezTo>
                  <a:cubicBezTo>
                    <a:pt x="3914" y="992"/>
                    <a:pt x="3911" y="984"/>
                    <a:pt x="3903" y="987"/>
                  </a:cubicBezTo>
                  <a:cubicBezTo>
                    <a:pt x="3895" y="989"/>
                    <a:pt x="3896" y="988"/>
                    <a:pt x="3887" y="991"/>
                  </a:cubicBezTo>
                  <a:cubicBezTo>
                    <a:pt x="3878" y="995"/>
                    <a:pt x="3865" y="995"/>
                    <a:pt x="3861" y="999"/>
                  </a:cubicBezTo>
                  <a:cubicBezTo>
                    <a:pt x="3856" y="1004"/>
                    <a:pt x="3851" y="1006"/>
                    <a:pt x="3855" y="1012"/>
                  </a:cubicBezTo>
                  <a:cubicBezTo>
                    <a:pt x="3860" y="1017"/>
                    <a:pt x="3871" y="1016"/>
                    <a:pt x="3864" y="1021"/>
                  </a:cubicBezTo>
                  <a:cubicBezTo>
                    <a:pt x="3857" y="1025"/>
                    <a:pt x="3853" y="1024"/>
                    <a:pt x="3844" y="1027"/>
                  </a:cubicBezTo>
                  <a:cubicBezTo>
                    <a:pt x="3835" y="1029"/>
                    <a:pt x="3826" y="1033"/>
                    <a:pt x="3824" y="1037"/>
                  </a:cubicBezTo>
                  <a:cubicBezTo>
                    <a:pt x="3823" y="1040"/>
                    <a:pt x="3829" y="1038"/>
                    <a:pt x="3828" y="1046"/>
                  </a:cubicBezTo>
                  <a:cubicBezTo>
                    <a:pt x="3827" y="1054"/>
                    <a:pt x="3823" y="1054"/>
                    <a:pt x="3813" y="1058"/>
                  </a:cubicBezTo>
                  <a:cubicBezTo>
                    <a:pt x="3803" y="1063"/>
                    <a:pt x="3795" y="1064"/>
                    <a:pt x="3796" y="1069"/>
                  </a:cubicBezTo>
                  <a:cubicBezTo>
                    <a:pt x="3797" y="1073"/>
                    <a:pt x="3815" y="1073"/>
                    <a:pt x="3802" y="1080"/>
                  </a:cubicBezTo>
                  <a:cubicBezTo>
                    <a:pt x="3788" y="1087"/>
                    <a:pt x="3778" y="1092"/>
                    <a:pt x="3780" y="1097"/>
                  </a:cubicBezTo>
                  <a:cubicBezTo>
                    <a:pt x="3782" y="1102"/>
                    <a:pt x="3783" y="1105"/>
                    <a:pt x="3788" y="1111"/>
                  </a:cubicBezTo>
                  <a:cubicBezTo>
                    <a:pt x="3793" y="1116"/>
                    <a:pt x="3783" y="1124"/>
                    <a:pt x="3789" y="1127"/>
                  </a:cubicBezTo>
                  <a:cubicBezTo>
                    <a:pt x="3795" y="1129"/>
                    <a:pt x="3795" y="1131"/>
                    <a:pt x="3801" y="1129"/>
                  </a:cubicBezTo>
                  <a:cubicBezTo>
                    <a:pt x="3806" y="1127"/>
                    <a:pt x="3813" y="1122"/>
                    <a:pt x="3815" y="1125"/>
                  </a:cubicBezTo>
                  <a:cubicBezTo>
                    <a:pt x="3818" y="1129"/>
                    <a:pt x="3819" y="1137"/>
                    <a:pt x="3816" y="1140"/>
                  </a:cubicBezTo>
                  <a:cubicBezTo>
                    <a:pt x="3814" y="1144"/>
                    <a:pt x="3816" y="1146"/>
                    <a:pt x="3804" y="1146"/>
                  </a:cubicBezTo>
                  <a:cubicBezTo>
                    <a:pt x="3791" y="1146"/>
                    <a:pt x="3788" y="1141"/>
                    <a:pt x="3782" y="1148"/>
                  </a:cubicBezTo>
                  <a:cubicBezTo>
                    <a:pt x="3777" y="1155"/>
                    <a:pt x="3772" y="1156"/>
                    <a:pt x="3773" y="1165"/>
                  </a:cubicBezTo>
                  <a:cubicBezTo>
                    <a:pt x="3774" y="1174"/>
                    <a:pt x="3766" y="1179"/>
                    <a:pt x="3775" y="1185"/>
                  </a:cubicBezTo>
                  <a:cubicBezTo>
                    <a:pt x="3785" y="1190"/>
                    <a:pt x="3787" y="1193"/>
                    <a:pt x="3794" y="1199"/>
                  </a:cubicBezTo>
                  <a:cubicBezTo>
                    <a:pt x="3801" y="1206"/>
                    <a:pt x="3805" y="1205"/>
                    <a:pt x="3805" y="1218"/>
                  </a:cubicBezTo>
                  <a:cubicBezTo>
                    <a:pt x="3805" y="1230"/>
                    <a:pt x="3797" y="1231"/>
                    <a:pt x="3806" y="1236"/>
                  </a:cubicBezTo>
                  <a:cubicBezTo>
                    <a:pt x="3815" y="1240"/>
                    <a:pt x="3829" y="1253"/>
                    <a:pt x="3827" y="1263"/>
                  </a:cubicBezTo>
                  <a:cubicBezTo>
                    <a:pt x="3824" y="1273"/>
                    <a:pt x="3823" y="1279"/>
                    <a:pt x="3828" y="1292"/>
                  </a:cubicBezTo>
                  <a:cubicBezTo>
                    <a:pt x="3832" y="1304"/>
                    <a:pt x="3837" y="1313"/>
                    <a:pt x="3836" y="1319"/>
                  </a:cubicBezTo>
                  <a:cubicBezTo>
                    <a:pt x="3835" y="1325"/>
                    <a:pt x="3820" y="1330"/>
                    <a:pt x="3832" y="1331"/>
                  </a:cubicBezTo>
                  <a:cubicBezTo>
                    <a:pt x="3845" y="1332"/>
                    <a:pt x="3849" y="1327"/>
                    <a:pt x="3856" y="1322"/>
                  </a:cubicBezTo>
                  <a:cubicBezTo>
                    <a:pt x="3863" y="1318"/>
                    <a:pt x="3860" y="1313"/>
                    <a:pt x="3865" y="1311"/>
                  </a:cubicBezTo>
                  <a:cubicBezTo>
                    <a:pt x="3871" y="1309"/>
                    <a:pt x="3873" y="1307"/>
                    <a:pt x="3880" y="1312"/>
                  </a:cubicBezTo>
                  <a:cubicBezTo>
                    <a:pt x="3887" y="1317"/>
                    <a:pt x="3887" y="1311"/>
                    <a:pt x="3894" y="1307"/>
                  </a:cubicBezTo>
                  <a:cubicBezTo>
                    <a:pt x="3901" y="1304"/>
                    <a:pt x="3907" y="1297"/>
                    <a:pt x="3910" y="1302"/>
                  </a:cubicBezTo>
                  <a:cubicBezTo>
                    <a:pt x="3912" y="1306"/>
                    <a:pt x="3914" y="1304"/>
                    <a:pt x="3920" y="1303"/>
                  </a:cubicBezTo>
                  <a:cubicBezTo>
                    <a:pt x="3926" y="1302"/>
                    <a:pt x="3930" y="1313"/>
                    <a:pt x="3924" y="1315"/>
                  </a:cubicBezTo>
                  <a:cubicBezTo>
                    <a:pt x="3919" y="1318"/>
                    <a:pt x="3915" y="1320"/>
                    <a:pt x="3905" y="1326"/>
                  </a:cubicBezTo>
                  <a:cubicBezTo>
                    <a:pt x="3895" y="1331"/>
                    <a:pt x="3890" y="1332"/>
                    <a:pt x="3885" y="1334"/>
                  </a:cubicBezTo>
                  <a:cubicBezTo>
                    <a:pt x="3879" y="1335"/>
                    <a:pt x="3873" y="1331"/>
                    <a:pt x="3869" y="1336"/>
                  </a:cubicBezTo>
                  <a:cubicBezTo>
                    <a:pt x="3864" y="1340"/>
                    <a:pt x="3868" y="1332"/>
                    <a:pt x="3864" y="1340"/>
                  </a:cubicBezTo>
                  <a:cubicBezTo>
                    <a:pt x="3861" y="1348"/>
                    <a:pt x="3851" y="1345"/>
                    <a:pt x="3856" y="1355"/>
                  </a:cubicBezTo>
                  <a:cubicBezTo>
                    <a:pt x="3862" y="1365"/>
                    <a:pt x="3865" y="1372"/>
                    <a:pt x="3861" y="1375"/>
                  </a:cubicBezTo>
                  <a:cubicBezTo>
                    <a:pt x="3856" y="1377"/>
                    <a:pt x="3857" y="1372"/>
                    <a:pt x="3851" y="1378"/>
                  </a:cubicBezTo>
                  <a:cubicBezTo>
                    <a:pt x="3844" y="1384"/>
                    <a:pt x="3838" y="1385"/>
                    <a:pt x="3841" y="1389"/>
                  </a:cubicBezTo>
                  <a:cubicBezTo>
                    <a:pt x="3845" y="1394"/>
                    <a:pt x="3848" y="1392"/>
                    <a:pt x="3855" y="1393"/>
                  </a:cubicBezTo>
                  <a:cubicBezTo>
                    <a:pt x="3862" y="1394"/>
                    <a:pt x="3865" y="1398"/>
                    <a:pt x="3864" y="1404"/>
                  </a:cubicBezTo>
                  <a:cubicBezTo>
                    <a:pt x="3863" y="1410"/>
                    <a:pt x="3851" y="1414"/>
                    <a:pt x="3864" y="1417"/>
                  </a:cubicBezTo>
                  <a:cubicBezTo>
                    <a:pt x="3878" y="1419"/>
                    <a:pt x="3874" y="1417"/>
                    <a:pt x="3885" y="1418"/>
                  </a:cubicBezTo>
                  <a:cubicBezTo>
                    <a:pt x="3895" y="1419"/>
                    <a:pt x="3903" y="1419"/>
                    <a:pt x="3902" y="1429"/>
                  </a:cubicBezTo>
                  <a:cubicBezTo>
                    <a:pt x="3901" y="1439"/>
                    <a:pt x="3896" y="1444"/>
                    <a:pt x="3899" y="1448"/>
                  </a:cubicBezTo>
                  <a:cubicBezTo>
                    <a:pt x="3903" y="1453"/>
                    <a:pt x="3913" y="1451"/>
                    <a:pt x="3913" y="1456"/>
                  </a:cubicBezTo>
                  <a:cubicBezTo>
                    <a:pt x="3913" y="1462"/>
                    <a:pt x="3913" y="1470"/>
                    <a:pt x="3912" y="1478"/>
                  </a:cubicBezTo>
                  <a:cubicBezTo>
                    <a:pt x="3911" y="1486"/>
                    <a:pt x="3905" y="1496"/>
                    <a:pt x="3910" y="1501"/>
                  </a:cubicBezTo>
                  <a:cubicBezTo>
                    <a:pt x="3914" y="1505"/>
                    <a:pt x="3923" y="1500"/>
                    <a:pt x="3927" y="1501"/>
                  </a:cubicBezTo>
                  <a:cubicBezTo>
                    <a:pt x="3930" y="1502"/>
                    <a:pt x="3939" y="1496"/>
                    <a:pt x="3938" y="1505"/>
                  </a:cubicBezTo>
                  <a:cubicBezTo>
                    <a:pt x="3937" y="1514"/>
                    <a:pt x="3931" y="1525"/>
                    <a:pt x="3937" y="1531"/>
                  </a:cubicBezTo>
                  <a:cubicBezTo>
                    <a:pt x="3943" y="1538"/>
                    <a:pt x="3943" y="1539"/>
                    <a:pt x="3948" y="1541"/>
                  </a:cubicBezTo>
                  <a:cubicBezTo>
                    <a:pt x="3954" y="1542"/>
                    <a:pt x="3954" y="1550"/>
                    <a:pt x="3960" y="1546"/>
                  </a:cubicBezTo>
                  <a:cubicBezTo>
                    <a:pt x="3965" y="1543"/>
                    <a:pt x="3971" y="1522"/>
                    <a:pt x="3973" y="1528"/>
                  </a:cubicBezTo>
                  <a:cubicBezTo>
                    <a:pt x="3976" y="1534"/>
                    <a:pt x="3980" y="1550"/>
                    <a:pt x="3975" y="1552"/>
                  </a:cubicBezTo>
                  <a:cubicBezTo>
                    <a:pt x="3969" y="1554"/>
                    <a:pt x="3959" y="1558"/>
                    <a:pt x="3963" y="1561"/>
                  </a:cubicBezTo>
                  <a:cubicBezTo>
                    <a:pt x="3968" y="1564"/>
                    <a:pt x="3969" y="1566"/>
                    <a:pt x="3976" y="1570"/>
                  </a:cubicBezTo>
                  <a:cubicBezTo>
                    <a:pt x="3982" y="1575"/>
                    <a:pt x="3988" y="1576"/>
                    <a:pt x="3993" y="1577"/>
                  </a:cubicBezTo>
                  <a:cubicBezTo>
                    <a:pt x="3997" y="1578"/>
                    <a:pt x="4000" y="1584"/>
                    <a:pt x="4000" y="1591"/>
                  </a:cubicBezTo>
                  <a:cubicBezTo>
                    <a:pt x="4000" y="1597"/>
                    <a:pt x="4001" y="1595"/>
                    <a:pt x="4004" y="1607"/>
                  </a:cubicBezTo>
                  <a:cubicBezTo>
                    <a:pt x="4008" y="1618"/>
                    <a:pt x="4003" y="1629"/>
                    <a:pt x="4008" y="1633"/>
                  </a:cubicBezTo>
                  <a:cubicBezTo>
                    <a:pt x="4012" y="1636"/>
                    <a:pt x="4012" y="1641"/>
                    <a:pt x="4020" y="1636"/>
                  </a:cubicBezTo>
                  <a:cubicBezTo>
                    <a:pt x="4028" y="1632"/>
                    <a:pt x="4036" y="1630"/>
                    <a:pt x="4045" y="1622"/>
                  </a:cubicBezTo>
                  <a:cubicBezTo>
                    <a:pt x="4054" y="1615"/>
                    <a:pt x="4055" y="1605"/>
                    <a:pt x="4068" y="1611"/>
                  </a:cubicBezTo>
                  <a:cubicBezTo>
                    <a:pt x="4080" y="1617"/>
                    <a:pt x="4086" y="1619"/>
                    <a:pt x="4091" y="1621"/>
                  </a:cubicBezTo>
                  <a:cubicBezTo>
                    <a:pt x="4095" y="1624"/>
                    <a:pt x="4097" y="1624"/>
                    <a:pt x="4103" y="1619"/>
                  </a:cubicBezTo>
                  <a:cubicBezTo>
                    <a:pt x="4109" y="1615"/>
                    <a:pt x="4109" y="1611"/>
                    <a:pt x="4114" y="1609"/>
                  </a:cubicBezTo>
                  <a:cubicBezTo>
                    <a:pt x="4120" y="1607"/>
                    <a:pt x="4120" y="1608"/>
                    <a:pt x="4127" y="1607"/>
                  </a:cubicBezTo>
                  <a:cubicBezTo>
                    <a:pt x="4134" y="1605"/>
                    <a:pt x="4143" y="1610"/>
                    <a:pt x="4143" y="1610"/>
                  </a:cubicBezTo>
                  <a:cubicBezTo>
                    <a:pt x="4143" y="1610"/>
                    <a:pt x="4147" y="1616"/>
                    <a:pt x="4150" y="1624"/>
                  </a:cubicBezTo>
                  <a:cubicBezTo>
                    <a:pt x="4152" y="1632"/>
                    <a:pt x="4160" y="1636"/>
                    <a:pt x="4164" y="1636"/>
                  </a:cubicBezTo>
                  <a:cubicBezTo>
                    <a:pt x="4169" y="1636"/>
                    <a:pt x="4175" y="1638"/>
                    <a:pt x="4178" y="1644"/>
                  </a:cubicBezTo>
                  <a:cubicBezTo>
                    <a:pt x="4182" y="1650"/>
                    <a:pt x="4185" y="1653"/>
                    <a:pt x="4187" y="1659"/>
                  </a:cubicBezTo>
                  <a:cubicBezTo>
                    <a:pt x="4189" y="1665"/>
                    <a:pt x="4200" y="1657"/>
                    <a:pt x="4200" y="1668"/>
                  </a:cubicBezTo>
                  <a:cubicBezTo>
                    <a:pt x="4200" y="1679"/>
                    <a:pt x="4195" y="1688"/>
                    <a:pt x="4200" y="1690"/>
                  </a:cubicBezTo>
                  <a:cubicBezTo>
                    <a:pt x="4204" y="1691"/>
                    <a:pt x="4217" y="1694"/>
                    <a:pt x="4221" y="1691"/>
                  </a:cubicBezTo>
                  <a:cubicBezTo>
                    <a:pt x="4226" y="1687"/>
                    <a:pt x="4237" y="1682"/>
                    <a:pt x="4238" y="1678"/>
                  </a:cubicBezTo>
                  <a:cubicBezTo>
                    <a:pt x="4240" y="1675"/>
                    <a:pt x="4242" y="1667"/>
                    <a:pt x="4245" y="1668"/>
                  </a:cubicBezTo>
                  <a:cubicBezTo>
                    <a:pt x="4249" y="1669"/>
                    <a:pt x="4250" y="1670"/>
                    <a:pt x="4262" y="1671"/>
                  </a:cubicBezTo>
                  <a:cubicBezTo>
                    <a:pt x="4275" y="1673"/>
                    <a:pt x="4291" y="1671"/>
                    <a:pt x="4295" y="1674"/>
                  </a:cubicBezTo>
                  <a:cubicBezTo>
                    <a:pt x="4300" y="1676"/>
                    <a:pt x="4308" y="1677"/>
                    <a:pt x="4311" y="1673"/>
                  </a:cubicBezTo>
                  <a:cubicBezTo>
                    <a:pt x="4315" y="1668"/>
                    <a:pt x="4311" y="1663"/>
                    <a:pt x="4310" y="1659"/>
                  </a:cubicBezTo>
                  <a:cubicBezTo>
                    <a:pt x="4309" y="1654"/>
                    <a:pt x="4305" y="1649"/>
                    <a:pt x="4311" y="1646"/>
                  </a:cubicBezTo>
                  <a:cubicBezTo>
                    <a:pt x="4317" y="1644"/>
                    <a:pt x="4324" y="1641"/>
                    <a:pt x="4327" y="1635"/>
                  </a:cubicBezTo>
                  <a:cubicBezTo>
                    <a:pt x="4331" y="1629"/>
                    <a:pt x="4332" y="1615"/>
                    <a:pt x="4332" y="1615"/>
                  </a:cubicBezTo>
                  <a:cubicBezTo>
                    <a:pt x="4342" y="1607"/>
                    <a:pt x="4350" y="1586"/>
                    <a:pt x="4351" y="1583"/>
                  </a:cubicBezTo>
                  <a:cubicBezTo>
                    <a:pt x="4352" y="1579"/>
                    <a:pt x="4344" y="1575"/>
                    <a:pt x="4348" y="1571"/>
                  </a:cubicBezTo>
                  <a:cubicBezTo>
                    <a:pt x="4351" y="1568"/>
                    <a:pt x="4358" y="1560"/>
                    <a:pt x="4361" y="1554"/>
                  </a:cubicBezTo>
                  <a:cubicBezTo>
                    <a:pt x="4365" y="1549"/>
                    <a:pt x="4366" y="1536"/>
                    <a:pt x="4365" y="1529"/>
                  </a:cubicBezTo>
                  <a:cubicBezTo>
                    <a:pt x="4363" y="1522"/>
                    <a:pt x="4359" y="1511"/>
                    <a:pt x="4361" y="1506"/>
                  </a:cubicBezTo>
                  <a:cubicBezTo>
                    <a:pt x="4363" y="1502"/>
                    <a:pt x="4366" y="1489"/>
                    <a:pt x="4363" y="1486"/>
                  </a:cubicBezTo>
                  <a:cubicBezTo>
                    <a:pt x="4361" y="1483"/>
                    <a:pt x="4351" y="1477"/>
                    <a:pt x="4348" y="1475"/>
                  </a:cubicBezTo>
                  <a:cubicBezTo>
                    <a:pt x="4344" y="1472"/>
                    <a:pt x="4343" y="1463"/>
                    <a:pt x="4346" y="1461"/>
                  </a:cubicBezTo>
                  <a:cubicBezTo>
                    <a:pt x="4350" y="1459"/>
                    <a:pt x="4356" y="1451"/>
                    <a:pt x="4358" y="1454"/>
                  </a:cubicBezTo>
                  <a:cubicBezTo>
                    <a:pt x="4360" y="1458"/>
                    <a:pt x="4362" y="1466"/>
                    <a:pt x="4369" y="1466"/>
                  </a:cubicBezTo>
                  <a:cubicBezTo>
                    <a:pt x="4376" y="1466"/>
                    <a:pt x="4387" y="1451"/>
                    <a:pt x="4394" y="1455"/>
                  </a:cubicBezTo>
                  <a:cubicBezTo>
                    <a:pt x="4401" y="1460"/>
                    <a:pt x="4421" y="1462"/>
                    <a:pt x="4419" y="1454"/>
                  </a:cubicBezTo>
                  <a:cubicBezTo>
                    <a:pt x="4417" y="1446"/>
                    <a:pt x="4408" y="1444"/>
                    <a:pt x="4412" y="1437"/>
                  </a:cubicBezTo>
                  <a:cubicBezTo>
                    <a:pt x="4417" y="1430"/>
                    <a:pt x="4418" y="1428"/>
                    <a:pt x="4416" y="1423"/>
                  </a:cubicBezTo>
                  <a:cubicBezTo>
                    <a:pt x="4414" y="1419"/>
                    <a:pt x="4402" y="1413"/>
                    <a:pt x="4406" y="1412"/>
                  </a:cubicBezTo>
                  <a:cubicBezTo>
                    <a:pt x="4420" y="1409"/>
                    <a:pt x="4421" y="1409"/>
                    <a:pt x="4428" y="1409"/>
                  </a:cubicBezTo>
                  <a:cubicBezTo>
                    <a:pt x="4435" y="1409"/>
                    <a:pt x="4423" y="1413"/>
                    <a:pt x="4435" y="1409"/>
                  </a:cubicBezTo>
                  <a:cubicBezTo>
                    <a:pt x="4448" y="1404"/>
                    <a:pt x="4450" y="1392"/>
                    <a:pt x="4450" y="1392"/>
                  </a:cubicBezTo>
                  <a:cubicBezTo>
                    <a:pt x="4450" y="1392"/>
                    <a:pt x="4451" y="1390"/>
                    <a:pt x="4457" y="1388"/>
                  </a:cubicBezTo>
                  <a:cubicBezTo>
                    <a:pt x="4462" y="1386"/>
                    <a:pt x="4468" y="1371"/>
                    <a:pt x="4468" y="1371"/>
                  </a:cubicBezTo>
                  <a:cubicBezTo>
                    <a:pt x="4468" y="1371"/>
                    <a:pt x="4468" y="1356"/>
                    <a:pt x="4467" y="1352"/>
                  </a:cubicBezTo>
                  <a:cubicBezTo>
                    <a:pt x="4466" y="1347"/>
                    <a:pt x="4464" y="1346"/>
                    <a:pt x="4459" y="1346"/>
                  </a:cubicBezTo>
                  <a:cubicBezTo>
                    <a:pt x="4454" y="1346"/>
                    <a:pt x="4437" y="1345"/>
                    <a:pt x="4437" y="1345"/>
                  </a:cubicBezTo>
                  <a:cubicBezTo>
                    <a:pt x="4426" y="1335"/>
                    <a:pt x="4426" y="1335"/>
                    <a:pt x="4426" y="1335"/>
                  </a:cubicBezTo>
                  <a:cubicBezTo>
                    <a:pt x="4434" y="1328"/>
                    <a:pt x="4441" y="1321"/>
                    <a:pt x="4448" y="1325"/>
                  </a:cubicBezTo>
                  <a:cubicBezTo>
                    <a:pt x="4454" y="1328"/>
                    <a:pt x="4456" y="1328"/>
                    <a:pt x="4460" y="1329"/>
                  </a:cubicBezTo>
                  <a:cubicBezTo>
                    <a:pt x="4465" y="1330"/>
                    <a:pt x="4470" y="1323"/>
                    <a:pt x="4470" y="1323"/>
                  </a:cubicBezTo>
                  <a:cubicBezTo>
                    <a:pt x="4459" y="1311"/>
                    <a:pt x="4459" y="1311"/>
                    <a:pt x="4459" y="1311"/>
                  </a:cubicBezTo>
                  <a:cubicBezTo>
                    <a:pt x="4459" y="1311"/>
                    <a:pt x="4459" y="1302"/>
                    <a:pt x="4458" y="1297"/>
                  </a:cubicBezTo>
                  <a:cubicBezTo>
                    <a:pt x="4457" y="1293"/>
                    <a:pt x="4445" y="1286"/>
                    <a:pt x="4445" y="1286"/>
                  </a:cubicBezTo>
                  <a:cubicBezTo>
                    <a:pt x="4457" y="1269"/>
                    <a:pt x="4457" y="1269"/>
                    <a:pt x="4457" y="1269"/>
                  </a:cubicBezTo>
                  <a:cubicBezTo>
                    <a:pt x="4457" y="1269"/>
                    <a:pt x="4461" y="1279"/>
                    <a:pt x="4469" y="1279"/>
                  </a:cubicBezTo>
                  <a:cubicBezTo>
                    <a:pt x="4477" y="1279"/>
                    <a:pt x="4476" y="1278"/>
                    <a:pt x="4486" y="1277"/>
                  </a:cubicBezTo>
                  <a:cubicBezTo>
                    <a:pt x="4497" y="1276"/>
                    <a:pt x="4505" y="1278"/>
                    <a:pt x="4506" y="1272"/>
                  </a:cubicBezTo>
                  <a:cubicBezTo>
                    <a:pt x="4507" y="1267"/>
                    <a:pt x="4506" y="1263"/>
                    <a:pt x="4505" y="1259"/>
                  </a:cubicBezTo>
                  <a:cubicBezTo>
                    <a:pt x="4503" y="1254"/>
                    <a:pt x="4501" y="1247"/>
                    <a:pt x="4501" y="1247"/>
                  </a:cubicBezTo>
                  <a:cubicBezTo>
                    <a:pt x="4501" y="1247"/>
                    <a:pt x="4507" y="1236"/>
                    <a:pt x="4512" y="1235"/>
                  </a:cubicBezTo>
                  <a:cubicBezTo>
                    <a:pt x="4518" y="1234"/>
                    <a:pt x="4524" y="1228"/>
                    <a:pt x="4528" y="1235"/>
                  </a:cubicBezTo>
                  <a:cubicBezTo>
                    <a:pt x="4533" y="1241"/>
                    <a:pt x="4539" y="1240"/>
                    <a:pt x="4544" y="1239"/>
                  </a:cubicBezTo>
                  <a:cubicBezTo>
                    <a:pt x="4550" y="1238"/>
                    <a:pt x="4553" y="1228"/>
                    <a:pt x="4559" y="1228"/>
                  </a:cubicBezTo>
                  <a:cubicBezTo>
                    <a:pt x="4565" y="1228"/>
                    <a:pt x="4567" y="1227"/>
                    <a:pt x="4572" y="1231"/>
                  </a:cubicBezTo>
                  <a:cubicBezTo>
                    <a:pt x="4576" y="1236"/>
                    <a:pt x="4580" y="1235"/>
                    <a:pt x="4585" y="1234"/>
                  </a:cubicBezTo>
                  <a:cubicBezTo>
                    <a:pt x="4591" y="1232"/>
                    <a:pt x="4594" y="1223"/>
                    <a:pt x="4598" y="1221"/>
                  </a:cubicBezTo>
                  <a:cubicBezTo>
                    <a:pt x="4601" y="1219"/>
                    <a:pt x="4592" y="1218"/>
                    <a:pt x="4594" y="1207"/>
                  </a:cubicBezTo>
                  <a:cubicBezTo>
                    <a:pt x="4597" y="1197"/>
                    <a:pt x="4595" y="1193"/>
                    <a:pt x="4600" y="1191"/>
                  </a:cubicBezTo>
                  <a:cubicBezTo>
                    <a:pt x="4605" y="1190"/>
                    <a:pt x="4607" y="1182"/>
                    <a:pt x="4608" y="1177"/>
                  </a:cubicBezTo>
                  <a:cubicBezTo>
                    <a:pt x="4609" y="1171"/>
                    <a:pt x="4617" y="1166"/>
                    <a:pt x="4617" y="1166"/>
                  </a:cubicBezTo>
                  <a:cubicBezTo>
                    <a:pt x="4617" y="1166"/>
                    <a:pt x="4625" y="1178"/>
                    <a:pt x="4621" y="1182"/>
                  </a:cubicBezTo>
                  <a:cubicBezTo>
                    <a:pt x="4616" y="1187"/>
                    <a:pt x="4610" y="1199"/>
                    <a:pt x="4610" y="1199"/>
                  </a:cubicBezTo>
                  <a:cubicBezTo>
                    <a:pt x="4610" y="1199"/>
                    <a:pt x="4605" y="1208"/>
                    <a:pt x="4606" y="1214"/>
                  </a:cubicBezTo>
                  <a:cubicBezTo>
                    <a:pt x="4607" y="1220"/>
                    <a:pt x="4605" y="1231"/>
                    <a:pt x="4605" y="1231"/>
                  </a:cubicBezTo>
                  <a:cubicBezTo>
                    <a:pt x="4605" y="1231"/>
                    <a:pt x="4590" y="1245"/>
                    <a:pt x="4601" y="1244"/>
                  </a:cubicBezTo>
                  <a:cubicBezTo>
                    <a:pt x="4613" y="1243"/>
                    <a:pt x="4617" y="1237"/>
                    <a:pt x="4624" y="1230"/>
                  </a:cubicBezTo>
                  <a:cubicBezTo>
                    <a:pt x="4631" y="1223"/>
                    <a:pt x="4628" y="1207"/>
                    <a:pt x="4638" y="1210"/>
                  </a:cubicBezTo>
                  <a:cubicBezTo>
                    <a:pt x="4647" y="1212"/>
                    <a:pt x="4647" y="1207"/>
                    <a:pt x="4652" y="1212"/>
                  </a:cubicBezTo>
                  <a:cubicBezTo>
                    <a:pt x="4658" y="1216"/>
                    <a:pt x="4660" y="1219"/>
                    <a:pt x="4664" y="1216"/>
                  </a:cubicBezTo>
                  <a:cubicBezTo>
                    <a:pt x="4667" y="1214"/>
                    <a:pt x="4667" y="1199"/>
                    <a:pt x="4673" y="1203"/>
                  </a:cubicBezTo>
                  <a:cubicBezTo>
                    <a:pt x="4679" y="1206"/>
                    <a:pt x="4682" y="1211"/>
                    <a:pt x="4686" y="1211"/>
                  </a:cubicBezTo>
                  <a:cubicBezTo>
                    <a:pt x="4691" y="1211"/>
                    <a:pt x="4685" y="1196"/>
                    <a:pt x="4691" y="1198"/>
                  </a:cubicBezTo>
                  <a:cubicBezTo>
                    <a:pt x="4697" y="1201"/>
                    <a:pt x="4706" y="1203"/>
                    <a:pt x="4710" y="1202"/>
                  </a:cubicBezTo>
                  <a:cubicBezTo>
                    <a:pt x="4715" y="1201"/>
                    <a:pt x="4723" y="1195"/>
                    <a:pt x="4723" y="1191"/>
                  </a:cubicBezTo>
                  <a:cubicBezTo>
                    <a:pt x="4723" y="1188"/>
                    <a:pt x="4723" y="1182"/>
                    <a:pt x="4727" y="1181"/>
                  </a:cubicBezTo>
                  <a:cubicBezTo>
                    <a:pt x="4732" y="1180"/>
                    <a:pt x="4740" y="1178"/>
                    <a:pt x="4743" y="1177"/>
                  </a:cubicBezTo>
                  <a:cubicBezTo>
                    <a:pt x="4747" y="1176"/>
                    <a:pt x="4754" y="1179"/>
                    <a:pt x="4759" y="1177"/>
                  </a:cubicBezTo>
                  <a:cubicBezTo>
                    <a:pt x="4765" y="1174"/>
                    <a:pt x="4764" y="1176"/>
                    <a:pt x="4772" y="1170"/>
                  </a:cubicBezTo>
                  <a:cubicBezTo>
                    <a:pt x="4780" y="1164"/>
                    <a:pt x="4780" y="1162"/>
                    <a:pt x="4785" y="1155"/>
                  </a:cubicBezTo>
                  <a:cubicBezTo>
                    <a:pt x="4791" y="1148"/>
                    <a:pt x="4799" y="1147"/>
                    <a:pt x="4799" y="1147"/>
                  </a:cubicBezTo>
                  <a:cubicBezTo>
                    <a:pt x="4805" y="1144"/>
                    <a:pt x="4816" y="1135"/>
                    <a:pt x="4813" y="1128"/>
                  </a:cubicBezTo>
                  <a:cubicBezTo>
                    <a:pt x="4809" y="1121"/>
                    <a:pt x="4806" y="1116"/>
                    <a:pt x="4812" y="1116"/>
                  </a:cubicBezTo>
                  <a:cubicBezTo>
                    <a:pt x="4817" y="1116"/>
                    <a:pt x="4822" y="1115"/>
                    <a:pt x="4825" y="1113"/>
                  </a:cubicBezTo>
                  <a:cubicBezTo>
                    <a:pt x="4829" y="1111"/>
                    <a:pt x="4829" y="1104"/>
                    <a:pt x="4830" y="1097"/>
                  </a:cubicBezTo>
                  <a:cubicBezTo>
                    <a:pt x="4831" y="1090"/>
                    <a:pt x="4831" y="1073"/>
                    <a:pt x="4835" y="1073"/>
                  </a:cubicBezTo>
                  <a:cubicBezTo>
                    <a:pt x="4840" y="1073"/>
                    <a:pt x="4846" y="1070"/>
                    <a:pt x="4851" y="1069"/>
                  </a:cubicBezTo>
                  <a:cubicBezTo>
                    <a:pt x="4857" y="1067"/>
                    <a:pt x="4863" y="1061"/>
                    <a:pt x="4868" y="1060"/>
                  </a:cubicBezTo>
                  <a:cubicBezTo>
                    <a:pt x="4874" y="1058"/>
                    <a:pt x="4873" y="1057"/>
                    <a:pt x="4880" y="1056"/>
                  </a:cubicBezTo>
                  <a:cubicBezTo>
                    <a:pt x="4887" y="1055"/>
                    <a:pt x="4897" y="1049"/>
                    <a:pt x="4897" y="1049"/>
                  </a:cubicBezTo>
                  <a:cubicBezTo>
                    <a:pt x="4897" y="1049"/>
                    <a:pt x="4893" y="1034"/>
                    <a:pt x="4890" y="1034"/>
                  </a:cubicBezTo>
                  <a:cubicBezTo>
                    <a:pt x="4887" y="1034"/>
                    <a:pt x="4879" y="1029"/>
                    <a:pt x="4879" y="1029"/>
                  </a:cubicBezTo>
                  <a:cubicBezTo>
                    <a:pt x="4875" y="1012"/>
                    <a:pt x="4875" y="1012"/>
                    <a:pt x="4875" y="1012"/>
                  </a:cubicBezTo>
                  <a:cubicBezTo>
                    <a:pt x="4865" y="998"/>
                    <a:pt x="4865" y="998"/>
                    <a:pt x="4865" y="998"/>
                  </a:cubicBezTo>
                  <a:cubicBezTo>
                    <a:pt x="4865" y="998"/>
                    <a:pt x="4888" y="1009"/>
                    <a:pt x="4892" y="1014"/>
                  </a:cubicBezTo>
                  <a:cubicBezTo>
                    <a:pt x="4897" y="1019"/>
                    <a:pt x="4907" y="1017"/>
                    <a:pt x="4911" y="1027"/>
                  </a:cubicBezTo>
                  <a:cubicBezTo>
                    <a:pt x="4914" y="1036"/>
                    <a:pt x="4912" y="1039"/>
                    <a:pt x="4922" y="1039"/>
                  </a:cubicBezTo>
                  <a:cubicBezTo>
                    <a:pt x="4932" y="1039"/>
                    <a:pt x="4929" y="1041"/>
                    <a:pt x="4939" y="1040"/>
                  </a:cubicBezTo>
                  <a:cubicBezTo>
                    <a:pt x="4949" y="1039"/>
                    <a:pt x="4958" y="1036"/>
                    <a:pt x="4962" y="1038"/>
                  </a:cubicBezTo>
                  <a:cubicBezTo>
                    <a:pt x="4965" y="1040"/>
                    <a:pt x="4974" y="1037"/>
                    <a:pt x="4979" y="1036"/>
                  </a:cubicBezTo>
                  <a:cubicBezTo>
                    <a:pt x="4988" y="1033"/>
                    <a:pt x="5005" y="1040"/>
                    <a:pt x="5004" y="1032"/>
                  </a:cubicBezTo>
                  <a:cubicBezTo>
                    <a:pt x="5003" y="1024"/>
                    <a:pt x="4996" y="1012"/>
                    <a:pt x="5000" y="1012"/>
                  </a:cubicBezTo>
                  <a:cubicBezTo>
                    <a:pt x="5005" y="1012"/>
                    <a:pt x="5004" y="1007"/>
                    <a:pt x="5009" y="1011"/>
                  </a:cubicBezTo>
                  <a:cubicBezTo>
                    <a:pt x="5015" y="1014"/>
                    <a:pt x="5024" y="1019"/>
                    <a:pt x="5032" y="1016"/>
                  </a:cubicBezTo>
                  <a:cubicBezTo>
                    <a:pt x="5040" y="1014"/>
                    <a:pt x="5052" y="1015"/>
                    <a:pt x="5054" y="1011"/>
                  </a:cubicBezTo>
                  <a:cubicBezTo>
                    <a:pt x="5056" y="1006"/>
                    <a:pt x="5067" y="1000"/>
                    <a:pt x="5073" y="1000"/>
                  </a:cubicBezTo>
                  <a:cubicBezTo>
                    <a:pt x="5079" y="1000"/>
                    <a:pt x="5089" y="999"/>
                    <a:pt x="5094" y="998"/>
                  </a:cubicBezTo>
                  <a:cubicBezTo>
                    <a:pt x="5098" y="997"/>
                    <a:pt x="5122" y="991"/>
                    <a:pt x="5122" y="991"/>
                  </a:cubicBezTo>
                  <a:cubicBezTo>
                    <a:pt x="5122" y="991"/>
                    <a:pt x="5140" y="991"/>
                    <a:pt x="5144" y="991"/>
                  </a:cubicBezTo>
                  <a:cubicBezTo>
                    <a:pt x="5147" y="991"/>
                    <a:pt x="5152" y="991"/>
                    <a:pt x="5158" y="989"/>
                  </a:cubicBezTo>
                  <a:cubicBezTo>
                    <a:pt x="5165" y="987"/>
                    <a:pt x="5177" y="988"/>
                    <a:pt x="5180" y="984"/>
                  </a:cubicBezTo>
                  <a:cubicBezTo>
                    <a:pt x="5183" y="981"/>
                    <a:pt x="5190" y="976"/>
                    <a:pt x="5196" y="971"/>
                  </a:cubicBezTo>
                  <a:cubicBezTo>
                    <a:pt x="5202" y="965"/>
                    <a:pt x="5209" y="939"/>
                    <a:pt x="5218" y="938"/>
                  </a:cubicBezTo>
                  <a:cubicBezTo>
                    <a:pt x="5227" y="937"/>
                    <a:pt x="5232" y="932"/>
                    <a:pt x="5236" y="929"/>
                  </a:cubicBezTo>
                  <a:cubicBezTo>
                    <a:pt x="5239" y="925"/>
                    <a:pt x="5236" y="920"/>
                    <a:pt x="5244" y="918"/>
                  </a:cubicBezTo>
                  <a:cubicBezTo>
                    <a:pt x="5252" y="917"/>
                    <a:pt x="5264" y="913"/>
                    <a:pt x="5268" y="913"/>
                  </a:cubicBezTo>
                  <a:cubicBezTo>
                    <a:pt x="5271" y="913"/>
                    <a:pt x="5280" y="913"/>
                    <a:pt x="5285" y="906"/>
                  </a:cubicBezTo>
                  <a:cubicBezTo>
                    <a:pt x="5289" y="899"/>
                    <a:pt x="5285" y="898"/>
                    <a:pt x="5294" y="897"/>
                  </a:cubicBezTo>
                  <a:cubicBezTo>
                    <a:pt x="5303" y="896"/>
                    <a:pt x="5325" y="885"/>
                    <a:pt x="5321" y="882"/>
                  </a:cubicBezTo>
                  <a:close/>
                  <a:moveTo>
                    <a:pt x="2568" y="5056"/>
                  </a:moveTo>
                  <a:cubicBezTo>
                    <a:pt x="2582" y="5055"/>
                    <a:pt x="2594" y="5058"/>
                    <a:pt x="2585" y="5045"/>
                  </a:cubicBezTo>
                  <a:cubicBezTo>
                    <a:pt x="2575" y="5033"/>
                    <a:pt x="2571" y="5031"/>
                    <a:pt x="2563" y="5029"/>
                  </a:cubicBezTo>
                  <a:cubicBezTo>
                    <a:pt x="2555" y="5026"/>
                    <a:pt x="2555" y="5022"/>
                    <a:pt x="2539" y="5025"/>
                  </a:cubicBezTo>
                  <a:cubicBezTo>
                    <a:pt x="2524" y="5027"/>
                    <a:pt x="2516" y="5025"/>
                    <a:pt x="2504" y="5029"/>
                  </a:cubicBezTo>
                  <a:cubicBezTo>
                    <a:pt x="2492" y="5033"/>
                    <a:pt x="2482" y="5033"/>
                    <a:pt x="2478" y="5027"/>
                  </a:cubicBezTo>
                  <a:cubicBezTo>
                    <a:pt x="2474" y="5022"/>
                    <a:pt x="2479" y="5036"/>
                    <a:pt x="2468" y="5036"/>
                  </a:cubicBezTo>
                  <a:cubicBezTo>
                    <a:pt x="2455" y="5036"/>
                    <a:pt x="2463" y="5058"/>
                    <a:pt x="2464" y="5066"/>
                  </a:cubicBezTo>
                  <a:cubicBezTo>
                    <a:pt x="2466" y="5074"/>
                    <a:pt x="2463" y="5077"/>
                    <a:pt x="2482" y="5074"/>
                  </a:cubicBezTo>
                  <a:cubicBezTo>
                    <a:pt x="2501" y="5071"/>
                    <a:pt x="2515" y="5067"/>
                    <a:pt x="2520" y="5067"/>
                  </a:cubicBezTo>
                  <a:cubicBezTo>
                    <a:pt x="2526" y="5067"/>
                    <a:pt x="2533" y="5074"/>
                    <a:pt x="2544" y="5073"/>
                  </a:cubicBezTo>
                  <a:cubicBezTo>
                    <a:pt x="2555" y="5071"/>
                    <a:pt x="2557" y="5073"/>
                    <a:pt x="2563" y="5067"/>
                  </a:cubicBezTo>
                  <a:cubicBezTo>
                    <a:pt x="2568" y="5062"/>
                    <a:pt x="2555" y="5058"/>
                    <a:pt x="2568" y="5056"/>
                  </a:cubicBezTo>
                  <a:close/>
                  <a:moveTo>
                    <a:pt x="2965" y="2598"/>
                  </a:moveTo>
                  <a:cubicBezTo>
                    <a:pt x="2983" y="2595"/>
                    <a:pt x="2997" y="2587"/>
                    <a:pt x="3008" y="2578"/>
                  </a:cubicBezTo>
                  <a:cubicBezTo>
                    <a:pt x="3020" y="2570"/>
                    <a:pt x="3012" y="2563"/>
                    <a:pt x="3003" y="2555"/>
                  </a:cubicBezTo>
                  <a:cubicBezTo>
                    <a:pt x="2995" y="2547"/>
                    <a:pt x="2970" y="2552"/>
                    <a:pt x="2965" y="2543"/>
                  </a:cubicBezTo>
                  <a:cubicBezTo>
                    <a:pt x="2960" y="2535"/>
                    <a:pt x="2952" y="2528"/>
                    <a:pt x="2943" y="2528"/>
                  </a:cubicBezTo>
                  <a:cubicBezTo>
                    <a:pt x="2935" y="2528"/>
                    <a:pt x="2921" y="2533"/>
                    <a:pt x="2916" y="2530"/>
                  </a:cubicBezTo>
                  <a:cubicBezTo>
                    <a:pt x="2911" y="2526"/>
                    <a:pt x="2896" y="2520"/>
                    <a:pt x="2891" y="2516"/>
                  </a:cubicBezTo>
                  <a:cubicBezTo>
                    <a:pt x="2886" y="2513"/>
                    <a:pt x="2878" y="2516"/>
                    <a:pt x="2869" y="2513"/>
                  </a:cubicBezTo>
                  <a:cubicBezTo>
                    <a:pt x="2861" y="2510"/>
                    <a:pt x="2839" y="2513"/>
                    <a:pt x="2831" y="2518"/>
                  </a:cubicBezTo>
                  <a:cubicBezTo>
                    <a:pt x="2821" y="2524"/>
                    <a:pt x="2864" y="2528"/>
                    <a:pt x="2869" y="2531"/>
                  </a:cubicBezTo>
                  <a:cubicBezTo>
                    <a:pt x="2874" y="2535"/>
                    <a:pt x="2876" y="2528"/>
                    <a:pt x="2881" y="2543"/>
                  </a:cubicBezTo>
                  <a:cubicBezTo>
                    <a:pt x="2886" y="2558"/>
                    <a:pt x="2888" y="2563"/>
                    <a:pt x="2908" y="2570"/>
                  </a:cubicBezTo>
                  <a:cubicBezTo>
                    <a:pt x="2928" y="2577"/>
                    <a:pt x="2930" y="2562"/>
                    <a:pt x="2940" y="2577"/>
                  </a:cubicBezTo>
                  <a:cubicBezTo>
                    <a:pt x="2950" y="2592"/>
                    <a:pt x="2947" y="2602"/>
                    <a:pt x="2965" y="259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230245" y="2614978"/>
            <a:ext cx="517105" cy="516406"/>
            <a:chOff x="3230245" y="2614978"/>
            <a:chExt cx="517105" cy="516406"/>
          </a:xfrm>
        </p:grpSpPr>
        <p:sp>
          <p:nvSpPr>
            <p:cNvPr id="51" name="Oval 8"/>
            <p:cNvSpPr>
              <a:spLocks noChangeArrowheads="1"/>
            </p:cNvSpPr>
            <p:nvPr/>
          </p:nvSpPr>
          <p:spPr bwMode="auto">
            <a:xfrm>
              <a:off x="3230245" y="2614978"/>
              <a:ext cx="517105" cy="516406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" name="Freeform 38"/>
            <p:cNvSpPr>
              <a:spLocks noEditPoints="1"/>
            </p:cNvSpPr>
            <p:nvPr/>
          </p:nvSpPr>
          <p:spPr bwMode="auto">
            <a:xfrm>
              <a:off x="3334448" y="2743215"/>
              <a:ext cx="330859" cy="259933"/>
            </a:xfrm>
            <a:custGeom>
              <a:avLst/>
              <a:gdLst>
                <a:gd name="T0" fmla="*/ 716 w 1034"/>
                <a:gd name="T1" fmla="*/ 615 h 810"/>
                <a:gd name="T2" fmla="*/ 538 w 1034"/>
                <a:gd name="T3" fmla="*/ 556 h 810"/>
                <a:gd name="T4" fmla="*/ 767 w 1034"/>
                <a:gd name="T5" fmla="*/ 630 h 810"/>
                <a:gd name="T6" fmla="*/ 666 w 1034"/>
                <a:gd name="T7" fmla="*/ 780 h 810"/>
                <a:gd name="T8" fmla="*/ 517 w 1034"/>
                <a:gd name="T9" fmla="*/ 773 h 810"/>
                <a:gd name="T10" fmla="*/ 368 w 1034"/>
                <a:gd name="T11" fmla="*/ 780 h 810"/>
                <a:gd name="T12" fmla="*/ 270 w 1034"/>
                <a:gd name="T13" fmla="*/ 704 h 810"/>
                <a:gd name="T14" fmla="*/ 240 w 1034"/>
                <a:gd name="T15" fmla="*/ 538 h 810"/>
                <a:gd name="T16" fmla="*/ 301 w 1034"/>
                <a:gd name="T17" fmla="*/ 0 h 810"/>
                <a:gd name="T18" fmla="*/ 625 w 1034"/>
                <a:gd name="T19" fmla="*/ 107 h 810"/>
                <a:gd name="T20" fmla="*/ 107 w 1034"/>
                <a:gd name="T21" fmla="*/ 372 h 810"/>
                <a:gd name="T22" fmla="*/ 661 w 1034"/>
                <a:gd name="T23" fmla="*/ 107 h 810"/>
                <a:gd name="T24" fmla="*/ 998 w 1034"/>
                <a:gd name="T25" fmla="*/ 301 h 810"/>
                <a:gd name="T26" fmla="*/ 359 w 1034"/>
                <a:gd name="T27" fmla="*/ 538 h 810"/>
                <a:gd name="T28" fmla="*/ 317 w 1034"/>
                <a:gd name="T29" fmla="*/ 496 h 810"/>
                <a:gd name="T30" fmla="*/ 258 w 1034"/>
                <a:gd name="T31" fmla="*/ 597 h 810"/>
                <a:gd name="T32" fmla="*/ 455 w 1034"/>
                <a:gd name="T33" fmla="*/ 535 h 810"/>
                <a:gd name="T34" fmla="*/ 435 w 1034"/>
                <a:gd name="T35" fmla="*/ 518 h 810"/>
                <a:gd name="T36" fmla="*/ 421 w 1034"/>
                <a:gd name="T37" fmla="*/ 518 h 810"/>
                <a:gd name="T38" fmla="*/ 407 w 1034"/>
                <a:gd name="T39" fmla="*/ 526 h 810"/>
                <a:gd name="T40" fmla="*/ 287 w 1034"/>
                <a:gd name="T41" fmla="*/ 687 h 810"/>
                <a:gd name="T42" fmla="*/ 516 w 1034"/>
                <a:gd name="T43" fmla="*/ 606 h 810"/>
                <a:gd name="T44" fmla="*/ 494 w 1034"/>
                <a:gd name="T45" fmla="*/ 578 h 810"/>
                <a:gd name="T46" fmla="*/ 347 w 1034"/>
                <a:gd name="T47" fmla="*/ 705 h 810"/>
                <a:gd name="T48" fmla="*/ 546 w 1034"/>
                <a:gd name="T49" fmla="*/ 696 h 810"/>
                <a:gd name="T50" fmla="*/ 436 w 1034"/>
                <a:gd name="T51" fmla="*/ 734 h 810"/>
                <a:gd name="T52" fmla="*/ 606 w 1034"/>
                <a:gd name="T53" fmla="*/ 755 h 810"/>
                <a:gd name="T54" fmla="*/ 563 w 1034"/>
                <a:gd name="T55" fmla="*/ 724 h 810"/>
                <a:gd name="T56" fmla="*/ 597 w 1034"/>
                <a:gd name="T57" fmla="*/ 776 h 810"/>
                <a:gd name="T58" fmla="*/ 536 w 1034"/>
                <a:gd name="T59" fmla="*/ 396 h 810"/>
                <a:gd name="T60" fmla="*/ 478 w 1034"/>
                <a:gd name="T61" fmla="*/ 448 h 810"/>
                <a:gd name="T62" fmla="*/ 418 w 1034"/>
                <a:gd name="T63" fmla="*/ 436 h 810"/>
                <a:gd name="T64" fmla="*/ 499 w 1034"/>
                <a:gd name="T65" fmla="*/ 278 h 810"/>
                <a:gd name="T66" fmla="*/ 377 w 1034"/>
                <a:gd name="T67" fmla="*/ 478 h 810"/>
                <a:gd name="T68" fmla="*/ 388 w 1034"/>
                <a:gd name="T69" fmla="*/ 494 h 810"/>
                <a:gd name="T70" fmla="*/ 403 w 1034"/>
                <a:gd name="T71" fmla="*/ 498 h 810"/>
                <a:gd name="T72" fmla="*/ 429 w 1034"/>
                <a:gd name="T73" fmla="*/ 492 h 810"/>
                <a:gd name="T74" fmla="*/ 458 w 1034"/>
                <a:gd name="T75" fmla="*/ 501 h 810"/>
                <a:gd name="T76" fmla="*/ 478 w 1034"/>
                <a:gd name="T77" fmla="*/ 526 h 810"/>
                <a:gd name="T78" fmla="*/ 493 w 1034"/>
                <a:gd name="T79" fmla="*/ 552 h 810"/>
                <a:gd name="T80" fmla="*/ 517 w 1034"/>
                <a:gd name="T81" fmla="*/ 561 h 810"/>
                <a:gd name="T82" fmla="*/ 538 w 1034"/>
                <a:gd name="T83" fmla="*/ 626 h 810"/>
                <a:gd name="T84" fmla="*/ 537 w 1034"/>
                <a:gd name="T85" fmla="*/ 645 h 810"/>
                <a:gd name="T86" fmla="*/ 645 w 1034"/>
                <a:gd name="T87" fmla="*/ 746 h 810"/>
                <a:gd name="T88" fmla="*/ 755 w 1034"/>
                <a:gd name="T89" fmla="*/ 666 h 810"/>
                <a:gd name="T90" fmla="*/ 755 w 1034"/>
                <a:gd name="T91" fmla="*/ 606 h 810"/>
                <a:gd name="T92" fmla="*/ 666 w 1034"/>
                <a:gd name="T93" fmla="*/ 147 h 810"/>
                <a:gd name="T94" fmla="*/ 428 w 1034"/>
                <a:gd name="T95" fmla="*/ 398 h 810"/>
                <a:gd name="T96" fmla="*/ 469 w 1034"/>
                <a:gd name="T97" fmla="*/ 425 h 810"/>
                <a:gd name="T98" fmla="*/ 527 w 1034"/>
                <a:gd name="T99" fmla="*/ 369 h 810"/>
                <a:gd name="T100" fmla="*/ 118 w 1034"/>
                <a:gd name="T101" fmla="*/ 319 h 810"/>
                <a:gd name="T102" fmla="*/ 915 w 1034"/>
                <a:gd name="T103" fmla="*/ 26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4" h="810">
                  <a:moveTo>
                    <a:pt x="716" y="615"/>
                  </a:moveTo>
                  <a:cubicBezTo>
                    <a:pt x="597" y="496"/>
                    <a:pt x="597" y="496"/>
                    <a:pt x="597" y="496"/>
                  </a:cubicBezTo>
                  <a:cubicBezTo>
                    <a:pt x="615" y="478"/>
                    <a:pt x="615" y="478"/>
                    <a:pt x="615" y="478"/>
                  </a:cubicBezTo>
                  <a:cubicBezTo>
                    <a:pt x="734" y="597"/>
                    <a:pt x="734" y="597"/>
                    <a:pt x="734" y="597"/>
                  </a:cubicBezTo>
                  <a:lnTo>
                    <a:pt x="716" y="615"/>
                  </a:lnTo>
                  <a:close/>
                  <a:moveTo>
                    <a:pt x="538" y="556"/>
                  </a:moveTo>
                  <a:cubicBezTo>
                    <a:pt x="687" y="704"/>
                    <a:pt x="687" y="704"/>
                    <a:pt x="687" y="704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556" y="538"/>
                    <a:pt x="556" y="538"/>
                    <a:pt x="556" y="538"/>
                  </a:cubicBezTo>
                  <a:lnTo>
                    <a:pt x="538" y="556"/>
                  </a:lnTo>
                  <a:close/>
                  <a:moveTo>
                    <a:pt x="904" y="386"/>
                  </a:moveTo>
                  <a:cubicBezTo>
                    <a:pt x="773" y="517"/>
                    <a:pt x="773" y="517"/>
                    <a:pt x="773" y="517"/>
                  </a:cubicBezTo>
                  <a:cubicBezTo>
                    <a:pt x="794" y="538"/>
                    <a:pt x="794" y="538"/>
                    <a:pt x="794" y="538"/>
                  </a:cubicBezTo>
                  <a:cubicBezTo>
                    <a:pt x="815" y="559"/>
                    <a:pt x="815" y="594"/>
                    <a:pt x="794" y="615"/>
                  </a:cubicBezTo>
                  <a:cubicBezTo>
                    <a:pt x="786" y="623"/>
                    <a:pt x="777" y="628"/>
                    <a:pt x="767" y="630"/>
                  </a:cubicBezTo>
                  <a:cubicBezTo>
                    <a:pt x="775" y="640"/>
                    <a:pt x="780" y="652"/>
                    <a:pt x="780" y="666"/>
                  </a:cubicBezTo>
                  <a:cubicBezTo>
                    <a:pt x="780" y="680"/>
                    <a:pt x="774" y="694"/>
                    <a:pt x="764" y="705"/>
                  </a:cubicBezTo>
                  <a:cubicBezTo>
                    <a:pt x="753" y="716"/>
                    <a:pt x="736" y="722"/>
                    <a:pt x="720" y="720"/>
                  </a:cubicBezTo>
                  <a:cubicBezTo>
                    <a:pt x="722" y="736"/>
                    <a:pt x="716" y="752"/>
                    <a:pt x="704" y="764"/>
                  </a:cubicBezTo>
                  <a:cubicBezTo>
                    <a:pt x="694" y="775"/>
                    <a:pt x="680" y="780"/>
                    <a:pt x="666" y="780"/>
                  </a:cubicBezTo>
                  <a:cubicBezTo>
                    <a:pt x="653" y="780"/>
                    <a:pt x="640" y="775"/>
                    <a:pt x="630" y="766"/>
                  </a:cubicBezTo>
                  <a:cubicBezTo>
                    <a:pt x="628" y="777"/>
                    <a:pt x="623" y="786"/>
                    <a:pt x="615" y="794"/>
                  </a:cubicBezTo>
                  <a:cubicBezTo>
                    <a:pt x="605" y="804"/>
                    <a:pt x="591" y="810"/>
                    <a:pt x="576" y="810"/>
                  </a:cubicBezTo>
                  <a:cubicBezTo>
                    <a:pt x="562" y="810"/>
                    <a:pt x="548" y="804"/>
                    <a:pt x="538" y="794"/>
                  </a:cubicBezTo>
                  <a:cubicBezTo>
                    <a:pt x="517" y="773"/>
                    <a:pt x="517" y="773"/>
                    <a:pt x="517" y="773"/>
                  </a:cubicBezTo>
                  <a:cubicBezTo>
                    <a:pt x="496" y="794"/>
                    <a:pt x="496" y="794"/>
                    <a:pt x="496" y="794"/>
                  </a:cubicBezTo>
                  <a:cubicBezTo>
                    <a:pt x="485" y="805"/>
                    <a:pt x="471" y="810"/>
                    <a:pt x="457" y="810"/>
                  </a:cubicBezTo>
                  <a:cubicBezTo>
                    <a:pt x="443" y="810"/>
                    <a:pt x="429" y="805"/>
                    <a:pt x="419" y="794"/>
                  </a:cubicBezTo>
                  <a:cubicBezTo>
                    <a:pt x="411" y="786"/>
                    <a:pt x="406" y="777"/>
                    <a:pt x="404" y="766"/>
                  </a:cubicBezTo>
                  <a:cubicBezTo>
                    <a:pt x="393" y="775"/>
                    <a:pt x="381" y="780"/>
                    <a:pt x="368" y="780"/>
                  </a:cubicBezTo>
                  <a:cubicBezTo>
                    <a:pt x="354" y="780"/>
                    <a:pt x="340" y="775"/>
                    <a:pt x="329" y="764"/>
                  </a:cubicBezTo>
                  <a:cubicBezTo>
                    <a:pt x="319" y="754"/>
                    <a:pt x="313" y="740"/>
                    <a:pt x="313" y="725"/>
                  </a:cubicBezTo>
                  <a:cubicBezTo>
                    <a:pt x="313" y="723"/>
                    <a:pt x="313" y="722"/>
                    <a:pt x="314" y="720"/>
                  </a:cubicBezTo>
                  <a:cubicBezTo>
                    <a:pt x="312" y="720"/>
                    <a:pt x="310" y="720"/>
                    <a:pt x="308" y="720"/>
                  </a:cubicBezTo>
                  <a:cubicBezTo>
                    <a:pt x="294" y="720"/>
                    <a:pt x="280" y="715"/>
                    <a:pt x="270" y="704"/>
                  </a:cubicBezTo>
                  <a:cubicBezTo>
                    <a:pt x="259" y="694"/>
                    <a:pt x="254" y="680"/>
                    <a:pt x="254" y="666"/>
                  </a:cubicBezTo>
                  <a:cubicBezTo>
                    <a:pt x="254" y="652"/>
                    <a:pt x="259" y="640"/>
                    <a:pt x="267" y="630"/>
                  </a:cubicBezTo>
                  <a:cubicBezTo>
                    <a:pt x="257" y="628"/>
                    <a:pt x="248" y="623"/>
                    <a:pt x="240" y="615"/>
                  </a:cubicBezTo>
                  <a:cubicBezTo>
                    <a:pt x="229" y="605"/>
                    <a:pt x="224" y="591"/>
                    <a:pt x="224" y="576"/>
                  </a:cubicBezTo>
                  <a:cubicBezTo>
                    <a:pt x="224" y="562"/>
                    <a:pt x="229" y="548"/>
                    <a:pt x="240" y="538"/>
                  </a:cubicBezTo>
                  <a:cubicBezTo>
                    <a:pt x="261" y="517"/>
                    <a:pt x="261" y="517"/>
                    <a:pt x="261" y="517"/>
                  </a:cubicBezTo>
                  <a:cubicBezTo>
                    <a:pt x="130" y="386"/>
                    <a:pt x="130" y="386"/>
                    <a:pt x="130" y="386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408" y="107"/>
                    <a:pt x="408" y="107"/>
                    <a:pt x="408" y="107"/>
                  </a:cubicBezTo>
                  <a:cubicBezTo>
                    <a:pt x="386" y="130"/>
                    <a:pt x="386" y="130"/>
                    <a:pt x="386" y="130"/>
                  </a:cubicBezTo>
                  <a:cubicBezTo>
                    <a:pt x="517" y="261"/>
                    <a:pt x="517" y="261"/>
                    <a:pt x="517" y="261"/>
                  </a:cubicBezTo>
                  <a:cubicBezTo>
                    <a:pt x="648" y="129"/>
                    <a:pt x="648" y="129"/>
                    <a:pt x="648" y="129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733" y="0"/>
                    <a:pt x="733" y="0"/>
                    <a:pt x="733" y="0"/>
                  </a:cubicBezTo>
                  <a:cubicBezTo>
                    <a:pt x="1034" y="301"/>
                    <a:pt x="1034" y="301"/>
                    <a:pt x="1034" y="301"/>
                  </a:cubicBezTo>
                  <a:cubicBezTo>
                    <a:pt x="926" y="408"/>
                    <a:pt x="926" y="408"/>
                    <a:pt x="926" y="408"/>
                  </a:cubicBezTo>
                  <a:lnTo>
                    <a:pt x="904" y="386"/>
                  </a:lnTo>
                  <a:close/>
                  <a:moveTo>
                    <a:pt x="107" y="372"/>
                  </a:moveTo>
                  <a:cubicBezTo>
                    <a:pt x="372" y="107"/>
                    <a:pt x="372" y="107"/>
                    <a:pt x="372" y="107"/>
                  </a:cubicBezTo>
                  <a:cubicBezTo>
                    <a:pt x="301" y="36"/>
                    <a:pt x="301" y="36"/>
                    <a:pt x="301" y="36"/>
                  </a:cubicBezTo>
                  <a:cubicBezTo>
                    <a:pt x="36" y="301"/>
                    <a:pt x="36" y="301"/>
                    <a:pt x="36" y="301"/>
                  </a:cubicBezTo>
                  <a:lnTo>
                    <a:pt x="107" y="372"/>
                  </a:lnTo>
                  <a:close/>
                  <a:moveTo>
                    <a:pt x="661" y="107"/>
                  </a:moveTo>
                  <a:cubicBezTo>
                    <a:pt x="794" y="240"/>
                    <a:pt x="794" y="240"/>
                    <a:pt x="794" y="240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6" y="372"/>
                    <a:pt x="926" y="372"/>
                    <a:pt x="926" y="372"/>
                  </a:cubicBezTo>
                  <a:cubicBezTo>
                    <a:pt x="998" y="301"/>
                    <a:pt x="998" y="301"/>
                    <a:pt x="998" y="301"/>
                  </a:cubicBezTo>
                  <a:cubicBezTo>
                    <a:pt x="733" y="36"/>
                    <a:pt x="733" y="36"/>
                    <a:pt x="733" y="36"/>
                  </a:cubicBezTo>
                  <a:lnTo>
                    <a:pt x="661" y="107"/>
                  </a:lnTo>
                  <a:close/>
                  <a:moveTo>
                    <a:pt x="258" y="597"/>
                  </a:moveTo>
                  <a:cubicBezTo>
                    <a:pt x="269" y="609"/>
                    <a:pt x="288" y="609"/>
                    <a:pt x="299" y="597"/>
                  </a:cubicBezTo>
                  <a:cubicBezTo>
                    <a:pt x="359" y="538"/>
                    <a:pt x="359" y="538"/>
                    <a:pt x="359" y="538"/>
                  </a:cubicBezTo>
                  <a:cubicBezTo>
                    <a:pt x="360" y="537"/>
                    <a:pt x="360" y="536"/>
                    <a:pt x="361" y="536"/>
                  </a:cubicBezTo>
                  <a:cubicBezTo>
                    <a:pt x="365" y="530"/>
                    <a:pt x="368" y="524"/>
                    <a:pt x="368" y="517"/>
                  </a:cubicBezTo>
                  <a:cubicBezTo>
                    <a:pt x="368" y="513"/>
                    <a:pt x="367" y="510"/>
                    <a:pt x="366" y="507"/>
                  </a:cubicBezTo>
                  <a:cubicBezTo>
                    <a:pt x="364" y="503"/>
                    <a:pt x="362" y="499"/>
                    <a:pt x="359" y="496"/>
                  </a:cubicBezTo>
                  <a:cubicBezTo>
                    <a:pt x="348" y="485"/>
                    <a:pt x="328" y="485"/>
                    <a:pt x="317" y="496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58" y="556"/>
                    <a:pt x="258" y="556"/>
                    <a:pt x="258" y="556"/>
                  </a:cubicBezTo>
                  <a:cubicBezTo>
                    <a:pt x="252" y="561"/>
                    <a:pt x="249" y="568"/>
                    <a:pt x="249" y="576"/>
                  </a:cubicBezTo>
                  <a:cubicBezTo>
                    <a:pt x="249" y="584"/>
                    <a:pt x="252" y="592"/>
                    <a:pt x="258" y="597"/>
                  </a:cubicBezTo>
                  <a:close/>
                  <a:moveTo>
                    <a:pt x="329" y="687"/>
                  </a:moveTo>
                  <a:cubicBezTo>
                    <a:pt x="448" y="567"/>
                    <a:pt x="448" y="567"/>
                    <a:pt x="448" y="567"/>
                  </a:cubicBezTo>
                  <a:cubicBezTo>
                    <a:pt x="450" y="566"/>
                    <a:pt x="451" y="564"/>
                    <a:pt x="452" y="563"/>
                  </a:cubicBezTo>
                  <a:cubicBezTo>
                    <a:pt x="455" y="558"/>
                    <a:pt x="457" y="552"/>
                    <a:pt x="457" y="547"/>
                  </a:cubicBezTo>
                  <a:cubicBezTo>
                    <a:pt x="457" y="543"/>
                    <a:pt x="456" y="539"/>
                    <a:pt x="455" y="535"/>
                  </a:cubicBezTo>
                  <a:cubicBezTo>
                    <a:pt x="454" y="533"/>
                    <a:pt x="452" y="531"/>
                    <a:pt x="451" y="529"/>
                  </a:cubicBezTo>
                  <a:cubicBezTo>
                    <a:pt x="450" y="528"/>
                    <a:pt x="449" y="527"/>
                    <a:pt x="448" y="526"/>
                  </a:cubicBezTo>
                  <a:cubicBezTo>
                    <a:pt x="446" y="523"/>
                    <a:pt x="443" y="522"/>
                    <a:pt x="440" y="520"/>
                  </a:cubicBezTo>
                  <a:cubicBezTo>
                    <a:pt x="440" y="520"/>
                    <a:pt x="439" y="520"/>
                    <a:pt x="439" y="519"/>
                  </a:cubicBezTo>
                  <a:cubicBezTo>
                    <a:pt x="438" y="519"/>
                    <a:pt x="436" y="519"/>
                    <a:pt x="435" y="518"/>
                  </a:cubicBezTo>
                  <a:cubicBezTo>
                    <a:pt x="434" y="518"/>
                    <a:pt x="434" y="518"/>
                    <a:pt x="433" y="518"/>
                  </a:cubicBezTo>
                  <a:cubicBezTo>
                    <a:pt x="431" y="517"/>
                    <a:pt x="429" y="517"/>
                    <a:pt x="428" y="517"/>
                  </a:cubicBezTo>
                  <a:cubicBezTo>
                    <a:pt x="428" y="517"/>
                    <a:pt x="427" y="517"/>
                    <a:pt x="427" y="517"/>
                  </a:cubicBezTo>
                  <a:cubicBezTo>
                    <a:pt x="426" y="517"/>
                    <a:pt x="424" y="517"/>
                    <a:pt x="422" y="518"/>
                  </a:cubicBezTo>
                  <a:cubicBezTo>
                    <a:pt x="422" y="518"/>
                    <a:pt x="421" y="518"/>
                    <a:pt x="421" y="518"/>
                  </a:cubicBezTo>
                  <a:cubicBezTo>
                    <a:pt x="420" y="518"/>
                    <a:pt x="418" y="519"/>
                    <a:pt x="416" y="519"/>
                  </a:cubicBezTo>
                  <a:cubicBezTo>
                    <a:pt x="416" y="520"/>
                    <a:pt x="415" y="520"/>
                    <a:pt x="415" y="520"/>
                  </a:cubicBezTo>
                  <a:cubicBezTo>
                    <a:pt x="413" y="521"/>
                    <a:pt x="412" y="521"/>
                    <a:pt x="411" y="522"/>
                  </a:cubicBezTo>
                  <a:cubicBezTo>
                    <a:pt x="410" y="523"/>
                    <a:pt x="409" y="524"/>
                    <a:pt x="407" y="525"/>
                  </a:cubicBezTo>
                  <a:cubicBezTo>
                    <a:pt x="407" y="525"/>
                    <a:pt x="407" y="526"/>
                    <a:pt x="407" y="526"/>
                  </a:cubicBezTo>
                  <a:cubicBezTo>
                    <a:pt x="377" y="556"/>
                    <a:pt x="377" y="556"/>
                    <a:pt x="377" y="556"/>
                  </a:cubicBezTo>
                  <a:cubicBezTo>
                    <a:pt x="317" y="615"/>
                    <a:pt x="317" y="615"/>
                    <a:pt x="317" y="615"/>
                  </a:cubicBezTo>
                  <a:cubicBezTo>
                    <a:pt x="287" y="645"/>
                    <a:pt x="287" y="645"/>
                    <a:pt x="287" y="645"/>
                  </a:cubicBezTo>
                  <a:cubicBezTo>
                    <a:pt x="282" y="650"/>
                    <a:pt x="279" y="658"/>
                    <a:pt x="279" y="666"/>
                  </a:cubicBezTo>
                  <a:cubicBezTo>
                    <a:pt x="279" y="674"/>
                    <a:pt x="282" y="681"/>
                    <a:pt x="287" y="687"/>
                  </a:cubicBezTo>
                  <a:cubicBezTo>
                    <a:pt x="299" y="698"/>
                    <a:pt x="318" y="698"/>
                    <a:pt x="329" y="687"/>
                  </a:cubicBezTo>
                  <a:close/>
                  <a:moveTo>
                    <a:pt x="389" y="746"/>
                  </a:moveTo>
                  <a:cubicBezTo>
                    <a:pt x="478" y="657"/>
                    <a:pt x="478" y="657"/>
                    <a:pt x="478" y="657"/>
                  </a:cubicBezTo>
                  <a:cubicBezTo>
                    <a:pt x="508" y="627"/>
                    <a:pt x="508" y="627"/>
                    <a:pt x="508" y="627"/>
                  </a:cubicBezTo>
                  <a:cubicBezTo>
                    <a:pt x="513" y="621"/>
                    <a:pt x="516" y="614"/>
                    <a:pt x="516" y="606"/>
                  </a:cubicBezTo>
                  <a:cubicBezTo>
                    <a:pt x="516" y="598"/>
                    <a:pt x="513" y="591"/>
                    <a:pt x="508" y="585"/>
                  </a:cubicBezTo>
                  <a:cubicBezTo>
                    <a:pt x="506" y="584"/>
                    <a:pt x="504" y="582"/>
                    <a:pt x="502" y="581"/>
                  </a:cubicBezTo>
                  <a:cubicBezTo>
                    <a:pt x="502" y="581"/>
                    <a:pt x="501" y="580"/>
                    <a:pt x="500" y="580"/>
                  </a:cubicBezTo>
                  <a:cubicBezTo>
                    <a:pt x="499" y="579"/>
                    <a:pt x="497" y="579"/>
                    <a:pt x="496" y="578"/>
                  </a:cubicBezTo>
                  <a:cubicBezTo>
                    <a:pt x="495" y="578"/>
                    <a:pt x="494" y="578"/>
                    <a:pt x="494" y="578"/>
                  </a:cubicBezTo>
                  <a:cubicBezTo>
                    <a:pt x="492" y="577"/>
                    <a:pt x="490" y="577"/>
                    <a:pt x="487" y="577"/>
                  </a:cubicBezTo>
                  <a:cubicBezTo>
                    <a:pt x="487" y="577"/>
                    <a:pt x="487" y="577"/>
                    <a:pt x="487" y="577"/>
                  </a:cubicBezTo>
                  <a:cubicBezTo>
                    <a:pt x="484" y="577"/>
                    <a:pt x="482" y="577"/>
                    <a:pt x="479" y="578"/>
                  </a:cubicBezTo>
                  <a:cubicBezTo>
                    <a:pt x="474" y="579"/>
                    <a:pt x="470" y="582"/>
                    <a:pt x="466" y="585"/>
                  </a:cubicBezTo>
                  <a:cubicBezTo>
                    <a:pt x="347" y="705"/>
                    <a:pt x="347" y="705"/>
                    <a:pt x="347" y="705"/>
                  </a:cubicBezTo>
                  <a:cubicBezTo>
                    <a:pt x="341" y="710"/>
                    <a:pt x="338" y="717"/>
                    <a:pt x="338" y="725"/>
                  </a:cubicBezTo>
                  <a:cubicBezTo>
                    <a:pt x="338" y="733"/>
                    <a:pt x="342" y="741"/>
                    <a:pt x="347" y="746"/>
                  </a:cubicBezTo>
                  <a:cubicBezTo>
                    <a:pt x="359" y="758"/>
                    <a:pt x="377" y="758"/>
                    <a:pt x="389" y="746"/>
                  </a:cubicBezTo>
                  <a:close/>
                  <a:moveTo>
                    <a:pt x="538" y="716"/>
                  </a:moveTo>
                  <a:cubicBezTo>
                    <a:pt x="543" y="711"/>
                    <a:pt x="546" y="703"/>
                    <a:pt x="546" y="696"/>
                  </a:cubicBezTo>
                  <a:cubicBezTo>
                    <a:pt x="546" y="688"/>
                    <a:pt x="543" y="680"/>
                    <a:pt x="538" y="675"/>
                  </a:cubicBezTo>
                  <a:cubicBezTo>
                    <a:pt x="532" y="669"/>
                    <a:pt x="524" y="666"/>
                    <a:pt x="517" y="666"/>
                  </a:cubicBezTo>
                  <a:cubicBezTo>
                    <a:pt x="511" y="666"/>
                    <a:pt x="506" y="668"/>
                    <a:pt x="501" y="671"/>
                  </a:cubicBezTo>
                  <a:cubicBezTo>
                    <a:pt x="499" y="672"/>
                    <a:pt x="497" y="673"/>
                    <a:pt x="496" y="675"/>
                  </a:cubicBezTo>
                  <a:cubicBezTo>
                    <a:pt x="436" y="734"/>
                    <a:pt x="436" y="734"/>
                    <a:pt x="436" y="734"/>
                  </a:cubicBezTo>
                  <a:cubicBezTo>
                    <a:pt x="431" y="740"/>
                    <a:pt x="428" y="747"/>
                    <a:pt x="428" y="755"/>
                  </a:cubicBezTo>
                  <a:cubicBezTo>
                    <a:pt x="428" y="763"/>
                    <a:pt x="431" y="770"/>
                    <a:pt x="436" y="776"/>
                  </a:cubicBezTo>
                  <a:cubicBezTo>
                    <a:pt x="448" y="787"/>
                    <a:pt x="467" y="787"/>
                    <a:pt x="478" y="776"/>
                  </a:cubicBezTo>
                  <a:lnTo>
                    <a:pt x="538" y="716"/>
                  </a:lnTo>
                  <a:close/>
                  <a:moveTo>
                    <a:pt x="606" y="755"/>
                  </a:moveTo>
                  <a:cubicBezTo>
                    <a:pt x="606" y="747"/>
                    <a:pt x="603" y="740"/>
                    <a:pt x="597" y="734"/>
                  </a:cubicBezTo>
                  <a:cubicBezTo>
                    <a:pt x="570" y="707"/>
                    <a:pt x="570" y="707"/>
                    <a:pt x="570" y="707"/>
                  </a:cubicBezTo>
                  <a:cubicBezTo>
                    <a:pt x="570" y="710"/>
                    <a:pt x="569" y="713"/>
                    <a:pt x="568" y="716"/>
                  </a:cubicBezTo>
                  <a:cubicBezTo>
                    <a:pt x="567" y="717"/>
                    <a:pt x="567" y="717"/>
                    <a:pt x="567" y="718"/>
                  </a:cubicBezTo>
                  <a:cubicBezTo>
                    <a:pt x="566" y="720"/>
                    <a:pt x="564" y="722"/>
                    <a:pt x="563" y="724"/>
                  </a:cubicBezTo>
                  <a:cubicBezTo>
                    <a:pt x="563" y="725"/>
                    <a:pt x="562" y="726"/>
                    <a:pt x="562" y="727"/>
                  </a:cubicBezTo>
                  <a:cubicBezTo>
                    <a:pt x="560" y="729"/>
                    <a:pt x="558" y="732"/>
                    <a:pt x="556" y="734"/>
                  </a:cubicBezTo>
                  <a:cubicBezTo>
                    <a:pt x="535" y="755"/>
                    <a:pt x="535" y="755"/>
                    <a:pt x="535" y="755"/>
                  </a:cubicBezTo>
                  <a:cubicBezTo>
                    <a:pt x="556" y="776"/>
                    <a:pt x="556" y="776"/>
                    <a:pt x="556" y="776"/>
                  </a:cubicBezTo>
                  <a:cubicBezTo>
                    <a:pt x="567" y="787"/>
                    <a:pt x="586" y="787"/>
                    <a:pt x="597" y="776"/>
                  </a:cubicBezTo>
                  <a:cubicBezTo>
                    <a:pt x="597" y="776"/>
                    <a:pt x="597" y="776"/>
                    <a:pt x="597" y="776"/>
                  </a:cubicBezTo>
                  <a:cubicBezTo>
                    <a:pt x="603" y="770"/>
                    <a:pt x="606" y="763"/>
                    <a:pt x="606" y="755"/>
                  </a:cubicBezTo>
                  <a:close/>
                  <a:moveTo>
                    <a:pt x="776" y="556"/>
                  </a:moveTo>
                  <a:cubicBezTo>
                    <a:pt x="576" y="356"/>
                    <a:pt x="576" y="356"/>
                    <a:pt x="576" y="356"/>
                  </a:cubicBezTo>
                  <a:cubicBezTo>
                    <a:pt x="536" y="396"/>
                    <a:pt x="536" y="396"/>
                    <a:pt x="536" y="396"/>
                  </a:cubicBezTo>
                  <a:cubicBezTo>
                    <a:pt x="496" y="436"/>
                    <a:pt x="496" y="436"/>
                    <a:pt x="496" y="436"/>
                  </a:cubicBezTo>
                  <a:cubicBezTo>
                    <a:pt x="495" y="437"/>
                    <a:pt x="495" y="437"/>
                    <a:pt x="494" y="438"/>
                  </a:cubicBezTo>
                  <a:cubicBezTo>
                    <a:pt x="492" y="440"/>
                    <a:pt x="490" y="442"/>
                    <a:pt x="488" y="443"/>
                  </a:cubicBezTo>
                  <a:cubicBezTo>
                    <a:pt x="486" y="444"/>
                    <a:pt x="484" y="445"/>
                    <a:pt x="482" y="446"/>
                  </a:cubicBezTo>
                  <a:cubicBezTo>
                    <a:pt x="481" y="447"/>
                    <a:pt x="480" y="448"/>
                    <a:pt x="478" y="448"/>
                  </a:cubicBezTo>
                  <a:cubicBezTo>
                    <a:pt x="475" y="450"/>
                    <a:pt x="472" y="450"/>
                    <a:pt x="469" y="451"/>
                  </a:cubicBezTo>
                  <a:cubicBezTo>
                    <a:pt x="468" y="451"/>
                    <a:pt x="468" y="451"/>
                    <a:pt x="468" y="451"/>
                  </a:cubicBezTo>
                  <a:cubicBezTo>
                    <a:pt x="458" y="453"/>
                    <a:pt x="446" y="452"/>
                    <a:pt x="436" y="448"/>
                  </a:cubicBezTo>
                  <a:cubicBezTo>
                    <a:pt x="436" y="448"/>
                    <a:pt x="436" y="448"/>
                    <a:pt x="435" y="448"/>
                  </a:cubicBezTo>
                  <a:cubicBezTo>
                    <a:pt x="429" y="445"/>
                    <a:pt x="423" y="441"/>
                    <a:pt x="418" y="436"/>
                  </a:cubicBezTo>
                  <a:cubicBezTo>
                    <a:pt x="415" y="433"/>
                    <a:pt x="412" y="429"/>
                    <a:pt x="410" y="425"/>
                  </a:cubicBezTo>
                  <a:cubicBezTo>
                    <a:pt x="405" y="416"/>
                    <a:pt x="402" y="407"/>
                    <a:pt x="402" y="398"/>
                  </a:cubicBezTo>
                  <a:cubicBezTo>
                    <a:pt x="402" y="391"/>
                    <a:pt x="404" y="385"/>
                    <a:pt x="406" y="379"/>
                  </a:cubicBezTo>
                  <a:cubicBezTo>
                    <a:pt x="409" y="371"/>
                    <a:pt x="413" y="365"/>
                    <a:pt x="418" y="359"/>
                  </a:cubicBezTo>
                  <a:cubicBezTo>
                    <a:pt x="499" y="278"/>
                    <a:pt x="499" y="278"/>
                    <a:pt x="499" y="278"/>
                  </a:cubicBezTo>
                  <a:cubicBezTo>
                    <a:pt x="368" y="147"/>
                    <a:pt x="368" y="147"/>
                    <a:pt x="368" y="147"/>
                  </a:cubicBezTo>
                  <a:cubicBezTo>
                    <a:pt x="148" y="368"/>
                    <a:pt x="148" y="368"/>
                    <a:pt x="148" y="368"/>
                  </a:cubicBezTo>
                  <a:cubicBezTo>
                    <a:pt x="279" y="499"/>
                    <a:pt x="279" y="499"/>
                    <a:pt x="279" y="499"/>
                  </a:cubicBezTo>
                  <a:cubicBezTo>
                    <a:pt x="299" y="478"/>
                    <a:pt x="299" y="478"/>
                    <a:pt x="299" y="478"/>
                  </a:cubicBezTo>
                  <a:cubicBezTo>
                    <a:pt x="321" y="457"/>
                    <a:pt x="355" y="457"/>
                    <a:pt x="377" y="478"/>
                  </a:cubicBezTo>
                  <a:cubicBezTo>
                    <a:pt x="377" y="478"/>
                    <a:pt x="377" y="478"/>
                    <a:pt x="377" y="478"/>
                  </a:cubicBezTo>
                  <a:cubicBezTo>
                    <a:pt x="377" y="479"/>
                    <a:pt x="378" y="479"/>
                    <a:pt x="378" y="480"/>
                  </a:cubicBezTo>
                  <a:cubicBezTo>
                    <a:pt x="380" y="482"/>
                    <a:pt x="381" y="483"/>
                    <a:pt x="383" y="485"/>
                  </a:cubicBezTo>
                  <a:cubicBezTo>
                    <a:pt x="383" y="486"/>
                    <a:pt x="384" y="487"/>
                    <a:pt x="384" y="488"/>
                  </a:cubicBezTo>
                  <a:cubicBezTo>
                    <a:pt x="386" y="490"/>
                    <a:pt x="387" y="492"/>
                    <a:pt x="388" y="494"/>
                  </a:cubicBezTo>
                  <a:cubicBezTo>
                    <a:pt x="388" y="495"/>
                    <a:pt x="389" y="496"/>
                    <a:pt x="389" y="496"/>
                  </a:cubicBezTo>
                  <a:cubicBezTo>
                    <a:pt x="390" y="499"/>
                    <a:pt x="391" y="502"/>
                    <a:pt x="392" y="505"/>
                  </a:cubicBezTo>
                  <a:cubicBezTo>
                    <a:pt x="393" y="504"/>
                    <a:pt x="394" y="504"/>
                    <a:pt x="395" y="503"/>
                  </a:cubicBezTo>
                  <a:cubicBezTo>
                    <a:pt x="396" y="502"/>
                    <a:pt x="397" y="501"/>
                    <a:pt x="399" y="500"/>
                  </a:cubicBezTo>
                  <a:cubicBezTo>
                    <a:pt x="400" y="499"/>
                    <a:pt x="401" y="499"/>
                    <a:pt x="403" y="498"/>
                  </a:cubicBezTo>
                  <a:cubicBezTo>
                    <a:pt x="404" y="497"/>
                    <a:pt x="406" y="496"/>
                    <a:pt x="408" y="495"/>
                  </a:cubicBezTo>
                  <a:cubicBezTo>
                    <a:pt x="409" y="495"/>
                    <a:pt x="409" y="495"/>
                    <a:pt x="410" y="495"/>
                  </a:cubicBezTo>
                  <a:cubicBezTo>
                    <a:pt x="416" y="493"/>
                    <a:pt x="422" y="492"/>
                    <a:pt x="428" y="492"/>
                  </a:cubicBezTo>
                  <a:cubicBezTo>
                    <a:pt x="428" y="492"/>
                    <a:pt x="428" y="492"/>
                    <a:pt x="428" y="492"/>
                  </a:cubicBezTo>
                  <a:cubicBezTo>
                    <a:pt x="428" y="492"/>
                    <a:pt x="428" y="492"/>
                    <a:pt x="429" y="492"/>
                  </a:cubicBezTo>
                  <a:cubicBezTo>
                    <a:pt x="432" y="492"/>
                    <a:pt x="435" y="492"/>
                    <a:pt x="438" y="493"/>
                  </a:cubicBezTo>
                  <a:cubicBezTo>
                    <a:pt x="440" y="493"/>
                    <a:pt x="442" y="494"/>
                    <a:pt x="443" y="494"/>
                  </a:cubicBezTo>
                  <a:cubicBezTo>
                    <a:pt x="445" y="495"/>
                    <a:pt x="447" y="495"/>
                    <a:pt x="448" y="496"/>
                  </a:cubicBezTo>
                  <a:cubicBezTo>
                    <a:pt x="450" y="497"/>
                    <a:pt x="452" y="498"/>
                    <a:pt x="453" y="499"/>
                  </a:cubicBezTo>
                  <a:cubicBezTo>
                    <a:pt x="455" y="499"/>
                    <a:pt x="456" y="500"/>
                    <a:pt x="458" y="501"/>
                  </a:cubicBezTo>
                  <a:cubicBezTo>
                    <a:pt x="459" y="502"/>
                    <a:pt x="460" y="503"/>
                    <a:pt x="461" y="504"/>
                  </a:cubicBezTo>
                  <a:cubicBezTo>
                    <a:pt x="463" y="505"/>
                    <a:pt x="465" y="506"/>
                    <a:pt x="466" y="508"/>
                  </a:cubicBezTo>
                  <a:cubicBezTo>
                    <a:pt x="466" y="508"/>
                    <a:pt x="466" y="508"/>
                    <a:pt x="466" y="508"/>
                  </a:cubicBezTo>
                  <a:cubicBezTo>
                    <a:pt x="467" y="509"/>
                    <a:pt x="468" y="511"/>
                    <a:pt x="469" y="512"/>
                  </a:cubicBezTo>
                  <a:cubicBezTo>
                    <a:pt x="473" y="516"/>
                    <a:pt x="476" y="521"/>
                    <a:pt x="478" y="526"/>
                  </a:cubicBezTo>
                  <a:cubicBezTo>
                    <a:pt x="481" y="532"/>
                    <a:pt x="482" y="539"/>
                    <a:pt x="482" y="547"/>
                  </a:cubicBezTo>
                  <a:cubicBezTo>
                    <a:pt x="482" y="547"/>
                    <a:pt x="482" y="547"/>
                    <a:pt x="482" y="547"/>
                  </a:cubicBezTo>
                  <a:cubicBezTo>
                    <a:pt x="482" y="549"/>
                    <a:pt x="482" y="550"/>
                    <a:pt x="482" y="552"/>
                  </a:cubicBezTo>
                  <a:cubicBezTo>
                    <a:pt x="482" y="552"/>
                    <a:pt x="483" y="552"/>
                    <a:pt x="483" y="552"/>
                  </a:cubicBezTo>
                  <a:cubicBezTo>
                    <a:pt x="486" y="551"/>
                    <a:pt x="490" y="551"/>
                    <a:pt x="493" y="552"/>
                  </a:cubicBezTo>
                  <a:cubicBezTo>
                    <a:pt x="493" y="552"/>
                    <a:pt x="494" y="552"/>
                    <a:pt x="494" y="552"/>
                  </a:cubicBezTo>
                  <a:cubicBezTo>
                    <a:pt x="498" y="552"/>
                    <a:pt x="501" y="553"/>
                    <a:pt x="504" y="554"/>
                  </a:cubicBezTo>
                  <a:cubicBezTo>
                    <a:pt x="505" y="555"/>
                    <a:pt x="506" y="555"/>
                    <a:pt x="506" y="555"/>
                  </a:cubicBezTo>
                  <a:cubicBezTo>
                    <a:pt x="510" y="556"/>
                    <a:pt x="513" y="558"/>
                    <a:pt x="516" y="560"/>
                  </a:cubicBezTo>
                  <a:cubicBezTo>
                    <a:pt x="516" y="560"/>
                    <a:pt x="517" y="560"/>
                    <a:pt x="517" y="561"/>
                  </a:cubicBezTo>
                  <a:cubicBezTo>
                    <a:pt x="520" y="563"/>
                    <a:pt x="523" y="565"/>
                    <a:pt x="526" y="567"/>
                  </a:cubicBezTo>
                  <a:cubicBezTo>
                    <a:pt x="536" y="578"/>
                    <a:pt x="542" y="591"/>
                    <a:pt x="542" y="606"/>
                  </a:cubicBezTo>
                  <a:cubicBezTo>
                    <a:pt x="542" y="610"/>
                    <a:pt x="541" y="613"/>
                    <a:pt x="541" y="616"/>
                  </a:cubicBezTo>
                  <a:cubicBezTo>
                    <a:pt x="541" y="618"/>
                    <a:pt x="540" y="619"/>
                    <a:pt x="540" y="620"/>
                  </a:cubicBezTo>
                  <a:cubicBezTo>
                    <a:pt x="539" y="622"/>
                    <a:pt x="539" y="624"/>
                    <a:pt x="538" y="626"/>
                  </a:cubicBezTo>
                  <a:cubicBezTo>
                    <a:pt x="537" y="628"/>
                    <a:pt x="537" y="629"/>
                    <a:pt x="536" y="630"/>
                  </a:cubicBezTo>
                  <a:cubicBezTo>
                    <a:pt x="535" y="632"/>
                    <a:pt x="534" y="634"/>
                    <a:pt x="533" y="635"/>
                  </a:cubicBezTo>
                  <a:cubicBezTo>
                    <a:pt x="533" y="637"/>
                    <a:pt x="532" y="638"/>
                    <a:pt x="531" y="639"/>
                  </a:cubicBezTo>
                  <a:cubicBezTo>
                    <a:pt x="530" y="640"/>
                    <a:pt x="529" y="641"/>
                    <a:pt x="529" y="642"/>
                  </a:cubicBezTo>
                  <a:cubicBezTo>
                    <a:pt x="531" y="643"/>
                    <a:pt x="534" y="643"/>
                    <a:pt x="537" y="645"/>
                  </a:cubicBezTo>
                  <a:cubicBezTo>
                    <a:pt x="537" y="645"/>
                    <a:pt x="538" y="645"/>
                    <a:pt x="539" y="645"/>
                  </a:cubicBezTo>
                  <a:cubicBezTo>
                    <a:pt x="541" y="646"/>
                    <a:pt x="543" y="648"/>
                    <a:pt x="546" y="649"/>
                  </a:cubicBezTo>
                  <a:cubicBezTo>
                    <a:pt x="546" y="649"/>
                    <a:pt x="547" y="650"/>
                    <a:pt x="548" y="650"/>
                  </a:cubicBezTo>
                  <a:cubicBezTo>
                    <a:pt x="551" y="652"/>
                    <a:pt x="553" y="654"/>
                    <a:pt x="556" y="657"/>
                  </a:cubicBezTo>
                  <a:cubicBezTo>
                    <a:pt x="645" y="746"/>
                    <a:pt x="645" y="746"/>
                    <a:pt x="645" y="746"/>
                  </a:cubicBezTo>
                  <a:cubicBezTo>
                    <a:pt x="656" y="757"/>
                    <a:pt x="676" y="757"/>
                    <a:pt x="687" y="746"/>
                  </a:cubicBezTo>
                  <a:cubicBezTo>
                    <a:pt x="698" y="735"/>
                    <a:pt x="698" y="716"/>
                    <a:pt x="687" y="705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716" y="698"/>
                    <a:pt x="735" y="698"/>
                    <a:pt x="746" y="687"/>
                  </a:cubicBezTo>
                  <a:cubicBezTo>
                    <a:pt x="752" y="681"/>
                    <a:pt x="755" y="674"/>
                    <a:pt x="755" y="666"/>
                  </a:cubicBezTo>
                  <a:cubicBezTo>
                    <a:pt x="755" y="658"/>
                    <a:pt x="752" y="650"/>
                    <a:pt x="746" y="645"/>
                  </a:cubicBezTo>
                  <a:cubicBezTo>
                    <a:pt x="716" y="615"/>
                    <a:pt x="716" y="615"/>
                    <a:pt x="716" y="615"/>
                  </a:cubicBezTo>
                  <a:cubicBezTo>
                    <a:pt x="734" y="597"/>
                    <a:pt x="734" y="597"/>
                    <a:pt x="734" y="597"/>
                  </a:cubicBezTo>
                  <a:cubicBezTo>
                    <a:pt x="740" y="603"/>
                    <a:pt x="747" y="606"/>
                    <a:pt x="755" y="606"/>
                  </a:cubicBezTo>
                  <a:cubicBezTo>
                    <a:pt x="755" y="606"/>
                    <a:pt x="755" y="606"/>
                    <a:pt x="755" y="606"/>
                  </a:cubicBezTo>
                  <a:cubicBezTo>
                    <a:pt x="763" y="606"/>
                    <a:pt x="770" y="603"/>
                    <a:pt x="776" y="597"/>
                  </a:cubicBezTo>
                  <a:cubicBezTo>
                    <a:pt x="787" y="586"/>
                    <a:pt x="787" y="567"/>
                    <a:pt x="776" y="556"/>
                  </a:cubicBezTo>
                  <a:close/>
                  <a:moveTo>
                    <a:pt x="886" y="368"/>
                  </a:moveTo>
                  <a:cubicBezTo>
                    <a:pt x="776" y="258"/>
                    <a:pt x="776" y="258"/>
                    <a:pt x="776" y="258"/>
                  </a:cubicBezTo>
                  <a:cubicBezTo>
                    <a:pt x="666" y="147"/>
                    <a:pt x="666" y="147"/>
                    <a:pt x="666" y="147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436" y="377"/>
                    <a:pt x="436" y="377"/>
                    <a:pt x="436" y="377"/>
                  </a:cubicBezTo>
                  <a:cubicBezTo>
                    <a:pt x="433" y="380"/>
                    <a:pt x="431" y="383"/>
                    <a:pt x="430" y="387"/>
                  </a:cubicBezTo>
                  <a:cubicBezTo>
                    <a:pt x="429" y="390"/>
                    <a:pt x="428" y="394"/>
                    <a:pt x="428" y="398"/>
                  </a:cubicBezTo>
                  <a:cubicBezTo>
                    <a:pt x="428" y="402"/>
                    <a:pt x="429" y="406"/>
                    <a:pt x="431" y="410"/>
                  </a:cubicBezTo>
                  <a:cubicBezTo>
                    <a:pt x="432" y="413"/>
                    <a:pt x="434" y="416"/>
                    <a:pt x="436" y="418"/>
                  </a:cubicBezTo>
                  <a:cubicBezTo>
                    <a:pt x="442" y="424"/>
                    <a:pt x="449" y="427"/>
                    <a:pt x="457" y="427"/>
                  </a:cubicBezTo>
                  <a:cubicBezTo>
                    <a:pt x="457" y="427"/>
                    <a:pt x="457" y="427"/>
                    <a:pt x="457" y="427"/>
                  </a:cubicBezTo>
                  <a:cubicBezTo>
                    <a:pt x="461" y="427"/>
                    <a:pt x="465" y="426"/>
                    <a:pt x="469" y="425"/>
                  </a:cubicBezTo>
                  <a:cubicBezTo>
                    <a:pt x="469" y="425"/>
                    <a:pt x="469" y="425"/>
                    <a:pt x="469" y="425"/>
                  </a:cubicBezTo>
                  <a:cubicBezTo>
                    <a:pt x="471" y="424"/>
                    <a:pt x="472" y="423"/>
                    <a:pt x="474" y="422"/>
                  </a:cubicBezTo>
                  <a:cubicBezTo>
                    <a:pt x="475" y="422"/>
                    <a:pt x="475" y="421"/>
                    <a:pt x="476" y="420"/>
                  </a:cubicBezTo>
                  <a:cubicBezTo>
                    <a:pt x="477" y="419"/>
                    <a:pt x="478" y="419"/>
                    <a:pt x="478" y="418"/>
                  </a:cubicBezTo>
                  <a:cubicBezTo>
                    <a:pt x="527" y="369"/>
                    <a:pt x="527" y="369"/>
                    <a:pt x="527" y="369"/>
                  </a:cubicBezTo>
                  <a:cubicBezTo>
                    <a:pt x="576" y="320"/>
                    <a:pt x="576" y="320"/>
                    <a:pt x="576" y="320"/>
                  </a:cubicBezTo>
                  <a:cubicBezTo>
                    <a:pt x="755" y="499"/>
                    <a:pt x="755" y="499"/>
                    <a:pt x="755" y="499"/>
                  </a:cubicBezTo>
                  <a:lnTo>
                    <a:pt x="886" y="368"/>
                  </a:lnTo>
                  <a:close/>
                  <a:moveTo>
                    <a:pt x="89" y="290"/>
                  </a:moveTo>
                  <a:cubicBezTo>
                    <a:pt x="118" y="319"/>
                    <a:pt x="118" y="319"/>
                    <a:pt x="118" y="319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18" y="260"/>
                    <a:pt x="118" y="260"/>
                    <a:pt x="118" y="260"/>
                  </a:cubicBezTo>
                  <a:lnTo>
                    <a:pt x="89" y="290"/>
                  </a:lnTo>
                  <a:close/>
                  <a:moveTo>
                    <a:pt x="945" y="290"/>
                  </a:moveTo>
                  <a:cubicBezTo>
                    <a:pt x="915" y="260"/>
                    <a:pt x="915" y="260"/>
                    <a:pt x="915" y="260"/>
                  </a:cubicBezTo>
                  <a:cubicBezTo>
                    <a:pt x="886" y="290"/>
                    <a:pt x="886" y="290"/>
                    <a:pt x="886" y="290"/>
                  </a:cubicBezTo>
                  <a:cubicBezTo>
                    <a:pt x="915" y="319"/>
                    <a:pt x="915" y="319"/>
                    <a:pt x="915" y="319"/>
                  </a:cubicBezTo>
                  <a:lnTo>
                    <a:pt x="945" y="2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843500" y="3698703"/>
            <a:ext cx="516407" cy="516406"/>
            <a:chOff x="5843500" y="3698703"/>
            <a:chExt cx="516407" cy="516406"/>
          </a:xfrm>
        </p:grpSpPr>
        <p:sp>
          <p:nvSpPr>
            <p:cNvPr id="53" name="Oval 15"/>
            <p:cNvSpPr>
              <a:spLocks noChangeArrowheads="1"/>
            </p:cNvSpPr>
            <p:nvPr/>
          </p:nvSpPr>
          <p:spPr bwMode="auto">
            <a:xfrm>
              <a:off x="5843500" y="3698703"/>
              <a:ext cx="516407" cy="516406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6" name="Freeform 39"/>
            <p:cNvSpPr>
              <a:spLocks noEditPoints="1"/>
            </p:cNvSpPr>
            <p:nvPr/>
          </p:nvSpPr>
          <p:spPr bwMode="auto">
            <a:xfrm>
              <a:off x="5925597" y="3874526"/>
              <a:ext cx="308795" cy="159707"/>
            </a:xfrm>
            <a:custGeom>
              <a:avLst/>
              <a:gdLst>
                <a:gd name="T0" fmla="*/ 920 w 921"/>
                <a:gd name="T1" fmla="*/ 173 h 475"/>
                <a:gd name="T2" fmla="*/ 686 w 921"/>
                <a:gd name="T3" fmla="*/ 12 h 475"/>
                <a:gd name="T4" fmla="*/ 224 w 921"/>
                <a:gd name="T5" fmla="*/ 60 h 475"/>
                <a:gd name="T6" fmla="*/ 333 w 921"/>
                <a:gd name="T7" fmla="*/ 418 h 475"/>
                <a:gd name="T8" fmla="*/ 673 w 921"/>
                <a:gd name="T9" fmla="*/ 418 h 475"/>
                <a:gd name="T10" fmla="*/ 864 w 921"/>
                <a:gd name="T11" fmla="*/ 418 h 475"/>
                <a:gd name="T12" fmla="*/ 920 w 921"/>
                <a:gd name="T13" fmla="*/ 231 h 475"/>
                <a:gd name="T14" fmla="*/ 895 w 921"/>
                <a:gd name="T15" fmla="*/ 214 h 475"/>
                <a:gd name="T16" fmla="*/ 828 w 921"/>
                <a:gd name="T17" fmla="*/ 107 h 475"/>
                <a:gd name="T18" fmla="*/ 704 w 921"/>
                <a:gd name="T19" fmla="*/ 214 h 475"/>
                <a:gd name="T20" fmla="*/ 704 w 921"/>
                <a:gd name="T21" fmla="*/ 107 h 475"/>
                <a:gd name="T22" fmla="*/ 661 w 921"/>
                <a:gd name="T23" fmla="*/ 25 h 475"/>
                <a:gd name="T24" fmla="*/ 483 w 921"/>
                <a:gd name="T25" fmla="*/ 392 h 475"/>
                <a:gd name="T26" fmla="*/ 479 w 921"/>
                <a:gd name="T27" fmla="*/ 373 h 475"/>
                <a:gd name="T28" fmla="*/ 469 w 921"/>
                <a:gd name="T29" fmla="*/ 354 h 475"/>
                <a:gd name="T30" fmla="*/ 454 w 921"/>
                <a:gd name="T31" fmla="*/ 338 h 475"/>
                <a:gd name="T32" fmla="*/ 436 w 921"/>
                <a:gd name="T33" fmla="*/ 327 h 475"/>
                <a:gd name="T34" fmla="*/ 407 w 921"/>
                <a:gd name="T35" fmla="*/ 322 h 475"/>
                <a:gd name="T36" fmla="*/ 378 w 921"/>
                <a:gd name="T37" fmla="*/ 327 h 475"/>
                <a:gd name="T38" fmla="*/ 360 w 921"/>
                <a:gd name="T39" fmla="*/ 338 h 475"/>
                <a:gd name="T40" fmla="*/ 345 w 921"/>
                <a:gd name="T41" fmla="*/ 354 h 475"/>
                <a:gd name="T42" fmla="*/ 335 w 921"/>
                <a:gd name="T43" fmla="*/ 373 h 475"/>
                <a:gd name="T44" fmla="*/ 331 w 921"/>
                <a:gd name="T45" fmla="*/ 392 h 475"/>
                <a:gd name="T46" fmla="*/ 407 w 921"/>
                <a:gd name="T47" fmla="*/ 449 h 475"/>
                <a:gd name="T48" fmla="*/ 407 w 921"/>
                <a:gd name="T49" fmla="*/ 347 h 475"/>
                <a:gd name="T50" fmla="*/ 407 w 921"/>
                <a:gd name="T51" fmla="*/ 449 h 475"/>
                <a:gd name="T52" fmla="*/ 740 w 921"/>
                <a:gd name="T53" fmla="*/ 398 h 475"/>
                <a:gd name="T54" fmla="*/ 842 w 921"/>
                <a:gd name="T55" fmla="*/ 404 h 475"/>
                <a:gd name="T56" fmla="*/ 866 w 921"/>
                <a:gd name="T57" fmla="*/ 387 h 475"/>
                <a:gd name="T58" fmla="*/ 860 w 921"/>
                <a:gd name="T59" fmla="*/ 367 h 475"/>
                <a:gd name="T60" fmla="*/ 848 w 921"/>
                <a:gd name="T61" fmla="*/ 348 h 475"/>
                <a:gd name="T62" fmla="*/ 833 w 921"/>
                <a:gd name="T63" fmla="*/ 334 h 475"/>
                <a:gd name="T64" fmla="*/ 811 w 921"/>
                <a:gd name="T65" fmla="*/ 325 h 475"/>
                <a:gd name="T66" fmla="*/ 776 w 921"/>
                <a:gd name="T67" fmla="*/ 323 h 475"/>
                <a:gd name="T68" fmla="*/ 756 w 921"/>
                <a:gd name="T69" fmla="*/ 330 h 475"/>
                <a:gd name="T70" fmla="*/ 738 w 921"/>
                <a:gd name="T71" fmla="*/ 343 h 475"/>
                <a:gd name="T72" fmla="*/ 725 w 921"/>
                <a:gd name="T73" fmla="*/ 360 h 475"/>
                <a:gd name="T74" fmla="*/ 716 w 921"/>
                <a:gd name="T75" fmla="*/ 381 h 475"/>
                <a:gd name="T76" fmla="*/ 686 w 921"/>
                <a:gd name="T77" fmla="*/ 392 h 475"/>
                <a:gd name="T78" fmla="*/ 716 w 921"/>
                <a:gd name="T79" fmla="*/ 239 h 475"/>
                <a:gd name="T80" fmla="*/ 895 w 921"/>
                <a:gd name="T81" fmla="*/ 392 h 475"/>
                <a:gd name="T82" fmla="*/ 187 w 921"/>
                <a:gd name="T83" fmla="*/ 218 h 475"/>
                <a:gd name="T84" fmla="*/ 12 w 921"/>
                <a:gd name="T85" fmla="*/ 192 h 475"/>
                <a:gd name="T86" fmla="*/ 199 w 921"/>
                <a:gd name="T87" fmla="*/ 133 h 475"/>
                <a:gd name="T88" fmla="*/ 85 w 921"/>
                <a:gd name="T89" fmla="*/ 133 h 475"/>
                <a:gd name="T90" fmla="*/ 199 w 921"/>
                <a:gd name="T91" fmla="*/ 133 h 475"/>
                <a:gd name="T92" fmla="*/ 98 w 921"/>
                <a:gd name="T93" fmla="*/ 290 h 475"/>
                <a:gd name="T94" fmla="*/ 187 w 921"/>
                <a:gd name="T95" fmla="*/ 264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1" h="475">
                  <a:moveTo>
                    <a:pt x="921" y="226"/>
                  </a:moveTo>
                  <a:cubicBezTo>
                    <a:pt x="921" y="225"/>
                    <a:pt x="921" y="223"/>
                    <a:pt x="920" y="222"/>
                  </a:cubicBezTo>
                  <a:cubicBezTo>
                    <a:pt x="920" y="173"/>
                    <a:pt x="920" y="173"/>
                    <a:pt x="920" y="173"/>
                  </a:cubicBezTo>
                  <a:cubicBezTo>
                    <a:pt x="920" y="123"/>
                    <a:pt x="879" y="82"/>
                    <a:pt x="828" y="82"/>
                  </a:cubicBezTo>
                  <a:cubicBezTo>
                    <a:pt x="686" y="82"/>
                    <a:pt x="686" y="82"/>
                    <a:pt x="686" y="82"/>
                  </a:cubicBezTo>
                  <a:cubicBezTo>
                    <a:pt x="686" y="12"/>
                    <a:pt x="686" y="12"/>
                    <a:pt x="686" y="12"/>
                  </a:cubicBezTo>
                  <a:cubicBezTo>
                    <a:pt x="686" y="5"/>
                    <a:pt x="680" y="0"/>
                    <a:pt x="673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51" y="0"/>
                    <a:pt x="224" y="27"/>
                    <a:pt x="224" y="60"/>
                  </a:cubicBezTo>
                  <a:cubicBezTo>
                    <a:pt x="224" y="405"/>
                    <a:pt x="224" y="405"/>
                    <a:pt x="224" y="405"/>
                  </a:cubicBezTo>
                  <a:cubicBezTo>
                    <a:pt x="224" y="412"/>
                    <a:pt x="230" y="418"/>
                    <a:pt x="237" y="418"/>
                  </a:cubicBezTo>
                  <a:cubicBezTo>
                    <a:pt x="333" y="418"/>
                    <a:pt x="333" y="418"/>
                    <a:pt x="333" y="418"/>
                  </a:cubicBezTo>
                  <a:cubicBezTo>
                    <a:pt x="342" y="451"/>
                    <a:pt x="372" y="475"/>
                    <a:pt x="407" y="475"/>
                  </a:cubicBezTo>
                  <a:cubicBezTo>
                    <a:pt x="442" y="475"/>
                    <a:pt x="472" y="451"/>
                    <a:pt x="481" y="418"/>
                  </a:cubicBezTo>
                  <a:cubicBezTo>
                    <a:pt x="673" y="418"/>
                    <a:pt x="673" y="418"/>
                    <a:pt x="673" y="418"/>
                  </a:cubicBezTo>
                  <a:cubicBezTo>
                    <a:pt x="717" y="418"/>
                    <a:pt x="717" y="418"/>
                    <a:pt x="717" y="418"/>
                  </a:cubicBezTo>
                  <a:cubicBezTo>
                    <a:pt x="726" y="451"/>
                    <a:pt x="756" y="475"/>
                    <a:pt x="791" y="475"/>
                  </a:cubicBezTo>
                  <a:cubicBezTo>
                    <a:pt x="826" y="475"/>
                    <a:pt x="856" y="451"/>
                    <a:pt x="864" y="418"/>
                  </a:cubicBezTo>
                  <a:cubicBezTo>
                    <a:pt x="907" y="418"/>
                    <a:pt x="907" y="418"/>
                    <a:pt x="907" y="418"/>
                  </a:cubicBezTo>
                  <a:cubicBezTo>
                    <a:pt x="914" y="418"/>
                    <a:pt x="920" y="412"/>
                    <a:pt x="920" y="405"/>
                  </a:cubicBezTo>
                  <a:cubicBezTo>
                    <a:pt x="920" y="231"/>
                    <a:pt x="920" y="231"/>
                    <a:pt x="920" y="231"/>
                  </a:cubicBezTo>
                  <a:cubicBezTo>
                    <a:pt x="921" y="229"/>
                    <a:pt x="921" y="228"/>
                    <a:pt x="921" y="226"/>
                  </a:cubicBezTo>
                  <a:close/>
                  <a:moveTo>
                    <a:pt x="895" y="173"/>
                  </a:moveTo>
                  <a:cubicBezTo>
                    <a:pt x="895" y="214"/>
                    <a:pt x="895" y="214"/>
                    <a:pt x="895" y="214"/>
                  </a:cubicBezTo>
                  <a:cubicBezTo>
                    <a:pt x="729" y="214"/>
                    <a:pt x="729" y="214"/>
                    <a:pt x="729" y="214"/>
                  </a:cubicBezTo>
                  <a:cubicBezTo>
                    <a:pt x="729" y="107"/>
                    <a:pt x="729" y="107"/>
                    <a:pt x="729" y="107"/>
                  </a:cubicBezTo>
                  <a:cubicBezTo>
                    <a:pt x="828" y="107"/>
                    <a:pt x="828" y="107"/>
                    <a:pt x="828" y="107"/>
                  </a:cubicBezTo>
                  <a:cubicBezTo>
                    <a:pt x="865" y="107"/>
                    <a:pt x="895" y="137"/>
                    <a:pt x="895" y="173"/>
                  </a:cubicBezTo>
                  <a:close/>
                  <a:moveTo>
                    <a:pt x="704" y="107"/>
                  </a:moveTo>
                  <a:cubicBezTo>
                    <a:pt x="704" y="214"/>
                    <a:pt x="704" y="214"/>
                    <a:pt x="704" y="214"/>
                  </a:cubicBezTo>
                  <a:cubicBezTo>
                    <a:pt x="686" y="214"/>
                    <a:pt x="686" y="214"/>
                    <a:pt x="686" y="214"/>
                  </a:cubicBezTo>
                  <a:cubicBezTo>
                    <a:pt x="686" y="107"/>
                    <a:pt x="686" y="107"/>
                    <a:pt x="686" y="107"/>
                  </a:cubicBezTo>
                  <a:lnTo>
                    <a:pt x="704" y="107"/>
                  </a:lnTo>
                  <a:close/>
                  <a:moveTo>
                    <a:pt x="250" y="60"/>
                  </a:moveTo>
                  <a:cubicBezTo>
                    <a:pt x="250" y="41"/>
                    <a:pt x="265" y="25"/>
                    <a:pt x="284" y="25"/>
                  </a:cubicBezTo>
                  <a:cubicBezTo>
                    <a:pt x="661" y="25"/>
                    <a:pt x="661" y="25"/>
                    <a:pt x="661" y="25"/>
                  </a:cubicBezTo>
                  <a:cubicBezTo>
                    <a:pt x="661" y="94"/>
                    <a:pt x="661" y="94"/>
                    <a:pt x="661" y="94"/>
                  </a:cubicBezTo>
                  <a:cubicBezTo>
                    <a:pt x="661" y="392"/>
                    <a:pt x="661" y="392"/>
                    <a:pt x="661" y="392"/>
                  </a:cubicBezTo>
                  <a:cubicBezTo>
                    <a:pt x="483" y="392"/>
                    <a:pt x="483" y="392"/>
                    <a:pt x="483" y="392"/>
                  </a:cubicBezTo>
                  <a:cubicBezTo>
                    <a:pt x="483" y="391"/>
                    <a:pt x="483" y="389"/>
                    <a:pt x="483" y="387"/>
                  </a:cubicBezTo>
                  <a:cubicBezTo>
                    <a:pt x="482" y="385"/>
                    <a:pt x="482" y="383"/>
                    <a:pt x="481" y="381"/>
                  </a:cubicBezTo>
                  <a:cubicBezTo>
                    <a:pt x="481" y="378"/>
                    <a:pt x="480" y="375"/>
                    <a:pt x="479" y="373"/>
                  </a:cubicBezTo>
                  <a:cubicBezTo>
                    <a:pt x="478" y="371"/>
                    <a:pt x="478" y="369"/>
                    <a:pt x="477" y="367"/>
                  </a:cubicBezTo>
                  <a:cubicBezTo>
                    <a:pt x="476" y="364"/>
                    <a:pt x="474" y="362"/>
                    <a:pt x="473" y="360"/>
                  </a:cubicBezTo>
                  <a:cubicBezTo>
                    <a:pt x="472" y="358"/>
                    <a:pt x="471" y="356"/>
                    <a:pt x="469" y="354"/>
                  </a:cubicBezTo>
                  <a:cubicBezTo>
                    <a:pt x="468" y="352"/>
                    <a:pt x="466" y="350"/>
                    <a:pt x="464" y="348"/>
                  </a:cubicBezTo>
                  <a:cubicBezTo>
                    <a:pt x="463" y="346"/>
                    <a:pt x="462" y="345"/>
                    <a:pt x="460" y="343"/>
                  </a:cubicBezTo>
                  <a:cubicBezTo>
                    <a:pt x="458" y="341"/>
                    <a:pt x="456" y="340"/>
                    <a:pt x="454" y="338"/>
                  </a:cubicBezTo>
                  <a:cubicBezTo>
                    <a:pt x="452" y="337"/>
                    <a:pt x="451" y="335"/>
                    <a:pt x="449" y="334"/>
                  </a:cubicBezTo>
                  <a:cubicBezTo>
                    <a:pt x="447" y="333"/>
                    <a:pt x="444" y="331"/>
                    <a:pt x="441" y="330"/>
                  </a:cubicBezTo>
                  <a:cubicBezTo>
                    <a:pt x="440" y="329"/>
                    <a:pt x="438" y="328"/>
                    <a:pt x="436" y="327"/>
                  </a:cubicBezTo>
                  <a:cubicBezTo>
                    <a:pt x="433" y="326"/>
                    <a:pt x="430" y="325"/>
                    <a:pt x="427" y="325"/>
                  </a:cubicBezTo>
                  <a:cubicBezTo>
                    <a:pt x="425" y="324"/>
                    <a:pt x="424" y="324"/>
                    <a:pt x="422" y="323"/>
                  </a:cubicBezTo>
                  <a:cubicBezTo>
                    <a:pt x="417" y="322"/>
                    <a:pt x="412" y="322"/>
                    <a:pt x="407" y="322"/>
                  </a:cubicBezTo>
                  <a:cubicBezTo>
                    <a:pt x="402" y="322"/>
                    <a:pt x="397" y="322"/>
                    <a:pt x="392" y="323"/>
                  </a:cubicBezTo>
                  <a:cubicBezTo>
                    <a:pt x="390" y="324"/>
                    <a:pt x="389" y="324"/>
                    <a:pt x="387" y="325"/>
                  </a:cubicBezTo>
                  <a:cubicBezTo>
                    <a:pt x="384" y="325"/>
                    <a:pt x="381" y="326"/>
                    <a:pt x="378" y="327"/>
                  </a:cubicBezTo>
                  <a:cubicBezTo>
                    <a:pt x="376" y="328"/>
                    <a:pt x="375" y="329"/>
                    <a:pt x="373" y="330"/>
                  </a:cubicBezTo>
                  <a:cubicBezTo>
                    <a:pt x="370" y="331"/>
                    <a:pt x="368" y="333"/>
                    <a:pt x="365" y="334"/>
                  </a:cubicBezTo>
                  <a:cubicBezTo>
                    <a:pt x="364" y="335"/>
                    <a:pt x="362" y="337"/>
                    <a:pt x="360" y="338"/>
                  </a:cubicBezTo>
                  <a:cubicBezTo>
                    <a:pt x="358" y="340"/>
                    <a:pt x="356" y="341"/>
                    <a:pt x="354" y="343"/>
                  </a:cubicBezTo>
                  <a:cubicBezTo>
                    <a:pt x="353" y="345"/>
                    <a:pt x="351" y="346"/>
                    <a:pt x="350" y="348"/>
                  </a:cubicBezTo>
                  <a:cubicBezTo>
                    <a:pt x="348" y="350"/>
                    <a:pt x="346" y="352"/>
                    <a:pt x="345" y="354"/>
                  </a:cubicBezTo>
                  <a:cubicBezTo>
                    <a:pt x="344" y="356"/>
                    <a:pt x="342" y="358"/>
                    <a:pt x="341" y="360"/>
                  </a:cubicBezTo>
                  <a:cubicBezTo>
                    <a:pt x="340" y="362"/>
                    <a:pt x="339" y="364"/>
                    <a:pt x="338" y="367"/>
                  </a:cubicBezTo>
                  <a:cubicBezTo>
                    <a:pt x="337" y="369"/>
                    <a:pt x="336" y="371"/>
                    <a:pt x="335" y="373"/>
                  </a:cubicBezTo>
                  <a:cubicBezTo>
                    <a:pt x="334" y="375"/>
                    <a:pt x="334" y="378"/>
                    <a:pt x="333" y="381"/>
                  </a:cubicBezTo>
                  <a:cubicBezTo>
                    <a:pt x="332" y="383"/>
                    <a:pt x="332" y="385"/>
                    <a:pt x="332" y="387"/>
                  </a:cubicBezTo>
                  <a:cubicBezTo>
                    <a:pt x="331" y="389"/>
                    <a:pt x="331" y="391"/>
                    <a:pt x="331" y="392"/>
                  </a:cubicBezTo>
                  <a:cubicBezTo>
                    <a:pt x="250" y="392"/>
                    <a:pt x="250" y="392"/>
                    <a:pt x="250" y="392"/>
                  </a:cubicBezTo>
                  <a:lnTo>
                    <a:pt x="250" y="60"/>
                  </a:lnTo>
                  <a:close/>
                  <a:moveTo>
                    <a:pt x="407" y="449"/>
                  </a:moveTo>
                  <a:cubicBezTo>
                    <a:pt x="381" y="449"/>
                    <a:pt x="359" y="430"/>
                    <a:pt x="356" y="404"/>
                  </a:cubicBezTo>
                  <a:cubicBezTo>
                    <a:pt x="356" y="402"/>
                    <a:pt x="356" y="400"/>
                    <a:pt x="356" y="398"/>
                  </a:cubicBezTo>
                  <a:cubicBezTo>
                    <a:pt x="356" y="370"/>
                    <a:pt x="379" y="347"/>
                    <a:pt x="407" y="347"/>
                  </a:cubicBezTo>
                  <a:cubicBezTo>
                    <a:pt x="435" y="347"/>
                    <a:pt x="458" y="370"/>
                    <a:pt x="458" y="398"/>
                  </a:cubicBezTo>
                  <a:cubicBezTo>
                    <a:pt x="458" y="400"/>
                    <a:pt x="458" y="402"/>
                    <a:pt x="458" y="404"/>
                  </a:cubicBezTo>
                  <a:cubicBezTo>
                    <a:pt x="455" y="430"/>
                    <a:pt x="433" y="449"/>
                    <a:pt x="407" y="449"/>
                  </a:cubicBezTo>
                  <a:close/>
                  <a:moveTo>
                    <a:pt x="791" y="449"/>
                  </a:moveTo>
                  <a:cubicBezTo>
                    <a:pt x="765" y="449"/>
                    <a:pt x="743" y="430"/>
                    <a:pt x="740" y="404"/>
                  </a:cubicBezTo>
                  <a:cubicBezTo>
                    <a:pt x="740" y="402"/>
                    <a:pt x="740" y="400"/>
                    <a:pt x="740" y="398"/>
                  </a:cubicBezTo>
                  <a:cubicBezTo>
                    <a:pt x="740" y="370"/>
                    <a:pt x="763" y="347"/>
                    <a:pt x="791" y="347"/>
                  </a:cubicBezTo>
                  <a:cubicBezTo>
                    <a:pt x="819" y="347"/>
                    <a:pt x="842" y="370"/>
                    <a:pt x="842" y="398"/>
                  </a:cubicBezTo>
                  <a:cubicBezTo>
                    <a:pt x="842" y="400"/>
                    <a:pt x="842" y="402"/>
                    <a:pt x="842" y="404"/>
                  </a:cubicBezTo>
                  <a:cubicBezTo>
                    <a:pt x="839" y="430"/>
                    <a:pt x="817" y="449"/>
                    <a:pt x="791" y="449"/>
                  </a:cubicBezTo>
                  <a:close/>
                  <a:moveTo>
                    <a:pt x="867" y="392"/>
                  </a:moveTo>
                  <a:cubicBezTo>
                    <a:pt x="867" y="391"/>
                    <a:pt x="866" y="389"/>
                    <a:pt x="866" y="387"/>
                  </a:cubicBezTo>
                  <a:cubicBezTo>
                    <a:pt x="866" y="385"/>
                    <a:pt x="866" y="383"/>
                    <a:pt x="865" y="381"/>
                  </a:cubicBezTo>
                  <a:cubicBezTo>
                    <a:pt x="864" y="378"/>
                    <a:pt x="864" y="375"/>
                    <a:pt x="863" y="373"/>
                  </a:cubicBezTo>
                  <a:cubicBezTo>
                    <a:pt x="862" y="371"/>
                    <a:pt x="861" y="369"/>
                    <a:pt x="860" y="367"/>
                  </a:cubicBezTo>
                  <a:cubicBezTo>
                    <a:pt x="859" y="364"/>
                    <a:pt x="858" y="362"/>
                    <a:pt x="856" y="360"/>
                  </a:cubicBezTo>
                  <a:cubicBezTo>
                    <a:pt x="855" y="358"/>
                    <a:pt x="854" y="356"/>
                    <a:pt x="853" y="354"/>
                  </a:cubicBezTo>
                  <a:cubicBezTo>
                    <a:pt x="852" y="352"/>
                    <a:pt x="850" y="350"/>
                    <a:pt x="848" y="348"/>
                  </a:cubicBezTo>
                  <a:cubicBezTo>
                    <a:pt x="847" y="346"/>
                    <a:pt x="845" y="345"/>
                    <a:pt x="844" y="343"/>
                  </a:cubicBezTo>
                  <a:cubicBezTo>
                    <a:pt x="842" y="341"/>
                    <a:pt x="840" y="340"/>
                    <a:pt x="838" y="338"/>
                  </a:cubicBezTo>
                  <a:cubicBezTo>
                    <a:pt x="836" y="337"/>
                    <a:pt x="834" y="335"/>
                    <a:pt x="833" y="334"/>
                  </a:cubicBezTo>
                  <a:cubicBezTo>
                    <a:pt x="830" y="333"/>
                    <a:pt x="828" y="331"/>
                    <a:pt x="825" y="330"/>
                  </a:cubicBezTo>
                  <a:cubicBezTo>
                    <a:pt x="823" y="329"/>
                    <a:pt x="822" y="328"/>
                    <a:pt x="820" y="327"/>
                  </a:cubicBezTo>
                  <a:cubicBezTo>
                    <a:pt x="817" y="326"/>
                    <a:pt x="814" y="325"/>
                    <a:pt x="811" y="325"/>
                  </a:cubicBezTo>
                  <a:cubicBezTo>
                    <a:pt x="809" y="324"/>
                    <a:pt x="807" y="324"/>
                    <a:pt x="806" y="323"/>
                  </a:cubicBezTo>
                  <a:cubicBezTo>
                    <a:pt x="801" y="322"/>
                    <a:pt x="796" y="322"/>
                    <a:pt x="791" y="322"/>
                  </a:cubicBezTo>
                  <a:cubicBezTo>
                    <a:pt x="786" y="322"/>
                    <a:pt x="781" y="322"/>
                    <a:pt x="776" y="323"/>
                  </a:cubicBezTo>
                  <a:cubicBezTo>
                    <a:pt x="774" y="324"/>
                    <a:pt x="772" y="324"/>
                    <a:pt x="771" y="325"/>
                  </a:cubicBezTo>
                  <a:cubicBezTo>
                    <a:pt x="768" y="325"/>
                    <a:pt x="765" y="326"/>
                    <a:pt x="762" y="327"/>
                  </a:cubicBezTo>
                  <a:cubicBezTo>
                    <a:pt x="760" y="328"/>
                    <a:pt x="758" y="329"/>
                    <a:pt x="756" y="330"/>
                  </a:cubicBezTo>
                  <a:cubicBezTo>
                    <a:pt x="754" y="331"/>
                    <a:pt x="751" y="333"/>
                    <a:pt x="749" y="334"/>
                  </a:cubicBezTo>
                  <a:cubicBezTo>
                    <a:pt x="747" y="335"/>
                    <a:pt x="746" y="337"/>
                    <a:pt x="744" y="338"/>
                  </a:cubicBezTo>
                  <a:cubicBezTo>
                    <a:pt x="742" y="340"/>
                    <a:pt x="740" y="341"/>
                    <a:pt x="738" y="343"/>
                  </a:cubicBezTo>
                  <a:cubicBezTo>
                    <a:pt x="736" y="345"/>
                    <a:pt x="735" y="346"/>
                    <a:pt x="733" y="348"/>
                  </a:cubicBezTo>
                  <a:cubicBezTo>
                    <a:pt x="732" y="350"/>
                    <a:pt x="730" y="352"/>
                    <a:pt x="728" y="354"/>
                  </a:cubicBezTo>
                  <a:cubicBezTo>
                    <a:pt x="727" y="356"/>
                    <a:pt x="726" y="358"/>
                    <a:pt x="725" y="360"/>
                  </a:cubicBezTo>
                  <a:cubicBezTo>
                    <a:pt x="724" y="362"/>
                    <a:pt x="722" y="364"/>
                    <a:pt x="721" y="367"/>
                  </a:cubicBezTo>
                  <a:cubicBezTo>
                    <a:pt x="720" y="369"/>
                    <a:pt x="720" y="371"/>
                    <a:pt x="719" y="373"/>
                  </a:cubicBezTo>
                  <a:cubicBezTo>
                    <a:pt x="718" y="375"/>
                    <a:pt x="717" y="378"/>
                    <a:pt x="716" y="381"/>
                  </a:cubicBezTo>
                  <a:cubicBezTo>
                    <a:pt x="716" y="383"/>
                    <a:pt x="716" y="385"/>
                    <a:pt x="715" y="387"/>
                  </a:cubicBezTo>
                  <a:cubicBezTo>
                    <a:pt x="715" y="389"/>
                    <a:pt x="715" y="391"/>
                    <a:pt x="714" y="392"/>
                  </a:cubicBezTo>
                  <a:cubicBezTo>
                    <a:pt x="686" y="392"/>
                    <a:pt x="686" y="392"/>
                    <a:pt x="686" y="392"/>
                  </a:cubicBezTo>
                  <a:cubicBezTo>
                    <a:pt x="686" y="239"/>
                    <a:pt x="686" y="239"/>
                    <a:pt x="686" y="239"/>
                  </a:cubicBezTo>
                  <a:cubicBezTo>
                    <a:pt x="714" y="239"/>
                    <a:pt x="714" y="239"/>
                    <a:pt x="714" y="239"/>
                  </a:cubicBezTo>
                  <a:cubicBezTo>
                    <a:pt x="715" y="239"/>
                    <a:pt x="715" y="239"/>
                    <a:pt x="716" y="239"/>
                  </a:cubicBezTo>
                  <a:cubicBezTo>
                    <a:pt x="717" y="239"/>
                    <a:pt x="718" y="239"/>
                    <a:pt x="719" y="239"/>
                  </a:cubicBezTo>
                  <a:cubicBezTo>
                    <a:pt x="895" y="239"/>
                    <a:pt x="895" y="239"/>
                    <a:pt x="895" y="239"/>
                  </a:cubicBezTo>
                  <a:cubicBezTo>
                    <a:pt x="895" y="392"/>
                    <a:pt x="895" y="392"/>
                    <a:pt x="895" y="392"/>
                  </a:cubicBezTo>
                  <a:lnTo>
                    <a:pt x="867" y="392"/>
                  </a:lnTo>
                  <a:close/>
                  <a:moveTo>
                    <a:pt x="199" y="205"/>
                  </a:moveTo>
                  <a:cubicBezTo>
                    <a:pt x="199" y="212"/>
                    <a:pt x="194" y="218"/>
                    <a:pt x="187" y="218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5" y="218"/>
                    <a:pt x="0" y="212"/>
                    <a:pt x="0" y="205"/>
                  </a:cubicBezTo>
                  <a:cubicBezTo>
                    <a:pt x="0" y="198"/>
                    <a:pt x="5" y="192"/>
                    <a:pt x="12" y="192"/>
                  </a:cubicBezTo>
                  <a:cubicBezTo>
                    <a:pt x="187" y="192"/>
                    <a:pt x="187" y="192"/>
                    <a:pt x="187" y="192"/>
                  </a:cubicBezTo>
                  <a:cubicBezTo>
                    <a:pt x="194" y="192"/>
                    <a:pt x="199" y="198"/>
                    <a:pt x="199" y="205"/>
                  </a:cubicBezTo>
                  <a:close/>
                  <a:moveTo>
                    <a:pt x="199" y="133"/>
                  </a:moveTo>
                  <a:cubicBezTo>
                    <a:pt x="199" y="140"/>
                    <a:pt x="194" y="146"/>
                    <a:pt x="187" y="146"/>
                  </a:cubicBezTo>
                  <a:cubicBezTo>
                    <a:pt x="98" y="146"/>
                    <a:pt x="98" y="146"/>
                    <a:pt x="98" y="146"/>
                  </a:cubicBezTo>
                  <a:cubicBezTo>
                    <a:pt x="91" y="146"/>
                    <a:pt x="85" y="140"/>
                    <a:pt x="85" y="133"/>
                  </a:cubicBezTo>
                  <a:cubicBezTo>
                    <a:pt x="85" y="126"/>
                    <a:pt x="91" y="120"/>
                    <a:pt x="98" y="120"/>
                  </a:cubicBezTo>
                  <a:cubicBezTo>
                    <a:pt x="187" y="120"/>
                    <a:pt x="187" y="120"/>
                    <a:pt x="187" y="120"/>
                  </a:cubicBezTo>
                  <a:cubicBezTo>
                    <a:pt x="194" y="120"/>
                    <a:pt x="199" y="126"/>
                    <a:pt x="199" y="133"/>
                  </a:cubicBezTo>
                  <a:close/>
                  <a:moveTo>
                    <a:pt x="199" y="277"/>
                  </a:moveTo>
                  <a:cubicBezTo>
                    <a:pt x="199" y="284"/>
                    <a:pt x="194" y="290"/>
                    <a:pt x="187" y="290"/>
                  </a:cubicBezTo>
                  <a:cubicBezTo>
                    <a:pt x="98" y="290"/>
                    <a:pt x="98" y="290"/>
                    <a:pt x="98" y="290"/>
                  </a:cubicBezTo>
                  <a:cubicBezTo>
                    <a:pt x="91" y="290"/>
                    <a:pt x="85" y="284"/>
                    <a:pt x="85" y="277"/>
                  </a:cubicBezTo>
                  <a:cubicBezTo>
                    <a:pt x="85" y="270"/>
                    <a:pt x="91" y="264"/>
                    <a:pt x="98" y="264"/>
                  </a:cubicBezTo>
                  <a:cubicBezTo>
                    <a:pt x="187" y="264"/>
                    <a:pt x="187" y="264"/>
                    <a:pt x="187" y="264"/>
                  </a:cubicBezTo>
                  <a:cubicBezTo>
                    <a:pt x="194" y="264"/>
                    <a:pt x="199" y="270"/>
                    <a:pt x="199" y="2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96650" y="2614412"/>
            <a:ext cx="517105" cy="516406"/>
            <a:chOff x="5396650" y="2614412"/>
            <a:chExt cx="517105" cy="516406"/>
          </a:xfrm>
        </p:grpSpPr>
        <p:sp>
          <p:nvSpPr>
            <p:cNvPr id="50" name="Oval 7"/>
            <p:cNvSpPr>
              <a:spLocks noChangeArrowheads="1"/>
            </p:cNvSpPr>
            <p:nvPr/>
          </p:nvSpPr>
          <p:spPr bwMode="auto">
            <a:xfrm>
              <a:off x="5396650" y="2614412"/>
              <a:ext cx="517105" cy="516406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7" name="Freeform 40"/>
            <p:cNvSpPr>
              <a:spLocks noEditPoints="1"/>
            </p:cNvSpPr>
            <p:nvPr/>
          </p:nvSpPr>
          <p:spPr bwMode="auto">
            <a:xfrm>
              <a:off x="5517991" y="2742649"/>
              <a:ext cx="262926" cy="261229"/>
            </a:xfrm>
            <a:custGeom>
              <a:avLst/>
              <a:gdLst>
                <a:gd name="T0" fmla="*/ 391 w 755"/>
                <a:gd name="T1" fmla="*/ 622 h 748"/>
                <a:gd name="T2" fmla="*/ 344 w 755"/>
                <a:gd name="T3" fmla="*/ 670 h 748"/>
                <a:gd name="T4" fmla="*/ 440 w 755"/>
                <a:gd name="T5" fmla="*/ 670 h 748"/>
                <a:gd name="T6" fmla="*/ 430 w 755"/>
                <a:gd name="T7" fmla="*/ 642 h 748"/>
                <a:gd name="T8" fmla="*/ 369 w 755"/>
                <a:gd name="T9" fmla="*/ 670 h 748"/>
                <a:gd name="T10" fmla="*/ 392 w 755"/>
                <a:gd name="T11" fmla="*/ 647 h 748"/>
                <a:gd name="T12" fmla="*/ 411 w 755"/>
                <a:gd name="T13" fmla="*/ 659 h 748"/>
                <a:gd name="T14" fmla="*/ 392 w 755"/>
                <a:gd name="T15" fmla="*/ 692 h 748"/>
                <a:gd name="T16" fmla="*/ 736 w 755"/>
                <a:gd name="T17" fmla="*/ 492 h 748"/>
                <a:gd name="T18" fmla="*/ 434 w 755"/>
                <a:gd name="T19" fmla="*/ 605 h 748"/>
                <a:gd name="T20" fmla="*/ 667 w 755"/>
                <a:gd name="T21" fmla="*/ 501 h 748"/>
                <a:gd name="T22" fmla="*/ 570 w 755"/>
                <a:gd name="T23" fmla="*/ 253 h 748"/>
                <a:gd name="T24" fmla="*/ 535 w 755"/>
                <a:gd name="T25" fmla="*/ 254 h 748"/>
                <a:gd name="T26" fmla="*/ 446 w 755"/>
                <a:gd name="T27" fmla="*/ 87 h 748"/>
                <a:gd name="T28" fmla="*/ 268 w 755"/>
                <a:gd name="T29" fmla="*/ 172 h 748"/>
                <a:gd name="T30" fmla="*/ 340 w 755"/>
                <a:gd name="T31" fmla="*/ 342 h 748"/>
                <a:gd name="T32" fmla="*/ 315 w 755"/>
                <a:gd name="T33" fmla="*/ 367 h 748"/>
                <a:gd name="T34" fmla="*/ 392 w 755"/>
                <a:gd name="T35" fmla="*/ 592 h 748"/>
                <a:gd name="T36" fmla="*/ 153 w 755"/>
                <a:gd name="T37" fmla="*/ 58 h 748"/>
                <a:gd name="T38" fmla="*/ 19 w 755"/>
                <a:gd name="T39" fmla="*/ 3 h 748"/>
                <a:gd name="T40" fmla="*/ 10 w 755"/>
                <a:gd name="T41" fmla="*/ 26 h 748"/>
                <a:gd name="T42" fmla="*/ 361 w 755"/>
                <a:gd name="T43" fmla="*/ 599 h 748"/>
                <a:gd name="T44" fmla="*/ 392 w 755"/>
                <a:gd name="T45" fmla="*/ 748 h 748"/>
                <a:gd name="T46" fmla="*/ 465 w 755"/>
                <a:gd name="T47" fmla="*/ 643 h 748"/>
                <a:gd name="T48" fmla="*/ 752 w 755"/>
                <a:gd name="T49" fmla="*/ 499 h 748"/>
                <a:gd name="T50" fmla="*/ 383 w 755"/>
                <a:gd name="T51" fmla="*/ 164 h 748"/>
                <a:gd name="T52" fmla="*/ 360 w 755"/>
                <a:gd name="T53" fmla="*/ 185 h 748"/>
                <a:gd name="T54" fmla="*/ 392 w 755"/>
                <a:gd name="T55" fmla="*/ 139 h 748"/>
                <a:gd name="T56" fmla="*/ 326 w 755"/>
                <a:gd name="T57" fmla="*/ 169 h 748"/>
                <a:gd name="T58" fmla="*/ 357 w 755"/>
                <a:gd name="T59" fmla="*/ 223 h 748"/>
                <a:gd name="T60" fmla="*/ 368 w 755"/>
                <a:gd name="T61" fmla="*/ 217 h 748"/>
                <a:gd name="T62" fmla="*/ 423 w 755"/>
                <a:gd name="T63" fmla="*/ 193 h 748"/>
                <a:gd name="T64" fmla="*/ 436 w 755"/>
                <a:gd name="T65" fmla="*/ 175 h 748"/>
                <a:gd name="T66" fmla="*/ 445 w 755"/>
                <a:gd name="T67" fmla="*/ 116 h 748"/>
                <a:gd name="T68" fmla="*/ 363 w 755"/>
                <a:gd name="T69" fmla="*/ 331 h 748"/>
                <a:gd name="T70" fmla="*/ 326 w 755"/>
                <a:gd name="T71" fmla="*/ 169 h 748"/>
                <a:gd name="T72" fmla="*/ 501 w 755"/>
                <a:gd name="T73" fmla="*/ 352 h 748"/>
                <a:gd name="T74" fmla="*/ 455 w 755"/>
                <a:gd name="T75" fmla="*/ 353 h 748"/>
                <a:gd name="T76" fmla="*/ 415 w 755"/>
                <a:gd name="T77" fmla="*/ 336 h 748"/>
                <a:gd name="T78" fmla="*/ 481 w 755"/>
                <a:gd name="T79" fmla="*/ 306 h 748"/>
                <a:gd name="T80" fmla="*/ 421 w 755"/>
                <a:gd name="T81" fmla="*/ 412 h 748"/>
                <a:gd name="T82" fmla="*/ 433 w 755"/>
                <a:gd name="T83" fmla="*/ 420 h 748"/>
                <a:gd name="T84" fmla="*/ 472 w 755"/>
                <a:gd name="T85" fmla="*/ 373 h 748"/>
                <a:gd name="T86" fmla="*/ 532 w 755"/>
                <a:gd name="T87" fmla="*/ 375 h 748"/>
                <a:gd name="T88" fmla="*/ 504 w 755"/>
                <a:gd name="T89" fmla="*/ 296 h 748"/>
                <a:gd name="T90" fmla="*/ 645 w 755"/>
                <a:gd name="T91" fmla="*/ 483 h 748"/>
                <a:gd name="T92" fmla="*/ 344 w 755"/>
                <a:gd name="T93" fmla="*/ 368 h 748"/>
                <a:gd name="T94" fmla="*/ 392 w 755"/>
                <a:gd name="T95" fmla="*/ 722 h 748"/>
                <a:gd name="T96" fmla="*/ 376 w 755"/>
                <a:gd name="T97" fmla="*/ 620 h 748"/>
                <a:gd name="T98" fmla="*/ 392 w 755"/>
                <a:gd name="T99" fmla="*/ 617 h 748"/>
                <a:gd name="T100" fmla="*/ 438 w 755"/>
                <a:gd name="T101" fmla="*/ 644 h 748"/>
                <a:gd name="T102" fmla="*/ 438 w 755"/>
                <a:gd name="T103" fmla="*/ 645 h 748"/>
                <a:gd name="T104" fmla="*/ 392 w 755"/>
                <a:gd name="T105" fmla="*/ 72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5" h="748">
                  <a:moveTo>
                    <a:pt x="430" y="642"/>
                  </a:moveTo>
                  <a:cubicBezTo>
                    <a:pt x="421" y="629"/>
                    <a:pt x="407" y="622"/>
                    <a:pt x="391" y="622"/>
                  </a:cubicBezTo>
                  <a:cubicBezTo>
                    <a:pt x="387" y="622"/>
                    <a:pt x="384" y="623"/>
                    <a:pt x="382" y="623"/>
                  </a:cubicBezTo>
                  <a:cubicBezTo>
                    <a:pt x="360" y="628"/>
                    <a:pt x="344" y="648"/>
                    <a:pt x="344" y="670"/>
                  </a:cubicBezTo>
                  <a:cubicBezTo>
                    <a:pt x="344" y="696"/>
                    <a:pt x="365" y="718"/>
                    <a:pt x="392" y="718"/>
                  </a:cubicBezTo>
                  <a:cubicBezTo>
                    <a:pt x="418" y="718"/>
                    <a:pt x="440" y="696"/>
                    <a:pt x="440" y="670"/>
                  </a:cubicBezTo>
                  <a:cubicBezTo>
                    <a:pt x="440" y="661"/>
                    <a:pt x="437" y="652"/>
                    <a:pt x="433" y="646"/>
                  </a:cubicBezTo>
                  <a:cubicBezTo>
                    <a:pt x="432" y="644"/>
                    <a:pt x="431" y="642"/>
                    <a:pt x="430" y="642"/>
                  </a:cubicBezTo>
                  <a:close/>
                  <a:moveTo>
                    <a:pt x="392" y="692"/>
                  </a:moveTo>
                  <a:cubicBezTo>
                    <a:pt x="379" y="692"/>
                    <a:pt x="369" y="682"/>
                    <a:pt x="369" y="670"/>
                  </a:cubicBezTo>
                  <a:cubicBezTo>
                    <a:pt x="369" y="659"/>
                    <a:pt x="377" y="650"/>
                    <a:pt x="387" y="648"/>
                  </a:cubicBezTo>
                  <a:cubicBezTo>
                    <a:pt x="388" y="648"/>
                    <a:pt x="390" y="647"/>
                    <a:pt x="392" y="647"/>
                  </a:cubicBezTo>
                  <a:cubicBezTo>
                    <a:pt x="399" y="647"/>
                    <a:pt x="406" y="651"/>
                    <a:pt x="409" y="656"/>
                  </a:cubicBezTo>
                  <a:cubicBezTo>
                    <a:pt x="410" y="656"/>
                    <a:pt x="411" y="658"/>
                    <a:pt x="411" y="659"/>
                  </a:cubicBezTo>
                  <a:cubicBezTo>
                    <a:pt x="413" y="662"/>
                    <a:pt x="414" y="666"/>
                    <a:pt x="414" y="670"/>
                  </a:cubicBezTo>
                  <a:cubicBezTo>
                    <a:pt x="414" y="682"/>
                    <a:pt x="404" y="692"/>
                    <a:pt x="392" y="692"/>
                  </a:cubicBezTo>
                  <a:close/>
                  <a:moveTo>
                    <a:pt x="752" y="499"/>
                  </a:moveTo>
                  <a:cubicBezTo>
                    <a:pt x="749" y="492"/>
                    <a:pt x="742" y="490"/>
                    <a:pt x="736" y="492"/>
                  </a:cubicBezTo>
                  <a:cubicBezTo>
                    <a:pt x="452" y="621"/>
                    <a:pt x="452" y="621"/>
                    <a:pt x="452" y="621"/>
                  </a:cubicBezTo>
                  <a:cubicBezTo>
                    <a:pt x="447" y="614"/>
                    <a:pt x="441" y="609"/>
                    <a:pt x="434" y="605"/>
                  </a:cubicBezTo>
                  <a:cubicBezTo>
                    <a:pt x="435" y="605"/>
                    <a:pt x="435" y="605"/>
                    <a:pt x="436" y="604"/>
                  </a:cubicBezTo>
                  <a:cubicBezTo>
                    <a:pt x="667" y="501"/>
                    <a:pt x="667" y="501"/>
                    <a:pt x="667" y="501"/>
                  </a:cubicBezTo>
                  <a:cubicBezTo>
                    <a:pt x="674" y="498"/>
                    <a:pt x="677" y="490"/>
                    <a:pt x="674" y="484"/>
                  </a:cubicBezTo>
                  <a:cubicBezTo>
                    <a:pt x="570" y="253"/>
                    <a:pt x="570" y="253"/>
                    <a:pt x="570" y="253"/>
                  </a:cubicBezTo>
                  <a:cubicBezTo>
                    <a:pt x="567" y="246"/>
                    <a:pt x="559" y="243"/>
                    <a:pt x="553" y="246"/>
                  </a:cubicBezTo>
                  <a:cubicBezTo>
                    <a:pt x="535" y="254"/>
                    <a:pt x="535" y="254"/>
                    <a:pt x="535" y="254"/>
                  </a:cubicBezTo>
                  <a:cubicBezTo>
                    <a:pt x="463" y="94"/>
                    <a:pt x="463" y="94"/>
                    <a:pt x="463" y="94"/>
                  </a:cubicBezTo>
                  <a:cubicBezTo>
                    <a:pt x="460" y="87"/>
                    <a:pt x="452" y="85"/>
                    <a:pt x="446" y="87"/>
                  </a:cubicBezTo>
                  <a:cubicBezTo>
                    <a:pt x="274" y="165"/>
                    <a:pt x="274" y="165"/>
                    <a:pt x="274" y="165"/>
                  </a:cubicBezTo>
                  <a:cubicBezTo>
                    <a:pt x="271" y="166"/>
                    <a:pt x="269" y="169"/>
                    <a:pt x="268" y="172"/>
                  </a:cubicBezTo>
                  <a:cubicBezTo>
                    <a:pt x="266" y="175"/>
                    <a:pt x="266" y="178"/>
                    <a:pt x="268" y="181"/>
                  </a:cubicBezTo>
                  <a:cubicBezTo>
                    <a:pt x="340" y="342"/>
                    <a:pt x="340" y="342"/>
                    <a:pt x="340" y="342"/>
                  </a:cubicBezTo>
                  <a:cubicBezTo>
                    <a:pt x="322" y="350"/>
                    <a:pt x="322" y="350"/>
                    <a:pt x="322" y="350"/>
                  </a:cubicBezTo>
                  <a:cubicBezTo>
                    <a:pt x="315" y="353"/>
                    <a:pt x="313" y="360"/>
                    <a:pt x="315" y="367"/>
                  </a:cubicBezTo>
                  <a:cubicBezTo>
                    <a:pt x="419" y="597"/>
                    <a:pt x="419" y="597"/>
                    <a:pt x="419" y="597"/>
                  </a:cubicBezTo>
                  <a:cubicBezTo>
                    <a:pt x="410" y="594"/>
                    <a:pt x="401" y="592"/>
                    <a:pt x="392" y="592"/>
                  </a:cubicBezTo>
                  <a:cubicBezTo>
                    <a:pt x="390" y="592"/>
                    <a:pt x="388" y="593"/>
                    <a:pt x="387" y="593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2" y="55"/>
                    <a:pt x="149" y="53"/>
                    <a:pt x="146" y="51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2" y="0"/>
                    <a:pt x="5" y="3"/>
                    <a:pt x="2" y="10"/>
                  </a:cubicBezTo>
                  <a:cubicBezTo>
                    <a:pt x="0" y="16"/>
                    <a:pt x="3" y="24"/>
                    <a:pt x="10" y="26"/>
                  </a:cubicBezTo>
                  <a:cubicBezTo>
                    <a:pt x="132" y="73"/>
                    <a:pt x="132" y="73"/>
                    <a:pt x="132" y="73"/>
                  </a:cubicBezTo>
                  <a:cubicBezTo>
                    <a:pt x="361" y="599"/>
                    <a:pt x="361" y="599"/>
                    <a:pt x="361" y="599"/>
                  </a:cubicBezTo>
                  <a:cubicBezTo>
                    <a:pt x="333" y="611"/>
                    <a:pt x="314" y="638"/>
                    <a:pt x="314" y="670"/>
                  </a:cubicBezTo>
                  <a:cubicBezTo>
                    <a:pt x="314" y="713"/>
                    <a:pt x="349" y="748"/>
                    <a:pt x="392" y="748"/>
                  </a:cubicBezTo>
                  <a:cubicBezTo>
                    <a:pt x="435" y="748"/>
                    <a:pt x="470" y="713"/>
                    <a:pt x="470" y="670"/>
                  </a:cubicBezTo>
                  <a:cubicBezTo>
                    <a:pt x="470" y="661"/>
                    <a:pt x="468" y="651"/>
                    <a:pt x="465" y="643"/>
                  </a:cubicBezTo>
                  <a:cubicBezTo>
                    <a:pt x="746" y="516"/>
                    <a:pt x="746" y="516"/>
                    <a:pt x="746" y="516"/>
                  </a:cubicBezTo>
                  <a:cubicBezTo>
                    <a:pt x="752" y="513"/>
                    <a:pt x="755" y="505"/>
                    <a:pt x="752" y="499"/>
                  </a:cubicBezTo>
                  <a:close/>
                  <a:moveTo>
                    <a:pt x="404" y="166"/>
                  </a:moveTo>
                  <a:cubicBezTo>
                    <a:pt x="383" y="164"/>
                    <a:pt x="383" y="164"/>
                    <a:pt x="383" y="164"/>
                  </a:cubicBezTo>
                  <a:cubicBezTo>
                    <a:pt x="378" y="163"/>
                    <a:pt x="374" y="165"/>
                    <a:pt x="372" y="169"/>
                  </a:cubicBezTo>
                  <a:cubicBezTo>
                    <a:pt x="360" y="185"/>
                    <a:pt x="360" y="185"/>
                    <a:pt x="360" y="185"/>
                  </a:cubicBezTo>
                  <a:cubicBezTo>
                    <a:pt x="349" y="159"/>
                    <a:pt x="349" y="159"/>
                    <a:pt x="349" y="159"/>
                  </a:cubicBezTo>
                  <a:cubicBezTo>
                    <a:pt x="392" y="139"/>
                    <a:pt x="392" y="139"/>
                    <a:pt x="392" y="139"/>
                  </a:cubicBezTo>
                  <a:lnTo>
                    <a:pt x="404" y="166"/>
                  </a:lnTo>
                  <a:close/>
                  <a:moveTo>
                    <a:pt x="326" y="169"/>
                  </a:moveTo>
                  <a:cubicBezTo>
                    <a:pt x="346" y="215"/>
                    <a:pt x="346" y="215"/>
                    <a:pt x="346" y="215"/>
                  </a:cubicBezTo>
                  <a:cubicBezTo>
                    <a:pt x="348" y="219"/>
                    <a:pt x="352" y="222"/>
                    <a:pt x="357" y="223"/>
                  </a:cubicBezTo>
                  <a:cubicBezTo>
                    <a:pt x="357" y="223"/>
                    <a:pt x="358" y="223"/>
                    <a:pt x="358" y="223"/>
                  </a:cubicBezTo>
                  <a:cubicBezTo>
                    <a:pt x="362" y="223"/>
                    <a:pt x="366" y="221"/>
                    <a:pt x="368" y="217"/>
                  </a:cubicBezTo>
                  <a:cubicBezTo>
                    <a:pt x="388" y="190"/>
                    <a:pt x="388" y="190"/>
                    <a:pt x="388" y="190"/>
                  </a:cubicBezTo>
                  <a:cubicBezTo>
                    <a:pt x="423" y="193"/>
                    <a:pt x="423" y="193"/>
                    <a:pt x="423" y="193"/>
                  </a:cubicBezTo>
                  <a:cubicBezTo>
                    <a:pt x="428" y="193"/>
                    <a:pt x="432" y="191"/>
                    <a:pt x="435" y="188"/>
                  </a:cubicBezTo>
                  <a:cubicBezTo>
                    <a:pt x="437" y="184"/>
                    <a:pt x="438" y="179"/>
                    <a:pt x="436" y="175"/>
                  </a:cubicBezTo>
                  <a:cubicBezTo>
                    <a:pt x="415" y="129"/>
                    <a:pt x="415" y="129"/>
                    <a:pt x="415" y="129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512" y="265"/>
                    <a:pt x="512" y="265"/>
                    <a:pt x="512" y="265"/>
                  </a:cubicBezTo>
                  <a:cubicBezTo>
                    <a:pt x="363" y="331"/>
                    <a:pt x="363" y="331"/>
                    <a:pt x="363" y="331"/>
                  </a:cubicBezTo>
                  <a:cubicBezTo>
                    <a:pt x="296" y="183"/>
                    <a:pt x="296" y="183"/>
                    <a:pt x="296" y="183"/>
                  </a:cubicBezTo>
                  <a:lnTo>
                    <a:pt x="326" y="169"/>
                  </a:lnTo>
                  <a:close/>
                  <a:moveTo>
                    <a:pt x="481" y="306"/>
                  </a:moveTo>
                  <a:cubicBezTo>
                    <a:pt x="501" y="352"/>
                    <a:pt x="501" y="352"/>
                    <a:pt x="501" y="352"/>
                  </a:cubicBezTo>
                  <a:cubicBezTo>
                    <a:pt x="467" y="347"/>
                    <a:pt x="467" y="347"/>
                    <a:pt x="467" y="347"/>
                  </a:cubicBezTo>
                  <a:cubicBezTo>
                    <a:pt x="463" y="347"/>
                    <a:pt x="458" y="349"/>
                    <a:pt x="455" y="353"/>
                  </a:cubicBezTo>
                  <a:cubicBezTo>
                    <a:pt x="435" y="382"/>
                    <a:pt x="435" y="382"/>
                    <a:pt x="435" y="382"/>
                  </a:cubicBezTo>
                  <a:cubicBezTo>
                    <a:pt x="415" y="336"/>
                    <a:pt x="415" y="336"/>
                    <a:pt x="415" y="336"/>
                  </a:cubicBezTo>
                  <a:cubicBezTo>
                    <a:pt x="420" y="334"/>
                    <a:pt x="420" y="334"/>
                    <a:pt x="420" y="334"/>
                  </a:cubicBezTo>
                  <a:lnTo>
                    <a:pt x="481" y="306"/>
                  </a:lnTo>
                  <a:close/>
                  <a:moveTo>
                    <a:pt x="392" y="347"/>
                  </a:moveTo>
                  <a:cubicBezTo>
                    <a:pt x="421" y="412"/>
                    <a:pt x="421" y="412"/>
                    <a:pt x="421" y="412"/>
                  </a:cubicBezTo>
                  <a:cubicBezTo>
                    <a:pt x="423" y="417"/>
                    <a:pt x="427" y="419"/>
                    <a:pt x="432" y="420"/>
                  </a:cubicBezTo>
                  <a:cubicBezTo>
                    <a:pt x="432" y="420"/>
                    <a:pt x="432" y="420"/>
                    <a:pt x="433" y="420"/>
                  </a:cubicBezTo>
                  <a:cubicBezTo>
                    <a:pt x="437" y="420"/>
                    <a:pt x="441" y="418"/>
                    <a:pt x="443" y="415"/>
                  </a:cubicBezTo>
                  <a:cubicBezTo>
                    <a:pt x="472" y="373"/>
                    <a:pt x="472" y="373"/>
                    <a:pt x="472" y="373"/>
                  </a:cubicBezTo>
                  <a:cubicBezTo>
                    <a:pt x="521" y="380"/>
                    <a:pt x="521" y="380"/>
                    <a:pt x="521" y="380"/>
                  </a:cubicBezTo>
                  <a:cubicBezTo>
                    <a:pt x="525" y="380"/>
                    <a:pt x="530" y="378"/>
                    <a:pt x="532" y="375"/>
                  </a:cubicBezTo>
                  <a:cubicBezTo>
                    <a:pt x="535" y="371"/>
                    <a:pt x="536" y="366"/>
                    <a:pt x="534" y="362"/>
                  </a:cubicBezTo>
                  <a:cubicBezTo>
                    <a:pt x="504" y="296"/>
                    <a:pt x="504" y="296"/>
                    <a:pt x="504" y="296"/>
                  </a:cubicBezTo>
                  <a:cubicBezTo>
                    <a:pt x="552" y="275"/>
                    <a:pt x="552" y="275"/>
                    <a:pt x="552" y="275"/>
                  </a:cubicBezTo>
                  <a:cubicBezTo>
                    <a:pt x="645" y="483"/>
                    <a:pt x="645" y="483"/>
                    <a:pt x="645" y="483"/>
                  </a:cubicBezTo>
                  <a:cubicBezTo>
                    <a:pt x="437" y="576"/>
                    <a:pt x="437" y="576"/>
                    <a:pt x="437" y="576"/>
                  </a:cubicBezTo>
                  <a:cubicBezTo>
                    <a:pt x="344" y="368"/>
                    <a:pt x="344" y="368"/>
                    <a:pt x="344" y="368"/>
                  </a:cubicBezTo>
                  <a:lnTo>
                    <a:pt x="392" y="347"/>
                  </a:lnTo>
                  <a:close/>
                  <a:moveTo>
                    <a:pt x="392" y="722"/>
                  </a:moveTo>
                  <a:cubicBezTo>
                    <a:pt x="363" y="722"/>
                    <a:pt x="339" y="699"/>
                    <a:pt x="339" y="670"/>
                  </a:cubicBezTo>
                  <a:cubicBezTo>
                    <a:pt x="339" y="647"/>
                    <a:pt x="354" y="627"/>
                    <a:pt x="376" y="620"/>
                  </a:cubicBezTo>
                  <a:cubicBezTo>
                    <a:pt x="378" y="619"/>
                    <a:pt x="379" y="619"/>
                    <a:pt x="381" y="619"/>
                  </a:cubicBezTo>
                  <a:cubicBezTo>
                    <a:pt x="385" y="618"/>
                    <a:pt x="388" y="617"/>
                    <a:pt x="392" y="617"/>
                  </a:cubicBezTo>
                  <a:cubicBezTo>
                    <a:pt x="410" y="617"/>
                    <a:pt x="427" y="627"/>
                    <a:pt x="437" y="643"/>
                  </a:cubicBezTo>
                  <a:cubicBezTo>
                    <a:pt x="437" y="643"/>
                    <a:pt x="437" y="644"/>
                    <a:pt x="438" y="644"/>
                  </a:cubicBezTo>
                  <a:cubicBezTo>
                    <a:pt x="438" y="645"/>
                    <a:pt x="438" y="645"/>
                    <a:pt x="438" y="645"/>
                  </a:cubicBezTo>
                  <a:cubicBezTo>
                    <a:pt x="438" y="645"/>
                    <a:pt x="438" y="645"/>
                    <a:pt x="438" y="645"/>
                  </a:cubicBezTo>
                  <a:cubicBezTo>
                    <a:pt x="442" y="653"/>
                    <a:pt x="444" y="661"/>
                    <a:pt x="444" y="670"/>
                  </a:cubicBezTo>
                  <a:cubicBezTo>
                    <a:pt x="444" y="699"/>
                    <a:pt x="421" y="722"/>
                    <a:pt x="392" y="7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316060" y="2167171"/>
            <a:ext cx="517105" cy="516406"/>
            <a:chOff x="4316060" y="2167171"/>
            <a:chExt cx="517105" cy="516406"/>
          </a:xfrm>
        </p:grpSpPr>
        <p:sp>
          <p:nvSpPr>
            <p:cNvPr id="52" name="Oval 9"/>
            <p:cNvSpPr>
              <a:spLocks noChangeArrowheads="1"/>
            </p:cNvSpPr>
            <p:nvPr/>
          </p:nvSpPr>
          <p:spPr bwMode="auto">
            <a:xfrm>
              <a:off x="4316060" y="2167171"/>
              <a:ext cx="517105" cy="516406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8" name="Freeform 41"/>
            <p:cNvSpPr>
              <a:spLocks noEditPoints="1"/>
            </p:cNvSpPr>
            <p:nvPr/>
          </p:nvSpPr>
          <p:spPr bwMode="auto">
            <a:xfrm>
              <a:off x="4420053" y="2305900"/>
              <a:ext cx="303893" cy="238948"/>
            </a:xfrm>
            <a:custGeom>
              <a:avLst/>
              <a:gdLst>
                <a:gd name="T0" fmla="*/ 116 w 906"/>
                <a:gd name="T1" fmla="*/ 479 h 711"/>
                <a:gd name="T2" fmla="*/ 116 w 906"/>
                <a:gd name="T3" fmla="*/ 711 h 711"/>
                <a:gd name="T4" fmla="*/ 906 w 906"/>
                <a:gd name="T5" fmla="*/ 595 h 711"/>
                <a:gd name="T6" fmla="*/ 790 w 906"/>
                <a:gd name="T7" fmla="*/ 686 h 711"/>
                <a:gd name="T8" fmla="*/ 25 w 906"/>
                <a:gd name="T9" fmla="*/ 595 h 711"/>
                <a:gd name="T10" fmla="*/ 790 w 906"/>
                <a:gd name="T11" fmla="*/ 504 h 711"/>
                <a:gd name="T12" fmla="*/ 790 w 906"/>
                <a:gd name="T13" fmla="*/ 686 h 711"/>
                <a:gd name="T14" fmla="*/ 77 w 906"/>
                <a:gd name="T15" fmla="*/ 595 h 711"/>
                <a:gd name="T16" fmla="*/ 206 w 906"/>
                <a:gd name="T17" fmla="*/ 595 h 711"/>
                <a:gd name="T18" fmla="*/ 142 w 906"/>
                <a:gd name="T19" fmla="*/ 634 h 711"/>
                <a:gd name="T20" fmla="*/ 142 w 906"/>
                <a:gd name="T21" fmla="*/ 556 h 711"/>
                <a:gd name="T22" fmla="*/ 142 w 906"/>
                <a:gd name="T23" fmla="*/ 634 h 711"/>
                <a:gd name="T24" fmla="*/ 233 w 906"/>
                <a:gd name="T25" fmla="*/ 595 h 711"/>
                <a:gd name="T26" fmla="*/ 362 w 906"/>
                <a:gd name="T27" fmla="*/ 595 h 711"/>
                <a:gd name="T28" fmla="*/ 297 w 906"/>
                <a:gd name="T29" fmla="*/ 634 h 711"/>
                <a:gd name="T30" fmla="*/ 297 w 906"/>
                <a:gd name="T31" fmla="*/ 556 h 711"/>
                <a:gd name="T32" fmla="*/ 297 w 906"/>
                <a:gd name="T33" fmla="*/ 634 h 711"/>
                <a:gd name="T34" fmla="*/ 388 w 906"/>
                <a:gd name="T35" fmla="*/ 595 h 711"/>
                <a:gd name="T36" fmla="*/ 517 w 906"/>
                <a:gd name="T37" fmla="*/ 595 h 711"/>
                <a:gd name="T38" fmla="*/ 453 w 906"/>
                <a:gd name="T39" fmla="*/ 634 h 711"/>
                <a:gd name="T40" fmla="*/ 453 w 906"/>
                <a:gd name="T41" fmla="*/ 556 h 711"/>
                <a:gd name="T42" fmla="*/ 453 w 906"/>
                <a:gd name="T43" fmla="*/ 634 h 711"/>
                <a:gd name="T44" fmla="*/ 544 w 906"/>
                <a:gd name="T45" fmla="*/ 595 h 711"/>
                <a:gd name="T46" fmla="*/ 673 w 906"/>
                <a:gd name="T47" fmla="*/ 595 h 711"/>
                <a:gd name="T48" fmla="*/ 608 w 906"/>
                <a:gd name="T49" fmla="*/ 634 h 711"/>
                <a:gd name="T50" fmla="*/ 608 w 906"/>
                <a:gd name="T51" fmla="*/ 556 h 711"/>
                <a:gd name="T52" fmla="*/ 608 w 906"/>
                <a:gd name="T53" fmla="*/ 634 h 711"/>
                <a:gd name="T54" fmla="*/ 699 w 906"/>
                <a:gd name="T55" fmla="*/ 595 h 711"/>
                <a:gd name="T56" fmla="*/ 828 w 906"/>
                <a:gd name="T57" fmla="*/ 595 h 711"/>
                <a:gd name="T58" fmla="*/ 764 w 906"/>
                <a:gd name="T59" fmla="*/ 634 h 711"/>
                <a:gd name="T60" fmla="*/ 764 w 906"/>
                <a:gd name="T61" fmla="*/ 556 h 711"/>
                <a:gd name="T62" fmla="*/ 764 w 906"/>
                <a:gd name="T63" fmla="*/ 634 h 711"/>
                <a:gd name="T64" fmla="*/ 707 w 906"/>
                <a:gd name="T65" fmla="*/ 441 h 711"/>
                <a:gd name="T66" fmla="*/ 719 w 906"/>
                <a:gd name="T67" fmla="*/ 13 h 711"/>
                <a:gd name="T68" fmla="*/ 522 w 906"/>
                <a:gd name="T69" fmla="*/ 0 h 711"/>
                <a:gd name="T70" fmla="*/ 199 w 906"/>
                <a:gd name="T71" fmla="*/ 0 h 711"/>
                <a:gd name="T72" fmla="*/ 186 w 906"/>
                <a:gd name="T73" fmla="*/ 428 h 711"/>
                <a:gd name="T74" fmla="*/ 509 w 906"/>
                <a:gd name="T75" fmla="*/ 25 h 711"/>
                <a:gd name="T76" fmla="*/ 460 w 906"/>
                <a:gd name="T77" fmla="*/ 72 h 711"/>
                <a:gd name="T78" fmla="*/ 451 w 906"/>
                <a:gd name="T79" fmla="*/ 68 h 711"/>
                <a:gd name="T80" fmla="*/ 396 w 906"/>
                <a:gd name="T81" fmla="*/ 120 h 711"/>
                <a:gd name="T82" fmla="*/ 509 w 906"/>
                <a:gd name="T83" fmla="*/ 25 h 711"/>
                <a:gd name="T84" fmla="*/ 371 w 906"/>
                <a:gd name="T85" fmla="*/ 25 h 711"/>
                <a:gd name="T86" fmla="*/ 379 w 906"/>
                <a:gd name="T87" fmla="*/ 163 h 711"/>
                <a:gd name="T88" fmla="*/ 393 w 906"/>
                <a:gd name="T89" fmla="*/ 160 h 711"/>
                <a:gd name="T90" fmla="*/ 513 w 906"/>
                <a:gd name="T91" fmla="*/ 160 h 711"/>
                <a:gd name="T92" fmla="*/ 535 w 906"/>
                <a:gd name="T93" fmla="*/ 151 h 711"/>
                <a:gd name="T94" fmla="*/ 694 w 906"/>
                <a:gd name="T95" fmla="*/ 25 h 711"/>
                <a:gd name="T96" fmla="*/ 212 w 906"/>
                <a:gd name="T97" fmla="*/ 41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6" h="711">
                  <a:moveTo>
                    <a:pt x="790" y="479"/>
                  </a:moveTo>
                  <a:cubicBezTo>
                    <a:pt x="116" y="479"/>
                    <a:pt x="116" y="479"/>
                    <a:pt x="116" y="479"/>
                  </a:cubicBezTo>
                  <a:cubicBezTo>
                    <a:pt x="52" y="479"/>
                    <a:pt x="0" y="531"/>
                    <a:pt x="0" y="595"/>
                  </a:cubicBezTo>
                  <a:cubicBezTo>
                    <a:pt x="0" y="659"/>
                    <a:pt x="52" y="711"/>
                    <a:pt x="116" y="711"/>
                  </a:cubicBezTo>
                  <a:cubicBezTo>
                    <a:pt x="790" y="711"/>
                    <a:pt x="790" y="711"/>
                    <a:pt x="790" y="711"/>
                  </a:cubicBezTo>
                  <a:cubicBezTo>
                    <a:pt x="854" y="711"/>
                    <a:pt x="906" y="659"/>
                    <a:pt x="906" y="595"/>
                  </a:cubicBezTo>
                  <a:cubicBezTo>
                    <a:pt x="906" y="531"/>
                    <a:pt x="854" y="479"/>
                    <a:pt x="790" y="479"/>
                  </a:cubicBezTo>
                  <a:close/>
                  <a:moveTo>
                    <a:pt x="790" y="686"/>
                  </a:moveTo>
                  <a:cubicBezTo>
                    <a:pt x="116" y="686"/>
                    <a:pt x="116" y="686"/>
                    <a:pt x="116" y="686"/>
                  </a:cubicBezTo>
                  <a:cubicBezTo>
                    <a:pt x="66" y="686"/>
                    <a:pt x="25" y="645"/>
                    <a:pt x="25" y="595"/>
                  </a:cubicBezTo>
                  <a:cubicBezTo>
                    <a:pt x="25" y="545"/>
                    <a:pt x="66" y="504"/>
                    <a:pt x="116" y="504"/>
                  </a:cubicBezTo>
                  <a:cubicBezTo>
                    <a:pt x="790" y="504"/>
                    <a:pt x="790" y="504"/>
                    <a:pt x="790" y="504"/>
                  </a:cubicBezTo>
                  <a:cubicBezTo>
                    <a:pt x="840" y="504"/>
                    <a:pt x="881" y="545"/>
                    <a:pt x="881" y="595"/>
                  </a:cubicBezTo>
                  <a:cubicBezTo>
                    <a:pt x="881" y="645"/>
                    <a:pt x="840" y="686"/>
                    <a:pt x="790" y="686"/>
                  </a:cubicBezTo>
                  <a:close/>
                  <a:moveTo>
                    <a:pt x="142" y="530"/>
                  </a:moveTo>
                  <a:cubicBezTo>
                    <a:pt x="106" y="530"/>
                    <a:pt x="77" y="559"/>
                    <a:pt x="77" y="595"/>
                  </a:cubicBezTo>
                  <a:cubicBezTo>
                    <a:pt x="77" y="630"/>
                    <a:pt x="106" y="659"/>
                    <a:pt x="142" y="659"/>
                  </a:cubicBezTo>
                  <a:cubicBezTo>
                    <a:pt x="177" y="659"/>
                    <a:pt x="206" y="630"/>
                    <a:pt x="206" y="595"/>
                  </a:cubicBezTo>
                  <a:cubicBezTo>
                    <a:pt x="206" y="559"/>
                    <a:pt x="177" y="530"/>
                    <a:pt x="142" y="530"/>
                  </a:cubicBezTo>
                  <a:close/>
                  <a:moveTo>
                    <a:pt x="142" y="634"/>
                  </a:moveTo>
                  <a:cubicBezTo>
                    <a:pt x="120" y="634"/>
                    <a:pt x="103" y="617"/>
                    <a:pt x="103" y="595"/>
                  </a:cubicBezTo>
                  <a:cubicBezTo>
                    <a:pt x="103" y="573"/>
                    <a:pt x="120" y="556"/>
                    <a:pt x="142" y="556"/>
                  </a:cubicBezTo>
                  <a:cubicBezTo>
                    <a:pt x="163" y="556"/>
                    <a:pt x="181" y="573"/>
                    <a:pt x="181" y="595"/>
                  </a:cubicBezTo>
                  <a:cubicBezTo>
                    <a:pt x="181" y="617"/>
                    <a:pt x="163" y="634"/>
                    <a:pt x="142" y="634"/>
                  </a:cubicBezTo>
                  <a:close/>
                  <a:moveTo>
                    <a:pt x="297" y="530"/>
                  </a:moveTo>
                  <a:cubicBezTo>
                    <a:pt x="262" y="530"/>
                    <a:pt x="233" y="559"/>
                    <a:pt x="233" y="595"/>
                  </a:cubicBezTo>
                  <a:cubicBezTo>
                    <a:pt x="233" y="630"/>
                    <a:pt x="262" y="659"/>
                    <a:pt x="297" y="659"/>
                  </a:cubicBezTo>
                  <a:cubicBezTo>
                    <a:pt x="333" y="659"/>
                    <a:pt x="362" y="630"/>
                    <a:pt x="362" y="595"/>
                  </a:cubicBezTo>
                  <a:cubicBezTo>
                    <a:pt x="362" y="559"/>
                    <a:pt x="333" y="530"/>
                    <a:pt x="297" y="530"/>
                  </a:cubicBezTo>
                  <a:close/>
                  <a:moveTo>
                    <a:pt x="297" y="634"/>
                  </a:moveTo>
                  <a:cubicBezTo>
                    <a:pt x="276" y="634"/>
                    <a:pt x="258" y="617"/>
                    <a:pt x="258" y="595"/>
                  </a:cubicBezTo>
                  <a:cubicBezTo>
                    <a:pt x="258" y="573"/>
                    <a:pt x="276" y="556"/>
                    <a:pt x="297" y="556"/>
                  </a:cubicBezTo>
                  <a:cubicBezTo>
                    <a:pt x="319" y="556"/>
                    <a:pt x="336" y="573"/>
                    <a:pt x="336" y="595"/>
                  </a:cubicBezTo>
                  <a:cubicBezTo>
                    <a:pt x="336" y="617"/>
                    <a:pt x="319" y="634"/>
                    <a:pt x="297" y="634"/>
                  </a:cubicBezTo>
                  <a:close/>
                  <a:moveTo>
                    <a:pt x="453" y="530"/>
                  </a:moveTo>
                  <a:cubicBezTo>
                    <a:pt x="417" y="530"/>
                    <a:pt x="388" y="559"/>
                    <a:pt x="388" y="595"/>
                  </a:cubicBezTo>
                  <a:cubicBezTo>
                    <a:pt x="388" y="630"/>
                    <a:pt x="417" y="659"/>
                    <a:pt x="453" y="659"/>
                  </a:cubicBezTo>
                  <a:cubicBezTo>
                    <a:pt x="488" y="659"/>
                    <a:pt x="517" y="630"/>
                    <a:pt x="517" y="595"/>
                  </a:cubicBezTo>
                  <a:cubicBezTo>
                    <a:pt x="517" y="559"/>
                    <a:pt x="488" y="530"/>
                    <a:pt x="453" y="530"/>
                  </a:cubicBezTo>
                  <a:close/>
                  <a:moveTo>
                    <a:pt x="453" y="634"/>
                  </a:moveTo>
                  <a:cubicBezTo>
                    <a:pt x="431" y="634"/>
                    <a:pt x="414" y="617"/>
                    <a:pt x="414" y="595"/>
                  </a:cubicBezTo>
                  <a:cubicBezTo>
                    <a:pt x="414" y="573"/>
                    <a:pt x="431" y="556"/>
                    <a:pt x="453" y="556"/>
                  </a:cubicBezTo>
                  <a:cubicBezTo>
                    <a:pt x="474" y="556"/>
                    <a:pt x="492" y="573"/>
                    <a:pt x="492" y="595"/>
                  </a:cubicBezTo>
                  <a:cubicBezTo>
                    <a:pt x="492" y="617"/>
                    <a:pt x="474" y="634"/>
                    <a:pt x="453" y="634"/>
                  </a:cubicBezTo>
                  <a:close/>
                  <a:moveTo>
                    <a:pt x="608" y="530"/>
                  </a:moveTo>
                  <a:cubicBezTo>
                    <a:pt x="573" y="530"/>
                    <a:pt x="544" y="559"/>
                    <a:pt x="544" y="595"/>
                  </a:cubicBezTo>
                  <a:cubicBezTo>
                    <a:pt x="544" y="630"/>
                    <a:pt x="573" y="659"/>
                    <a:pt x="608" y="659"/>
                  </a:cubicBezTo>
                  <a:cubicBezTo>
                    <a:pt x="644" y="659"/>
                    <a:pt x="673" y="630"/>
                    <a:pt x="673" y="595"/>
                  </a:cubicBezTo>
                  <a:cubicBezTo>
                    <a:pt x="673" y="559"/>
                    <a:pt x="644" y="530"/>
                    <a:pt x="608" y="530"/>
                  </a:cubicBezTo>
                  <a:close/>
                  <a:moveTo>
                    <a:pt x="608" y="634"/>
                  </a:moveTo>
                  <a:cubicBezTo>
                    <a:pt x="587" y="634"/>
                    <a:pt x="569" y="617"/>
                    <a:pt x="569" y="595"/>
                  </a:cubicBezTo>
                  <a:cubicBezTo>
                    <a:pt x="569" y="573"/>
                    <a:pt x="587" y="556"/>
                    <a:pt x="608" y="556"/>
                  </a:cubicBezTo>
                  <a:cubicBezTo>
                    <a:pt x="630" y="556"/>
                    <a:pt x="647" y="573"/>
                    <a:pt x="647" y="595"/>
                  </a:cubicBezTo>
                  <a:cubicBezTo>
                    <a:pt x="647" y="617"/>
                    <a:pt x="630" y="634"/>
                    <a:pt x="608" y="634"/>
                  </a:cubicBezTo>
                  <a:close/>
                  <a:moveTo>
                    <a:pt x="764" y="530"/>
                  </a:moveTo>
                  <a:cubicBezTo>
                    <a:pt x="728" y="530"/>
                    <a:pt x="699" y="559"/>
                    <a:pt x="699" y="595"/>
                  </a:cubicBezTo>
                  <a:cubicBezTo>
                    <a:pt x="699" y="630"/>
                    <a:pt x="728" y="659"/>
                    <a:pt x="764" y="659"/>
                  </a:cubicBezTo>
                  <a:cubicBezTo>
                    <a:pt x="799" y="659"/>
                    <a:pt x="828" y="630"/>
                    <a:pt x="828" y="595"/>
                  </a:cubicBezTo>
                  <a:cubicBezTo>
                    <a:pt x="828" y="559"/>
                    <a:pt x="799" y="530"/>
                    <a:pt x="764" y="530"/>
                  </a:cubicBezTo>
                  <a:close/>
                  <a:moveTo>
                    <a:pt x="764" y="634"/>
                  </a:moveTo>
                  <a:cubicBezTo>
                    <a:pt x="742" y="634"/>
                    <a:pt x="725" y="617"/>
                    <a:pt x="725" y="595"/>
                  </a:cubicBezTo>
                  <a:cubicBezTo>
                    <a:pt x="725" y="573"/>
                    <a:pt x="742" y="556"/>
                    <a:pt x="764" y="556"/>
                  </a:cubicBezTo>
                  <a:cubicBezTo>
                    <a:pt x="785" y="556"/>
                    <a:pt x="803" y="573"/>
                    <a:pt x="803" y="595"/>
                  </a:cubicBezTo>
                  <a:cubicBezTo>
                    <a:pt x="803" y="617"/>
                    <a:pt x="785" y="634"/>
                    <a:pt x="764" y="634"/>
                  </a:cubicBezTo>
                  <a:close/>
                  <a:moveTo>
                    <a:pt x="199" y="441"/>
                  </a:moveTo>
                  <a:cubicBezTo>
                    <a:pt x="707" y="441"/>
                    <a:pt x="707" y="441"/>
                    <a:pt x="707" y="441"/>
                  </a:cubicBezTo>
                  <a:cubicBezTo>
                    <a:pt x="714" y="441"/>
                    <a:pt x="719" y="435"/>
                    <a:pt x="719" y="428"/>
                  </a:cubicBezTo>
                  <a:cubicBezTo>
                    <a:pt x="719" y="13"/>
                    <a:pt x="719" y="13"/>
                    <a:pt x="719" y="13"/>
                  </a:cubicBezTo>
                  <a:cubicBezTo>
                    <a:pt x="719" y="6"/>
                    <a:pt x="714" y="0"/>
                    <a:pt x="707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2" y="0"/>
                    <a:pt x="186" y="6"/>
                    <a:pt x="186" y="13"/>
                  </a:cubicBezTo>
                  <a:cubicBezTo>
                    <a:pt x="186" y="428"/>
                    <a:pt x="186" y="428"/>
                    <a:pt x="186" y="428"/>
                  </a:cubicBezTo>
                  <a:cubicBezTo>
                    <a:pt x="186" y="435"/>
                    <a:pt x="192" y="441"/>
                    <a:pt x="199" y="441"/>
                  </a:cubicBezTo>
                  <a:close/>
                  <a:moveTo>
                    <a:pt x="509" y="25"/>
                  </a:moveTo>
                  <a:cubicBezTo>
                    <a:pt x="509" y="121"/>
                    <a:pt x="509" y="121"/>
                    <a:pt x="509" y="121"/>
                  </a:cubicBezTo>
                  <a:cubicBezTo>
                    <a:pt x="460" y="72"/>
                    <a:pt x="460" y="72"/>
                    <a:pt x="460" y="72"/>
                  </a:cubicBezTo>
                  <a:cubicBezTo>
                    <a:pt x="458" y="69"/>
                    <a:pt x="455" y="68"/>
                    <a:pt x="451" y="68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48" y="68"/>
                    <a:pt x="444" y="69"/>
                    <a:pt x="442" y="72"/>
                  </a:cubicBezTo>
                  <a:cubicBezTo>
                    <a:pt x="396" y="120"/>
                    <a:pt x="396" y="120"/>
                    <a:pt x="396" y="120"/>
                  </a:cubicBezTo>
                  <a:cubicBezTo>
                    <a:pt x="396" y="25"/>
                    <a:pt x="396" y="25"/>
                    <a:pt x="396" y="25"/>
                  </a:cubicBezTo>
                  <a:lnTo>
                    <a:pt x="509" y="25"/>
                  </a:lnTo>
                  <a:close/>
                  <a:moveTo>
                    <a:pt x="212" y="25"/>
                  </a:moveTo>
                  <a:cubicBezTo>
                    <a:pt x="371" y="25"/>
                    <a:pt x="371" y="25"/>
                    <a:pt x="371" y="25"/>
                  </a:cubicBezTo>
                  <a:cubicBezTo>
                    <a:pt x="371" y="151"/>
                    <a:pt x="371" y="151"/>
                    <a:pt x="371" y="151"/>
                  </a:cubicBezTo>
                  <a:cubicBezTo>
                    <a:pt x="371" y="156"/>
                    <a:pt x="374" y="161"/>
                    <a:pt x="379" y="163"/>
                  </a:cubicBezTo>
                  <a:cubicBezTo>
                    <a:pt x="380" y="163"/>
                    <a:pt x="382" y="164"/>
                    <a:pt x="384" y="164"/>
                  </a:cubicBezTo>
                  <a:cubicBezTo>
                    <a:pt x="387" y="164"/>
                    <a:pt x="390" y="162"/>
                    <a:pt x="393" y="160"/>
                  </a:cubicBezTo>
                  <a:cubicBezTo>
                    <a:pt x="451" y="99"/>
                    <a:pt x="451" y="99"/>
                    <a:pt x="451" y="99"/>
                  </a:cubicBezTo>
                  <a:cubicBezTo>
                    <a:pt x="513" y="160"/>
                    <a:pt x="513" y="160"/>
                    <a:pt x="513" y="160"/>
                  </a:cubicBezTo>
                  <a:cubicBezTo>
                    <a:pt x="517" y="164"/>
                    <a:pt x="522" y="165"/>
                    <a:pt x="527" y="163"/>
                  </a:cubicBezTo>
                  <a:cubicBezTo>
                    <a:pt x="532" y="161"/>
                    <a:pt x="535" y="156"/>
                    <a:pt x="535" y="151"/>
                  </a:cubicBezTo>
                  <a:cubicBezTo>
                    <a:pt x="535" y="25"/>
                    <a:pt x="535" y="25"/>
                    <a:pt x="535" y="25"/>
                  </a:cubicBezTo>
                  <a:cubicBezTo>
                    <a:pt x="694" y="25"/>
                    <a:pt x="694" y="25"/>
                    <a:pt x="694" y="25"/>
                  </a:cubicBezTo>
                  <a:cubicBezTo>
                    <a:pt x="694" y="415"/>
                    <a:pt x="694" y="415"/>
                    <a:pt x="694" y="415"/>
                  </a:cubicBezTo>
                  <a:cubicBezTo>
                    <a:pt x="212" y="415"/>
                    <a:pt x="212" y="415"/>
                    <a:pt x="212" y="415"/>
                  </a:cubicBezTo>
                  <a:lnTo>
                    <a:pt x="212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784093" y="3698703"/>
            <a:ext cx="516407" cy="516406"/>
            <a:chOff x="2784093" y="3698703"/>
            <a:chExt cx="516407" cy="516406"/>
          </a:xfrm>
        </p:grpSpPr>
        <p:sp>
          <p:nvSpPr>
            <p:cNvPr id="49" name="Oval 6"/>
            <p:cNvSpPr>
              <a:spLocks noChangeArrowheads="1"/>
            </p:cNvSpPr>
            <p:nvPr/>
          </p:nvSpPr>
          <p:spPr bwMode="auto">
            <a:xfrm>
              <a:off x="2784093" y="3698703"/>
              <a:ext cx="516407" cy="516406"/>
            </a:xfrm>
            <a:prstGeom prst="ellipse">
              <a:avLst/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9" name="Freeform 42"/>
            <p:cNvSpPr>
              <a:spLocks noEditPoints="1"/>
            </p:cNvSpPr>
            <p:nvPr/>
          </p:nvSpPr>
          <p:spPr bwMode="auto">
            <a:xfrm>
              <a:off x="2915699" y="3829092"/>
              <a:ext cx="255871" cy="255105"/>
            </a:xfrm>
            <a:custGeom>
              <a:avLst/>
              <a:gdLst>
                <a:gd name="T0" fmla="*/ 774 w 814"/>
                <a:gd name="T1" fmla="*/ 96 h 809"/>
                <a:gd name="T2" fmla="*/ 508 w 814"/>
                <a:gd name="T3" fmla="*/ 141 h 809"/>
                <a:gd name="T4" fmla="*/ 138 w 814"/>
                <a:gd name="T5" fmla="*/ 513 h 809"/>
                <a:gd name="T6" fmla="*/ 77 w 814"/>
                <a:gd name="T7" fmla="*/ 749 h 809"/>
                <a:gd name="T8" fmla="*/ 181 w 814"/>
                <a:gd name="T9" fmla="*/ 715 h 809"/>
                <a:gd name="T10" fmla="*/ 306 w 814"/>
                <a:gd name="T11" fmla="*/ 672 h 809"/>
                <a:gd name="T12" fmla="*/ 125 w 814"/>
                <a:gd name="T13" fmla="*/ 634 h 809"/>
                <a:gd name="T14" fmla="*/ 246 w 814"/>
                <a:gd name="T15" fmla="*/ 630 h 809"/>
                <a:gd name="T16" fmla="*/ 180 w 814"/>
                <a:gd name="T17" fmla="*/ 689 h 809"/>
                <a:gd name="T18" fmla="*/ 193 w 814"/>
                <a:gd name="T19" fmla="*/ 541 h 809"/>
                <a:gd name="T20" fmla="*/ 568 w 814"/>
                <a:gd name="T21" fmla="*/ 117 h 809"/>
                <a:gd name="T22" fmla="*/ 535 w 814"/>
                <a:gd name="T23" fmla="*/ 150 h 809"/>
                <a:gd name="T24" fmla="*/ 559 w 814"/>
                <a:gd name="T25" fmla="*/ 210 h 809"/>
                <a:gd name="T26" fmla="*/ 211 w 814"/>
                <a:gd name="T27" fmla="*/ 559 h 809"/>
                <a:gd name="T28" fmla="*/ 646 w 814"/>
                <a:gd name="T29" fmla="*/ 297 h 809"/>
                <a:gd name="T30" fmla="*/ 628 w 814"/>
                <a:gd name="T31" fmla="*/ 57 h 809"/>
                <a:gd name="T32" fmla="*/ 756 w 814"/>
                <a:gd name="T33" fmla="*/ 186 h 809"/>
                <a:gd name="T34" fmla="*/ 628 w 814"/>
                <a:gd name="T35" fmla="*/ 57 h 809"/>
                <a:gd name="T36" fmla="*/ 97 w 814"/>
                <a:gd name="T37" fmla="*/ 717 h 809"/>
                <a:gd name="T38" fmla="*/ 17 w 814"/>
                <a:gd name="T39" fmla="*/ 119 h 809"/>
                <a:gd name="T40" fmla="*/ 382 w 814"/>
                <a:gd name="T41" fmla="*/ 217 h 809"/>
                <a:gd name="T42" fmla="*/ 164 w 814"/>
                <a:gd name="T43" fmla="*/ 35 h 809"/>
                <a:gd name="T44" fmla="*/ 35 w 814"/>
                <a:gd name="T45" fmla="*/ 164 h 809"/>
                <a:gd name="T46" fmla="*/ 144 w 814"/>
                <a:gd name="T47" fmla="*/ 125 h 809"/>
                <a:gd name="T48" fmla="*/ 125 w 814"/>
                <a:gd name="T49" fmla="*/ 254 h 809"/>
                <a:gd name="T50" fmla="*/ 185 w 814"/>
                <a:gd name="T51" fmla="*/ 230 h 809"/>
                <a:gd name="T52" fmla="*/ 254 w 814"/>
                <a:gd name="T53" fmla="*/ 254 h 809"/>
                <a:gd name="T54" fmla="*/ 208 w 814"/>
                <a:gd name="T55" fmla="*/ 336 h 809"/>
                <a:gd name="T56" fmla="*/ 228 w 814"/>
                <a:gd name="T57" fmla="*/ 387 h 809"/>
                <a:gd name="T58" fmla="*/ 797 w 814"/>
                <a:gd name="T59" fmla="*/ 695 h 809"/>
                <a:gd name="T60" fmla="*/ 632 w 814"/>
                <a:gd name="T61" fmla="*/ 796 h 809"/>
                <a:gd name="T62" fmla="*/ 597 w 814"/>
                <a:gd name="T63" fmla="*/ 761 h 809"/>
                <a:gd name="T64" fmla="*/ 533 w 814"/>
                <a:gd name="T65" fmla="*/ 697 h 809"/>
                <a:gd name="T66" fmla="*/ 469 w 814"/>
                <a:gd name="T67" fmla="*/ 633 h 809"/>
                <a:gd name="T68" fmla="*/ 444 w 814"/>
                <a:gd name="T69" fmla="*/ 572 h 809"/>
                <a:gd name="T70" fmla="*/ 560 w 814"/>
                <a:gd name="T71" fmla="*/ 542 h 809"/>
                <a:gd name="T72" fmla="*/ 542 w 814"/>
                <a:gd name="T73" fmla="*/ 670 h 809"/>
                <a:gd name="T74" fmla="*/ 602 w 814"/>
                <a:gd name="T75" fmla="*/ 646 h 809"/>
                <a:gd name="T76" fmla="*/ 670 w 814"/>
                <a:gd name="T77" fmla="*/ 670 h 809"/>
                <a:gd name="T78" fmla="*/ 624 w 814"/>
                <a:gd name="T79" fmla="*/ 752 h 809"/>
                <a:gd name="T80" fmla="*/ 779 w 814"/>
                <a:gd name="T81" fmla="*/ 677 h 809"/>
                <a:gd name="T82" fmla="*/ 571 w 814"/>
                <a:gd name="T83" fmla="*/ 424 h 809"/>
                <a:gd name="T84" fmla="*/ 797 w 814"/>
                <a:gd name="T85" fmla="*/ 695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4" h="809">
                  <a:moveTo>
                    <a:pt x="673" y="306"/>
                  </a:moveTo>
                  <a:cubicBezTo>
                    <a:pt x="774" y="204"/>
                    <a:pt x="774" y="204"/>
                    <a:pt x="774" y="204"/>
                  </a:cubicBezTo>
                  <a:cubicBezTo>
                    <a:pt x="804" y="174"/>
                    <a:pt x="804" y="126"/>
                    <a:pt x="774" y="96"/>
                  </a:cubicBezTo>
                  <a:cubicBezTo>
                    <a:pt x="717" y="39"/>
                    <a:pt x="717" y="39"/>
                    <a:pt x="717" y="39"/>
                  </a:cubicBezTo>
                  <a:cubicBezTo>
                    <a:pt x="688" y="10"/>
                    <a:pt x="640" y="10"/>
                    <a:pt x="610" y="39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141" y="508"/>
                    <a:pt x="141" y="508"/>
                    <a:pt x="141" y="508"/>
                  </a:cubicBezTo>
                  <a:cubicBezTo>
                    <a:pt x="140" y="509"/>
                    <a:pt x="139" y="511"/>
                    <a:pt x="139" y="512"/>
                  </a:cubicBezTo>
                  <a:cubicBezTo>
                    <a:pt x="139" y="512"/>
                    <a:pt x="138" y="513"/>
                    <a:pt x="138" y="513"/>
                  </a:cubicBezTo>
                  <a:cubicBezTo>
                    <a:pt x="65" y="733"/>
                    <a:pt x="65" y="733"/>
                    <a:pt x="65" y="733"/>
                  </a:cubicBezTo>
                  <a:cubicBezTo>
                    <a:pt x="64" y="737"/>
                    <a:pt x="65" y="742"/>
                    <a:pt x="68" y="746"/>
                  </a:cubicBezTo>
                  <a:cubicBezTo>
                    <a:pt x="71" y="748"/>
                    <a:pt x="74" y="749"/>
                    <a:pt x="77" y="749"/>
                  </a:cubicBezTo>
                  <a:cubicBezTo>
                    <a:pt x="78" y="749"/>
                    <a:pt x="80" y="749"/>
                    <a:pt x="81" y="749"/>
                  </a:cubicBezTo>
                  <a:cubicBezTo>
                    <a:pt x="180" y="716"/>
                    <a:pt x="180" y="716"/>
                    <a:pt x="180" y="716"/>
                  </a:cubicBezTo>
                  <a:cubicBezTo>
                    <a:pt x="181" y="715"/>
                    <a:pt x="181" y="715"/>
                    <a:pt x="181" y="715"/>
                  </a:cubicBezTo>
                  <a:cubicBezTo>
                    <a:pt x="301" y="675"/>
                    <a:pt x="301" y="675"/>
                    <a:pt x="301" y="675"/>
                  </a:cubicBezTo>
                  <a:cubicBezTo>
                    <a:pt x="301" y="675"/>
                    <a:pt x="301" y="675"/>
                    <a:pt x="301" y="675"/>
                  </a:cubicBezTo>
                  <a:cubicBezTo>
                    <a:pt x="303" y="674"/>
                    <a:pt x="305" y="674"/>
                    <a:pt x="306" y="672"/>
                  </a:cubicBezTo>
                  <a:lnTo>
                    <a:pt x="673" y="306"/>
                  </a:lnTo>
                  <a:close/>
                  <a:moveTo>
                    <a:pt x="180" y="689"/>
                  </a:moveTo>
                  <a:cubicBezTo>
                    <a:pt x="125" y="634"/>
                    <a:pt x="125" y="634"/>
                    <a:pt x="125" y="634"/>
                  </a:cubicBezTo>
                  <a:cubicBezTo>
                    <a:pt x="156" y="540"/>
                    <a:pt x="156" y="540"/>
                    <a:pt x="156" y="54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74" y="658"/>
                    <a:pt x="274" y="658"/>
                    <a:pt x="274" y="658"/>
                  </a:cubicBezTo>
                  <a:lnTo>
                    <a:pt x="180" y="689"/>
                  </a:lnTo>
                  <a:close/>
                  <a:moveTo>
                    <a:pt x="517" y="168"/>
                  </a:moveTo>
                  <a:cubicBezTo>
                    <a:pt x="541" y="192"/>
                    <a:pt x="541" y="192"/>
                    <a:pt x="541" y="192"/>
                  </a:cubicBezTo>
                  <a:cubicBezTo>
                    <a:pt x="193" y="541"/>
                    <a:pt x="193" y="541"/>
                    <a:pt x="193" y="541"/>
                  </a:cubicBezTo>
                  <a:cubicBezTo>
                    <a:pt x="168" y="517"/>
                    <a:pt x="168" y="517"/>
                    <a:pt x="168" y="517"/>
                  </a:cubicBezTo>
                  <a:lnTo>
                    <a:pt x="517" y="168"/>
                  </a:lnTo>
                  <a:close/>
                  <a:moveTo>
                    <a:pt x="568" y="117"/>
                  </a:moveTo>
                  <a:cubicBezTo>
                    <a:pt x="697" y="246"/>
                    <a:pt x="697" y="246"/>
                    <a:pt x="697" y="246"/>
                  </a:cubicBezTo>
                  <a:cubicBezTo>
                    <a:pt x="664" y="279"/>
                    <a:pt x="664" y="279"/>
                    <a:pt x="664" y="279"/>
                  </a:cubicBezTo>
                  <a:cubicBezTo>
                    <a:pt x="535" y="150"/>
                    <a:pt x="535" y="150"/>
                    <a:pt x="535" y="150"/>
                  </a:cubicBezTo>
                  <a:lnTo>
                    <a:pt x="568" y="117"/>
                  </a:lnTo>
                  <a:close/>
                  <a:moveTo>
                    <a:pt x="211" y="559"/>
                  </a:moveTo>
                  <a:cubicBezTo>
                    <a:pt x="559" y="210"/>
                    <a:pt x="559" y="210"/>
                    <a:pt x="559" y="210"/>
                  </a:cubicBezTo>
                  <a:cubicBezTo>
                    <a:pt x="603" y="254"/>
                    <a:pt x="603" y="254"/>
                    <a:pt x="603" y="254"/>
                  </a:cubicBezTo>
                  <a:cubicBezTo>
                    <a:pt x="255" y="603"/>
                    <a:pt x="255" y="603"/>
                    <a:pt x="255" y="603"/>
                  </a:cubicBezTo>
                  <a:lnTo>
                    <a:pt x="211" y="559"/>
                  </a:lnTo>
                  <a:close/>
                  <a:moveTo>
                    <a:pt x="273" y="621"/>
                  </a:moveTo>
                  <a:cubicBezTo>
                    <a:pt x="621" y="272"/>
                    <a:pt x="621" y="272"/>
                    <a:pt x="621" y="272"/>
                  </a:cubicBezTo>
                  <a:cubicBezTo>
                    <a:pt x="646" y="297"/>
                    <a:pt x="646" y="297"/>
                    <a:pt x="646" y="297"/>
                  </a:cubicBezTo>
                  <a:cubicBezTo>
                    <a:pt x="297" y="645"/>
                    <a:pt x="297" y="645"/>
                    <a:pt x="297" y="645"/>
                  </a:cubicBezTo>
                  <a:lnTo>
                    <a:pt x="273" y="621"/>
                  </a:lnTo>
                  <a:close/>
                  <a:moveTo>
                    <a:pt x="628" y="57"/>
                  </a:moveTo>
                  <a:cubicBezTo>
                    <a:pt x="648" y="37"/>
                    <a:pt x="680" y="37"/>
                    <a:pt x="699" y="57"/>
                  </a:cubicBezTo>
                  <a:cubicBezTo>
                    <a:pt x="756" y="114"/>
                    <a:pt x="756" y="114"/>
                    <a:pt x="756" y="114"/>
                  </a:cubicBezTo>
                  <a:cubicBezTo>
                    <a:pt x="776" y="134"/>
                    <a:pt x="776" y="166"/>
                    <a:pt x="756" y="186"/>
                  </a:cubicBezTo>
                  <a:cubicBezTo>
                    <a:pt x="715" y="228"/>
                    <a:pt x="715" y="228"/>
                    <a:pt x="715" y="228"/>
                  </a:cubicBezTo>
                  <a:cubicBezTo>
                    <a:pt x="586" y="99"/>
                    <a:pt x="586" y="99"/>
                    <a:pt x="586" y="99"/>
                  </a:cubicBezTo>
                  <a:lnTo>
                    <a:pt x="628" y="57"/>
                  </a:lnTo>
                  <a:close/>
                  <a:moveTo>
                    <a:pt x="116" y="661"/>
                  </a:moveTo>
                  <a:cubicBezTo>
                    <a:pt x="153" y="698"/>
                    <a:pt x="153" y="698"/>
                    <a:pt x="153" y="698"/>
                  </a:cubicBezTo>
                  <a:cubicBezTo>
                    <a:pt x="97" y="717"/>
                    <a:pt x="97" y="717"/>
                    <a:pt x="97" y="717"/>
                  </a:cubicBezTo>
                  <a:lnTo>
                    <a:pt x="116" y="661"/>
                  </a:lnTo>
                  <a:close/>
                  <a:moveTo>
                    <a:pt x="17" y="181"/>
                  </a:moveTo>
                  <a:cubicBezTo>
                    <a:pt x="0" y="164"/>
                    <a:pt x="0" y="136"/>
                    <a:pt x="17" y="119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36" y="0"/>
                    <a:pt x="165" y="0"/>
                    <a:pt x="182" y="17"/>
                  </a:cubicBezTo>
                  <a:cubicBezTo>
                    <a:pt x="382" y="217"/>
                    <a:pt x="382" y="217"/>
                    <a:pt x="382" y="217"/>
                  </a:cubicBezTo>
                  <a:cubicBezTo>
                    <a:pt x="387" y="222"/>
                    <a:pt x="387" y="230"/>
                    <a:pt x="382" y="235"/>
                  </a:cubicBezTo>
                  <a:cubicBezTo>
                    <a:pt x="377" y="240"/>
                    <a:pt x="369" y="240"/>
                    <a:pt x="364" y="2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57" y="28"/>
                    <a:pt x="144" y="28"/>
                    <a:pt x="137" y="35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28" y="144"/>
                    <a:pt x="28" y="156"/>
                    <a:pt x="35" y="164"/>
                  </a:cubicBezTo>
                  <a:cubicBezTo>
                    <a:pt x="61" y="190"/>
                    <a:pt x="61" y="190"/>
                    <a:pt x="61" y="19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131" y="120"/>
                    <a:pt x="139" y="120"/>
                    <a:pt x="144" y="125"/>
                  </a:cubicBezTo>
                  <a:cubicBezTo>
                    <a:pt x="149" y="130"/>
                    <a:pt x="149" y="138"/>
                    <a:pt x="144" y="143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125" y="254"/>
                    <a:pt x="125" y="254"/>
                    <a:pt x="125" y="254"/>
                  </a:cubicBezTo>
                  <a:cubicBezTo>
                    <a:pt x="167" y="212"/>
                    <a:pt x="167" y="212"/>
                    <a:pt x="167" y="212"/>
                  </a:cubicBezTo>
                  <a:cubicBezTo>
                    <a:pt x="172" y="207"/>
                    <a:pt x="180" y="207"/>
                    <a:pt x="185" y="212"/>
                  </a:cubicBezTo>
                  <a:cubicBezTo>
                    <a:pt x="190" y="217"/>
                    <a:pt x="190" y="225"/>
                    <a:pt x="185" y="230"/>
                  </a:cubicBezTo>
                  <a:cubicBezTo>
                    <a:pt x="143" y="272"/>
                    <a:pt x="143" y="272"/>
                    <a:pt x="143" y="272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254" y="254"/>
                    <a:pt x="254" y="254"/>
                    <a:pt x="254" y="254"/>
                  </a:cubicBezTo>
                  <a:cubicBezTo>
                    <a:pt x="259" y="249"/>
                    <a:pt x="267" y="249"/>
                    <a:pt x="272" y="254"/>
                  </a:cubicBezTo>
                  <a:cubicBezTo>
                    <a:pt x="277" y="259"/>
                    <a:pt x="277" y="267"/>
                    <a:pt x="272" y="272"/>
                  </a:cubicBezTo>
                  <a:cubicBezTo>
                    <a:pt x="208" y="336"/>
                    <a:pt x="208" y="336"/>
                    <a:pt x="208" y="336"/>
                  </a:cubicBezTo>
                  <a:cubicBezTo>
                    <a:pt x="237" y="366"/>
                    <a:pt x="237" y="366"/>
                    <a:pt x="237" y="366"/>
                  </a:cubicBezTo>
                  <a:cubicBezTo>
                    <a:pt x="242" y="370"/>
                    <a:pt x="242" y="379"/>
                    <a:pt x="237" y="383"/>
                  </a:cubicBezTo>
                  <a:cubicBezTo>
                    <a:pt x="235" y="386"/>
                    <a:pt x="231" y="387"/>
                    <a:pt x="228" y="387"/>
                  </a:cubicBezTo>
                  <a:cubicBezTo>
                    <a:pt x="225" y="387"/>
                    <a:pt x="222" y="386"/>
                    <a:pt x="219" y="383"/>
                  </a:cubicBezTo>
                  <a:lnTo>
                    <a:pt x="17" y="181"/>
                  </a:lnTo>
                  <a:close/>
                  <a:moveTo>
                    <a:pt x="797" y="695"/>
                  </a:moveTo>
                  <a:cubicBezTo>
                    <a:pt x="695" y="796"/>
                    <a:pt x="695" y="796"/>
                    <a:pt x="695" y="796"/>
                  </a:cubicBezTo>
                  <a:cubicBezTo>
                    <a:pt x="687" y="805"/>
                    <a:pt x="675" y="809"/>
                    <a:pt x="664" y="809"/>
                  </a:cubicBezTo>
                  <a:cubicBezTo>
                    <a:pt x="652" y="809"/>
                    <a:pt x="641" y="805"/>
                    <a:pt x="632" y="796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26" y="590"/>
                    <a:pt x="426" y="590"/>
                    <a:pt x="426" y="590"/>
                  </a:cubicBezTo>
                  <a:cubicBezTo>
                    <a:pt x="421" y="585"/>
                    <a:pt x="421" y="577"/>
                    <a:pt x="426" y="572"/>
                  </a:cubicBezTo>
                  <a:cubicBezTo>
                    <a:pt x="431" y="567"/>
                    <a:pt x="439" y="567"/>
                    <a:pt x="444" y="572"/>
                  </a:cubicBezTo>
                  <a:cubicBezTo>
                    <a:pt x="478" y="606"/>
                    <a:pt x="478" y="606"/>
                    <a:pt x="478" y="606"/>
                  </a:cubicBezTo>
                  <a:cubicBezTo>
                    <a:pt x="542" y="542"/>
                    <a:pt x="542" y="542"/>
                    <a:pt x="542" y="542"/>
                  </a:cubicBezTo>
                  <a:cubicBezTo>
                    <a:pt x="547" y="537"/>
                    <a:pt x="555" y="537"/>
                    <a:pt x="560" y="542"/>
                  </a:cubicBezTo>
                  <a:cubicBezTo>
                    <a:pt x="565" y="547"/>
                    <a:pt x="565" y="555"/>
                    <a:pt x="560" y="560"/>
                  </a:cubicBezTo>
                  <a:cubicBezTo>
                    <a:pt x="496" y="624"/>
                    <a:pt x="496" y="624"/>
                    <a:pt x="496" y="624"/>
                  </a:cubicBezTo>
                  <a:cubicBezTo>
                    <a:pt x="542" y="670"/>
                    <a:pt x="542" y="670"/>
                    <a:pt x="542" y="670"/>
                  </a:cubicBezTo>
                  <a:cubicBezTo>
                    <a:pt x="584" y="628"/>
                    <a:pt x="584" y="628"/>
                    <a:pt x="584" y="628"/>
                  </a:cubicBezTo>
                  <a:cubicBezTo>
                    <a:pt x="589" y="623"/>
                    <a:pt x="597" y="623"/>
                    <a:pt x="602" y="628"/>
                  </a:cubicBezTo>
                  <a:cubicBezTo>
                    <a:pt x="607" y="633"/>
                    <a:pt x="607" y="641"/>
                    <a:pt x="602" y="646"/>
                  </a:cubicBezTo>
                  <a:cubicBezTo>
                    <a:pt x="560" y="688"/>
                    <a:pt x="560" y="688"/>
                    <a:pt x="560" y="688"/>
                  </a:cubicBezTo>
                  <a:cubicBezTo>
                    <a:pt x="606" y="734"/>
                    <a:pt x="606" y="734"/>
                    <a:pt x="606" y="734"/>
                  </a:cubicBezTo>
                  <a:cubicBezTo>
                    <a:pt x="670" y="670"/>
                    <a:pt x="670" y="670"/>
                    <a:pt x="670" y="670"/>
                  </a:cubicBezTo>
                  <a:cubicBezTo>
                    <a:pt x="675" y="665"/>
                    <a:pt x="683" y="665"/>
                    <a:pt x="688" y="670"/>
                  </a:cubicBezTo>
                  <a:cubicBezTo>
                    <a:pt x="693" y="675"/>
                    <a:pt x="693" y="683"/>
                    <a:pt x="688" y="688"/>
                  </a:cubicBezTo>
                  <a:cubicBezTo>
                    <a:pt x="624" y="752"/>
                    <a:pt x="624" y="752"/>
                    <a:pt x="624" y="752"/>
                  </a:cubicBezTo>
                  <a:cubicBezTo>
                    <a:pt x="650" y="778"/>
                    <a:pt x="650" y="778"/>
                    <a:pt x="650" y="778"/>
                  </a:cubicBezTo>
                  <a:cubicBezTo>
                    <a:pt x="657" y="786"/>
                    <a:pt x="670" y="786"/>
                    <a:pt x="677" y="779"/>
                  </a:cubicBezTo>
                  <a:cubicBezTo>
                    <a:pt x="779" y="677"/>
                    <a:pt x="779" y="677"/>
                    <a:pt x="779" y="677"/>
                  </a:cubicBezTo>
                  <a:cubicBezTo>
                    <a:pt x="786" y="669"/>
                    <a:pt x="786" y="657"/>
                    <a:pt x="779" y="650"/>
                  </a:cubicBezTo>
                  <a:cubicBezTo>
                    <a:pt x="571" y="442"/>
                    <a:pt x="571" y="442"/>
                    <a:pt x="571" y="442"/>
                  </a:cubicBezTo>
                  <a:cubicBezTo>
                    <a:pt x="566" y="437"/>
                    <a:pt x="566" y="429"/>
                    <a:pt x="571" y="424"/>
                  </a:cubicBezTo>
                  <a:cubicBezTo>
                    <a:pt x="576" y="419"/>
                    <a:pt x="584" y="419"/>
                    <a:pt x="589" y="424"/>
                  </a:cubicBezTo>
                  <a:cubicBezTo>
                    <a:pt x="797" y="632"/>
                    <a:pt x="797" y="632"/>
                    <a:pt x="797" y="632"/>
                  </a:cubicBezTo>
                  <a:cubicBezTo>
                    <a:pt x="814" y="649"/>
                    <a:pt x="814" y="677"/>
                    <a:pt x="797" y="6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3683098" y="1517222"/>
            <a:ext cx="1777804" cy="487760"/>
            <a:chOff x="3786484" y="1531165"/>
            <a:chExt cx="1777804" cy="487760"/>
          </a:xfrm>
        </p:grpSpPr>
        <p:sp>
          <p:nvSpPr>
            <p:cNvPr id="65" name="TextBox 64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238063" y="2629441"/>
            <a:ext cx="1777804" cy="486349"/>
            <a:chOff x="3786484" y="1531165"/>
            <a:chExt cx="1777804" cy="486349"/>
          </a:xfrm>
        </p:grpSpPr>
        <p:sp>
          <p:nvSpPr>
            <p:cNvPr id="68" name="TextBox 67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MBALAGEM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6" name="Group 75"/>
          <p:cNvGrpSpPr/>
          <p:nvPr/>
        </p:nvGrpSpPr>
        <p:grpSpPr>
          <a:xfrm>
            <a:off x="6682499" y="3713732"/>
            <a:ext cx="1777804" cy="487760"/>
            <a:chOff x="3786484" y="1531165"/>
            <a:chExt cx="1777804" cy="487760"/>
          </a:xfrm>
        </p:grpSpPr>
        <p:sp>
          <p:nvSpPr>
            <p:cNvPr id="77" name="TextBox 76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NTrega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global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672175" y="3713732"/>
            <a:ext cx="1777804" cy="486349"/>
            <a:chOff x="3786484" y="1531165"/>
            <a:chExt cx="1777804" cy="486349"/>
          </a:xfrm>
        </p:grpSpPr>
        <p:sp>
          <p:nvSpPr>
            <p:cNvPr id="83" name="TextBox 82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TOTIP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1105693" y="2629441"/>
            <a:ext cx="1777804" cy="486349"/>
            <a:chOff x="3786484" y="1531165"/>
            <a:chExt cx="1777804" cy="486349"/>
          </a:xfrm>
        </p:grpSpPr>
        <p:sp>
          <p:nvSpPr>
            <p:cNvPr id="86" name="TextBox 85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PROVAÇÃO DO CLIENT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88" name="TextBox 87"/>
          <p:cNvSpPr txBox="1"/>
          <p:nvPr/>
        </p:nvSpPr>
        <p:spPr>
          <a:xfrm>
            <a:off x="3294698" y="4008286"/>
            <a:ext cx="4667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1</a:t>
            </a:r>
          </a:p>
        </p:txBody>
      </p:sp>
      <p:sp>
        <p:nvSpPr>
          <p:cNvPr id="89" name="TextBox 88"/>
          <p:cNvSpPr txBox="1"/>
          <p:nvPr/>
        </p:nvSpPr>
        <p:spPr>
          <a:xfrm rot="2700000">
            <a:off x="3540695" y="3232748"/>
            <a:ext cx="4667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2</a:t>
            </a:r>
          </a:p>
        </p:txBody>
      </p:sp>
      <p:sp>
        <p:nvSpPr>
          <p:cNvPr id="91" name="TextBox 90"/>
          <p:cNvSpPr txBox="1"/>
          <p:nvPr/>
        </p:nvSpPr>
        <p:spPr>
          <a:xfrm rot="16200000">
            <a:off x="4237473" y="2858504"/>
            <a:ext cx="4667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3</a:t>
            </a:r>
          </a:p>
        </p:txBody>
      </p:sp>
      <p:sp>
        <p:nvSpPr>
          <p:cNvPr id="92" name="TextBox 91"/>
          <p:cNvSpPr txBox="1"/>
          <p:nvPr/>
        </p:nvSpPr>
        <p:spPr>
          <a:xfrm rot="18900000">
            <a:off x="5143364" y="3232748"/>
            <a:ext cx="4667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4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5381618" y="4008286"/>
            <a:ext cx="46674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5</a:t>
            </a:r>
          </a:p>
        </p:txBody>
      </p:sp>
    </p:spTree>
    <p:extLst>
      <p:ext uri="{BB962C8B-B14F-4D97-AF65-F5344CB8AC3E}">
        <p14:creationId xmlns:p14="http://schemas.microsoft.com/office/powerpoint/2010/main" val="400242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NÁLISE </a:t>
            </a:r>
            <a:r>
              <a:rPr lang="en-US" dirty="0">
                <a:solidFill>
                  <a:srgbClr val="EC0000"/>
                </a:solidFill>
              </a:rPr>
              <a:t>PIRÂM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8"/>
          <p:cNvSpPr>
            <a:spLocks/>
          </p:cNvSpPr>
          <p:nvPr/>
        </p:nvSpPr>
        <p:spPr bwMode="auto">
          <a:xfrm>
            <a:off x="1867069" y="1543051"/>
            <a:ext cx="855061" cy="739691"/>
          </a:xfrm>
          <a:custGeom>
            <a:avLst/>
            <a:gdLst>
              <a:gd name="T0" fmla="*/ 775 w 1549"/>
              <a:gd name="T1" fmla="*/ 0 h 1340"/>
              <a:gd name="T2" fmla="*/ 0 w 1549"/>
              <a:gd name="T3" fmla="*/ 1340 h 1340"/>
              <a:gd name="T4" fmla="*/ 1549 w 1549"/>
              <a:gd name="T5" fmla="*/ 1340 h 1340"/>
              <a:gd name="T6" fmla="*/ 775 w 1549"/>
              <a:gd name="T7" fmla="*/ 0 h 1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49" h="1340">
                <a:moveTo>
                  <a:pt x="775" y="0"/>
                </a:moveTo>
                <a:lnTo>
                  <a:pt x="0" y="1340"/>
                </a:lnTo>
                <a:lnTo>
                  <a:pt x="1549" y="1340"/>
                </a:lnTo>
                <a:lnTo>
                  <a:pt x="77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1439263" y="2210519"/>
            <a:ext cx="1711225" cy="740243"/>
          </a:xfrm>
          <a:custGeom>
            <a:avLst/>
            <a:gdLst>
              <a:gd name="T0" fmla="*/ 0 w 3100"/>
              <a:gd name="T1" fmla="*/ 1341 h 1341"/>
              <a:gd name="T2" fmla="*/ 3100 w 3100"/>
              <a:gd name="T3" fmla="*/ 1341 h 1341"/>
              <a:gd name="T4" fmla="*/ 2324 w 3100"/>
              <a:gd name="T5" fmla="*/ 0 h 1341"/>
              <a:gd name="T6" fmla="*/ 775 w 3100"/>
              <a:gd name="T7" fmla="*/ 0 h 1341"/>
              <a:gd name="T8" fmla="*/ 0 w 3100"/>
              <a:gd name="T9" fmla="*/ 1341 h 1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00" h="1341">
                <a:moveTo>
                  <a:pt x="0" y="1341"/>
                </a:moveTo>
                <a:lnTo>
                  <a:pt x="3100" y="1341"/>
                </a:lnTo>
                <a:lnTo>
                  <a:pt x="2324" y="0"/>
                </a:lnTo>
                <a:lnTo>
                  <a:pt x="775" y="0"/>
                </a:lnTo>
                <a:lnTo>
                  <a:pt x="0" y="134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6"/>
          <p:cNvSpPr>
            <a:spLocks/>
          </p:cNvSpPr>
          <p:nvPr/>
        </p:nvSpPr>
        <p:spPr bwMode="auto">
          <a:xfrm>
            <a:off x="1011456" y="2878540"/>
            <a:ext cx="2566285" cy="740243"/>
          </a:xfrm>
          <a:custGeom>
            <a:avLst/>
            <a:gdLst>
              <a:gd name="T0" fmla="*/ 0 w 4649"/>
              <a:gd name="T1" fmla="*/ 1341 h 1341"/>
              <a:gd name="T2" fmla="*/ 4649 w 4649"/>
              <a:gd name="T3" fmla="*/ 1341 h 1341"/>
              <a:gd name="T4" fmla="*/ 3875 w 4649"/>
              <a:gd name="T5" fmla="*/ 0 h 1341"/>
              <a:gd name="T6" fmla="*/ 775 w 4649"/>
              <a:gd name="T7" fmla="*/ 0 h 1341"/>
              <a:gd name="T8" fmla="*/ 0 w 4649"/>
              <a:gd name="T9" fmla="*/ 1341 h 1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49" h="1341">
                <a:moveTo>
                  <a:pt x="0" y="1341"/>
                </a:moveTo>
                <a:lnTo>
                  <a:pt x="4649" y="1341"/>
                </a:lnTo>
                <a:lnTo>
                  <a:pt x="3875" y="0"/>
                </a:lnTo>
                <a:lnTo>
                  <a:pt x="775" y="0"/>
                </a:lnTo>
                <a:lnTo>
                  <a:pt x="0" y="134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584202" y="3546560"/>
            <a:ext cx="3421346" cy="739691"/>
          </a:xfrm>
          <a:custGeom>
            <a:avLst/>
            <a:gdLst>
              <a:gd name="T0" fmla="*/ 774 w 6198"/>
              <a:gd name="T1" fmla="*/ 0 h 1340"/>
              <a:gd name="T2" fmla="*/ 0 w 6198"/>
              <a:gd name="T3" fmla="*/ 1340 h 1340"/>
              <a:gd name="T4" fmla="*/ 3099 w 6198"/>
              <a:gd name="T5" fmla="*/ 1340 h 1340"/>
              <a:gd name="T6" fmla="*/ 6198 w 6198"/>
              <a:gd name="T7" fmla="*/ 1340 h 1340"/>
              <a:gd name="T8" fmla="*/ 5423 w 6198"/>
              <a:gd name="T9" fmla="*/ 0 h 1340"/>
              <a:gd name="T10" fmla="*/ 774 w 6198"/>
              <a:gd name="T11" fmla="*/ 0 h 1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98" h="1340">
                <a:moveTo>
                  <a:pt x="774" y="0"/>
                </a:moveTo>
                <a:lnTo>
                  <a:pt x="0" y="1340"/>
                </a:lnTo>
                <a:lnTo>
                  <a:pt x="3099" y="1340"/>
                </a:lnTo>
                <a:lnTo>
                  <a:pt x="6198" y="1340"/>
                </a:lnTo>
                <a:lnTo>
                  <a:pt x="5423" y="0"/>
                </a:lnTo>
                <a:lnTo>
                  <a:pt x="77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5" name="TextBox 24"/>
          <p:cNvSpPr txBox="1"/>
          <p:nvPr/>
        </p:nvSpPr>
        <p:spPr>
          <a:xfrm>
            <a:off x="4448175" y="1487136"/>
            <a:ext cx="4067175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1" spc="3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22.3M</a:t>
            </a:r>
            <a:r>
              <a:rPr lang="en-US" sz="2800" b="1" spc="30" dirty="0">
                <a:solidFill>
                  <a:srgbClr val="EC1C2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200" b="1" spc="3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Verba</a:t>
            </a:r>
            <a:r>
              <a:rPr lang="en-US" sz="1200" b="1" spc="3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200" b="1" spc="3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Anual</a:t>
            </a:r>
            <a:endParaRPr lang="en-US" sz="1200" b="1" spc="30" dirty="0">
              <a:solidFill>
                <a:schemeClr val="accent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097041" y="1907292"/>
            <a:ext cx="39566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4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097041" y="2431539"/>
            <a:ext cx="39566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097041" y="3112007"/>
            <a:ext cx="39566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097041" y="3793109"/>
            <a:ext cx="395669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1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914380" y="2827403"/>
            <a:ext cx="1315686" cy="474932"/>
            <a:chOff x="4914380" y="2827403"/>
            <a:chExt cx="1315686" cy="474932"/>
          </a:xfrm>
        </p:grpSpPr>
        <p:sp>
          <p:nvSpPr>
            <p:cNvPr id="49" name="TextBox 48"/>
            <p:cNvSpPr txBox="1"/>
            <p:nvPr/>
          </p:nvSpPr>
          <p:spPr>
            <a:xfrm>
              <a:off x="4914413" y="2827403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TERIAI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914380" y="3019244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231413" y="2827403"/>
            <a:ext cx="1315686" cy="474932"/>
            <a:chOff x="7231413" y="2827403"/>
            <a:chExt cx="1315686" cy="474932"/>
          </a:xfrm>
        </p:grpSpPr>
        <p:sp>
          <p:nvSpPr>
            <p:cNvPr id="52" name="TextBox 51"/>
            <p:cNvSpPr txBox="1"/>
            <p:nvPr/>
          </p:nvSpPr>
          <p:spPr>
            <a:xfrm>
              <a:off x="7231446" y="2827403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erb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231413" y="3019244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914380" y="3680809"/>
            <a:ext cx="1315686" cy="474932"/>
            <a:chOff x="4914380" y="3680809"/>
            <a:chExt cx="1315686" cy="474932"/>
          </a:xfrm>
        </p:grpSpPr>
        <p:sp>
          <p:nvSpPr>
            <p:cNvPr id="55" name="TextBox 54"/>
            <p:cNvSpPr txBox="1"/>
            <p:nvPr/>
          </p:nvSpPr>
          <p:spPr>
            <a:xfrm>
              <a:off x="4914413" y="3680809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núncio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globai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914380" y="3872650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231413" y="3680809"/>
            <a:ext cx="1315686" cy="474932"/>
            <a:chOff x="7231413" y="3680809"/>
            <a:chExt cx="1315686" cy="474932"/>
          </a:xfrm>
        </p:grpSpPr>
        <p:sp>
          <p:nvSpPr>
            <p:cNvPr id="58" name="TextBox 57"/>
            <p:cNvSpPr txBox="1"/>
            <p:nvPr/>
          </p:nvSpPr>
          <p:spPr>
            <a:xfrm>
              <a:off x="7231446" y="3680809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negócio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231413" y="3872650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64" name="TextBox 63"/>
          <p:cNvSpPr txBox="1"/>
          <p:nvPr/>
        </p:nvSpPr>
        <p:spPr>
          <a:xfrm>
            <a:off x="4448175" y="1971765"/>
            <a:ext cx="4089380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6776345" y="3672872"/>
            <a:ext cx="362553" cy="362553"/>
            <a:chOff x="6708695" y="3695097"/>
            <a:chExt cx="404154" cy="404154"/>
          </a:xfrm>
        </p:grpSpPr>
        <p:sp>
          <p:nvSpPr>
            <p:cNvPr id="57" name="Oval 56"/>
            <p:cNvSpPr/>
            <p:nvPr/>
          </p:nvSpPr>
          <p:spPr>
            <a:xfrm>
              <a:off x="6708695" y="3695097"/>
              <a:ext cx="404154" cy="40415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6806529" y="3801714"/>
              <a:ext cx="208486" cy="190920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6776345" y="2819466"/>
            <a:ext cx="362553" cy="362553"/>
            <a:chOff x="6708695" y="2841691"/>
            <a:chExt cx="404154" cy="404154"/>
          </a:xfrm>
        </p:grpSpPr>
        <p:sp>
          <p:nvSpPr>
            <p:cNvPr id="51" name="Oval 50"/>
            <p:cNvSpPr/>
            <p:nvPr/>
          </p:nvSpPr>
          <p:spPr>
            <a:xfrm>
              <a:off x="6708695" y="2841691"/>
              <a:ext cx="404154" cy="40415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Freeform 117"/>
            <p:cNvSpPr>
              <a:spLocks noEditPoints="1"/>
            </p:cNvSpPr>
            <p:nvPr/>
          </p:nvSpPr>
          <p:spPr bwMode="auto">
            <a:xfrm>
              <a:off x="6806911" y="2939907"/>
              <a:ext cx="207722" cy="207722"/>
            </a:xfrm>
            <a:custGeom>
              <a:avLst/>
              <a:gdLst>
                <a:gd name="T0" fmla="*/ 353 w 353"/>
                <a:gd name="T1" fmla="*/ 136 h 353"/>
                <a:gd name="T2" fmla="*/ 349 w 353"/>
                <a:gd name="T3" fmla="*/ 97 h 353"/>
                <a:gd name="T4" fmla="*/ 180 w 353"/>
                <a:gd name="T5" fmla="*/ 1 h 353"/>
                <a:gd name="T6" fmla="*/ 176 w 353"/>
                <a:gd name="T7" fmla="*/ 0 h 353"/>
                <a:gd name="T8" fmla="*/ 173 w 353"/>
                <a:gd name="T9" fmla="*/ 1 h 353"/>
                <a:gd name="T10" fmla="*/ 4 w 353"/>
                <a:gd name="T11" fmla="*/ 97 h 353"/>
                <a:gd name="T12" fmla="*/ 0 w 353"/>
                <a:gd name="T13" fmla="*/ 136 h 353"/>
                <a:gd name="T14" fmla="*/ 32 w 353"/>
                <a:gd name="T15" fmla="*/ 144 h 353"/>
                <a:gd name="T16" fmla="*/ 24 w 353"/>
                <a:gd name="T17" fmla="*/ 289 h 353"/>
                <a:gd name="T18" fmla="*/ 16 w 353"/>
                <a:gd name="T19" fmla="*/ 294 h 353"/>
                <a:gd name="T20" fmla="*/ 0 w 353"/>
                <a:gd name="T21" fmla="*/ 342 h 353"/>
                <a:gd name="T22" fmla="*/ 8 w 353"/>
                <a:gd name="T23" fmla="*/ 353 h 353"/>
                <a:gd name="T24" fmla="*/ 353 w 353"/>
                <a:gd name="T25" fmla="*/ 345 h 353"/>
                <a:gd name="T26" fmla="*/ 353 w 353"/>
                <a:gd name="T27" fmla="*/ 342 h 353"/>
                <a:gd name="T28" fmla="*/ 337 w 353"/>
                <a:gd name="T29" fmla="*/ 294 h 353"/>
                <a:gd name="T30" fmla="*/ 321 w 353"/>
                <a:gd name="T31" fmla="*/ 289 h 353"/>
                <a:gd name="T32" fmla="*/ 345 w 353"/>
                <a:gd name="T33" fmla="*/ 144 h 353"/>
                <a:gd name="T34" fmla="*/ 315 w 353"/>
                <a:gd name="T35" fmla="*/ 96 h 353"/>
                <a:gd name="T36" fmla="*/ 176 w 353"/>
                <a:gd name="T37" fmla="*/ 17 h 353"/>
                <a:gd name="T38" fmla="*/ 334 w 353"/>
                <a:gd name="T39" fmla="*/ 337 h 353"/>
                <a:gd name="T40" fmla="*/ 30 w 353"/>
                <a:gd name="T41" fmla="*/ 305 h 353"/>
                <a:gd name="T42" fmla="*/ 48 w 353"/>
                <a:gd name="T43" fmla="*/ 144 h 353"/>
                <a:gd name="T44" fmla="*/ 80 w 353"/>
                <a:gd name="T45" fmla="*/ 289 h 353"/>
                <a:gd name="T46" fmla="*/ 48 w 353"/>
                <a:gd name="T47" fmla="*/ 144 h 353"/>
                <a:gd name="T48" fmla="*/ 128 w 353"/>
                <a:gd name="T49" fmla="*/ 144 h 353"/>
                <a:gd name="T50" fmla="*/ 96 w 353"/>
                <a:gd name="T51" fmla="*/ 289 h 353"/>
                <a:gd name="T52" fmla="*/ 144 w 353"/>
                <a:gd name="T53" fmla="*/ 144 h 353"/>
                <a:gd name="T54" fmla="*/ 209 w 353"/>
                <a:gd name="T55" fmla="*/ 289 h 353"/>
                <a:gd name="T56" fmla="*/ 144 w 353"/>
                <a:gd name="T57" fmla="*/ 144 h 353"/>
                <a:gd name="T58" fmla="*/ 257 w 353"/>
                <a:gd name="T59" fmla="*/ 144 h 353"/>
                <a:gd name="T60" fmla="*/ 225 w 353"/>
                <a:gd name="T61" fmla="*/ 289 h 353"/>
                <a:gd name="T62" fmla="*/ 273 w 353"/>
                <a:gd name="T63" fmla="*/ 144 h 353"/>
                <a:gd name="T64" fmla="*/ 305 w 353"/>
                <a:gd name="T65" fmla="*/ 289 h 353"/>
                <a:gd name="T66" fmla="*/ 273 w 353"/>
                <a:gd name="T67" fmla="*/ 144 h 353"/>
                <a:gd name="T68" fmla="*/ 337 w 353"/>
                <a:gd name="T69" fmla="*/ 112 h 353"/>
                <a:gd name="T70" fmla="*/ 16 w 353"/>
                <a:gd name="T71" fmla="*/ 12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53">
                  <a:moveTo>
                    <a:pt x="345" y="144"/>
                  </a:moveTo>
                  <a:cubicBezTo>
                    <a:pt x="350" y="144"/>
                    <a:pt x="353" y="141"/>
                    <a:pt x="353" y="136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1"/>
                    <a:pt x="351" y="99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79" y="0"/>
                    <a:pt x="178" y="0"/>
                    <a:pt x="176" y="0"/>
                  </a:cubicBezTo>
                  <a:cubicBezTo>
                    <a:pt x="175" y="0"/>
                    <a:pt x="174" y="0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2" y="99"/>
                    <a:pt x="0" y="101"/>
                    <a:pt x="0" y="10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1"/>
                    <a:pt x="3" y="144"/>
                    <a:pt x="8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0" y="289"/>
                    <a:pt x="18" y="291"/>
                    <a:pt x="16" y="294"/>
                  </a:cubicBezTo>
                  <a:cubicBezTo>
                    <a:pt x="16" y="294"/>
                    <a:pt x="16" y="294"/>
                    <a:pt x="16" y="294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3"/>
                    <a:pt x="0" y="344"/>
                    <a:pt x="0" y="345"/>
                  </a:cubicBezTo>
                  <a:cubicBezTo>
                    <a:pt x="0" y="349"/>
                    <a:pt x="3" y="353"/>
                    <a:pt x="8" y="353"/>
                  </a:cubicBezTo>
                  <a:cubicBezTo>
                    <a:pt x="345" y="353"/>
                    <a:pt x="345" y="353"/>
                    <a:pt x="345" y="353"/>
                  </a:cubicBezTo>
                  <a:cubicBezTo>
                    <a:pt x="350" y="353"/>
                    <a:pt x="353" y="349"/>
                    <a:pt x="353" y="345"/>
                  </a:cubicBezTo>
                  <a:cubicBezTo>
                    <a:pt x="353" y="344"/>
                    <a:pt x="353" y="343"/>
                    <a:pt x="353" y="342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5" y="291"/>
                    <a:pt x="333" y="289"/>
                    <a:pt x="329" y="289"/>
                  </a:cubicBezTo>
                  <a:cubicBezTo>
                    <a:pt x="321" y="289"/>
                    <a:pt x="321" y="289"/>
                    <a:pt x="321" y="289"/>
                  </a:cubicBezTo>
                  <a:cubicBezTo>
                    <a:pt x="321" y="144"/>
                    <a:pt x="321" y="144"/>
                    <a:pt x="321" y="144"/>
                  </a:cubicBezTo>
                  <a:lnTo>
                    <a:pt x="345" y="144"/>
                  </a:lnTo>
                  <a:close/>
                  <a:moveTo>
                    <a:pt x="176" y="17"/>
                  </a:moveTo>
                  <a:cubicBezTo>
                    <a:pt x="315" y="96"/>
                    <a:pt x="315" y="96"/>
                    <a:pt x="315" y="96"/>
                  </a:cubicBezTo>
                  <a:cubicBezTo>
                    <a:pt x="38" y="96"/>
                    <a:pt x="38" y="96"/>
                    <a:pt x="38" y="96"/>
                  </a:cubicBezTo>
                  <a:lnTo>
                    <a:pt x="176" y="17"/>
                  </a:lnTo>
                  <a:close/>
                  <a:moveTo>
                    <a:pt x="323" y="305"/>
                  </a:moveTo>
                  <a:cubicBezTo>
                    <a:pt x="334" y="337"/>
                    <a:pt x="334" y="337"/>
                    <a:pt x="334" y="337"/>
                  </a:cubicBezTo>
                  <a:cubicBezTo>
                    <a:pt x="19" y="337"/>
                    <a:pt x="19" y="337"/>
                    <a:pt x="19" y="337"/>
                  </a:cubicBezTo>
                  <a:cubicBezTo>
                    <a:pt x="30" y="305"/>
                    <a:pt x="30" y="305"/>
                    <a:pt x="30" y="305"/>
                  </a:cubicBezTo>
                  <a:lnTo>
                    <a:pt x="323" y="305"/>
                  </a:lnTo>
                  <a:close/>
                  <a:moveTo>
                    <a:pt x="48" y="144"/>
                  </a:moveTo>
                  <a:cubicBezTo>
                    <a:pt x="80" y="144"/>
                    <a:pt x="80" y="144"/>
                    <a:pt x="80" y="144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48" y="289"/>
                    <a:pt x="48" y="289"/>
                    <a:pt x="48" y="289"/>
                  </a:cubicBezTo>
                  <a:lnTo>
                    <a:pt x="48" y="144"/>
                  </a:lnTo>
                  <a:close/>
                  <a:moveTo>
                    <a:pt x="96" y="144"/>
                  </a:moveTo>
                  <a:cubicBezTo>
                    <a:pt x="128" y="144"/>
                    <a:pt x="128" y="144"/>
                    <a:pt x="128" y="144"/>
                  </a:cubicBezTo>
                  <a:cubicBezTo>
                    <a:pt x="128" y="289"/>
                    <a:pt x="128" y="289"/>
                    <a:pt x="128" y="289"/>
                  </a:cubicBezTo>
                  <a:cubicBezTo>
                    <a:pt x="96" y="289"/>
                    <a:pt x="96" y="289"/>
                    <a:pt x="96" y="289"/>
                  </a:cubicBezTo>
                  <a:lnTo>
                    <a:pt x="96" y="144"/>
                  </a:lnTo>
                  <a:close/>
                  <a:moveTo>
                    <a:pt x="144" y="144"/>
                  </a:moveTo>
                  <a:cubicBezTo>
                    <a:pt x="209" y="144"/>
                    <a:pt x="209" y="144"/>
                    <a:pt x="209" y="14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144" y="289"/>
                    <a:pt x="144" y="289"/>
                    <a:pt x="144" y="289"/>
                  </a:cubicBezTo>
                  <a:lnTo>
                    <a:pt x="144" y="144"/>
                  </a:lnTo>
                  <a:close/>
                  <a:moveTo>
                    <a:pt x="225" y="144"/>
                  </a:moveTo>
                  <a:cubicBezTo>
                    <a:pt x="257" y="144"/>
                    <a:pt x="257" y="144"/>
                    <a:pt x="257" y="144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25" y="289"/>
                    <a:pt x="225" y="289"/>
                    <a:pt x="225" y="289"/>
                  </a:cubicBezTo>
                  <a:lnTo>
                    <a:pt x="225" y="144"/>
                  </a:lnTo>
                  <a:close/>
                  <a:moveTo>
                    <a:pt x="273" y="144"/>
                  </a:moveTo>
                  <a:cubicBezTo>
                    <a:pt x="305" y="144"/>
                    <a:pt x="305" y="144"/>
                    <a:pt x="305" y="144"/>
                  </a:cubicBezTo>
                  <a:cubicBezTo>
                    <a:pt x="305" y="289"/>
                    <a:pt x="305" y="289"/>
                    <a:pt x="305" y="289"/>
                  </a:cubicBezTo>
                  <a:cubicBezTo>
                    <a:pt x="273" y="289"/>
                    <a:pt x="273" y="289"/>
                    <a:pt x="273" y="289"/>
                  </a:cubicBezTo>
                  <a:lnTo>
                    <a:pt x="273" y="144"/>
                  </a:lnTo>
                  <a:close/>
                  <a:moveTo>
                    <a:pt x="16" y="112"/>
                  </a:moveTo>
                  <a:cubicBezTo>
                    <a:pt x="337" y="112"/>
                    <a:pt x="337" y="112"/>
                    <a:pt x="337" y="112"/>
                  </a:cubicBezTo>
                  <a:cubicBezTo>
                    <a:pt x="337" y="128"/>
                    <a:pt x="337" y="128"/>
                    <a:pt x="337" y="128"/>
                  </a:cubicBezTo>
                  <a:cubicBezTo>
                    <a:pt x="16" y="128"/>
                    <a:pt x="16" y="128"/>
                    <a:pt x="16" y="128"/>
                  </a:cubicBezTo>
                  <a:lnTo>
                    <a:pt x="16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4449746" y="3672872"/>
            <a:ext cx="362553" cy="362553"/>
            <a:chOff x="4449746" y="3695097"/>
            <a:chExt cx="404154" cy="404154"/>
          </a:xfrm>
        </p:grpSpPr>
        <p:sp>
          <p:nvSpPr>
            <p:cNvPr id="54" name="Oval 53"/>
            <p:cNvSpPr/>
            <p:nvPr/>
          </p:nvSpPr>
          <p:spPr>
            <a:xfrm>
              <a:off x="4449746" y="3695097"/>
              <a:ext cx="404154" cy="40415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Freeform 45"/>
            <p:cNvSpPr>
              <a:spLocks noEditPoints="1"/>
            </p:cNvSpPr>
            <p:nvPr/>
          </p:nvSpPr>
          <p:spPr bwMode="auto">
            <a:xfrm>
              <a:off x="4548343" y="3793313"/>
              <a:ext cx="206960" cy="207722"/>
            </a:xfrm>
            <a:custGeom>
              <a:avLst/>
              <a:gdLst>
                <a:gd name="T0" fmla="*/ 0 w 353"/>
                <a:gd name="T1" fmla="*/ 177 h 354"/>
                <a:gd name="T2" fmla="*/ 353 w 353"/>
                <a:gd name="T3" fmla="*/ 177 h 354"/>
                <a:gd name="T4" fmla="*/ 129 w 353"/>
                <a:gd name="T5" fmla="*/ 24 h 354"/>
                <a:gd name="T6" fmla="*/ 118 w 353"/>
                <a:gd name="T7" fmla="*/ 37 h 354"/>
                <a:gd name="T8" fmla="*/ 100 w 353"/>
                <a:gd name="T9" fmla="*/ 69 h 354"/>
                <a:gd name="T10" fmla="*/ 73 w 353"/>
                <a:gd name="T11" fmla="*/ 55 h 354"/>
                <a:gd name="T12" fmla="*/ 61 w 353"/>
                <a:gd name="T13" fmla="*/ 65 h 354"/>
                <a:gd name="T14" fmla="*/ 93 w 353"/>
                <a:gd name="T15" fmla="*/ 89 h 354"/>
                <a:gd name="T16" fmla="*/ 83 w 353"/>
                <a:gd name="T17" fmla="*/ 133 h 354"/>
                <a:gd name="T18" fmla="*/ 81 w 353"/>
                <a:gd name="T19" fmla="*/ 155 h 354"/>
                <a:gd name="T20" fmla="*/ 16 w 353"/>
                <a:gd name="T21" fmla="*/ 169 h 354"/>
                <a:gd name="T22" fmla="*/ 16 w 353"/>
                <a:gd name="T23" fmla="*/ 185 h 354"/>
                <a:gd name="T24" fmla="*/ 81 w 353"/>
                <a:gd name="T25" fmla="*/ 199 h 354"/>
                <a:gd name="T26" fmla="*/ 83 w 353"/>
                <a:gd name="T27" fmla="*/ 221 h 354"/>
                <a:gd name="T28" fmla="*/ 93 w 353"/>
                <a:gd name="T29" fmla="*/ 265 h 354"/>
                <a:gd name="T30" fmla="*/ 61 w 353"/>
                <a:gd name="T31" fmla="*/ 288 h 354"/>
                <a:gd name="T32" fmla="*/ 73 w 353"/>
                <a:gd name="T33" fmla="*/ 299 h 354"/>
                <a:gd name="T34" fmla="*/ 100 w 353"/>
                <a:gd name="T35" fmla="*/ 284 h 354"/>
                <a:gd name="T36" fmla="*/ 118 w 353"/>
                <a:gd name="T37" fmla="*/ 317 h 354"/>
                <a:gd name="T38" fmla="*/ 129 w 353"/>
                <a:gd name="T39" fmla="*/ 330 h 354"/>
                <a:gd name="T40" fmla="*/ 168 w 353"/>
                <a:gd name="T41" fmla="*/ 337 h 354"/>
                <a:gd name="T42" fmla="*/ 168 w 353"/>
                <a:gd name="T43" fmla="*/ 266 h 354"/>
                <a:gd name="T44" fmla="*/ 168 w 353"/>
                <a:gd name="T45" fmla="*/ 250 h 354"/>
                <a:gd name="T46" fmla="*/ 96 w 353"/>
                <a:gd name="T47" fmla="*/ 185 h 354"/>
                <a:gd name="T48" fmla="*/ 168 w 353"/>
                <a:gd name="T49" fmla="*/ 250 h 354"/>
                <a:gd name="T50" fmla="*/ 96 w 353"/>
                <a:gd name="T51" fmla="*/ 169 h 354"/>
                <a:gd name="T52" fmla="*/ 168 w 353"/>
                <a:gd name="T53" fmla="*/ 104 h 354"/>
                <a:gd name="T54" fmla="*/ 168 w 353"/>
                <a:gd name="T55" fmla="*/ 88 h 354"/>
                <a:gd name="T56" fmla="*/ 168 w 353"/>
                <a:gd name="T57" fmla="*/ 17 h 354"/>
                <a:gd name="T58" fmla="*/ 337 w 353"/>
                <a:gd name="T59" fmla="*/ 169 h 354"/>
                <a:gd name="T60" fmla="*/ 272 w 353"/>
                <a:gd name="T61" fmla="*/ 155 h 354"/>
                <a:gd name="T62" fmla="*/ 270 w 353"/>
                <a:gd name="T63" fmla="*/ 133 h 354"/>
                <a:gd name="T64" fmla="*/ 260 w 353"/>
                <a:gd name="T65" fmla="*/ 89 h 354"/>
                <a:gd name="T66" fmla="*/ 292 w 353"/>
                <a:gd name="T67" fmla="*/ 65 h 354"/>
                <a:gd name="T68" fmla="*/ 280 w 353"/>
                <a:gd name="T69" fmla="*/ 55 h 354"/>
                <a:gd name="T70" fmla="*/ 253 w 353"/>
                <a:gd name="T71" fmla="*/ 69 h 354"/>
                <a:gd name="T72" fmla="*/ 235 w 353"/>
                <a:gd name="T73" fmla="*/ 37 h 354"/>
                <a:gd name="T74" fmla="*/ 224 w 353"/>
                <a:gd name="T75" fmla="*/ 24 h 354"/>
                <a:gd name="T76" fmla="*/ 185 w 353"/>
                <a:gd name="T77" fmla="*/ 17 h 354"/>
                <a:gd name="T78" fmla="*/ 185 w 353"/>
                <a:gd name="T79" fmla="*/ 88 h 354"/>
                <a:gd name="T80" fmla="*/ 185 w 353"/>
                <a:gd name="T81" fmla="*/ 104 h 354"/>
                <a:gd name="T82" fmla="*/ 257 w 353"/>
                <a:gd name="T83" fmla="*/ 169 h 354"/>
                <a:gd name="T84" fmla="*/ 185 w 353"/>
                <a:gd name="T85" fmla="*/ 104 h 354"/>
                <a:gd name="T86" fmla="*/ 257 w 353"/>
                <a:gd name="T87" fmla="*/ 185 h 354"/>
                <a:gd name="T88" fmla="*/ 185 w 353"/>
                <a:gd name="T89" fmla="*/ 250 h 354"/>
                <a:gd name="T90" fmla="*/ 185 w 353"/>
                <a:gd name="T91" fmla="*/ 337 h 354"/>
                <a:gd name="T92" fmla="*/ 240 w 353"/>
                <a:gd name="T93" fmla="*/ 276 h 354"/>
                <a:gd name="T94" fmla="*/ 224 w 353"/>
                <a:gd name="T95" fmla="*/ 330 h 354"/>
                <a:gd name="T96" fmla="*/ 235 w 353"/>
                <a:gd name="T97" fmla="*/ 317 h 354"/>
                <a:gd name="T98" fmla="*/ 253 w 353"/>
                <a:gd name="T99" fmla="*/ 284 h 354"/>
                <a:gd name="T100" fmla="*/ 280 w 353"/>
                <a:gd name="T101" fmla="*/ 299 h 354"/>
                <a:gd name="T102" fmla="*/ 292 w 353"/>
                <a:gd name="T103" fmla="*/ 288 h 354"/>
                <a:gd name="T104" fmla="*/ 260 w 353"/>
                <a:gd name="T105" fmla="*/ 265 h 354"/>
                <a:gd name="T106" fmla="*/ 270 w 353"/>
                <a:gd name="T107" fmla="*/ 221 h 354"/>
                <a:gd name="T108" fmla="*/ 272 w 353"/>
                <a:gd name="T109" fmla="*/ 199 h 354"/>
                <a:gd name="T110" fmla="*/ 337 w 353"/>
                <a:gd name="T111" fmla="*/ 185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3" h="354">
                  <a:moveTo>
                    <a:pt x="177" y="0"/>
                  </a:move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4"/>
                    <a:pt x="177" y="354"/>
                  </a:cubicBezTo>
                  <a:cubicBezTo>
                    <a:pt x="274" y="354"/>
                    <a:pt x="353" y="274"/>
                    <a:pt x="353" y="177"/>
                  </a:cubicBezTo>
                  <a:cubicBezTo>
                    <a:pt x="353" y="79"/>
                    <a:pt x="274" y="0"/>
                    <a:pt x="177" y="0"/>
                  </a:cubicBezTo>
                  <a:moveTo>
                    <a:pt x="129" y="24"/>
                  </a:moveTo>
                  <a:cubicBezTo>
                    <a:pt x="125" y="27"/>
                    <a:pt x="122" y="31"/>
                    <a:pt x="119" y="36"/>
                  </a:cubicBezTo>
                  <a:cubicBezTo>
                    <a:pt x="119" y="36"/>
                    <a:pt x="118" y="36"/>
                    <a:pt x="118" y="37"/>
                  </a:cubicBezTo>
                  <a:cubicBezTo>
                    <a:pt x="112" y="46"/>
                    <a:pt x="106" y="56"/>
                    <a:pt x="101" y="68"/>
                  </a:cubicBezTo>
                  <a:cubicBezTo>
                    <a:pt x="101" y="68"/>
                    <a:pt x="100" y="69"/>
                    <a:pt x="100" y="69"/>
                  </a:cubicBezTo>
                  <a:cubicBezTo>
                    <a:pt x="100" y="70"/>
                    <a:pt x="100" y="71"/>
                    <a:pt x="99" y="72"/>
                  </a:cubicBezTo>
                  <a:cubicBezTo>
                    <a:pt x="89" y="67"/>
                    <a:pt x="81" y="61"/>
                    <a:pt x="73" y="55"/>
                  </a:cubicBezTo>
                  <a:cubicBezTo>
                    <a:pt x="89" y="41"/>
                    <a:pt x="108" y="30"/>
                    <a:pt x="129" y="24"/>
                  </a:cubicBezTo>
                  <a:moveTo>
                    <a:pt x="61" y="65"/>
                  </a:moveTo>
                  <a:cubicBezTo>
                    <a:pt x="71" y="74"/>
                    <a:pt x="82" y="81"/>
                    <a:pt x="94" y="87"/>
                  </a:cubicBezTo>
                  <a:cubicBezTo>
                    <a:pt x="94" y="87"/>
                    <a:pt x="93" y="88"/>
                    <a:pt x="93" y="89"/>
                  </a:cubicBezTo>
                  <a:cubicBezTo>
                    <a:pt x="89" y="101"/>
                    <a:pt x="86" y="114"/>
                    <a:pt x="84" y="128"/>
                  </a:cubicBezTo>
                  <a:cubicBezTo>
                    <a:pt x="84" y="129"/>
                    <a:pt x="84" y="131"/>
                    <a:pt x="83" y="133"/>
                  </a:cubicBezTo>
                  <a:cubicBezTo>
                    <a:pt x="83" y="138"/>
                    <a:pt x="82" y="144"/>
                    <a:pt x="81" y="149"/>
                  </a:cubicBezTo>
                  <a:cubicBezTo>
                    <a:pt x="81" y="151"/>
                    <a:pt x="81" y="153"/>
                    <a:pt x="81" y="155"/>
                  </a:cubicBezTo>
                  <a:cubicBezTo>
                    <a:pt x="81" y="160"/>
                    <a:pt x="81" y="164"/>
                    <a:pt x="80" y="169"/>
                  </a:cubicBezTo>
                  <a:cubicBezTo>
                    <a:pt x="16" y="169"/>
                    <a:pt x="16" y="169"/>
                    <a:pt x="16" y="169"/>
                  </a:cubicBezTo>
                  <a:cubicBezTo>
                    <a:pt x="18" y="129"/>
                    <a:pt x="35" y="93"/>
                    <a:pt x="61" y="65"/>
                  </a:cubicBezTo>
                  <a:moveTo>
                    <a:pt x="16" y="185"/>
                  </a:moveTo>
                  <a:cubicBezTo>
                    <a:pt x="80" y="185"/>
                    <a:pt x="80" y="185"/>
                    <a:pt x="80" y="185"/>
                  </a:cubicBezTo>
                  <a:cubicBezTo>
                    <a:pt x="81" y="190"/>
                    <a:pt x="81" y="194"/>
                    <a:pt x="81" y="199"/>
                  </a:cubicBezTo>
                  <a:cubicBezTo>
                    <a:pt x="81" y="201"/>
                    <a:pt x="81" y="203"/>
                    <a:pt x="81" y="205"/>
                  </a:cubicBezTo>
                  <a:cubicBezTo>
                    <a:pt x="82" y="210"/>
                    <a:pt x="83" y="216"/>
                    <a:pt x="83" y="221"/>
                  </a:cubicBezTo>
                  <a:cubicBezTo>
                    <a:pt x="84" y="223"/>
                    <a:pt x="84" y="224"/>
                    <a:pt x="84" y="226"/>
                  </a:cubicBezTo>
                  <a:cubicBezTo>
                    <a:pt x="86" y="240"/>
                    <a:pt x="89" y="253"/>
                    <a:pt x="93" y="265"/>
                  </a:cubicBezTo>
                  <a:cubicBezTo>
                    <a:pt x="93" y="266"/>
                    <a:pt x="94" y="267"/>
                    <a:pt x="94" y="267"/>
                  </a:cubicBezTo>
                  <a:cubicBezTo>
                    <a:pt x="82" y="273"/>
                    <a:pt x="71" y="280"/>
                    <a:pt x="61" y="288"/>
                  </a:cubicBezTo>
                  <a:cubicBezTo>
                    <a:pt x="35" y="261"/>
                    <a:pt x="18" y="225"/>
                    <a:pt x="16" y="185"/>
                  </a:cubicBezTo>
                  <a:moveTo>
                    <a:pt x="73" y="299"/>
                  </a:moveTo>
                  <a:cubicBezTo>
                    <a:pt x="81" y="293"/>
                    <a:pt x="89" y="287"/>
                    <a:pt x="99" y="282"/>
                  </a:cubicBezTo>
                  <a:cubicBezTo>
                    <a:pt x="100" y="283"/>
                    <a:pt x="100" y="284"/>
                    <a:pt x="100" y="284"/>
                  </a:cubicBezTo>
                  <a:cubicBezTo>
                    <a:pt x="100" y="285"/>
                    <a:pt x="101" y="286"/>
                    <a:pt x="101" y="286"/>
                  </a:cubicBezTo>
                  <a:cubicBezTo>
                    <a:pt x="106" y="298"/>
                    <a:pt x="112" y="308"/>
                    <a:pt x="118" y="317"/>
                  </a:cubicBezTo>
                  <a:cubicBezTo>
                    <a:pt x="118" y="317"/>
                    <a:pt x="119" y="318"/>
                    <a:pt x="119" y="318"/>
                  </a:cubicBezTo>
                  <a:cubicBezTo>
                    <a:pt x="122" y="323"/>
                    <a:pt x="125" y="327"/>
                    <a:pt x="129" y="330"/>
                  </a:cubicBezTo>
                  <a:cubicBezTo>
                    <a:pt x="108" y="324"/>
                    <a:pt x="89" y="313"/>
                    <a:pt x="73" y="299"/>
                  </a:cubicBezTo>
                  <a:moveTo>
                    <a:pt x="168" y="337"/>
                  </a:moveTo>
                  <a:cubicBezTo>
                    <a:pt x="146" y="332"/>
                    <a:pt x="127" y="310"/>
                    <a:pt x="113" y="276"/>
                  </a:cubicBezTo>
                  <a:cubicBezTo>
                    <a:pt x="130" y="270"/>
                    <a:pt x="149" y="266"/>
                    <a:pt x="168" y="266"/>
                  </a:cubicBezTo>
                  <a:lnTo>
                    <a:pt x="168" y="337"/>
                  </a:lnTo>
                  <a:close/>
                  <a:moveTo>
                    <a:pt x="168" y="250"/>
                  </a:moveTo>
                  <a:cubicBezTo>
                    <a:pt x="147" y="250"/>
                    <a:pt x="127" y="254"/>
                    <a:pt x="108" y="261"/>
                  </a:cubicBezTo>
                  <a:cubicBezTo>
                    <a:pt x="101" y="239"/>
                    <a:pt x="97" y="213"/>
                    <a:pt x="96" y="185"/>
                  </a:cubicBezTo>
                  <a:cubicBezTo>
                    <a:pt x="168" y="185"/>
                    <a:pt x="168" y="185"/>
                    <a:pt x="168" y="185"/>
                  </a:cubicBezTo>
                  <a:lnTo>
                    <a:pt x="168" y="250"/>
                  </a:lnTo>
                  <a:close/>
                  <a:moveTo>
                    <a:pt x="168" y="169"/>
                  </a:moveTo>
                  <a:cubicBezTo>
                    <a:pt x="96" y="169"/>
                    <a:pt x="96" y="169"/>
                    <a:pt x="96" y="169"/>
                  </a:cubicBezTo>
                  <a:cubicBezTo>
                    <a:pt x="97" y="141"/>
                    <a:pt x="101" y="115"/>
                    <a:pt x="108" y="93"/>
                  </a:cubicBezTo>
                  <a:cubicBezTo>
                    <a:pt x="127" y="100"/>
                    <a:pt x="147" y="103"/>
                    <a:pt x="168" y="104"/>
                  </a:cubicBezTo>
                  <a:lnTo>
                    <a:pt x="168" y="169"/>
                  </a:lnTo>
                  <a:close/>
                  <a:moveTo>
                    <a:pt x="168" y="88"/>
                  </a:moveTo>
                  <a:cubicBezTo>
                    <a:pt x="149" y="87"/>
                    <a:pt x="130" y="84"/>
                    <a:pt x="113" y="78"/>
                  </a:cubicBezTo>
                  <a:cubicBezTo>
                    <a:pt x="127" y="44"/>
                    <a:pt x="146" y="22"/>
                    <a:pt x="168" y="17"/>
                  </a:cubicBezTo>
                  <a:lnTo>
                    <a:pt x="168" y="88"/>
                  </a:lnTo>
                  <a:close/>
                  <a:moveTo>
                    <a:pt x="337" y="169"/>
                  </a:moveTo>
                  <a:cubicBezTo>
                    <a:pt x="273" y="169"/>
                    <a:pt x="273" y="169"/>
                    <a:pt x="273" y="169"/>
                  </a:cubicBezTo>
                  <a:cubicBezTo>
                    <a:pt x="272" y="164"/>
                    <a:pt x="272" y="160"/>
                    <a:pt x="272" y="155"/>
                  </a:cubicBezTo>
                  <a:cubicBezTo>
                    <a:pt x="272" y="153"/>
                    <a:pt x="272" y="151"/>
                    <a:pt x="272" y="149"/>
                  </a:cubicBezTo>
                  <a:cubicBezTo>
                    <a:pt x="271" y="144"/>
                    <a:pt x="270" y="138"/>
                    <a:pt x="270" y="133"/>
                  </a:cubicBezTo>
                  <a:cubicBezTo>
                    <a:pt x="269" y="131"/>
                    <a:pt x="269" y="129"/>
                    <a:pt x="269" y="128"/>
                  </a:cubicBezTo>
                  <a:cubicBezTo>
                    <a:pt x="267" y="114"/>
                    <a:pt x="264" y="101"/>
                    <a:pt x="260" y="89"/>
                  </a:cubicBezTo>
                  <a:cubicBezTo>
                    <a:pt x="260" y="88"/>
                    <a:pt x="259" y="87"/>
                    <a:pt x="259" y="87"/>
                  </a:cubicBezTo>
                  <a:cubicBezTo>
                    <a:pt x="271" y="81"/>
                    <a:pt x="282" y="74"/>
                    <a:pt x="292" y="65"/>
                  </a:cubicBezTo>
                  <a:cubicBezTo>
                    <a:pt x="318" y="93"/>
                    <a:pt x="335" y="129"/>
                    <a:pt x="337" y="169"/>
                  </a:cubicBezTo>
                  <a:moveTo>
                    <a:pt x="280" y="55"/>
                  </a:moveTo>
                  <a:cubicBezTo>
                    <a:pt x="272" y="61"/>
                    <a:pt x="264" y="67"/>
                    <a:pt x="254" y="72"/>
                  </a:cubicBezTo>
                  <a:cubicBezTo>
                    <a:pt x="253" y="71"/>
                    <a:pt x="253" y="70"/>
                    <a:pt x="253" y="69"/>
                  </a:cubicBezTo>
                  <a:cubicBezTo>
                    <a:pt x="253" y="69"/>
                    <a:pt x="252" y="68"/>
                    <a:pt x="252" y="68"/>
                  </a:cubicBezTo>
                  <a:cubicBezTo>
                    <a:pt x="247" y="56"/>
                    <a:pt x="241" y="46"/>
                    <a:pt x="235" y="37"/>
                  </a:cubicBezTo>
                  <a:cubicBezTo>
                    <a:pt x="235" y="36"/>
                    <a:pt x="234" y="36"/>
                    <a:pt x="234" y="36"/>
                  </a:cubicBezTo>
                  <a:cubicBezTo>
                    <a:pt x="231" y="31"/>
                    <a:pt x="228" y="27"/>
                    <a:pt x="224" y="24"/>
                  </a:cubicBezTo>
                  <a:cubicBezTo>
                    <a:pt x="245" y="30"/>
                    <a:pt x="264" y="41"/>
                    <a:pt x="280" y="55"/>
                  </a:cubicBezTo>
                  <a:moveTo>
                    <a:pt x="185" y="17"/>
                  </a:moveTo>
                  <a:cubicBezTo>
                    <a:pt x="207" y="22"/>
                    <a:pt x="226" y="44"/>
                    <a:pt x="240" y="78"/>
                  </a:cubicBezTo>
                  <a:cubicBezTo>
                    <a:pt x="223" y="84"/>
                    <a:pt x="204" y="87"/>
                    <a:pt x="185" y="88"/>
                  </a:cubicBezTo>
                  <a:lnTo>
                    <a:pt x="185" y="17"/>
                  </a:lnTo>
                  <a:close/>
                  <a:moveTo>
                    <a:pt x="185" y="104"/>
                  </a:moveTo>
                  <a:cubicBezTo>
                    <a:pt x="206" y="103"/>
                    <a:pt x="226" y="100"/>
                    <a:pt x="245" y="93"/>
                  </a:cubicBezTo>
                  <a:cubicBezTo>
                    <a:pt x="252" y="115"/>
                    <a:pt x="256" y="141"/>
                    <a:pt x="257" y="169"/>
                  </a:cubicBezTo>
                  <a:cubicBezTo>
                    <a:pt x="185" y="169"/>
                    <a:pt x="185" y="169"/>
                    <a:pt x="185" y="169"/>
                  </a:cubicBezTo>
                  <a:lnTo>
                    <a:pt x="185" y="104"/>
                  </a:lnTo>
                  <a:close/>
                  <a:moveTo>
                    <a:pt x="185" y="185"/>
                  </a:moveTo>
                  <a:cubicBezTo>
                    <a:pt x="257" y="185"/>
                    <a:pt x="257" y="185"/>
                    <a:pt x="257" y="185"/>
                  </a:cubicBezTo>
                  <a:cubicBezTo>
                    <a:pt x="256" y="213"/>
                    <a:pt x="252" y="239"/>
                    <a:pt x="245" y="261"/>
                  </a:cubicBezTo>
                  <a:cubicBezTo>
                    <a:pt x="226" y="254"/>
                    <a:pt x="206" y="250"/>
                    <a:pt x="185" y="250"/>
                  </a:cubicBezTo>
                  <a:lnTo>
                    <a:pt x="185" y="185"/>
                  </a:lnTo>
                  <a:close/>
                  <a:moveTo>
                    <a:pt x="185" y="337"/>
                  </a:moveTo>
                  <a:cubicBezTo>
                    <a:pt x="185" y="266"/>
                    <a:pt x="185" y="266"/>
                    <a:pt x="185" y="266"/>
                  </a:cubicBezTo>
                  <a:cubicBezTo>
                    <a:pt x="204" y="266"/>
                    <a:pt x="223" y="270"/>
                    <a:pt x="240" y="276"/>
                  </a:cubicBezTo>
                  <a:cubicBezTo>
                    <a:pt x="226" y="310"/>
                    <a:pt x="207" y="332"/>
                    <a:pt x="185" y="337"/>
                  </a:cubicBezTo>
                  <a:moveTo>
                    <a:pt x="224" y="330"/>
                  </a:moveTo>
                  <a:cubicBezTo>
                    <a:pt x="228" y="327"/>
                    <a:pt x="231" y="323"/>
                    <a:pt x="234" y="318"/>
                  </a:cubicBezTo>
                  <a:cubicBezTo>
                    <a:pt x="234" y="318"/>
                    <a:pt x="235" y="317"/>
                    <a:pt x="235" y="317"/>
                  </a:cubicBezTo>
                  <a:cubicBezTo>
                    <a:pt x="241" y="308"/>
                    <a:pt x="247" y="298"/>
                    <a:pt x="252" y="286"/>
                  </a:cubicBezTo>
                  <a:cubicBezTo>
                    <a:pt x="252" y="286"/>
                    <a:pt x="253" y="285"/>
                    <a:pt x="253" y="284"/>
                  </a:cubicBezTo>
                  <a:cubicBezTo>
                    <a:pt x="253" y="284"/>
                    <a:pt x="253" y="283"/>
                    <a:pt x="254" y="282"/>
                  </a:cubicBezTo>
                  <a:cubicBezTo>
                    <a:pt x="264" y="287"/>
                    <a:pt x="272" y="293"/>
                    <a:pt x="280" y="299"/>
                  </a:cubicBezTo>
                  <a:cubicBezTo>
                    <a:pt x="264" y="313"/>
                    <a:pt x="245" y="324"/>
                    <a:pt x="224" y="330"/>
                  </a:cubicBezTo>
                  <a:moveTo>
                    <a:pt x="292" y="288"/>
                  </a:moveTo>
                  <a:cubicBezTo>
                    <a:pt x="282" y="280"/>
                    <a:pt x="271" y="273"/>
                    <a:pt x="259" y="267"/>
                  </a:cubicBezTo>
                  <a:cubicBezTo>
                    <a:pt x="259" y="267"/>
                    <a:pt x="260" y="266"/>
                    <a:pt x="260" y="265"/>
                  </a:cubicBezTo>
                  <a:cubicBezTo>
                    <a:pt x="264" y="253"/>
                    <a:pt x="267" y="240"/>
                    <a:pt x="269" y="226"/>
                  </a:cubicBezTo>
                  <a:cubicBezTo>
                    <a:pt x="269" y="224"/>
                    <a:pt x="269" y="223"/>
                    <a:pt x="270" y="221"/>
                  </a:cubicBezTo>
                  <a:cubicBezTo>
                    <a:pt x="270" y="216"/>
                    <a:pt x="271" y="210"/>
                    <a:pt x="272" y="205"/>
                  </a:cubicBezTo>
                  <a:cubicBezTo>
                    <a:pt x="272" y="203"/>
                    <a:pt x="272" y="201"/>
                    <a:pt x="272" y="199"/>
                  </a:cubicBezTo>
                  <a:cubicBezTo>
                    <a:pt x="272" y="194"/>
                    <a:pt x="272" y="190"/>
                    <a:pt x="273" y="185"/>
                  </a:cubicBezTo>
                  <a:cubicBezTo>
                    <a:pt x="337" y="185"/>
                    <a:pt x="337" y="185"/>
                    <a:pt x="337" y="185"/>
                  </a:cubicBezTo>
                  <a:cubicBezTo>
                    <a:pt x="335" y="225"/>
                    <a:pt x="318" y="261"/>
                    <a:pt x="292" y="28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449746" y="2819466"/>
            <a:ext cx="362553" cy="362553"/>
            <a:chOff x="4449746" y="2841691"/>
            <a:chExt cx="404154" cy="404154"/>
          </a:xfrm>
        </p:grpSpPr>
        <p:sp>
          <p:nvSpPr>
            <p:cNvPr id="48" name="Oval 47"/>
            <p:cNvSpPr/>
            <p:nvPr/>
          </p:nvSpPr>
          <p:spPr>
            <a:xfrm>
              <a:off x="4449746" y="2841691"/>
              <a:ext cx="404154" cy="4041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Freeform 51"/>
            <p:cNvSpPr>
              <a:spLocks noEditPoints="1"/>
            </p:cNvSpPr>
            <p:nvPr/>
          </p:nvSpPr>
          <p:spPr bwMode="auto">
            <a:xfrm>
              <a:off x="4546816" y="2938762"/>
              <a:ext cx="210014" cy="210012"/>
            </a:xfrm>
            <a:custGeom>
              <a:avLst/>
              <a:gdLst>
                <a:gd name="T0" fmla="*/ 340 w 353"/>
                <a:gd name="T1" fmla="*/ 155 h 353"/>
                <a:gd name="T2" fmla="*/ 312 w 353"/>
                <a:gd name="T3" fmla="*/ 140 h 353"/>
                <a:gd name="T4" fmla="*/ 340 w 353"/>
                <a:gd name="T5" fmla="*/ 126 h 353"/>
                <a:gd name="T6" fmla="*/ 340 w 353"/>
                <a:gd name="T7" fmla="*/ 83 h 353"/>
                <a:gd name="T8" fmla="*/ 188 w 353"/>
                <a:gd name="T9" fmla="*/ 3 h 353"/>
                <a:gd name="T10" fmla="*/ 176 w 353"/>
                <a:gd name="T11" fmla="*/ 0 h 353"/>
                <a:gd name="T12" fmla="*/ 165 w 353"/>
                <a:gd name="T13" fmla="*/ 3 h 353"/>
                <a:gd name="T14" fmla="*/ 13 w 353"/>
                <a:gd name="T15" fmla="*/ 83 h 353"/>
                <a:gd name="T16" fmla="*/ 13 w 353"/>
                <a:gd name="T17" fmla="*/ 126 h 353"/>
                <a:gd name="T18" fmla="*/ 41 w 353"/>
                <a:gd name="T19" fmla="*/ 140 h 353"/>
                <a:gd name="T20" fmla="*/ 13 w 353"/>
                <a:gd name="T21" fmla="*/ 155 h 353"/>
                <a:gd name="T22" fmla="*/ 13 w 353"/>
                <a:gd name="T23" fmla="*/ 198 h 353"/>
                <a:gd name="T24" fmla="*/ 41 w 353"/>
                <a:gd name="T25" fmla="*/ 213 h 353"/>
                <a:gd name="T26" fmla="*/ 13 w 353"/>
                <a:gd name="T27" fmla="*/ 228 h 353"/>
                <a:gd name="T28" fmla="*/ 13 w 353"/>
                <a:gd name="T29" fmla="*/ 270 h 353"/>
                <a:gd name="T30" fmla="*/ 165 w 353"/>
                <a:gd name="T31" fmla="*/ 350 h 353"/>
                <a:gd name="T32" fmla="*/ 176 w 353"/>
                <a:gd name="T33" fmla="*/ 353 h 353"/>
                <a:gd name="T34" fmla="*/ 188 w 353"/>
                <a:gd name="T35" fmla="*/ 350 h 353"/>
                <a:gd name="T36" fmla="*/ 340 w 353"/>
                <a:gd name="T37" fmla="*/ 270 h 353"/>
                <a:gd name="T38" fmla="*/ 340 w 353"/>
                <a:gd name="T39" fmla="*/ 228 h 353"/>
                <a:gd name="T40" fmla="*/ 312 w 353"/>
                <a:gd name="T41" fmla="*/ 213 h 353"/>
                <a:gd name="T42" fmla="*/ 340 w 353"/>
                <a:gd name="T43" fmla="*/ 198 h 353"/>
                <a:gd name="T44" fmla="*/ 20 w 353"/>
                <a:gd name="T45" fmla="*/ 111 h 353"/>
                <a:gd name="T46" fmla="*/ 16 w 353"/>
                <a:gd name="T47" fmla="*/ 104 h 353"/>
                <a:gd name="T48" fmla="*/ 20 w 353"/>
                <a:gd name="T49" fmla="*/ 97 h 353"/>
                <a:gd name="T50" fmla="*/ 173 w 353"/>
                <a:gd name="T51" fmla="*/ 17 h 353"/>
                <a:gd name="T52" fmla="*/ 180 w 353"/>
                <a:gd name="T53" fmla="*/ 17 h 353"/>
                <a:gd name="T54" fmla="*/ 333 w 353"/>
                <a:gd name="T55" fmla="*/ 97 h 353"/>
                <a:gd name="T56" fmla="*/ 337 w 353"/>
                <a:gd name="T57" fmla="*/ 104 h 353"/>
                <a:gd name="T58" fmla="*/ 333 w 353"/>
                <a:gd name="T59" fmla="*/ 111 h 353"/>
                <a:gd name="T60" fmla="*/ 180 w 353"/>
                <a:gd name="T61" fmla="*/ 192 h 353"/>
                <a:gd name="T62" fmla="*/ 173 w 353"/>
                <a:gd name="T63" fmla="*/ 192 h 353"/>
                <a:gd name="T64" fmla="*/ 20 w 353"/>
                <a:gd name="T65" fmla="*/ 111 h 353"/>
                <a:gd name="T66" fmla="*/ 333 w 353"/>
                <a:gd name="T67" fmla="*/ 242 h 353"/>
                <a:gd name="T68" fmla="*/ 333 w 353"/>
                <a:gd name="T69" fmla="*/ 256 h 353"/>
                <a:gd name="T70" fmla="*/ 180 w 353"/>
                <a:gd name="T71" fmla="*/ 336 h 353"/>
                <a:gd name="T72" fmla="*/ 176 w 353"/>
                <a:gd name="T73" fmla="*/ 337 h 353"/>
                <a:gd name="T74" fmla="*/ 173 w 353"/>
                <a:gd name="T75" fmla="*/ 336 h 353"/>
                <a:gd name="T76" fmla="*/ 20 w 353"/>
                <a:gd name="T77" fmla="*/ 256 h 353"/>
                <a:gd name="T78" fmla="*/ 20 w 353"/>
                <a:gd name="T79" fmla="*/ 242 h 353"/>
                <a:gd name="T80" fmla="*/ 58 w 353"/>
                <a:gd name="T81" fmla="*/ 222 h 353"/>
                <a:gd name="T82" fmla="*/ 165 w 353"/>
                <a:gd name="T83" fmla="*/ 278 h 353"/>
                <a:gd name="T84" fmla="*/ 188 w 353"/>
                <a:gd name="T85" fmla="*/ 278 h 353"/>
                <a:gd name="T86" fmla="*/ 295 w 353"/>
                <a:gd name="T87" fmla="*/ 222 h 353"/>
                <a:gd name="T88" fmla="*/ 333 w 353"/>
                <a:gd name="T89" fmla="*/ 184 h 353"/>
                <a:gd name="T90" fmla="*/ 180 w 353"/>
                <a:gd name="T91" fmla="*/ 264 h 353"/>
                <a:gd name="T92" fmla="*/ 176 w 353"/>
                <a:gd name="T93" fmla="*/ 265 h 353"/>
                <a:gd name="T94" fmla="*/ 173 w 353"/>
                <a:gd name="T95" fmla="*/ 264 h 353"/>
                <a:gd name="T96" fmla="*/ 20 w 353"/>
                <a:gd name="T97" fmla="*/ 184 h 353"/>
                <a:gd name="T98" fmla="*/ 20 w 353"/>
                <a:gd name="T99" fmla="*/ 170 h 353"/>
                <a:gd name="T100" fmla="*/ 58 w 353"/>
                <a:gd name="T101" fmla="*/ 150 h 353"/>
                <a:gd name="T102" fmla="*/ 165 w 353"/>
                <a:gd name="T103" fmla="*/ 206 h 353"/>
                <a:gd name="T104" fmla="*/ 188 w 353"/>
                <a:gd name="T105" fmla="*/ 206 h 353"/>
                <a:gd name="T106" fmla="*/ 295 w 353"/>
                <a:gd name="T107" fmla="*/ 150 h 353"/>
                <a:gd name="T108" fmla="*/ 333 w 353"/>
                <a:gd name="T109" fmla="*/ 170 h 353"/>
                <a:gd name="T110" fmla="*/ 333 w 353"/>
                <a:gd name="T111" fmla="*/ 18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3" h="353">
                  <a:moveTo>
                    <a:pt x="353" y="177"/>
                  </a:moveTo>
                  <a:cubicBezTo>
                    <a:pt x="353" y="167"/>
                    <a:pt x="348" y="159"/>
                    <a:pt x="340" y="155"/>
                  </a:cubicBezTo>
                  <a:cubicBezTo>
                    <a:pt x="340" y="155"/>
                    <a:pt x="340" y="155"/>
                    <a:pt x="340" y="155"/>
                  </a:cubicBezTo>
                  <a:cubicBezTo>
                    <a:pt x="312" y="140"/>
                    <a:pt x="312" y="140"/>
                    <a:pt x="312" y="140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8" y="122"/>
                    <a:pt x="353" y="114"/>
                    <a:pt x="353" y="104"/>
                  </a:cubicBezTo>
                  <a:cubicBezTo>
                    <a:pt x="353" y="95"/>
                    <a:pt x="348" y="87"/>
                    <a:pt x="340" y="83"/>
                  </a:cubicBezTo>
                  <a:cubicBezTo>
                    <a:pt x="340" y="83"/>
                    <a:pt x="340" y="83"/>
                    <a:pt x="340" y="8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4" y="1"/>
                    <a:pt x="181" y="0"/>
                    <a:pt x="176" y="0"/>
                  </a:cubicBezTo>
                  <a:cubicBezTo>
                    <a:pt x="172" y="0"/>
                    <a:pt x="169" y="1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5" y="87"/>
                    <a:pt x="0" y="95"/>
                    <a:pt x="0" y="104"/>
                  </a:cubicBezTo>
                  <a:cubicBezTo>
                    <a:pt x="0" y="114"/>
                    <a:pt x="5" y="122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41" y="140"/>
                    <a:pt x="41" y="140"/>
                    <a:pt x="41" y="140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5" y="159"/>
                    <a:pt x="0" y="167"/>
                    <a:pt x="0" y="177"/>
                  </a:cubicBezTo>
                  <a:cubicBezTo>
                    <a:pt x="0" y="186"/>
                    <a:pt x="5" y="194"/>
                    <a:pt x="13" y="198"/>
                  </a:cubicBezTo>
                  <a:cubicBezTo>
                    <a:pt x="13" y="198"/>
                    <a:pt x="13" y="198"/>
                    <a:pt x="13" y="198"/>
                  </a:cubicBezTo>
                  <a:cubicBezTo>
                    <a:pt x="41" y="213"/>
                    <a:pt x="41" y="213"/>
                    <a:pt x="41" y="213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5" y="232"/>
                    <a:pt x="0" y="240"/>
                    <a:pt x="0" y="249"/>
                  </a:cubicBezTo>
                  <a:cubicBezTo>
                    <a:pt x="0" y="258"/>
                    <a:pt x="5" y="266"/>
                    <a:pt x="13" y="270"/>
                  </a:cubicBezTo>
                  <a:cubicBezTo>
                    <a:pt x="13" y="270"/>
                    <a:pt x="13" y="270"/>
                    <a:pt x="13" y="27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9" y="352"/>
                    <a:pt x="172" y="353"/>
                    <a:pt x="176" y="353"/>
                  </a:cubicBezTo>
                  <a:cubicBezTo>
                    <a:pt x="181" y="353"/>
                    <a:pt x="184" y="352"/>
                    <a:pt x="188" y="350"/>
                  </a:cubicBezTo>
                  <a:cubicBezTo>
                    <a:pt x="188" y="350"/>
                    <a:pt x="188" y="350"/>
                    <a:pt x="188" y="35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8" y="266"/>
                    <a:pt x="353" y="258"/>
                    <a:pt x="353" y="249"/>
                  </a:cubicBezTo>
                  <a:cubicBezTo>
                    <a:pt x="353" y="240"/>
                    <a:pt x="348" y="232"/>
                    <a:pt x="340" y="228"/>
                  </a:cubicBezTo>
                  <a:cubicBezTo>
                    <a:pt x="340" y="228"/>
                    <a:pt x="340" y="228"/>
                    <a:pt x="340" y="228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8" y="194"/>
                    <a:pt x="353" y="186"/>
                    <a:pt x="353" y="177"/>
                  </a:cubicBezTo>
                  <a:moveTo>
                    <a:pt x="20" y="111"/>
                  </a:moveTo>
                  <a:cubicBezTo>
                    <a:pt x="20" y="111"/>
                    <a:pt x="20" y="111"/>
                    <a:pt x="20" y="111"/>
                  </a:cubicBezTo>
                  <a:cubicBezTo>
                    <a:pt x="18" y="110"/>
                    <a:pt x="16" y="107"/>
                    <a:pt x="16" y="104"/>
                  </a:cubicBezTo>
                  <a:cubicBezTo>
                    <a:pt x="16" y="101"/>
                    <a:pt x="18" y="99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4" y="16"/>
                    <a:pt x="175" y="16"/>
                    <a:pt x="176" y="16"/>
                  </a:cubicBezTo>
                  <a:cubicBezTo>
                    <a:pt x="178" y="16"/>
                    <a:pt x="179" y="16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5" y="99"/>
                    <a:pt x="337" y="101"/>
                    <a:pt x="337" y="104"/>
                  </a:cubicBezTo>
                  <a:cubicBezTo>
                    <a:pt x="337" y="107"/>
                    <a:pt x="335" y="110"/>
                    <a:pt x="333" y="111"/>
                  </a:cubicBezTo>
                  <a:cubicBezTo>
                    <a:pt x="333" y="111"/>
                    <a:pt x="333" y="111"/>
                    <a:pt x="333" y="111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79" y="192"/>
                    <a:pt x="178" y="193"/>
                    <a:pt x="176" y="193"/>
                  </a:cubicBezTo>
                  <a:cubicBezTo>
                    <a:pt x="175" y="193"/>
                    <a:pt x="174" y="192"/>
                    <a:pt x="173" y="192"/>
                  </a:cubicBezTo>
                  <a:cubicBezTo>
                    <a:pt x="173" y="192"/>
                    <a:pt x="173" y="192"/>
                    <a:pt x="173" y="192"/>
                  </a:cubicBezTo>
                  <a:lnTo>
                    <a:pt x="20" y="111"/>
                  </a:lnTo>
                  <a:close/>
                  <a:moveTo>
                    <a:pt x="333" y="242"/>
                  </a:moveTo>
                  <a:cubicBezTo>
                    <a:pt x="333" y="242"/>
                    <a:pt x="333" y="242"/>
                    <a:pt x="333" y="242"/>
                  </a:cubicBezTo>
                  <a:cubicBezTo>
                    <a:pt x="335" y="243"/>
                    <a:pt x="337" y="246"/>
                    <a:pt x="337" y="249"/>
                  </a:cubicBezTo>
                  <a:cubicBezTo>
                    <a:pt x="337" y="252"/>
                    <a:pt x="335" y="255"/>
                    <a:pt x="333" y="256"/>
                  </a:cubicBezTo>
                  <a:cubicBezTo>
                    <a:pt x="333" y="256"/>
                    <a:pt x="333" y="256"/>
                    <a:pt x="333" y="25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79" y="337"/>
                    <a:pt x="178" y="337"/>
                    <a:pt x="176" y="337"/>
                  </a:cubicBezTo>
                  <a:cubicBezTo>
                    <a:pt x="175" y="337"/>
                    <a:pt x="174" y="337"/>
                    <a:pt x="173" y="336"/>
                  </a:cubicBezTo>
                  <a:cubicBezTo>
                    <a:pt x="173" y="336"/>
                    <a:pt x="173" y="336"/>
                    <a:pt x="173" y="33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18" y="255"/>
                    <a:pt x="16" y="252"/>
                    <a:pt x="16" y="249"/>
                  </a:cubicBezTo>
                  <a:cubicBezTo>
                    <a:pt x="16" y="246"/>
                    <a:pt x="18" y="243"/>
                    <a:pt x="20" y="242"/>
                  </a:cubicBezTo>
                  <a:cubicBezTo>
                    <a:pt x="20" y="242"/>
                    <a:pt x="20" y="242"/>
                    <a:pt x="20" y="24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9" y="280"/>
                    <a:pt x="172" y="281"/>
                    <a:pt x="176" y="281"/>
                  </a:cubicBezTo>
                  <a:cubicBezTo>
                    <a:pt x="181" y="281"/>
                    <a:pt x="184" y="280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295" y="222"/>
                    <a:pt x="295" y="222"/>
                    <a:pt x="295" y="222"/>
                  </a:cubicBezTo>
                  <a:lnTo>
                    <a:pt x="333" y="242"/>
                  </a:lnTo>
                  <a:close/>
                  <a:moveTo>
                    <a:pt x="333" y="184"/>
                  </a:moveTo>
                  <a:cubicBezTo>
                    <a:pt x="333" y="184"/>
                    <a:pt x="333" y="184"/>
                    <a:pt x="333" y="18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79" y="265"/>
                    <a:pt x="178" y="265"/>
                    <a:pt x="176" y="265"/>
                  </a:cubicBezTo>
                  <a:cubicBezTo>
                    <a:pt x="175" y="265"/>
                    <a:pt x="174" y="265"/>
                    <a:pt x="173" y="264"/>
                  </a:cubicBezTo>
                  <a:cubicBezTo>
                    <a:pt x="173" y="264"/>
                    <a:pt x="173" y="264"/>
                    <a:pt x="173" y="26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18" y="182"/>
                    <a:pt x="16" y="180"/>
                    <a:pt x="16" y="177"/>
                  </a:cubicBezTo>
                  <a:cubicBezTo>
                    <a:pt x="16" y="174"/>
                    <a:pt x="18" y="171"/>
                    <a:pt x="20" y="170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9" y="208"/>
                    <a:pt x="172" y="209"/>
                    <a:pt x="176" y="209"/>
                  </a:cubicBezTo>
                  <a:cubicBezTo>
                    <a:pt x="181" y="209"/>
                    <a:pt x="184" y="208"/>
                    <a:pt x="188" y="206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295" y="150"/>
                    <a:pt x="295" y="150"/>
                    <a:pt x="295" y="15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5" y="171"/>
                    <a:pt x="337" y="174"/>
                    <a:pt x="337" y="177"/>
                  </a:cubicBezTo>
                  <a:cubicBezTo>
                    <a:pt x="337" y="180"/>
                    <a:pt x="335" y="182"/>
                    <a:pt x="333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704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AS </a:t>
            </a:r>
            <a:r>
              <a:rPr lang="en-US" dirty="0">
                <a:solidFill>
                  <a:srgbClr val="EC0000"/>
                </a:solidFill>
              </a:rPr>
              <a:t>SOLUÇÕ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600075" y="3381034"/>
            <a:ext cx="794385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600075" y="2603649"/>
            <a:ext cx="794385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7"/>
          <p:cNvSpPr>
            <a:spLocks/>
          </p:cNvSpPr>
          <p:nvPr/>
        </p:nvSpPr>
        <p:spPr bwMode="auto">
          <a:xfrm>
            <a:off x="3904243" y="1543050"/>
            <a:ext cx="1335515" cy="1155533"/>
          </a:xfrm>
          <a:custGeom>
            <a:avLst/>
            <a:gdLst>
              <a:gd name="T0" fmla="*/ 1024 w 2048"/>
              <a:gd name="T1" fmla="*/ 0 h 1772"/>
              <a:gd name="T2" fmla="*/ 0 w 2048"/>
              <a:gd name="T3" fmla="*/ 1772 h 1772"/>
              <a:gd name="T4" fmla="*/ 2048 w 2048"/>
              <a:gd name="T5" fmla="*/ 1772 h 1772"/>
              <a:gd name="T6" fmla="*/ 1024 w 2048"/>
              <a:gd name="T7" fmla="*/ 0 h 17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48" h="1772">
                <a:moveTo>
                  <a:pt x="1024" y="0"/>
                </a:moveTo>
                <a:lnTo>
                  <a:pt x="0" y="1772"/>
                </a:lnTo>
                <a:lnTo>
                  <a:pt x="2048" y="1772"/>
                </a:lnTo>
                <a:lnTo>
                  <a:pt x="1024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3385165" y="2603648"/>
            <a:ext cx="2373669" cy="897952"/>
          </a:xfrm>
          <a:custGeom>
            <a:avLst/>
            <a:gdLst>
              <a:gd name="T0" fmla="*/ 0 w 3640"/>
              <a:gd name="T1" fmla="*/ 1377 h 1377"/>
              <a:gd name="T2" fmla="*/ 3640 w 3640"/>
              <a:gd name="T3" fmla="*/ 1377 h 1377"/>
              <a:gd name="T4" fmla="*/ 2844 w 3640"/>
              <a:gd name="T5" fmla="*/ 0 h 1377"/>
              <a:gd name="T6" fmla="*/ 796 w 3640"/>
              <a:gd name="T7" fmla="*/ 0 h 1377"/>
              <a:gd name="T8" fmla="*/ 0 w 3640"/>
              <a:gd name="T9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40" h="1377">
                <a:moveTo>
                  <a:pt x="0" y="1377"/>
                </a:moveTo>
                <a:lnTo>
                  <a:pt x="3640" y="1377"/>
                </a:lnTo>
                <a:lnTo>
                  <a:pt x="2844" y="0"/>
                </a:lnTo>
                <a:lnTo>
                  <a:pt x="796" y="0"/>
                </a:lnTo>
                <a:lnTo>
                  <a:pt x="0" y="1377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2866088" y="3381034"/>
            <a:ext cx="3411824" cy="897952"/>
          </a:xfrm>
          <a:custGeom>
            <a:avLst/>
            <a:gdLst>
              <a:gd name="T0" fmla="*/ 796 w 5232"/>
              <a:gd name="T1" fmla="*/ 0 h 1377"/>
              <a:gd name="T2" fmla="*/ 0 w 5232"/>
              <a:gd name="T3" fmla="*/ 1377 h 1377"/>
              <a:gd name="T4" fmla="*/ 2616 w 5232"/>
              <a:gd name="T5" fmla="*/ 1377 h 1377"/>
              <a:gd name="T6" fmla="*/ 5232 w 5232"/>
              <a:gd name="T7" fmla="*/ 1377 h 1377"/>
              <a:gd name="T8" fmla="*/ 4436 w 5232"/>
              <a:gd name="T9" fmla="*/ 0 h 1377"/>
              <a:gd name="T10" fmla="*/ 796 w 5232"/>
              <a:gd name="T11" fmla="*/ 0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32" h="1377">
                <a:moveTo>
                  <a:pt x="796" y="0"/>
                </a:moveTo>
                <a:lnTo>
                  <a:pt x="0" y="1377"/>
                </a:lnTo>
                <a:lnTo>
                  <a:pt x="2616" y="1377"/>
                </a:lnTo>
                <a:lnTo>
                  <a:pt x="5232" y="1377"/>
                </a:lnTo>
                <a:lnTo>
                  <a:pt x="4436" y="0"/>
                </a:lnTo>
                <a:lnTo>
                  <a:pt x="79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1" name="TextBox 20"/>
          <p:cNvSpPr txBox="1"/>
          <p:nvPr/>
        </p:nvSpPr>
        <p:spPr>
          <a:xfrm>
            <a:off x="1241038" y="2040950"/>
            <a:ext cx="115759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riatividade</a:t>
            </a:r>
            <a:endParaRPr lang="en-US" sz="1000" b="1" cap="all" spc="20" dirty="0">
              <a:solidFill>
                <a:schemeClr val="accent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41038" y="2909742"/>
            <a:ext cx="115759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pesquisa</a:t>
            </a:r>
            <a:endParaRPr lang="en-US" sz="1000" b="1" cap="all" spc="20" dirty="0">
              <a:solidFill>
                <a:schemeClr val="accent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41038" y="3667095"/>
            <a:ext cx="1273562" cy="307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0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Encontrar</a:t>
            </a:r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0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novos</a:t>
            </a:r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0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mercados</a:t>
            </a:r>
            <a:endParaRPr lang="en-US" sz="1000" b="1" cap="all" spc="20" dirty="0">
              <a:solidFill>
                <a:schemeClr val="accent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813550" y="2717278"/>
            <a:ext cx="1724026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813550" y="3580918"/>
            <a:ext cx="1724026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813550" y="1877829"/>
            <a:ext cx="1724026" cy="463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</a:rPr>
              <a:t>.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99925" y="2739389"/>
            <a:ext cx="494596" cy="494594"/>
            <a:chOff x="599925" y="2739389"/>
            <a:chExt cx="494596" cy="494594"/>
          </a:xfrm>
        </p:grpSpPr>
        <p:sp>
          <p:nvSpPr>
            <p:cNvPr id="16" name="Oval 15"/>
            <p:cNvSpPr/>
            <p:nvPr/>
          </p:nvSpPr>
          <p:spPr>
            <a:xfrm>
              <a:off x="599925" y="2739389"/>
              <a:ext cx="494596" cy="49459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9" name="Freeform 11"/>
            <p:cNvSpPr>
              <a:spLocks noEditPoints="1"/>
            </p:cNvSpPr>
            <p:nvPr/>
          </p:nvSpPr>
          <p:spPr bwMode="auto">
            <a:xfrm>
              <a:off x="718694" y="2872225"/>
              <a:ext cx="257058" cy="228922"/>
            </a:xfrm>
            <a:custGeom>
              <a:avLst/>
              <a:gdLst>
                <a:gd name="T0" fmla="*/ 168 w 1508"/>
                <a:gd name="T1" fmla="*/ 90 h 1339"/>
                <a:gd name="T2" fmla="*/ 198 w 1508"/>
                <a:gd name="T3" fmla="*/ 482 h 1339"/>
                <a:gd name="T4" fmla="*/ 1418 w 1508"/>
                <a:gd name="T5" fmla="*/ 30 h 1339"/>
                <a:gd name="T6" fmla="*/ 1418 w 1508"/>
                <a:gd name="T7" fmla="*/ 1064 h 1339"/>
                <a:gd name="T8" fmla="*/ 574 w 1508"/>
                <a:gd name="T9" fmla="*/ 1094 h 1339"/>
                <a:gd name="T10" fmla="*/ 633 w 1508"/>
                <a:gd name="T11" fmla="*/ 1227 h 1339"/>
                <a:gd name="T12" fmla="*/ 1043 w 1508"/>
                <a:gd name="T13" fmla="*/ 1339 h 1339"/>
                <a:gd name="T14" fmla="*/ 1011 w 1508"/>
                <a:gd name="T15" fmla="*/ 1227 h 1339"/>
                <a:gd name="T16" fmla="*/ 1508 w 1508"/>
                <a:gd name="T17" fmla="*/ 1004 h 1339"/>
                <a:gd name="T18" fmla="*/ 1069 w 1508"/>
                <a:gd name="T19" fmla="*/ 1283 h 1339"/>
                <a:gd name="T20" fmla="*/ 608 w 1508"/>
                <a:gd name="T21" fmla="*/ 1283 h 1339"/>
                <a:gd name="T22" fmla="*/ 1069 w 1508"/>
                <a:gd name="T23" fmla="*/ 1283 h 1339"/>
                <a:gd name="T24" fmla="*/ 765 w 1508"/>
                <a:gd name="T25" fmla="*/ 1094 h 1339"/>
                <a:gd name="T26" fmla="*/ 1411 w 1508"/>
                <a:gd name="T27" fmla="*/ 930 h 1339"/>
                <a:gd name="T28" fmla="*/ 674 w 1508"/>
                <a:gd name="T29" fmla="*/ 900 h 1339"/>
                <a:gd name="T30" fmla="*/ 280 w 1508"/>
                <a:gd name="T31" fmla="*/ 112 h 1339"/>
                <a:gd name="T32" fmla="*/ 250 w 1508"/>
                <a:gd name="T33" fmla="*/ 372 h 1339"/>
                <a:gd name="T34" fmla="*/ 1411 w 1508"/>
                <a:gd name="T35" fmla="*/ 82 h 1339"/>
                <a:gd name="T36" fmla="*/ 1411 w 1508"/>
                <a:gd name="T37" fmla="*/ 930 h 1339"/>
                <a:gd name="T38" fmla="*/ 888 w 1508"/>
                <a:gd name="T39" fmla="*/ 997 h 1339"/>
                <a:gd name="T40" fmla="*/ 858 w 1508"/>
                <a:gd name="T41" fmla="*/ 997 h 1339"/>
                <a:gd name="T42" fmla="*/ 838 w 1508"/>
                <a:gd name="T43" fmla="*/ 977 h 1339"/>
                <a:gd name="T44" fmla="*/ 778 w 1508"/>
                <a:gd name="T45" fmla="*/ 705 h 1339"/>
                <a:gd name="T46" fmla="*/ 613 w 1508"/>
                <a:gd name="T47" fmla="*/ 307 h 1339"/>
                <a:gd name="T48" fmla="*/ 448 w 1508"/>
                <a:gd name="T49" fmla="*/ 705 h 1339"/>
                <a:gd name="T50" fmla="*/ 613 w 1508"/>
                <a:gd name="T51" fmla="*/ 337 h 1339"/>
                <a:gd name="T52" fmla="*/ 756 w 1508"/>
                <a:gd name="T53" fmla="*/ 683 h 1339"/>
                <a:gd name="T54" fmla="*/ 410 w 1508"/>
                <a:gd name="T55" fmla="*/ 540 h 1339"/>
                <a:gd name="T56" fmla="*/ 816 w 1508"/>
                <a:gd name="T57" fmla="*/ 743 h 1339"/>
                <a:gd name="T58" fmla="*/ 410 w 1508"/>
                <a:gd name="T59" fmla="*/ 337 h 1339"/>
                <a:gd name="T60" fmla="*/ 322 w 1508"/>
                <a:gd name="T61" fmla="*/ 688 h 1339"/>
                <a:gd name="T62" fmla="*/ 0 w 1508"/>
                <a:gd name="T63" fmla="*/ 1083 h 1339"/>
                <a:gd name="T64" fmla="*/ 71 w 1508"/>
                <a:gd name="T65" fmla="*/ 1154 h 1339"/>
                <a:gd name="T66" fmla="*/ 442 w 1508"/>
                <a:gd name="T67" fmla="*/ 839 h 1339"/>
                <a:gd name="T68" fmla="*/ 507 w 1508"/>
                <a:gd name="T69" fmla="*/ 807 h 1339"/>
                <a:gd name="T70" fmla="*/ 613 w 1508"/>
                <a:gd name="T71" fmla="*/ 283 h 1339"/>
                <a:gd name="T72" fmla="*/ 795 w 1508"/>
                <a:gd name="T73" fmla="*/ 722 h 1339"/>
                <a:gd name="T74" fmla="*/ 431 w 1508"/>
                <a:gd name="T75" fmla="*/ 722 h 1339"/>
                <a:gd name="T76" fmla="*/ 383 w 1508"/>
                <a:gd name="T77" fmla="*/ 655 h 1339"/>
                <a:gd name="T78" fmla="*/ 96 w 1508"/>
                <a:gd name="T79" fmla="*/ 1114 h 1339"/>
                <a:gd name="T80" fmla="*/ 30 w 1508"/>
                <a:gd name="T81" fmla="*/ 1083 h 1339"/>
                <a:gd name="T82" fmla="*/ 399 w 1508"/>
                <a:gd name="T83" fmla="*/ 810 h 1339"/>
                <a:gd name="T84" fmla="*/ 436 w 1508"/>
                <a:gd name="T85" fmla="*/ 804 h 1339"/>
                <a:gd name="T86" fmla="*/ 366 w 1508"/>
                <a:gd name="T87" fmla="*/ 687 h 1339"/>
                <a:gd name="T88" fmla="*/ 410 w 1508"/>
                <a:gd name="T89" fmla="*/ 743 h 1339"/>
                <a:gd name="T90" fmla="*/ 465 w 1508"/>
                <a:gd name="T91" fmla="*/ 786 h 1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08" h="1339">
                  <a:moveTo>
                    <a:pt x="1418" y="0"/>
                  </a:moveTo>
                  <a:cubicBezTo>
                    <a:pt x="258" y="0"/>
                    <a:pt x="258" y="0"/>
                    <a:pt x="258" y="0"/>
                  </a:cubicBezTo>
                  <a:cubicBezTo>
                    <a:pt x="209" y="0"/>
                    <a:pt x="168" y="40"/>
                    <a:pt x="168" y="90"/>
                  </a:cubicBezTo>
                  <a:cubicBezTo>
                    <a:pt x="168" y="482"/>
                    <a:pt x="168" y="482"/>
                    <a:pt x="168" y="482"/>
                  </a:cubicBezTo>
                  <a:cubicBezTo>
                    <a:pt x="168" y="490"/>
                    <a:pt x="175" y="497"/>
                    <a:pt x="183" y="497"/>
                  </a:cubicBezTo>
                  <a:cubicBezTo>
                    <a:pt x="192" y="497"/>
                    <a:pt x="198" y="490"/>
                    <a:pt x="198" y="482"/>
                  </a:cubicBezTo>
                  <a:cubicBezTo>
                    <a:pt x="198" y="90"/>
                    <a:pt x="198" y="90"/>
                    <a:pt x="198" y="90"/>
                  </a:cubicBezTo>
                  <a:cubicBezTo>
                    <a:pt x="198" y="57"/>
                    <a:pt x="225" y="30"/>
                    <a:pt x="258" y="30"/>
                  </a:cubicBezTo>
                  <a:cubicBezTo>
                    <a:pt x="1418" y="30"/>
                    <a:pt x="1418" y="30"/>
                    <a:pt x="1418" y="30"/>
                  </a:cubicBezTo>
                  <a:cubicBezTo>
                    <a:pt x="1451" y="30"/>
                    <a:pt x="1478" y="57"/>
                    <a:pt x="1478" y="90"/>
                  </a:cubicBezTo>
                  <a:cubicBezTo>
                    <a:pt x="1478" y="1004"/>
                    <a:pt x="1478" y="1004"/>
                    <a:pt x="1478" y="1004"/>
                  </a:cubicBezTo>
                  <a:cubicBezTo>
                    <a:pt x="1478" y="1037"/>
                    <a:pt x="1451" y="1064"/>
                    <a:pt x="1418" y="1064"/>
                  </a:cubicBezTo>
                  <a:cubicBezTo>
                    <a:pt x="574" y="1064"/>
                    <a:pt x="574" y="1064"/>
                    <a:pt x="574" y="1064"/>
                  </a:cubicBezTo>
                  <a:cubicBezTo>
                    <a:pt x="566" y="1064"/>
                    <a:pt x="559" y="1070"/>
                    <a:pt x="559" y="1079"/>
                  </a:cubicBezTo>
                  <a:cubicBezTo>
                    <a:pt x="559" y="1087"/>
                    <a:pt x="566" y="1094"/>
                    <a:pt x="574" y="1094"/>
                  </a:cubicBezTo>
                  <a:cubicBezTo>
                    <a:pt x="732" y="1094"/>
                    <a:pt x="732" y="1094"/>
                    <a:pt x="732" y="1094"/>
                  </a:cubicBezTo>
                  <a:cubicBezTo>
                    <a:pt x="665" y="1227"/>
                    <a:pt x="665" y="1227"/>
                    <a:pt x="665" y="1227"/>
                  </a:cubicBezTo>
                  <a:cubicBezTo>
                    <a:pt x="633" y="1227"/>
                    <a:pt x="633" y="1227"/>
                    <a:pt x="633" y="1227"/>
                  </a:cubicBezTo>
                  <a:cubicBezTo>
                    <a:pt x="603" y="1227"/>
                    <a:pt x="578" y="1253"/>
                    <a:pt x="578" y="1283"/>
                  </a:cubicBezTo>
                  <a:cubicBezTo>
                    <a:pt x="578" y="1314"/>
                    <a:pt x="603" y="1339"/>
                    <a:pt x="633" y="1339"/>
                  </a:cubicBezTo>
                  <a:cubicBezTo>
                    <a:pt x="1043" y="1339"/>
                    <a:pt x="1043" y="1339"/>
                    <a:pt x="1043" y="1339"/>
                  </a:cubicBezTo>
                  <a:cubicBezTo>
                    <a:pt x="1073" y="1339"/>
                    <a:pt x="1099" y="1314"/>
                    <a:pt x="1099" y="1283"/>
                  </a:cubicBezTo>
                  <a:cubicBezTo>
                    <a:pt x="1099" y="1253"/>
                    <a:pt x="1073" y="1227"/>
                    <a:pt x="1043" y="1227"/>
                  </a:cubicBezTo>
                  <a:cubicBezTo>
                    <a:pt x="1011" y="1227"/>
                    <a:pt x="1011" y="1227"/>
                    <a:pt x="1011" y="1227"/>
                  </a:cubicBezTo>
                  <a:cubicBezTo>
                    <a:pt x="944" y="1094"/>
                    <a:pt x="944" y="1094"/>
                    <a:pt x="944" y="1094"/>
                  </a:cubicBezTo>
                  <a:cubicBezTo>
                    <a:pt x="1418" y="1094"/>
                    <a:pt x="1418" y="1094"/>
                    <a:pt x="1418" y="1094"/>
                  </a:cubicBezTo>
                  <a:cubicBezTo>
                    <a:pt x="1467" y="1094"/>
                    <a:pt x="1508" y="1053"/>
                    <a:pt x="1508" y="1004"/>
                  </a:cubicBezTo>
                  <a:cubicBezTo>
                    <a:pt x="1508" y="90"/>
                    <a:pt x="1508" y="90"/>
                    <a:pt x="1508" y="90"/>
                  </a:cubicBezTo>
                  <a:cubicBezTo>
                    <a:pt x="1508" y="40"/>
                    <a:pt x="1467" y="0"/>
                    <a:pt x="1418" y="0"/>
                  </a:cubicBezTo>
                  <a:close/>
                  <a:moveTo>
                    <a:pt x="1069" y="1283"/>
                  </a:moveTo>
                  <a:cubicBezTo>
                    <a:pt x="1069" y="1298"/>
                    <a:pt x="1057" y="1309"/>
                    <a:pt x="1043" y="1309"/>
                  </a:cubicBezTo>
                  <a:cubicBezTo>
                    <a:pt x="633" y="1309"/>
                    <a:pt x="633" y="1309"/>
                    <a:pt x="633" y="1309"/>
                  </a:cubicBezTo>
                  <a:cubicBezTo>
                    <a:pt x="619" y="1309"/>
                    <a:pt x="608" y="1298"/>
                    <a:pt x="608" y="1283"/>
                  </a:cubicBezTo>
                  <a:cubicBezTo>
                    <a:pt x="608" y="1269"/>
                    <a:pt x="619" y="1257"/>
                    <a:pt x="633" y="1257"/>
                  </a:cubicBezTo>
                  <a:cubicBezTo>
                    <a:pt x="1043" y="1257"/>
                    <a:pt x="1043" y="1257"/>
                    <a:pt x="1043" y="1257"/>
                  </a:cubicBezTo>
                  <a:cubicBezTo>
                    <a:pt x="1057" y="1257"/>
                    <a:pt x="1069" y="1269"/>
                    <a:pt x="1069" y="1283"/>
                  </a:cubicBezTo>
                  <a:close/>
                  <a:moveTo>
                    <a:pt x="977" y="1227"/>
                  </a:moveTo>
                  <a:cubicBezTo>
                    <a:pt x="699" y="1227"/>
                    <a:pt x="699" y="1227"/>
                    <a:pt x="699" y="1227"/>
                  </a:cubicBezTo>
                  <a:cubicBezTo>
                    <a:pt x="765" y="1094"/>
                    <a:pt x="765" y="1094"/>
                    <a:pt x="765" y="1094"/>
                  </a:cubicBezTo>
                  <a:cubicBezTo>
                    <a:pt x="911" y="1094"/>
                    <a:pt x="911" y="1094"/>
                    <a:pt x="911" y="1094"/>
                  </a:cubicBezTo>
                  <a:lnTo>
                    <a:pt x="977" y="1227"/>
                  </a:lnTo>
                  <a:close/>
                  <a:moveTo>
                    <a:pt x="1411" y="930"/>
                  </a:moveTo>
                  <a:cubicBezTo>
                    <a:pt x="674" y="930"/>
                    <a:pt x="674" y="930"/>
                    <a:pt x="674" y="930"/>
                  </a:cubicBezTo>
                  <a:cubicBezTo>
                    <a:pt x="666" y="930"/>
                    <a:pt x="659" y="923"/>
                    <a:pt x="659" y="915"/>
                  </a:cubicBezTo>
                  <a:cubicBezTo>
                    <a:pt x="659" y="907"/>
                    <a:pt x="666" y="900"/>
                    <a:pt x="674" y="900"/>
                  </a:cubicBezTo>
                  <a:cubicBezTo>
                    <a:pt x="1396" y="900"/>
                    <a:pt x="1396" y="900"/>
                    <a:pt x="1396" y="900"/>
                  </a:cubicBezTo>
                  <a:cubicBezTo>
                    <a:pt x="1396" y="112"/>
                    <a:pt x="1396" y="112"/>
                    <a:pt x="1396" y="112"/>
                  </a:cubicBezTo>
                  <a:cubicBezTo>
                    <a:pt x="280" y="112"/>
                    <a:pt x="280" y="112"/>
                    <a:pt x="280" y="112"/>
                  </a:cubicBezTo>
                  <a:cubicBezTo>
                    <a:pt x="280" y="372"/>
                    <a:pt x="280" y="372"/>
                    <a:pt x="280" y="372"/>
                  </a:cubicBezTo>
                  <a:cubicBezTo>
                    <a:pt x="280" y="380"/>
                    <a:pt x="274" y="387"/>
                    <a:pt x="265" y="387"/>
                  </a:cubicBezTo>
                  <a:cubicBezTo>
                    <a:pt x="257" y="387"/>
                    <a:pt x="250" y="380"/>
                    <a:pt x="250" y="372"/>
                  </a:cubicBezTo>
                  <a:cubicBezTo>
                    <a:pt x="250" y="97"/>
                    <a:pt x="250" y="97"/>
                    <a:pt x="250" y="97"/>
                  </a:cubicBezTo>
                  <a:cubicBezTo>
                    <a:pt x="250" y="88"/>
                    <a:pt x="257" y="82"/>
                    <a:pt x="265" y="82"/>
                  </a:cubicBezTo>
                  <a:cubicBezTo>
                    <a:pt x="1411" y="82"/>
                    <a:pt x="1411" y="82"/>
                    <a:pt x="1411" y="82"/>
                  </a:cubicBezTo>
                  <a:cubicBezTo>
                    <a:pt x="1419" y="82"/>
                    <a:pt x="1426" y="88"/>
                    <a:pt x="1426" y="97"/>
                  </a:cubicBezTo>
                  <a:cubicBezTo>
                    <a:pt x="1426" y="915"/>
                    <a:pt x="1426" y="915"/>
                    <a:pt x="1426" y="915"/>
                  </a:cubicBezTo>
                  <a:cubicBezTo>
                    <a:pt x="1426" y="923"/>
                    <a:pt x="1419" y="930"/>
                    <a:pt x="1411" y="930"/>
                  </a:cubicBezTo>
                  <a:close/>
                  <a:moveTo>
                    <a:pt x="788" y="997"/>
                  </a:moveTo>
                  <a:cubicBezTo>
                    <a:pt x="788" y="1024"/>
                    <a:pt x="810" y="1047"/>
                    <a:pt x="838" y="1047"/>
                  </a:cubicBezTo>
                  <a:cubicBezTo>
                    <a:pt x="865" y="1047"/>
                    <a:pt x="888" y="1024"/>
                    <a:pt x="888" y="997"/>
                  </a:cubicBezTo>
                  <a:cubicBezTo>
                    <a:pt x="888" y="969"/>
                    <a:pt x="865" y="947"/>
                    <a:pt x="838" y="947"/>
                  </a:cubicBezTo>
                  <a:cubicBezTo>
                    <a:pt x="810" y="947"/>
                    <a:pt x="788" y="969"/>
                    <a:pt x="788" y="997"/>
                  </a:cubicBezTo>
                  <a:close/>
                  <a:moveTo>
                    <a:pt x="858" y="997"/>
                  </a:moveTo>
                  <a:cubicBezTo>
                    <a:pt x="858" y="1008"/>
                    <a:pt x="849" y="1017"/>
                    <a:pt x="838" y="1017"/>
                  </a:cubicBezTo>
                  <a:cubicBezTo>
                    <a:pt x="827" y="1017"/>
                    <a:pt x="818" y="1008"/>
                    <a:pt x="818" y="997"/>
                  </a:cubicBezTo>
                  <a:cubicBezTo>
                    <a:pt x="818" y="986"/>
                    <a:pt x="827" y="977"/>
                    <a:pt x="838" y="977"/>
                  </a:cubicBezTo>
                  <a:cubicBezTo>
                    <a:pt x="849" y="977"/>
                    <a:pt x="858" y="986"/>
                    <a:pt x="858" y="997"/>
                  </a:cubicBezTo>
                  <a:close/>
                  <a:moveTo>
                    <a:pt x="613" y="773"/>
                  </a:moveTo>
                  <a:cubicBezTo>
                    <a:pt x="675" y="773"/>
                    <a:pt x="734" y="748"/>
                    <a:pt x="778" y="705"/>
                  </a:cubicBezTo>
                  <a:cubicBezTo>
                    <a:pt x="822" y="661"/>
                    <a:pt x="846" y="602"/>
                    <a:pt x="846" y="540"/>
                  </a:cubicBezTo>
                  <a:cubicBezTo>
                    <a:pt x="846" y="478"/>
                    <a:pt x="822" y="419"/>
                    <a:pt x="778" y="375"/>
                  </a:cubicBezTo>
                  <a:cubicBezTo>
                    <a:pt x="734" y="331"/>
                    <a:pt x="675" y="307"/>
                    <a:pt x="613" y="307"/>
                  </a:cubicBezTo>
                  <a:cubicBezTo>
                    <a:pt x="551" y="307"/>
                    <a:pt x="492" y="331"/>
                    <a:pt x="448" y="375"/>
                  </a:cubicBezTo>
                  <a:cubicBezTo>
                    <a:pt x="404" y="419"/>
                    <a:pt x="380" y="478"/>
                    <a:pt x="380" y="540"/>
                  </a:cubicBezTo>
                  <a:cubicBezTo>
                    <a:pt x="380" y="602"/>
                    <a:pt x="404" y="661"/>
                    <a:pt x="448" y="705"/>
                  </a:cubicBezTo>
                  <a:cubicBezTo>
                    <a:pt x="492" y="748"/>
                    <a:pt x="551" y="773"/>
                    <a:pt x="613" y="773"/>
                  </a:cubicBezTo>
                  <a:close/>
                  <a:moveTo>
                    <a:pt x="470" y="396"/>
                  </a:moveTo>
                  <a:cubicBezTo>
                    <a:pt x="508" y="358"/>
                    <a:pt x="559" y="337"/>
                    <a:pt x="613" y="337"/>
                  </a:cubicBezTo>
                  <a:cubicBezTo>
                    <a:pt x="667" y="337"/>
                    <a:pt x="718" y="358"/>
                    <a:pt x="756" y="396"/>
                  </a:cubicBezTo>
                  <a:cubicBezTo>
                    <a:pt x="795" y="435"/>
                    <a:pt x="816" y="486"/>
                    <a:pt x="816" y="540"/>
                  </a:cubicBezTo>
                  <a:cubicBezTo>
                    <a:pt x="816" y="594"/>
                    <a:pt x="795" y="645"/>
                    <a:pt x="756" y="683"/>
                  </a:cubicBezTo>
                  <a:cubicBezTo>
                    <a:pt x="718" y="722"/>
                    <a:pt x="667" y="743"/>
                    <a:pt x="613" y="743"/>
                  </a:cubicBezTo>
                  <a:cubicBezTo>
                    <a:pt x="559" y="743"/>
                    <a:pt x="508" y="722"/>
                    <a:pt x="470" y="683"/>
                  </a:cubicBezTo>
                  <a:cubicBezTo>
                    <a:pt x="431" y="645"/>
                    <a:pt x="410" y="594"/>
                    <a:pt x="410" y="540"/>
                  </a:cubicBezTo>
                  <a:cubicBezTo>
                    <a:pt x="410" y="486"/>
                    <a:pt x="431" y="435"/>
                    <a:pt x="470" y="396"/>
                  </a:cubicBezTo>
                  <a:close/>
                  <a:moveTo>
                    <a:pt x="613" y="827"/>
                  </a:moveTo>
                  <a:cubicBezTo>
                    <a:pt x="688" y="827"/>
                    <a:pt x="761" y="798"/>
                    <a:pt x="816" y="743"/>
                  </a:cubicBezTo>
                  <a:cubicBezTo>
                    <a:pt x="870" y="689"/>
                    <a:pt x="900" y="617"/>
                    <a:pt x="900" y="540"/>
                  </a:cubicBezTo>
                  <a:cubicBezTo>
                    <a:pt x="900" y="463"/>
                    <a:pt x="870" y="391"/>
                    <a:pt x="816" y="337"/>
                  </a:cubicBezTo>
                  <a:cubicBezTo>
                    <a:pt x="704" y="225"/>
                    <a:pt x="522" y="225"/>
                    <a:pt x="410" y="337"/>
                  </a:cubicBezTo>
                  <a:cubicBezTo>
                    <a:pt x="329" y="418"/>
                    <a:pt x="304" y="539"/>
                    <a:pt x="346" y="646"/>
                  </a:cubicBezTo>
                  <a:cubicBezTo>
                    <a:pt x="348" y="650"/>
                    <a:pt x="350" y="654"/>
                    <a:pt x="352" y="658"/>
                  </a:cubicBezTo>
                  <a:cubicBezTo>
                    <a:pt x="322" y="688"/>
                    <a:pt x="322" y="688"/>
                    <a:pt x="322" y="688"/>
                  </a:cubicBezTo>
                  <a:cubicBezTo>
                    <a:pt x="310" y="700"/>
                    <a:pt x="310" y="720"/>
                    <a:pt x="322" y="732"/>
                  </a:cubicBezTo>
                  <a:cubicBezTo>
                    <a:pt x="19" y="1037"/>
                    <a:pt x="19" y="1037"/>
                    <a:pt x="19" y="1037"/>
                  </a:cubicBezTo>
                  <a:cubicBezTo>
                    <a:pt x="7" y="1049"/>
                    <a:pt x="0" y="1065"/>
                    <a:pt x="0" y="1083"/>
                  </a:cubicBezTo>
                  <a:cubicBezTo>
                    <a:pt x="0" y="1100"/>
                    <a:pt x="7" y="1116"/>
                    <a:pt x="19" y="1129"/>
                  </a:cubicBezTo>
                  <a:cubicBezTo>
                    <a:pt x="26" y="1135"/>
                    <a:pt x="26" y="1135"/>
                    <a:pt x="26" y="1135"/>
                  </a:cubicBezTo>
                  <a:cubicBezTo>
                    <a:pt x="38" y="1147"/>
                    <a:pt x="54" y="1154"/>
                    <a:pt x="71" y="1154"/>
                  </a:cubicBezTo>
                  <a:cubicBezTo>
                    <a:pt x="89" y="1154"/>
                    <a:pt x="105" y="1147"/>
                    <a:pt x="117" y="1135"/>
                  </a:cubicBezTo>
                  <a:cubicBezTo>
                    <a:pt x="421" y="831"/>
                    <a:pt x="421" y="831"/>
                    <a:pt x="421" y="831"/>
                  </a:cubicBezTo>
                  <a:cubicBezTo>
                    <a:pt x="427" y="836"/>
                    <a:pt x="434" y="839"/>
                    <a:pt x="442" y="839"/>
                  </a:cubicBezTo>
                  <a:cubicBezTo>
                    <a:pt x="450" y="839"/>
                    <a:pt x="458" y="836"/>
                    <a:pt x="464" y="830"/>
                  </a:cubicBezTo>
                  <a:cubicBezTo>
                    <a:pt x="494" y="801"/>
                    <a:pt x="494" y="801"/>
                    <a:pt x="494" y="801"/>
                  </a:cubicBezTo>
                  <a:cubicBezTo>
                    <a:pt x="498" y="803"/>
                    <a:pt x="503" y="805"/>
                    <a:pt x="507" y="807"/>
                  </a:cubicBezTo>
                  <a:cubicBezTo>
                    <a:pt x="542" y="821"/>
                    <a:pt x="578" y="827"/>
                    <a:pt x="613" y="827"/>
                  </a:cubicBezTo>
                  <a:close/>
                  <a:moveTo>
                    <a:pt x="431" y="358"/>
                  </a:moveTo>
                  <a:cubicBezTo>
                    <a:pt x="481" y="308"/>
                    <a:pt x="547" y="283"/>
                    <a:pt x="613" y="283"/>
                  </a:cubicBezTo>
                  <a:cubicBezTo>
                    <a:pt x="679" y="283"/>
                    <a:pt x="745" y="308"/>
                    <a:pt x="795" y="358"/>
                  </a:cubicBezTo>
                  <a:cubicBezTo>
                    <a:pt x="843" y="407"/>
                    <a:pt x="870" y="471"/>
                    <a:pt x="870" y="540"/>
                  </a:cubicBezTo>
                  <a:cubicBezTo>
                    <a:pt x="870" y="609"/>
                    <a:pt x="844" y="673"/>
                    <a:pt x="795" y="722"/>
                  </a:cubicBezTo>
                  <a:cubicBezTo>
                    <a:pt x="722" y="794"/>
                    <a:pt x="614" y="817"/>
                    <a:pt x="518" y="779"/>
                  </a:cubicBezTo>
                  <a:cubicBezTo>
                    <a:pt x="511" y="776"/>
                    <a:pt x="504" y="773"/>
                    <a:pt x="497" y="770"/>
                  </a:cubicBezTo>
                  <a:cubicBezTo>
                    <a:pt x="473" y="757"/>
                    <a:pt x="450" y="741"/>
                    <a:pt x="431" y="722"/>
                  </a:cubicBezTo>
                  <a:cubicBezTo>
                    <a:pt x="424" y="715"/>
                    <a:pt x="417" y="707"/>
                    <a:pt x="411" y="699"/>
                  </a:cubicBezTo>
                  <a:cubicBezTo>
                    <a:pt x="400" y="685"/>
                    <a:pt x="391" y="671"/>
                    <a:pt x="383" y="655"/>
                  </a:cubicBezTo>
                  <a:cubicBezTo>
                    <a:pt x="383" y="655"/>
                    <a:pt x="383" y="655"/>
                    <a:pt x="383" y="655"/>
                  </a:cubicBezTo>
                  <a:cubicBezTo>
                    <a:pt x="380" y="648"/>
                    <a:pt x="377" y="641"/>
                    <a:pt x="374" y="634"/>
                  </a:cubicBezTo>
                  <a:cubicBezTo>
                    <a:pt x="336" y="539"/>
                    <a:pt x="358" y="430"/>
                    <a:pt x="431" y="358"/>
                  </a:cubicBezTo>
                  <a:close/>
                  <a:moveTo>
                    <a:pt x="96" y="1114"/>
                  </a:moveTo>
                  <a:cubicBezTo>
                    <a:pt x="83" y="1127"/>
                    <a:pt x="60" y="1127"/>
                    <a:pt x="47" y="1114"/>
                  </a:cubicBezTo>
                  <a:cubicBezTo>
                    <a:pt x="40" y="1108"/>
                    <a:pt x="40" y="1108"/>
                    <a:pt x="40" y="1108"/>
                  </a:cubicBezTo>
                  <a:cubicBezTo>
                    <a:pt x="34" y="1101"/>
                    <a:pt x="30" y="1092"/>
                    <a:pt x="30" y="1083"/>
                  </a:cubicBezTo>
                  <a:cubicBezTo>
                    <a:pt x="30" y="1073"/>
                    <a:pt x="34" y="1065"/>
                    <a:pt x="40" y="1058"/>
                  </a:cubicBezTo>
                  <a:cubicBezTo>
                    <a:pt x="343" y="754"/>
                    <a:pt x="343" y="754"/>
                    <a:pt x="343" y="754"/>
                  </a:cubicBezTo>
                  <a:cubicBezTo>
                    <a:pt x="399" y="810"/>
                    <a:pt x="399" y="810"/>
                    <a:pt x="399" y="810"/>
                  </a:cubicBezTo>
                  <a:lnTo>
                    <a:pt x="96" y="1114"/>
                  </a:lnTo>
                  <a:close/>
                  <a:moveTo>
                    <a:pt x="441" y="809"/>
                  </a:moveTo>
                  <a:cubicBezTo>
                    <a:pt x="436" y="804"/>
                    <a:pt x="436" y="804"/>
                    <a:pt x="436" y="804"/>
                  </a:cubicBezTo>
                  <a:cubicBezTo>
                    <a:pt x="343" y="709"/>
                    <a:pt x="343" y="709"/>
                    <a:pt x="343" y="709"/>
                  </a:cubicBezTo>
                  <a:cubicBezTo>
                    <a:pt x="366" y="687"/>
                    <a:pt x="366" y="687"/>
                    <a:pt x="366" y="687"/>
                  </a:cubicBezTo>
                  <a:cubicBezTo>
                    <a:pt x="366" y="687"/>
                    <a:pt x="366" y="687"/>
                    <a:pt x="366" y="687"/>
                  </a:cubicBezTo>
                  <a:cubicBezTo>
                    <a:pt x="372" y="696"/>
                    <a:pt x="378" y="705"/>
                    <a:pt x="384" y="713"/>
                  </a:cubicBezTo>
                  <a:cubicBezTo>
                    <a:pt x="386" y="715"/>
                    <a:pt x="387" y="717"/>
                    <a:pt x="389" y="719"/>
                  </a:cubicBezTo>
                  <a:cubicBezTo>
                    <a:pt x="395" y="727"/>
                    <a:pt x="402" y="735"/>
                    <a:pt x="410" y="743"/>
                  </a:cubicBezTo>
                  <a:cubicBezTo>
                    <a:pt x="417" y="750"/>
                    <a:pt x="425" y="757"/>
                    <a:pt x="433" y="764"/>
                  </a:cubicBezTo>
                  <a:cubicBezTo>
                    <a:pt x="435" y="765"/>
                    <a:pt x="437" y="767"/>
                    <a:pt x="439" y="768"/>
                  </a:cubicBezTo>
                  <a:cubicBezTo>
                    <a:pt x="447" y="775"/>
                    <a:pt x="456" y="780"/>
                    <a:pt x="465" y="786"/>
                  </a:cubicBezTo>
                  <a:cubicBezTo>
                    <a:pt x="465" y="786"/>
                    <a:pt x="465" y="786"/>
                    <a:pt x="465" y="786"/>
                  </a:cubicBezTo>
                  <a:lnTo>
                    <a:pt x="441" y="8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99925" y="3573686"/>
            <a:ext cx="494596" cy="494594"/>
            <a:chOff x="599925" y="3573686"/>
            <a:chExt cx="494596" cy="494594"/>
          </a:xfrm>
        </p:grpSpPr>
        <p:sp>
          <p:nvSpPr>
            <p:cNvPr id="19" name="Oval 18"/>
            <p:cNvSpPr/>
            <p:nvPr/>
          </p:nvSpPr>
          <p:spPr>
            <a:xfrm>
              <a:off x="599925" y="3573686"/>
              <a:ext cx="494596" cy="4945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0" name="Freeform 12"/>
            <p:cNvSpPr>
              <a:spLocks noEditPoints="1"/>
            </p:cNvSpPr>
            <p:nvPr/>
          </p:nvSpPr>
          <p:spPr bwMode="auto">
            <a:xfrm>
              <a:off x="770521" y="3697585"/>
              <a:ext cx="153404" cy="246796"/>
            </a:xfrm>
            <a:custGeom>
              <a:avLst/>
              <a:gdLst>
                <a:gd name="T0" fmla="*/ 90 w 849"/>
                <a:gd name="T1" fmla="*/ 0 h 1364"/>
                <a:gd name="T2" fmla="*/ 0 w 849"/>
                <a:gd name="T3" fmla="*/ 1274 h 1364"/>
                <a:gd name="T4" fmla="*/ 759 w 849"/>
                <a:gd name="T5" fmla="*/ 1364 h 1364"/>
                <a:gd name="T6" fmla="*/ 849 w 849"/>
                <a:gd name="T7" fmla="*/ 90 h 1364"/>
                <a:gd name="T8" fmla="*/ 819 w 849"/>
                <a:gd name="T9" fmla="*/ 1274 h 1364"/>
                <a:gd name="T10" fmla="*/ 90 w 849"/>
                <a:gd name="T11" fmla="*/ 1334 h 1364"/>
                <a:gd name="T12" fmla="*/ 30 w 849"/>
                <a:gd name="T13" fmla="*/ 90 h 1364"/>
                <a:gd name="T14" fmla="*/ 759 w 849"/>
                <a:gd name="T15" fmla="*/ 30 h 1364"/>
                <a:gd name="T16" fmla="*/ 819 w 849"/>
                <a:gd name="T17" fmla="*/ 1274 h 1364"/>
                <a:gd name="T18" fmla="*/ 754 w 849"/>
                <a:gd name="T19" fmla="*/ 1175 h 1364"/>
                <a:gd name="T20" fmla="*/ 95 w 849"/>
                <a:gd name="T21" fmla="*/ 131 h 1364"/>
                <a:gd name="T22" fmla="*/ 125 w 849"/>
                <a:gd name="T23" fmla="*/ 161 h 1364"/>
                <a:gd name="T24" fmla="*/ 724 w 849"/>
                <a:gd name="T25" fmla="*/ 1145 h 1364"/>
                <a:gd name="T26" fmla="*/ 125 w 849"/>
                <a:gd name="T27" fmla="*/ 161 h 1364"/>
                <a:gd name="T28" fmla="*/ 378 w 849"/>
                <a:gd name="T29" fmla="*/ 1256 h 1364"/>
                <a:gd name="T30" fmla="*/ 471 w 849"/>
                <a:gd name="T31" fmla="*/ 1256 h 1364"/>
                <a:gd name="T32" fmla="*/ 425 w 849"/>
                <a:gd name="T33" fmla="*/ 1272 h 1364"/>
                <a:gd name="T34" fmla="*/ 425 w 849"/>
                <a:gd name="T35" fmla="*/ 1239 h 1364"/>
                <a:gd name="T36" fmla="*/ 425 w 849"/>
                <a:gd name="T37" fmla="*/ 1272 h 1364"/>
                <a:gd name="T38" fmla="*/ 284 w 849"/>
                <a:gd name="T39" fmla="*/ 493 h 1364"/>
                <a:gd name="T40" fmla="*/ 224 w 849"/>
                <a:gd name="T41" fmla="*/ 449 h 1364"/>
                <a:gd name="T42" fmla="*/ 160 w 849"/>
                <a:gd name="T43" fmla="*/ 445 h 1364"/>
                <a:gd name="T44" fmla="*/ 203 w 849"/>
                <a:gd name="T45" fmla="*/ 471 h 1364"/>
                <a:gd name="T46" fmla="*/ 251 w 849"/>
                <a:gd name="T47" fmla="*/ 535 h 1364"/>
                <a:gd name="T48" fmla="*/ 307 w 849"/>
                <a:gd name="T49" fmla="*/ 751 h 1364"/>
                <a:gd name="T50" fmla="*/ 245 w 849"/>
                <a:gd name="T51" fmla="*/ 845 h 1364"/>
                <a:gd name="T52" fmla="*/ 333 w 849"/>
                <a:gd name="T53" fmla="*/ 860 h 1364"/>
                <a:gd name="T54" fmla="*/ 535 w 849"/>
                <a:gd name="T55" fmla="*/ 891 h 1364"/>
                <a:gd name="T56" fmla="*/ 535 w 849"/>
                <a:gd name="T57" fmla="*/ 799 h 1364"/>
                <a:gd name="T58" fmla="*/ 333 w 849"/>
                <a:gd name="T59" fmla="*/ 830 h 1364"/>
                <a:gd name="T60" fmla="*/ 332 w 849"/>
                <a:gd name="T61" fmla="*/ 767 h 1364"/>
                <a:gd name="T62" fmla="*/ 582 w 849"/>
                <a:gd name="T63" fmla="*/ 768 h 1364"/>
                <a:gd name="T64" fmla="*/ 667 w 849"/>
                <a:gd name="T65" fmla="*/ 535 h 1364"/>
                <a:gd name="T66" fmla="*/ 634 w 849"/>
                <a:gd name="T67" fmla="*/ 493 h 1364"/>
                <a:gd name="T68" fmla="*/ 638 w 849"/>
                <a:gd name="T69" fmla="*/ 528 h 1364"/>
                <a:gd name="T70" fmla="*/ 287 w 849"/>
                <a:gd name="T71" fmla="*/ 554 h 1364"/>
                <a:gd name="T72" fmla="*/ 281 w 849"/>
                <a:gd name="T73" fmla="*/ 524 h 1364"/>
                <a:gd name="T74" fmla="*/ 634 w 849"/>
                <a:gd name="T75" fmla="*/ 523 h 1364"/>
                <a:gd name="T76" fmla="*/ 310 w 849"/>
                <a:gd name="T77" fmla="*/ 646 h 1364"/>
                <a:gd name="T78" fmla="*/ 600 w 849"/>
                <a:gd name="T79" fmla="*/ 677 h 1364"/>
                <a:gd name="T80" fmla="*/ 310 w 849"/>
                <a:gd name="T81" fmla="*/ 646 h 1364"/>
                <a:gd name="T82" fmla="*/ 302 w 849"/>
                <a:gd name="T83" fmla="*/ 615 h 1364"/>
                <a:gd name="T84" fmla="*/ 623 w 849"/>
                <a:gd name="T85" fmla="*/ 584 h 1364"/>
                <a:gd name="T86" fmla="*/ 290 w 849"/>
                <a:gd name="T87" fmla="*/ 861 h 1364"/>
                <a:gd name="T88" fmla="*/ 290 w 849"/>
                <a:gd name="T89" fmla="*/ 829 h 1364"/>
                <a:gd name="T90" fmla="*/ 290 w 849"/>
                <a:gd name="T91" fmla="*/ 861 h 1364"/>
                <a:gd name="T92" fmla="*/ 551 w 849"/>
                <a:gd name="T93" fmla="*/ 845 h 1364"/>
                <a:gd name="T94" fmla="*/ 520 w 849"/>
                <a:gd name="T95" fmla="*/ 845 h 1364"/>
                <a:gd name="T96" fmla="*/ 582 w 849"/>
                <a:gd name="T97" fmla="*/ 738 h 1364"/>
                <a:gd name="T98" fmla="*/ 332 w 849"/>
                <a:gd name="T99" fmla="*/ 735 h 1364"/>
                <a:gd name="T100" fmla="*/ 593 w 849"/>
                <a:gd name="T101" fmla="*/ 707 h 1364"/>
                <a:gd name="T102" fmla="*/ 582 w 849"/>
                <a:gd name="T103" fmla="*/ 738 h 1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49" h="1364">
                  <a:moveTo>
                    <a:pt x="759" y="0"/>
                  </a:moveTo>
                  <a:cubicBezTo>
                    <a:pt x="90" y="0"/>
                    <a:pt x="90" y="0"/>
                    <a:pt x="90" y="0"/>
                  </a:cubicBezTo>
                  <a:cubicBezTo>
                    <a:pt x="41" y="0"/>
                    <a:pt x="0" y="40"/>
                    <a:pt x="0" y="90"/>
                  </a:cubicBezTo>
                  <a:cubicBezTo>
                    <a:pt x="0" y="1274"/>
                    <a:pt x="0" y="1274"/>
                    <a:pt x="0" y="1274"/>
                  </a:cubicBezTo>
                  <a:cubicBezTo>
                    <a:pt x="0" y="1324"/>
                    <a:pt x="41" y="1364"/>
                    <a:pt x="90" y="1364"/>
                  </a:cubicBezTo>
                  <a:cubicBezTo>
                    <a:pt x="759" y="1364"/>
                    <a:pt x="759" y="1364"/>
                    <a:pt x="759" y="1364"/>
                  </a:cubicBezTo>
                  <a:cubicBezTo>
                    <a:pt x="808" y="1364"/>
                    <a:pt x="849" y="1324"/>
                    <a:pt x="849" y="1274"/>
                  </a:cubicBezTo>
                  <a:cubicBezTo>
                    <a:pt x="849" y="90"/>
                    <a:pt x="849" y="90"/>
                    <a:pt x="849" y="90"/>
                  </a:cubicBezTo>
                  <a:cubicBezTo>
                    <a:pt x="849" y="40"/>
                    <a:pt x="808" y="0"/>
                    <a:pt x="759" y="0"/>
                  </a:cubicBezTo>
                  <a:close/>
                  <a:moveTo>
                    <a:pt x="819" y="1274"/>
                  </a:moveTo>
                  <a:cubicBezTo>
                    <a:pt x="819" y="1307"/>
                    <a:pt x="792" y="1334"/>
                    <a:pt x="759" y="1334"/>
                  </a:cubicBezTo>
                  <a:cubicBezTo>
                    <a:pt x="90" y="1334"/>
                    <a:pt x="90" y="1334"/>
                    <a:pt x="90" y="1334"/>
                  </a:cubicBezTo>
                  <a:cubicBezTo>
                    <a:pt x="57" y="1334"/>
                    <a:pt x="30" y="1307"/>
                    <a:pt x="30" y="1274"/>
                  </a:cubicBezTo>
                  <a:cubicBezTo>
                    <a:pt x="30" y="90"/>
                    <a:pt x="30" y="90"/>
                    <a:pt x="30" y="90"/>
                  </a:cubicBezTo>
                  <a:cubicBezTo>
                    <a:pt x="30" y="57"/>
                    <a:pt x="57" y="30"/>
                    <a:pt x="90" y="30"/>
                  </a:cubicBezTo>
                  <a:cubicBezTo>
                    <a:pt x="759" y="30"/>
                    <a:pt x="759" y="30"/>
                    <a:pt x="759" y="30"/>
                  </a:cubicBezTo>
                  <a:cubicBezTo>
                    <a:pt x="792" y="30"/>
                    <a:pt x="819" y="57"/>
                    <a:pt x="819" y="90"/>
                  </a:cubicBezTo>
                  <a:lnTo>
                    <a:pt x="819" y="1274"/>
                  </a:lnTo>
                  <a:close/>
                  <a:moveTo>
                    <a:pt x="95" y="1175"/>
                  </a:moveTo>
                  <a:cubicBezTo>
                    <a:pt x="754" y="1175"/>
                    <a:pt x="754" y="1175"/>
                    <a:pt x="754" y="1175"/>
                  </a:cubicBezTo>
                  <a:cubicBezTo>
                    <a:pt x="754" y="131"/>
                    <a:pt x="754" y="131"/>
                    <a:pt x="754" y="131"/>
                  </a:cubicBezTo>
                  <a:cubicBezTo>
                    <a:pt x="95" y="131"/>
                    <a:pt x="95" y="131"/>
                    <a:pt x="95" y="131"/>
                  </a:cubicBezTo>
                  <a:lnTo>
                    <a:pt x="95" y="1175"/>
                  </a:lnTo>
                  <a:close/>
                  <a:moveTo>
                    <a:pt x="125" y="161"/>
                  </a:moveTo>
                  <a:cubicBezTo>
                    <a:pt x="724" y="161"/>
                    <a:pt x="724" y="161"/>
                    <a:pt x="724" y="161"/>
                  </a:cubicBezTo>
                  <a:cubicBezTo>
                    <a:pt x="724" y="1145"/>
                    <a:pt x="724" y="1145"/>
                    <a:pt x="724" y="1145"/>
                  </a:cubicBezTo>
                  <a:cubicBezTo>
                    <a:pt x="125" y="1145"/>
                    <a:pt x="125" y="1145"/>
                    <a:pt x="125" y="1145"/>
                  </a:cubicBezTo>
                  <a:lnTo>
                    <a:pt x="125" y="161"/>
                  </a:lnTo>
                  <a:close/>
                  <a:moveTo>
                    <a:pt x="425" y="1209"/>
                  </a:moveTo>
                  <a:cubicBezTo>
                    <a:pt x="399" y="1209"/>
                    <a:pt x="378" y="1230"/>
                    <a:pt x="378" y="1256"/>
                  </a:cubicBezTo>
                  <a:cubicBezTo>
                    <a:pt x="378" y="1281"/>
                    <a:pt x="399" y="1302"/>
                    <a:pt x="425" y="1302"/>
                  </a:cubicBezTo>
                  <a:cubicBezTo>
                    <a:pt x="450" y="1302"/>
                    <a:pt x="471" y="1281"/>
                    <a:pt x="471" y="1256"/>
                  </a:cubicBezTo>
                  <a:cubicBezTo>
                    <a:pt x="471" y="1230"/>
                    <a:pt x="450" y="1209"/>
                    <a:pt x="425" y="1209"/>
                  </a:cubicBezTo>
                  <a:close/>
                  <a:moveTo>
                    <a:pt x="425" y="1272"/>
                  </a:moveTo>
                  <a:cubicBezTo>
                    <a:pt x="416" y="1272"/>
                    <a:pt x="408" y="1265"/>
                    <a:pt x="408" y="1256"/>
                  </a:cubicBezTo>
                  <a:cubicBezTo>
                    <a:pt x="408" y="1247"/>
                    <a:pt x="416" y="1239"/>
                    <a:pt x="425" y="1239"/>
                  </a:cubicBezTo>
                  <a:cubicBezTo>
                    <a:pt x="434" y="1239"/>
                    <a:pt x="441" y="1247"/>
                    <a:pt x="441" y="1256"/>
                  </a:cubicBezTo>
                  <a:cubicBezTo>
                    <a:pt x="441" y="1265"/>
                    <a:pt x="434" y="1272"/>
                    <a:pt x="425" y="1272"/>
                  </a:cubicBezTo>
                  <a:close/>
                  <a:moveTo>
                    <a:pt x="634" y="493"/>
                  </a:moveTo>
                  <a:cubicBezTo>
                    <a:pt x="284" y="493"/>
                    <a:pt x="284" y="493"/>
                    <a:pt x="284" y="493"/>
                  </a:cubicBezTo>
                  <a:cubicBezTo>
                    <a:pt x="280" y="493"/>
                    <a:pt x="276" y="494"/>
                    <a:pt x="273" y="495"/>
                  </a:cubicBezTo>
                  <a:cubicBezTo>
                    <a:pt x="224" y="449"/>
                    <a:pt x="224" y="449"/>
                    <a:pt x="224" y="449"/>
                  </a:cubicBezTo>
                  <a:cubicBezTo>
                    <a:pt x="210" y="437"/>
                    <a:pt x="193" y="430"/>
                    <a:pt x="175" y="430"/>
                  </a:cubicBezTo>
                  <a:cubicBezTo>
                    <a:pt x="167" y="430"/>
                    <a:pt x="160" y="437"/>
                    <a:pt x="160" y="445"/>
                  </a:cubicBezTo>
                  <a:cubicBezTo>
                    <a:pt x="160" y="454"/>
                    <a:pt x="167" y="460"/>
                    <a:pt x="175" y="460"/>
                  </a:cubicBezTo>
                  <a:cubicBezTo>
                    <a:pt x="185" y="460"/>
                    <a:pt x="195" y="464"/>
                    <a:pt x="203" y="471"/>
                  </a:cubicBezTo>
                  <a:cubicBezTo>
                    <a:pt x="252" y="516"/>
                    <a:pt x="252" y="516"/>
                    <a:pt x="252" y="516"/>
                  </a:cubicBezTo>
                  <a:cubicBezTo>
                    <a:pt x="250" y="522"/>
                    <a:pt x="249" y="529"/>
                    <a:pt x="251" y="535"/>
                  </a:cubicBezTo>
                  <a:cubicBezTo>
                    <a:pt x="303" y="742"/>
                    <a:pt x="303" y="742"/>
                    <a:pt x="303" y="742"/>
                  </a:cubicBezTo>
                  <a:cubicBezTo>
                    <a:pt x="304" y="746"/>
                    <a:pt x="305" y="749"/>
                    <a:pt x="307" y="751"/>
                  </a:cubicBezTo>
                  <a:cubicBezTo>
                    <a:pt x="281" y="800"/>
                    <a:pt x="281" y="800"/>
                    <a:pt x="281" y="800"/>
                  </a:cubicBezTo>
                  <a:cubicBezTo>
                    <a:pt x="260" y="805"/>
                    <a:pt x="245" y="823"/>
                    <a:pt x="245" y="845"/>
                  </a:cubicBezTo>
                  <a:cubicBezTo>
                    <a:pt x="245" y="870"/>
                    <a:pt x="265" y="891"/>
                    <a:pt x="290" y="891"/>
                  </a:cubicBezTo>
                  <a:cubicBezTo>
                    <a:pt x="310" y="891"/>
                    <a:pt x="327" y="878"/>
                    <a:pt x="333" y="860"/>
                  </a:cubicBezTo>
                  <a:cubicBezTo>
                    <a:pt x="493" y="860"/>
                    <a:pt x="493" y="860"/>
                    <a:pt x="493" y="860"/>
                  </a:cubicBezTo>
                  <a:cubicBezTo>
                    <a:pt x="499" y="878"/>
                    <a:pt x="516" y="891"/>
                    <a:pt x="535" y="891"/>
                  </a:cubicBezTo>
                  <a:cubicBezTo>
                    <a:pt x="561" y="891"/>
                    <a:pt x="581" y="870"/>
                    <a:pt x="581" y="845"/>
                  </a:cubicBezTo>
                  <a:cubicBezTo>
                    <a:pt x="581" y="820"/>
                    <a:pt x="561" y="799"/>
                    <a:pt x="535" y="799"/>
                  </a:cubicBezTo>
                  <a:cubicBezTo>
                    <a:pt x="516" y="799"/>
                    <a:pt x="499" y="812"/>
                    <a:pt x="493" y="830"/>
                  </a:cubicBezTo>
                  <a:cubicBezTo>
                    <a:pt x="333" y="830"/>
                    <a:pt x="333" y="830"/>
                    <a:pt x="333" y="830"/>
                  </a:cubicBezTo>
                  <a:cubicBezTo>
                    <a:pt x="330" y="819"/>
                    <a:pt x="322" y="810"/>
                    <a:pt x="312" y="805"/>
                  </a:cubicBezTo>
                  <a:cubicBezTo>
                    <a:pt x="332" y="767"/>
                    <a:pt x="332" y="767"/>
                    <a:pt x="332" y="767"/>
                  </a:cubicBezTo>
                  <a:cubicBezTo>
                    <a:pt x="333" y="768"/>
                    <a:pt x="334" y="768"/>
                    <a:pt x="336" y="768"/>
                  </a:cubicBezTo>
                  <a:cubicBezTo>
                    <a:pt x="582" y="768"/>
                    <a:pt x="582" y="768"/>
                    <a:pt x="582" y="768"/>
                  </a:cubicBezTo>
                  <a:cubicBezTo>
                    <a:pt x="598" y="768"/>
                    <a:pt x="611" y="758"/>
                    <a:pt x="615" y="742"/>
                  </a:cubicBezTo>
                  <a:cubicBezTo>
                    <a:pt x="667" y="535"/>
                    <a:pt x="667" y="535"/>
                    <a:pt x="667" y="535"/>
                  </a:cubicBezTo>
                  <a:cubicBezTo>
                    <a:pt x="669" y="525"/>
                    <a:pt x="667" y="514"/>
                    <a:pt x="661" y="506"/>
                  </a:cubicBezTo>
                  <a:cubicBezTo>
                    <a:pt x="654" y="498"/>
                    <a:pt x="644" y="493"/>
                    <a:pt x="634" y="493"/>
                  </a:cubicBezTo>
                  <a:close/>
                  <a:moveTo>
                    <a:pt x="637" y="524"/>
                  </a:moveTo>
                  <a:cubicBezTo>
                    <a:pt x="637" y="525"/>
                    <a:pt x="638" y="526"/>
                    <a:pt x="638" y="528"/>
                  </a:cubicBezTo>
                  <a:cubicBezTo>
                    <a:pt x="631" y="554"/>
                    <a:pt x="631" y="554"/>
                    <a:pt x="631" y="554"/>
                  </a:cubicBezTo>
                  <a:cubicBezTo>
                    <a:pt x="287" y="554"/>
                    <a:pt x="287" y="554"/>
                    <a:pt x="287" y="554"/>
                  </a:cubicBezTo>
                  <a:cubicBezTo>
                    <a:pt x="280" y="528"/>
                    <a:pt x="280" y="528"/>
                    <a:pt x="280" y="528"/>
                  </a:cubicBezTo>
                  <a:cubicBezTo>
                    <a:pt x="280" y="526"/>
                    <a:pt x="280" y="525"/>
                    <a:pt x="281" y="524"/>
                  </a:cubicBezTo>
                  <a:cubicBezTo>
                    <a:pt x="281" y="524"/>
                    <a:pt x="282" y="523"/>
                    <a:pt x="284" y="523"/>
                  </a:cubicBezTo>
                  <a:cubicBezTo>
                    <a:pt x="634" y="523"/>
                    <a:pt x="634" y="523"/>
                    <a:pt x="634" y="523"/>
                  </a:cubicBezTo>
                  <a:cubicBezTo>
                    <a:pt x="635" y="523"/>
                    <a:pt x="636" y="524"/>
                    <a:pt x="637" y="524"/>
                  </a:cubicBezTo>
                  <a:close/>
                  <a:moveTo>
                    <a:pt x="310" y="646"/>
                  </a:moveTo>
                  <a:cubicBezTo>
                    <a:pt x="608" y="646"/>
                    <a:pt x="608" y="646"/>
                    <a:pt x="608" y="646"/>
                  </a:cubicBezTo>
                  <a:cubicBezTo>
                    <a:pt x="600" y="677"/>
                    <a:pt x="600" y="677"/>
                    <a:pt x="600" y="677"/>
                  </a:cubicBezTo>
                  <a:cubicBezTo>
                    <a:pt x="317" y="677"/>
                    <a:pt x="317" y="677"/>
                    <a:pt x="317" y="677"/>
                  </a:cubicBezTo>
                  <a:lnTo>
                    <a:pt x="310" y="646"/>
                  </a:lnTo>
                  <a:close/>
                  <a:moveTo>
                    <a:pt x="616" y="615"/>
                  </a:moveTo>
                  <a:cubicBezTo>
                    <a:pt x="302" y="615"/>
                    <a:pt x="302" y="615"/>
                    <a:pt x="302" y="615"/>
                  </a:cubicBezTo>
                  <a:cubicBezTo>
                    <a:pt x="294" y="584"/>
                    <a:pt x="294" y="584"/>
                    <a:pt x="294" y="584"/>
                  </a:cubicBezTo>
                  <a:cubicBezTo>
                    <a:pt x="623" y="584"/>
                    <a:pt x="623" y="584"/>
                    <a:pt x="623" y="584"/>
                  </a:cubicBezTo>
                  <a:lnTo>
                    <a:pt x="616" y="615"/>
                  </a:lnTo>
                  <a:close/>
                  <a:moveTo>
                    <a:pt x="290" y="861"/>
                  </a:moveTo>
                  <a:cubicBezTo>
                    <a:pt x="282" y="861"/>
                    <a:pt x="275" y="854"/>
                    <a:pt x="275" y="845"/>
                  </a:cubicBezTo>
                  <a:cubicBezTo>
                    <a:pt x="275" y="836"/>
                    <a:pt x="282" y="829"/>
                    <a:pt x="290" y="829"/>
                  </a:cubicBezTo>
                  <a:cubicBezTo>
                    <a:pt x="299" y="829"/>
                    <a:pt x="306" y="836"/>
                    <a:pt x="306" y="845"/>
                  </a:cubicBezTo>
                  <a:cubicBezTo>
                    <a:pt x="306" y="854"/>
                    <a:pt x="299" y="861"/>
                    <a:pt x="290" y="861"/>
                  </a:cubicBezTo>
                  <a:close/>
                  <a:moveTo>
                    <a:pt x="535" y="829"/>
                  </a:moveTo>
                  <a:cubicBezTo>
                    <a:pt x="544" y="829"/>
                    <a:pt x="551" y="836"/>
                    <a:pt x="551" y="845"/>
                  </a:cubicBezTo>
                  <a:cubicBezTo>
                    <a:pt x="551" y="854"/>
                    <a:pt x="544" y="861"/>
                    <a:pt x="535" y="861"/>
                  </a:cubicBezTo>
                  <a:cubicBezTo>
                    <a:pt x="527" y="861"/>
                    <a:pt x="520" y="854"/>
                    <a:pt x="520" y="845"/>
                  </a:cubicBezTo>
                  <a:cubicBezTo>
                    <a:pt x="520" y="836"/>
                    <a:pt x="527" y="829"/>
                    <a:pt x="535" y="829"/>
                  </a:cubicBezTo>
                  <a:close/>
                  <a:moveTo>
                    <a:pt x="582" y="738"/>
                  </a:moveTo>
                  <a:cubicBezTo>
                    <a:pt x="336" y="738"/>
                    <a:pt x="336" y="738"/>
                    <a:pt x="336" y="738"/>
                  </a:cubicBezTo>
                  <a:cubicBezTo>
                    <a:pt x="334" y="738"/>
                    <a:pt x="332" y="737"/>
                    <a:pt x="332" y="735"/>
                  </a:cubicBezTo>
                  <a:cubicBezTo>
                    <a:pt x="325" y="707"/>
                    <a:pt x="325" y="707"/>
                    <a:pt x="325" y="707"/>
                  </a:cubicBezTo>
                  <a:cubicBezTo>
                    <a:pt x="593" y="707"/>
                    <a:pt x="593" y="707"/>
                    <a:pt x="593" y="707"/>
                  </a:cubicBezTo>
                  <a:cubicBezTo>
                    <a:pt x="586" y="735"/>
                    <a:pt x="586" y="735"/>
                    <a:pt x="586" y="735"/>
                  </a:cubicBezTo>
                  <a:cubicBezTo>
                    <a:pt x="585" y="737"/>
                    <a:pt x="584" y="738"/>
                    <a:pt x="582" y="7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99925" y="1873519"/>
            <a:ext cx="494596" cy="494594"/>
            <a:chOff x="599925" y="1873519"/>
            <a:chExt cx="494596" cy="494594"/>
          </a:xfrm>
        </p:grpSpPr>
        <p:sp>
          <p:nvSpPr>
            <p:cNvPr id="13" name="Oval 12"/>
            <p:cNvSpPr/>
            <p:nvPr/>
          </p:nvSpPr>
          <p:spPr>
            <a:xfrm>
              <a:off x="599925" y="1873519"/>
              <a:ext cx="494596" cy="49459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1" name="Freeform 13"/>
            <p:cNvSpPr>
              <a:spLocks noEditPoints="1"/>
            </p:cNvSpPr>
            <p:nvPr/>
          </p:nvSpPr>
          <p:spPr bwMode="auto">
            <a:xfrm>
              <a:off x="757815" y="1985776"/>
              <a:ext cx="178816" cy="270080"/>
            </a:xfrm>
            <a:custGeom>
              <a:avLst/>
              <a:gdLst>
                <a:gd name="T0" fmla="*/ 450 w 843"/>
                <a:gd name="T1" fmla="*/ 1 h 1271"/>
                <a:gd name="T2" fmla="*/ 418 w 843"/>
                <a:gd name="T3" fmla="*/ 0 h 1271"/>
                <a:gd name="T4" fmla="*/ 34 w 843"/>
                <a:gd name="T5" fmla="*/ 585 h 1271"/>
                <a:gd name="T6" fmla="*/ 170 w 843"/>
                <a:gd name="T7" fmla="*/ 835 h 1271"/>
                <a:gd name="T8" fmla="*/ 241 w 843"/>
                <a:gd name="T9" fmla="*/ 1044 h 1271"/>
                <a:gd name="T10" fmla="*/ 241 w 843"/>
                <a:gd name="T11" fmla="*/ 1140 h 1271"/>
                <a:gd name="T12" fmla="*/ 350 w 843"/>
                <a:gd name="T13" fmla="*/ 1271 h 1271"/>
                <a:gd name="T14" fmla="*/ 599 w 843"/>
                <a:gd name="T15" fmla="*/ 1150 h 1271"/>
                <a:gd name="T16" fmla="*/ 599 w 843"/>
                <a:gd name="T17" fmla="*/ 1074 h 1271"/>
                <a:gd name="T18" fmla="*/ 622 w 843"/>
                <a:gd name="T19" fmla="*/ 966 h 1271"/>
                <a:gd name="T20" fmla="*/ 761 w 843"/>
                <a:gd name="T21" fmla="*/ 673 h 1271"/>
                <a:gd name="T22" fmla="*/ 805 w 843"/>
                <a:gd name="T23" fmla="*/ 586 h 1271"/>
                <a:gd name="T24" fmla="*/ 829 w 843"/>
                <a:gd name="T25" fmla="*/ 508 h 1271"/>
                <a:gd name="T26" fmla="*/ 798 w 843"/>
                <a:gd name="T27" fmla="*/ 327 h 1271"/>
                <a:gd name="T28" fmla="*/ 666 w 843"/>
                <a:gd name="T29" fmla="*/ 502 h 1271"/>
                <a:gd name="T30" fmla="*/ 616 w 843"/>
                <a:gd name="T31" fmla="*/ 617 h 1271"/>
                <a:gd name="T32" fmla="*/ 565 w 843"/>
                <a:gd name="T33" fmla="*/ 500 h 1271"/>
                <a:gd name="T34" fmla="*/ 435 w 843"/>
                <a:gd name="T35" fmla="*/ 334 h 1271"/>
                <a:gd name="T36" fmla="*/ 468 w 843"/>
                <a:gd name="T37" fmla="*/ 147 h 1271"/>
                <a:gd name="T38" fmla="*/ 448 w 843"/>
                <a:gd name="T39" fmla="*/ 31 h 1271"/>
                <a:gd name="T40" fmla="*/ 405 w 843"/>
                <a:gd name="T41" fmla="*/ 30 h 1271"/>
                <a:gd name="T42" fmla="*/ 429 w 843"/>
                <a:gd name="T43" fmla="*/ 190 h 1271"/>
                <a:gd name="T44" fmla="*/ 468 w 843"/>
                <a:gd name="T45" fmla="*/ 310 h 1271"/>
                <a:gd name="T46" fmla="*/ 405 w 843"/>
                <a:gd name="T47" fmla="*/ 309 h 1271"/>
                <a:gd name="T48" fmla="*/ 319 w 843"/>
                <a:gd name="T49" fmla="*/ 454 h 1271"/>
                <a:gd name="T50" fmla="*/ 132 w 843"/>
                <a:gd name="T51" fmla="*/ 487 h 1271"/>
                <a:gd name="T52" fmla="*/ 154 w 843"/>
                <a:gd name="T53" fmla="*/ 134 h 1271"/>
                <a:gd name="T54" fmla="*/ 62 w 843"/>
                <a:gd name="T55" fmla="*/ 573 h 1271"/>
                <a:gd name="T56" fmla="*/ 157 w 843"/>
                <a:gd name="T57" fmla="*/ 517 h 1271"/>
                <a:gd name="T58" fmla="*/ 156 w 843"/>
                <a:gd name="T59" fmla="*/ 454 h 1271"/>
                <a:gd name="T60" fmla="*/ 277 w 843"/>
                <a:gd name="T61" fmla="*/ 492 h 1271"/>
                <a:gd name="T62" fmla="*/ 405 w 843"/>
                <a:gd name="T63" fmla="*/ 517 h 1271"/>
                <a:gd name="T64" fmla="*/ 275 w 843"/>
                <a:gd name="T65" fmla="*/ 728 h 1271"/>
                <a:gd name="T66" fmla="*/ 405 w 843"/>
                <a:gd name="T67" fmla="*/ 979 h 1271"/>
                <a:gd name="T68" fmla="*/ 198 w 843"/>
                <a:gd name="T69" fmla="*/ 823 h 1271"/>
                <a:gd name="T70" fmla="*/ 306 w 843"/>
                <a:gd name="T71" fmla="*/ 1205 h 1271"/>
                <a:gd name="T72" fmla="*/ 569 w 843"/>
                <a:gd name="T73" fmla="*/ 1150 h 1271"/>
                <a:gd name="T74" fmla="*/ 271 w 843"/>
                <a:gd name="T75" fmla="*/ 1150 h 1271"/>
                <a:gd name="T76" fmla="*/ 569 w 843"/>
                <a:gd name="T77" fmla="*/ 1150 h 1271"/>
                <a:gd name="T78" fmla="*/ 271 w 843"/>
                <a:gd name="T79" fmla="*/ 1074 h 1271"/>
                <a:gd name="T80" fmla="*/ 569 w 843"/>
                <a:gd name="T81" fmla="*/ 1009 h 1271"/>
                <a:gd name="T82" fmla="*/ 271 w 843"/>
                <a:gd name="T83" fmla="*/ 1009 h 1271"/>
                <a:gd name="T84" fmla="*/ 569 w 843"/>
                <a:gd name="T85" fmla="*/ 1009 h 1271"/>
                <a:gd name="T86" fmla="*/ 733 w 843"/>
                <a:gd name="T87" fmla="*/ 651 h 1271"/>
                <a:gd name="T88" fmla="*/ 563 w 843"/>
                <a:gd name="T89" fmla="*/ 979 h 1271"/>
                <a:gd name="T90" fmla="*/ 427 w 843"/>
                <a:gd name="T91" fmla="*/ 780 h 1271"/>
                <a:gd name="T92" fmla="*/ 305 w 843"/>
                <a:gd name="T93" fmla="*/ 728 h 1271"/>
                <a:gd name="T94" fmla="*/ 422 w 843"/>
                <a:gd name="T95" fmla="*/ 677 h 1271"/>
                <a:gd name="T96" fmla="*/ 525 w 843"/>
                <a:gd name="T97" fmla="*/ 517 h 1271"/>
                <a:gd name="T98" fmla="*/ 712 w 843"/>
                <a:gd name="T99" fmla="*/ 551 h 1271"/>
                <a:gd name="T100" fmla="*/ 779 w 843"/>
                <a:gd name="T101" fmla="*/ 570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43" h="1271">
                  <a:moveTo>
                    <a:pt x="831" y="502"/>
                  </a:moveTo>
                  <a:cubicBezTo>
                    <a:pt x="843" y="443"/>
                    <a:pt x="842" y="381"/>
                    <a:pt x="827" y="320"/>
                  </a:cubicBezTo>
                  <a:cubicBezTo>
                    <a:pt x="786" y="145"/>
                    <a:pt x="631" y="14"/>
                    <a:pt x="450" y="1"/>
                  </a:cubicBezTo>
                  <a:cubicBezTo>
                    <a:pt x="441" y="0"/>
                    <a:pt x="432" y="1"/>
                    <a:pt x="422" y="0"/>
                  </a:cubicBezTo>
                  <a:cubicBezTo>
                    <a:pt x="422" y="0"/>
                    <a:pt x="421" y="0"/>
                    <a:pt x="420" y="0"/>
                  </a:cubicBezTo>
                  <a:cubicBezTo>
                    <a:pt x="419" y="0"/>
                    <a:pt x="418" y="0"/>
                    <a:pt x="418" y="0"/>
                  </a:cubicBezTo>
                  <a:cubicBezTo>
                    <a:pt x="311" y="1"/>
                    <a:pt x="212" y="40"/>
                    <a:pt x="134" y="113"/>
                  </a:cubicBezTo>
                  <a:cubicBezTo>
                    <a:pt x="49" y="192"/>
                    <a:pt x="0" y="303"/>
                    <a:pt x="0" y="419"/>
                  </a:cubicBezTo>
                  <a:cubicBezTo>
                    <a:pt x="0" y="477"/>
                    <a:pt x="12" y="532"/>
                    <a:pt x="34" y="585"/>
                  </a:cubicBezTo>
                  <a:cubicBezTo>
                    <a:pt x="36" y="588"/>
                    <a:pt x="36" y="588"/>
                    <a:pt x="36" y="588"/>
                  </a:cubicBezTo>
                  <a:cubicBezTo>
                    <a:pt x="42" y="599"/>
                    <a:pt x="59" y="628"/>
                    <a:pt x="79" y="664"/>
                  </a:cubicBezTo>
                  <a:cubicBezTo>
                    <a:pt x="112" y="722"/>
                    <a:pt x="154" y="798"/>
                    <a:pt x="170" y="835"/>
                  </a:cubicBezTo>
                  <a:cubicBezTo>
                    <a:pt x="179" y="855"/>
                    <a:pt x="196" y="902"/>
                    <a:pt x="217" y="966"/>
                  </a:cubicBezTo>
                  <a:cubicBezTo>
                    <a:pt x="222" y="979"/>
                    <a:pt x="230" y="990"/>
                    <a:pt x="241" y="997"/>
                  </a:cubicBezTo>
                  <a:cubicBezTo>
                    <a:pt x="241" y="1044"/>
                    <a:pt x="241" y="1044"/>
                    <a:pt x="241" y="1044"/>
                  </a:cubicBezTo>
                  <a:cubicBezTo>
                    <a:pt x="241" y="1074"/>
                    <a:pt x="241" y="1074"/>
                    <a:pt x="241" y="1074"/>
                  </a:cubicBezTo>
                  <a:cubicBezTo>
                    <a:pt x="241" y="1110"/>
                    <a:pt x="241" y="1110"/>
                    <a:pt x="241" y="1110"/>
                  </a:cubicBezTo>
                  <a:cubicBezTo>
                    <a:pt x="241" y="1140"/>
                    <a:pt x="241" y="1140"/>
                    <a:pt x="241" y="1140"/>
                  </a:cubicBezTo>
                  <a:cubicBezTo>
                    <a:pt x="241" y="1150"/>
                    <a:pt x="241" y="1150"/>
                    <a:pt x="241" y="1150"/>
                  </a:cubicBezTo>
                  <a:cubicBezTo>
                    <a:pt x="241" y="1173"/>
                    <a:pt x="255" y="1193"/>
                    <a:pt x="276" y="1201"/>
                  </a:cubicBezTo>
                  <a:cubicBezTo>
                    <a:pt x="278" y="1240"/>
                    <a:pt x="311" y="1271"/>
                    <a:pt x="350" y="1271"/>
                  </a:cubicBezTo>
                  <a:cubicBezTo>
                    <a:pt x="489" y="1271"/>
                    <a:pt x="489" y="1271"/>
                    <a:pt x="489" y="1271"/>
                  </a:cubicBezTo>
                  <a:cubicBezTo>
                    <a:pt x="529" y="1271"/>
                    <a:pt x="561" y="1240"/>
                    <a:pt x="564" y="1201"/>
                  </a:cubicBezTo>
                  <a:cubicBezTo>
                    <a:pt x="584" y="1193"/>
                    <a:pt x="599" y="1173"/>
                    <a:pt x="599" y="1150"/>
                  </a:cubicBezTo>
                  <a:cubicBezTo>
                    <a:pt x="599" y="1140"/>
                    <a:pt x="599" y="1140"/>
                    <a:pt x="599" y="1140"/>
                  </a:cubicBezTo>
                  <a:cubicBezTo>
                    <a:pt x="599" y="1110"/>
                    <a:pt x="599" y="1110"/>
                    <a:pt x="599" y="1110"/>
                  </a:cubicBezTo>
                  <a:cubicBezTo>
                    <a:pt x="599" y="1074"/>
                    <a:pt x="599" y="1074"/>
                    <a:pt x="599" y="1074"/>
                  </a:cubicBezTo>
                  <a:cubicBezTo>
                    <a:pt x="599" y="1044"/>
                    <a:pt x="599" y="1044"/>
                    <a:pt x="599" y="1044"/>
                  </a:cubicBezTo>
                  <a:cubicBezTo>
                    <a:pt x="599" y="997"/>
                    <a:pt x="599" y="997"/>
                    <a:pt x="599" y="997"/>
                  </a:cubicBezTo>
                  <a:cubicBezTo>
                    <a:pt x="609" y="990"/>
                    <a:pt x="618" y="979"/>
                    <a:pt x="622" y="966"/>
                  </a:cubicBezTo>
                  <a:cubicBezTo>
                    <a:pt x="637" y="921"/>
                    <a:pt x="658" y="861"/>
                    <a:pt x="669" y="835"/>
                  </a:cubicBezTo>
                  <a:cubicBezTo>
                    <a:pt x="686" y="798"/>
                    <a:pt x="728" y="721"/>
                    <a:pt x="755" y="673"/>
                  </a:cubicBezTo>
                  <a:cubicBezTo>
                    <a:pt x="761" y="673"/>
                    <a:pt x="761" y="673"/>
                    <a:pt x="761" y="673"/>
                  </a:cubicBezTo>
                  <a:cubicBezTo>
                    <a:pt x="761" y="662"/>
                    <a:pt x="761" y="662"/>
                    <a:pt x="761" y="662"/>
                  </a:cubicBezTo>
                  <a:cubicBezTo>
                    <a:pt x="781" y="627"/>
                    <a:pt x="797" y="598"/>
                    <a:pt x="803" y="589"/>
                  </a:cubicBezTo>
                  <a:cubicBezTo>
                    <a:pt x="804" y="588"/>
                    <a:pt x="804" y="587"/>
                    <a:pt x="805" y="586"/>
                  </a:cubicBezTo>
                  <a:cubicBezTo>
                    <a:pt x="807" y="583"/>
                    <a:pt x="807" y="583"/>
                    <a:pt x="807" y="583"/>
                  </a:cubicBezTo>
                  <a:cubicBezTo>
                    <a:pt x="807" y="580"/>
                    <a:pt x="807" y="580"/>
                    <a:pt x="807" y="580"/>
                  </a:cubicBezTo>
                  <a:cubicBezTo>
                    <a:pt x="817" y="556"/>
                    <a:pt x="824" y="533"/>
                    <a:pt x="829" y="508"/>
                  </a:cubicBezTo>
                  <a:cubicBezTo>
                    <a:pt x="830" y="506"/>
                    <a:pt x="831" y="504"/>
                    <a:pt x="831" y="502"/>
                  </a:cubicBezTo>
                  <a:cubicBezTo>
                    <a:pt x="831" y="502"/>
                    <a:pt x="831" y="502"/>
                    <a:pt x="831" y="502"/>
                  </a:cubicBezTo>
                  <a:close/>
                  <a:moveTo>
                    <a:pt x="798" y="327"/>
                  </a:moveTo>
                  <a:cubicBezTo>
                    <a:pt x="811" y="381"/>
                    <a:pt x="812" y="435"/>
                    <a:pt x="803" y="487"/>
                  </a:cubicBezTo>
                  <a:cubicBezTo>
                    <a:pt x="681" y="487"/>
                    <a:pt x="681" y="487"/>
                    <a:pt x="681" y="487"/>
                  </a:cubicBezTo>
                  <a:cubicBezTo>
                    <a:pt x="672" y="487"/>
                    <a:pt x="666" y="494"/>
                    <a:pt x="666" y="502"/>
                  </a:cubicBezTo>
                  <a:cubicBezTo>
                    <a:pt x="666" y="507"/>
                    <a:pt x="668" y="511"/>
                    <a:pt x="671" y="514"/>
                  </a:cubicBezTo>
                  <a:cubicBezTo>
                    <a:pt x="678" y="525"/>
                    <a:pt x="682" y="537"/>
                    <a:pt x="682" y="551"/>
                  </a:cubicBezTo>
                  <a:cubicBezTo>
                    <a:pt x="682" y="587"/>
                    <a:pt x="652" y="617"/>
                    <a:pt x="616" y="617"/>
                  </a:cubicBezTo>
                  <a:cubicBezTo>
                    <a:pt x="579" y="617"/>
                    <a:pt x="549" y="587"/>
                    <a:pt x="549" y="551"/>
                  </a:cubicBezTo>
                  <a:cubicBezTo>
                    <a:pt x="549" y="537"/>
                    <a:pt x="553" y="524"/>
                    <a:pt x="561" y="513"/>
                  </a:cubicBezTo>
                  <a:cubicBezTo>
                    <a:pt x="564" y="509"/>
                    <a:pt x="565" y="505"/>
                    <a:pt x="565" y="500"/>
                  </a:cubicBezTo>
                  <a:cubicBezTo>
                    <a:pt x="564" y="493"/>
                    <a:pt x="558" y="487"/>
                    <a:pt x="550" y="487"/>
                  </a:cubicBezTo>
                  <a:cubicBezTo>
                    <a:pt x="435" y="487"/>
                    <a:pt x="435" y="487"/>
                    <a:pt x="435" y="487"/>
                  </a:cubicBezTo>
                  <a:cubicBezTo>
                    <a:pt x="435" y="334"/>
                    <a:pt x="435" y="334"/>
                    <a:pt x="435" y="334"/>
                  </a:cubicBezTo>
                  <a:cubicBezTo>
                    <a:pt x="445" y="338"/>
                    <a:pt x="457" y="340"/>
                    <a:pt x="468" y="340"/>
                  </a:cubicBezTo>
                  <a:cubicBezTo>
                    <a:pt x="521" y="340"/>
                    <a:pt x="565" y="297"/>
                    <a:pt x="565" y="244"/>
                  </a:cubicBezTo>
                  <a:cubicBezTo>
                    <a:pt x="565" y="190"/>
                    <a:pt x="521" y="147"/>
                    <a:pt x="468" y="147"/>
                  </a:cubicBezTo>
                  <a:cubicBezTo>
                    <a:pt x="456" y="147"/>
                    <a:pt x="445" y="149"/>
                    <a:pt x="435" y="153"/>
                  </a:cubicBezTo>
                  <a:cubicBezTo>
                    <a:pt x="435" y="31"/>
                    <a:pt x="435" y="31"/>
                    <a:pt x="435" y="31"/>
                  </a:cubicBezTo>
                  <a:cubicBezTo>
                    <a:pt x="439" y="31"/>
                    <a:pt x="443" y="31"/>
                    <a:pt x="448" y="31"/>
                  </a:cubicBezTo>
                  <a:cubicBezTo>
                    <a:pt x="615" y="43"/>
                    <a:pt x="760" y="164"/>
                    <a:pt x="798" y="327"/>
                  </a:cubicBezTo>
                  <a:close/>
                  <a:moveTo>
                    <a:pt x="154" y="134"/>
                  </a:moveTo>
                  <a:cubicBezTo>
                    <a:pt x="223" y="70"/>
                    <a:pt x="311" y="34"/>
                    <a:pt x="405" y="30"/>
                  </a:cubicBezTo>
                  <a:cubicBezTo>
                    <a:pt x="405" y="178"/>
                    <a:pt x="405" y="178"/>
                    <a:pt x="405" y="178"/>
                  </a:cubicBezTo>
                  <a:cubicBezTo>
                    <a:pt x="405" y="183"/>
                    <a:pt x="408" y="189"/>
                    <a:pt x="413" y="191"/>
                  </a:cubicBezTo>
                  <a:cubicBezTo>
                    <a:pt x="418" y="194"/>
                    <a:pt x="424" y="193"/>
                    <a:pt x="429" y="190"/>
                  </a:cubicBezTo>
                  <a:cubicBezTo>
                    <a:pt x="440" y="181"/>
                    <a:pt x="454" y="177"/>
                    <a:pt x="468" y="177"/>
                  </a:cubicBezTo>
                  <a:cubicBezTo>
                    <a:pt x="505" y="177"/>
                    <a:pt x="534" y="207"/>
                    <a:pt x="534" y="244"/>
                  </a:cubicBezTo>
                  <a:cubicBezTo>
                    <a:pt x="534" y="280"/>
                    <a:pt x="505" y="310"/>
                    <a:pt x="468" y="310"/>
                  </a:cubicBezTo>
                  <a:cubicBezTo>
                    <a:pt x="454" y="310"/>
                    <a:pt x="440" y="306"/>
                    <a:pt x="429" y="297"/>
                  </a:cubicBezTo>
                  <a:cubicBezTo>
                    <a:pt x="424" y="294"/>
                    <a:pt x="418" y="293"/>
                    <a:pt x="413" y="296"/>
                  </a:cubicBezTo>
                  <a:cubicBezTo>
                    <a:pt x="408" y="298"/>
                    <a:pt x="405" y="304"/>
                    <a:pt x="405" y="309"/>
                  </a:cubicBezTo>
                  <a:cubicBezTo>
                    <a:pt x="405" y="487"/>
                    <a:pt x="405" y="487"/>
                    <a:pt x="405" y="487"/>
                  </a:cubicBezTo>
                  <a:cubicBezTo>
                    <a:pt x="314" y="487"/>
                    <a:pt x="314" y="487"/>
                    <a:pt x="314" y="487"/>
                  </a:cubicBezTo>
                  <a:cubicBezTo>
                    <a:pt x="317" y="477"/>
                    <a:pt x="319" y="466"/>
                    <a:pt x="319" y="454"/>
                  </a:cubicBezTo>
                  <a:cubicBezTo>
                    <a:pt x="319" y="401"/>
                    <a:pt x="276" y="358"/>
                    <a:pt x="223" y="358"/>
                  </a:cubicBezTo>
                  <a:cubicBezTo>
                    <a:pt x="170" y="358"/>
                    <a:pt x="126" y="401"/>
                    <a:pt x="126" y="454"/>
                  </a:cubicBezTo>
                  <a:cubicBezTo>
                    <a:pt x="126" y="466"/>
                    <a:pt x="128" y="477"/>
                    <a:pt x="132" y="487"/>
                  </a:cubicBezTo>
                  <a:cubicBezTo>
                    <a:pt x="37" y="487"/>
                    <a:pt x="37" y="487"/>
                    <a:pt x="37" y="487"/>
                  </a:cubicBezTo>
                  <a:cubicBezTo>
                    <a:pt x="33" y="465"/>
                    <a:pt x="30" y="442"/>
                    <a:pt x="30" y="419"/>
                  </a:cubicBezTo>
                  <a:cubicBezTo>
                    <a:pt x="30" y="312"/>
                    <a:pt x="75" y="208"/>
                    <a:pt x="154" y="134"/>
                  </a:cubicBezTo>
                  <a:close/>
                  <a:moveTo>
                    <a:pt x="198" y="823"/>
                  </a:moveTo>
                  <a:cubicBezTo>
                    <a:pt x="181" y="785"/>
                    <a:pt x="138" y="707"/>
                    <a:pt x="105" y="649"/>
                  </a:cubicBezTo>
                  <a:cubicBezTo>
                    <a:pt x="85" y="612"/>
                    <a:pt x="67" y="582"/>
                    <a:pt x="62" y="573"/>
                  </a:cubicBezTo>
                  <a:cubicBezTo>
                    <a:pt x="61" y="572"/>
                    <a:pt x="61" y="572"/>
                    <a:pt x="61" y="572"/>
                  </a:cubicBezTo>
                  <a:cubicBezTo>
                    <a:pt x="54" y="554"/>
                    <a:pt x="48" y="536"/>
                    <a:pt x="43" y="517"/>
                  </a:cubicBezTo>
                  <a:cubicBezTo>
                    <a:pt x="157" y="517"/>
                    <a:pt x="157" y="517"/>
                    <a:pt x="157" y="517"/>
                  </a:cubicBezTo>
                  <a:cubicBezTo>
                    <a:pt x="163" y="517"/>
                    <a:pt x="168" y="514"/>
                    <a:pt x="171" y="509"/>
                  </a:cubicBezTo>
                  <a:cubicBezTo>
                    <a:pt x="173" y="504"/>
                    <a:pt x="173" y="498"/>
                    <a:pt x="169" y="493"/>
                  </a:cubicBezTo>
                  <a:cubicBezTo>
                    <a:pt x="161" y="482"/>
                    <a:pt x="156" y="468"/>
                    <a:pt x="156" y="454"/>
                  </a:cubicBezTo>
                  <a:cubicBezTo>
                    <a:pt x="156" y="417"/>
                    <a:pt x="186" y="388"/>
                    <a:pt x="223" y="388"/>
                  </a:cubicBezTo>
                  <a:cubicBezTo>
                    <a:pt x="260" y="388"/>
                    <a:pt x="289" y="417"/>
                    <a:pt x="289" y="454"/>
                  </a:cubicBezTo>
                  <a:cubicBezTo>
                    <a:pt x="289" y="468"/>
                    <a:pt x="285" y="481"/>
                    <a:pt x="277" y="492"/>
                  </a:cubicBezTo>
                  <a:cubicBezTo>
                    <a:pt x="274" y="496"/>
                    <a:pt x="273" y="500"/>
                    <a:pt x="274" y="505"/>
                  </a:cubicBezTo>
                  <a:cubicBezTo>
                    <a:pt x="275" y="512"/>
                    <a:pt x="281" y="517"/>
                    <a:pt x="288" y="517"/>
                  </a:cubicBezTo>
                  <a:cubicBezTo>
                    <a:pt x="405" y="517"/>
                    <a:pt x="405" y="517"/>
                    <a:pt x="405" y="517"/>
                  </a:cubicBezTo>
                  <a:cubicBezTo>
                    <a:pt x="405" y="637"/>
                    <a:pt x="405" y="637"/>
                    <a:pt x="405" y="637"/>
                  </a:cubicBezTo>
                  <a:cubicBezTo>
                    <a:pt x="394" y="634"/>
                    <a:pt x="383" y="632"/>
                    <a:pt x="372" y="632"/>
                  </a:cubicBezTo>
                  <a:cubicBezTo>
                    <a:pt x="318" y="632"/>
                    <a:pt x="275" y="675"/>
                    <a:pt x="275" y="728"/>
                  </a:cubicBezTo>
                  <a:cubicBezTo>
                    <a:pt x="275" y="781"/>
                    <a:pt x="318" y="825"/>
                    <a:pt x="372" y="825"/>
                  </a:cubicBezTo>
                  <a:cubicBezTo>
                    <a:pt x="383" y="825"/>
                    <a:pt x="394" y="823"/>
                    <a:pt x="405" y="819"/>
                  </a:cubicBezTo>
                  <a:cubicBezTo>
                    <a:pt x="405" y="979"/>
                    <a:pt x="405" y="979"/>
                    <a:pt x="405" y="979"/>
                  </a:cubicBezTo>
                  <a:cubicBezTo>
                    <a:pt x="277" y="979"/>
                    <a:pt x="277" y="979"/>
                    <a:pt x="277" y="979"/>
                  </a:cubicBezTo>
                  <a:cubicBezTo>
                    <a:pt x="263" y="979"/>
                    <a:pt x="250" y="970"/>
                    <a:pt x="246" y="956"/>
                  </a:cubicBezTo>
                  <a:cubicBezTo>
                    <a:pt x="230" y="911"/>
                    <a:pt x="210" y="850"/>
                    <a:pt x="198" y="823"/>
                  </a:cubicBezTo>
                  <a:close/>
                  <a:moveTo>
                    <a:pt x="489" y="1241"/>
                  </a:moveTo>
                  <a:cubicBezTo>
                    <a:pt x="350" y="1241"/>
                    <a:pt x="350" y="1241"/>
                    <a:pt x="350" y="1241"/>
                  </a:cubicBezTo>
                  <a:cubicBezTo>
                    <a:pt x="329" y="1241"/>
                    <a:pt x="310" y="1226"/>
                    <a:pt x="306" y="1205"/>
                  </a:cubicBezTo>
                  <a:cubicBezTo>
                    <a:pt x="533" y="1205"/>
                    <a:pt x="533" y="1205"/>
                    <a:pt x="533" y="1205"/>
                  </a:cubicBezTo>
                  <a:cubicBezTo>
                    <a:pt x="529" y="1226"/>
                    <a:pt x="511" y="1241"/>
                    <a:pt x="489" y="1241"/>
                  </a:cubicBezTo>
                  <a:close/>
                  <a:moveTo>
                    <a:pt x="569" y="1150"/>
                  </a:moveTo>
                  <a:cubicBezTo>
                    <a:pt x="569" y="1164"/>
                    <a:pt x="557" y="1175"/>
                    <a:pt x="544" y="1175"/>
                  </a:cubicBezTo>
                  <a:cubicBezTo>
                    <a:pt x="296" y="1175"/>
                    <a:pt x="296" y="1175"/>
                    <a:pt x="296" y="1175"/>
                  </a:cubicBezTo>
                  <a:cubicBezTo>
                    <a:pt x="282" y="1175"/>
                    <a:pt x="271" y="1164"/>
                    <a:pt x="271" y="1150"/>
                  </a:cubicBezTo>
                  <a:cubicBezTo>
                    <a:pt x="271" y="1140"/>
                    <a:pt x="271" y="1140"/>
                    <a:pt x="271" y="1140"/>
                  </a:cubicBezTo>
                  <a:cubicBezTo>
                    <a:pt x="569" y="1140"/>
                    <a:pt x="569" y="1140"/>
                    <a:pt x="569" y="1140"/>
                  </a:cubicBezTo>
                  <a:lnTo>
                    <a:pt x="569" y="1150"/>
                  </a:lnTo>
                  <a:close/>
                  <a:moveTo>
                    <a:pt x="569" y="1110"/>
                  </a:moveTo>
                  <a:cubicBezTo>
                    <a:pt x="271" y="1110"/>
                    <a:pt x="271" y="1110"/>
                    <a:pt x="271" y="1110"/>
                  </a:cubicBezTo>
                  <a:cubicBezTo>
                    <a:pt x="271" y="1074"/>
                    <a:pt x="271" y="1074"/>
                    <a:pt x="271" y="1074"/>
                  </a:cubicBezTo>
                  <a:cubicBezTo>
                    <a:pt x="569" y="1074"/>
                    <a:pt x="569" y="1074"/>
                    <a:pt x="569" y="1074"/>
                  </a:cubicBezTo>
                  <a:lnTo>
                    <a:pt x="569" y="1110"/>
                  </a:lnTo>
                  <a:close/>
                  <a:moveTo>
                    <a:pt x="569" y="1009"/>
                  </a:moveTo>
                  <a:cubicBezTo>
                    <a:pt x="569" y="1044"/>
                    <a:pt x="569" y="1044"/>
                    <a:pt x="569" y="1044"/>
                  </a:cubicBezTo>
                  <a:cubicBezTo>
                    <a:pt x="271" y="1044"/>
                    <a:pt x="271" y="1044"/>
                    <a:pt x="271" y="1044"/>
                  </a:cubicBezTo>
                  <a:cubicBezTo>
                    <a:pt x="271" y="1009"/>
                    <a:pt x="271" y="1009"/>
                    <a:pt x="271" y="1009"/>
                  </a:cubicBezTo>
                  <a:cubicBezTo>
                    <a:pt x="277" y="1009"/>
                    <a:pt x="277" y="1009"/>
                    <a:pt x="277" y="1009"/>
                  </a:cubicBezTo>
                  <a:cubicBezTo>
                    <a:pt x="563" y="1009"/>
                    <a:pt x="563" y="1009"/>
                    <a:pt x="563" y="1009"/>
                  </a:cubicBezTo>
                  <a:lnTo>
                    <a:pt x="569" y="1009"/>
                  </a:lnTo>
                  <a:close/>
                  <a:moveTo>
                    <a:pt x="777" y="573"/>
                  </a:moveTo>
                  <a:cubicBezTo>
                    <a:pt x="772" y="583"/>
                    <a:pt x="756" y="610"/>
                    <a:pt x="737" y="643"/>
                  </a:cubicBezTo>
                  <a:cubicBezTo>
                    <a:pt x="733" y="651"/>
                    <a:pt x="733" y="651"/>
                    <a:pt x="733" y="651"/>
                  </a:cubicBezTo>
                  <a:cubicBezTo>
                    <a:pt x="707" y="698"/>
                    <a:pt x="660" y="783"/>
                    <a:pt x="642" y="823"/>
                  </a:cubicBezTo>
                  <a:cubicBezTo>
                    <a:pt x="630" y="850"/>
                    <a:pt x="609" y="910"/>
                    <a:pt x="594" y="956"/>
                  </a:cubicBezTo>
                  <a:cubicBezTo>
                    <a:pt x="589" y="970"/>
                    <a:pt x="577" y="979"/>
                    <a:pt x="563" y="979"/>
                  </a:cubicBezTo>
                  <a:cubicBezTo>
                    <a:pt x="435" y="979"/>
                    <a:pt x="435" y="979"/>
                    <a:pt x="435" y="979"/>
                  </a:cubicBezTo>
                  <a:cubicBezTo>
                    <a:pt x="435" y="794"/>
                    <a:pt x="435" y="794"/>
                    <a:pt x="435" y="794"/>
                  </a:cubicBezTo>
                  <a:cubicBezTo>
                    <a:pt x="435" y="788"/>
                    <a:pt x="432" y="783"/>
                    <a:pt x="427" y="780"/>
                  </a:cubicBezTo>
                  <a:cubicBezTo>
                    <a:pt x="421" y="778"/>
                    <a:pt x="415" y="778"/>
                    <a:pt x="411" y="782"/>
                  </a:cubicBezTo>
                  <a:cubicBezTo>
                    <a:pt x="399" y="790"/>
                    <a:pt x="386" y="795"/>
                    <a:pt x="372" y="795"/>
                  </a:cubicBezTo>
                  <a:cubicBezTo>
                    <a:pt x="335" y="795"/>
                    <a:pt x="305" y="765"/>
                    <a:pt x="305" y="728"/>
                  </a:cubicBezTo>
                  <a:cubicBezTo>
                    <a:pt x="305" y="691"/>
                    <a:pt x="335" y="662"/>
                    <a:pt x="372" y="662"/>
                  </a:cubicBezTo>
                  <a:cubicBezTo>
                    <a:pt x="385" y="662"/>
                    <a:pt x="398" y="666"/>
                    <a:pt x="410" y="674"/>
                  </a:cubicBezTo>
                  <a:cubicBezTo>
                    <a:pt x="413" y="677"/>
                    <a:pt x="417" y="678"/>
                    <a:pt x="422" y="677"/>
                  </a:cubicBezTo>
                  <a:cubicBezTo>
                    <a:pt x="429" y="676"/>
                    <a:pt x="435" y="670"/>
                    <a:pt x="435" y="663"/>
                  </a:cubicBezTo>
                  <a:cubicBezTo>
                    <a:pt x="435" y="517"/>
                    <a:pt x="435" y="517"/>
                    <a:pt x="435" y="517"/>
                  </a:cubicBezTo>
                  <a:cubicBezTo>
                    <a:pt x="525" y="517"/>
                    <a:pt x="525" y="517"/>
                    <a:pt x="525" y="517"/>
                  </a:cubicBezTo>
                  <a:cubicBezTo>
                    <a:pt x="521" y="528"/>
                    <a:pt x="519" y="539"/>
                    <a:pt x="519" y="551"/>
                  </a:cubicBezTo>
                  <a:cubicBezTo>
                    <a:pt x="519" y="604"/>
                    <a:pt x="562" y="647"/>
                    <a:pt x="616" y="647"/>
                  </a:cubicBezTo>
                  <a:cubicBezTo>
                    <a:pt x="669" y="647"/>
                    <a:pt x="712" y="604"/>
                    <a:pt x="712" y="551"/>
                  </a:cubicBezTo>
                  <a:cubicBezTo>
                    <a:pt x="712" y="539"/>
                    <a:pt x="710" y="528"/>
                    <a:pt x="706" y="517"/>
                  </a:cubicBezTo>
                  <a:cubicBezTo>
                    <a:pt x="797" y="517"/>
                    <a:pt x="797" y="517"/>
                    <a:pt x="797" y="517"/>
                  </a:cubicBezTo>
                  <a:cubicBezTo>
                    <a:pt x="792" y="535"/>
                    <a:pt x="786" y="553"/>
                    <a:pt x="779" y="570"/>
                  </a:cubicBezTo>
                  <a:lnTo>
                    <a:pt x="777" y="5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4203700" y="2117894"/>
            <a:ext cx="736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25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203700" y="2867932"/>
            <a:ext cx="736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40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203700" y="3685481"/>
            <a:ext cx="7366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60%</a:t>
            </a:r>
          </a:p>
        </p:txBody>
      </p:sp>
    </p:spTree>
    <p:extLst>
      <p:ext uri="{BB962C8B-B14F-4D97-AF65-F5344CB8AC3E}">
        <p14:creationId xmlns:p14="http://schemas.microsoft.com/office/powerpoint/2010/main" val="538527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Visão</a:t>
            </a:r>
            <a:r>
              <a:rPr lang="en-US" dirty="0"/>
              <a:t> da </a:t>
            </a:r>
            <a:r>
              <a:rPr lang="en-US" dirty="0" err="1"/>
              <a:t>companhia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3549855" y="1543050"/>
            <a:ext cx="1199225" cy="1000713"/>
          </a:xfrm>
          <a:custGeom>
            <a:avLst/>
            <a:gdLst>
              <a:gd name="T0" fmla="*/ 1323 w 2646"/>
              <a:gd name="T1" fmla="*/ 0 h 2081"/>
              <a:gd name="T2" fmla="*/ 0 w 2646"/>
              <a:gd name="T3" fmla="*/ 2081 h 2081"/>
              <a:gd name="T4" fmla="*/ 2646 w 2646"/>
              <a:gd name="T5" fmla="*/ 2081 h 2081"/>
              <a:gd name="T6" fmla="*/ 1323 w 2646"/>
              <a:gd name="T7" fmla="*/ 0 h 20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646" h="2081">
                <a:moveTo>
                  <a:pt x="1323" y="0"/>
                </a:moveTo>
                <a:lnTo>
                  <a:pt x="0" y="2081"/>
                </a:lnTo>
                <a:lnTo>
                  <a:pt x="2646" y="2081"/>
                </a:lnTo>
                <a:lnTo>
                  <a:pt x="1323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3141179" y="2477120"/>
            <a:ext cx="2016838" cy="682370"/>
          </a:xfrm>
          <a:custGeom>
            <a:avLst/>
            <a:gdLst>
              <a:gd name="T0" fmla="*/ 0 w 4450"/>
              <a:gd name="T1" fmla="*/ 1419 h 1419"/>
              <a:gd name="T2" fmla="*/ 4450 w 4450"/>
              <a:gd name="T3" fmla="*/ 1419 h 1419"/>
              <a:gd name="T4" fmla="*/ 3548 w 4450"/>
              <a:gd name="T5" fmla="*/ 0 h 1419"/>
              <a:gd name="T6" fmla="*/ 902 w 4450"/>
              <a:gd name="T7" fmla="*/ 0 h 1419"/>
              <a:gd name="T8" fmla="*/ 0 w 4450"/>
              <a:gd name="T9" fmla="*/ 1419 h 1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450" h="1419">
                <a:moveTo>
                  <a:pt x="0" y="1419"/>
                </a:moveTo>
                <a:lnTo>
                  <a:pt x="4450" y="1419"/>
                </a:lnTo>
                <a:lnTo>
                  <a:pt x="3548" y="0"/>
                </a:lnTo>
                <a:lnTo>
                  <a:pt x="902" y="0"/>
                </a:lnTo>
                <a:lnTo>
                  <a:pt x="0" y="1419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2756846" y="3093516"/>
            <a:ext cx="2785502" cy="641014"/>
          </a:xfrm>
          <a:custGeom>
            <a:avLst/>
            <a:gdLst>
              <a:gd name="T0" fmla="*/ 848 w 6146"/>
              <a:gd name="T1" fmla="*/ 0 h 1333"/>
              <a:gd name="T2" fmla="*/ 0 w 6146"/>
              <a:gd name="T3" fmla="*/ 1333 h 1333"/>
              <a:gd name="T4" fmla="*/ 3073 w 6146"/>
              <a:gd name="T5" fmla="*/ 1333 h 1333"/>
              <a:gd name="T6" fmla="*/ 6146 w 6146"/>
              <a:gd name="T7" fmla="*/ 1333 h 1333"/>
              <a:gd name="T8" fmla="*/ 5298 w 6146"/>
              <a:gd name="T9" fmla="*/ 0 h 1333"/>
              <a:gd name="T10" fmla="*/ 848 w 6146"/>
              <a:gd name="T11" fmla="*/ 0 h 1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146" h="1333">
                <a:moveTo>
                  <a:pt x="848" y="0"/>
                </a:moveTo>
                <a:lnTo>
                  <a:pt x="0" y="1333"/>
                </a:lnTo>
                <a:lnTo>
                  <a:pt x="3073" y="1333"/>
                </a:lnTo>
                <a:lnTo>
                  <a:pt x="6146" y="1333"/>
                </a:lnTo>
                <a:lnTo>
                  <a:pt x="5298" y="0"/>
                </a:lnTo>
                <a:lnTo>
                  <a:pt x="84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5"/>
          <p:cNvSpPr>
            <a:spLocks/>
          </p:cNvSpPr>
          <p:nvPr/>
        </p:nvSpPr>
        <p:spPr bwMode="auto">
          <a:xfrm>
            <a:off x="3300863" y="3827869"/>
            <a:ext cx="1697209" cy="458381"/>
          </a:xfrm>
          <a:custGeom>
            <a:avLst/>
            <a:gdLst>
              <a:gd name="T0" fmla="*/ 2733 w 4945"/>
              <a:gd name="T1" fmla="*/ 960 h 1335"/>
              <a:gd name="T2" fmla="*/ 4945 w 4945"/>
              <a:gd name="T3" fmla="*/ 0 h 1335"/>
              <a:gd name="T4" fmla="*/ 4747 w 4945"/>
              <a:gd name="T5" fmla="*/ 0 h 1335"/>
              <a:gd name="T6" fmla="*/ 2748 w 4945"/>
              <a:gd name="T7" fmla="*/ 827 h 1335"/>
              <a:gd name="T8" fmla="*/ 2090 w 4945"/>
              <a:gd name="T9" fmla="*/ 443 h 1335"/>
              <a:gd name="T10" fmla="*/ 2090 w 4945"/>
              <a:gd name="T11" fmla="*/ 817 h 1335"/>
              <a:gd name="T12" fmla="*/ 198 w 4945"/>
              <a:gd name="T13" fmla="*/ 0 h 1335"/>
              <a:gd name="T14" fmla="*/ 0 w 4945"/>
              <a:gd name="T15" fmla="*/ 0 h 1335"/>
              <a:gd name="T16" fmla="*/ 2090 w 4945"/>
              <a:gd name="T17" fmla="*/ 949 h 1335"/>
              <a:gd name="T18" fmla="*/ 2090 w 4945"/>
              <a:gd name="T19" fmla="*/ 1335 h 1335"/>
              <a:gd name="T20" fmla="*/ 2733 w 4945"/>
              <a:gd name="T21" fmla="*/ 960 h 1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945" h="1335">
                <a:moveTo>
                  <a:pt x="2733" y="960"/>
                </a:moveTo>
                <a:cubicBezTo>
                  <a:pt x="3585" y="899"/>
                  <a:pt x="4355" y="546"/>
                  <a:pt x="4945" y="0"/>
                </a:cubicBezTo>
                <a:cubicBezTo>
                  <a:pt x="4747" y="0"/>
                  <a:pt x="4747" y="0"/>
                  <a:pt x="4747" y="0"/>
                </a:cubicBezTo>
                <a:cubicBezTo>
                  <a:pt x="4200" y="467"/>
                  <a:pt x="3508" y="768"/>
                  <a:pt x="2748" y="827"/>
                </a:cubicBezTo>
                <a:cubicBezTo>
                  <a:pt x="2090" y="443"/>
                  <a:pt x="2090" y="443"/>
                  <a:pt x="2090" y="443"/>
                </a:cubicBezTo>
                <a:cubicBezTo>
                  <a:pt x="2090" y="817"/>
                  <a:pt x="2090" y="817"/>
                  <a:pt x="2090" y="817"/>
                </a:cubicBezTo>
                <a:cubicBezTo>
                  <a:pt x="1372" y="739"/>
                  <a:pt x="719" y="445"/>
                  <a:pt x="198" y="0"/>
                </a:cubicBezTo>
                <a:cubicBezTo>
                  <a:pt x="0" y="0"/>
                  <a:pt x="0" y="0"/>
                  <a:pt x="0" y="0"/>
                </a:cubicBezTo>
                <a:cubicBezTo>
                  <a:pt x="562" y="520"/>
                  <a:pt x="1287" y="865"/>
                  <a:pt x="2090" y="949"/>
                </a:cubicBezTo>
                <a:cubicBezTo>
                  <a:pt x="2090" y="1335"/>
                  <a:pt x="2090" y="1335"/>
                  <a:pt x="2090" y="1335"/>
                </a:cubicBezTo>
                <a:lnTo>
                  <a:pt x="2733" y="96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2900903" y="1673779"/>
            <a:ext cx="1074050" cy="1584859"/>
          </a:xfrm>
          <a:custGeom>
            <a:avLst/>
            <a:gdLst>
              <a:gd name="T0" fmla="*/ 3034 w 3130"/>
              <a:gd name="T1" fmla="*/ 148 h 4617"/>
              <a:gd name="T2" fmla="*/ 3130 w 3130"/>
              <a:gd name="T3" fmla="*/ 0 h 4617"/>
              <a:gd name="T4" fmla="*/ 858 w 3130"/>
              <a:gd name="T5" fmla="*/ 1257 h 4617"/>
              <a:gd name="T6" fmla="*/ 524 w 3130"/>
              <a:gd name="T7" fmla="*/ 1040 h 4617"/>
              <a:gd name="T8" fmla="*/ 488 w 3130"/>
              <a:gd name="T9" fmla="*/ 1782 h 4617"/>
              <a:gd name="T10" fmla="*/ 0 w 3130"/>
              <a:gd name="T11" fmla="*/ 3604 h 4617"/>
              <a:gd name="T12" fmla="*/ 143 w 3130"/>
              <a:gd name="T13" fmla="*/ 4617 h 4617"/>
              <a:gd name="T14" fmla="*/ 238 w 3130"/>
              <a:gd name="T15" fmla="*/ 4469 h 4617"/>
              <a:gd name="T16" fmla="*/ 131 w 3130"/>
              <a:gd name="T17" fmla="*/ 3604 h 4617"/>
              <a:gd name="T18" fmla="*/ 589 w 3130"/>
              <a:gd name="T19" fmla="*/ 1869 h 4617"/>
              <a:gd name="T20" fmla="*/ 1272 w 3130"/>
              <a:gd name="T21" fmla="*/ 1526 h 4617"/>
              <a:gd name="T22" fmla="*/ 968 w 3130"/>
              <a:gd name="T23" fmla="*/ 1329 h 4617"/>
              <a:gd name="T24" fmla="*/ 3034 w 3130"/>
              <a:gd name="T25" fmla="*/ 148 h 4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30" h="4617">
                <a:moveTo>
                  <a:pt x="3034" y="148"/>
                </a:moveTo>
                <a:cubicBezTo>
                  <a:pt x="3130" y="0"/>
                  <a:pt x="3130" y="0"/>
                  <a:pt x="3130" y="0"/>
                </a:cubicBezTo>
                <a:cubicBezTo>
                  <a:pt x="2222" y="127"/>
                  <a:pt x="1422" y="589"/>
                  <a:pt x="858" y="1257"/>
                </a:cubicBezTo>
                <a:cubicBezTo>
                  <a:pt x="524" y="1040"/>
                  <a:pt x="524" y="1040"/>
                  <a:pt x="524" y="1040"/>
                </a:cubicBezTo>
                <a:cubicBezTo>
                  <a:pt x="488" y="1782"/>
                  <a:pt x="488" y="1782"/>
                  <a:pt x="488" y="1782"/>
                </a:cubicBezTo>
                <a:cubicBezTo>
                  <a:pt x="178" y="2318"/>
                  <a:pt x="0" y="2940"/>
                  <a:pt x="0" y="3604"/>
                </a:cubicBezTo>
                <a:cubicBezTo>
                  <a:pt x="0" y="3955"/>
                  <a:pt x="50" y="4295"/>
                  <a:pt x="143" y="4617"/>
                </a:cubicBezTo>
                <a:cubicBezTo>
                  <a:pt x="238" y="4469"/>
                  <a:pt x="238" y="4469"/>
                  <a:pt x="238" y="4469"/>
                </a:cubicBezTo>
                <a:cubicBezTo>
                  <a:pt x="168" y="4192"/>
                  <a:pt x="131" y="3902"/>
                  <a:pt x="131" y="3604"/>
                </a:cubicBezTo>
                <a:cubicBezTo>
                  <a:pt x="131" y="2973"/>
                  <a:pt x="298" y="2381"/>
                  <a:pt x="589" y="1869"/>
                </a:cubicBezTo>
                <a:cubicBezTo>
                  <a:pt x="1272" y="1526"/>
                  <a:pt x="1272" y="1526"/>
                  <a:pt x="1272" y="1526"/>
                </a:cubicBezTo>
                <a:cubicBezTo>
                  <a:pt x="968" y="1329"/>
                  <a:pt x="968" y="1329"/>
                  <a:pt x="968" y="1329"/>
                </a:cubicBezTo>
                <a:cubicBezTo>
                  <a:pt x="1488" y="720"/>
                  <a:pt x="2212" y="291"/>
                  <a:pt x="3034" y="14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7"/>
          <p:cNvSpPr>
            <a:spLocks/>
          </p:cNvSpPr>
          <p:nvPr/>
        </p:nvSpPr>
        <p:spPr bwMode="auto">
          <a:xfrm>
            <a:off x="4323982" y="1673779"/>
            <a:ext cx="1074799" cy="1584859"/>
          </a:xfrm>
          <a:custGeom>
            <a:avLst/>
            <a:gdLst>
              <a:gd name="T0" fmla="*/ 2703 w 3130"/>
              <a:gd name="T1" fmla="*/ 1892 h 4617"/>
              <a:gd name="T2" fmla="*/ 3012 w 3130"/>
              <a:gd name="T3" fmla="*/ 1692 h 4617"/>
              <a:gd name="T4" fmla="*/ 2357 w 3130"/>
              <a:gd name="T5" fmla="*/ 1362 h 4617"/>
              <a:gd name="T6" fmla="*/ 0 w 3130"/>
              <a:gd name="T7" fmla="*/ 0 h 4617"/>
              <a:gd name="T8" fmla="*/ 95 w 3130"/>
              <a:gd name="T9" fmla="*/ 148 h 4617"/>
              <a:gd name="T10" fmla="*/ 2228 w 3130"/>
              <a:gd name="T11" fmla="*/ 1409 h 4617"/>
              <a:gd name="T12" fmla="*/ 2264 w 3130"/>
              <a:gd name="T13" fmla="*/ 2177 h 4617"/>
              <a:gd name="T14" fmla="*/ 2593 w 3130"/>
              <a:gd name="T15" fmla="*/ 1964 h 4617"/>
              <a:gd name="T16" fmla="*/ 2999 w 3130"/>
              <a:gd name="T17" fmla="*/ 3604 h 4617"/>
              <a:gd name="T18" fmla="*/ 2892 w 3130"/>
              <a:gd name="T19" fmla="*/ 4469 h 4617"/>
              <a:gd name="T20" fmla="*/ 2987 w 3130"/>
              <a:gd name="T21" fmla="*/ 4617 h 4617"/>
              <a:gd name="T22" fmla="*/ 3130 w 3130"/>
              <a:gd name="T23" fmla="*/ 3604 h 4617"/>
              <a:gd name="T24" fmla="*/ 2703 w 3130"/>
              <a:gd name="T25" fmla="*/ 1892 h 4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130" h="4617">
                <a:moveTo>
                  <a:pt x="2703" y="1892"/>
                </a:moveTo>
                <a:cubicBezTo>
                  <a:pt x="3012" y="1692"/>
                  <a:pt x="3012" y="1692"/>
                  <a:pt x="3012" y="1692"/>
                </a:cubicBezTo>
                <a:cubicBezTo>
                  <a:pt x="2357" y="1362"/>
                  <a:pt x="2357" y="1362"/>
                  <a:pt x="2357" y="1362"/>
                </a:cubicBezTo>
                <a:cubicBezTo>
                  <a:pt x="1790" y="637"/>
                  <a:pt x="954" y="133"/>
                  <a:pt x="0" y="0"/>
                </a:cubicBezTo>
                <a:cubicBezTo>
                  <a:pt x="95" y="148"/>
                  <a:pt x="95" y="148"/>
                  <a:pt x="95" y="148"/>
                </a:cubicBezTo>
                <a:cubicBezTo>
                  <a:pt x="954" y="297"/>
                  <a:pt x="1705" y="758"/>
                  <a:pt x="2228" y="1409"/>
                </a:cubicBezTo>
                <a:cubicBezTo>
                  <a:pt x="2264" y="2177"/>
                  <a:pt x="2264" y="2177"/>
                  <a:pt x="2264" y="2177"/>
                </a:cubicBezTo>
                <a:cubicBezTo>
                  <a:pt x="2593" y="1964"/>
                  <a:pt x="2593" y="1964"/>
                  <a:pt x="2593" y="1964"/>
                </a:cubicBezTo>
                <a:cubicBezTo>
                  <a:pt x="2852" y="2453"/>
                  <a:pt x="2999" y="3012"/>
                  <a:pt x="2999" y="3604"/>
                </a:cubicBezTo>
                <a:cubicBezTo>
                  <a:pt x="2999" y="3902"/>
                  <a:pt x="2962" y="4192"/>
                  <a:pt x="2892" y="4469"/>
                </a:cubicBezTo>
                <a:cubicBezTo>
                  <a:pt x="2987" y="4617"/>
                  <a:pt x="2987" y="4617"/>
                  <a:pt x="2987" y="4617"/>
                </a:cubicBezTo>
                <a:cubicBezTo>
                  <a:pt x="3080" y="4295"/>
                  <a:pt x="3130" y="3955"/>
                  <a:pt x="3130" y="3604"/>
                </a:cubicBezTo>
                <a:cubicBezTo>
                  <a:pt x="3130" y="2985"/>
                  <a:pt x="2976" y="2403"/>
                  <a:pt x="2703" y="189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TextBox 17"/>
          <p:cNvSpPr txBox="1"/>
          <p:nvPr/>
        </p:nvSpPr>
        <p:spPr>
          <a:xfrm>
            <a:off x="3686682" y="2079669"/>
            <a:ext cx="89916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META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473110" y="2741361"/>
            <a:ext cx="1326304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RIATIV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104811" y="3337079"/>
            <a:ext cx="2062904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OVAÇÃO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6919383" y="1605057"/>
            <a:ext cx="1627718" cy="474932"/>
            <a:chOff x="6919383" y="1605057"/>
            <a:chExt cx="1627718" cy="474932"/>
          </a:xfrm>
        </p:grpSpPr>
        <p:sp>
          <p:nvSpPr>
            <p:cNvPr id="22" name="TextBox 21"/>
            <p:cNvSpPr txBox="1"/>
            <p:nvPr/>
          </p:nvSpPr>
          <p:spPr>
            <a:xfrm>
              <a:off x="6919430" y="1605057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919383" y="1796898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get odio mi. Nam et elit sit amet eros hendrerit eleifend ac ut lore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919383" y="2453569"/>
            <a:ext cx="1627718" cy="476150"/>
            <a:chOff x="6919383" y="2453569"/>
            <a:chExt cx="1627718" cy="476150"/>
          </a:xfrm>
        </p:grpSpPr>
        <p:sp>
          <p:nvSpPr>
            <p:cNvPr id="28" name="TextBox 27"/>
            <p:cNvSpPr txBox="1"/>
            <p:nvPr/>
          </p:nvSpPr>
          <p:spPr>
            <a:xfrm>
              <a:off x="6919430" y="2453569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919383" y="2645410"/>
              <a:ext cx="162771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919383" y="3302080"/>
            <a:ext cx="1627718" cy="474932"/>
            <a:chOff x="6919383" y="3302080"/>
            <a:chExt cx="1627718" cy="474932"/>
          </a:xfrm>
        </p:grpSpPr>
        <p:sp>
          <p:nvSpPr>
            <p:cNvPr id="32" name="TextBox 31"/>
            <p:cNvSpPr txBox="1"/>
            <p:nvPr/>
          </p:nvSpPr>
          <p:spPr>
            <a:xfrm>
              <a:off x="6919430" y="3302080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919383" y="3493921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6371700" y="3312650"/>
            <a:ext cx="418163" cy="418163"/>
            <a:chOff x="6480734" y="3316367"/>
            <a:chExt cx="374311" cy="374311"/>
          </a:xfrm>
        </p:grpSpPr>
        <p:sp>
          <p:nvSpPr>
            <p:cNvPr id="31" name="Oval 30"/>
            <p:cNvSpPr/>
            <p:nvPr/>
          </p:nvSpPr>
          <p:spPr>
            <a:xfrm>
              <a:off x="6480734" y="3316367"/>
              <a:ext cx="374311" cy="374311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6614930" y="3406490"/>
              <a:ext cx="105918" cy="194064"/>
            </a:xfrm>
            <a:custGeom>
              <a:avLst/>
              <a:gdLst>
                <a:gd name="T0" fmla="*/ 193 w 193"/>
                <a:gd name="T1" fmla="*/ 136 h 353"/>
                <a:gd name="T2" fmla="*/ 184 w 193"/>
                <a:gd name="T3" fmla="*/ 128 h 353"/>
                <a:gd name="T4" fmla="*/ 121 w 193"/>
                <a:gd name="T5" fmla="*/ 128 h 353"/>
                <a:gd name="T6" fmla="*/ 160 w 193"/>
                <a:gd name="T7" fmla="*/ 10 h 353"/>
                <a:gd name="T8" fmla="*/ 160 w 193"/>
                <a:gd name="T9" fmla="*/ 10 h 353"/>
                <a:gd name="T10" fmla="*/ 160 w 193"/>
                <a:gd name="T11" fmla="*/ 8 h 353"/>
                <a:gd name="T12" fmla="*/ 152 w 193"/>
                <a:gd name="T13" fmla="*/ 0 h 353"/>
                <a:gd name="T14" fmla="*/ 72 w 193"/>
                <a:gd name="T15" fmla="*/ 0 h 353"/>
                <a:gd name="T16" fmla="*/ 65 w 193"/>
                <a:gd name="T17" fmla="*/ 5 h 353"/>
                <a:gd name="T18" fmla="*/ 64 w 193"/>
                <a:gd name="T19" fmla="*/ 5 h 353"/>
                <a:gd name="T20" fmla="*/ 0 w 193"/>
                <a:gd name="T21" fmla="*/ 198 h 353"/>
                <a:gd name="T22" fmla="*/ 0 w 193"/>
                <a:gd name="T23" fmla="*/ 198 h 353"/>
                <a:gd name="T24" fmla="*/ 0 w 193"/>
                <a:gd name="T25" fmla="*/ 200 h 353"/>
                <a:gd name="T26" fmla="*/ 8 w 193"/>
                <a:gd name="T27" fmla="*/ 208 h 353"/>
                <a:gd name="T28" fmla="*/ 79 w 193"/>
                <a:gd name="T29" fmla="*/ 208 h 353"/>
                <a:gd name="T30" fmla="*/ 64 w 193"/>
                <a:gd name="T31" fmla="*/ 344 h 353"/>
                <a:gd name="T32" fmla="*/ 64 w 193"/>
                <a:gd name="T33" fmla="*/ 344 h 353"/>
                <a:gd name="T34" fmla="*/ 64 w 193"/>
                <a:gd name="T35" fmla="*/ 345 h 353"/>
                <a:gd name="T36" fmla="*/ 72 w 193"/>
                <a:gd name="T37" fmla="*/ 353 h 353"/>
                <a:gd name="T38" fmla="*/ 79 w 193"/>
                <a:gd name="T39" fmla="*/ 348 h 353"/>
                <a:gd name="T40" fmla="*/ 79 w 193"/>
                <a:gd name="T41" fmla="*/ 348 h 353"/>
                <a:gd name="T42" fmla="*/ 192 w 193"/>
                <a:gd name="T43" fmla="*/ 139 h 353"/>
                <a:gd name="T44" fmla="*/ 192 w 193"/>
                <a:gd name="T45" fmla="*/ 139 h 353"/>
                <a:gd name="T46" fmla="*/ 193 w 193"/>
                <a:gd name="T47" fmla="*/ 136 h 353"/>
                <a:gd name="T48" fmla="*/ 85 w 193"/>
                <a:gd name="T49" fmla="*/ 305 h 353"/>
                <a:gd name="T50" fmla="*/ 96 w 193"/>
                <a:gd name="T51" fmla="*/ 201 h 353"/>
                <a:gd name="T52" fmla="*/ 96 w 193"/>
                <a:gd name="T53" fmla="*/ 201 h 353"/>
                <a:gd name="T54" fmla="*/ 96 w 193"/>
                <a:gd name="T55" fmla="*/ 200 h 353"/>
                <a:gd name="T56" fmla="*/ 88 w 193"/>
                <a:gd name="T57" fmla="*/ 192 h 353"/>
                <a:gd name="T58" fmla="*/ 19 w 193"/>
                <a:gd name="T59" fmla="*/ 192 h 353"/>
                <a:gd name="T60" fmla="*/ 78 w 193"/>
                <a:gd name="T61" fmla="*/ 16 h 353"/>
                <a:gd name="T62" fmla="*/ 141 w 193"/>
                <a:gd name="T63" fmla="*/ 16 h 353"/>
                <a:gd name="T64" fmla="*/ 102 w 193"/>
                <a:gd name="T65" fmla="*/ 134 h 353"/>
                <a:gd name="T66" fmla="*/ 102 w 193"/>
                <a:gd name="T67" fmla="*/ 134 h 353"/>
                <a:gd name="T68" fmla="*/ 101 w 193"/>
                <a:gd name="T69" fmla="*/ 136 h 353"/>
                <a:gd name="T70" fmla="*/ 109 w 193"/>
                <a:gd name="T71" fmla="*/ 144 h 353"/>
                <a:gd name="T72" fmla="*/ 171 w 193"/>
                <a:gd name="T73" fmla="*/ 144 h 353"/>
                <a:gd name="T74" fmla="*/ 85 w 193"/>
                <a:gd name="T75" fmla="*/ 30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53">
                  <a:moveTo>
                    <a:pt x="193" y="136"/>
                  </a:moveTo>
                  <a:cubicBezTo>
                    <a:pt x="193" y="132"/>
                    <a:pt x="189" y="128"/>
                    <a:pt x="184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9"/>
                    <a:pt x="160" y="9"/>
                    <a:pt x="160" y="8"/>
                  </a:cubicBezTo>
                  <a:cubicBezTo>
                    <a:pt x="160" y="3"/>
                    <a:pt x="157" y="0"/>
                    <a:pt x="15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9" y="0"/>
                    <a:pt x="66" y="2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05"/>
                    <a:pt x="3" y="208"/>
                    <a:pt x="8" y="208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5"/>
                  </a:cubicBezTo>
                  <a:cubicBezTo>
                    <a:pt x="64" y="349"/>
                    <a:pt x="68" y="353"/>
                    <a:pt x="72" y="353"/>
                  </a:cubicBezTo>
                  <a:cubicBezTo>
                    <a:pt x="75" y="353"/>
                    <a:pt x="78" y="351"/>
                    <a:pt x="79" y="348"/>
                  </a:cubicBezTo>
                  <a:cubicBezTo>
                    <a:pt x="79" y="348"/>
                    <a:pt x="79" y="348"/>
                    <a:pt x="79" y="348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8"/>
                    <a:pt x="193" y="137"/>
                    <a:pt x="193" y="136"/>
                  </a:cubicBezTo>
                  <a:moveTo>
                    <a:pt x="85" y="305"/>
                  </a:move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0"/>
                  </a:cubicBezTo>
                  <a:cubicBezTo>
                    <a:pt x="96" y="196"/>
                    <a:pt x="93" y="192"/>
                    <a:pt x="8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1" y="135"/>
                    <a:pt x="101" y="136"/>
                  </a:cubicBezTo>
                  <a:cubicBezTo>
                    <a:pt x="101" y="140"/>
                    <a:pt x="105" y="144"/>
                    <a:pt x="109" y="144"/>
                  </a:cubicBezTo>
                  <a:cubicBezTo>
                    <a:pt x="171" y="144"/>
                    <a:pt x="171" y="144"/>
                    <a:pt x="171" y="144"/>
                  </a:cubicBezTo>
                  <a:lnTo>
                    <a:pt x="85" y="3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371700" y="1615627"/>
            <a:ext cx="418163" cy="418163"/>
            <a:chOff x="6480734" y="1619344"/>
            <a:chExt cx="374311" cy="374311"/>
          </a:xfrm>
        </p:grpSpPr>
        <p:sp>
          <p:nvSpPr>
            <p:cNvPr id="21" name="Oval 20"/>
            <p:cNvSpPr/>
            <p:nvPr/>
          </p:nvSpPr>
          <p:spPr>
            <a:xfrm>
              <a:off x="6480734" y="1619344"/>
              <a:ext cx="374311" cy="374311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15"/>
            <p:cNvSpPr>
              <a:spLocks noEditPoints="1"/>
            </p:cNvSpPr>
            <p:nvPr/>
          </p:nvSpPr>
          <p:spPr bwMode="auto">
            <a:xfrm>
              <a:off x="6570145" y="1708756"/>
              <a:ext cx="195488" cy="195486"/>
            </a:xfrm>
            <a:custGeom>
              <a:avLst/>
              <a:gdLst>
                <a:gd name="T0" fmla="*/ 177 w 353"/>
                <a:gd name="T1" fmla="*/ 128 h 353"/>
                <a:gd name="T2" fmla="*/ 128 w 353"/>
                <a:gd name="T3" fmla="*/ 177 h 353"/>
                <a:gd name="T4" fmla="*/ 177 w 353"/>
                <a:gd name="T5" fmla="*/ 225 h 353"/>
                <a:gd name="T6" fmla="*/ 225 w 353"/>
                <a:gd name="T7" fmla="*/ 177 h 353"/>
                <a:gd name="T8" fmla="*/ 177 w 353"/>
                <a:gd name="T9" fmla="*/ 128 h 353"/>
                <a:gd name="T10" fmla="*/ 177 w 353"/>
                <a:gd name="T11" fmla="*/ 209 h 353"/>
                <a:gd name="T12" fmla="*/ 144 w 353"/>
                <a:gd name="T13" fmla="*/ 177 h 353"/>
                <a:gd name="T14" fmla="*/ 177 w 353"/>
                <a:gd name="T15" fmla="*/ 145 h 353"/>
                <a:gd name="T16" fmla="*/ 209 w 353"/>
                <a:gd name="T17" fmla="*/ 177 h 353"/>
                <a:gd name="T18" fmla="*/ 177 w 353"/>
                <a:gd name="T19" fmla="*/ 209 h 353"/>
                <a:gd name="T20" fmla="*/ 177 w 353"/>
                <a:gd name="T21" fmla="*/ 64 h 353"/>
                <a:gd name="T22" fmla="*/ 64 w 353"/>
                <a:gd name="T23" fmla="*/ 177 h 353"/>
                <a:gd name="T24" fmla="*/ 177 w 353"/>
                <a:gd name="T25" fmla="*/ 289 h 353"/>
                <a:gd name="T26" fmla="*/ 289 w 353"/>
                <a:gd name="T27" fmla="*/ 177 h 353"/>
                <a:gd name="T28" fmla="*/ 177 w 353"/>
                <a:gd name="T29" fmla="*/ 64 h 353"/>
                <a:gd name="T30" fmla="*/ 177 w 353"/>
                <a:gd name="T31" fmla="*/ 273 h 353"/>
                <a:gd name="T32" fmla="*/ 80 w 353"/>
                <a:gd name="T33" fmla="*/ 177 h 353"/>
                <a:gd name="T34" fmla="*/ 177 w 353"/>
                <a:gd name="T35" fmla="*/ 80 h 353"/>
                <a:gd name="T36" fmla="*/ 273 w 353"/>
                <a:gd name="T37" fmla="*/ 177 h 353"/>
                <a:gd name="T38" fmla="*/ 177 w 353"/>
                <a:gd name="T39" fmla="*/ 273 h 353"/>
                <a:gd name="T40" fmla="*/ 299 w 353"/>
                <a:gd name="T41" fmla="*/ 304 h 353"/>
                <a:gd name="T42" fmla="*/ 353 w 353"/>
                <a:gd name="T43" fmla="*/ 177 h 353"/>
                <a:gd name="T44" fmla="*/ 177 w 353"/>
                <a:gd name="T45" fmla="*/ 0 h 353"/>
                <a:gd name="T46" fmla="*/ 0 w 353"/>
                <a:gd name="T47" fmla="*/ 177 h 353"/>
                <a:gd name="T48" fmla="*/ 54 w 353"/>
                <a:gd name="T49" fmla="*/ 304 h 353"/>
                <a:gd name="T50" fmla="*/ 34 w 353"/>
                <a:gd name="T51" fmla="*/ 340 h 353"/>
                <a:gd name="T52" fmla="*/ 32 w 353"/>
                <a:gd name="T53" fmla="*/ 345 h 353"/>
                <a:gd name="T54" fmla="*/ 40 w 353"/>
                <a:gd name="T55" fmla="*/ 353 h 353"/>
                <a:gd name="T56" fmla="*/ 46 w 353"/>
                <a:gd name="T57" fmla="*/ 351 h 353"/>
                <a:gd name="T58" fmla="*/ 48 w 353"/>
                <a:gd name="T59" fmla="*/ 347 h 353"/>
                <a:gd name="T60" fmla="*/ 66 w 353"/>
                <a:gd name="T61" fmla="*/ 314 h 353"/>
                <a:gd name="T62" fmla="*/ 177 w 353"/>
                <a:gd name="T63" fmla="*/ 353 h 353"/>
                <a:gd name="T64" fmla="*/ 287 w 353"/>
                <a:gd name="T65" fmla="*/ 314 h 353"/>
                <a:gd name="T66" fmla="*/ 305 w 353"/>
                <a:gd name="T67" fmla="*/ 347 h 353"/>
                <a:gd name="T68" fmla="*/ 313 w 353"/>
                <a:gd name="T69" fmla="*/ 353 h 353"/>
                <a:gd name="T70" fmla="*/ 321 w 353"/>
                <a:gd name="T71" fmla="*/ 345 h 353"/>
                <a:gd name="T72" fmla="*/ 319 w 353"/>
                <a:gd name="T73" fmla="*/ 340 h 353"/>
                <a:gd name="T74" fmla="*/ 299 w 353"/>
                <a:gd name="T75" fmla="*/ 304 h 353"/>
                <a:gd name="T76" fmla="*/ 177 w 353"/>
                <a:gd name="T77" fmla="*/ 337 h 353"/>
                <a:gd name="T78" fmla="*/ 16 w 353"/>
                <a:gd name="T79" fmla="*/ 177 h 353"/>
                <a:gd name="T80" fmla="*/ 177 w 353"/>
                <a:gd name="T81" fmla="*/ 16 h 353"/>
                <a:gd name="T82" fmla="*/ 337 w 353"/>
                <a:gd name="T83" fmla="*/ 177 h 353"/>
                <a:gd name="T84" fmla="*/ 177 w 353"/>
                <a:gd name="T85" fmla="*/ 33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7" y="128"/>
                  </a:moveTo>
                  <a:cubicBezTo>
                    <a:pt x="150" y="128"/>
                    <a:pt x="128" y="150"/>
                    <a:pt x="128" y="177"/>
                  </a:cubicBezTo>
                  <a:cubicBezTo>
                    <a:pt x="128" y="203"/>
                    <a:pt x="150" y="225"/>
                    <a:pt x="177" y="225"/>
                  </a:cubicBezTo>
                  <a:cubicBezTo>
                    <a:pt x="203" y="225"/>
                    <a:pt x="225" y="203"/>
                    <a:pt x="225" y="177"/>
                  </a:cubicBezTo>
                  <a:cubicBezTo>
                    <a:pt x="225" y="150"/>
                    <a:pt x="203" y="128"/>
                    <a:pt x="177" y="128"/>
                  </a:cubicBezTo>
                  <a:moveTo>
                    <a:pt x="177" y="209"/>
                  </a:moveTo>
                  <a:cubicBezTo>
                    <a:pt x="159" y="209"/>
                    <a:pt x="144" y="194"/>
                    <a:pt x="144" y="177"/>
                  </a:cubicBezTo>
                  <a:cubicBezTo>
                    <a:pt x="144" y="159"/>
                    <a:pt x="159" y="145"/>
                    <a:pt x="177" y="145"/>
                  </a:cubicBezTo>
                  <a:cubicBezTo>
                    <a:pt x="194" y="145"/>
                    <a:pt x="209" y="159"/>
                    <a:pt x="209" y="177"/>
                  </a:cubicBezTo>
                  <a:cubicBezTo>
                    <a:pt x="209" y="194"/>
                    <a:pt x="194" y="209"/>
                    <a:pt x="177" y="209"/>
                  </a:cubicBezTo>
                  <a:moveTo>
                    <a:pt x="177" y="64"/>
                  </a:moveTo>
                  <a:cubicBezTo>
                    <a:pt x="114" y="64"/>
                    <a:pt x="64" y="115"/>
                    <a:pt x="64" y="177"/>
                  </a:cubicBezTo>
                  <a:cubicBezTo>
                    <a:pt x="64" y="239"/>
                    <a:pt x="114" y="289"/>
                    <a:pt x="177" y="289"/>
                  </a:cubicBezTo>
                  <a:cubicBezTo>
                    <a:pt x="239" y="289"/>
                    <a:pt x="289" y="239"/>
                    <a:pt x="289" y="177"/>
                  </a:cubicBezTo>
                  <a:cubicBezTo>
                    <a:pt x="289" y="115"/>
                    <a:pt x="239" y="64"/>
                    <a:pt x="177" y="64"/>
                  </a:cubicBezTo>
                  <a:moveTo>
                    <a:pt x="177" y="273"/>
                  </a:moveTo>
                  <a:cubicBezTo>
                    <a:pt x="123" y="273"/>
                    <a:pt x="80" y="230"/>
                    <a:pt x="80" y="177"/>
                  </a:cubicBezTo>
                  <a:cubicBezTo>
                    <a:pt x="80" y="123"/>
                    <a:pt x="123" y="80"/>
                    <a:pt x="177" y="80"/>
                  </a:cubicBezTo>
                  <a:cubicBezTo>
                    <a:pt x="230" y="80"/>
                    <a:pt x="273" y="123"/>
                    <a:pt x="273" y="177"/>
                  </a:cubicBezTo>
                  <a:cubicBezTo>
                    <a:pt x="273" y="230"/>
                    <a:pt x="230" y="273"/>
                    <a:pt x="177" y="273"/>
                  </a:cubicBezTo>
                  <a:moveTo>
                    <a:pt x="299" y="304"/>
                  </a:moveTo>
                  <a:cubicBezTo>
                    <a:pt x="332" y="272"/>
                    <a:pt x="353" y="227"/>
                    <a:pt x="353" y="177"/>
                  </a:cubicBezTo>
                  <a:cubicBezTo>
                    <a:pt x="353" y="79"/>
                    <a:pt x="274" y="0"/>
                    <a:pt x="177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27"/>
                    <a:pt x="21" y="272"/>
                    <a:pt x="54" y="304"/>
                  </a:cubicBezTo>
                  <a:cubicBezTo>
                    <a:pt x="34" y="340"/>
                    <a:pt x="34" y="340"/>
                    <a:pt x="34" y="340"/>
                  </a:cubicBezTo>
                  <a:cubicBezTo>
                    <a:pt x="33" y="341"/>
                    <a:pt x="32" y="343"/>
                    <a:pt x="32" y="345"/>
                  </a:cubicBezTo>
                  <a:cubicBezTo>
                    <a:pt x="32" y="350"/>
                    <a:pt x="36" y="353"/>
                    <a:pt x="40" y="353"/>
                  </a:cubicBezTo>
                  <a:cubicBezTo>
                    <a:pt x="42" y="353"/>
                    <a:pt x="44" y="352"/>
                    <a:pt x="46" y="351"/>
                  </a:cubicBezTo>
                  <a:cubicBezTo>
                    <a:pt x="47" y="350"/>
                    <a:pt x="47" y="349"/>
                    <a:pt x="48" y="347"/>
                  </a:cubicBezTo>
                  <a:cubicBezTo>
                    <a:pt x="66" y="314"/>
                    <a:pt x="66" y="314"/>
                    <a:pt x="66" y="314"/>
                  </a:cubicBezTo>
                  <a:cubicBezTo>
                    <a:pt x="96" y="339"/>
                    <a:pt x="135" y="353"/>
                    <a:pt x="177" y="353"/>
                  </a:cubicBezTo>
                  <a:cubicBezTo>
                    <a:pt x="218" y="353"/>
                    <a:pt x="257" y="339"/>
                    <a:pt x="287" y="314"/>
                  </a:cubicBezTo>
                  <a:cubicBezTo>
                    <a:pt x="305" y="347"/>
                    <a:pt x="305" y="347"/>
                    <a:pt x="305" y="347"/>
                  </a:cubicBezTo>
                  <a:cubicBezTo>
                    <a:pt x="306" y="351"/>
                    <a:pt x="309" y="353"/>
                    <a:pt x="313" y="353"/>
                  </a:cubicBezTo>
                  <a:cubicBezTo>
                    <a:pt x="317" y="353"/>
                    <a:pt x="321" y="350"/>
                    <a:pt x="321" y="345"/>
                  </a:cubicBezTo>
                  <a:cubicBezTo>
                    <a:pt x="321" y="343"/>
                    <a:pt x="320" y="341"/>
                    <a:pt x="319" y="340"/>
                  </a:cubicBezTo>
                  <a:lnTo>
                    <a:pt x="299" y="304"/>
                  </a:lnTo>
                  <a:close/>
                  <a:moveTo>
                    <a:pt x="177" y="337"/>
                  </a:move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7" y="16"/>
                  </a:cubicBezTo>
                  <a:cubicBezTo>
                    <a:pt x="265" y="16"/>
                    <a:pt x="337" y="88"/>
                    <a:pt x="337" y="177"/>
                  </a:cubicBezTo>
                  <a:cubicBezTo>
                    <a:pt x="337" y="265"/>
                    <a:pt x="265" y="337"/>
                    <a:pt x="177" y="3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6371700" y="2464139"/>
            <a:ext cx="418163" cy="418163"/>
            <a:chOff x="6480734" y="2467856"/>
            <a:chExt cx="374311" cy="374311"/>
          </a:xfrm>
        </p:grpSpPr>
        <p:sp>
          <p:nvSpPr>
            <p:cNvPr id="27" name="Oval 26"/>
            <p:cNvSpPr/>
            <p:nvPr/>
          </p:nvSpPr>
          <p:spPr>
            <a:xfrm>
              <a:off x="6480734" y="2467856"/>
              <a:ext cx="374311" cy="37431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Freeform 45"/>
            <p:cNvSpPr>
              <a:spLocks noEditPoints="1"/>
            </p:cNvSpPr>
            <p:nvPr/>
          </p:nvSpPr>
          <p:spPr bwMode="auto">
            <a:xfrm>
              <a:off x="6570145" y="2557268"/>
              <a:ext cx="195488" cy="195486"/>
            </a:xfrm>
            <a:custGeom>
              <a:avLst/>
              <a:gdLst>
                <a:gd name="T0" fmla="*/ 160 w 353"/>
                <a:gd name="T1" fmla="*/ 177 h 353"/>
                <a:gd name="T2" fmla="*/ 193 w 353"/>
                <a:gd name="T3" fmla="*/ 177 h 353"/>
                <a:gd name="T4" fmla="*/ 353 w 353"/>
                <a:gd name="T5" fmla="*/ 177 h 353"/>
                <a:gd name="T6" fmla="*/ 301 w 353"/>
                <a:gd name="T7" fmla="*/ 52 h 353"/>
                <a:gd name="T8" fmla="*/ 177 w 353"/>
                <a:gd name="T9" fmla="*/ 0 h 353"/>
                <a:gd name="T10" fmla="*/ 52 w 353"/>
                <a:gd name="T11" fmla="*/ 52 h 353"/>
                <a:gd name="T12" fmla="*/ 0 w 353"/>
                <a:gd name="T13" fmla="*/ 177 h 353"/>
                <a:gd name="T14" fmla="*/ 52 w 353"/>
                <a:gd name="T15" fmla="*/ 302 h 353"/>
                <a:gd name="T16" fmla="*/ 177 w 353"/>
                <a:gd name="T17" fmla="*/ 353 h 353"/>
                <a:gd name="T18" fmla="*/ 301 w 353"/>
                <a:gd name="T19" fmla="*/ 302 h 353"/>
                <a:gd name="T20" fmla="*/ 353 w 353"/>
                <a:gd name="T21" fmla="*/ 177 h 353"/>
                <a:gd name="T22" fmla="*/ 67 w 353"/>
                <a:gd name="T23" fmla="*/ 141 h 353"/>
                <a:gd name="T24" fmla="*/ 67 w 353"/>
                <a:gd name="T25" fmla="*/ 212 h 353"/>
                <a:gd name="T26" fmla="*/ 113 w 353"/>
                <a:gd name="T27" fmla="*/ 150 h 353"/>
                <a:gd name="T28" fmla="*/ 82 w 353"/>
                <a:gd name="T29" fmla="*/ 138 h 353"/>
                <a:gd name="T30" fmla="*/ 113 w 353"/>
                <a:gd name="T31" fmla="*/ 150 h 353"/>
                <a:gd name="T32" fmla="*/ 82 w 353"/>
                <a:gd name="T33" fmla="*/ 216 h 353"/>
                <a:gd name="T34" fmla="*/ 113 w 353"/>
                <a:gd name="T35" fmla="*/ 203 h 353"/>
                <a:gd name="T36" fmla="*/ 63 w 353"/>
                <a:gd name="T37" fmla="*/ 290 h 353"/>
                <a:gd name="T38" fmla="*/ 116 w 353"/>
                <a:gd name="T39" fmla="*/ 237 h 353"/>
                <a:gd name="T40" fmla="*/ 63 w 353"/>
                <a:gd name="T41" fmla="*/ 290 h 353"/>
                <a:gd name="T42" fmla="*/ 74 w 353"/>
                <a:gd name="T43" fmla="*/ 124 h 353"/>
                <a:gd name="T44" fmla="*/ 124 w 353"/>
                <a:gd name="T45" fmla="*/ 75 h 353"/>
                <a:gd name="T46" fmla="*/ 221 w 353"/>
                <a:gd name="T47" fmla="*/ 115 h 353"/>
                <a:gd name="T48" fmla="*/ 189 w 353"/>
                <a:gd name="T49" fmla="*/ 101 h 353"/>
                <a:gd name="T50" fmla="*/ 221 w 353"/>
                <a:gd name="T51" fmla="*/ 115 h 353"/>
                <a:gd name="T52" fmla="*/ 212 w 353"/>
                <a:gd name="T53" fmla="*/ 67 h 353"/>
                <a:gd name="T54" fmla="*/ 141 w 353"/>
                <a:gd name="T55" fmla="*/ 67 h 353"/>
                <a:gd name="T56" fmla="*/ 138 w 353"/>
                <a:gd name="T57" fmla="*/ 83 h 353"/>
                <a:gd name="T58" fmla="*/ 150 w 353"/>
                <a:gd name="T59" fmla="*/ 113 h 353"/>
                <a:gd name="T60" fmla="*/ 138 w 353"/>
                <a:gd name="T61" fmla="*/ 83 h 353"/>
                <a:gd name="T62" fmla="*/ 150 w 353"/>
                <a:gd name="T63" fmla="*/ 240 h 353"/>
                <a:gd name="T64" fmla="*/ 138 w 353"/>
                <a:gd name="T65" fmla="*/ 271 h 353"/>
                <a:gd name="T66" fmla="*/ 177 w 353"/>
                <a:gd name="T67" fmla="*/ 337 h 353"/>
                <a:gd name="T68" fmla="*/ 176 w 353"/>
                <a:gd name="T69" fmla="*/ 262 h 353"/>
                <a:gd name="T70" fmla="*/ 177 w 353"/>
                <a:gd name="T71" fmla="*/ 337 h 353"/>
                <a:gd name="T72" fmla="*/ 189 w 353"/>
                <a:gd name="T73" fmla="*/ 252 h 353"/>
                <a:gd name="T74" fmla="*/ 221 w 353"/>
                <a:gd name="T75" fmla="*/ 239 h 353"/>
                <a:gd name="T76" fmla="*/ 224 w 353"/>
                <a:gd name="T77" fmla="*/ 196 h 353"/>
                <a:gd name="T78" fmla="*/ 196 w 353"/>
                <a:gd name="T79" fmla="*/ 224 h 353"/>
                <a:gd name="T80" fmla="*/ 157 w 353"/>
                <a:gd name="T81" fmla="*/ 224 h 353"/>
                <a:gd name="T82" fmla="*/ 129 w 353"/>
                <a:gd name="T83" fmla="*/ 196 h 353"/>
                <a:gd name="T84" fmla="*/ 129 w 353"/>
                <a:gd name="T85" fmla="*/ 157 h 353"/>
                <a:gd name="T86" fmla="*/ 157 w 353"/>
                <a:gd name="T87" fmla="*/ 129 h 353"/>
                <a:gd name="T88" fmla="*/ 196 w 353"/>
                <a:gd name="T89" fmla="*/ 129 h 353"/>
                <a:gd name="T90" fmla="*/ 224 w 353"/>
                <a:gd name="T91" fmla="*/ 157 h 353"/>
                <a:gd name="T92" fmla="*/ 224 w 353"/>
                <a:gd name="T93" fmla="*/ 196 h 353"/>
                <a:gd name="T94" fmla="*/ 279 w 353"/>
                <a:gd name="T95" fmla="*/ 124 h 353"/>
                <a:gd name="T96" fmla="*/ 229 w 353"/>
                <a:gd name="T97" fmla="*/ 75 h 353"/>
                <a:gd name="T98" fmla="*/ 252 w 353"/>
                <a:gd name="T99" fmla="*/ 164 h 353"/>
                <a:gd name="T100" fmla="*/ 239 w 353"/>
                <a:gd name="T101" fmla="*/ 132 h 353"/>
                <a:gd name="T102" fmla="*/ 252 w 353"/>
                <a:gd name="T103" fmla="*/ 164 h 353"/>
                <a:gd name="T104" fmla="*/ 271 w 353"/>
                <a:gd name="T105" fmla="*/ 216 h 353"/>
                <a:gd name="T106" fmla="*/ 240 w 353"/>
                <a:gd name="T107" fmla="*/ 203 h 353"/>
                <a:gd name="T108" fmla="*/ 290 w 353"/>
                <a:gd name="T109" fmla="*/ 290 h 353"/>
                <a:gd name="T110" fmla="*/ 237 w 353"/>
                <a:gd name="T111" fmla="*/ 237 h 353"/>
                <a:gd name="T112" fmla="*/ 290 w 353"/>
                <a:gd name="T113" fmla="*/ 290 h 353"/>
                <a:gd name="T114" fmla="*/ 262 w 353"/>
                <a:gd name="T115" fmla="*/ 177 h 353"/>
                <a:gd name="T116" fmla="*/ 337 w 353"/>
                <a:gd name="T117" fmla="*/ 1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3" h="353">
                  <a:moveTo>
                    <a:pt x="177" y="161"/>
                  </a:moveTo>
                  <a:cubicBezTo>
                    <a:pt x="168" y="161"/>
                    <a:pt x="160" y="168"/>
                    <a:pt x="160" y="177"/>
                  </a:cubicBezTo>
                  <a:cubicBezTo>
                    <a:pt x="160" y="185"/>
                    <a:pt x="168" y="193"/>
                    <a:pt x="177" y="193"/>
                  </a:cubicBezTo>
                  <a:cubicBezTo>
                    <a:pt x="185" y="193"/>
                    <a:pt x="193" y="185"/>
                    <a:pt x="193" y="177"/>
                  </a:cubicBezTo>
                  <a:cubicBezTo>
                    <a:pt x="193" y="168"/>
                    <a:pt x="185" y="161"/>
                    <a:pt x="177" y="161"/>
                  </a:cubicBezTo>
                  <a:moveTo>
                    <a:pt x="353" y="177"/>
                  </a:moveTo>
                  <a:cubicBezTo>
                    <a:pt x="353" y="157"/>
                    <a:pt x="330" y="140"/>
                    <a:pt x="293" y="128"/>
                  </a:cubicBezTo>
                  <a:cubicBezTo>
                    <a:pt x="311" y="94"/>
                    <a:pt x="315" y="65"/>
                    <a:pt x="301" y="52"/>
                  </a:cubicBezTo>
                  <a:cubicBezTo>
                    <a:pt x="288" y="38"/>
                    <a:pt x="259" y="42"/>
                    <a:pt x="225" y="60"/>
                  </a:cubicBezTo>
                  <a:cubicBezTo>
                    <a:pt x="213" y="23"/>
                    <a:pt x="196" y="0"/>
                    <a:pt x="177" y="0"/>
                  </a:cubicBezTo>
                  <a:cubicBezTo>
                    <a:pt x="157" y="0"/>
                    <a:pt x="140" y="23"/>
                    <a:pt x="128" y="60"/>
                  </a:cubicBezTo>
                  <a:cubicBezTo>
                    <a:pt x="94" y="42"/>
                    <a:pt x="65" y="38"/>
                    <a:pt x="52" y="52"/>
                  </a:cubicBezTo>
                  <a:cubicBezTo>
                    <a:pt x="38" y="65"/>
                    <a:pt x="42" y="94"/>
                    <a:pt x="60" y="128"/>
                  </a:cubicBezTo>
                  <a:cubicBezTo>
                    <a:pt x="23" y="140"/>
                    <a:pt x="0" y="157"/>
                    <a:pt x="0" y="177"/>
                  </a:cubicBezTo>
                  <a:cubicBezTo>
                    <a:pt x="0" y="196"/>
                    <a:pt x="23" y="213"/>
                    <a:pt x="60" y="225"/>
                  </a:cubicBezTo>
                  <a:cubicBezTo>
                    <a:pt x="42" y="259"/>
                    <a:pt x="38" y="288"/>
                    <a:pt x="52" y="302"/>
                  </a:cubicBezTo>
                  <a:cubicBezTo>
                    <a:pt x="65" y="315"/>
                    <a:pt x="94" y="311"/>
                    <a:pt x="128" y="293"/>
                  </a:cubicBezTo>
                  <a:cubicBezTo>
                    <a:pt x="140" y="330"/>
                    <a:pt x="157" y="353"/>
                    <a:pt x="177" y="353"/>
                  </a:cubicBezTo>
                  <a:cubicBezTo>
                    <a:pt x="196" y="353"/>
                    <a:pt x="213" y="330"/>
                    <a:pt x="225" y="293"/>
                  </a:cubicBezTo>
                  <a:cubicBezTo>
                    <a:pt x="259" y="311"/>
                    <a:pt x="288" y="315"/>
                    <a:pt x="301" y="302"/>
                  </a:cubicBezTo>
                  <a:cubicBezTo>
                    <a:pt x="315" y="288"/>
                    <a:pt x="311" y="259"/>
                    <a:pt x="293" y="225"/>
                  </a:cubicBezTo>
                  <a:cubicBezTo>
                    <a:pt x="330" y="213"/>
                    <a:pt x="353" y="196"/>
                    <a:pt x="353" y="177"/>
                  </a:cubicBezTo>
                  <a:moveTo>
                    <a:pt x="16" y="177"/>
                  </a:moveTo>
                  <a:cubicBezTo>
                    <a:pt x="16" y="163"/>
                    <a:pt x="36" y="150"/>
                    <a:pt x="67" y="141"/>
                  </a:cubicBezTo>
                  <a:cubicBezTo>
                    <a:pt x="74" y="153"/>
                    <a:pt x="82" y="165"/>
                    <a:pt x="91" y="177"/>
                  </a:cubicBezTo>
                  <a:cubicBezTo>
                    <a:pt x="82" y="189"/>
                    <a:pt x="74" y="201"/>
                    <a:pt x="67" y="212"/>
                  </a:cubicBezTo>
                  <a:cubicBezTo>
                    <a:pt x="36" y="203"/>
                    <a:pt x="16" y="191"/>
                    <a:pt x="16" y="177"/>
                  </a:cubicBezTo>
                  <a:moveTo>
                    <a:pt x="113" y="150"/>
                  </a:moveTo>
                  <a:cubicBezTo>
                    <a:pt x="109" y="155"/>
                    <a:pt x="105" y="160"/>
                    <a:pt x="101" y="164"/>
                  </a:cubicBezTo>
                  <a:cubicBezTo>
                    <a:pt x="94" y="155"/>
                    <a:pt x="88" y="146"/>
                    <a:pt x="82" y="138"/>
                  </a:cubicBezTo>
                  <a:cubicBezTo>
                    <a:pt x="92" y="135"/>
                    <a:pt x="103" y="134"/>
                    <a:pt x="114" y="132"/>
                  </a:cubicBezTo>
                  <a:cubicBezTo>
                    <a:pt x="114" y="138"/>
                    <a:pt x="113" y="144"/>
                    <a:pt x="113" y="150"/>
                  </a:cubicBezTo>
                  <a:moveTo>
                    <a:pt x="114" y="221"/>
                  </a:moveTo>
                  <a:cubicBezTo>
                    <a:pt x="103" y="220"/>
                    <a:pt x="92" y="218"/>
                    <a:pt x="82" y="216"/>
                  </a:cubicBezTo>
                  <a:cubicBezTo>
                    <a:pt x="88" y="207"/>
                    <a:pt x="94" y="198"/>
                    <a:pt x="101" y="189"/>
                  </a:cubicBezTo>
                  <a:cubicBezTo>
                    <a:pt x="105" y="194"/>
                    <a:pt x="109" y="198"/>
                    <a:pt x="113" y="203"/>
                  </a:cubicBezTo>
                  <a:cubicBezTo>
                    <a:pt x="113" y="209"/>
                    <a:pt x="114" y="215"/>
                    <a:pt x="114" y="221"/>
                  </a:cubicBezTo>
                  <a:moveTo>
                    <a:pt x="63" y="290"/>
                  </a:moveTo>
                  <a:cubicBezTo>
                    <a:pt x="53" y="280"/>
                    <a:pt x="58" y="257"/>
                    <a:pt x="74" y="229"/>
                  </a:cubicBezTo>
                  <a:cubicBezTo>
                    <a:pt x="87" y="232"/>
                    <a:pt x="101" y="235"/>
                    <a:pt x="116" y="237"/>
                  </a:cubicBezTo>
                  <a:cubicBezTo>
                    <a:pt x="118" y="252"/>
                    <a:pt x="121" y="266"/>
                    <a:pt x="124" y="279"/>
                  </a:cubicBezTo>
                  <a:cubicBezTo>
                    <a:pt x="96" y="295"/>
                    <a:pt x="73" y="300"/>
                    <a:pt x="63" y="290"/>
                  </a:cubicBezTo>
                  <a:moveTo>
                    <a:pt x="116" y="116"/>
                  </a:moveTo>
                  <a:cubicBezTo>
                    <a:pt x="101" y="118"/>
                    <a:pt x="87" y="121"/>
                    <a:pt x="74" y="124"/>
                  </a:cubicBezTo>
                  <a:cubicBezTo>
                    <a:pt x="58" y="96"/>
                    <a:pt x="53" y="73"/>
                    <a:pt x="63" y="63"/>
                  </a:cubicBezTo>
                  <a:cubicBezTo>
                    <a:pt x="73" y="53"/>
                    <a:pt x="96" y="58"/>
                    <a:pt x="124" y="75"/>
                  </a:cubicBezTo>
                  <a:cubicBezTo>
                    <a:pt x="121" y="87"/>
                    <a:pt x="118" y="101"/>
                    <a:pt x="116" y="116"/>
                  </a:cubicBezTo>
                  <a:moveTo>
                    <a:pt x="221" y="115"/>
                  </a:moveTo>
                  <a:cubicBezTo>
                    <a:pt x="215" y="114"/>
                    <a:pt x="209" y="114"/>
                    <a:pt x="203" y="113"/>
                  </a:cubicBezTo>
                  <a:cubicBezTo>
                    <a:pt x="198" y="109"/>
                    <a:pt x="194" y="105"/>
                    <a:pt x="189" y="101"/>
                  </a:cubicBezTo>
                  <a:cubicBezTo>
                    <a:pt x="198" y="94"/>
                    <a:pt x="207" y="88"/>
                    <a:pt x="216" y="83"/>
                  </a:cubicBezTo>
                  <a:cubicBezTo>
                    <a:pt x="218" y="92"/>
                    <a:pt x="219" y="103"/>
                    <a:pt x="221" y="115"/>
                  </a:cubicBezTo>
                  <a:moveTo>
                    <a:pt x="177" y="16"/>
                  </a:moveTo>
                  <a:cubicBezTo>
                    <a:pt x="190" y="16"/>
                    <a:pt x="203" y="36"/>
                    <a:pt x="212" y="67"/>
                  </a:cubicBezTo>
                  <a:cubicBezTo>
                    <a:pt x="200" y="74"/>
                    <a:pt x="189" y="82"/>
                    <a:pt x="177" y="91"/>
                  </a:cubicBezTo>
                  <a:cubicBezTo>
                    <a:pt x="165" y="82"/>
                    <a:pt x="153" y="74"/>
                    <a:pt x="141" y="67"/>
                  </a:cubicBezTo>
                  <a:cubicBezTo>
                    <a:pt x="150" y="36"/>
                    <a:pt x="163" y="16"/>
                    <a:pt x="177" y="16"/>
                  </a:cubicBezTo>
                  <a:moveTo>
                    <a:pt x="138" y="83"/>
                  </a:moveTo>
                  <a:cubicBezTo>
                    <a:pt x="146" y="88"/>
                    <a:pt x="155" y="94"/>
                    <a:pt x="164" y="101"/>
                  </a:cubicBezTo>
                  <a:cubicBezTo>
                    <a:pt x="159" y="105"/>
                    <a:pt x="155" y="109"/>
                    <a:pt x="150" y="113"/>
                  </a:cubicBezTo>
                  <a:cubicBezTo>
                    <a:pt x="144" y="114"/>
                    <a:pt x="138" y="114"/>
                    <a:pt x="132" y="115"/>
                  </a:cubicBezTo>
                  <a:cubicBezTo>
                    <a:pt x="134" y="103"/>
                    <a:pt x="135" y="92"/>
                    <a:pt x="138" y="83"/>
                  </a:cubicBezTo>
                  <a:moveTo>
                    <a:pt x="132" y="239"/>
                  </a:moveTo>
                  <a:cubicBezTo>
                    <a:pt x="138" y="239"/>
                    <a:pt x="144" y="240"/>
                    <a:pt x="150" y="240"/>
                  </a:cubicBezTo>
                  <a:cubicBezTo>
                    <a:pt x="155" y="244"/>
                    <a:pt x="159" y="248"/>
                    <a:pt x="164" y="252"/>
                  </a:cubicBezTo>
                  <a:cubicBezTo>
                    <a:pt x="155" y="259"/>
                    <a:pt x="146" y="265"/>
                    <a:pt x="138" y="271"/>
                  </a:cubicBezTo>
                  <a:cubicBezTo>
                    <a:pt x="135" y="261"/>
                    <a:pt x="134" y="250"/>
                    <a:pt x="132" y="239"/>
                  </a:cubicBezTo>
                  <a:moveTo>
                    <a:pt x="177" y="337"/>
                  </a:moveTo>
                  <a:cubicBezTo>
                    <a:pt x="163" y="337"/>
                    <a:pt x="150" y="317"/>
                    <a:pt x="141" y="286"/>
                  </a:cubicBezTo>
                  <a:cubicBezTo>
                    <a:pt x="153" y="279"/>
                    <a:pt x="164" y="271"/>
                    <a:pt x="176" y="262"/>
                  </a:cubicBezTo>
                  <a:cubicBezTo>
                    <a:pt x="188" y="271"/>
                    <a:pt x="200" y="279"/>
                    <a:pt x="212" y="286"/>
                  </a:cubicBezTo>
                  <a:cubicBezTo>
                    <a:pt x="203" y="317"/>
                    <a:pt x="190" y="337"/>
                    <a:pt x="177" y="337"/>
                  </a:cubicBezTo>
                  <a:moveTo>
                    <a:pt x="216" y="271"/>
                  </a:moveTo>
                  <a:cubicBezTo>
                    <a:pt x="207" y="265"/>
                    <a:pt x="198" y="259"/>
                    <a:pt x="189" y="252"/>
                  </a:cubicBezTo>
                  <a:cubicBezTo>
                    <a:pt x="194" y="248"/>
                    <a:pt x="198" y="244"/>
                    <a:pt x="203" y="240"/>
                  </a:cubicBezTo>
                  <a:cubicBezTo>
                    <a:pt x="209" y="240"/>
                    <a:pt x="215" y="239"/>
                    <a:pt x="221" y="239"/>
                  </a:cubicBezTo>
                  <a:cubicBezTo>
                    <a:pt x="219" y="250"/>
                    <a:pt x="218" y="261"/>
                    <a:pt x="216" y="271"/>
                  </a:cubicBezTo>
                  <a:moveTo>
                    <a:pt x="224" y="196"/>
                  </a:moveTo>
                  <a:cubicBezTo>
                    <a:pt x="220" y="201"/>
                    <a:pt x="215" y="206"/>
                    <a:pt x="211" y="211"/>
                  </a:cubicBezTo>
                  <a:cubicBezTo>
                    <a:pt x="206" y="215"/>
                    <a:pt x="201" y="220"/>
                    <a:pt x="196" y="224"/>
                  </a:cubicBezTo>
                  <a:cubicBezTo>
                    <a:pt x="190" y="225"/>
                    <a:pt x="183" y="225"/>
                    <a:pt x="177" y="225"/>
                  </a:cubicBezTo>
                  <a:cubicBezTo>
                    <a:pt x="170" y="225"/>
                    <a:pt x="163" y="225"/>
                    <a:pt x="157" y="224"/>
                  </a:cubicBezTo>
                  <a:cubicBezTo>
                    <a:pt x="152" y="220"/>
                    <a:pt x="147" y="215"/>
                    <a:pt x="142" y="211"/>
                  </a:cubicBezTo>
                  <a:cubicBezTo>
                    <a:pt x="138" y="206"/>
                    <a:pt x="133" y="201"/>
                    <a:pt x="129" y="196"/>
                  </a:cubicBezTo>
                  <a:cubicBezTo>
                    <a:pt x="129" y="190"/>
                    <a:pt x="128" y="183"/>
                    <a:pt x="128" y="177"/>
                  </a:cubicBezTo>
                  <a:cubicBezTo>
                    <a:pt x="128" y="170"/>
                    <a:pt x="129" y="163"/>
                    <a:pt x="129" y="157"/>
                  </a:cubicBezTo>
                  <a:cubicBezTo>
                    <a:pt x="133" y="152"/>
                    <a:pt x="138" y="147"/>
                    <a:pt x="142" y="143"/>
                  </a:cubicBezTo>
                  <a:cubicBezTo>
                    <a:pt x="147" y="138"/>
                    <a:pt x="152" y="133"/>
                    <a:pt x="157" y="129"/>
                  </a:cubicBezTo>
                  <a:cubicBezTo>
                    <a:pt x="163" y="129"/>
                    <a:pt x="170" y="128"/>
                    <a:pt x="177" y="128"/>
                  </a:cubicBezTo>
                  <a:cubicBezTo>
                    <a:pt x="183" y="128"/>
                    <a:pt x="190" y="129"/>
                    <a:pt x="196" y="129"/>
                  </a:cubicBezTo>
                  <a:cubicBezTo>
                    <a:pt x="201" y="133"/>
                    <a:pt x="206" y="138"/>
                    <a:pt x="211" y="143"/>
                  </a:cubicBezTo>
                  <a:cubicBezTo>
                    <a:pt x="215" y="147"/>
                    <a:pt x="220" y="152"/>
                    <a:pt x="224" y="157"/>
                  </a:cubicBezTo>
                  <a:cubicBezTo>
                    <a:pt x="224" y="163"/>
                    <a:pt x="225" y="170"/>
                    <a:pt x="225" y="177"/>
                  </a:cubicBezTo>
                  <a:cubicBezTo>
                    <a:pt x="225" y="183"/>
                    <a:pt x="224" y="190"/>
                    <a:pt x="224" y="196"/>
                  </a:cubicBezTo>
                  <a:moveTo>
                    <a:pt x="290" y="63"/>
                  </a:moveTo>
                  <a:cubicBezTo>
                    <a:pt x="300" y="73"/>
                    <a:pt x="295" y="96"/>
                    <a:pt x="279" y="124"/>
                  </a:cubicBezTo>
                  <a:cubicBezTo>
                    <a:pt x="266" y="121"/>
                    <a:pt x="252" y="118"/>
                    <a:pt x="237" y="116"/>
                  </a:cubicBezTo>
                  <a:cubicBezTo>
                    <a:pt x="235" y="101"/>
                    <a:pt x="232" y="87"/>
                    <a:pt x="229" y="75"/>
                  </a:cubicBezTo>
                  <a:cubicBezTo>
                    <a:pt x="257" y="58"/>
                    <a:pt x="280" y="53"/>
                    <a:pt x="290" y="63"/>
                  </a:cubicBezTo>
                  <a:moveTo>
                    <a:pt x="252" y="164"/>
                  </a:moveTo>
                  <a:cubicBezTo>
                    <a:pt x="248" y="159"/>
                    <a:pt x="244" y="155"/>
                    <a:pt x="240" y="150"/>
                  </a:cubicBezTo>
                  <a:cubicBezTo>
                    <a:pt x="240" y="144"/>
                    <a:pt x="239" y="138"/>
                    <a:pt x="239" y="132"/>
                  </a:cubicBezTo>
                  <a:cubicBezTo>
                    <a:pt x="250" y="134"/>
                    <a:pt x="261" y="135"/>
                    <a:pt x="271" y="138"/>
                  </a:cubicBezTo>
                  <a:cubicBezTo>
                    <a:pt x="265" y="146"/>
                    <a:pt x="259" y="155"/>
                    <a:pt x="252" y="164"/>
                  </a:cubicBezTo>
                  <a:moveTo>
                    <a:pt x="252" y="189"/>
                  </a:moveTo>
                  <a:cubicBezTo>
                    <a:pt x="259" y="198"/>
                    <a:pt x="265" y="207"/>
                    <a:pt x="271" y="216"/>
                  </a:cubicBezTo>
                  <a:cubicBezTo>
                    <a:pt x="261" y="218"/>
                    <a:pt x="250" y="220"/>
                    <a:pt x="239" y="221"/>
                  </a:cubicBezTo>
                  <a:cubicBezTo>
                    <a:pt x="239" y="215"/>
                    <a:pt x="240" y="209"/>
                    <a:pt x="240" y="203"/>
                  </a:cubicBezTo>
                  <a:cubicBezTo>
                    <a:pt x="244" y="198"/>
                    <a:pt x="248" y="194"/>
                    <a:pt x="252" y="189"/>
                  </a:cubicBezTo>
                  <a:moveTo>
                    <a:pt x="290" y="290"/>
                  </a:moveTo>
                  <a:cubicBezTo>
                    <a:pt x="280" y="300"/>
                    <a:pt x="257" y="295"/>
                    <a:pt x="229" y="279"/>
                  </a:cubicBezTo>
                  <a:cubicBezTo>
                    <a:pt x="232" y="266"/>
                    <a:pt x="235" y="252"/>
                    <a:pt x="237" y="237"/>
                  </a:cubicBezTo>
                  <a:cubicBezTo>
                    <a:pt x="252" y="235"/>
                    <a:pt x="266" y="232"/>
                    <a:pt x="279" y="229"/>
                  </a:cubicBezTo>
                  <a:cubicBezTo>
                    <a:pt x="295" y="257"/>
                    <a:pt x="300" y="280"/>
                    <a:pt x="290" y="290"/>
                  </a:cubicBezTo>
                  <a:moveTo>
                    <a:pt x="286" y="212"/>
                  </a:moveTo>
                  <a:cubicBezTo>
                    <a:pt x="279" y="200"/>
                    <a:pt x="271" y="189"/>
                    <a:pt x="262" y="177"/>
                  </a:cubicBezTo>
                  <a:cubicBezTo>
                    <a:pt x="271" y="165"/>
                    <a:pt x="279" y="153"/>
                    <a:pt x="286" y="141"/>
                  </a:cubicBezTo>
                  <a:cubicBezTo>
                    <a:pt x="317" y="150"/>
                    <a:pt x="337" y="163"/>
                    <a:pt x="337" y="177"/>
                  </a:cubicBezTo>
                  <a:cubicBezTo>
                    <a:pt x="337" y="191"/>
                    <a:pt x="317" y="203"/>
                    <a:pt x="286" y="21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97959" y="1501145"/>
            <a:ext cx="1662641" cy="916102"/>
            <a:chOff x="597959" y="1501145"/>
            <a:chExt cx="1662641" cy="916102"/>
          </a:xfrm>
        </p:grpSpPr>
        <p:sp>
          <p:nvSpPr>
            <p:cNvPr id="41" name="TextBox 40"/>
            <p:cNvSpPr txBox="1"/>
            <p:nvPr/>
          </p:nvSpPr>
          <p:spPr>
            <a:xfrm>
              <a:off x="597959" y="1777072"/>
              <a:ext cx="1662641" cy="6401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 dolo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 a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ortti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gi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nte. Duis et lacini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97959" y="1501145"/>
              <a:ext cx="1662641" cy="2207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Nossa</a:t>
              </a:r>
              <a:r>
                <a:rPr lang="en-US" sz="1200" b="1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 </a:t>
              </a: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visão</a:t>
              </a:r>
              <a:endParaRPr lang="en-US" sz="1200" b="1" cap="all" spc="20" dirty="0">
                <a:solidFill>
                  <a:srgbClr val="EC0000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9571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Pirâmide</a:t>
            </a:r>
            <a:r>
              <a:rPr lang="en-US" dirty="0">
                <a:solidFill>
                  <a:srgbClr val="EC1C24"/>
                </a:solidFill>
              </a:rPr>
              <a:t> </a:t>
            </a:r>
            <a:r>
              <a:rPr lang="en-US" dirty="0" err="1"/>
              <a:t>relativa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4804786" y="2827403"/>
            <a:ext cx="1315686" cy="474932"/>
            <a:chOff x="4804786" y="2827403"/>
            <a:chExt cx="1315686" cy="474932"/>
          </a:xfrm>
        </p:grpSpPr>
        <p:sp>
          <p:nvSpPr>
            <p:cNvPr id="34" name="TextBox 33"/>
            <p:cNvSpPr txBox="1"/>
            <p:nvPr/>
          </p:nvSpPr>
          <p:spPr>
            <a:xfrm>
              <a:off x="4804819" y="2827403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nvesti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804786" y="3019244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231413" y="2827403"/>
            <a:ext cx="1315686" cy="474932"/>
            <a:chOff x="7231413" y="2827403"/>
            <a:chExt cx="1315686" cy="474932"/>
          </a:xfrm>
        </p:grpSpPr>
        <p:sp>
          <p:nvSpPr>
            <p:cNvPr id="39" name="TextBox 38"/>
            <p:cNvSpPr txBox="1"/>
            <p:nvPr/>
          </p:nvSpPr>
          <p:spPr>
            <a:xfrm>
              <a:off x="7231446" y="2827403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esso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231413" y="3019244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4804786" y="3680809"/>
            <a:ext cx="1315686" cy="474932"/>
            <a:chOff x="4804786" y="3680809"/>
            <a:chExt cx="1315686" cy="474932"/>
          </a:xfrm>
        </p:grpSpPr>
        <p:sp>
          <p:nvSpPr>
            <p:cNvPr id="43" name="TextBox 42"/>
            <p:cNvSpPr txBox="1"/>
            <p:nvPr/>
          </p:nvSpPr>
          <p:spPr>
            <a:xfrm>
              <a:off x="4804819" y="3680809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804786" y="3872650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231413" y="3680809"/>
            <a:ext cx="1315686" cy="474932"/>
            <a:chOff x="7231413" y="3680809"/>
            <a:chExt cx="1315686" cy="474932"/>
          </a:xfrm>
        </p:grpSpPr>
        <p:sp>
          <p:nvSpPr>
            <p:cNvPr id="47" name="TextBox 46"/>
            <p:cNvSpPr txBox="1"/>
            <p:nvPr/>
          </p:nvSpPr>
          <p:spPr>
            <a:xfrm>
              <a:off x="7231446" y="3680809"/>
              <a:ext cx="131563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lano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231413" y="3872650"/>
              <a:ext cx="131568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282068" y="2841691"/>
            <a:ext cx="404154" cy="404154"/>
            <a:chOff x="4282068" y="2841691"/>
            <a:chExt cx="404154" cy="404154"/>
          </a:xfrm>
        </p:grpSpPr>
        <p:sp>
          <p:nvSpPr>
            <p:cNvPr id="33" name="Oval 32"/>
            <p:cNvSpPr/>
            <p:nvPr/>
          </p:nvSpPr>
          <p:spPr>
            <a:xfrm>
              <a:off x="4282068" y="2841691"/>
              <a:ext cx="404154" cy="4041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4339625" y="2951435"/>
              <a:ext cx="2866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01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708695" y="2841691"/>
            <a:ext cx="404154" cy="404154"/>
            <a:chOff x="6708695" y="2841691"/>
            <a:chExt cx="404154" cy="404154"/>
          </a:xfrm>
        </p:grpSpPr>
        <p:sp>
          <p:nvSpPr>
            <p:cNvPr id="38" name="Oval 37"/>
            <p:cNvSpPr/>
            <p:nvPr/>
          </p:nvSpPr>
          <p:spPr>
            <a:xfrm>
              <a:off x="6708695" y="2841691"/>
              <a:ext cx="404154" cy="40415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766252" y="2951435"/>
              <a:ext cx="2866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02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282068" y="3695097"/>
            <a:ext cx="404154" cy="404154"/>
            <a:chOff x="4282068" y="3695097"/>
            <a:chExt cx="404154" cy="404154"/>
          </a:xfrm>
        </p:grpSpPr>
        <p:sp>
          <p:nvSpPr>
            <p:cNvPr id="42" name="Oval 41"/>
            <p:cNvSpPr/>
            <p:nvPr/>
          </p:nvSpPr>
          <p:spPr>
            <a:xfrm>
              <a:off x="4282068" y="3695097"/>
              <a:ext cx="404154" cy="40415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339625" y="3804841"/>
              <a:ext cx="2866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03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708695" y="3695097"/>
            <a:ext cx="404154" cy="404154"/>
            <a:chOff x="6708695" y="3695097"/>
            <a:chExt cx="404154" cy="404154"/>
          </a:xfrm>
        </p:grpSpPr>
        <p:sp>
          <p:nvSpPr>
            <p:cNvPr id="46" name="Oval 45"/>
            <p:cNvSpPr/>
            <p:nvPr/>
          </p:nvSpPr>
          <p:spPr>
            <a:xfrm>
              <a:off x="6708695" y="3695097"/>
              <a:ext cx="404154" cy="40415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766252" y="3804841"/>
              <a:ext cx="28668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04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93725" y="1661532"/>
            <a:ext cx="2970150" cy="2506236"/>
            <a:chOff x="593725" y="1661532"/>
            <a:chExt cx="2970150" cy="2506236"/>
          </a:xfrm>
        </p:grpSpPr>
        <p:sp>
          <p:nvSpPr>
            <p:cNvPr id="4" name="Isosceles Triangle 3"/>
            <p:cNvSpPr/>
            <p:nvPr/>
          </p:nvSpPr>
          <p:spPr>
            <a:xfrm>
              <a:off x="1365087" y="1661532"/>
              <a:ext cx="1427427" cy="12305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" name="Isosceles Triangle 4"/>
            <p:cNvSpPr/>
            <p:nvPr/>
          </p:nvSpPr>
          <p:spPr>
            <a:xfrm rot="10800000">
              <a:off x="1365087" y="2937229"/>
              <a:ext cx="1427427" cy="1230539"/>
            </a:xfrm>
            <a:prstGeom prst="triangl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" name="Isosceles Triangle 5"/>
            <p:cNvSpPr/>
            <p:nvPr/>
          </p:nvSpPr>
          <p:spPr>
            <a:xfrm>
              <a:off x="2136448" y="2937229"/>
              <a:ext cx="1427427" cy="1230539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Isosceles Triangle 6"/>
            <p:cNvSpPr/>
            <p:nvPr/>
          </p:nvSpPr>
          <p:spPr>
            <a:xfrm>
              <a:off x="593725" y="2937229"/>
              <a:ext cx="1427427" cy="1230539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4" name="Freeform 115"/>
            <p:cNvSpPr>
              <a:spLocks noEditPoints="1"/>
            </p:cNvSpPr>
            <p:nvPr/>
          </p:nvSpPr>
          <p:spPr bwMode="auto">
            <a:xfrm>
              <a:off x="1928662" y="2197674"/>
              <a:ext cx="300277" cy="300275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1184346" y="3461008"/>
              <a:ext cx="246183" cy="301381"/>
            </a:xfrm>
            <a:custGeom>
              <a:avLst/>
              <a:gdLst>
                <a:gd name="T0" fmla="*/ 144 w 289"/>
                <a:gd name="T1" fmla="*/ 145 h 353"/>
                <a:gd name="T2" fmla="*/ 144 w 289"/>
                <a:gd name="T3" fmla="*/ 129 h 353"/>
                <a:gd name="T4" fmla="*/ 40 w 289"/>
                <a:gd name="T5" fmla="*/ 137 h 353"/>
                <a:gd name="T6" fmla="*/ 273 w 289"/>
                <a:gd name="T7" fmla="*/ 32 h 353"/>
                <a:gd name="T8" fmla="*/ 232 w 289"/>
                <a:gd name="T9" fmla="*/ 8 h 353"/>
                <a:gd name="T10" fmla="*/ 216 w 289"/>
                <a:gd name="T11" fmla="*/ 8 h 353"/>
                <a:gd name="T12" fmla="*/ 200 w 289"/>
                <a:gd name="T13" fmla="*/ 32 h 353"/>
                <a:gd name="T14" fmla="*/ 192 w 289"/>
                <a:gd name="T15" fmla="*/ 0 h 353"/>
                <a:gd name="T16" fmla="*/ 184 w 289"/>
                <a:gd name="T17" fmla="*/ 32 h 353"/>
                <a:gd name="T18" fmla="*/ 168 w 289"/>
                <a:gd name="T19" fmla="*/ 8 h 353"/>
                <a:gd name="T20" fmla="*/ 152 w 289"/>
                <a:gd name="T21" fmla="*/ 8 h 353"/>
                <a:gd name="T22" fmla="*/ 136 w 289"/>
                <a:gd name="T23" fmla="*/ 32 h 353"/>
                <a:gd name="T24" fmla="*/ 128 w 289"/>
                <a:gd name="T25" fmla="*/ 0 h 353"/>
                <a:gd name="T26" fmla="*/ 120 w 289"/>
                <a:gd name="T27" fmla="*/ 32 h 353"/>
                <a:gd name="T28" fmla="*/ 104 w 289"/>
                <a:gd name="T29" fmla="*/ 8 h 353"/>
                <a:gd name="T30" fmla="*/ 88 w 289"/>
                <a:gd name="T31" fmla="*/ 8 h 353"/>
                <a:gd name="T32" fmla="*/ 72 w 289"/>
                <a:gd name="T33" fmla="*/ 32 h 353"/>
                <a:gd name="T34" fmla="*/ 64 w 289"/>
                <a:gd name="T35" fmla="*/ 0 h 353"/>
                <a:gd name="T36" fmla="*/ 56 w 289"/>
                <a:gd name="T37" fmla="*/ 32 h 353"/>
                <a:gd name="T38" fmla="*/ 0 w 289"/>
                <a:gd name="T39" fmla="*/ 48 h 353"/>
                <a:gd name="T40" fmla="*/ 16 w 289"/>
                <a:gd name="T41" fmla="*/ 353 h 353"/>
                <a:gd name="T42" fmla="*/ 289 w 289"/>
                <a:gd name="T43" fmla="*/ 337 h 353"/>
                <a:gd name="T44" fmla="*/ 273 w 289"/>
                <a:gd name="T45" fmla="*/ 32 h 353"/>
                <a:gd name="T46" fmla="*/ 16 w 289"/>
                <a:gd name="T47" fmla="*/ 289 h 353"/>
                <a:gd name="T48" fmla="*/ 16 w 289"/>
                <a:gd name="T49" fmla="*/ 337 h 353"/>
                <a:gd name="T50" fmla="*/ 88 w 289"/>
                <a:gd name="T51" fmla="*/ 337 h 353"/>
                <a:gd name="T52" fmla="*/ 16 w 289"/>
                <a:gd name="T53" fmla="*/ 48 h 353"/>
                <a:gd name="T54" fmla="*/ 56 w 289"/>
                <a:gd name="T55" fmla="*/ 72 h 353"/>
                <a:gd name="T56" fmla="*/ 72 w 289"/>
                <a:gd name="T57" fmla="*/ 72 h 353"/>
                <a:gd name="T58" fmla="*/ 88 w 289"/>
                <a:gd name="T59" fmla="*/ 48 h 353"/>
                <a:gd name="T60" fmla="*/ 96 w 289"/>
                <a:gd name="T61" fmla="*/ 80 h 353"/>
                <a:gd name="T62" fmla="*/ 104 w 289"/>
                <a:gd name="T63" fmla="*/ 48 h 353"/>
                <a:gd name="T64" fmla="*/ 120 w 289"/>
                <a:gd name="T65" fmla="*/ 72 h 353"/>
                <a:gd name="T66" fmla="*/ 136 w 289"/>
                <a:gd name="T67" fmla="*/ 72 h 353"/>
                <a:gd name="T68" fmla="*/ 152 w 289"/>
                <a:gd name="T69" fmla="*/ 48 h 353"/>
                <a:gd name="T70" fmla="*/ 160 w 289"/>
                <a:gd name="T71" fmla="*/ 80 h 353"/>
                <a:gd name="T72" fmla="*/ 168 w 289"/>
                <a:gd name="T73" fmla="*/ 48 h 353"/>
                <a:gd name="T74" fmla="*/ 184 w 289"/>
                <a:gd name="T75" fmla="*/ 72 h 353"/>
                <a:gd name="T76" fmla="*/ 200 w 289"/>
                <a:gd name="T77" fmla="*/ 72 h 353"/>
                <a:gd name="T78" fmla="*/ 216 w 289"/>
                <a:gd name="T79" fmla="*/ 48 h 353"/>
                <a:gd name="T80" fmla="*/ 224 w 289"/>
                <a:gd name="T81" fmla="*/ 80 h 353"/>
                <a:gd name="T82" fmla="*/ 232 w 289"/>
                <a:gd name="T83" fmla="*/ 48 h 353"/>
                <a:gd name="T84" fmla="*/ 273 w 289"/>
                <a:gd name="T85" fmla="*/ 337 h 353"/>
                <a:gd name="T86" fmla="*/ 48 w 289"/>
                <a:gd name="T87" fmla="*/ 193 h 353"/>
                <a:gd name="T88" fmla="*/ 249 w 289"/>
                <a:gd name="T89" fmla="*/ 185 h 353"/>
                <a:gd name="T90" fmla="*/ 48 w 289"/>
                <a:gd name="T91" fmla="*/ 177 h 353"/>
                <a:gd name="T92" fmla="*/ 192 w 289"/>
                <a:gd name="T93" fmla="*/ 225 h 353"/>
                <a:gd name="T94" fmla="*/ 40 w 289"/>
                <a:gd name="T95" fmla="*/ 233 h 353"/>
                <a:gd name="T96" fmla="*/ 192 w 289"/>
                <a:gd name="T97" fmla="*/ 241 h 353"/>
                <a:gd name="T98" fmla="*/ 192 w 289"/>
                <a:gd name="T99" fmla="*/ 22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9" h="353">
                  <a:moveTo>
                    <a:pt x="48" y="145"/>
                  </a:moveTo>
                  <a:cubicBezTo>
                    <a:pt x="144" y="145"/>
                    <a:pt x="144" y="145"/>
                    <a:pt x="144" y="145"/>
                  </a:cubicBezTo>
                  <a:cubicBezTo>
                    <a:pt x="149" y="145"/>
                    <a:pt x="152" y="141"/>
                    <a:pt x="152" y="137"/>
                  </a:cubicBezTo>
                  <a:cubicBezTo>
                    <a:pt x="152" y="132"/>
                    <a:pt x="149" y="129"/>
                    <a:pt x="144" y="129"/>
                  </a:cubicBezTo>
                  <a:cubicBezTo>
                    <a:pt x="48" y="129"/>
                    <a:pt x="48" y="129"/>
                    <a:pt x="48" y="129"/>
                  </a:cubicBezTo>
                  <a:cubicBezTo>
                    <a:pt x="43" y="129"/>
                    <a:pt x="40" y="132"/>
                    <a:pt x="40" y="137"/>
                  </a:cubicBezTo>
                  <a:cubicBezTo>
                    <a:pt x="40" y="141"/>
                    <a:pt x="43" y="145"/>
                    <a:pt x="48" y="145"/>
                  </a:cubicBezTo>
                  <a:moveTo>
                    <a:pt x="273" y="32"/>
                  </a:moveTo>
                  <a:cubicBezTo>
                    <a:pt x="232" y="32"/>
                    <a:pt x="232" y="32"/>
                    <a:pt x="232" y="32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4"/>
                    <a:pt x="229" y="0"/>
                    <a:pt x="224" y="0"/>
                  </a:cubicBezTo>
                  <a:cubicBezTo>
                    <a:pt x="220" y="0"/>
                    <a:pt x="216" y="4"/>
                    <a:pt x="216" y="8"/>
                  </a:cubicBezTo>
                  <a:cubicBezTo>
                    <a:pt x="216" y="32"/>
                    <a:pt x="216" y="32"/>
                    <a:pt x="216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8"/>
                    <a:pt x="200" y="8"/>
                    <a:pt x="200" y="8"/>
                  </a:cubicBezTo>
                  <a:cubicBezTo>
                    <a:pt x="200" y="4"/>
                    <a:pt x="197" y="0"/>
                    <a:pt x="192" y="0"/>
                  </a:cubicBezTo>
                  <a:cubicBezTo>
                    <a:pt x="188" y="0"/>
                    <a:pt x="184" y="4"/>
                    <a:pt x="184" y="8"/>
                  </a:cubicBezTo>
                  <a:cubicBezTo>
                    <a:pt x="184" y="32"/>
                    <a:pt x="184" y="32"/>
                    <a:pt x="184" y="32"/>
                  </a:cubicBezTo>
                  <a:cubicBezTo>
                    <a:pt x="168" y="32"/>
                    <a:pt x="168" y="32"/>
                    <a:pt x="168" y="32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4"/>
                    <a:pt x="165" y="0"/>
                    <a:pt x="160" y="0"/>
                  </a:cubicBezTo>
                  <a:cubicBezTo>
                    <a:pt x="156" y="0"/>
                    <a:pt x="152" y="4"/>
                    <a:pt x="152" y="8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6" y="4"/>
                    <a:pt x="133" y="0"/>
                    <a:pt x="128" y="0"/>
                  </a:cubicBezTo>
                  <a:cubicBezTo>
                    <a:pt x="124" y="0"/>
                    <a:pt x="120" y="4"/>
                    <a:pt x="120" y="8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04" y="32"/>
                    <a:pt x="104" y="32"/>
                    <a:pt x="104" y="32"/>
                  </a:cubicBezTo>
                  <a:cubicBezTo>
                    <a:pt x="104" y="8"/>
                    <a:pt x="104" y="8"/>
                    <a:pt x="104" y="8"/>
                  </a:cubicBezTo>
                  <a:cubicBezTo>
                    <a:pt x="104" y="4"/>
                    <a:pt x="100" y="0"/>
                    <a:pt x="96" y="0"/>
                  </a:cubicBezTo>
                  <a:cubicBezTo>
                    <a:pt x="92" y="0"/>
                    <a:pt x="88" y="4"/>
                    <a:pt x="88" y="8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4"/>
                    <a:pt x="68" y="0"/>
                    <a:pt x="64" y="0"/>
                  </a:cubicBezTo>
                  <a:cubicBezTo>
                    <a:pt x="59" y="0"/>
                    <a:pt x="56" y="4"/>
                    <a:pt x="56" y="8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7" y="32"/>
                    <a:pt x="0" y="39"/>
                    <a:pt x="0" y="48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0" y="346"/>
                    <a:pt x="7" y="353"/>
                    <a:pt x="16" y="353"/>
                  </a:cubicBezTo>
                  <a:cubicBezTo>
                    <a:pt x="273" y="353"/>
                    <a:pt x="273" y="353"/>
                    <a:pt x="273" y="353"/>
                  </a:cubicBezTo>
                  <a:cubicBezTo>
                    <a:pt x="281" y="353"/>
                    <a:pt x="289" y="346"/>
                    <a:pt x="289" y="337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289" y="39"/>
                    <a:pt x="281" y="32"/>
                    <a:pt x="273" y="32"/>
                  </a:cubicBezTo>
                  <a:moveTo>
                    <a:pt x="16" y="337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64" y="337"/>
                    <a:pt x="64" y="337"/>
                    <a:pt x="64" y="337"/>
                  </a:cubicBezTo>
                  <a:lnTo>
                    <a:pt x="16" y="337"/>
                  </a:lnTo>
                  <a:close/>
                  <a:moveTo>
                    <a:pt x="273" y="337"/>
                  </a:moveTo>
                  <a:cubicBezTo>
                    <a:pt x="88" y="337"/>
                    <a:pt x="88" y="337"/>
                    <a:pt x="88" y="337"/>
                  </a:cubicBezTo>
                  <a:cubicBezTo>
                    <a:pt x="16" y="265"/>
                    <a:pt x="16" y="265"/>
                    <a:pt x="16" y="265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56" y="77"/>
                    <a:pt x="59" y="80"/>
                    <a:pt x="64" y="80"/>
                  </a:cubicBezTo>
                  <a:cubicBezTo>
                    <a:pt x="68" y="80"/>
                    <a:pt x="72" y="77"/>
                    <a:pt x="72" y="72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72"/>
                    <a:pt x="88" y="72"/>
                    <a:pt x="88" y="72"/>
                  </a:cubicBezTo>
                  <a:cubicBezTo>
                    <a:pt x="88" y="77"/>
                    <a:pt x="92" y="80"/>
                    <a:pt x="96" y="80"/>
                  </a:cubicBezTo>
                  <a:cubicBezTo>
                    <a:pt x="100" y="80"/>
                    <a:pt x="104" y="77"/>
                    <a:pt x="104" y="72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72"/>
                    <a:pt x="120" y="72"/>
                    <a:pt x="120" y="72"/>
                  </a:cubicBezTo>
                  <a:cubicBezTo>
                    <a:pt x="120" y="77"/>
                    <a:pt x="124" y="80"/>
                    <a:pt x="128" y="80"/>
                  </a:cubicBezTo>
                  <a:cubicBezTo>
                    <a:pt x="133" y="80"/>
                    <a:pt x="136" y="77"/>
                    <a:pt x="136" y="72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72"/>
                    <a:pt x="152" y="72"/>
                    <a:pt x="152" y="72"/>
                  </a:cubicBezTo>
                  <a:cubicBezTo>
                    <a:pt x="152" y="77"/>
                    <a:pt x="156" y="80"/>
                    <a:pt x="160" y="80"/>
                  </a:cubicBezTo>
                  <a:cubicBezTo>
                    <a:pt x="165" y="80"/>
                    <a:pt x="168" y="77"/>
                    <a:pt x="168" y="72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84" y="48"/>
                    <a:pt x="184" y="48"/>
                    <a:pt x="184" y="48"/>
                  </a:cubicBezTo>
                  <a:cubicBezTo>
                    <a:pt x="184" y="72"/>
                    <a:pt x="184" y="72"/>
                    <a:pt x="184" y="72"/>
                  </a:cubicBezTo>
                  <a:cubicBezTo>
                    <a:pt x="184" y="77"/>
                    <a:pt x="188" y="80"/>
                    <a:pt x="192" y="80"/>
                  </a:cubicBezTo>
                  <a:cubicBezTo>
                    <a:pt x="197" y="80"/>
                    <a:pt x="200" y="77"/>
                    <a:pt x="200" y="72"/>
                  </a:cubicBezTo>
                  <a:cubicBezTo>
                    <a:pt x="200" y="48"/>
                    <a:pt x="200" y="48"/>
                    <a:pt x="200" y="48"/>
                  </a:cubicBezTo>
                  <a:cubicBezTo>
                    <a:pt x="216" y="48"/>
                    <a:pt x="216" y="48"/>
                    <a:pt x="216" y="48"/>
                  </a:cubicBezTo>
                  <a:cubicBezTo>
                    <a:pt x="216" y="72"/>
                    <a:pt x="216" y="72"/>
                    <a:pt x="216" y="72"/>
                  </a:cubicBezTo>
                  <a:cubicBezTo>
                    <a:pt x="216" y="77"/>
                    <a:pt x="220" y="80"/>
                    <a:pt x="224" y="80"/>
                  </a:cubicBezTo>
                  <a:cubicBezTo>
                    <a:pt x="229" y="80"/>
                    <a:pt x="232" y="77"/>
                    <a:pt x="232" y="72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73" y="48"/>
                    <a:pt x="273" y="48"/>
                    <a:pt x="273" y="48"/>
                  </a:cubicBezTo>
                  <a:lnTo>
                    <a:pt x="273" y="337"/>
                  </a:lnTo>
                  <a:close/>
                  <a:moveTo>
                    <a:pt x="40" y="185"/>
                  </a:moveTo>
                  <a:cubicBezTo>
                    <a:pt x="40" y="189"/>
                    <a:pt x="43" y="193"/>
                    <a:pt x="48" y="193"/>
                  </a:cubicBezTo>
                  <a:cubicBezTo>
                    <a:pt x="241" y="193"/>
                    <a:pt x="241" y="193"/>
                    <a:pt x="241" y="193"/>
                  </a:cubicBezTo>
                  <a:cubicBezTo>
                    <a:pt x="245" y="193"/>
                    <a:pt x="249" y="189"/>
                    <a:pt x="249" y="185"/>
                  </a:cubicBezTo>
                  <a:cubicBezTo>
                    <a:pt x="249" y="180"/>
                    <a:pt x="245" y="177"/>
                    <a:pt x="241" y="177"/>
                  </a:cubicBezTo>
                  <a:cubicBezTo>
                    <a:pt x="48" y="177"/>
                    <a:pt x="48" y="177"/>
                    <a:pt x="48" y="177"/>
                  </a:cubicBezTo>
                  <a:cubicBezTo>
                    <a:pt x="43" y="177"/>
                    <a:pt x="40" y="180"/>
                    <a:pt x="40" y="185"/>
                  </a:cubicBezTo>
                  <a:moveTo>
                    <a:pt x="192" y="225"/>
                  </a:moveTo>
                  <a:cubicBezTo>
                    <a:pt x="48" y="225"/>
                    <a:pt x="48" y="225"/>
                    <a:pt x="48" y="225"/>
                  </a:cubicBezTo>
                  <a:cubicBezTo>
                    <a:pt x="43" y="225"/>
                    <a:pt x="40" y="228"/>
                    <a:pt x="40" y="233"/>
                  </a:cubicBezTo>
                  <a:cubicBezTo>
                    <a:pt x="40" y="237"/>
                    <a:pt x="43" y="241"/>
                    <a:pt x="48" y="241"/>
                  </a:cubicBezTo>
                  <a:cubicBezTo>
                    <a:pt x="192" y="241"/>
                    <a:pt x="192" y="241"/>
                    <a:pt x="192" y="241"/>
                  </a:cubicBezTo>
                  <a:cubicBezTo>
                    <a:pt x="197" y="241"/>
                    <a:pt x="200" y="237"/>
                    <a:pt x="200" y="233"/>
                  </a:cubicBezTo>
                  <a:cubicBezTo>
                    <a:pt x="200" y="228"/>
                    <a:pt x="197" y="225"/>
                    <a:pt x="192" y="22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2713955" y="3473705"/>
              <a:ext cx="301381" cy="275987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7" name="Freeform 110"/>
            <p:cNvSpPr>
              <a:spLocks noEditPoints="1"/>
            </p:cNvSpPr>
            <p:nvPr/>
          </p:nvSpPr>
          <p:spPr bwMode="auto">
            <a:xfrm>
              <a:off x="1927399" y="3345979"/>
              <a:ext cx="300277" cy="246182"/>
            </a:xfrm>
            <a:custGeom>
              <a:avLst/>
              <a:gdLst>
                <a:gd name="T0" fmla="*/ 68 w 353"/>
                <a:gd name="T1" fmla="*/ 173 h 289"/>
                <a:gd name="T2" fmla="*/ 55 w 353"/>
                <a:gd name="T3" fmla="*/ 131 h 289"/>
                <a:gd name="T4" fmla="*/ 55 w 353"/>
                <a:gd name="T5" fmla="*/ 117 h 289"/>
                <a:gd name="T6" fmla="*/ 49 w 353"/>
                <a:gd name="T7" fmla="*/ 75 h 289"/>
                <a:gd name="T8" fmla="*/ 69 w 353"/>
                <a:gd name="T9" fmla="*/ 52 h 289"/>
                <a:gd name="T10" fmla="*/ 98 w 353"/>
                <a:gd name="T11" fmla="*/ 50 h 289"/>
                <a:gd name="T12" fmla="*/ 103 w 353"/>
                <a:gd name="T13" fmla="*/ 35 h 289"/>
                <a:gd name="T14" fmla="*/ 61 w 353"/>
                <a:gd name="T15" fmla="*/ 39 h 289"/>
                <a:gd name="T16" fmla="*/ 40 w 353"/>
                <a:gd name="T17" fmla="*/ 113 h 289"/>
                <a:gd name="T18" fmla="*/ 52 w 353"/>
                <a:gd name="T19" fmla="*/ 173 h 289"/>
                <a:gd name="T20" fmla="*/ 0 w 353"/>
                <a:gd name="T21" fmla="*/ 249 h 289"/>
                <a:gd name="T22" fmla="*/ 43 w 353"/>
                <a:gd name="T23" fmla="*/ 257 h 289"/>
                <a:gd name="T24" fmla="*/ 16 w 353"/>
                <a:gd name="T25" fmla="*/ 241 h 289"/>
                <a:gd name="T26" fmla="*/ 319 w 353"/>
                <a:gd name="T27" fmla="*/ 201 h 289"/>
                <a:gd name="T28" fmla="*/ 311 w 353"/>
                <a:gd name="T29" fmla="*/ 140 h 289"/>
                <a:gd name="T30" fmla="*/ 318 w 353"/>
                <a:gd name="T31" fmla="*/ 69 h 289"/>
                <a:gd name="T32" fmla="*/ 265 w 353"/>
                <a:gd name="T33" fmla="*/ 32 h 289"/>
                <a:gd name="T34" fmla="*/ 253 w 353"/>
                <a:gd name="T35" fmla="*/ 51 h 289"/>
                <a:gd name="T36" fmla="*/ 265 w 353"/>
                <a:gd name="T37" fmla="*/ 48 h 289"/>
                <a:gd name="T38" fmla="*/ 285 w 353"/>
                <a:gd name="T39" fmla="*/ 53 h 289"/>
                <a:gd name="T40" fmla="*/ 298 w 353"/>
                <a:gd name="T41" fmla="*/ 106 h 289"/>
                <a:gd name="T42" fmla="*/ 298 w 353"/>
                <a:gd name="T43" fmla="*/ 131 h 289"/>
                <a:gd name="T44" fmla="*/ 297 w 353"/>
                <a:gd name="T45" fmla="*/ 132 h 289"/>
                <a:gd name="T46" fmla="*/ 314 w 353"/>
                <a:gd name="T47" fmla="*/ 216 h 289"/>
                <a:gd name="T48" fmla="*/ 301 w 353"/>
                <a:gd name="T49" fmla="*/ 241 h 289"/>
                <a:gd name="T50" fmla="*/ 345 w 353"/>
                <a:gd name="T51" fmla="*/ 257 h 289"/>
                <a:gd name="T52" fmla="*/ 319 w 353"/>
                <a:gd name="T53" fmla="*/ 201 h 289"/>
                <a:gd name="T54" fmla="*/ 211 w 353"/>
                <a:gd name="T55" fmla="*/ 181 h 289"/>
                <a:gd name="T56" fmla="*/ 231 w 353"/>
                <a:gd name="T57" fmla="*/ 105 h 289"/>
                <a:gd name="T58" fmla="*/ 209 w 353"/>
                <a:gd name="T59" fmla="*/ 5 h 289"/>
                <a:gd name="T60" fmla="*/ 152 w 353"/>
                <a:gd name="T61" fmla="*/ 9 h 289"/>
                <a:gd name="T62" fmla="*/ 122 w 353"/>
                <a:gd name="T63" fmla="*/ 104 h 289"/>
                <a:gd name="T64" fmla="*/ 141 w 353"/>
                <a:gd name="T65" fmla="*/ 181 h 289"/>
                <a:gd name="T66" fmla="*/ 56 w 353"/>
                <a:gd name="T67" fmla="*/ 281 h 289"/>
                <a:gd name="T68" fmla="*/ 289 w 353"/>
                <a:gd name="T69" fmla="*/ 289 h 289"/>
                <a:gd name="T70" fmla="*/ 240 w 353"/>
                <a:gd name="T71" fmla="*/ 218 h 289"/>
                <a:gd name="T72" fmla="*/ 116 w 353"/>
                <a:gd name="T73" fmla="*/ 234 h 289"/>
                <a:gd name="T74" fmla="*/ 157 w 353"/>
                <a:gd name="T75" fmla="*/ 181 h 289"/>
                <a:gd name="T76" fmla="*/ 137 w 353"/>
                <a:gd name="T77" fmla="*/ 129 h 289"/>
                <a:gd name="T78" fmla="*/ 137 w 353"/>
                <a:gd name="T79" fmla="*/ 97 h 289"/>
                <a:gd name="T80" fmla="*/ 159 w 353"/>
                <a:gd name="T81" fmla="*/ 23 h 289"/>
                <a:gd name="T82" fmla="*/ 186 w 353"/>
                <a:gd name="T83" fmla="*/ 16 h 289"/>
                <a:gd name="T84" fmla="*/ 217 w 353"/>
                <a:gd name="T85" fmla="*/ 44 h 289"/>
                <a:gd name="T86" fmla="*/ 215 w 353"/>
                <a:gd name="T87" fmla="*/ 108 h 289"/>
                <a:gd name="T88" fmla="*/ 213 w 353"/>
                <a:gd name="T89" fmla="*/ 132 h 289"/>
                <a:gd name="T90" fmla="*/ 235 w 353"/>
                <a:gd name="T91" fmla="*/ 234 h 289"/>
                <a:gd name="T92" fmla="*/ 280 w 353"/>
                <a:gd name="T93" fmla="*/ 27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289">
                  <a:moveTo>
                    <a:pt x="38" y="216"/>
                  </a:moveTo>
                  <a:cubicBezTo>
                    <a:pt x="49" y="213"/>
                    <a:pt x="68" y="201"/>
                    <a:pt x="68" y="173"/>
                  </a:cubicBezTo>
                  <a:cubicBezTo>
                    <a:pt x="68" y="148"/>
                    <a:pt x="60" y="138"/>
                    <a:pt x="55" y="132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4" y="130"/>
                    <a:pt x="53" y="126"/>
                    <a:pt x="55" y="117"/>
                  </a:cubicBezTo>
                  <a:cubicBezTo>
                    <a:pt x="56" y="113"/>
                    <a:pt x="56" y="109"/>
                    <a:pt x="54" y="106"/>
                  </a:cubicBezTo>
                  <a:cubicBezTo>
                    <a:pt x="51" y="99"/>
                    <a:pt x="45" y="85"/>
                    <a:pt x="49" y="75"/>
                  </a:cubicBezTo>
                  <a:cubicBezTo>
                    <a:pt x="56" y="58"/>
                    <a:pt x="59" y="57"/>
                    <a:pt x="67" y="53"/>
                  </a:cubicBezTo>
                  <a:cubicBezTo>
                    <a:pt x="68" y="53"/>
                    <a:pt x="69" y="53"/>
                    <a:pt x="69" y="52"/>
                  </a:cubicBezTo>
                  <a:cubicBezTo>
                    <a:pt x="71" y="51"/>
                    <a:pt x="79" y="48"/>
                    <a:pt x="88" y="48"/>
                  </a:cubicBezTo>
                  <a:cubicBezTo>
                    <a:pt x="92" y="48"/>
                    <a:pt x="95" y="49"/>
                    <a:pt x="98" y="50"/>
                  </a:cubicBezTo>
                  <a:cubicBezTo>
                    <a:pt x="98" y="47"/>
                    <a:pt x="99" y="45"/>
                    <a:pt x="100" y="42"/>
                  </a:cubicBezTo>
                  <a:cubicBezTo>
                    <a:pt x="101" y="39"/>
                    <a:pt x="102" y="37"/>
                    <a:pt x="103" y="35"/>
                  </a:cubicBezTo>
                  <a:cubicBezTo>
                    <a:pt x="98" y="33"/>
                    <a:pt x="93" y="32"/>
                    <a:pt x="88" y="32"/>
                  </a:cubicBezTo>
                  <a:cubicBezTo>
                    <a:pt x="76" y="32"/>
                    <a:pt x="65" y="36"/>
                    <a:pt x="61" y="39"/>
                  </a:cubicBezTo>
                  <a:cubicBezTo>
                    <a:pt x="48" y="44"/>
                    <a:pt x="42" y="50"/>
                    <a:pt x="34" y="69"/>
                  </a:cubicBezTo>
                  <a:cubicBezTo>
                    <a:pt x="27" y="86"/>
                    <a:pt x="36" y="104"/>
                    <a:pt x="40" y="113"/>
                  </a:cubicBezTo>
                  <a:cubicBezTo>
                    <a:pt x="35" y="133"/>
                    <a:pt x="42" y="140"/>
                    <a:pt x="42" y="140"/>
                  </a:cubicBezTo>
                  <a:cubicBezTo>
                    <a:pt x="45" y="145"/>
                    <a:pt x="52" y="153"/>
                    <a:pt x="52" y="173"/>
                  </a:cubicBezTo>
                  <a:cubicBezTo>
                    <a:pt x="52" y="197"/>
                    <a:pt x="34" y="201"/>
                    <a:pt x="34" y="201"/>
                  </a:cubicBezTo>
                  <a:cubicBezTo>
                    <a:pt x="19" y="206"/>
                    <a:pt x="0" y="217"/>
                    <a:pt x="0" y="249"/>
                  </a:cubicBezTo>
                  <a:cubicBezTo>
                    <a:pt x="0" y="249"/>
                    <a:pt x="0" y="257"/>
                    <a:pt x="8" y="257"/>
                  </a:cubicBezTo>
                  <a:cubicBezTo>
                    <a:pt x="43" y="257"/>
                    <a:pt x="43" y="257"/>
                    <a:pt x="43" y="257"/>
                  </a:cubicBezTo>
                  <a:cubicBezTo>
                    <a:pt x="45" y="251"/>
                    <a:pt x="48" y="245"/>
                    <a:pt x="51" y="24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9" y="225"/>
                    <a:pt x="28" y="220"/>
                    <a:pt x="38" y="216"/>
                  </a:cubicBezTo>
                  <a:moveTo>
                    <a:pt x="319" y="201"/>
                  </a:moveTo>
                  <a:cubicBezTo>
                    <a:pt x="319" y="201"/>
                    <a:pt x="301" y="197"/>
                    <a:pt x="301" y="173"/>
                  </a:cubicBezTo>
                  <a:cubicBezTo>
                    <a:pt x="301" y="153"/>
                    <a:pt x="307" y="145"/>
                    <a:pt x="311" y="140"/>
                  </a:cubicBezTo>
                  <a:cubicBezTo>
                    <a:pt x="311" y="140"/>
                    <a:pt x="318" y="133"/>
                    <a:pt x="312" y="113"/>
                  </a:cubicBezTo>
                  <a:cubicBezTo>
                    <a:pt x="317" y="104"/>
                    <a:pt x="325" y="86"/>
                    <a:pt x="318" y="69"/>
                  </a:cubicBezTo>
                  <a:cubicBezTo>
                    <a:pt x="310" y="50"/>
                    <a:pt x="304" y="44"/>
                    <a:pt x="292" y="39"/>
                  </a:cubicBezTo>
                  <a:cubicBezTo>
                    <a:pt x="287" y="36"/>
                    <a:pt x="276" y="32"/>
                    <a:pt x="265" y="32"/>
                  </a:cubicBezTo>
                  <a:cubicBezTo>
                    <a:pt x="259" y="32"/>
                    <a:pt x="254" y="33"/>
                    <a:pt x="248" y="35"/>
                  </a:cubicBezTo>
                  <a:cubicBezTo>
                    <a:pt x="250" y="40"/>
                    <a:pt x="252" y="46"/>
                    <a:pt x="253" y="51"/>
                  </a:cubicBezTo>
                  <a:cubicBezTo>
                    <a:pt x="254" y="51"/>
                    <a:pt x="254" y="50"/>
                    <a:pt x="254" y="50"/>
                  </a:cubicBezTo>
                  <a:cubicBezTo>
                    <a:pt x="257" y="49"/>
                    <a:pt x="260" y="48"/>
                    <a:pt x="265" y="48"/>
                  </a:cubicBezTo>
                  <a:cubicBezTo>
                    <a:pt x="273" y="48"/>
                    <a:pt x="281" y="51"/>
                    <a:pt x="283" y="52"/>
                  </a:cubicBezTo>
                  <a:cubicBezTo>
                    <a:pt x="284" y="53"/>
                    <a:pt x="284" y="53"/>
                    <a:pt x="285" y="53"/>
                  </a:cubicBezTo>
                  <a:cubicBezTo>
                    <a:pt x="293" y="57"/>
                    <a:pt x="296" y="58"/>
                    <a:pt x="303" y="75"/>
                  </a:cubicBezTo>
                  <a:cubicBezTo>
                    <a:pt x="307" y="85"/>
                    <a:pt x="301" y="99"/>
                    <a:pt x="298" y="106"/>
                  </a:cubicBezTo>
                  <a:cubicBezTo>
                    <a:pt x="297" y="109"/>
                    <a:pt x="296" y="113"/>
                    <a:pt x="297" y="117"/>
                  </a:cubicBezTo>
                  <a:cubicBezTo>
                    <a:pt x="299" y="126"/>
                    <a:pt x="298" y="130"/>
                    <a:pt x="298" y="131"/>
                  </a:cubicBezTo>
                  <a:cubicBezTo>
                    <a:pt x="298" y="131"/>
                    <a:pt x="298" y="131"/>
                    <a:pt x="298" y="131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3" y="138"/>
                    <a:pt x="285" y="148"/>
                    <a:pt x="285" y="173"/>
                  </a:cubicBezTo>
                  <a:cubicBezTo>
                    <a:pt x="285" y="201"/>
                    <a:pt x="303" y="213"/>
                    <a:pt x="314" y="216"/>
                  </a:cubicBezTo>
                  <a:cubicBezTo>
                    <a:pt x="324" y="220"/>
                    <a:pt x="334" y="225"/>
                    <a:pt x="336" y="241"/>
                  </a:cubicBezTo>
                  <a:cubicBezTo>
                    <a:pt x="301" y="241"/>
                    <a:pt x="301" y="241"/>
                    <a:pt x="301" y="241"/>
                  </a:cubicBezTo>
                  <a:cubicBezTo>
                    <a:pt x="304" y="245"/>
                    <a:pt x="307" y="251"/>
                    <a:pt x="309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53" y="257"/>
                    <a:pt x="353" y="249"/>
                    <a:pt x="353" y="249"/>
                  </a:cubicBezTo>
                  <a:cubicBezTo>
                    <a:pt x="353" y="217"/>
                    <a:pt x="333" y="206"/>
                    <a:pt x="319" y="201"/>
                  </a:cubicBezTo>
                  <a:moveTo>
                    <a:pt x="240" y="218"/>
                  </a:moveTo>
                  <a:cubicBezTo>
                    <a:pt x="240" y="218"/>
                    <a:pt x="211" y="211"/>
                    <a:pt x="211" y="181"/>
                  </a:cubicBezTo>
                  <a:cubicBezTo>
                    <a:pt x="211" y="155"/>
                    <a:pt x="223" y="146"/>
                    <a:pt x="228" y="139"/>
                  </a:cubicBezTo>
                  <a:cubicBezTo>
                    <a:pt x="228" y="139"/>
                    <a:pt x="237" y="131"/>
                    <a:pt x="231" y="105"/>
                  </a:cubicBezTo>
                  <a:cubicBezTo>
                    <a:pt x="241" y="90"/>
                    <a:pt x="245" y="66"/>
                    <a:pt x="232" y="37"/>
                  </a:cubicBezTo>
                  <a:cubicBezTo>
                    <a:pt x="225" y="20"/>
                    <a:pt x="219" y="11"/>
                    <a:pt x="209" y="5"/>
                  </a:cubicBezTo>
                  <a:cubicBezTo>
                    <a:pt x="202" y="1"/>
                    <a:pt x="194" y="0"/>
                    <a:pt x="186" y="0"/>
                  </a:cubicBezTo>
                  <a:cubicBezTo>
                    <a:pt x="172" y="0"/>
                    <a:pt x="158" y="5"/>
                    <a:pt x="152" y="9"/>
                  </a:cubicBezTo>
                  <a:cubicBezTo>
                    <a:pt x="136" y="16"/>
                    <a:pt x="125" y="22"/>
                    <a:pt x="115" y="48"/>
                  </a:cubicBezTo>
                  <a:cubicBezTo>
                    <a:pt x="107" y="69"/>
                    <a:pt x="117" y="92"/>
                    <a:pt x="122" y="104"/>
                  </a:cubicBezTo>
                  <a:cubicBezTo>
                    <a:pt x="116" y="130"/>
                    <a:pt x="125" y="139"/>
                    <a:pt x="125" y="139"/>
                  </a:cubicBezTo>
                  <a:cubicBezTo>
                    <a:pt x="129" y="146"/>
                    <a:pt x="141" y="155"/>
                    <a:pt x="141" y="181"/>
                  </a:cubicBezTo>
                  <a:cubicBezTo>
                    <a:pt x="141" y="211"/>
                    <a:pt x="112" y="218"/>
                    <a:pt x="112" y="218"/>
                  </a:cubicBezTo>
                  <a:cubicBezTo>
                    <a:pt x="94" y="225"/>
                    <a:pt x="56" y="238"/>
                    <a:pt x="56" y="281"/>
                  </a:cubicBezTo>
                  <a:cubicBezTo>
                    <a:pt x="56" y="281"/>
                    <a:pt x="56" y="289"/>
                    <a:pt x="64" y="289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97" y="289"/>
                    <a:pt x="297" y="281"/>
                    <a:pt x="297" y="281"/>
                  </a:cubicBezTo>
                  <a:cubicBezTo>
                    <a:pt x="297" y="238"/>
                    <a:pt x="258" y="225"/>
                    <a:pt x="240" y="218"/>
                  </a:cubicBezTo>
                  <a:moveTo>
                    <a:pt x="72" y="273"/>
                  </a:moveTo>
                  <a:cubicBezTo>
                    <a:pt x="76" y="250"/>
                    <a:pt x="96" y="241"/>
                    <a:pt x="116" y="234"/>
                  </a:cubicBezTo>
                  <a:cubicBezTo>
                    <a:pt x="117" y="234"/>
                    <a:pt x="117" y="234"/>
                    <a:pt x="117" y="234"/>
                  </a:cubicBezTo>
                  <a:cubicBezTo>
                    <a:pt x="131" y="230"/>
                    <a:pt x="157" y="214"/>
                    <a:pt x="157" y="181"/>
                  </a:cubicBezTo>
                  <a:cubicBezTo>
                    <a:pt x="157" y="153"/>
                    <a:pt x="146" y="140"/>
                    <a:pt x="140" y="132"/>
                  </a:cubicBezTo>
                  <a:cubicBezTo>
                    <a:pt x="138" y="131"/>
                    <a:pt x="137" y="129"/>
                    <a:pt x="137" y="129"/>
                  </a:cubicBezTo>
                  <a:cubicBezTo>
                    <a:pt x="137" y="128"/>
                    <a:pt x="134" y="122"/>
                    <a:pt x="138" y="107"/>
                  </a:cubicBezTo>
                  <a:cubicBezTo>
                    <a:pt x="139" y="100"/>
                    <a:pt x="137" y="97"/>
                    <a:pt x="137" y="97"/>
                  </a:cubicBezTo>
                  <a:cubicBezTo>
                    <a:pt x="132" y="87"/>
                    <a:pt x="124" y="69"/>
                    <a:pt x="130" y="54"/>
                  </a:cubicBezTo>
                  <a:cubicBezTo>
                    <a:pt x="138" y="33"/>
                    <a:pt x="146" y="29"/>
                    <a:pt x="159" y="23"/>
                  </a:cubicBezTo>
                  <a:cubicBezTo>
                    <a:pt x="160" y="23"/>
                    <a:pt x="160" y="22"/>
                    <a:pt x="161" y="22"/>
                  </a:cubicBezTo>
                  <a:cubicBezTo>
                    <a:pt x="164" y="20"/>
                    <a:pt x="174" y="16"/>
                    <a:pt x="186" y="16"/>
                  </a:cubicBezTo>
                  <a:cubicBezTo>
                    <a:pt x="192" y="16"/>
                    <a:pt x="197" y="17"/>
                    <a:pt x="201" y="19"/>
                  </a:cubicBezTo>
                  <a:cubicBezTo>
                    <a:pt x="206" y="22"/>
                    <a:pt x="210" y="27"/>
                    <a:pt x="217" y="44"/>
                  </a:cubicBezTo>
                  <a:cubicBezTo>
                    <a:pt x="230" y="73"/>
                    <a:pt x="222" y="89"/>
                    <a:pt x="218" y="95"/>
                  </a:cubicBezTo>
                  <a:cubicBezTo>
                    <a:pt x="215" y="99"/>
                    <a:pt x="214" y="104"/>
                    <a:pt x="215" y="108"/>
                  </a:cubicBezTo>
                  <a:cubicBezTo>
                    <a:pt x="218" y="122"/>
                    <a:pt x="216" y="127"/>
                    <a:pt x="216" y="129"/>
                  </a:cubicBezTo>
                  <a:cubicBezTo>
                    <a:pt x="216" y="129"/>
                    <a:pt x="214" y="131"/>
                    <a:pt x="213" y="132"/>
                  </a:cubicBezTo>
                  <a:cubicBezTo>
                    <a:pt x="207" y="140"/>
                    <a:pt x="195" y="153"/>
                    <a:pt x="195" y="181"/>
                  </a:cubicBezTo>
                  <a:cubicBezTo>
                    <a:pt x="195" y="214"/>
                    <a:pt x="221" y="230"/>
                    <a:pt x="235" y="234"/>
                  </a:cubicBezTo>
                  <a:cubicBezTo>
                    <a:pt x="236" y="234"/>
                    <a:pt x="236" y="234"/>
                    <a:pt x="236" y="234"/>
                  </a:cubicBezTo>
                  <a:cubicBezTo>
                    <a:pt x="256" y="241"/>
                    <a:pt x="276" y="250"/>
                    <a:pt x="280" y="273"/>
                  </a:cubicBezTo>
                  <a:lnTo>
                    <a:pt x="72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529973" y="2612630"/>
              <a:ext cx="109765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ronograma</a:t>
              </a:r>
              <a:endParaRPr lang="en-US" sz="8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529973" y="3103178"/>
              <a:ext cx="109765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liente</a:t>
              </a:r>
              <a:endParaRPr lang="en-US" sz="8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58610" y="3880242"/>
              <a:ext cx="109765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tratos</a:t>
              </a:r>
              <a:endParaRPr lang="en-US" sz="8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315818" y="3880242"/>
              <a:ext cx="109765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Redes </a:t>
              </a:r>
              <a:r>
                <a:rPr lang="en-US" sz="8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ciais</a:t>
              </a:r>
              <a:endParaRPr lang="en-US" sz="8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282068" y="1501145"/>
            <a:ext cx="4255487" cy="924767"/>
            <a:chOff x="4282068" y="1501145"/>
            <a:chExt cx="4255487" cy="924767"/>
          </a:xfrm>
        </p:grpSpPr>
        <p:sp>
          <p:nvSpPr>
            <p:cNvPr id="60" name="TextBox 59"/>
            <p:cNvSpPr txBox="1"/>
            <p:nvPr/>
          </p:nvSpPr>
          <p:spPr>
            <a:xfrm>
              <a:off x="4282068" y="1802472"/>
              <a:ext cx="4255487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haret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vestibulum dui. 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uscip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282068" y="1501145"/>
              <a:ext cx="4255487" cy="2207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Nosso</a:t>
              </a:r>
              <a:r>
                <a:rPr lang="en-US" sz="1200" b="1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 </a:t>
              </a: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negócio</a:t>
              </a:r>
              <a:endParaRPr lang="en-US" sz="1200" b="1" cap="all" spc="20" dirty="0">
                <a:solidFill>
                  <a:srgbClr val="EC0000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208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FOGRÁFICO </a:t>
            </a:r>
            <a:r>
              <a:rPr lang="en-US" dirty="0">
                <a:solidFill>
                  <a:srgbClr val="EC0000"/>
                </a:solidFill>
              </a:rPr>
              <a:t>PIRÂMIDE 3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3196684" y="1543049"/>
            <a:ext cx="2750633" cy="2743478"/>
            <a:chOff x="3196684" y="1543049"/>
            <a:chExt cx="2750633" cy="2743478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3520633" y="2813779"/>
              <a:ext cx="2096864" cy="823481"/>
            </a:xfrm>
            <a:custGeom>
              <a:avLst/>
              <a:gdLst>
                <a:gd name="T0" fmla="*/ 0 w 3929"/>
                <a:gd name="T1" fmla="*/ 335 h 1543"/>
                <a:gd name="T2" fmla="*/ 693 w 3929"/>
                <a:gd name="T3" fmla="*/ 0 h 1543"/>
                <a:gd name="T4" fmla="*/ 1958 w 3929"/>
                <a:gd name="T5" fmla="*/ 724 h 1543"/>
                <a:gd name="T6" fmla="*/ 3326 w 3929"/>
                <a:gd name="T7" fmla="*/ 43 h 1543"/>
                <a:gd name="T8" fmla="*/ 3929 w 3929"/>
                <a:gd name="T9" fmla="*/ 335 h 1543"/>
                <a:gd name="T10" fmla="*/ 1958 w 3929"/>
                <a:gd name="T11" fmla="*/ 1543 h 1543"/>
                <a:gd name="T12" fmla="*/ 0 w 3929"/>
                <a:gd name="T13" fmla="*/ 335 h 1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29" h="1543">
                  <a:moveTo>
                    <a:pt x="0" y="335"/>
                  </a:moveTo>
                  <a:lnTo>
                    <a:pt x="693" y="0"/>
                  </a:lnTo>
                  <a:lnTo>
                    <a:pt x="1958" y="724"/>
                  </a:lnTo>
                  <a:lnTo>
                    <a:pt x="3326" y="43"/>
                  </a:lnTo>
                  <a:lnTo>
                    <a:pt x="3929" y="335"/>
                  </a:lnTo>
                  <a:lnTo>
                    <a:pt x="1958" y="1543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196684" y="2989131"/>
              <a:ext cx="1368912" cy="1297396"/>
            </a:xfrm>
            <a:custGeom>
              <a:avLst/>
              <a:gdLst>
                <a:gd name="T0" fmla="*/ 0 w 2565"/>
                <a:gd name="T1" fmla="*/ 650 h 2431"/>
                <a:gd name="T2" fmla="*/ 607 w 2565"/>
                <a:gd name="T3" fmla="*/ 0 h 2431"/>
                <a:gd name="T4" fmla="*/ 2565 w 2565"/>
                <a:gd name="T5" fmla="*/ 1208 h 2431"/>
                <a:gd name="T6" fmla="*/ 2565 w 2565"/>
                <a:gd name="T7" fmla="*/ 2431 h 2431"/>
                <a:gd name="T8" fmla="*/ 0 w 2565"/>
                <a:gd name="T9" fmla="*/ 650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65" h="2431">
                  <a:moveTo>
                    <a:pt x="0" y="650"/>
                  </a:moveTo>
                  <a:lnTo>
                    <a:pt x="607" y="0"/>
                  </a:lnTo>
                  <a:lnTo>
                    <a:pt x="2565" y="1208"/>
                  </a:lnTo>
                  <a:lnTo>
                    <a:pt x="2565" y="2431"/>
                  </a:lnTo>
                  <a:lnTo>
                    <a:pt x="0" y="65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4565596" y="2989131"/>
              <a:ext cx="1381721" cy="1297396"/>
            </a:xfrm>
            <a:custGeom>
              <a:avLst/>
              <a:gdLst>
                <a:gd name="T0" fmla="*/ 0 w 2589"/>
                <a:gd name="T1" fmla="*/ 1208 h 2431"/>
                <a:gd name="T2" fmla="*/ 1971 w 2589"/>
                <a:gd name="T3" fmla="*/ 0 h 2431"/>
                <a:gd name="T4" fmla="*/ 2589 w 2589"/>
                <a:gd name="T5" fmla="*/ 645 h 2431"/>
                <a:gd name="T6" fmla="*/ 0 w 2589"/>
                <a:gd name="T7" fmla="*/ 2431 h 2431"/>
                <a:gd name="T8" fmla="*/ 0 w 2589"/>
                <a:gd name="T9" fmla="*/ 1208 h 2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9" h="2431">
                  <a:moveTo>
                    <a:pt x="0" y="1208"/>
                  </a:moveTo>
                  <a:lnTo>
                    <a:pt x="1971" y="0"/>
                  </a:lnTo>
                  <a:lnTo>
                    <a:pt x="2589" y="645"/>
                  </a:lnTo>
                  <a:lnTo>
                    <a:pt x="0" y="2431"/>
                  </a:lnTo>
                  <a:lnTo>
                    <a:pt x="0" y="1208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3852054" y="2457791"/>
              <a:ext cx="1434556" cy="461640"/>
            </a:xfrm>
            <a:custGeom>
              <a:avLst/>
              <a:gdLst>
                <a:gd name="T0" fmla="*/ 0 w 2688"/>
                <a:gd name="T1" fmla="*/ 149 h 865"/>
                <a:gd name="T2" fmla="*/ 275 w 2688"/>
                <a:gd name="T3" fmla="*/ 21 h 865"/>
                <a:gd name="T4" fmla="*/ 1337 w 2688"/>
                <a:gd name="T5" fmla="*/ 482 h 865"/>
                <a:gd name="T6" fmla="*/ 2369 w 2688"/>
                <a:gd name="T7" fmla="*/ 0 h 865"/>
                <a:gd name="T8" fmla="*/ 2688 w 2688"/>
                <a:gd name="T9" fmla="*/ 149 h 865"/>
                <a:gd name="T10" fmla="*/ 1337 w 2688"/>
                <a:gd name="T11" fmla="*/ 865 h 865"/>
                <a:gd name="T12" fmla="*/ 0 w 2688"/>
                <a:gd name="T13" fmla="*/ 149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8" h="865">
                  <a:moveTo>
                    <a:pt x="0" y="149"/>
                  </a:moveTo>
                  <a:lnTo>
                    <a:pt x="275" y="21"/>
                  </a:lnTo>
                  <a:lnTo>
                    <a:pt x="1337" y="482"/>
                  </a:lnTo>
                  <a:lnTo>
                    <a:pt x="2369" y="0"/>
                  </a:lnTo>
                  <a:lnTo>
                    <a:pt x="2688" y="149"/>
                  </a:lnTo>
                  <a:lnTo>
                    <a:pt x="1337" y="865"/>
                  </a:lnTo>
                  <a:lnTo>
                    <a:pt x="0" y="149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3513161" y="2533593"/>
              <a:ext cx="1052435" cy="999598"/>
            </a:xfrm>
            <a:custGeom>
              <a:avLst/>
              <a:gdLst>
                <a:gd name="T0" fmla="*/ 0 w 1972"/>
                <a:gd name="T1" fmla="*/ 676 h 1873"/>
                <a:gd name="T2" fmla="*/ 1972 w 1972"/>
                <a:gd name="T3" fmla="*/ 1873 h 1873"/>
                <a:gd name="T4" fmla="*/ 1972 w 1972"/>
                <a:gd name="T5" fmla="*/ 716 h 1873"/>
                <a:gd name="T6" fmla="*/ 635 w 1972"/>
                <a:gd name="T7" fmla="*/ 0 h 1873"/>
                <a:gd name="T8" fmla="*/ 0 w 1972"/>
                <a:gd name="T9" fmla="*/ 676 h 1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2" h="1873">
                  <a:moveTo>
                    <a:pt x="0" y="676"/>
                  </a:moveTo>
                  <a:lnTo>
                    <a:pt x="1972" y="1873"/>
                  </a:lnTo>
                  <a:lnTo>
                    <a:pt x="1972" y="716"/>
                  </a:lnTo>
                  <a:lnTo>
                    <a:pt x="635" y="0"/>
                  </a:lnTo>
                  <a:lnTo>
                    <a:pt x="0" y="676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4565596" y="2533593"/>
              <a:ext cx="1062041" cy="999598"/>
            </a:xfrm>
            <a:custGeom>
              <a:avLst/>
              <a:gdLst>
                <a:gd name="T0" fmla="*/ 0 w 1990"/>
                <a:gd name="T1" fmla="*/ 1873 h 1873"/>
                <a:gd name="T2" fmla="*/ 0 w 1990"/>
                <a:gd name="T3" fmla="*/ 716 h 1873"/>
                <a:gd name="T4" fmla="*/ 1351 w 1990"/>
                <a:gd name="T5" fmla="*/ 0 h 1873"/>
                <a:gd name="T6" fmla="*/ 1990 w 1990"/>
                <a:gd name="T7" fmla="*/ 676 h 1873"/>
                <a:gd name="T8" fmla="*/ 0 w 1990"/>
                <a:gd name="T9" fmla="*/ 1873 h 1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90" h="1873">
                  <a:moveTo>
                    <a:pt x="0" y="1873"/>
                  </a:moveTo>
                  <a:lnTo>
                    <a:pt x="0" y="716"/>
                  </a:lnTo>
                  <a:lnTo>
                    <a:pt x="1351" y="0"/>
                  </a:lnTo>
                  <a:lnTo>
                    <a:pt x="1990" y="676"/>
                  </a:lnTo>
                  <a:lnTo>
                    <a:pt x="0" y="187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3849385" y="2051120"/>
              <a:ext cx="719947" cy="755169"/>
            </a:xfrm>
            <a:custGeom>
              <a:avLst/>
              <a:gdLst>
                <a:gd name="T0" fmla="*/ 0 w 1349"/>
                <a:gd name="T1" fmla="*/ 717 h 1415"/>
                <a:gd name="T2" fmla="*/ 1342 w 1349"/>
                <a:gd name="T3" fmla="*/ 1415 h 1415"/>
                <a:gd name="T4" fmla="*/ 1349 w 1349"/>
                <a:gd name="T5" fmla="*/ 312 h 1415"/>
                <a:gd name="T6" fmla="*/ 661 w 1349"/>
                <a:gd name="T7" fmla="*/ 0 h 1415"/>
                <a:gd name="T8" fmla="*/ 0 w 1349"/>
                <a:gd name="T9" fmla="*/ 717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49" h="1415">
                  <a:moveTo>
                    <a:pt x="0" y="717"/>
                  </a:moveTo>
                  <a:lnTo>
                    <a:pt x="1342" y="1415"/>
                  </a:lnTo>
                  <a:lnTo>
                    <a:pt x="1349" y="312"/>
                  </a:lnTo>
                  <a:lnTo>
                    <a:pt x="661" y="0"/>
                  </a:lnTo>
                  <a:lnTo>
                    <a:pt x="0" y="717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4565596" y="2051120"/>
              <a:ext cx="725817" cy="755169"/>
            </a:xfrm>
            <a:custGeom>
              <a:avLst/>
              <a:gdLst>
                <a:gd name="T0" fmla="*/ 7 w 1360"/>
                <a:gd name="T1" fmla="*/ 312 h 1415"/>
                <a:gd name="T2" fmla="*/ 697 w 1360"/>
                <a:gd name="T3" fmla="*/ 0 h 1415"/>
                <a:gd name="T4" fmla="*/ 1360 w 1360"/>
                <a:gd name="T5" fmla="*/ 707 h 1415"/>
                <a:gd name="T6" fmla="*/ 0 w 1360"/>
                <a:gd name="T7" fmla="*/ 1415 h 1415"/>
                <a:gd name="T8" fmla="*/ 7 w 1360"/>
                <a:gd name="T9" fmla="*/ 312 h 1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0" h="1415">
                  <a:moveTo>
                    <a:pt x="7" y="312"/>
                  </a:moveTo>
                  <a:lnTo>
                    <a:pt x="697" y="0"/>
                  </a:lnTo>
                  <a:lnTo>
                    <a:pt x="1360" y="707"/>
                  </a:lnTo>
                  <a:lnTo>
                    <a:pt x="0" y="1415"/>
                  </a:lnTo>
                  <a:lnTo>
                    <a:pt x="7" y="31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4202154" y="1988145"/>
              <a:ext cx="735423" cy="229486"/>
            </a:xfrm>
            <a:custGeom>
              <a:avLst/>
              <a:gdLst>
                <a:gd name="T0" fmla="*/ 0 w 1378"/>
                <a:gd name="T1" fmla="*/ 118 h 430"/>
                <a:gd name="T2" fmla="*/ 284 w 1378"/>
                <a:gd name="T3" fmla="*/ 0 h 430"/>
                <a:gd name="T4" fmla="*/ 688 w 1378"/>
                <a:gd name="T5" fmla="*/ 118 h 430"/>
                <a:gd name="T6" fmla="*/ 1073 w 1378"/>
                <a:gd name="T7" fmla="*/ 0 h 430"/>
                <a:gd name="T8" fmla="*/ 1378 w 1378"/>
                <a:gd name="T9" fmla="*/ 118 h 430"/>
                <a:gd name="T10" fmla="*/ 688 w 1378"/>
                <a:gd name="T11" fmla="*/ 430 h 430"/>
                <a:gd name="T12" fmla="*/ 0 w 1378"/>
                <a:gd name="T13" fmla="*/ 118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8" h="430">
                  <a:moveTo>
                    <a:pt x="0" y="118"/>
                  </a:moveTo>
                  <a:lnTo>
                    <a:pt x="284" y="0"/>
                  </a:lnTo>
                  <a:lnTo>
                    <a:pt x="688" y="118"/>
                  </a:lnTo>
                  <a:lnTo>
                    <a:pt x="1073" y="0"/>
                  </a:lnTo>
                  <a:lnTo>
                    <a:pt x="1378" y="118"/>
                  </a:lnTo>
                  <a:lnTo>
                    <a:pt x="688" y="430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4201620" y="1543049"/>
              <a:ext cx="367712" cy="558772"/>
            </a:xfrm>
            <a:custGeom>
              <a:avLst/>
              <a:gdLst>
                <a:gd name="T0" fmla="*/ 0 w 689"/>
                <a:gd name="T1" fmla="*/ 747 h 1047"/>
                <a:gd name="T2" fmla="*/ 689 w 689"/>
                <a:gd name="T3" fmla="*/ 0 h 1047"/>
                <a:gd name="T4" fmla="*/ 689 w 689"/>
                <a:gd name="T5" fmla="*/ 1047 h 1047"/>
                <a:gd name="T6" fmla="*/ 0 w 689"/>
                <a:gd name="T7" fmla="*/ 747 h 1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89" h="1047">
                  <a:moveTo>
                    <a:pt x="0" y="747"/>
                  </a:moveTo>
                  <a:lnTo>
                    <a:pt x="689" y="0"/>
                  </a:lnTo>
                  <a:lnTo>
                    <a:pt x="689" y="1047"/>
                  </a:lnTo>
                  <a:lnTo>
                    <a:pt x="0" y="747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4569332" y="1543049"/>
              <a:ext cx="369847" cy="558772"/>
            </a:xfrm>
            <a:custGeom>
              <a:avLst/>
              <a:gdLst>
                <a:gd name="T0" fmla="*/ 0 w 693"/>
                <a:gd name="T1" fmla="*/ 0 h 1047"/>
                <a:gd name="T2" fmla="*/ 693 w 693"/>
                <a:gd name="T3" fmla="*/ 747 h 1047"/>
                <a:gd name="T4" fmla="*/ 0 w 693"/>
                <a:gd name="T5" fmla="*/ 1047 h 1047"/>
                <a:gd name="T6" fmla="*/ 0 w 693"/>
                <a:gd name="T7" fmla="*/ 0 h 1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3" h="1047">
                  <a:moveTo>
                    <a:pt x="0" y="0"/>
                  </a:moveTo>
                  <a:lnTo>
                    <a:pt x="693" y="747"/>
                  </a:lnTo>
                  <a:lnTo>
                    <a:pt x="0" y="10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265262" y="2555101"/>
            <a:ext cx="1777804" cy="495194"/>
            <a:chOff x="6265262" y="2555101"/>
            <a:chExt cx="1777804" cy="495194"/>
          </a:xfrm>
        </p:grpSpPr>
        <p:sp>
          <p:nvSpPr>
            <p:cNvPr id="29" name="TextBox 28"/>
            <p:cNvSpPr txBox="1"/>
            <p:nvPr/>
          </p:nvSpPr>
          <p:spPr>
            <a:xfrm>
              <a:off x="6265294" y="2555101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riaçã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o tim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265262" y="274694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31" name="Straight Connector 30"/>
          <p:cNvCxnSpPr/>
          <p:nvPr/>
        </p:nvCxnSpPr>
        <p:spPr>
          <a:xfrm>
            <a:off x="5700037" y="2645491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5575202" y="1581083"/>
            <a:ext cx="1777804" cy="495194"/>
            <a:chOff x="5575202" y="1581083"/>
            <a:chExt cx="1777804" cy="495194"/>
          </a:xfrm>
        </p:grpSpPr>
        <p:sp>
          <p:nvSpPr>
            <p:cNvPr id="33" name="TextBox 32"/>
            <p:cNvSpPr txBox="1"/>
            <p:nvPr/>
          </p:nvSpPr>
          <p:spPr>
            <a:xfrm>
              <a:off x="5575234" y="1581083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ÍCIO DO NEGÓCI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575202" y="1772924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35" name="Straight Connector 34"/>
          <p:cNvCxnSpPr/>
          <p:nvPr/>
        </p:nvCxnSpPr>
        <p:spPr>
          <a:xfrm>
            <a:off x="5009977" y="1671473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666485" y="3371692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604736" y="3302442"/>
            <a:ext cx="1777804" cy="495194"/>
            <a:chOff x="604736" y="3302442"/>
            <a:chExt cx="1777804" cy="495194"/>
          </a:xfrm>
        </p:grpSpPr>
        <p:sp>
          <p:nvSpPr>
            <p:cNvPr id="39" name="TextBox 38"/>
            <p:cNvSpPr txBox="1"/>
            <p:nvPr/>
          </p:nvSpPr>
          <p:spPr>
            <a:xfrm>
              <a:off x="604768" y="3302442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VESTI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04736" y="3494283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42" name="Straight Connector 41"/>
          <p:cNvCxnSpPr/>
          <p:nvPr/>
        </p:nvCxnSpPr>
        <p:spPr>
          <a:xfrm>
            <a:off x="3482422" y="2233176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1420673" y="2163926"/>
            <a:ext cx="1777804" cy="495194"/>
            <a:chOff x="1420673" y="2163926"/>
            <a:chExt cx="1777804" cy="495194"/>
          </a:xfrm>
        </p:grpSpPr>
        <p:sp>
          <p:nvSpPr>
            <p:cNvPr id="43" name="TextBox 42"/>
            <p:cNvSpPr txBox="1"/>
            <p:nvPr/>
          </p:nvSpPr>
          <p:spPr>
            <a:xfrm>
              <a:off x="1420705" y="2163926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JUSTE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1420673" y="2355767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45" name="TextBox 44"/>
          <p:cNvSpPr txBox="1"/>
          <p:nvPr/>
        </p:nvSpPr>
        <p:spPr>
          <a:xfrm rot="1877398">
            <a:off x="3802663" y="3454209"/>
            <a:ext cx="3002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01</a:t>
            </a:r>
          </a:p>
        </p:txBody>
      </p:sp>
      <p:sp>
        <p:nvSpPr>
          <p:cNvPr id="46" name="TextBox 45"/>
          <p:cNvSpPr txBox="1"/>
          <p:nvPr/>
        </p:nvSpPr>
        <p:spPr>
          <a:xfrm rot="19656141">
            <a:off x="4866433" y="2859034"/>
            <a:ext cx="3002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02</a:t>
            </a:r>
          </a:p>
        </p:txBody>
      </p:sp>
      <p:sp>
        <p:nvSpPr>
          <p:cNvPr id="47" name="TextBox 46"/>
          <p:cNvSpPr txBox="1"/>
          <p:nvPr/>
        </p:nvSpPr>
        <p:spPr>
          <a:xfrm rot="1427327">
            <a:off x="4152101" y="2277945"/>
            <a:ext cx="3002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03</a:t>
            </a:r>
          </a:p>
        </p:txBody>
      </p:sp>
      <p:sp>
        <p:nvSpPr>
          <p:cNvPr id="48" name="TextBox 47"/>
          <p:cNvSpPr txBox="1"/>
          <p:nvPr/>
        </p:nvSpPr>
        <p:spPr>
          <a:xfrm rot="20269369">
            <a:off x="4531166" y="1769412"/>
            <a:ext cx="3002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04</a:t>
            </a:r>
          </a:p>
        </p:txBody>
      </p:sp>
      <p:sp>
        <p:nvSpPr>
          <p:cNvPr id="49" name="Freeform 54"/>
          <p:cNvSpPr>
            <a:spLocks noEditPoints="1"/>
          </p:cNvSpPr>
          <p:nvPr/>
        </p:nvSpPr>
        <p:spPr bwMode="auto">
          <a:xfrm>
            <a:off x="4363526" y="1781175"/>
            <a:ext cx="144096" cy="140518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" name="Freeform 43"/>
          <p:cNvSpPr>
            <a:spLocks noEditPoints="1"/>
          </p:cNvSpPr>
          <p:nvPr/>
        </p:nvSpPr>
        <p:spPr bwMode="auto">
          <a:xfrm rot="19401431">
            <a:off x="5081840" y="3450375"/>
            <a:ext cx="221886" cy="121470"/>
          </a:xfrm>
          <a:custGeom>
            <a:avLst/>
            <a:gdLst>
              <a:gd name="T0" fmla="*/ 72 w 353"/>
              <a:gd name="T1" fmla="*/ 32 h 193"/>
              <a:gd name="T2" fmla="*/ 72 w 353"/>
              <a:gd name="T3" fmla="*/ 48 h 193"/>
              <a:gd name="T4" fmla="*/ 96 w 353"/>
              <a:gd name="T5" fmla="*/ 40 h 193"/>
              <a:gd name="T6" fmla="*/ 176 w 353"/>
              <a:gd name="T7" fmla="*/ 32 h 193"/>
              <a:gd name="T8" fmla="*/ 176 w 353"/>
              <a:gd name="T9" fmla="*/ 161 h 193"/>
              <a:gd name="T10" fmla="*/ 176 w 353"/>
              <a:gd name="T11" fmla="*/ 32 h 193"/>
              <a:gd name="T12" fmla="*/ 197 w 353"/>
              <a:gd name="T13" fmla="*/ 131 h 193"/>
              <a:gd name="T14" fmla="*/ 179 w 353"/>
              <a:gd name="T15" fmla="*/ 137 h 193"/>
              <a:gd name="T16" fmla="*/ 173 w 353"/>
              <a:gd name="T17" fmla="*/ 145 h 193"/>
              <a:gd name="T18" fmla="*/ 163 w 353"/>
              <a:gd name="T19" fmla="*/ 135 h 193"/>
              <a:gd name="T20" fmla="*/ 150 w 353"/>
              <a:gd name="T21" fmla="*/ 122 h 193"/>
              <a:gd name="T22" fmla="*/ 160 w 353"/>
              <a:gd name="T23" fmla="*/ 112 h 193"/>
              <a:gd name="T24" fmla="*/ 173 w 353"/>
              <a:gd name="T25" fmla="*/ 127 h 193"/>
              <a:gd name="T26" fmla="*/ 165 w 353"/>
              <a:gd name="T27" fmla="*/ 98 h 193"/>
              <a:gd name="T28" fmla="*/ 152 w 353"/>
              <a:gd name="T29" fmla="*/ 87 h 193"/>
              <a:gd name="T30" fmla="*/ 151 w 353"/>
              <a:gd name="T31" fmla="*/ 68 h 193"/>
              <a:gd name="T32" fmla="*/ 165 w 353"/>
              <a:gd name="T33" fmla="*/ 57 h 193"/>
              <a:gd name="T34" fmla="*/ 173 w 353"/>
              <a:gd name="T35" fmla="*/ 48 h 193"/>
              <a:gd name="T36" fmla="*/ 179 w 353"/>
              <a:gd name="T37" fmla="*/ 55 h 193"/>
              <a:gd name="T38" fmla="*/ 195 w 353"/>
              <a:gd name="T39" fmla="*/ 61 h 193"/>
              <a:gd name="T40" fmla="*/ 202 w 353"/>
              <a:gd name="T41" fmla="*/ 77 h 193"/>
              <a:gd name="T42" fmla="*/ 187 w 353"/>
              <a:gd name="T43" fmla="*/ 68 h 193"/>
              <a:gd name="T44" fmla="*/ 179 w 353"/>
              <a:gd name="T45" fmla="*/ 88 h 193"/>
              <a:gd name="T46" fmla="*/ 196 w 353"/>
              <a:gd name="T47" fmla="*/ 96 h 193"/>
              <a:gd name="T48" fmla="*/ 204 w 353"/>
              <a:gd name="T49" fmla="*/ 113 h 193"/>
              <a:gd name="T50" fmla="*/ 337 w 353"/>
              <a:gd name="T51" fmla="*/ 0 h 193"/>
              <a:gd name="T52" fmla="*/ 0 w 353"/>
              <a:gd name="T53" fmla="*/ 16 h 193"/>
              <a:gd name="T54" fmla="*/ 16 w 353"/>
              <a:gd name="T55" fmla="*/ 193 h 193"/>
              <a:gd name="T56" fmla="*/ 353 w 353"/>
              <a:gd name="T57" fmla="*/ 177 h 193"/>
              <a:gd name="T58" fmla="*/ 337 w 353"/>
              <a:gd name="T59" fmla="*/ 0 h 193"/>
              <a:gd name="T60" fmla="*/ 32 w 353"/>
              <a:gd name="T61" fmla="*/ 24 h 193"/>
              <a:gd name="T62" fmla="*/ 16 w 353"/>
              <a:gd name="T63" fmla="*/ 24 h 193"/>
              <a:gd name="T64" fmla="*/ 24 w 353"/>
              <a:gd name="T65" fmla="*/ 177 h 193"/>
              <a:gd name="T66" fmla="*/ 24 w 353"/>
              <a:gd name="T67" fmla="*/ 161 h 193"/>
              <a:gd name="T68" fmla="*/ 24 w 353"/>
              <a:gd name="T69" fmla="*/ 177 h 193"/>
              <a:gd name="T70" fmla="*/ 321 w 353"/>
              <a:gd name="T71" fmla="*/ 169 h 193"/>
              <a:gd name="T72" fmla="*/ 337 w 353"/>
              <a:gd name="T73" fmla="*/ 169 h 193"/>
              <a:gd name="T74" fmla="*/ 337 w 353"/>
              <a:gd name="T75" fmla="*/ 146 h 193"/>
              <a:gd name="T76" fmla="*/ 305 w 353"/>
              <a:gd name="T77" fmla="*/ 169 h 193"/>
              <a:gd name="T78" fmla="*/ 46 w 353"/>
              <a:gd name="T79" fmla="*/ 177 h 193"/>
              <a:gd name="T80" fmla="*/ 24 w 353"/>
              <a:gd name="T81" fmla="*/ 145 h 193"/>
              <a:gd name="T82" fmla="*/ 16 w 353"/>
              <a:gd name="T83" fmla="*/ 47 h 193"/>
              <a:gd name="T84" fmla="*/ 48 w 353"/>
              <a:gd name="T85" fmla="*/ 24 h 193"/>
              <a:gd name="T86" fmla="*/ 306 w 353"/>
              <a:gd name="T87" fmla="*/ 16 h 193"/>
              <a:gd name="T88" fmla="*/ 329 w 353"/>
              <a:gd name="T89" fmla="*/ 48 h 193"/>
              <a:gd name="T90" fmla="*/ 337 w 353"/>
              <a:gd name="T91" fmla="*/ 146 h 193"/>
              <a:gd name="T92" fmla="*/ 321 w 353"/>
              <a:gd name="T93" fmla="*/ 24 h 193"/>
              <a:gd name="T94" fmla="*/ 337 w 353"/>
              <a:gd name="T95" fmla="*/ 24 h 193"/>
              <a:gd name="T96" fmla="*/ 162 w 353"/>
              <a:gd name="T97" fmla="*/ 76 h 193"/>
              <a:gd name="T98" fmla="*/ 166 w 353"/>
              <a:gd name="T99" fmla="*/ 84 h 193"/>
              <a:gd name="T100" fmla="*/ 173 w 353"/>
              <a:gd name="T101" fmla="*/ 87 h 193"/>
              <a:gd name="T102" fmla="*/ 165 w 353"/>
              <a:gd name="T103" fmla="*/ 68 h 193"/>
              <a:gd name="T104" fmla="*/ 281 w 353"/>
              <a:gd name="T105" fmla="*/ 145 h 193"/>
              <a:gd name="T106" fmla="*/ 256 w 353"/>
              <a:gd name="T107" fmla="*/ 153 h 193"/>
              <a:gd name="T108" fmla="*/ 281 w 353"/>
              <a:gd name="T109" fmla="*/ 161 h 193"/>
              <a:gd name="T110" fmla="*/ 281 w 353"/>
              <a:gd name="T111" fmla="*/ 145 h 193"/>
              <a:gd name="T112" fmla="*/ 183 w 353"/>
              <a:gd name="T113" fmla="*/ 103 h 193"/>
              <a:gd name="T114" fmla="*/ 179 w 353"/>
              <a:gd name="T115" fmla="*/ 127 h 193"/>
              <a:gd name="T116" fmla="*/ 192 w 353"/>
              <a:gd name="T117" fmla="*/ 114 h 193"/>
              <a:gd name="T118" fmla="*/ 188 w 353"/>
              <a:gd name="T119" fmla="*/ 10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53" h="193">
                <a:moveTo>
                  <a:pt x="88" y="32"/>
                </a:moveTo>
                <a:cubicBezTo>
                  <a:pt x="72" y="32"/>
                  <a:pt x="72" y="32"/>
                  <a:pt x="72" y="32"/>
                </a:cubicBezTo>
                <a:cubicBezTo>
                  <a:pt x="67" y="32"/>
                  <a:pt x="64" y="36"/>
                  <a:pt x="64" y="40"/>
                </a:cubicBezTo>
                <a:cubicBezTo>
                  <a:pt x="64" y="45"/>
                  <a:pt x="67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92" y="48"/>
                  <a:pt x="96" y="45"/>
                  <a:pt x="96" y="40"/>
                </a:cubicBezTo>
                <a:cubicBezTo>
                  <a:pt x="96" y="36"/>
                  <a:pt x="92" y="32"/>
                  <a:pt x="88" y="32"/>
                </a:cubicBezTo>
                <a:moveTo>
                  <a:pt x="176" y="32"/>
                </a:moveTo>
                <a:cubicBezTo>
                  <a:pt x="141" y="32"/>
                  <a:pt x="112" y="61"/>
                  <a:pt x="112" y="96"/>
                </a:cubicBezTo>
                <a:cubicBezTo>
                  <a:pt x="112" y="132"/>
                  <a:pt x="141" y="161"/>
                  <a:pt x="176" y="161"/>
                </a:cubicBezTo>
                <a:cubicBezTo>
                  <a:pt x="212" y="161"/>
                  <a:pt x="240" y="132"/>
                  <a:pt x="240" y="96"/>
                </a:cubicBezTo>
                <a:cubicBezTo>
                  <a:pt x="240" y="61"/>
                  <a:pt x="212" y="32"/>
                  <a:pt x="176" y="32"/>
                </a:cubicBezTo>
                <a:moveTo>
                  <a:pt x="202" y="123"/>
                </a:moveTo>
                <a:cubicBezTo>
                  <a:pt x="201" y="126"/>
                  <a:pt x="199" y="129"/>
                  <a:pt x="197" y="131"/>
                </a:cubicBezTo>
                <a:cubicBezTo>
                  <a:pt x="194" y="133"/>
                  <a:pt x="192" y="134"/>
                  <a:pt x="189" y="135"/>
                </a:cubicBezTo>
                <a:cubicBezTo>
                  <a:pt x="185" y="136"/>
                  <a:pt x="183" y="137"/>
                  <a:pt x="179" y="137"/>
                </a:cubicBezTo>
                <a:cubicBezTo>
                  <a:pt x="179" y="145"/>
                  <a:pt x="179" y="145"/>
                  <a:pt x="179" y="145"/>
                </a:cubicBezTo>
                <a:cubicBezTo>
                  <a:pt x="173" y="145"/>
                  <a:pt x="173" y="145"/>
                  <a:pt x="173" y="145"/>
                </a:cubicBezTo>
                <a:cubicBezTo>
                  <a:pt x="173" y="137"/>
                  <a:pt x="173" y="137"/>
                  <a:pt x="173" y="137"/>
                </a:cubicBezTo>
                <a:cubicBezTo>
                  <a:pt x="169" y="137"/>
                  <a:pt x="166" y="136"/>
                  <a:pt x="163" y="135"/>
                </a:cubicBezTo>
                <a:cubicBezTo>
                  <a:pt x="160" y="134"/>
                  <a:pt x="157" y="132"/>
                  <a:pt x="155" y="130"/>
                </a:cubicBezTo>
                <a:cubicBezTo>
                  <a:pt x="153" y="128"/>
                  <a:pt x="151" y="125"/>
                  <a:pt x="150" y="122"/>
                </a:cubicBezTo>
                <a:cubicBezTo>
                  <a:pt x="148" y="119"/>
                  <a:pt x="148" y="116"/>
                  <a:pt x="148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16"/>
                  <a:pt x="161" y="120"/>
                  <a:pt x="163" y="123"/>
                </a:cubicBezTo>
                <a:cubicBezTo>
                  <a:pt x="165" y="126"/>
                  <a:pt x="168" y="127"/>
                  <a:pt x="173" y="127"/>
                </a:cubicBezTo>
                <a:cubicBezTo>
                  <a:pt x="173" y="101"/>
                  <a:pt x="173" y="101"/>
                  <a:pt x="173" y="101"/>
                </a:cubicBezTo>
                <a:cubicBezTo>
                  <a:pt x="170" y="100"/>
                  <a:pt x="168" y="99"/>
                  <a:pt x="165" y="98"/>
                </a:cubicBezTo>
                <a:cubicBezTo>
                  <a:pt x="162" y="97"/>
                  <a:pt x="160" y="95"/>
                  <a:pt x="157" y="94"/>
                </a:cubicBezTo>
                <a:cubicBezTo>
                  <a:pt x="155" y="92"/>
                  <a:pt x="153" y="90"/>
                  <a:pt x="152" y="87"/>
                </a:cubicBezTo>
                <a:cubicBezTo>
                  <a:pt x="150" y="84"/>
                  <a:pt x="149" y="81"/>
                  <a:pt x="149" y="77"/>
                </a:cubicBezTo>
                <a:cubicBezTo>
                  <a:pt x="149" y="73"/>
                  <a:pt x="150" y="70"/>
                  <a:pt x="151" y="68"/>
                </a:cubicBezTo>
                <a:cubicBezTo>
                  <a:pt x="153" y="65"/>
                  <a:pt x="155" y="63"/>
                  <a:pt x="157" y="61"/>
                </a:cubicBezTo>
                <a:cubicBezTo>
                  <a:pt x="159" y="59"/>
                  <a:pt x="162" y="58"/>
                  <a:pt x="165" y="57"/>
                </a:cubicBezTo>
                <a:cubicBezTo>
                  <a:pt x="168" y="56"/>
                  <a:pt x="170" y="55"/>
                  <a:pt x="173" y="55"/>
                </a:cubicBezTo>
                <a:cubicBezTo>
                  <a:pt x="173" y="48"/>
                  <a:pt x="173" y="48"/>
                  <a:pt x="173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79" y="55"/>
                  <a:pt x="179" y="55"/>
                  <a:pt x="179" y="55"/>
                </a:cubicBezTo>
                <a:cubicBezTo>
                  <a:pt x="183" y="55"/>
                  <a:pt x="185" y="56"/>
                  <a:pt x="188" y="57"/>
                </a:cubicBezTo>
                <a:cubicBezTo>
                  <a:pt x="191" y="58"/>
                  <a:pt x="193" y="59"/>
                  <a:pt x="195" y="61"/>
                </a:cubicBezTo>
                <a:cubicBezTo>
                  <a:pt x="197" y="62"/>
                  <a:pt x="199" y="65"/>
                  <a:pt x="200" y="67"/>
                </a:cubicBezTo>
                <a:cubicBezTo>
                  <a:pt x="202" y="70"/>
                  <a:pt x="202" y="73"/>
                  <a:pt x="202" y="77"/>
                </a:cubicBezTo>
                <a:cubicBezTo>
                  <a:pt x="190" y="77"/>
                  <a:pt x="190" y="77"/>
                  <a:pt x="190" y="77"/>
                </a:cubicBezTo>
                <a:cubicBezTo>
                  <a:pt x="190" y="73"/>
                  <a:pt x="189" y="70"/>
                  <a:pt x="187" y="68"/>
                </a:cubicBezTo>
                <a:cubicBezTo>
                  <a:pt x="185" y="66"/>
                  <a:pt x="183" y="65"/>
                  <a:pt x="179" y="65"/>
                </a:cubicBezTo>
                <a:cubicBezTo>
                  <a:pt x="179" y="88"/>
                  <a:pt x="179" y="88"/>
                  <a:pt x="179" y="88"/>
                </a:cubicBezTo>
                <a:cubicBezTo>
                  <a:pt x="183" y="89"/>
                  <a:pt x="185" y="90"/>
                  <a:pt x="188" y="91"/>
                </a:cubicBezTo>
                <a:cubicBezTo>
                  <a:pt x="191" y="93"/>
                  <a:pt x="194" y="94"/>
                  <a:pt x="196" y="96"/>
                </a:cubicBezTo>
                <a:cubicBezTo>
                  <a:pt x="199" y="98"/>
                  <a:pt x="200" y="100"/>
                  <a:pt x="202" y="103"/>
                </a:cubicBezTo>
                <a:cubicBezTo>
                  <a:pt x="203" y="105"/>
                  <a:pt x="204" y="109"/>
                  <a:pt x="204" y="113"/>
                </a:cubicBezTo>
                <a:cubicBezTo>
                  <a:pt x="204" y="117"/>
                  <a:pt x="203" y="120"/>
                  <a:pt x="202" y="123"/>
                </a:cubicBezTo>
                <a:moveTo>
                  <a:pt x="337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186"/>
                  <a:pt x="7" y="193"/>
                  <a:pt x="16" y="193"/>
                </a:cubicBezTo>
                <a:cubicBezTo>
                  <a:pt x="337" y="193"/>
                  <a:pt x="337" y="193"/>
                  <a:pt x="337" y="193"/>
                </a:cubicBezTo>
                <a:cubicBezTo>
                  <a:pt x="346" y="193"/>
                  <a:pt x="353" y="186"/>
                  <a:pt x="353" y="177"/>
                </a:cubicBezTo>
                <a:cubicBezTo>
                  <a:pt x="353" y="16"/>
                  <a:pt x="353" y="16"/>
                  <a:pt x="353" y="16"/>
                </a:cubicBezTo>
                <a:cubicBezTo>
                  <a:pt x="353" y="7"/>
                  <a:pt x="346" y="0"/>
                  <a:pt x="337" y="0"/>
                </a:cubicBezTo>
                <a:moveTo>
                  <a:pt x="24" y="16"/>
                </a:moveTo>
                <a:cubicBezTo>
                  <a:pt x="28" y="16"/>
                  <a:pt x="32" y="20"/>
                  <a:pt x="32" y="24"/>
                </a:cubicBezTo>
                <a:cubicBezTo>
                  <a:pt x="32" y="29"/>
                  <a:pt x="28" y="32"/>
                  <a:pt x="24" y="32"/>
                </a:cubicBezTo>
                <a:cubicBezTo>
                  <a:pt x="19" y="32"/>
                  <a:pt x="16" y="29"/>
                  <a:pt x="16" y="24"/>
                </a:cubicBezTo>
                <a:cubicBezTo>
                  <a:pt x="16" y="20"/>
                  <a:pt x="19" y="16"/>
                  <a:pt x="24" y="16"/>
                </a:cubicBezTo>
                <a:moveTo>
                  <a:pt x="24" y="177"/>
                </a:moveTo>
                <a:cubicBezTo>
                  <a:pt x="19" y="177"/>
                  <a:pt x="16" y="173"/>
                  <a:pt x="16" y="169"/>
                </a:cubicBezTo>
                <a:cubicBezTo>
                  <a:pt x="16" y="164"/>
                  <a:pt x="19" y="161"/>
                  <a:pt x="24" y="161"/>
                </a:cubicBezTo>
                <a:cubicBezTo>
                  <a:pt x="28" y="161"/>
                  <a:pt x="32" y="164"/>
                  <a:pt x="32" y="169"/>
                </a:cubicBezTo>
                <a:cubicBezTo>
                  <a:pt x="32" y="173"/>
                  <a:pt x="28" y="177"/>
                  <a:pt x="24" y="177"/>
                </a:cubicBezTo>
                <a:moveTo>
                  <a:pt x="329" y="177"/>
                </a:moveTo>
                <a:cubicBezTo>
                  <a:pt x="324" y="177"/>
                  <a:pt x="321" y="173"/>
                  <a:pt x="321" y="169"/>
                </a:cubicBezTo>
                <a:cubicBezTo>
                  <a:pt x="321" y="164"/>
                  <a:pt x="324" y="161"/>
                  <a:pt x="329" y="161"/>
                </a:cubicBezTo>
                <a:cubicBezTo>
                  <a:pt x="333" y="161"/>
                  <a:pt x="337" y="164"/>
                  <a:pt x="337" y="169"/>
                </a:cubicBezTo>
                <a:cubicBezTo>
                  <a:pt x="337" y="173"/>
                  <a:pt x="333" y="177"/>
                  <a:pt x="329" y="177"/>
                </a:cubicBezTo>
                <a:moveTo>
                  <a:pt x="337" y="146"/>
                </a:moveTo>
                <a:cubicBezTo>
                  <a:pt x="334" y="145"/>
                  <a:pt x="332" y="145"/>
                  <a:pt x="329" y="145"/>
                </a:cubicBezTo>
                <a:cubicBezTo>
                  <a:pt x="315" y="145"/>
                  <a:pt x="305" y="155"/>
                  <a:pt x="305" y="169"/>
                </a:cubicBezTo>
                <a:cubicBezTo>
                  <a:pt x="305" y="171"/>
                  <a:pt x="305" y="174"/>
                  <a:pt x="306" y="177"/>
                </a:cubicBezTo>
                <a:cubicBezTo>
                  <a:pt x="46" y="177"/>
                  <a:pt x="46" y="177"/>
                  <a:pt x="46" y="177"/>
                </a:cubicBezTo>
                <a:cubicBezTo>
                  <a:pt x="47" y="174"/>
                  <a:pt x="48" y="171"/>
                  <a:pt x="48" y="169"/>
                </a:cubicBezTo>
                <a:cubicBezTo>
                  <a:pt x="48" y="155"/>
                  <a:pt x="37" y="145"/>
                  <a:pt x="24" y="145"/>
                </a:cubicBezTo>
                <a:cubicBezTo>
                  <a:pt x="21" y="145"/>
                  <a:pt x="18" y="145"/>
                  <a:pt x="16" y="146"/>
                </a:cubicBezTo>
                <a:cubicBezTo>
                  <a:pt x="16" y="47"/>
                  <a:pt x="16" y="47"/>
                  <a:pt x="16" y="47"/>
                </a:cubicBezTo>
                <a:cubicBezTo>
                  <a:pt x="18" y="48"/>
                  <a:pt x="21" y="48"/>
                  <a:pt x="24" y="48"/>
                </a:cubicBezTo>
                <a:cubicBezTo>
                  <a:pt x="37" y="48"/>
                  <a:pt x="48" y="37"/>
                  <a:pt x="48" y="24"/>
                </a:cubicBezTo>
                <a:cubicBezTo>
                  <a:pt x="48" y="21"/>
                  <a:pt x="47" y="19"/>
                  <a:pt x="46" y="16"/>
                </a:cubicBezTo>
                <a:cubicBezTo>
                  <a:pt x="306" y="16"/>
                  <a:pt x="306" y="16"/>
                  <a:pt x="306" y="16"/>
                </a:cubicBezTo>
                <a:cubicBezTo>
                  <a:pt x="305" y="19"/>
                  <a:pt x="305" y="21"/>
                  <a:pt x="305" y="24"/>
                </a:cubicBezTo>
                <a:cubicBezTo>
                  <a:pt x="305" y="37"/>
                  <a:pt x="315" y="48"/>
                  <a:pt x="329" y="48"/>
                </a:cubicBezTo>
                <a:cubicBezTo>
                  <a:pt x="332" y="48"/>
                  <a:pt x="334" y="48"/>
                  <a:pt x="337" y="47"/>
                </a:cubicBezTo>
                <a:lnTo>
                  <a:pt x="337" y="146"/>
                </a:lnTo>
                <a:close/>
                <a:moveTo>
                  <a:pt x="329" y="32"/>
                </a:moveTo>
                <a:cubicBezTo>
                  <a:pt x="324" y="32"/>
                  <a:pt x="321" y="29"/>
                  <a:pt x="321" y="24"/>
                </a:cubicBezTo>
                <a:cubicBezTo>
                  <a:pt x="321" y="20"/>
                  <a:pt x="324" y="16"/>
                  <a:pt x="329" y="16"/>
                </a:cubicBezTo>
                <a:cubicBezTo>
                  <a:pt x="333" y="16"/>
                  <a:pt x="337" y="20"/>
                  <a:pt x="337" y="24"/>
                </a:cubicBezTo>
                <a:cubicBezTo>
                  <a:pt x="337" y="29"/>
                  <a:pt x="333" y="32"/>
                  <a:pt x="329" y="32"/>
                </a:cubicBezTo>
                <a:moveTo>
                  <a:pt x="162" y="76"/>
                </a:moveTo>
                <a:cubicBezTo>
                  <a:pt x="162" y="78"/>
                  <a:pt x="162" y="79"/>
                  <a:pt x="163" y="80"/>
                </a:cubicBezTo>
                <a:cubicBezTo>
                  <a:pt x="164" y="82"/>
                  <a:pt x="164" y="83"/>
                  <a:pt x="166" y="84"/>
                </a:cubicBezTo>
                <a:cubicBezTo>
                  <a:pt x="167" y="84"/>
                  <a:pt x="168" y="85"/>
                  <a:pt x="169" y="86"/>
                </a:cubicBezTo>
                <a:cubicBezTo>
                  <a:pt x="171" y="86"/>
                  <a:pt x="171" y="87"/>
                  <a:pt x="173" y="87"/>
                </a:cubicBezTo>
                <a:cubicBezTo>
                  <a:pt x="173" y="65"/>
                  <a:pt x="173" y="65"/>
                  <a:pt x="173" y="65"/>
                </a:cubicBezTo>
                <a:cubicBezTo>
                  <a:pt x="169" y="65"/>
                  <a:pt x="167" y="66"/>
                  <a:pt x="165" y="68"/>
                </a:cubicBezTo>
                <a:cubicBezTo>
                  <a:pt x="163" y="69"/>
                  <a:pt x="162" y="72"/>
                  <a:pt x="162" y="76"/>
                </a:cubicBezTo>
                <a:moveTo>
                  <a:pt x="281" y="145"/>
                </a:moveTo>
                <a:cubicBezTo>
                  <a:pt x="264" y="145"/>
                  <a:pt x="264" y="145"/>
                  <a:pt x="264" y="145"/>
                </a:cubicBezTo>
                <a:cubicBezTo>
                  <a:pt x="260" y="145"/>
                  <a:pt x="256" y="148"/>
                  <a:pt x="256" y="153"/>
                </a:cubicBezTo>
                <a:cubicBezTo>
                  <a:pt x="256" y="157"/>
                  <a:pt x="260" y="161"/>
                  <a:pt x="264" y="161"/>
                </a:cubicBezTo>
                <a:cubicBezTo>
                  <a:pt x="281" y="161"/>
                  <a:pt x="281" y="161"/>
                  <a:pt x="281" y="161"/>
                </a:cubicBezTo>
                <a:cubicBezTo>
                  <a:pt x="285" y="161"/>
                  <a:pt x="289" y="157"/>
                  <a:pt x="289" y="153"/>
                </a:cubicBezTo>
                <a:cubicBezTo>
                  <a:pt x="289" y="148"/>
                  <a:pt x="285" y="145"/>
                  <a:pt x="281" y="145"/>
                </a:cubicBezTo>
                <a:moveTo>
                  <a:pt x="188" y="106"/>
                </a:moveTo>
                <a:cubicBezTo>
                  <a:pt x="186" y="105"/>
                  <a:pt x="185" y="104"/>
                  <a:pt x="183" y="103"/>
                </a:cubicBezTo>
                <a:cubicBezTo>
                  <a:pt x="182" y="103"/>
                  <a:pt x="181" y="102"/>
                  <a:pt x="179" y="102"/>
                </a:cubicBezTo>
                <a:cubicBezTo>
                  <a:pt x="179" y="127"/>
                  <a:pt x="179" y="127"/>
                  <a:pt x="179" y="127"/>
                </a:cubicBezTo>
                <a:cubicBezTo>
                  <a:pt x="183" y="127"/>
                  <a:pt x="186" y="126"/>
                  <a:pt x="188" y="124"/>
                </a:cubicBezTo>
                <a:cubicBezTo>
                  <a:pt x="191" y="122"/>
                  <a:pt x="192" y="119"/>
                  <a:pt x="192" y="114"/>
                </a:cubicBezTo>
                <a:cubicBezTo>
                  <a:pt x="192" y="112"/>
                  <a:pt x="191" y="111"/>
                  <a:pt x="191" y="109"/>
                </a:cubicBezTo>
                <a:cubicBezTo>
                  <a:pt x="190" y="108"/>
                  <a:pt x="189" y="107"/>
                  <a:pt x="188" y="106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81"/>
          <p:cNvSpPr>
            <a:spLocks noEditPoints="1"/>
          </p:cNvSpPr>
          <p:nvPr/>
        </p:nvSpPr>
        <p:spPr bwMode="auto">
          <a:xfrm rot="19855222">
            <a:off x="4772363" y="2297489"/>
            <a:ext cx="174882" cy="159452"/>
          </a:xfrm>
          <a:custGeom>
            <a:avLst/>
            <a:gdLst>
              <a:gd name="T0" fmla="*/ 345 w 353"/>
              <a:gd name="T1" fmla="*/ 273 h 321"/>
              <a:gd name="T2" fmla="*/ 192 w 353"/>
              <a:gd name="T3" fmla="*/ 273 h 321"/>
              <a:gd name="T4" fmla="*/ 152 w 353"/>
              <a:gd name="T5" fmla="*/ 241 h 321"/>
              <a:gd name="T6" fmla="*/ 113 w 353"/>
              <a:gd name="T7" fmla="*/ 273 h 321"/>
              <a:gd name="T8" fmla="*/ 8 w 353"/>
              <a:gd name="T9" fmla="*/ 273 h 321"/>
              <a:gd name="T10" fmla="*/ 0 w 353"/>
              <a:gd name="T11" fmla="*/ 281 h 321"/>
              <a:gd name="T12" fmla="*/ 8 w 353"/>
              <a:gd name="T13" fmla="*/ 289 h 321"/>
              <a:gd name="T14" fmla="*/ 113 w 353"/>
              <a:gd name="T15" fmla="*/ 289 h 321"/>
              <a:gd name="T16" fmla="*/ 152 w 353"/>
              <a:gd name="T17" fmla="*/ 321 h 321"/>
              <a:gd name="T18" fmla="*/ 192 w 353"/>
              <a:gd name="T19" fmla="*/ 289 h 321"/>
              <a:gd name="T20" fmla="*/ 345 w 353"/>
              <a:gd name="T21" fmla="*/ 289 h 321"/>
              <a:gd name="T22" fmla="*/ 353 w 353"/>
              <a:gd name="T23" fmla="*/ 281 h 321"/>
              <a:gd name="T24" fmla="*/ 345 w 353"/>
              <a:gd name="T25" fmla="*/ 273 h 321"/>
              <a:gd name="T26" fmla="*/ 152 w 353"/>
              <a:gd name="T27" fmla="*/ 305 h 321"/>
              <a:gd name="T28" fmla="*/ 128 w 353"/>
              <a:gd name="T29" fmla="*/ 281 h 321"/>
              <a:gd name="T30" fmla="*/ 152 w 353"/>
              <a:gd name="T31" fmla="*/ 257 h 321"/>
              <a:gd name="T32" fmla="*/ 177 w 353"/>
              <a:gd name="T33" fmla="*/ 281 h 321"/>
              <a:gd name="T34" fmla="*/ 152 w 353"/>
              <a:gd name="T35" fmla="*/ 305 h 321"/>
              <a:gd name="T36" fmla="*/ 8 w 353"/>
              <a:gd name="T37" fmla="*/ 48 h 321"/>
              <a:gd name="T38" fmla="*/ 49 w 353"/>
              <a:gd name="T39" fmla="*/ 48 h 321"/>
              <a:gd name="T40" fmla="*/ 88 w 353"/>
              <a:gd name="T41" fmla="*/ 80 h 321"/>
              <a:gd name="T42" fmla="*/ 128 w 353"/>
              <a:gd name="T43" fmla="*/ 48 h 321"/>
              <a:gd name="T44" fmla="*/ 345 w 353"/>
              <a:gd name="T45" fmla="*/ 48 h 321"/>
              <a:gd name="T46" fmla="*/ 353 w 353"/>
              <a:gd name="T47" fmla="*/ 40 h 321"/>
              <a:gd name="T48" fmla="*/ 345 w 353"/>
              <a:gd name="T49" fmla="*/ 32 h 321"/>
              <a:gd name="T50" fmla="*/ 128 w 353"/>
              <a:gd name="T51" fmla="*/ 32 h 321"/>
              <a:gd name="T52" fmla="*/ 88 w 353"/>
              <a:gd name="T53" fmla="*/ 0 h 321"/>
              <a:gd name="T54" fmla="*/ 49 w 353"/>
              <a:gd name="T55" fmla="*/ 32 h 321"/>
              <a:gd name="T56" fmla="*/ 8 w 353"/>
              <a:gd name="T57" fmla="*/ 32 h 321"/>
              <a:gd name="T58" fmla="*/ 0 w 353"/>
              <a:gd name="T59" fmla="*/ 40 h 321"/>
              <a:gd name="T60" fmla="*/ 8 w 353"/>
              <a:gd name="T61" fmla="*/ 48 h 321"/>
              <a:gd name="T62" fmla="*/ 88 w 353"/>
              <a:gd name="T63" fmla="*/ 16 h 321"/>
              <a:gd name="T64" fmla="*/ 112 w 353"/>
              <a:gd name="T65" fmla="*/ 40 h 321"/>
              <a:gd name="T66" fmla="*/ 88 w 353"/>
              <a:gd name="T67" fmla="*/ 64 h 321"/>
              <a:gd name="T68" fmla="*/ 64 w 353"/>
              <a:gd name="T69" fmla="*/ 40 h 321"/>
              <a:gd name="T70" fmla="*/ 88 w 353"/>
              <a:gd name="T71" fmla="*/ 16 h 321"/>
              <a:gd name="T72" fmla="*/ 345 w 353"/>
              <a:gd name="T73" fmla="*/ 152 h 321"/>
              <a:gd name="T74" fmla="*/ 320 w 353"/>
              <a:gd name="T75" fmla="*/ 152 h 321"/>
              <a:gd name="T76" fmla="*/ 281 w 353"/>
              <a:gd name="T77" fmla="*/ 120 h 321"/>
              <a:gd name="T78" fmla="*/ 242 w 353"/>
              <a:gd name="T79" fmla="*/ 152 h 321"/>
              <a:gd name="T80" fmla="*/ 8 w 353"/>
              <a:gd name="T81" fmla="*/ 152 h 321"/>
              <a:gd name="T82" fmla="*/ 0 w 353"/>
              <a:gd name="T83" fmla="*/ 160 h 321"/>
              <a:gd name="T84" fmla="*/ 8 w 353"/>
              <a:gd name="T85" fmla="*/ 168 h 321"/>
              <a:gd name="T86" fmla="*/ 242 w 353"/>
              <a:gd name="T87" fmla="*/ 168 h 321"/>
              <a:gd name="T88" fmla="*/ 281 w 353"/>
              <a:gd name="T89" fmla="*/ 201 h 321"/>
              <a:gd name="T90" fmla="*/ 320 w 353"/>
              <a:gd name="T91" fmla="*/ 168 h 321"/>
              <a:gd name="T92" fmla="*/ 345 w 353"/>
              <a:gd name="T93" fmla="*/ 168 h 321"/>
              <a:gd name="T94" fmla="*/ 353 w 353"/>
              <a:gd name="T95" fmla="*/ 160 h 321"/>
              <a:gd name="T96" fmla="*/ 345 w 353"/>
              <a:gd name="T97" fmla="*/ 152 h 321"/>
              <a:gd name="T98" fmla="*/ 281 w 353"/>
              <a:gd name="T99" fmla="*/ 184 h 321"/>
              <a:gd name="T100" fmla="*/ 257 w 353"/>
              <a:gd name="T101" fmla="*/ 160 h 321"/>
              <a:gd name="T102" fmla="*/ 281 w 353"/>
              <a:gd name="T103" fmla="*/ 136 h 321"/>
              <a:gd name="T104" fmla="*/ 305 w 353"/>
              <a:gd name="T105" fmla="*/ 160 h 321"/>
              <a:gd name="T106" fmla="*/ 281 w 353"/>
              <a:gd name="T107" fmla="*/ 184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3" h="321">
                <a:moveTo>
                  <a:pt x="345" y="273"/>
                </a:moveTo>
                <a:cubicBezTo>
                  <a:pt x="192" y="273"/>
                  <a:pt x="192" y="273"/>
                  <a:pt x="192" y="273"/>
                </a:cubicBezTo>
                <a:cubicBezTo>
                  <a:pt x="188" y="254"/>
                  <a:pt x="172" y="241"/>
                  <a:pt x="152" y="241"/>
                </a:cubicBezTo>
                <a:cubicBezTo>
                  <a:pt x="133" y="241"/>
                  <a:pt x="117" y="254"/>
                  <a:pt x="113" y="273"/>
                </a:cubicBezTo>
                <a:cubicBezTo>
                  <a:pt x="8" y="273"/>
                  <a:pt x="8" y="273"/>
                  <a:pt x="8" y="273"/>
                </a:cubicBezTo>
                <a:cubicBezTo>
                  <a:pt x="3" y="273"/>
                  <a:pt x="0" y="276"/>
                  <a:pt x="0" y="281"/>
                </a:cubicBezTo>
                <a:cubicBezTo>
                  <a:pt x="0" y="285"/>
                  <a:pt x="3" y="289"/>
                  <a:pt x="8" y="289"/>
                </a:cubicBezTo>
                <a:cubicBezTo>
                  <a:pt x="113" y="289"/>
                  <a:pt x="113" y="289"/>
                  <a:pt x="113" y="289"/>
                </a:cubicBezTo>
                <a:cubicBezTo>
                  <a:pt x="117" y="307"/>
                  <a:pt x="133" y="321"/>
                  <a:pt x="152" y="321"/>
                </a:cubicBezTo>
                <a:cubicBezTo>
                  <a:pt x="172" y="321"/>
                  <a:pt x="188" y="307"/>
                  <a:pt x="192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276"/>
                  <a:pt x="350" y="273"/>
                  <a:pt x="345" y="273"/>
                </a:cubicBezTo>
                <a:moveTo>
                  <a:pt x="152" y="305"/>
                </a:moveTo>
                <a:cubicBezTo>
                  <a:pt x="139" y="305"/>
                  <a:pt x="128" y="294"/>
                  <a:pt x="128" y="281"/>
                </a:cubicBezTo>
                <a:cubicBezTo>
                  <a:pt x="128" y="267"/>
                  <a:pt x="139" y="257"/>
                  <a:pt x="152" y="257"/>
                </a:cubicBezTo>
                <a:cubicBezTo>
                  <a:pt x="166" y="257"/>
                  <a:pt x="177" y="267"/>
                  <a:pt x="177" y="281"/>
                </a:cubicBezTo>
                <a:cubicBezTo>
                  <a:pt x="177" y="294"/>
                  <a:pt x="166" y="305"/>
                  <a:pt x="152" y="305"/>
                </a:cubicBezTo>
                <a:moveTo>
                  <a:pt x="8" y="48"/>
                </a:moveTo>
                <a:cubicBezTo>
                  <a:pt x="49" y="48"/>
                  <a:pt x="49" y="48"/>
                  <a:pt x="49" y="48"/>
                </a:cubicBezTo>
                <a:cubicBezTo>
                  <a:pt x="53" y="66"/>
                  <a:pt x="69" y="80"/>
                  <a:pt x="88" y="80"/>
                </a:cubicBezTo>
                <a:cubicBezTo>
                  <a:pt x="108" y="80"/>
                  <a:pt x="124" y="66"/>
                  <a:pt x="128" y="48"/>
                </a:cubicBezTo>
                <a:cubicBezTo>
                  <a:pt x="345" y="48"/>
                  <a:pt x="345" y="48"/>
                  <a:pt x="345" y="48"/>
                </a:cubicBezTo>
                <a:cubicBezTo>
                  <a:pt x="350" y="48"/>
                  <a:pt x="353" y="44"/>
                  <a:pt x="353" y="40"/>
                </a:cubicBezTo>
                <a:cubicBezTo>
                  <a:pt x="353" y="36"/>
                  <a:pt x="350" y="32"/>
                  <a:pt x="34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4" y="14"/>
                  <a:pt x="108" y="0"/>
                  <a:pt x="88" y="0"/>
                </a:cubicBezTo>
                <a:cubicBezTo>
                  <a:pt x="69" y="0"/>
                  <a:pt x="53" y="14"/>
                  <a:pt x="49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3" y="32"/>
                  <a:pt x="0" y="36"/>
                  <a:pt x="0" y="40"/>
                </a:cubicBezTo>
                <a:cubicBezTo>
                  <a:pt x="0" y="44"/>
                  <a:pt x="3" y="48"/>
                  <a:pt x="8" y="48"/>
                </a:cubicBezTo>
                <a:moveTo>
                  <a:pt x="88" y="16"/>
                </a:moveTo>
                <a:cubicBezTo>
                  <a:pt x="102" y="16"/>
                  <a:pt x="112" y="27"/>
                  <a:pt x="112" y="40"/>
                </a:cubicBezTo>
                <a:cubicBezTo>
                  <a:pt x="112" y="53"/>
                  <a:pt x="102" y="64"/>
                  <a:pt x="88" y="64"/>
                </a:cubicBezTo>
                <a:cubicBezTo>
                  <a:pt x="75" y="64"/>
                  <a:pt x="64" y="53"/>
                  <a:pt x="64" y="40"/>
                </a:cubicBezTo>
                <a:cubicBezTo>
                  <a:pt x="64" y="27"/>
                  <a:pt x="75" y="16"/>
                  <a:pt x="88" y="16"/>
                </a:cubicBezTo>
                <a:moveTo>
                  <a:pt x="345" y="152"/>
                </a:moveTo>
                <a:cubicBezTo>
                  <a:pt x="320" y="152"/>
                  <a:pt x="320" y="152"/>
                  <a:pt x="320" y="152"/>
                </a:cubicBezTo>
                <a:cubicBezTo>
                  <a:pt x="316" y="134"/>
                  <a:pt x="300" y="120"/>
                  <a:pt x="281" y="120"/>
                </a:cubicBezTo>
                <a:cubicBezTo>
                  <a:pt x="261" y="120"/>
                  <a:pt x="245" y="134"/>
                  <a:pt x="242" y="15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52"/>
                  <a:pt x="0" y="156"/>
                  <a:pt x="0" y="160"/>
                </a:cubicBezTo>
                <a:cubicBezTo>
                  <a:pt x="0" y="165"/>
                  <a:pt x="3" y="168"/>
                  <a:pt x="8" y="168"/>
                </a:cubicBezTo>
                <a:cubicBezTo>
                  <a:pt x="242" y="168"/>
                  <a:pt x="242" y="168"/>
                  <a:pt x="242" y="168"/>
                </a:cubicBezTo>
                <a:cubicBezTo>
                  <a:pt x="245" y="187"/>
                  <a:pt x="261" y="201"/>
                  <a:pt x="281" y="201"/>
                </a:cubicBezTo>
                <a:cubicBezTo>
                  <a:pt x="300" y="201"/>
                  <a:pt x="316" y="187"/>
                  <a:pt x="320" y="168"/>
                </a:cubicBezTo>
                <a:cubicBezTo>
                  <a:pt x="345" y="168"/>
                  <a:pt x="345" y="168"/>
                  <a:pt x="345" y="168"/>
                </a:cubicBezTo>
                <a:cubicBezTo>
                  <a:pt x="350" y="168"/>
                  <a:pt x="353" y="165"/>
                  <a:pt x="353" y="160"/>
                </a:cubicBezTo>
                <a:cubicBezTo>
                  <a:pt x="353" y="156"/>
                  <a:pt x="350" y="152"/>
                  <a:pt x="345" y="152"/>
                </a:cubicBezTo>
                <a:moveTo>
                  <a:pt x="281" y="184"/>
                </a:moveTo>
                <a:cubicBezTo>
                  <a:pt x="268" y="184"/>
                  <a:pt x="257" y="174"/>
                  <a:pt x="257" y="160"/>
                </a:cubicBezTo>
                <a:cubicBezTo>
                  <a:pt x="257" y="147"/>
                  <a:pt x="268" y="136"/>
                  <a:pt x="281" y="136"/>
                </a:cubicBezTo>
                <a:cubicBezTo>
                  <a:pt x="294" y="136"/>
                  <a:pt x="305" y="147"/>
                  <a:pt x="305" y="160"/>
                </a:cubicBezTo>
                <a:cubicBezTo>
                  <a:pt x="305" y="174"/>
                  <a:pt x="294" y="184"/>
                  <a:pt x="281" y="18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Freeform 110"/>
          <p:cNvSpPr>
            <a:spLocks noEditPoints="1"/>
          </p:cNvSpPr>
          <p:nvPr/>
        </p:nvSpPr>
        <p:spPr bwMode="auto">
          <a:xfrm rot="1599326">
            <a:off x="4020518" y="2876961"/>
            <a:ext cx="203340" cy="166708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28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irâmide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2946296" y="1543050"/>
            <a:ext cx="3229055" cy="2743995"/>
          </a:xfrm>
          <a:custGeom>
            <a:avLst/>
            <a:gdLst>
              <a:gd name="T0" fmla="*/ 0 w 6211"/>
              <a:gd name="T1" fmla="*/ 5278 h 5278"/>
              <a:gd name="T2" fmla="*/ 6211 w 6211"/>
              <a:gd name="T3" fmla="*/ 5278 h 5278"/>
              <a:gd name="T4" fmla="*/ 3127 w 6211"/>
              <a:gd name="T5" fmla="*/ 0 h 5278"/>
              <a:gd name="T6" fmla="*/ 0 w 6211"/>
              <a:gd name="T7" fmla="*/ 5278 h 5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11" h="5278">
                <a:moveTo>
                  <a:pt x="0" y="5278"/>
                </a:moveTo>
                <a:lnTo>
                  <a:pt x="6211" y="5278"/>
                </a:lnTo>
                <a:lnTo>
                  <a:pt x="3127" y="0"/>
                </a:lnTo>
                <a:lnTo>
                  <a:pt x="0" y="527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2865192" y="3792627"/>
            <a:ext cx="3413617" cy="494418"/>
          </a:xfrm>
          <a:custGeom>
            <a:avLst/>
            <a:gdLst>
              <a:gd name="T0" fmla="*/ 0 w 6566"/>
              <a:gd name="T1" fmla="*/ 951 h 951"/>
              <a:gd name="T2" fmla="*/ 6566 w 6566"/>
              <a:gd name="T3" fmla="*/ 951 h 951"/>
              <a:gd name="T4" fmla="*/ 5940 w 6566"/>
              <a:gd name="T5" fmla="*/ 0 h 951"/>
              <a:gd name="T6" fmla="*/ 616 w 6566"/>
              <a:gd name="T7" fmla="*/ 0 h 951"/>
              <a:gd name="T8" fmla="*/ 0 w 6566"/>
              <a:gd name="T9" fmla="*/ 951 h 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566" h="951">
                <a:moveTo>
                  <a:pt x="0" y="951"/>
                </a:moveTo>
                <a:lnTo>
                  <a:pt x="6566" y="951"/>
                </a:lnTo>
                <a:lnTo>
                  <a:pt x="5940" y="0"/>
                </a:lnTo>
                <a:lnTo>
                  <a:pt x="616" y="0"/>
                </a:lnTo>
                <a:lnTo>
                  <a:pt x="0" y="9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Freeform 12"/>
          <p:cNvSpPr>
            <a:spLocks/>
          </p:cNvSpPr>
          <p:nvPr/>
        </p:nvSpPr>
        <p:spPr bwMode="auto">
          <a:xfrm>
            <a:off x="2865192" y="4287045"/>
            <a:ext cx="3413617" cy="0"/>
          </a:xfrm>
          <a:custGeom>
            <a:avLst/>
            <a:gdLst>
              <a:gd name="T0" fmla="*/ 6566 w 6566"/>
              <a:gd name="T1" fmla="*/ 0 w 6566"/>
              <a:gd name="T2" fmla="*/ 6566 w 656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6566">
                <a:moveTo>
                  <a:pt x="6566" y="0"/>
                </a:moveTo>
                <a:lnTo>
                  <a:pt x="0" y="0"/>
                </a:lnTo>
                <a:lnTo>
                  <a:pt x="6566" y="0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9" name="Group 18"/>
          <p:cNvGrpSpPr/>
          <p:nvPr/>
        </p:nvGrpSpPr>
        <p:grpSpPr>
          <a:xfrm>
            <a:off x="3217160" y="3216066"/>
            <a:ext cx="2710202" cy="585918"/>
            <a:chOff x="3217160" y="3216066"/>
            <a:chExt cx="2710202" cy="585918"/>
          </a:xfrm>
          <a:solidFill>
            <a:srgbClr val="EC0000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837940" y="3710484"/>
              <a:ext cx="89421" cy="82143"/>
            </a:xfrm>
            <a:custGeom>
              <a:avLst/>
              <a:gdLst>
                <a:gd name="T0" fmla="*/ 0 w 172"/>
                <a:gd name="T1" fmla="*/ 0 h 158"/>
                <a:gd name="T2" fmla="*/ 93 w 172"/>
                <a:gd name="T3" fmla="*/ 158 h 158"/>
                <a:gd name="T4" fmla="*/ 172 w 172"/>
                <a:gd name="T5" fmla="*/ 0 h 158"/>
                <a:gd name="T6" fmla="*/ 0 w 172"/>
                <a:gd name="T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2" h="158">
                  <a:moveTo>
                    <a:pt x="0" y="0"/>
                  </a:moveTo>
                  <a:lnTo>
                    <a:pt x="93" y="158"/>
                  </a:lnTo>
                  <a:lnTo>
                    <a:pt x="17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3217160" y="3216066"/>
              <a:ext cx="2710202" cy="494418"/>
            </a:xfrm>
            <a:custGeom>
              <a:avLst/>
              <a:gdLst>
                <a:gd name="T0" fmla="*/ 634 w 5213"/>
                <a:gd name="T1" fmla="*/ 0 h 951"/>
                <a:gd name="T2" fmla="*/ 0 w 5213"/>
                <a:gd name="T3" fmla="*/ 951 h 951"/>
                <a:gd name="T4" fmla="*/ 5213 w 5213"/>
                <a:gd name="T5" fmla="*/ 951 h 951"/>
                <a:gd name="T6" fmla="*/ 4590 w 5213"/>
                <a:gd name="T7" fmla="*/ 0 h 951"/>
                <a:gd name="T8" fmla="*/ 634 w 5213"/>
                <a:gd name="T9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3" h="951">
                  <a:moveTo>
                    <a:pt x="634" y="0"/>
                  </a:moveTo>
                  <a:lnTo>
                    <a:pt x="0" y="951"/>
                  </a:lnTo>
                  <a:lnTo>
                    <a:pt x="5213" y="951"/>
                  </a:lnTo>
                  <a:lnTo>
                    <a:pt x="4590" y="0"/>
                  </a:lnTo>
                  <a:lnTo>
                    <a:pt x="63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3217160" y="3710483"/>
              <a:ext cx="71226" cy="91501"/>
            </a:xfrm>
            <a:custGeom>
              <a:avLst/>
              <a:gdLst>
                <a:gd name="T0" fmla="*/ 0 w 137"/>
                <a:gd name="T1" fmla="*/ 0 h 176"/>
                <a:gd name="T2" fmla="*/ 32 w 137"/>
                <a:gd name="T3" fmla="*/ 176 h 176"/>
                <a:gd name="T4" fmla="*/ 137 w 137"/>
                <a:gd name="T5" fmla="*/ 0 h 176"/>
                <a:gd name="T6" fmla="*/ 0 w 137"/>
                <a:gd name="T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7" h="176">
                  <a:moveTo>
                    <a:pt x="0" y="0"/>
                  </a:moveTo>
                  <a:lnTo>
                    <a:pt x="32" y="176"/>
                  </a:lnTo>
                  <a:lnTo>
                    <a:pt x="13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568607" y="2638983"/>
            <a:ext cx="2006788" cy="577083"/>
            <a:chOff x="3568607" y="2638983"/>
            <a:chExt cx="2006788" cy="577083"/>
          </a:xfrm>
        </p:grpSpPr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3568607" y="2638983"/>
              <a:ext cx="2006786" cy="494938"/>
            </a:xfrm>
            <a:custGeom>
              <a:avLst/>
              <a:gdLst>
                <a:gd name="T0" fmla="*/ 623 w 3860"/>
                <a:gd name="T1" fmla="*/ 0 h 952"/>
                <a:gd name="T2" fmla="*/ 0 w 3860"/>
                <a:gd name="T3" fmla="*/ 952 h 952"/>
                <a:gd name="T4" fmla="*/ 3860 w 3860"/>
                <a:gd name="T5" fmla="*/ 952 h 952"/>
                <a:gd name="T6" fmla="*/ 3228 w 3860"/>
                <a:gd name="T7" fmla="*/ 0 h 952"/>
                <a:gd name="T8" fmla="*/ 623 w 3860"/>
                <a:gd name="T9" fmla="*/ 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60" h="952">
                  <a:moveTo>
                    <a:pt x="623" y="0"/>
                  </a:moveTo>
                  <a:lnTo>
                    <a:pt x="0" y="952"/>
                  </a:lnTo>
                  <a:lnTo>
                    <a:pt x="3860" y="952"/>
                  </a:lnTo>
                  <a:lnTo>
                    <a:pt x="3228" y="0"/>
                  </a:lnTo>
                  <a:lnTo>
                    <a:pt x="62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3568607" y="3133923"/>
              <a:ext cx="61348" cy="82143"/>
            </a:xfrm>
            <a:custGeom>
              <a:avLst/>
              <a:gdLst>
                <a:gd name="T0" fmla="*/ 24 w 118"/>
                <a:gd name="T1" fmla="*/ 158 h 158"/>
                <a:gd name="T2" fmla="*/ 0 w 118"/>
                <a:gd name="T3" fmla="*/ 0 h 158"/>
                <a:gd name="T4" fmla="*/ 118 w 118"/>
                <a:gd name="T5" fmla="*/ 0 h 158"/>
                <a:gd name="T6" fmla="*/ 24 w 118"/>
                <a:gd name="T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158">
                  <a:moveTo>
                    <a:pt x="24" y="158"/>
                  </a:moveTo>
                  <a:lnTo>
                    <a:pt x="0" y="0"/>
                  </a:lnTo>
                  <a:lnTo>
                    <a:pt x="118" y="0"/>
                  </a:lnTo>
                  <a:lnTo>
                    <a:pt x="24" y="158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5501570" y="3133923"/>
              <a:ext cx="73825" cy="82143"/>
            </a:xfrm>
            <a:custGeom>
              <a:avLst/>
              <a:gdLst>
                <a:gd name="T0" fmla="*/ 0 w 142"/>
                <a:gd name="T1" fmla="*/ 0 h 158"/>
                <a:gd name="T2" fmla="*/ 92 w 142"/>
                <a:gd name="T3" fmla="*/ 158 h 158"/>
                <a:gd name="T4" fmla="*/ 142 w 142"/>
                <a:gd name="T5" fmla="*/ 0 h 158"/>
                <a:gd name="T6" fmla="*/ 0 w 142"/>
                <a:gd name="T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2" h="158">
                  <a:moveTo>
                    <a:pt x="0" y="0"/>
                  </a:moveTo>
                  <a:lnTo>
                    <a:pt x="92" y="158"/>
                  </a:lnTo>
                  <a:lnTo>
                    <a:pt x="14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920575" y="2062423"/>
            <a:ext cx="1302852" cy="576561"/>
            <a:chOff x="3920575" y="2062423"/>
            <a:chExt cx="1302852" cy="576561"/>
          </a:xfrm>
        </p:grpSpPr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3920575" y="2062423"/>
              <a:ext cx="1302852" cy="494418"/>
            </a:xfrm>
            <a:custGeom>
              <a:avLst/>
              <a:gdLst>
                <a:gd name="T0" fmla="*/ 612 w 2506"/>
                <a:gd name="T1" fmla="*/ 0 h 951"/>
                <a:gd name="T2" fmla="*/ 0 w 2506"/>
                <a:gd name="T3" fmla="*/ 951 h 951"/>
                <a:gd name="T4" fmla="*/ 2506 w 2506"/>
                <a:gd name="T5" fmla="*/ 951 h 951"/>
                <a:gd name="T6" fmla="*/ 1891 w 2506"/>
                <a:gd name="T7" fmla="*/ 0 h 951"/>
                <a:gd name="T8" fmla="*/ 612 w 2506"/>
                <a:gd name="T9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06" h="951">
                  <a:moveTo>
                    <a:pt x="612" y="0"/>
                  </a:moveTo>
                  <a:lnTo>
                    <a:pt x="0" y="951"/>
                  </a:lnTo>
                  <a:lnTo>
                    <a:pt x="2506" y="951"/>
                  </a:lnTo>
                  <a:lnTo>
                    <a:pt x="1891" y="0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3920575" y="2556841"/>
              <a:ext cx="50950" cy="82143"/>
            </a:xfrm>
            <a:custGeom>
              <a:avLst/>
              <a:gdLst>
                <a:gd name="T0" fmla="*/ 4 w 98"/>
                <a:gd name="T1" fmla="*/ 158 h 158"/>
                <a:gd name="T2" fmla="*/ 0 w 98"/>
                <a:gd name="T3" fmla="*/ 0 h 158"/>
                <a:gd name="T4" fmla="*/ 98 w 98"/>
                <a:gd name="T5" fmla="*/ 0 h 158"/>
                <a:gd name="T6" fmla="*/ 4 w 98"/>
                <a:gd name="T7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8" h="158">
                  <a:moveTo>
                    <a:pt x="4" y="158"/>
                  </a:moveTo>
                  <a:lnTo>
                    <a:pt x="0" y="0"/>
                  </a:lnTo>
                  <a:lnTo>
                    <a:pt x="98" y="0"/>
                  </a:lnTo>
                  <a:lnTo>
                    <a:pt x="4" y="15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5164159" y="2556841"/>
              <a:ext cx="59268" cy="82143"/>
            </a:xfrm>
            <a:custGeom>
              <a:avLst/>
              <a:gdLst>
                <a:gd name="T0" fmla="*/ 0 w 114"/>
                <a:gd name="T1" fmla="*/ 0 h 158"/>
                <a:gd name="T2" fmla="*/ 93 w 114"/>
                <a:gd name="T3" fmla="*/ 158 h 158"/>
                <a:gd name="T4" fmla="*/ 114 w 114"/>
                <a:gd name="T5" fmla="*/ 0 h 158"/>
                <a:gd name="T6" fmla="*/ 0 w 114"/>
                <a:gd name="T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58">
                  <a:moveTo>
                    <a:pt x="0" y="0"/>
                  </a:moveTo>
                  <a:lnTo>
                    <a:pt x="93" y="158"/>
                  </a:lnTo>
                  <a:lnTo>
                    <a:pt x="1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264744" y="1543050"/>
            <a:ext cx="606715" cy="519372"/>
            <a:chOff x="4264744" y="1543050"/>
            <a:chExt cx="606715" cy="519372"/>
          </a:xfrm>
        </p:grpSpPr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4272542" y="1543050"/>
              <a:ext cx="598916" cy="421113"/>
            </a:xfrm>
            <a:custGeom>
              <a:avLst/>
              <a:gdLst>
                <a:gd name="T0" fmla="*/ 576 w 1152"/>
                <a:gd name="T1" fmla="*/ 0 h 810"/>
                <a:gd name="T2" fmla="*/ 0 w 1152"/>
                <a:gd name="T3" fmla="*/ 810 h 810"/>
                <a:gd name="T4" fmla="*/ 1152 w 1152"/>
                <a:gd name="T5" fmla="*/ 810 h 810"/>
                <a:gd name="T6" fmla="*/ 576 w 1152"/>
                <a:gd name="T7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2" h="810">
                  <a:moveTo>
                    <a:pt x="576" y="0"/>
                  </a:moveTo>
                  <a:lnTo>
                    <a:pt x="0" y="810"/>
                  </a:lnTo>
                  <a:lnTo>
                    <a:pt x="1152" y="810"/>
                  </a:lnTo>
                  <a:lnTo>
                    <a:pt x="57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4264744" y="1964163"/>
              <a:ext cx="57708" cy="98259"/>
            </a:xfrm>
            <a:custGeom>
              <a:avLst/>
              <a:gdLst>
                <a:gd name="T0" fmla="*/ 15 w 111"/>
                <a:gd name="T1" fmla="*/ 0 h 189"/>
                <a:gd name="T2" fmla="*/ 0 w 111"/>
                <a:gd name="T3" fmla="*/ 189 h 189"/>
                <a:gd name="T4" fmla="*/ 111 w 111"/>
                <a:gd name="T5" fmla="*/ 0 h 189"/>
                <a:gd name="T6" fmla="*/ 15 w 111"/>
                <a:gd name="T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189">
                  <a:moveTo>
                    <a:pt x="15" y="0"/>
                  </a:moveTo>
                  <a:lnTo>
                    <a:pt x="0" y="189"/>
                  </a:lnTo>
                  <a:lnTo>
                    <a:pt x="111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4817910" y="1964163"/>
              <a:ext cx="53549" cy="98259"/>
            </a:xfrm>
            <a:custGeom>
              <a:avLst/>
              <a:gdLst>
                <a:gd name="T0" fmla="*/ 0 w 103"/>
                <a:gd name="T1" fmla="*/ 0 h 189"/>
                <a:gd name="T2" fmla="*/ 103 w 103"/>
                <a:gd name="T3" fmla="*/ 189 h 189"/>
                <a:gd name="T4" fmla="*/ 103 w 103"/>
                <a:gd name="T5" fmla="*/ 0 h 189"/>
                <a:gd name="T6" fmla="*/ 0 w 103"/>
                <a:gd name="T7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3" h="189">
                  <a:moveTo>
                    <a:pt x="0" y="0"/>
                  </a:moveTo>
                  <a:lnTo>
                    <a:pt x="103" y="189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4346577" y="3963517"/>
            <a:ext cx="4508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01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346577" y="3364748"/>
            <a:ext cx="4508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02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346577" y="2785436"/>
            <a:ext cx="4508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03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346577" y="2209218"/>
            <a:ext cx="4508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04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4346577" y="1706110"/>
            <a:ext cx="4508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bg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05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5713578" y="1977016"/>
            <a:ext cx="2001672" cy="495194"/>
            <a:chOff x="5713578" y="1977016"/>
            <a:chExt cx="2001672" cy="495194"/>
          </a:xfrm>
        </p:grpSpPr>
        <p:sp>
          <p:nvSpPr>
            <p:cNvPr id="47" name="TextBox 46"/>
            <p:cNvSpPr txBox="1"/>
            <p:nvPr/>
          </p:nvSpPr>
          <p:spPr>
            <a:xfrm>
              <a:off x="5713610" y="1977016"/>
              <a:ext cx="200164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Lançament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&amp;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anunten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713578" y="2168857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5148353" y="2067406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6406339" y="3135484"/>
            <a:ext cx="1777804" cy="493783"/>
            <a:chOff x="6406339" y="3135484"/>
            <a:chExt cx="1777804" cy="493783"/>
          </a:xfrm>
        </p:grpSpPr>
        <p:sp>
          <p:nvSpPr>
            <p:cNvPr id="56" name="TextBox 55"/>
            <p:cNvSpPr txBox="1"/>
            <p:nvPr/>
          </p:nvSpPr>
          <p:spPr>
            <a:xfrm>
              <a:off x="6406371" y="3135484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Design &amp;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406339" y="3327325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58" name="Straight Connector 57"/>
          <p:cNvCxnSpPr/>
          <p:nvPr/>
        </p:nvCxnSpPr>
        <p:spPr>
          <a:xfrm>
            <a:off x="5841114" y="3225874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/>
          <p:cNvGrpSpPr/>
          <p:nvPr/>
        </p:nvGrpSpPr>
        <p:grpSpPr>
          <a:xfrm>
            <a:off x="1311826" y="2555132"/>
            <a:ext cx="1777804" cy="493783"/>
            <a:chOff x="1311826" y="2555132"/>
            <a:chExt cx="1777804" cy="493783"/>
          </a:xfrm>
        </p:grpSpPr>
        <p:sp>
          <p:nvSpPr>
            <p:cNvPr id="67" name="TextBox 66"/>
            <p:cNvSpPr txBox="1"/>
            <p:nvPr/>
          </p:nvSpPr>
          <p:spPr>
            <a:xfrm>
              <a:off x="1311858" y="2555132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visã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&amp; test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1311826" y="2746973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69" name="Straight Connector 68"/>
          <p:cNvCxnSpPr/>
          <p:nvPr/>
        </p:nvCxnSpPr>
        <p:spPr>
          <a:xfrm>
            <a:off x="3361676" y="2641607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598877" y="3706694"/>
            <a:ext cx="1777804" cy="493783"/>
            <a:chOff x="598877" y="3706694"/>
            <a:chExt cx="1777804" cy="493783"/>
          </a:xfrm>
        </p:grpSpPr>
        <p:sp>
          <p:nvSpPr>
            <p:cNvPr id="74" name="TextBox 73"/>
            <p:cNvSpPr txBox="1"/>
            <p:nvPr/>
          </p:nvSpPr>
          <p:spPr>
            <a:xfrm>
              <a:off x="598909" y="3706694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tótip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598877" y="3898535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76" name="Straight Connector 75"/>
          <p:cNvCxnSpPr/>
          <p:nvPr/>
        </p:nvCxnSpPr>
        <p:spPr>
          <a:xfrm>
            <a:off x="2648727" y="3793169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1996789" y="1453845"/>
            <a:ext cx="1777804" cy="493783"/>
            <a:chOff x="1996789" y="1453845"/>
            <a:chExt cx="1777804" cy="493783"/>
          </a:xfrm>
        </p:grpSpPr>
        <p:sp>
          <p:nvSpPr>
            <p:cNvPr id="78" name="TextBox 77"/>
            <p:cNvSpPr txBox="1"/>
            <p:nvPr/>
          </p:nvSpPr>
          <p:spPr>
            <a:xfrm>
              <a:off x="1996821" y="145384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996789" y="1645686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80" name="Straight Connector 79"/>
          <p:cNvCxnSpPr/>
          <p:nvPr/>
        </p:nvCxnSpPr>
        <p:spPr>
          <a:xfrm>
            <a:off x="4046639" y="1540320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975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208867" y="1559986"/>
            <a:ext cx="2726266" cy="2726264"/>
            <a:chOff x="3208867" y="1559986"/>
            <a:chExt cx="2726266" cy="2726264"/>
          </a:xfrm>
        </p:grpSpPr>
        <p:sp>
          <p:nvSpPr>
            <p:cNvPr id="12" name="Oval 11"/>
            <p:cNvSpPr/>
            <p:nvPr/>
          </p:nvSpPr>
          <p:spPr>
            <a:xfrm>
              <a:off x="3334963" y="1691618"/>
              <a:ext cx="2474073" cy="2474072"/>
            </a:xfrm>
            <a:prstGeom prst="ellipse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Teardrop 12"/>
            <p:cNvSpPr/>
            <p:nvPr/>
          </p:nvSpPr>
          <p:spPr>
            <a:xfrm rot="10800000">
              <a:off x="4572000" y="1559986"/>
              <a:ext cx="1363133" cy="1363132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4" name="Teardrop 13"/>
            <p:cNvSpPr/>
            <p:nvPr/>
          </p:nvSpPr>
          <p:spPr>
            <a:xfrm rot="10800000" flipH="1">
              <a:off x="3208867" y="1559986"/>
              <a:ext cx="1363133" cy="1363132"/>
            </a:xfrm>
            <a:prstGeom prst="teardrop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5" name="Teardrop 14"/>
            <p:cNvSpPr/>
            <p:nvPr/>
          </p:nvSpPr>
          <p:spPr>
            <a:xfrm rot="10800000" flipV="1">
              <a:off x="4572000" y="2923118"/>
              <a:ext cx="1363133" cy="1363132"/>
            </a:xfrm>
            <a:prstGeom prst="teardrop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6" name="Teardrop 15"/>
            <p:cNvSpPr/>
            <p:nvPr/>
          </p:nvSpPr>
          <p:spPr>
            <a:xfrm rot="10800000" flipH="1" flipV="1">
              <a:off x="3208867" y="2923118"/>
              <a:ext cx="1363133" cy="1363132"/>
            </a:xfrm>
            <a:prstGeom prst="teardrop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1" name="Freeform 38"/>
            <p:cNvSpPr>
              <a:spLocks noEditPoints="1"/>
            </p:cNvSpPr>
            <p:nvPr/>
          </p:nvSpPr>
          <p:spPr bwMode="auto">
            <a:xfrm>
              <a:off x="4423290" y="2774951"/>
              <a:ext cx="297420" cy="296334"/>
            </a:xfrm>
            <a:custGeom>
              <a:avLst/>
              <a:gdLst>
                <a:gd name="T0" fmla="*/ 345 w 353"/>
                <a:gd name="T1" fmla="*/ 168 h 353"/>
                <a:gd name="T2" fmla="*/ 337 w 353"/>
                <a:gd name="T3" fmla="*/ 176 h 353"/>
                <a:gd name="T4" fmla="*/ 177 w 353"/>
                <a:gd name="T5" fmla="*/ 337 h 353"/>
                <a:gd name="T6" fmla="*/ 48 w 353"/>
                <a:gd name="T7" fmla="*/ 273 h 353"/>
                <a:gd name="T8" fmla="*/ 112 w 353"/>
                <a:gd name="T9" fmla="*/ 273 h 353"/>
                <a:gd name="T10" fmla="*/ 120 w 353"/>
                <a:gd name="T11" fmla="*/ 265 h 353"/>
                <a:gd name="T12" fmla="*/ 112 w 353"/>
                <a:gd name="T13" fmla="*/ 257 h 353"/>
                <a:gd name="T14" fmla="*/ 32 w 353"/>
                <a:gd name="T15" fmla="*/ 257 h 353"/>
                <a:gd name="T16" fmla="*/ 24 w 353"/>
                <a:gd name="T17" fmla="*/ 265 h 353"/>
                <a:gd name="T18" fmla="*/ 24 w 353"/>
                <a:gd name="T19" fmla="*/ 345 h 353"/>
                <a:gd name="T20" fmla="*/ 32 w 353"/>
                <a:gd name="T21" fmla="*/ 353 h 353"/>
                <a:gd name="T22" fmla="*/ 40 w 353"/>
                <a:gd name="T23" fmla="*/ 345 h 353"/>
                <a:gd name="T24" fmla="*/ 40 w 353"/>
                <a:gd name="T25" fmla="*/ 288 h 353"/>
                <a:gd name="T26" fmla="*/ 177 w 353"/>
                <a:gd name="T27" fmla="*/ 353 h 353"/>
                <a:gd name="T28" fmla="*/ 353 w 353"/>
                <a:gd name="T29" fmla="*/ 176 h 353"/>
                <a:gd name="T30" fmla="*/ 345 w 353"/>
                <a:gd name="T31" fmla="*/ 168 h 353"/>
                <a:gd name="T32" fmla="*/ 177 w 353"/>
                <a:gd name="T33" fmla="*/ 16 h 353"/>
                <a:gd name="T34" fmla="*/ 305 w 353"/>
                <a:gd name="T35" fmla="*/ 80 h 353"/>
                <a:gd name="T36" fmla="*/ 241 w 353"/>
                <a:gd name="T37" fmla="*/ 80 h 353"/>
                <a:gd name="T38" fmla="*/ 233 w 353"/>
                <a:gd name="T39" fmla="*/ 88 h 353"/>
                <a:gd name="T40" fmla="*/ 241 w 353"/>
                <a:gd name="T41" fmla="*/ 96 h 353"/>
                <a:gd name="T42" fmla="*/ 321 w 353"/>
                <a:gd name="T43" fmla="*/ 96 h 353"/>
                <a:gd name="T44" fmla="*/ 329 w 353"/>
                <a:gd name="T45" fmla="*/ 88 h 353"/>
                <a:gd name="T46" fmla="*/ 329 w 353"/>
                <a:gd name="T47" fmla="*/ 8 h 353"/>
                <a:gd name="T48" fmla="*/ 321 w 353"/>
                <a:gd name="T49" fmla="*/ 0 h 353"/>
                <a:gd name="T50" fmla="*/ 313 w 353"/>
                <a:gd name="T51" fmla="*/ 8 h 353"/>
                <a:gd name="T52" fmla="*/ 313 w 353"/>
                <a:gd name="T53" fmla="*/ 64 h 353"/>
                <a:gd name="T54" fmla="*/ 177 w 353"/>
                <a:gd name="T55" fmla="*/ 0 h 353"/>
                <a:gd name="T56" fmla="*/ 0 w 353"/>
                <a:gd name="T57" fmla="*/ 176 h 353"/>
                <a:gd name="T58" fmla="*/ 8 w 353"/>
                <a:gd name="T59" fmla="*/ 184 h 353"/>
                <a:gd name="T60" fmla="*/ 16 w 353"/>
                <a:gd name="T61" fmla="*/ 176 h 353"/>
                <a:gd name="T62" fmla="*/ 177 w 353"/>
                <a:gd name="T63" fmla="*/ 16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3" h="353">
                  <a:moveTo>
                    <a:pt x="345" y="168"/>
                  </a:moveTo>
                  <a:cubicBezTo>
                    <a:pt x="341" y="168"/>
                    <a:pt x="337" y="172"/>
                    <a:pt x="337" y="176"/>
                  </a:cubicBezTo>
                  <a:cubicBezTo>
                    <a:pt x="337" y="265"/>
                    <a:pt x="265" y="337"/>
                    <a:pt x="177" y="337"/>
                  </a:cubicBezTo>
                  <a:cubicBezTo>
                    <a:pt x="124" y="337"/>
                    <a:pt x="77" y="312"/>
                    <a:pt x="48" y="273"/>
                  </a:cubicBezTo>
                  <a:cubicBezTo>
                    <a:pt x="112" y="273"/>
                    <a:pt x="112" y="273"/>
                    <a:pt x="112" y="273"/>
                  </a:cubicBezTo>
                  <a:cubicBezTo>
                    <a:pt x="117" y="273"/>
                    <a:pt x="120" y="269"/>
                    <a:pt x="120" y="265"/>
                  </a:cubicBezTo>
                  <a:cubicBezTo>
                    <a:pt x="120" y="260"/>
                    <a:pt x="117" y="257"/>
                    <a:pt x="112" y="257"/>
                  </a:cubicBezTo>
                  <a:cubicBezTo>
                    <a:pt x="32" y="257"/>
                    <a:pt x="32" y="257"/>
                    <a:pt x="32" y="257"/>
                  </a:cubicBezTo>
                  <a:cubicBezTo>
                    <a:pt x="28" y="257"/>
                    <a:pt x="24" y="260"/>
                    <a:pt x="24" y="265"/>
                  </a:cubicBezTo>
                  <a:cubicBezTo>
                    <a:pt x="24" y="345"/>
                    <a:pt x="24" y="345"/>
                    <a:pt x="24" y="345"/>
                  </a:cubicBezTo>
                  <a:cubicBezTo>
                    <a:pt x="24" y="349"/>
                    <a:pt x="28" y="353"/>
                    <a:pt x="32" y="353"/>
                  </a:cubicBezTo>
                  <a:cubicBezTo>
                    <a:pt x="36" y="353"/>
                    <a:pt x="40" y="349"/>
                    <a:pt x="40" y="345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72" y="328"/>
                    <a:pt x="121" y="353"/>
                    <a:pt x="177" y="353"/>
                  </a:cubicBezTo>
                  <a:cubicBezTo>
                    <a:pt x="274" y="353"/>
                    <a:pt x="353" y="274"/>
                    <a:pt x="353" y="176"/>
                  </a:cubicBezTo>
                  <a:cubicBezTo>
                    <a:pt x="353" y="172"/>
                    <a:pt x="350" y="168"/>
                    <a:pt x="345" y="168"/>
                  </a:cubicBezTo>
                  <a:moveTo>
                    <a:pt x="177" y="16"/>
                  </a:moveTo>
                  <a:cubicBezTo>
                    <a:pt x="229" y="16"/>
                    <a:pt x="276" y="41"/>
                    <a:pt x="305" y="80"/>
                  </a:cubicBezTo>
                  <a:cubicBezTo>
                    <a:pt x="241" y="80"/>
                    <a:pt x="241" y="80"/>
                    <a:pt x="241" y="80"/>
                  </a:cubicBezTo>
                  <a:cubicBezTo>
                    <a:pt x="236" y="80"/>
                    <a:pt x="233" y="84"/>
                    <a:pt x="233" y="88"/>
                  </a:cubicBezTo>
                  <a:cubicBezTo>
                    <a:pt x="233" y="92"/>
                    <a:pt x="236" y="96"/>
                    <a:pt x="241" y="96"/>
                  </a:cubicBezTo>
                  <a:cubicBezTo>
                    <a:pt x="321" y="96"/>
                    <a:pt x="321" y="96"/>
                    <a:pt x="321" y="96"/>
                  </a:cubicBezTo>
                  <a:cubicBezTo>
                    <a:pt x="325" y="96"/>
                    <a:pt x="329" y="92"/>
                    <a:pt x="329" y="88"/>
                  </a:cubicBezTo>
                  <a:cubicBezTo>
                    <a:pt x="329" y="8"/>
                    <a:pt x="329" y="8"/>
                    <a:pt x="329" y="8"/>
                  </a:cubicBezTo>
                  <a:cubicBezTo>
                    <a:pt x="329" y="3"/>
                    <a:pt x="325" y="0"/>
                    <a:pt x="321" y="0"/>
                  </a:cubicBezTo>
                  <a:cubicBezTo>
                    <a:pt x="317" y="0"/>
                    <a:pt x="313" y="3"/>
                    <a:pt x="313" y="8"/>
                  </a:cubicBezTo>
                  <a:cubicBezTo>
                    <a:pt x="313" y="64"/>
                    <a:pt x="313" y="64"/>
                    <a:pt x="313" y="64"/>
                  </a:cubicBezTo>
                  <a:cubicBezTo>
                    <a:pt x="281" y="25"/>
                    <a:pt x="232" y="0"/>
                    <a:pt x="177" y="0"/>
                  </a:cubicBezTo>
                  <a:cubicBezTo>
                    <a:pt x="79" y="0"/>
                    <a:pt x="0" y="79"/>
                    <a:pt x="0" y="176"/>
                  </a:cubicBezTo>
                  <a:cubicBezTo>
                    <a:pt x="0" y="181"/>
                    <a:pt x="3" y="184"/>
                    <a:pt x="8" y="184"/>
                  </a:cubicBezTo>
                  <a:cubicBezTo>
                    <a:pt x="12" y="184"/>
                    <a:pt x="16" y="181"/>
                    <a:pt x="16" y="176"/>
                  </a:cubicBezTo>
                  <a:cubicBezTo>
                    <a:pt x="16" y="88"/>
                    <a:pt x="88" y="16"/>
                    <a:pt x="177" y="1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cxnSp>
        <p:nvCxnSpPr>
          <p:cNvPr id="44" name="Straight Connector 43"/>
          <p:cNvCxnSpPr/>
          <p:nvPr/>
        </p:nvCxnSpPr>
        <p:spPr>
          <a:xfrm>
            <a:off x="2860676" y="2073275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2860676" y="3444875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relativ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7" name="Freeform 35"/>
          <p:cNvSpPr>
            <a:spLocks noEditPoints="1"/>
          </p:cNvSpPr>
          <p:nvPr/>
        </p:nvSpPr>
        <p:spPr bwMode="auto">
          <a:xfrm>
            <a:off x="3826061" y="3275113"/>
            <a:ext cx="228859" cy="315986"/>
          </a:xfrm>
          <a:custGeom>
            <a:avLst/>
            <a:gdLst>
              <a:gd name="T0" fmla="*/ 129 w 257"/>
              <a:gd name="T1" fmla="*/ 0 h 353"/>
              <a:gd name="T2" fmla="*/ 0 w 257"/>
              <a:gd name="T3" fmla="*/ 128 h 353"/>
              <a:gd name="T4" fmla="*/ 129 w 257"/>
              <a:gd name="T5" fmla="*/ 353 h 353"/>
              <a:gd name="T6" fmla="*/ 257 w 257"/>
              <a:gd name="T7" fmla="*/ 128 h 353"/>
              <a:gd name="T8" fmla="*/ 129 w 257"/>
              <a:gd name="T9" fmla="*/ 0 h 353"/>
              <a:gd name="T10" fmla="*/ 129 w 257"/>
              <a:gd name="T11" fmla="*/ 329 h 353"/>
              <a:gd name="T12" fmla="*/ 16 w 257"/>
              <a:gd name="T13" fmla="*/ 128 h 353"/>
              <a:gd name="T14" fmla="*/ 129 w 257"/>
              <a:gd name="T15" fmla="*/ 16 h 353"/>
              <a:gd name="T16" fmla="*/ 241 w 257"/>
              <a:gd name="T17" fmla="*/ 128 h 353"/>
              <a:gd name="T18" fmla="*/ 129 w 257"/>
              <a:gd name="T19" fmla="*/ 329 h 353"/>
              <a:gd name="T20" fmla="*/ 129 w 257"/>
              <a:gd name="T21" fmla="*/ 64 h 353"/>
              <a:gd name="T22" fmla="*/ 64 w 257"/>
              <a:gd name="T23" fmla="*/ 128 h 353"/>
              <a:gd name="T24" fmla="*/ 129 w 257"/>
              <a:gd name="T25" fmla="*/ 193 h 353"/>
              <a:gd name="T26" fmla="*/ 193 w 257"/>
              <a:gd name="T27" fmla="*/ 128 h 353"/>
              <a:gd name="T28" fmla="*/ 129 w 257"/>
              <a:gd name="T29" fmla="*/ 64 h 353"/>
              <a:gd name="T30" fmla="*/ 129 w 257"/>
              <a:gd name="T31" fmla="*/ 177 h 353"/>
              <a:gd name="T32" fmla="*/ 80 w 257"/>
              <a:gd name="T33" fmla="*/ 128 h 353"/>
              <a:gd name="T34" fmla="*/ 129 w 257"/>
              <a:gd name="T35" fmla="*/ 80 h 353"/>
              <a:gd name="T36" fmla="*/ 177 w 257"/>
              <a:gd name="T37" fmla="*/ 128 h 353"/>
              <a:gd name="T38" fmla="*/ 129 w 257"/>
              <a:gd name="T39" fmla="*/ 17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57" h="353">
                <a:moveTo>
                  <a:pt x="129" y="0"/>
                </a:moveTo>
                <a:cubicBezTo>
                  <a:pt x="58" y="0"/>
                  <a:pt x="0" y="57"/>
                  <a:pt x="0" y="128"/>
                </a:cubicBezTo>
                <a:cubicBezTo>
                  <a:pt x="0" y="233"/>
                  <a:pt x="129" y="353"/>
                  <a:pt x="129" y="353"/>
                </a:cubicBezTo>
                <a:cubicBezTo>
                  <a:pt x="129" y="353"/>
                  <a:pt x="257" y="233"/>
                  <a:pt x="257" y="128"/>
                </a:cubicBezTo>
                <a:cubicBezTo>
                  <a:pt x="257" y="57"/>
                  <a:pt x="199" y="0"/>
                  <a:pt x="129" y="0"/>
                </a:cubicBezTo>
                <a:moveTo>
                  <a:pt x="129" y="329"/>
                </a:moveTo>
                <a:cubicBezTo>
                  <a:pt x="129" y="329"/>
                  <a:pt x="16" y="225"/>
                  <a:pt x="16" y="128"/>
                </a:cubicBezTo>
                <a:cubicBezTo>
                  <a:pt x="16" y="66"/>
                  <a:pt x="66" y="16"/>
                  <a:pt x="129" y="16"/>
                </a:cubicBezTo>
                <a:cubicBezTo>
                  <a:pt x="191" y="16"/>
                  <a:pt x="241" y="66"/>
                  <a:pt x="241" y="128"/>
                </a:cubicBezTo>
                <a:cubicBezTo>
                  <a:pt x="241" y="225"/>
                  <a:pt x="129" y="329"/>
                  <a:pt x="129" y="329"/>
                </a:cubicBezTo>
                <a:moveTo>
                  <a:pt x="129" y="64"/>
                </a:moveTo>
                <a:cubicBezTo>
                  <a:pt x="93" y="64"/>
                  <a:pt x="64" y="93"/>
                  <a:pt x="64" y="128"/>
                </a:cubicBezTo>
                <a:cubicBezTo>
                  <a:pt x="64" y="164"/>
                  <a:pt x="93" y="193"/>
                  <a:pt x="129" y="193"/>
                </a:cubicBezTo>
                <a:cubicBezTo>
                  <a:pt x="164" y="193"/>
                  <a:pt x="193" y="164"/>
                  <a:pt x="193" y="128"/>
                </a:cubicBezTo>
                <a:cubicBezTo>
                  <a:pt x="193" y="93"/>
                  <a:pt x="164" y="64"/>
                  <a:pt x="129" y="64"/>
                </a:cubicBezTo>
                <a:moveTo>
                  <a:pt x="129" y="177"/>
                </a:moveTo>
                <a:cubicBezTo>
                  <a:pt x="102" y="177"/>
                  <a:pt x="80" y="155"/>
                  <a:pt x="80" y="128"/>
                </a:cubicBezTo>
                <a:cubicBezTo>
                  <a:pt x="80" y="102"/>
                  <a:pt x="102" y="80"/>
                  <a:pt x="129" y="80"/>
                </a:cubicBezTo>
                <a:cubicBezTo>
                  <a:pt x="155" y="80"/>
                  <a:pt x="177" y="102"/>
                  <a:pt x="177" y="128"/>
                </a:cubicBezTo>
                <a:cubicBezTo>
                  <a:pt x="177" y="155"/>
                  <a:pt x="155" y="177"/>
                  <a:pt x="129" y="177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97"/>
          <p:cNvSpPr>
            <a:spLocks noEditPoints="1"/>
          </p:cNvSpPr>
          <p:nvPr/>
        </p:nvSpPr>
        <p:spPr bwMode="auto">
          <a:xfrm>
            <a:off x="5083116" y="1972997"/>
            <a:ext cx="339044" cy="277966"/>
          </a:xfrm>
          <a:custGeom>
            <a:avLst/>
            <a:gdLst>
              <a:gd name="T0" fmla="*/ 241 w 353"/>
              <a:gd name="T1" fmla="*/ 32 h 289"/>
              <a:gd name="T2" fmla="*/ 144 w 353"/>
              <a:gd name="T3" fmla="*/ 0 h 289"/>
              <a:gd name="T4" fmla="*/ 16 w 353"/>
              <a:gd name="T5" fmla="*/ 32 h 289"/>
              <a:gd name="T6" fmla="*/ 0 w 353"/>
              <a:gd name="T7" fmla="*/ 129 h 289"/>
              <a:gd name="T8" fmla="*/ 16 w 353"/>
              <a:gd name="T9" fmla="*/ 273 h 289"/>
              <a:gd name="T10" fmla="*/ 321 w 353"/>
              <a:gd name="T11" fmla="*/ 289 h 289"/>
              <a:gd name="T12" fmla="*/ 337 w 353"/>
              <a:gd name="T13" fmla="*/ 145 h 289"/>
              <a:gd name="T14" fmla="*/ 353 w 353"/>
              <a:gd name="T15" fmla="*/ 48 h 289"/>
              <a:gd name="T16" fmla="*/ 144 w 353"/>
              <a:gd name="T17" fmla="*/ 16 h 289"/>
              <a:gd name="T18" fmla="*/ 225 w 353"/>
              <a:gd name="T19" fmla="*/ 32 h 289"/>
              <a:gd name="T20" fmla="*/ 144 w 353"/>
              <a:gd name="T21" fmla="*/ 16 h 289"/>
              <a:gd name="T22" fmla="*/ 32 w 353"/>
              <a:gd name="T23" fmla="*/ 273 h 289"/>
              <a:gd name="T24" fmla="*/ 64 w 353"/>
              <a:gd name="T25" fmla="*/ 145 h 289"/>
              <a:gd name="T26" fmla="*/ 80 w 353"/>
              <a:gd name="T27" fmla="*/ 177 h 289"/>
              <a:gd name="T28" fmla="*/ 128 w 353"/>
              <a:gd name="T29" fmla="*/ 161 h 289"/>
              <a:gd name="T30" fmla="*/ 225 w 353"/>
              <a:gd name="T31" fmla="*/ 145 h 289"/>
              <a:gd name="T32" fmla="*/ 241 w 353"/>
              <a:gd name="T33" fmla="*/ 177 h 289"/>
              <a:gd name="T34" fmla="*/ 289 w 353"/>
              <a:gd name="T35" fmla="*/ 161 h 289"/>
              <a:gd name="T36" fmla="*/ 321 w 353"/>
              <a:gd name="T37" fmla="*/ 145 h 289"/>
              <a:gd name="T38" fmla="*/ 80 w 353"/>
              <a:gd name="T39" fmla="*/ 113 h 289"/>
              <a:gd name="T40" fmla="*/ 112 w 353"/>
              <a:gd name="T41" fmla="*/ 161 h 289"/>
              <a:gd name="T42" fmla="*/ 80 w 353"/>
              <a:gd name="T43" fmla="*/ 113 h 289"/>
              <a:gd name="T44" fmla="*/ 273 w 353"/>
              <a:gd name="T45" fmla="*/ 113 h 289"/>
              <a:gd name="T46" fmla="*/ 241 w 353"/>
              <a:gd name="T47" fmla="*/ 161 h 289"/>
              <a:gd name="T48" fmla="*/ 337 w 353"/>
              <a:gd name="T49" fmla="*/ 129 h 289"/>
              <a:gd name="T50" fmla="*/ 289 w 353"/>
              <a:gd name="T51" fmla="*/ 113 h 289"/>
              <a:gd name="T52" fmla="*/ 241 w 353"/>
              <a:gd name="T53" fmla="*/ 97 h 289"/>
              <a:gd name="T54" fmla="*/ 225 w 353"/>
              <a:gd name="T55" fmla="*/ 129 h 289"/>
              <a:gd name="T56" fmla="*/ 128 w 353"/>
              <a:gd name="T57" fmla="*/ 113 h 289"/>
              <a:gd name="T58" fmla="*/ 80 w 353"/>
              <a:gd name="T59" fmla="*/ 97 h 289"/>
              <a:gd name="T60" fmla="*/ 64 w 353"/>
              <a:gd name="T61" fmla="*/ 129 h 289"/>
              <a:gd name="T62" fmla="*/ 16 w 353"/>
              <a:gd name="T63" fmla="*/ 48 h 289"/>
              <a:gd name="T64" fmla="*/ 337 w 353"/>
              <a:gd name="T65" fmla="*/ 12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53" h="289">
                <a:moveTo>
                  <a:pt x="337" y="32"/>
                </a:moveTo>
                <a:cubicBezTo>
                  <a:pt x="241" y="32"/>
                  <a:pt x="241" y="32"/>
                  <a:pt x="241" y="32"/>
                </a:cubicBezTo>
                <a:cubicBezTo>
                  <a:pt x="241" y="15"/>
                  <a:pt x="226" y="0"/>
                  <a:pt x="209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27" y="0"/>
                  <a:pt x="112" y="15"/>
                  <a:pt x="11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40"/>
                  <a:pt x="0" y="48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38"/>
                  <a:pt x="7" y="145"/>
                  <a:pt x="16" y="145"/>
                </a:cubicBezTo>
                <a:cubicBezTo>
                  <a:pt x="16" y="273"/>
                  <a:pt x="16" y="273"/>
                  <a:pt x="16" y="273"/>
                </a:cubicBezTo>
                <a:cubicBezTo>
                  <a:pt x="16" y="282"/>
                  <a:pt x="23" y="289"/>
                  <a:pt x="32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30" y="289"/>
                  <a:pt x="337" y="282"/>
                  <a:pt x="337" y="273"/>
                </a:cubicBezTo>
                <a:cubicBezTo>
                  <a:pt x="337" y="145"/>
                  <a:pt x="337" y="145"/>
                  <a:pt x="337" y="145"/>
                </a:cubicBezTo>
                <a:cubicBezTo>
                  <a:pt x="346" y="145"/>
                  <a:pt x="353" y="138"/>
                  <a:pt x="353" y="129"/>
                </a:cubicBezTo>
                <a:cubicBezTo>
                  <a:pt x="353" y="48"/>
                  <a:pt x="353" y="48"/>
                  <a:pt x="353" y="48"/>
                </a:cubicBezTo>
                <a:cubicBezTo>
                  <a:pt x="353" y="40"/>
                  <a:pt x="346" y="32"/>
                  <a:pt x="337" y="32"/>
                </a:cubicBezTo>
                <a:moveTo>
                  <a:pt x="144" y="16"/>
                </a:moveTo>
                <a:cubicBezTo>
                  <a:pt x="209" y="16"/>
                  <a:pt x="209" y="16"/>
                  <a:pt x="209" y="16"/>
                </a:cubicBezTo>
                <a:cubicBezTo>
                  <a:pt x="217" y="16"/>
                  <a:pt x="225" y="23"/>
                  <a:pt x="22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8" y="23"/>
                  <a:pt x="136" y="16"/>
                  <a:pt x="144" y="16"/>
                </a:cubicBezTo>
                <a:moveTo>
                  <a:pt x="321" y="273"/>
                </a:moveTo>
                <a:cubicBezTo>
                  <a:pt x="32" y="273"/>
                  <a:pt x="32" y="273"/>
                  <a:pt x="32" y="273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64" y="145"/>
                  <a:pt x="64" y="145"/>
                  <a:pt x="64" y="145"/>
                </a:cubicBezTo>
                <a:cubicBezTo>
                  <a:pt x="64" y="161"/>
                  <a:pt x="64" y="161"/>
                  <a:pt x="64" y="161"/>
                </a:cubicBezTo>
                <a:cubicBezTo>
                  <a:pt x="64" y="170"/>
                  <a:pt x="71" y="177"/>
                  <a:pt x="80" y="177"/>
                </a:cubicBezTo>
                <a:cubicBezTo>
                  <a:pt x="112" y="177"/>
                  <a:pt x="112" y="177"/>
                  <a:pt x="112" y="177"/>
                </a:cubicBezTo>
                <a:cubicBezTo>
                  <a:pt x="121" y="177"/>
                  <a:pt x="128" y="170"/>
                  <a:pt x="128" y="161"/>
                </a:cubicBezTo>
                <a:cubicBezTo>
                  <a:pt x="128" y="145"/>
                  <a:pt x="128" y="145"/>
                  <a:pt x="128" y="145"/>
                </a:cubicBezTo>
                <a:cubicBezTo>
                  <a:pt x="225" y="145"/>
                  <a:pt x="225" y="145"/>
                  <a:pt x="225" y="145"/>
                </a:cubicBezTo>
                <a:cubicBezTo>
                  <a:pt x="225" y="161"/>
                  <a:pt x="225" y="161"/>
                  <a:pt x="225" y="161"/>
                </a:cubicBezTo>
                <a:cubicBezTo>
                  <a:pt x="225" y="170"/>
                  <a:pt x="232" y="177"/>
                  <a:pt x="241" y="177"/>
                </a:cubicBezTo>
                <a:cubicBezTo>
                  <a:pt x="273" y="177"/>
                  <a:pt x="273" y="177"/>
                  <a:pt x="273" y="177"/>
                </a:cubicBezTo>
                <a:cubicBezTo>
                  <a:pt x="282" y="177"/>
                  <a:pt x="289" y="170"/>
                  <a:pt x="289" y="161"/>
                </a:cubicBezTo>
                <a:cubicBezTo>
                  <a:pt x="289" y="145"/>
                  <a:pt x="289" y="145"/>
                  <a:pt x="289" y="145"/>
                </a:cubicBezTo>
                <a:cubicBezTo>
                  <a:pt x="321" y="145"/>
                  <a:pt x="321" y="145"/>
                  <a:pt x="321" y="145"/>
                </a:cubicBezTo>
                <a:lnTo>
                  <a:pt x="321" y="273"/>
                </a:lnTo>
                <a:close/>
                <a:moveTo>
                  <a:pt x="80" y="113"/>
                </a:moveTo>
                <a:cubicBezTo>
                  <a:pt x="112" y="113"/>
                  <a:pt x="112" y="113"/>
                  <a:pt x="112" y="113"/>
                </a:cubicBezTo>
                <a:cubicBezTo>
                  <a:pt x="112" y="161"/>
                  <a:pt x="112" y="161"/>
                  <a:pt x="112" y="161"/>
                </a:cubicBezTo>
                <a:cubicBezTo>
                  <a:pt x="80" y="161"/>
                  <a:pt x="80" y="161"/>
                  <a:pt x="80" y="161"/>
                </a:cubicBezTo>
                <a:lnTo>
                  <a:pt x="80" y="113"/>
                </a:lnTo>
                <a:close/>
                <a:moveTo>
                  <a:pt x="241" y="113"/>
                </a:moveTo>
                <a:cubicBezTo>
                  <a:pt x="273" y="113"/>
                  <a:pt x="273" y="113"/>
                  <a:pt x="273" y="113"/>
                </a:cubicBezTo>
                <a:cubicBezTo>
                  <a:pt x="273" y="161"/>
                  <a:pt x="273" y="161"/>
                  <a:pt x="273" y="161"/>
                </a:cubicBezTo>
                <a:cubicBezTo>
                  <a:pt x="241" y="161"/>
                  <a:pt x="241" y="161"/>
                  <a:pt x="241" y="161"/>
                </a:cubicBezTo>
                <a:lnTo>
                  <a:pt x="241" y="113"/>
                </a:lnTo>
                <a:close/>
                <a:moveTo>
                  <a:pt x="337" y="129"/>
                </a:moveTo>
                <a:cubicBezTo>
                  <a:pt x="289" y="129"/>
                  <a:pt x="289" y="129"/>
                  <a:pt x="289" y="129"/>
                </a:cubicBezTo>
                <a:cubicBezTo>
                  <a:pt x="289" y="113"/>
                  <a:pt x="289" y="113"/>
                  <a:pt x="289" y="113"/>
                </a:cubicBezTo>
                <a:cubicBezTo>
                  <a:pt x="289" y="104"/>
                  <a:pt x="282" y="97"/>
                  <a:pt x="273" y="97"/>
                </a:cubicBezTo>
                <a:cubicBezTo>
                  <a:pt x="241" y="97"/>
                  <a:pt x="241" y="97"/>
                  <a:pt x="241" y="97"/>
                </a:cubicBezTo>
                <a:cubicBezTo>
                  <a:pt x="232" y="97"/>
                  <a:pt x="225" y="104"/>
                  <a:pt x="225" y="113"/>
                </a:cubicBezTo>
                <a:cubicBezTo>
                  <a:pt x="225" y="129"/>
                  <a:pt x="225" y="129"/>
                  <a:pt x="225" y="129"/>
                </a:cubicBezTo>
                <a:cubicBezTo>
                  <a:pt x="128" y="129"/>
                  <a:pt x="128" y="129"/>
                  <a:pt x="128" y="129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28" y="104"/>
                  <a:pt x="121" y="97"/>
                  <a:pt x="112" y="97"/>
                </a:cubicBezTo>
                <a:cubicBezTo>
                  <a:pt x="80" y="97"/>
                  <a:pt x="80" y="97"/>
                  <a:pt x="80" y="97"/>
                </a:cubicBezTo>
                <a:cubicBezTo>
                  <a:pt x="71" y="97"/>
                  <a:pt x="64" y="104"/>
                  <a:pt x="64" y="113"/>
                </a:cubicBezTo>
                <a:cubicBezTo>
                  <a:pt x="64" y="129"/>
                  <a:pt x="64" y="129"/>
                  <a:pt x="64" y="129"/>
                </a:cubicBezTo>
                <a:cubicBezTo>
                  <a:pt x="16" y="129"/>
                  <a:pt x="16" y="129"/>
                  <a:pt x="16" y="129"/>
                </a:cubicBezTo>
                <a:cubicBezTo>
                  <a:pt x="16" y="48"/>
                  <a:pt x="16" y="48"/>
                  <a:pt x="16" y="48"/>
                </a:cubicBezTo>
                <a:cubicBezTo>
                  <a:pt x="337" y="48"/>
                  <a:pt x="337" y="48"/>
                  <a:pt x="337" y="48"/>
                </a:cubicBezTo>
                <a:lnTo>
                  <a:pt x="337" y="1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9" name="Freeform 110"/>
          <p:cNvSpPr>
            <a:spLocks noEditPoints="1"/>
          </p:cNvSpPr>
          <p:nvPr/>
        </p:nvSpPr>
        <p:spPr bwMode="auto">
          <a:xfrm>
            <a:off x="5058453" y="3301904"/>
            <a:ext cx="344180" cy="282177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Freeform 19"/>
          <p:cNvSpPr>
            <a:spLocks noEditPoints="1"/>
          </p:cNvSpPr>
          <p:nvPr/>
        </p:nvSpPr>
        <p:spPr bwMode="auto">
          <a:xfrm>
            <a:off x="3737160" y="1941835"/>
            <a:ext cx="340291" cy="340290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TextBox 21"/>
          <p:cNvSpPr txBox="1"/>
          <p:nvPr/>
        </p:nvSpPr>
        <p:spPr>
          <a:xfrm>
            <a:off x="3389951" y="2393694"/>
            <a:ext cx="1034709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ompanhia</a:t>
            </a:r>
            <a:endParaRPr lang="en-US" sz="900" b="1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35283" y="2393694"/>
            <a:ext cx="1034709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Gerenciamento</a:t>
            </a:r>
            <a:endParaRPr lang="en-US" sz="900" b="1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89951" y="3691230"/>
            <a:ext cx="1034709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Pontos</a:t>
            </a:r>
            <a:r>
              <a:rPr lang="en-US" sz="9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de Venda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35283" y="3691230"/>
            <a:ext cx="1034709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ecursos</a:t>
            </a:r>
            <a:r>
              <a:rPr lang="en-US" sz="9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Humano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538724" y="1991874"/>
            <a:ext cx="2008376" cy="534231"/>
            <a:chOff x="6538724" y="1991874"/>
            <a:chExt cx="2008376" cy="534231"/>
          </a:xfrm>
        </p:grpSpPr>
        <p:sp>
          <p:nvSpPr>
            <p:cNvPr id="27" name="TextBox 26"/>
            <p:cNvSpPr txBox="1"/>
            <p:nvPr/>
          </p:nvSpPr>
          <p:spPr>
            <a:xfrm>
              <a:off x="6538756" y="1991874"/>
              <a:ext cx="200829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DMINISTR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538724" y="2206017"/>
              <a:ext cx="2008376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, analysis and information about the title here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3725" y="2000369"/>
            <a:ext cx="2006756" cy="534231"/>
            <a:chOff x="593725" y="2000369"/>
            <a:chExt cx="2006756" cy="534231"/>
          </a:xfrm>
        </p:grpSpPr>
        <p:sp>
          <p:nvSpPr>
            <p:cNvPr id="32" name="TextBox 31"/>
            <p:cNvSpPr txBox="1"/>
            <p:nvPr/>
          </p:nvSpPr>
          <p:spPr>
            <a:xfrm>
              <a:off x="593761" y="2000369"/>
              <a:ext cx="20066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ABILIT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93725" y="2214512"/>
              <a:ext cx="2006756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, analysis and information about the title here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538724" y="3355006"/>
            <a:ext cx="2109976" cy="534231"/>
            <a:chOff x="6538724" y="3355006"/>
            <a:chExt cx="2109976" cy="534231"/>
          </a:xfrm>
        </p:grpSpPr>
        <p:sp>
          <p:nvSpPr>
            <p:cNvPr id="35" name="TextBox 34"/>
            <p:cNvSpPr txBox="1"/>
            <p:nvPr/>
          </p:nvSpPr>
          <p:spPr>
            <a:xfrm>
              <a:off x="6538756" y="3355006"/>
              <a:ext cx="21099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RIANDO TIMES PROFISSIONAI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538724" y="3569149"/>
              <a:ext cx="2008376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, analysis and information about the title her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3725" y="3363501"/>
            <a:ext cx="2006756" cy="534231"/>
            <a:chOff x="593725" y="3363501"/>
            <a:chExt cx="2006756" cy="534231"/>
          </a:xfrm>
        </p:grpSpPr>
        <p:sp>
          <p:nvSpPr>
            <p:cNvPr id="38" name="TextBox 37"/>
            <p:cNvSpPr txBox="1"/>
            <p:nvPr/>
          </p:nvSpPr>
          <p:spPr>
            <a:xfrm>
              <a:off x="593761" y="3363501"/>
              <a:ext cx="200667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OS MERCAD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93725" y="3577644"/>
              <a:ext cx="2006756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, analysis and information about the title here</a:t>
              </a:r>
            </a:p>
          </p:txBody>
        </p:sp>
      </p:grpSp>
      <p:cxnSp>
        <p:nvCxnSpPr>
          <p:cNvPr id="51" name="Straight Connector 50"/>
          <p:cNvCxnSpPr/>
          <p:nvPr/>
        </p:nvCxnSpPr>
        <p:spPr>
          <a:xfrm>
            <a:off x="5973499" y="2073275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973499" y="3444875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937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/>
        </p:nvSpPr>
        <p:spPr bwMode="auto">
          <a:xfrm>
            <a:off x="4254818" y="781471"/>
            <a:ext cx="634364" cy="497125"/>
          </a:xfrm>
          <a:custGeom>
            <a:avLst/>
            <a:gdLst>
              <a:gd name="T0" fmla="*/ 1262 w 1817"/>
              <a:gd name="T1" fmla="*/ 1080 h 1423"/>
              <a:gd name="T2" fmla="*/ 947 w 1817"/>
              <a:gd name="T3" fmla="*/ 975 h 1423"/>
              <a:gd name="T4" fmla="*/ 1395 w 1817"/>
              <a:gd name="T5" fmla="*/ 1080 h 1423"/>
              <a:gd name="T6" fmla="*/ 1237 w 1817"/>
              <a:gd name="T7" fmla="*/ 1343 h 1423"/>
              <a:gd name="T8" fmla="*/ 947 w 1817"/>
              <a:gd name="T9" fmla="*/ 1395 h 1423"/>
              <a:gd name="T10" fmla="*/ 711 w 1817"/>
              <a:gd name="T11" fmla="*/ 1344 h 1423"/>
              <a:gd name="T12" fmla="*/ 540 w 1817"/>
              <a:gd name="T13" fmla="*/ 1265 h 1423"/>
              <a:gd name="T14" fmla="*/ 394 w 1817"/>
              <a:gd name="T15" fmla="*/ 1013 h 1423"/>
              <a:gd name="T16" fmla="*/ 0 w 1817"/>
              <a:gd name="T17" fmla="*/ 527 h 1423"/>
              <a:gd name="T18" fmla="*/ 1143 w 1817"/>
              <a:gd name="T19" fmla="*/ 224 h 1423"/>
              <a:gd name="T20" fmla="*/ 1592 w 1817"/>
              <a:gd name="T21" fmla="*/ 673 h 1423"/>
              <a:gd name="T22" fmla="*/ 185 w 1817"/>
              <a:gd name="T23" fmla="*/ 657 h 1423"/>
              <a:gd name="T24" fmla="*/ 1631 w 1817"/>
              <a:gd name="T25" fmla="*/ 657 h 1423"/>
              <a:gd name="T26" fmla="*/ 449 w 1817"/>
              <a:gd name="T27" fmla="*/ 1052 h 1423"/>
              <a:gd name="T28" fmla="*/ 631 w 1817"/>
              <a:gd name="T29" fmla="*/ 870 h 1423"/>
              <a:gd name="T30" fmla="*/ 433 w 1817"/>
              <a:gd name="T31" fmla="*/ 1013 h 1423"/>
              <a:gd name="T32" fmla="*/ 805 w 1817"/>
              <a:gd name="T33" fmla="*/ 961 h 1423"/>
              <a:gd name="T34" fmla="*/ 771 w 1817"/>
              <a:gd name="T35" fmla="*/ 910 h 1423"/>
              <a:gd name="T36" fmla="*/ 740 w 1817"/>
              <a:gd name="T37" fmla="*/ 907 h 1423"/>
              <a:gd name="T38" fmla="*/ 718 w 1817"/>
              <a:gd name="T39" fmla="*/ 917 h 1423"/>
              <a:gd name="T40" fmla="*/ 554 w 1817"/>
              <a:gd name="T41" fmla="*/ 1080 h 1423"/>
              <a:gd name="T42" fmla="*/ 579 w 1817"/>
              <a:gd name="T43" fmla="*/ 1210 h 1423"/>
              <a:gd name="T44" fmla="*/ 894 w 1817"/>
              <a:gd name="T45" fmla="*/ 1027 h 1423"/>
              <a:gd name="T46" fmla="*/ 857 w 1817"/>
              <a:gd name="T47" fmla="*/ 1011 h 1423"/>
              <a:gd name="T48" fmla="*/ 591 w 1817"/>
              <a:gd name="T49" fmla="*/ 1276 h 1423"/>
              <a:gd name="T50" fmla="*/ 963 w 1817"/>
              <a:gd name="T51" fmla="*/ 1224 h 1423"/>
              <a:gd name="T52" fmla="*/ 954 w 1817"/>
              <a:gd name="T53" fmla="*/ 1193 h 1423"/>
              <a:gd name="T54" fmla="*/ 908 w 1817"/>
              <a:gd name="T55" fmla="*/ 1169 h 1423"/>
              <a:gd name="T56" fmla="*/ 764 w 1817"/>
              <a:gd name="T57" fmla="*/ 1368 h 1423"/>
              <a:gd name="T58" fmla="*/ 1001 w 1817"/>
              <a:gd name="T59" fmla="*/ 1239 h 1423"/>
              <a:gd name="T60" fmla="*/ 988 w 1817"/>
              <a:gd name="T61" fmla="*/ 1272 h 1423"/>
              <a:gd name="T62" fmla="*/ 1052 w 1817"/>
              <a:gd name="T63" fmla="*/ 1368 h 1423"/>
              <a:gd name="T64" fmla="*/ 870 w 1817"/>
              <a:gd name="T65" fmla="*/ 764 h 1423"/>
              <a:gd name="T66" fmla="*/ 723 w 1817"/>
              <a:gd name="T67" fmla="*/ 746 h 1423"/>
              <a:gd name="T68" fmla="*/ 645 w 1817"/>
              <a:gd name="T69" fmla="*/ 252 h 1423"/>
              <a:gd name="T70" fmla="*/ 611 w 1817"/>
              <a:gd name="T71" fmla="*/ 817 h 1423"/>
              <a:gd name="T72" fmla="*/ 678 w 1817"/>
              <a:gd name="T73" fmla="*/ 869 h 1423"/>
              <a:gd name="T74" fmla="*/ 694 w 1817"/>
              <a:gd name="T75" fmla="*/ 886 h 1423"/>
              <a:gd name="T76" fmla="*/ 750 w 1817"/>
              <a:gd name="T77" fmla="*/ 867 h 1423"/>
              <a:gd name="T78" fmla="*/ 780 w 1817"/>
              <a:gd name="T79" fmla="*/ 872 h 1423"/>
              <a:gd name="T80" fmla="*/ 817 w 1817"/>
              <a:gd name="T81" fmla="*/ 894 h 1423"/>
              <a:gd name="T82" fmla="*/ 843 w 1817"/>
              <a:gd name="T83" fmla="*/ 973 h 1423"/>
              <a:gd name="T84" fmla="*/ 904 w 1817"/>
              <a:gd name="T85" fmla="*/ 986 h 1423"/>
              <a:gd name="T86" fmla="*/ 946 w 1817"/>
              <a:gd name="T87" fmla="*/ 1090 h 1423"/>
              <a:gd name="T88" fmla="*/ 923 w 1817"/>
              <a:gd name="T89" fmla="*/ 1131 h 1423"/>
              <a:gd name="T90" fmla="*/ 957 w 1817"/>
              <a:gd name="T91" fmla="*/ 1144 h 1423"/>
              <a:gd name="T92" fmla="*/ 1210 w 1817"/>
              <a:gd name="T93" fmla="*/ 1238 h 1423"/>
              <a:gd name="T94" fmla="*/ 1262 w 1817"/>
              <a:gd name="T95" fmla="*/ 1080 h 1423"/>
              <a:gd name="T96" fmla="*/ 1368 w 1817"/>
              <a:gd name="T97" fmla="*/ 975 h 1423"/>
              <a:gd name="T98" fmla="*/ 764 w 1817"/>
              <a:gd name="T99" fmla="*/ 659 h 1423"/>
              <a:gd name="T100" fmla="*/ 803 w 1817"/>
              <a:gd name="T101" fmla="*/ 752 h 1423"/>
              <a:gd name="T102" fmla="*/ 1329 w 1817"/>
              <a:gd name="T103" fmla="*/ 880 h 1423"/>
              <a:gd name="T104" fmla="*/ 205 w 1817"/>
              <a:gd name="T105" fmla="*/ 455 h 1423"/>
              <a:gd name="T106" fmla="*/ 1612 w 1817"/>
              <a:gd name="T107" fmla="*/ 560 h 1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17" h="1423">
                <a:moveTo>
                  <a:pt x="1262" y="1080"/>
                </a:moveTo>
                <a:cubicBezTo>
                  <a:pt x="1052" y="869"/>
                  <a:pt x="1052" y="869"/>
                  <a:pt x="1052" y="869"/>
                </a:cubicBezTo>
                <a:cubicBezTo>
                  <a:pt x="1080" y="842"/>
                  <a:pt x="1080" y="842"/>
                  <a:pt x="1080" y="842"/>
                </a:cubicBezTo>
                <a:cubicBezTo>
                  <a:pt x="1290" y="1052"/>
                  <a:pt x="1290" y="1052"/>
                  <a:pt x="1290" y="1052"/>
                </a:cubicBezTo>
                <a:lnTo>
                  <a:pt x="1262" y="1080"/>
                </a:lnTo>
                <a:close/>
                <a:moveTo>
                  <a:pt x="947" y="975"/>
                </a:moveTo>
                <a:cubicBezTo>
                  <a:pt x="1210" y="1237"/>
                  <a:pt x="1210" y="1237"/>
                  <a:pt x="1210" y="1237"/>
                </a:cubicBezTo>
                <a:cubicBezTo>
                  <a:pt x="1238" y="1210"/>
                  <a:pt x="1238" y="1210"/>
                  <a:pt x="1238" y="1210"/>
                </a:cubicBezTo>
                <a:cubicBezTo>
                  <a:pt x="975" y="947"/>
                  <a:pt x="975" y="947"/>
                  <a:pt x="975" y="947"/>
                </a:cubicBezTo>
                <a:lnTo>
                  <a:pt x="947" y="975"/>
                </a:lnTo>
                <a:close/>
                <a:moveTo>
                  <a:pt x="1592" y="673"/>
                </a:moveTo>
                <a:cubicBezTo>
                  <a:pt x="1356" y="908"/>
                  <a:pt x="1356" y="908"/>
                  <a:pt x="1356" y="908"/>
                </a:cubicBezTo>
                <a:cubicBezTo>
                  <a:pt x="1395" y="947"/>
                  <a:pt x="1395" y="947"/>
                  <a:pt x="1395" y="947"/>
                </a:cubicBezTo>
                <a:cubicBezTo>
                  <a:pt x="1413" y="965"/>
                  <a:pt x="1423" y="988"/>
                  <a:pt x="1423" y="1013"/>
                </a:cubicBezTo>
                <a:cubicBezTo>
                  <a:pt x="1423" y="1038"/>
                  <a:pt x="1413" y="1062"/>
                  <a:pt x="1395" y="1080"/>
                </a:cubicBezTo>
                <a:cubicBezTo>
                  <a:pt x="1381" y="1094"/>
                  <a:pt x="1363" y="1103"/>
                  <a:pt x="1344" y="1106"/>
                </a:cubicBezTo>
                <a:cubicBezTo>
                  <a:pt x="1361" y="1123"/>
                  <a:pt x="1370" y="1146"/>
                  <a:pt x="1370" y="1171"/>
                </a:cubicBezTo>
                <a:cubicBezTo>
                  <a:pt x="1370" y="1196"/>
                  <a:pt x="1360" y="1220"/>
                  <a:pt x="1343" y="1238"/>
                </a:cubicBezTo>
                <a:cubicBezTo>
                  <a:pt x="1322" y="1258"/>
                  <a:pt x="1293" y="1268"/>
                  <a:pt x="1264" y="1264"/>
                </a:cubicBezTo>
                <a:cubicBezTo>
                  <a:pt x="1268" y="1292"/>
                  <a:pt x="1259" y="1321"/>
                  <a:pt x="1237" y="1343"/>
                </a:cubicBezTo>
                <a:cubicBezTo>
                  <a:pt x="1219" y="1361"/>
                  <a:pt x="1195" y="1370"/>
                  <a:pt x="1171" y="1370"/>
                </a:cubicBezTo>
                <a:cubicBezTo>
                  <a:pt x="1147" y="1370"/>
                  <a:pt x="1124" y="1361"/>
                  <a:pt x="1106" y="1344"/>
                </a:cubicBezTo>
                <a:cubicBezTo>
                  <a:pt x="1103" y="1363"/>
                  <a:pt x="1094" y="1381"/>
                  <a:pt x="1080" y="1395"/>
                </a:cubicBezTo>
                <a:cubicBezTo>
                  <a:pt x="1061" y="1414"/>
                  <a:pt x="1037" y="1423"/>
                  <a:pt x="1013" y="1423"/>
                </a:cubicBezTo>
                <a:cubicBezTo>
                  <a:pt x="989" y="1423"/>
                  <a:pt x="965" y="1414"/>
                  <a:pt x="947" y="1395"/>
                </a:cubicBezTo>
                <a:cubicBezTo>
                  <a:pt x="908" y="1356"/>
                  <a:pt x="908" y="1356"/>
                  <a:pt x="908" y="1356"/>
                </a:cubicBezTo>
                <a:cubicBezTo>
                  <a:pt x="869" y="1395"/>
                  <a:pt x="869" y="1395"/>
                  <a:pt x="869" y="1395"/>
                </a:cubicBezTo>
                <a:cubicBezTo>
                  <a:pt x="851" y="1414"/>
                  <a:pt x="827" y="1423"/>
                  <a:pt x="803" y="1423"/>
                </a:cubicBezTo>
                <a:cubicBezTo>
                  <a:pt x="779" y="1423"/>
                  <a:pt x="755" y="1414"/>
                  <a:pt x="737" y="1395"/>
                </a:cubicBezTo>
                <a:cubicBezTo>
                  <a:pt x="722" y="1381"/>
                  <a:pt x="714" y="1363"/>
                  <a:pt x="711" y="1344"/>
                </a:cubicBezTo>
                <a:cubicBezTo>
                  <a:pt x="692" y="1361"/>
                  <a:pt x="669" y="1370"/>
                  <a:pt x="645" y="1370"/>
                </a:cubicBezTo>
                <a:cubicBezTo>
                  <a:pt x="621" y="1370"/>
                  <a:pt x="597" y="1361"/>
                  <a:pt x="579" y="1343"/>
                </a:cubicBezTo>
                <a:cubicBezTo>
                  <a:pt x="561" y="1325"/>
                  <a:pt x="551" y="1301"/>
                  <a:pt x="551" y="1276"/>
                </a:cubicBezTo>
                <a:cubicBezTo>
                  <a:pt x="551" y="1272"/>
                  <a:pt x="552" y="1268"/>
                  <a:pt x="553" y="1264"/>
                </a:cubicBezTo>
                <a:cubicBezTo>
                  <a:pt x="548" y="1264"/>
                  <a:pt x="544" y="1265"/>
                  <a:pt x="540" y="1265"/>
                </a:cubicBezTo>
                <a:cubicBezTo>
                  <a:pt x="516" y="1265"/>
                  <a:pt x="492" y="1256"/>
                  <a:pt x="474" y="1237"/>
                </a:cubicBezTo>
                <a:cubicBezTo>
                  <a:pt x="456" y="1220"/>
                  <a:pt x="446" y="1196"/>
                  <a:pt x="446" y="1171"/>
                </a:cubicBezTo>
                <a:cubicBezTo>
                  <a:pt x="446" y="1146"/>
                  <a:pt x="456" y="1123"/>
                  <a:pt x="473" y="1106"/>
                </a:cubicBezTo>
                <a:cubicBezTo>
                  <a:pt x="454" y="1103"/>
                  <a:pt x="436" y="1094"/>
                  <a:pt x="421" y="1080"/>
                </a:cubicBezTo>
                <a:cubicBezTo>
                  <a:pt x="403" y="1062"/>
                  <a:pt x="394" y="1038"/>
                  <a:pt x="394" y="1013"/>
                </a:cubicBezTo>
                <a:cubicBezTo>
                  <a:pt x="394" y="988"/>
                  <a:pt x="403" y="965"/>
                  <a:pt x="421" y="947"/>
                </a:cubicBezTo>
                <a:cubicBezTo>
                  <a:pt x="460" y="908"/>
                  <a:pt x="460" y="908"/>
                  <a:pt x="460" y="908"/>
                </a:cubicBezTo>
                <a:cubicBezTo>
                  <a:pt x="225" y="673"/>
                  <a:pt x="225" y="673"/>
                  <a:pt x="225" y="673"/>
                </a:cubicBezTo>
                <a:cubicBezTo>
                  <a:pt x="185" y="712"/>
                  <a:pt x="185" y="712"/>
                  <a:pt x="185" y="712"/>
                </a:cubicBezTo>
                <a:cubicBezTo>
                  <a:pt x="0" y="527"/>
                  <a:pt x="0" y="527"/>
                  <a:pt x="0" y="527"/>
                </a:cubicBezTo>
                <a:cubicBezTo>
                  <a:pt x="527" y="0"/>
                  <a:pt x="527" y="0"/>
                  <a:pt x="527" y="0"/>
                </a:cubicBezTo>
                <a:cubicBezTo>
                  <a:pt x="712" y="185"/>
                  <a:pt x="712" y="185"/>
                  <a:pt x="712" y="185"/>
                </a:cubicBezTo>
                <a:cubicBezTo>
                  <a:pt x="673" y="225"/>
                  <a:pt x="673" y="225"/>
                  <a:pt x="673" y="225"/>
                </a:cubicBezTo>
                <a:cubicBezTo>
                  <a:pt x="908" y="460"/>
                  <a:pt x="908" y="460"/>
                  <a:pt x="908" y="460"/>
                </a:cubicBezTo>
                <a:cubicBezTo>
                  <a:pt x="1143" y="224"/>
                  <a:pt x="1143" y="224"/>
                  <a:pt x="1143" y="224"/>
                </a:cubicBezTo>
                <a:cubicBezTo>
                  <a:pt x="1104" y="185"/>
                  <a:pt x="1104" y="185"/>
                  <a:pt x="1104" y="185"/>
                </a:cubicBezTo>
                <a:cubicBezTo>
                  <a:pt x="1289" y="0"/>
                  <a:pt x="1289" y="0"/>
                  <a:pt x="1289" y="0"/>
                </a:cubicBezTo>
                <a:cubicBezTo>
                  <a:pt x="1817" y="527"/>
                  <a:pt x="1817" y="527"/>
                  <a:pt x="1817" y="527"/>
                </a:cubicBezTo>
                <a:cubicBezTo>
                  <a:pt x="1631" y="712"/>
                  <a:pt x="1631" y="712"/>
                  <a:pt x="1631" y="712"/>
                </a:cubicBezTo>
                <a:lnTo>
                  <a:pt x="1592" y="673"/>
                </a:lnTo>
                <a:close/>
                <a:moveTo>
                  <a:pt x="185" y="657"/>
                </a:moveTo>
                <a:cubicBezTo>
                  <a:pt x="657" y="185"/>
                  <a:pt x="657" y="185"/>
                  <a:pt x="657" y="185"/>
                </a:cubicBezTo>
                <a:cubicBezTo>
                  <a:pt x="527" y="55"/>
                  <a:pt x="527" y="55"/>
                  <a:pt x="527" y="55"/>
                </a:cubicBezTo>
                <a:cubicBezTo>
                  <a:pt x="55" y="527"/>
                  <a:pt x="55" y="527"/>
                  <a:pt x="55" y="527"/>
                </a:cubicBezTo>
                <a:lnTo>
                  <a:pt x="185" y="657"/>
                </a:lnTo>
                <a:close/>
                <a:moveTo>
                  <a:pt x="1171" y="197"/>
                </a:moveTo>
                <a:cubicBezTo>
                  <a:pt x="1171" y="197"/>
                  <a:pt x="1171" y="197"/>
                  <a:pt x="1171" y="197"/>
                </a:cubicBezTo>
                <a:cubicBezTo>
                  <a:pt x="1619" y="645"/>
                  <a:pt x="1619" y="645"/>
                  <a:pt x="1619" y="645"/>
                </a:cubicBezTo>
                <a:cubicBezTo>
                  <a:pt x="1619" y="645"/>
                  <a:pt x="1619" y="645"/>
                  <a:pt x="1619" y="645"/>
                </a:cubicBezTo>
                <a:cubicBezTo>
                  <a:pt x="1631" y="657"/>
                  <a:pt x="1631" y="657"/>
                  <a:pt x="1631" y="657"/>
                </a:cubicBezTo>
                <a:cubicBezTo>
                  <a:pt x="1761" y="527"/>
                  <a:pt x="1761" y="527"/>
                  <a:pt x="1761" y="527"/>
                </a:cubicBezTo>
                <a:cubicBezTo>
                  <a:pt x="1289" y="55"/>
                  <a:pt x="1289" y="55"/>
                  <a:pt x="1289" y="55"/>
                </a:cubicBezTo>
                <a:cubicBezTo>
                  <a:pt x="1159" y="185"/>
                  <a:pt x="1159" y="185"/>
                  <a:pt x="1159" y="185"/>
                </a:cubicBezTo>
                <a:lnTo>
                  <a:pt x="1171" y="197"/>
                </a:lnTo>
                <a:close/>
                <a:moveTo>
                  <a:pt x="449" y="1052"/>
                </a:moveTo>
                <a:cubicBezTo>
                  <a:pt x="470" y="1073"/>
                  <a:pt x="505" y="1073"/>
                  <a:pt x="526" y="1052"/>
                </a:cubicBezTo>
                <a:cubicBezTo>
                  <a:pt x="632" y="947"/>
                  <a:pt x="632" y="947"/>
                  <a:pt x="632" y="947"/>
                </a:cubicBezTo>
                <a:cubicBezTo>
                  <a:pt x="642" y="937"/>
                  <a:pt x="647" y="923"/>
                  <a:pt x="647" y="908"/>
                </a:cubicBezTo>
                <a:cubicBezTo>
                  <a:pt x="647" y="901"/>
                  <a:pt x="646" y="894"/>
                  <a:pt x="643" y="887"/>
                </a:cubicBezTo>
                <a:cubicBezTo>
                  <a:pt x="640" y="881"/>
                  <a:pt x="636" y="875"/>
                  <a:pt x="631" y="870"/>
                </a:cubicBezTo>
                <a:cubicBezTo>
                  <a:pt x="610" y="849"/>
                  <a:pt x="574" y="849"/>
                  <a:pt x="554" y="869"/>
                </a:cubicBezTo>
                <a:cubicBezTo>
                  <a:pt x="488" y="936"/>
                  <a:pt x="488" y="936"/>
                  <a:pt x="488" y="936"/>
                </a:cubicBezTo>
                <a:cubicBezTo>
                  <a:pt x="488" y="936"/>
                  <a:pt x="488" y="936"/>
                  <a:pt x="488" y="936"/>
                </a:cubicBezTo>
                <a:cubicBezTo>
                  <a:pt x="449" y="975"/>
                  <a:pt x="449" y="975"/>
                  <a:pt x="449" y="975"/>
                </a:cubicBezTo>
                <a:cubicBezTo>
                  <a:pt x="438" y="985"/>
                  <a:pt x="433" y="999"/>
                  <a:pt x="433" y="1013"/>
                </a:cubicBezTo>
                <a:cubicBezTo>
                  <a:pt x="433" y="1028"/>
                  <a:pt x="438" y="1042"/>
                  <a:pt x="449" y="1052"/>
                </a:cubicBezTo>
                <a:close/>
                <a:moveTo>
                  <a:pt x="579" y="1210"/>
                </a:moveTo>
                <a:cubicBezTo>
                  <a:pt x="789" y="999"/>
                  <a:pt x="789" y="999"/>
                  <a:pt x="789" y="999"/>
                </a:cubicBezTo>
                <a:cubicBezTo>
                  <a:pt x="793" y="995"/>
                  <a:pt x="796" y="991"/>
                  <a:pt x="799" y="986"/>
                </a:cubicBezTo>
                <a:cubicBezTo>
                  <a:pt x="803" y="978"/>
                  <a:pt x="805" y="970"/>
                  <a:pt x="805" y="961"/>
                </a:cubicBezTo>
                <a:cubicBezTo>
                  <a:pt x="805" y="953"/>
                  <a:pt x="804" y="946"/>
                  <a:pt x="801" y="940"/>
                </a:cubicBezTo>
                <a:cubicBezTo>
                  <a:pt x="799" y="935"/>
                  <a:pt x="797" y="931"/>
                  <a:pt x="794" y="928"/>
                </a:cubicBezTo>
                <a:cubicBezTo>
                  <a:pt x="792" y="926"/>
                  <a:pt x="791" y="924"/>
                  <a:pt x="789" y="922"/>
                </a:cubicBezTo>
                <a:cubicBezTo>
                  <a:pt x="785" y="918"/>
                  <a:pt x="780" y="914"/>
                  <a:pt x="774" y="912"/>
                </a:cubicBezTo>
                <a:cubicBezTo>
                  <a:pt x="773" y="911"/>
                  <a:pt x="772" y="911"/>
                  <a:pt x="771" y="910"/>
                </a:cubicBezTo>
                <a:cubicBezTo>
                  <a:pt x="769" y="909"/>
                  <a:pt x="767" y="909"/>
                  <a:pt x="764" y="908"/>
                </a:cubicBezTo>
                <a:cubicBezTo>
                  <a:pt x="763" y="908"/>
                  <a:pt x="762" y="907"/>
                  <a:pt x="761" y="907"/>
                </a:cubicBezTo>
                <a:cubicBezTo>
                  <a:pt x="758" y="906"/>
                  <a:pt x="754" y="906"/>
                  <a:pt x="751" y="906"/>
                </a:cubicBezTo>
                <a:cubicBezTo>
                  <a:pt x="751" y="906"/>
                  <a:pt x="750" y="906"/>
                  <a:pt x="750" y="906"/>
                </a:cubicBezTo>
                <a:cubicBezTo>
                  <a:pt x="747" y="906"/>
                  <a:pt x="743" y="906"/>
                  <a:pt x="740" y="907"/>
                </a:cubicBezTo>
                <a:cubicBezTo>
                  <a:pt x="740" y="907"/>
                  <a:pt x="739" y="907"/>
                  <a:pt x="739" y="907"/>
                </a:cubicBezTo>
                <a:cubicBezTo>
                  <a:pt x="736" y="908"/>
                  <a:pt x="733" y="909"/>
                  <a:pt x="729" y="910"/>
                </a:cubicBezTo>
                <a:cubicBezTo>
                  <a:pt x="729" y="910"/>
                  <a:pt x="728" y="911"/>
                  <a:pt x="728" y="911"/>
                </a:cubicBezTo>
                <a:cubicBezTo>
                  <a:pt x="725" y="912"/>
                  <a:pt x="722" y="914"/>
                  <a:pt x="720" y="915"/>
                </a:cubicBezTo>
                <a:cubicBezTo>
                  <a:pt x="719" y="916"/>
                  <a:pt x="719" y="916"/>
                  <a:pt x="718" y="917"/>
                </a:cubicBezTo>
                <a:cubicBezTo>
                  <a:pt x="716" y="919"/>
                  <a:pt x="714" y="920"/>
                  <a:pt x="712" y="922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554" y="1080"/>
                  <a:pt x="554" y="1080"/>
                  <a:pt x="554" y="1080"/>
                </a:cubicBezTo>
                <a:cubicBezTo>
                  <a:pt x="554" y="1080"/>
                  <a:pt x="554" y="1080"/>
                  <a:pt x="554" y="1080"/>
                </a:cubicBezTo>
                <a:cubicBezTo>
                  <a:pt x="501" y="1132"/>
                  <a:pt x="501" y="1132"/>
                  <a:pt x="501" y="1132"/>
                </a:cubicBezTo>
                <a:cubicBezTo>
                  <a:pt x="491" y="1143"/>
                  <a:pt x="485" y="1156"/>
                  <a:pt x="485" y="1171"/>
                </a:cubicBezTo>
                <a:cubicBezTo>
                  <a:pt x="485" y="1186"/>
                  <a:pt x="491" y="1199"/>
                  <a:pt x="501" y="1210"/>
                </a:cubicBezTo>
                <a:cubicBezTo>
                  <a:pt x="523" y="1231"/>
                  <a:pt x="557" y="1231"/>
                  <a:pt x="579" y="1210"/>
                </a:cubicBezTo>
                <a:close/>
                <a:moveTo>
                  <a:pt x="684" y="1315"/>
                </a:moveTo>
                <a:cubicBezTo>
                  <a:pt x="842" y="1157"/>
                  <a:pt x="842" y="1157"/>
                  <a:pt x="842" y="1157"/>
                </a:cubicBezTo>
                <a:cubicBezTo>
                  <a:pt x="894" y="1105"/>
                  <a:pt x="894" y="1105"/>
                  <a:pt x="894" y="1105"/>
                </a:cubicBezTo>
                <a:cubicBezTo>
                  <a:pt x="905" y="1094"/>
                  <a:pt x="910" y="1081"/>
                  <a:pt x="910" y="1066"/>
                </a:cubicBezTo>
                <a:cubicBezTo>
                  <a:pt x="910" y="1051"/>
                  <a:pt x="904" y="1037"/>
                  <a:pt x="894" y="1027"/>
                </a:cubicBezTo>
                <a:cubicBezTo>
                  <a:pt x="891" y="1024"/>
                  <a:pt x="888" y="1022"/>
                  <a:pt x="884" y="1019"/>
                </a:cubicBezTo>
                <a:cubicBezTo>
                  <a:pt x="883" y="1019"/>
                  <a:pt x="882" y="1018"/>
                  <a:pt x="880" y="1018"/>
                </a:cubicBezTo>
                <a:cubicBezTo>
                  <a:pt x="878" y="1016"/>
                  <a:pt x="875" y="1015"/>
                  <a:pt x="872" y="1014"/>
                </a:cubicBezTo>
                <a:cubicBezTo>
                  <a:pt x="871" y="1014"/>
                  <a:pt x="869" y="1013"/>
                  <a:pt x="868" y="1013"/>
                </a:cubicBezTo>
                <a:cubicBezTo>
                  <a:pt x="864" y="1012"/>
                  <a:pt x="861" y="1011"/>
                  <a:pt x="857" y="1011"/>
                </a:cubicBezTo>
                <a:cubicBezTo>
                  <a:pt x="856" y="1011"/>
                  <a:pt x="856" y="1011"/>
                  <a:pt x="855" y="1011"/>
                </a:cubicBezTo>
                <a:cubicBezTo>
                  <a:pt x="851" y="1011"/>
                  <a:pt x="846" y="1012"/>
                  <a:pt x="841" y="1013"/>
                </a:cubicBezTo>
                <a:cubicBezTo>
                  <a:pt x="832" y="1015"/>
                  <a:pt x="824" y="1020"/>
                  <a:pt x="817" y="1027"/>
                </a:cubicBezTo>
                <a:cubicBezTo>
                  <a:pt x="606" y="1238"/>
                  <a:pt x="606" y="1238"/>
                  <a:pt x="606" y="1238"/>
                </a:cubicBezTo>
                <a:cubicBezTo>
                  <a:pt x="596" y="1248"/>
                  <a:pt x="591" y="1261"/>
                  <a:pt x="591" y="1276"/>
                </a:cubicBezTo>
                <a:cubicBezTo>
                  <a:pt x="591" y="1291"/>
                  <a:pt x="596" y="1304"/>
                  <a:pt x="607" y="1315"/>
                </a:cubicBezTo>
                <a:cubicBezTo>
                  <a:pt x="628" y="1336"/>
                  <a:pt x="663" y="1336"/>
                  <a:pt x="684" y="1315"/>
                </a:cubicBezTo>
                <a:close/>
                <a:moveTo>
                  <a:pt x="880" y="1329"/>
                </a:moveTo>
                <a:cubicBezTo>
                  <a:pt x="947" y="1262"/>
                  <a:pt x="947" y="1262"/>
                  <a:pt x="947" y="1262"/>
                </a:cubicBezTo>
                <a:cubicBezTo>
                  <a:pt x="957" y="1252"/>
                  <a:pt x="963" y="1238"/>
                  <a:pt x="963" y="1224"/>
                </a:cubicBezTo>
                <a:cubicBezTo>
                  <a:pt x="963" y="1220"/>
                  <a:pt x="963" y="1216"/>
                  <a:pt x="962" y="1213"/>
                </a:cubicBezTo>
                <a:cubicBezTo>
                  <a:pt x="962" y="1212"/>
                  <a:pt x="961" y="1211"/>
                  <a:pt x="961" y="1209"/>
                </a:cubicBezTo>
                <a:cubicBezTo>
                  <a:pt x="960" y="1207"/>
                  <a:pt x="960" y="1205"/>
                  <a:pt x="959" y="1203"/>
                </a:cubicBezTo>
                <a:cubicBezTo>
                  <a:pt x="958" y="1201"/>
                  <a:pt x="958" y="1200"/>
                  <a:pt x="957" y="1199"/>
                </a:cubicBezTo>
                <a:cubicBezTo>
                  <a:pt x="956" y="1197"/>
                  <a:pt x="955" y="1195"/>
                  <a:pt x="954" y="1193"/>
                </a:cubicBezTo>
                <a:cubicBezTo>
                  <a:pt x="953" y="1191"/>
                  <a:pt x="951" y="1190"/>
                  <a:pt x="950" y="1188"/>
                </a:cubicBezTo>
                <a:cubicBezTo>
                  <a:pt x="949" y="1187"/>
                  <a:pt x="948" y="1186"/>
                  <a:pt x="947" y="1185"/>
                </a:cubicBezTo>
                <a:cubicBezTo>
                  <a:pt x="947" y="1185"/>
                  <a:pt x="947" y="1185"/>
                  <a:pt x="947" y="1185"/>
                </a:cubicBezTo>
                <a:cubicBezTo>
                  <a:pt x="941" y="1179"/>
                  <a:pt x="935" y="1175"/>
                  <a:pt x="929" y="1173"/>
                </a:cubicBezTo>
                <a:cubicBezTo>
                  <a:pt x="922" y="1170"/>
                  <a:pt x="915" y="1169"/>
                  <a:pt x="908" y="1169"/>
                </a:cubicBezTo>
                <a:cubicBezTo>
                  <a:pt x="898" y="1169"/>
                  <a:pt x="887" y="1172"/>
                  <a:pt x="878" y="1178"/>
                </a:cubicBezTo>
                <a:cubicBezTo>
                  <a:pt x="875" y="1180"/>
                  <a:pt x="872" y="1182"/>
                  <a:pt x="870" y="1185"/>
                </a:cubicBezTo>
                <a:cubicBezTo>
                  <a:pt x="764" y="1290"/>
                  <a:pt x="764" y="1290"/>
                  <a:pt x="764" y="1290"/>
                </a:cubicBezTo>
                <a:cubicBezTo>
                  <a:pt x="754" y="1301"/>
                  <a:pt x="748" y="1314"/>
                  <a:pt x="748" y="1329"/>
                </a:cubicBezTo>
                <a:cubicBezTo>
                  <a:pt x="748" y="1343"/>
                  <a:pt x="754" y="1357"/>
                  <a:pt x="764" y="1368"/>
                </a:cubicBezTo>
                <a:cubicBezTo>
                  <a:pt x="786" y="1389"/>
                  <a:pt x="820" y="1389"/>
                  <a:pt x="842" y="1368"/>
                </a:cubicBezTo>
                <a:lnTo>
                  <a:pt x="880" y="1329"/>
                </a:lnTo>
                <a:close/>
                <a:moveTo>
                  <a:pt x="1068" y="1329"/>
                </a:moveTo>
                <a:cubicBezTo>
                  <a:pt x="1068" y="1314"/>
                  <a:pt x="1062" y="1301"/>
                  <a:pt x="1052" y="1290"/>
                </a:cubicBezTo>
                <a:cubicBezTo>
                  <a:pt x="1001" y="1239"/>
                  <a:pt x="1001" y="1239"/>
                  <a:pt x="1001" y="1239"/>
                </a:cubicBezTo>
                <a:cubicBezTo>
                  <a:pt x="1001" y="1240"/>
                  <a:pt x="1000" y="1240"/>
                  <a:pt x="1000" y="1241"/>
                </a:cubicBezTo>
                <a:cubicBezTo>
                  <a:pt x="1000" y="1242"/>
                  <a:pt x="1000" y="1244"/>
                  <a:pt x="999" y="1246"/>
                </a:cubicBezTo>
                <a:cubicBezTo>
                  <a:pt x="998" y="1249"/>
                  <a:pt x="997" y="1253"/>
                  <a:pt x="996" y="1257"/>
                </a:cubicBezTo>
                <a:cubicBezTo>
                  <a:pt x="995" y="1259"/>
                  <a:pt x="994" y="1260"/>
                  <a:pt x="994" y="1262"/>
                </a:cubicBezTo>
                <a:cubicBezTo>
                  <a:pt x="992" y="1266"/>
                  <a:pt x="990" y="1269"/>
                  <a:pt x="988" y="1272"/>
                </a:cubicBezTo>
                <a:cubicBezTo>
                  <a:pt x="987" y="1274"/>
                  <a:pt x="986" y="1276"/>
                  <a:pt x="985" y="1277"/>
                </a:cubicBezTo>
                <a:cubicBezTo>
                  <a:pt x="982" y="1282"/>
                  <a:pt x="979" y="1286"/>
                  <a:pt x="974" y="1290"/>
                </a:cubicBezTo>
                <a:cubicBezTo>
                  <a:pt x="936" y="1329"/>
                  <a:pt x="936" y="1329"/>
                  <a:pt x="936" y="1329"/>
                </a:cubicBezTo>
                <a:cubicBezTo>
                  <a:pt x="975" y="1368"/>
                  <a:pt x="975" y="1368"/>
                  <a:pt x="975" y="1368"/>
                </a:cubicBezTo>
                <a:cubicBezTo>
                  <a:pt x="996" y="1389"/>
                  <a:pt x="1031" y="1389"/>
                  <a:pt x="1052" y="1368"/>
                </a:cubicBezTo>
                <a:cubicBezTo>
                  <a:pt x="1052" y="1367"/>
                  <a:pt x="1052" y="1367"/>
                  <a:pt x="1052" y="1367"/>
                </a:cubicBezTo>
                <a:cubicBezTo>
                  <a:pt x="1062" y="1357"/>
                  <a:pt x="1068" y="1344"/>
                  <a:pt x="1068" y="1329"/>
                </a:cubicBezTo>
                <a:close/>
                <a:moveTo>
                  <a:pt x="1368" y="975"/>
                </a:moveTo>
                <a:cubicBezTo>
                  <a:pt x="1013" y="620"/>
                  <a:pt x="1013" y="620"/>
                  <a:pt x="1013" y="620"/>
                </a:cubicBezTo>
                <a:cubicBezTo>
                  <a:pt x="870" y="764"/>
                  <a:pt x="870" y="764"/>
                  <a:pt x="870" y="764"/>
                </a:cubicBezTo>
                <a:cubicBezTo>
                  <a:pt x="865" y="769"/>
                  <a:pt x="860" y="773"/>
                  <a:pt x="855" y="776"/>
                </a:cubicBezTo>
                <a:cubicBezTo>
                  <a:pt x="840" y="786"/>
                  <a:pt x="822" y="792"/>
                  <a:pt x="803" y="792"/>
                </a:cubicBezTo>
                <a:cubicBezTo>
                  <a:pt x="803" y="792"/>
                  <a:pt x="803" y="792"/>
                  <a:pt x="803" y="792"/>
                </a:cubicBezTo>
                <a:cubicBezTo>
                  <a:pt x="778" y="792"/>
                  <a:pt x="754" y="782"/>
                  <a:pt x="737" y="764"/>
                </a:cubicBezTo>
                <a:cubicBezTo>
                  <a:pt x="731" y="759"/>
                  <a:pt x="727" y="752"/>
                  <a:pt x="723" y="746"/>
                </a:cubicBezTo>
                <a:cubicBezTo>
                  <a:pt x="714" y="732"/>
                  <a:pt x="709" y="715"/>
                  <a:pt x="709" y="698"/>
                </a:cubicBezTo>
                <a:cubicBezTo>
                  <a:pt x="709" y="686"/>
                  <a:pt x="711" y="676"/>
                  <a:pt x="715" y="665"/>
                </a:cubicBezTo>
                <a:cubicBezTo>
                  <a:pt x="720" y="653"/>
                  <a:pt x="727" y="641"/>
                  <a:pt x="737" y="631"/>
                </a:cubicBezTo>
                <a:cubicBezTo>
                  <a:pt x="880" y="487"/>
                  <a:pt x="880" y="487"/>
                  <a:pt x="880" y="487"/>
                </a:cubicBezTo>
                <a:cubicBezTo>
                  <a:pt x="645" y="252"/>
                  <a:pt x="645" y="252"/>
                  <a:pt x="645" y="252"/>
                </a:cubicBezTo>
                <a:cubicBezTo>
                  <a:pt x="252" y="645"/>
                  <a:pt x="252" y="645"/>
                  <a:pt x="252" y="645"/>
                </a:cubicBezTo>
                <a:cubicBezTo>
                  <a:pt x="488" y="880"/>
                  <a:pt x="488" y="880"/>
                  <a:pt x="488" y="880"/>
                </a:cubicBezTo>
                <a:cubicBezTo>
                  <a:pt x="526" y="842"/>
                  <a:pt x="526" y="842"/>
                  <a:pt x="526" y="842"/>
                </a:cubicBezTo>
                <a:cubicBezTo>
                  <a:pt x="533" y="835"/>
                  <a:pt x="540" y="830"/>
                  <a:pt x="548" y="826"/>
                </a:cubicBezTo>
                <a:cubicBezTo>
                  <a:pt x="567" y="816"/>
                  <a:pt x="589" y="813"/>
                  <a:pt x="611" y="817"/>
                </a:cubicBezTo>
                <a:cubicBezTo>
                  <a:pt x="629" y="820"/>
                  <a:pt x="646" y="828"/>
                  <a:pt x="659" y="842"/>
                </a:cubicBezTo>
                <a:cubicBezTo>
                  <a:pt x="660" y="843"/>
                  <a:pt x="661" y="844"/>
                  <a:pt x="662" y="846"/>
                </a:cubicBezTo>
                <a:cubicBezTo>
                  <a:pt x="665" y="848"/>
                  <a:pt x="667" y="851"/>
                  <a:pt x="669" y="854"/>
                </a:cubicBezTo>
                <a:cubicBezTo>
                  <a:pt x="671" y="856"/>
                  <a:pt x="672" y="858"/>
                  <a:pt x="673" y="860"/>
                </a:cubicBezTo>
                <a:cubicBezTo>
                  <a:pt x="675" y="863"/>
                  <a:pt x="676" y="866"/>
                  <a:pt x="678" y="869"/>
                </a:cubicBezTo>
                <a:cubicBezTo>
                  <a:pt x="679" y="871"/>
                  <a:pt x="679" y="873"/>
                  <a:pt x="680" y="875"/>
                </a:cubicBezTo>
                <a:cubicBezTo>
                  <a:pt x="682" y="878"/>
                  <a:pt x="683" y="882"/>
                  <a:pt x="684" y="886"/>
                </a:cubicBezTo>
                <a:cubicBezTo>
                  <a:pt x="684" y="888"/>
                  <a:pt x="684" y="889"/>
                  <a:pt x="685" y="891"/>
                </a:cubicBezTo>
                <a:cubicBezTo>
                  <a:pt x="685" y="892"/>
                  <a:pt x="685" y="892"/>
                  <a:pt x="685" y="893"/>
                </a:cubicBezTo>
                <a:cubicBezTo>
                  <a:pt x="688" y="891"/>
                  <a:pt x="691" y="889"/>
                  <a:pt x="694" y="886"/>
                </a:cubicBezTo>
                <a:cubicBezTo>
                  <a:pt x="696" y="885"/>
                  <a:pt x="697" y="883"/>
                  <a:pt x="699" y="882"/>
                </a:cubicBezTo>
                <a:cubicBezTo>
                  <a:pt x="703" y="880"/>
                  <a:pt x="707" y="877"/>
                  <a:pt x="712" y="875"/>
                </a:cubicBezTo>
                <a:cubicBezTo>
                  <a:pt x="713" y="875"/>
                  <a:pt x="714" y="874"/>
                  <a:pt x="715" y="874"/>
                </a:cubicBezTo>
                <a:cubicBezTo>
                  <a:pt x="724" y="870"/>
                  <a:pt x="733" y="868"/>
                  <a:pt x="742" y="868"/>
                </a:cubicBezTo>
                <a:cubicBezTo>
                  <a:pt x="745" y="867"/>
                  <a:pt x="748" y="867"/>
                  <a:pt x="750" y="867"/>
                </a:cubicBezTo>
                <a:cubicBezTo>
                  <a:pt x="750" y="867"/>
                  <a:pt x="750" y="867"/>
                  <a:pt x="750" y="867"/>
                </a:cubicBezTo>
                <a:cubicBezTo>
                  <a:pt x="751" y="867"/>
                  <a:pt x="751" y="867"/>
                  <a:pt x="751" y="867"/>
                </a:cubicBezTo>
                <a:cubicBezTo>
                  <a:pt x="753" y="867"/>
                  <a:pt x="754" y="867"/>
                  <a:pt x="756" y="867"/>
                </a:cubicBezTo>
                <a:cubicBezTo>
                  <a:pt x="760" y="868"/>
                  <a:pt x="765" y="868"/>
                  <a:pt x="769" y="869"/>
                </a:cubicBezTo>
                <a:cubicBezTo>
                  <a:pt x="772" y="869"/>
                  <a:pt x="776" y="871"/>
                  <a:pt x="780" y="872"/>
                </a:cubicBezTo>
                <a:cubicBezTo>
                  <a:pt x="782" y="873"/>
                  <a:pt x="784" y="873"/>
                  <a:pt x="786" y="874"/>
                </a:cubicBezTo>
                <a:cubicBezTo>
                  <a:pt x="789" y="875"/>
                  <a:pt x="793" y="877"/>
                  <a:pt x="796" y="879"/>
                </a:cubicBezTo>
                <a:cubicBezTo>
                  <a:pt x="798" y="880"/>
                  <a:pt x="800" y="881"/>
                  <a:pt x="802" y="883"/>
                </a:cubicBezTo>
                <a:cubicBezTo>
                  <a:pt x="805" y="884"/>
                  <a:pt x="807" y="886"/>
                  <a:pt x="809" y="888"/>
                </a:cubicBezTo>
                <a:cubicBezTo>
                  <a:pt x="811" y="890"/>
                  <a:pt x="814" y="892"/>
                  <a:pt x="817" y="894"/>
                </a:cubicBezTo>
                <a:cubicBezTo>
                  <a:pt x="819" y="897"/>
                  <a:pt x="821" y="899"/>
                  <a:pt x="823" y="902"/>
                </a:cubicBezTo>
                <a:cubicBezTo>
                  <a:pt x="829" y="909"/>
                  <a:pt x="834" y="916"/>
                  <a:pt x="837" y="925"/>
                </a:cubicBezTo>
                <a:cubicBezTo>
                  <a:pt x="842" y="936"/>
                  <a:pt x="844" y="948"/>
                  <a:pt x="844" y="961"/>
                </a:cubicBezTo>
                <a:cubicBezTo>
                  <a:pt x="844" y="962"/>
                  <a:pt x="844" y="962"/>
                  <a:pt x="844" y="963"/>
                </a:cubicBezTo>
                <a:cubicBezTo>
                  <a:pt x="844" y="966"/>
                  <a:pt x="844" y="970"/>
                  <a:pt x="843" y="973"/>
                </a:cubicBezTo>
                <a:cubicBezTo>
                  <a:pt x="850" y="972"/>
                  <a:pt x="856" y="972"/>
                  <a:pt x="863" y="973"/>
                </a:cubicBezTo>
                <a:cubicBezTo>
                  <a:pt x="864" y="973"/>
                  <a:pt x="865" y="973"/>
                  <a:pt x="866" y="973"/>
                </a:cubicBezTo>
                <a:cubicBezTo>
                  <a:pt x="872" y="973"/>
                  <a:pt x="878" y="975"/>
                  <a:pt x="884" y="977"/>
                </a:cubicBezTo>
                <a:cubicBezTo>
                  <a:pt x="885" y="977"/>
                  <a:pt x="886" y="977"/>
                  <a:pt x="887" y="978"/>
                </a:cubicBezTo>
                <a:cubicBezTo>
                  <a:pt x="893" y="980"/>
                  <a:pt x="899" y="983"/>
                  <a:pt x="904" y="986"/>
                </a:cubicBezTo>
                <a:cubicBezTo>
                  <a:pt x="905" y="986"/>
                  <a:pt x="906" y="987"/>
                  <a:pt x="906" y="987"/>
                </a:cubicBezTo>
                <a:cubicBezTo>
                  <a:pt x="912" y="991"/>
                  <a:pt x="917" y="995"/>
                  <a:pt x="922" y="999"/>
                </a:cubicBezTo>
                <a:cubicBezTo>
                  <a:pt x="940" y="1017"/>
                  <a:pt x="949" y="1041"/>
                  <a:pt x="949" y="1066"/>
                </a:cubicBezTo>
                <a:cubicBezTo>
                  <a:pt x="949" y="1072"/>
                  <a:pt x="949" y="1078"/>
                  <a:pt x="948" y="1084"/>
                </a:cubicBezTo>
                <a:cubicBezTo>
                  <a:pt x="947" y="1086"/>
                  <a:pt x="946" y="1088"/>
                  <a:pt x="946" y="1090"/>
                </a:cubicBezTo>
                <a:cubicBezTo>
                  <a:pt x="945" y="1094"/>
                  <a:pt x="944" y="1098"/>
                  <a:pt x="942" y="1101"/>
                </a:cubicBezTo>
                <a:cubicBezTo>
                  <a:pt x="942" y="1104"/>
                  <a:pt x="940" y="1106"/>
                  <a:pt x="939" y="1108"/>
                </a:cubicBezTo>
                <a:cubicBezTo>
                  <a:pt x="937" y="1111"/>
                  <a:pt x="936" y="1114"/>
                  <a:pt x="934" y="1117"/>
                </a:cubicBezTo>
                <a:cubicBezTo>
                  <a:pt x="933" y="1120"/>
                  <a:pt x="931" y="1121"/>
                  <a:pt x="929" y="1124"/>
                </a:cubicBezTo>
                <a:cubicBezTo>
                  <a:pt x="927" y="1126"/>
                  <a:pt x="926" y="1129"/>
                  <a:pt x="923" y="1131"/>
                </a:cubicBezTo>
                <a:cubicBezTo>
                  <a:pt x="924" y="1131"/>
                  <a:pt x="924" y="1131"/>
                  <a:pt x="925" y="1131"/>
                </a:cubicBezTo>
                <a:cubicBezTo>
                  <a:pt x="926" y="1132"/>
                  <a:pt x="928" y="1132"/>
                  <a:pt x="929" y="1132"/>
                </a:cubicBezTo>
                <a:cubicBezTo>
                  <a:pt x="933" y="1133"/>
                  <a:pt x="937" y="1134"/>
                  <a:pt x="941" y="1136"/>
                </a:cubicBezTo>
                <a:cubicBezTo>
                  <a:pt x="943" y="1136"/>
                  <a:pt x="944" y="1137"/>
                  <a:pt x="946" y="1138"/>
                </a:cubicBezTo>
                <a:cubicBezTo>
                  <a:pt x="950" y="1140"/>
                  <a:pt x="953" y="1141"/>
                  <a:pt x="957" y="1144"/>
                </a:cubicBezTo>
                <a:cubicBezTo>
                  <a:pt x="958" y="1144"/>
                  <a:pt x="960" y="1145"/>
                  <a:pt x="961" y="1146"/>
                </a:cubicBezTo>
                <a:cubicBezTo>
                  <a:pt x="966" y="1149"/>
                  <a:pt x="970" y="1153"/>
                  <a:pt x="975" y="1157"/>
                </a:cubicBezTo>
                <a:cubicBezTo>
                  <a:pt x="1132" y="1315"/>
                  <a:pt x="1132" y="1315"/>
                  <a:pt x="1132" y="1315"/>
                </a:cubicBezTo>
                <a:cubicBezTo>
                  <a:pt x="1153" y="1336"/>
                  <a:pt x="1189" y="1336"/>
                  <a:pt x="1210" y="1315"/>
                </a:cubicBezTo>
                <a:cubicBezTo>
                  <a:pt x="1231" y="1294"/>
                  <a:pt x="1231" y="1259"/>
                  <a:pt x="1210" y="1238"/>
                </a:cubicBezTo>
                <a:cubicBezTo>
                  <a:pt x="1238" y="1210"/>
                  <a:pt x="1238" y="1210"/>
                  <a:pt x="1238" y="1210"/>
                </a:cubicBezTo>
                <a:cubicBezTo>
                  <a:pt x="1258" y="1230"/>
                  <a:pt x="1294" y="1230"/>
                  <a:pt x="1315" y="1210"/>
                </a:cubicBezTo>
                <a:cubicBezTo>
                  <a:pt x="1325" y="1199"/>
                  <a:pt x="1331" y="1186"/>
                  <a:pt x="1331" y="1171"/>
                </a:cubicBezTo>
                <a:cubicBezTo>
                  <a:pt x="1331" y="1156"/>
                  <a:pt x="1325" y="1143"/>
                  <a:pt x="1315" y="1132"/>
                </a:cubicBezTo>
                <a:cubicBezTo>
                  <a:pt x="1262" y="1080"/>
                  <a:pt x="1262" y="1080"/>
                  <a:pt x="1262" y="1080"/>
                </a:cubicBezTo>
                <a:cubicBezTo>
                  <a:pt x="1290" y="1052"/>
                  <a:pt x="1290" y="1052"/>
                  <a:pt x="1290" y="1052"/>
                </a:cubicBezTo>
                <a:cubicBezTo>
                  <a:pt x="1300" y="1062"/>
                  <a:pt x="1314" y="1068"/>
                  <a:pt x="1329" y="1068"/>
                </a:cubicBezTo>
                <a:cubicBezTo>
                  <a:pt x="1344" y="1068"/>
                  <a:pt x="1357" y="1062"/>
                  <a:pt x="1368" y="1052"/>
                </a:cubicBezTo>
                <a:cubicBezTo>
                  <a:pt x="1378" y="1042"/>
                  <a:pt x="1384" y="1028"/>
                  <a:pt x="1384" y="1013"/>
                </a:cubicBezTo>
                <a:cubicBezTo>
                  <a:pt x="1384" y="999"/>
                  <a:pt x="1378" y="985"/>
                  <a:pt x="1368" y="975"/>
                </a:cubicBezTo>
                <a:close/>
                <a:moveTo>
                  <a:pt x="1564" y="645"/>
                </a:moveTo>
                <a:cubicBezTo>
                  <a:pt x="1171" y="252"/>
                  <a:pt x="1171" y="252"/>
                  <a:pt x="1171" y="252"/>
                </a:cubicBezTo>
                <a:cubicBezTo>
                  <a:pt x="936" y="487"/>
                  <a:pt x="936" y="487"/>
                  <a:pt x="936" y="487"/>
                </a:cubicBezTo>
                <a:cubicBezTo>
                  <a:pt x="936" y="487"/>
                  <a:pt x="936" y="487"/>
                  <a:pt x="936" y="487"/>
                </a:cubicBezTo>
                <a:cubicBezTo>
                  <a:pt x="764" y="659"/>
                  <a:pt x="764" y="659"/>
                  <a:pt x="764" y="659"/>
                </a:cubicBezTo>
                <a:cubicBezTo>
                  <a:pt x="759" y="665"/>
                  <a:pt x="755" y="671"/>
                  <a:pt x="752" y="678"/>
                </a:cubicBezTo>
                <a:cubicBezTo>
                  <a:pt x="750" y="684"/>
                  <a:pt x="748" y="691"/>
                  <a:pt x="748" y="698"/>
                </a:cubicBezTo>
                <a:cubicBezTo>
                  <a:pt x="748" y="707"/>
                  <a:pt x="751" y="715"/>
                  <a:pt x="754" y="722"/>
                </a:cubicBezTo>
                <a:cubicBezTo>
                  <a:pt x="757" y="727"/>
                  <a:pt x="760" y="732"/>
                  <a:pt x="764" y="736"/>
                </a:cubicBezTo>
                <a:cubicBezTo>
                  <a:pt x="775" y="747"/>
                  <a:pt x="788" y="752"/>
                  <a:pt x="803" y="752"/>
                </a:cubicBezTo>
                <a:cubicBezTo>
                  <a:pt x="803" y="752"/>
                  <a:pt x="803" y="752"/>
                  <a:pt x="803" y="752"/>
                </a:cubicBezTo>
                <a:cubicBezTo>
                  <a:pt x="814" y="752"/>
                  <a:pt x="825" y="749"/>
                  <a:pt x="834" y="743"/>
                </a:cubicBezTo>
                <a:cubicBezTo>
                  <a:pt x="836" y="741"/>
                  <a:pt x="839" y="739"/>
                  <a:pt x="842" y="737"/>
                </a:cubicBezTo>
                <a:cubicBezTo>
                  <a:pt x="1013" y="565"/>
                  <a:pt x="1013" y="565"/>
                  <a:pt x="1013" y="565"/>
                </a:cubicBezTo>
                <a:cubicBezTo>
                  <a:pt x="1329" y="880"/>
                  <a:pt x="1329" y="880"/>
                  <a:pt x="1329" y="880"/>
                </a:cubicBezTo>
                <a:lnTo>
                  <a:pt x="1564" y="645"/>
                </a:lnTo>
                <a:close/>
                <a:moveTo>
                  <a:pt x="152" y="507"/>
                </a:moveTo>
                <a:cubicBezTo>
                  <a:pt x="205" y="560"/>
                  <a:pt x="205" y="560"/>
                  <a:pt x="205" y="560"/>
                </a:cubicBezTo>
                <a:cubicBezTo>
                  <a:pt x="257" y="507"/>
                  <a:pt x="257" y="507"/>
                  <a:pt x="257" y="507"/>
                </a:cubicBezTo>
                <a:cubicBezTo>
                  <a:pt x="205" y="455"/>
                  <a:pt x="205" y="455"/>
                  <a:pt x="205" y="455"/>
                </a:cubicBezTo>
                <a:lnTo>
                  <a:pt x="152" y="507"/>
                </a:lnTo>
                <a:close/>
                <a:moveTo>
                  <a:pt x="1664" y="507"/>
                </a:moveTo>
                <a:cubicBezTo>
                  <a:pt x="1612" y="455"/>
                  <a:pt x="1612" y="455"/>
                  <a:pt x="1612" y="455"/>
                </a:cubicBezTo>
                <a:cubicBezTo>
                  <a:pt x="1559" y="507"/>
                  <a:pt x="1559" y="507"/>
                  <a:pt x="1559" y="507"/>
                </a:cubicBezTo>
                <a:cubicBezTo>
                  <a:pt x="1612" y="560"/>
                  <a:pt x="1612" y="560"/>
                  <a:pt x="1612" y="560"/>
                </a:cubicBezTo>
                <a:lnTo>
                  <a:pt x="1664" y="5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506"/>
          </a:p>
        </p:txBody>
      </p:sp>
      <p:sp>
        <p:nvSpPr>
          <p:cNvPr id="7" name="TextBox 6"/>
          <p:cNvSpPr txBox="1"/>
          <p:nvPr/>
        </p:nvSpPr>
        <p:spPr>
          <a:xfrm>
            <a:off x="2176837" y="2619017"/>
            <a:ext cx="4790326" cy="4205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am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incidunt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lacerat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uere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Vestibulum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enatis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rius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pien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gittis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llamcorper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76837" y="3698755"/>
            <a:ext cx="4790326" cy="3139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spc="20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R/</a:t>
            </a:r>
            <a:r>
              <a:rPr lang="en-US" sz="900" b="1" cap="all" spc="20" dirty="0" err="1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área</a:t>
            </a:r>
            <a:endParaRPr lang="en-US" sz="900" b="1" spc="20" dirty="0">
              <a:solidFill>
                <a:srgbClr val="EC0000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800" b="1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ARGO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83368" y="1529233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76836" y="1731330"/>
            <a:ext cx="4790327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cap="all" spc="8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LÁ &amp; </a:t>
            </a:r>
            <a:r>
              <a:rPr lang="en-US" sz="3200" cap="all" spc="8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M-VINDO!</a:t>
            </a:r>
          </a:p>
        </p:txBody>
      </p:sp>
    </p:spTree>
    <p:extLst>
      <p:ext uri="{BB962C8B-B14F-4D97-AF65-F5344CB8AC3E}">
        <p14:creationId xmlns:p14="http://schemas.microsoft.com/office/powerpoint/2010/main" val="17776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stratégia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lano</a:t>
            </a:r>
            <a:r>
              <a:rPr lang="en-US" dirty="0">
                <a:solidFill>
                  <a:srgbClr val="EC0000"/>
                </a:solidFill>
              </a:rPr>
              <a:t> de </a:t>
            </a:r>
            <a:r>
              <a:rPr lang="en-US" dirty="0" err="1">
                <a:solidFill>
                  <a:srgbClr val="EC0000"/>
                </a:solidFill>
              </a:rPr>
              <a:t>negóci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9" name="Elbow Connector 8"/>
          <p:cNvCxnSpPr>
            <a:stCxn id="4" idx="6"/>
            <a:endCxn id="5" idx="1"/>
          </p:cNvCxnSpPr>
          <p:nvPr/>
        </p:nvCxnSpPr>
        <p:spPr>
          <a:xfrm flipV="1">
            <a:off x="2302933" y="1814997"/>
            <a:ext cx="677864" cy="1080519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lbow Connector 9"/>
          <p:cNvCxnSpPr>
            <a:stCxn id="4" idx="6"/>
            <a:endCxn id="6" idx="1"/>
          </p:cNvCxnSpPr>
          <p:nvPr/>
        </p:nvCxnSpPr>
        <p:spPr>
          <a:xfrm flipV="1">
            <a:off x="2302933" y="2535343"/>
            <a:ext cx="677864" cy="360173"/>
          </a:xfrm>
          <a:prstGeom prst="bentConnector3">
            <a:avLst>
              <a:gd name="adj1" fmla="val 50000"/>
            </a:avLst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4" idx="6"/>
            <a:endCxn id="7" idx="1"/>
          </p:cNvCxnSpPr>
          <p:nvPr/>
        </p:nvCxnSpPr>
        <p:spPr>
          <a:xfrm>
            <a:off x="2302933" y="2895516"/>
            <a:ext cx="677864" cy="360173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>
            <a:stCxn id="4" idx="6"/>
            <a:endCxn id="8" idx="1"/>
          </p:cNvCxnSpPr>
          <p:nvPr/>
        </p:nvCxnSpPr>
        <p:spPr>
          <a:xfrm>
            <a:off x="2302933" y="2895516"/>
            <a:ext cx="677864" cy="1080519"/>
          </a:xfrm>
          <a:prstGeom prst="bentConnector3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/>
          <p:cNvGrpSpPr/>
          <p:nvPr/>
        </p:nvGrpSpPr>
        <p:grpSpPr>
          <a:xfrm>
            <a:off x="713317" y="2100708"/>
            <a:ext cx="1589616" cy="1589616"/>
            <a:chOff x="713317" y="2094720"/>
            <a:chExt cx="1589616" cy="1589616"/>
          </a:xfrm>
        </p:grpSpPr>
        <p:sp>
          <p:nvSpPr>
            <p:cNvPr id="4" name="Oval 3"/>
            <p:cNvSpPr/>
            <p:nvPr/>
          </p:nvSpPr>
          <p:spPr>
            <a:xfrm>
              <a:off x="713317" y="2094720"/>
              <a:ext cx="1589616" cy="1589616"/>
            </a:xfrm>
            <a:prstGeom prst="ellipse">
              <a:avLst/>
            </a:prstGeom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21835" y="2704862"/>
              <a:ext cx="117258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stratégia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de</a:t>
              </a:r>
            </a:p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egócio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sp>
        <p:nvSpPr>
          <p:cNvPr id="6" name="Pentagon 5"/>
          <p:cNvSpPr/>
          <p:nvPr/>
        </p:nvSpPr>
        <p:spPr>
          <a:xfrm>
            <a:off x="2980797" y="2355471"/>
            <a:ext cx="1967970" cy="359744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Pentagon 6"/>
          <p:cNvSpPr/>
          <p:nvPr/>
        </p:nvSpPr>
        <p:spPr>
          <a:xfrm>
            <a:off x="2980797" y="3075817"/>
            <a:ext cx="1967970" cy="359744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Pentagon 4"/>
          <p:cNvSpPr/>
          <p:nvPr/>
        </p:nvSpPr>
        <p:spPr>
          <a:xfrm>
            <a:off x="2980797" y="1635125"/>
            <a:ext cx="1967970" cy="359744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Pentagon 7"/>
          <p:cNvSpPr/>
          <p:nvPr/>
        </p:nvSpPr>
        <p:spPr>
          <a:xfrm>
            <a:off x="2980797" y="3796163"/>
            <a:ext cx="1967970" cy="359744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5" name="TextBox 34"/>
          <p:cNvSpPr txBox="1"/>
          <p:nvPr/>
        </p:nvSpPr>
        <p:spPr>
          <a:xfrm>
            <a:off x="5334000" y="1660252"/>
            <a:ext cx="3213100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stibulu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pie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orta semper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haretr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334000" y="2389055"/>
            <a:ext cx="3213100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stibulu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pie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orta semper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haretr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334000" y="3102790"/>
            <a:ext cx="3213100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stibulu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pie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orta semper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haretr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334000" y="3823136"/>
            <a:ext cx="3213100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stibulu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cte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pie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orta semper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haretr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45" name="Oval 44"/>
          <p:cNvSpPr/>
          <p:nvPr/>
        </p:nvSpPr>
        <p:spPr>
          <a:xfrm>
            <a:off x="2934102" y="1767837"/>
            <a:ext cx="94320" cy="9432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/>
          <p:cNvSpPr/>
          <p:nvPr/>
        </p:nvSpPr>
        <p:spPr>
          <a:xfrm>
            <a:off x="2934102" y="2488183"/>
            <a:ext cx="94320" cy="9432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/>
          <p:cNvSpPr/>
          <p:nvPr/>
        </p:nvSpPr>
        <p:spPr>
          <a:xfrm>
            <a:off x="2934102" y="3208529"/>
            <a:ext cx="94320" cy="9432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/>
          <p:cNvSpPr/>
          <p:nvPr/>
        </p:nvSpPr>
        <p:spPr>
          <a:xfrm>
            <a:off x="2934102" y="3928875"/>
            <a:ext cx="94320" cy="94320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3215793" y="1688406"/>
            <a:ext cx="1732974" cy="203908"/>
            <a:chOff x="3215793" y="1688406"/>
            <a:chExt cx="1732974" cy="203908"/>
          </a:xfrm>
        </p:grpSpPr>
        <p:sp>
          <p:nvSpPr>
            <p:cNvPr id="14" name="TextBox 13"/>
            <p:cNvSpPr txBox="1"/>
            <p:nvPr/>
          </p:nvSpPr>
          <p:spPr>
            <a:xfrm>
              <a:off x="3492345" y="1738053"/>
              <a:ext cx="14564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ESQUISA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3215793" y="1688406"/>
              <a:ext cx="148158" cy="203908"/>
              <a:chOff x="5470525" y="1027113"/>
              <a:chExt cx="307975" cy="423863"/>
            </a:xfrm>
            <a:solidFill>
              <a:schemeClr val="bg1"/>
            </a:solidFill>
          </p:grpSpPr>
          <p:sp>
            <p:nvSpPr>
              <p:cNvPr id="70" name="Freeform 147"/>
              <p:cNvSpPr>
                <a:spLocks noEditPoints="1"/>
              </p:cNvSpPr>
              <p:nvPr/>
            </p:nvSpPr>
            <p:spPr bwMode="auto">
              <a:xfrm>
                <a:off x="5470525" y="1119188"/>
                <a:ext cx="307975" cy="331788"/>
              </a:xfrm>
              <a:custGeom>
                <a:avLst/>
                <a:gdLst>
                  <a:gd name="T0" fmla="*/ 307 w 309"/>
                  <a:gd name="T1" fmla="*/ 319 h 332"/>
                  <a:gd name="T2" fmla="*/ 252 w 309"/>
                  <a:gd name="T3" fmla="*/ 214 h 332"/>
                  <a:gd name="T4" fmla="*/ 286 w 309"/>
                  <a:gd name="T5" fmla="*/ 187 h 332"/>
                  <a:gd name="T6" fmla="*/ 286 w 309"/>
                  <a:gd name="T7" fmla="*/ 137 h 332"/>
                  <a:gd name="T8" fmla="*/ 261 w 309"/>
                  <a:gd name="T9" fmla="*/ 126 h 332"/>
                  <a:gd name="T10" fmla="*/ 236 w 309"/>
                  <a:gd name="T11" fmla="*/ 137 h 332"/>
                  <a:gd name="T12" fmla="*/ 219 w 309"/>
                  <a:gd name="T13" fmla="*/ 151 h 332"/>
                  <a:gd name="T14" fmla="*/ 191 w 309"/>
                  <a:gd name="T15" fmla="*/ 97 h 332"/>
                  <a:gd name="T16" fmla="*/ 210 w 309"/>
                  <a:gd name="T17" fmla="*/ 55 h 332"/>
                  <a:gd name="T18" fmla="*/ 155 w 309"/>
                  <a:gd name="T19" fmla="*/ 0 h 332"/>
                  <a:gd name="T20" fmla="*/ 100 w 309"/>
                  <a:gd name="T21" fmla="*/ 55 h 332"/>
                  <a:gd name="T22" fmla="*/ 119 w 309"/>
                  <a:gd name="T23" fmla="*/ 97 h 332"/>
                  <a:gd name="T24" fmla="*/ 90 w 309"/>
                  <a:gd name="T25" fmla="*/ 151 h 332"/>
                  <a:gd name="T26" fmla="*/ 73 w 309"/>
                  <a:gd name="T27" fmla="*/ 137 h 332"/>
                  <a:gd name="T28" fmla="*/ 48 w 309"/>
                  <a:gd name="T29" fmla="*/ 126 h 332"/>
                  <a:gd name="T30" fmla="*/ 23 w 309"/>
                  <a:gd name="T31" fmla="*/ 137 h 332"/>
                  <a:gd name="T32" fmla="*/ 23 w 309"/>
                  <a:gd name="T33" fmla="*/ 187 h 332"/>
                  <a:gd name="T34" fmla="*/ 57 w 309"/>
                  <a:gd name="T35" fmla="*/ 214 h 332"/>
                  <a:gd name="T36" fmla="*/ 2 w 309"/>
                  <a:gd name="T37" fmla="*/ 319 h 332"/>
                  <a:gd name="T38" fmla="*/ 6 w 309"/>
                  <a:gd name="T39" fmla="*/ 331 h 332"/>
                  <a:gd name="T40" fmla="*/ 10 w 309"/>
                  <a:gd name="T41" fmla="*/ 332 h 332"/>
                  <a:gd name="T42" fmla="*/ 19 w 309"/>
                  <a:gd name="T43" fmla="*/ 327 h 332"/>
                  <a:gd name="T44" fmla="*/ 74 w 309"/>
                  <a:gd name="T45" fmla="*/ 223 h 332"/>
                  <a:gd name="T46" fmla="*/ 155 w 309"/>
                  <a:gd name="T47" fmla="*/ 241 h 332"/>
                  <a:gd name="T48" fmla="*/ 236 w 309"/>
                  <a:gd name="T49" fmla="*/ 223 h 332"/>
                  <a:gd name="T50" fmla="*/ 290 w 309"/>
                  <a:gd name="T51" fmla="*/ 327 h 332"/>
                  <a:gd name="T52" fmla="*/ 299 w 309"/>
                  <a:gd name="T53" fmla="*/ 332 h 332"/>
                  <a:gd name="T54" fmla="*/ 303 w 309"/>
                  <a:gd name="T55" fmla="*/ 331 h 332"/>
                  <a:gd name="T56" fmla="*/ 307 w 309"/>
                  <a:gd name="T57" fmla="*/ 319 h 332"/>
                  <a:gd name="T58" fmla="*/ 155 w 309"/>
                  <a:gd name="T59" fmla="*/ 19 h 332"/>
                  <a:gd name="T60" fmla="*/ 191 w 309"/>
                  <a:gd name="T61" fmla="*/ 55 h 332"/>
                  <a:gd name="T62" fmla="*/ 155 w 309"/>
                  <a:gd name="T63" fmla="*/ 91 h 332"/>
                  <a:gd name="T64" fmla="*/ 119 w 309"/>
                  <a:gd name="T65" fmla="*/ 55 h 332"/>
                  <a:gd name="T66" fmla="*/ 155 w 309"/>
                  <a:gd name="T67" fmla="*/ 19 h 332"/>
                  <a:gd name="T68" fmla="*/ 135 w 309"/>
                  <a:gd name="T69" fmla="*/ 106 h 332"/>
                  <a:gd name="T70" fmla="*/ 155 w 309"/>
                  <a:gd name="T71" fmla="*/ 110 h 332"/>
                  <a:gd name="T72" fmla="*/ 175 w 309"/>
                  <a:gd name="T73" fmla="*/ 106 h 332"/>
                  <a:gd name="T74" fmla="*/ 203 w 309"/>
                  <a:gd name="T75" fmla="*/ 160 h 332"/>
                  <a:gd name="T76" fmla="*/ 155 w 309"/>
                  <a:gd name="T77" fmla="*/ 170 h 332"/>
                  <a:gd name="T78" fmla="*/ 107 w 309"/>
                  <a:gd name="T79" fmla="*/ 160 h 332"/>
                  <a:gd name="T80" fmla="*/ 135 w 309"/>
                  <a:gd name="T81" fmla="*/ 106 h 332"/>
                  <a:gd name="T82" fmla="*/ 36 w 309"/>
                  <a:gd name="T83" fmla="*/ 174 h 332"/>
                  <a:gd name="T84" fmla="*/ 36 w 309"/>
                  <a:gd name="T85" fmla="*/ 150 h 332"/>
                  <a:gd name="T86" fmla="*/ 48 w 309"/>
                  <a:gd name="T87" fmla="*/ 145 h 332"/>
                  <a:gd name="T88" fmla="*/ 60 w 309"/>
                  <a:gd name="T89" fmla="*/ 150 h 332"/>
                  <a:gd name="T90" fmla="*/ 155 w 309"/>
                  <a:gd name="T91" fmla="*/ 189 h 332"/>
                  <a:gd name="T92" fmla="*/ 249 w 309"/>
                  <a:gd name="T93" fmla="*/ 150 h 332"/>
                  <a:gd name="T94" fmla="*/ 261 w 309"/>
                  <a:gd name="T95" fmla="*/ 145 h 332"/>
                  <a:gd name="T96" fmla="*/ 273 w 309"/>
                  <a:gd name="T97" fmla="*/ 150 h 332"/>
                  <a:gd name="T98" fmla="*/ 273 w 309"/>
                  <a:gd name="T99" fmla="*/ 174 h 332"/>
                  <a:gd name="T100" fmla="*/ 155 w 309"/>
                  <a:gd name="T101" fmla="*/ 223 h 332"/>
                  <a:gd name="T102" fmla="*/ 36 w 309"/>
                  <a:gd name="T103" fmla="*/ 17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9" h="332">
                    <a:moveTo>
                      <a:pt x="307" y="319"/>
                    </a:moveTo>
                    <a:cubicBezTo>
                      <a:pt x="252" y="214"/>
                      <a:pt x="252" y="214"/>
                      <a:pt x="252" y="214"/>
                    </a:cubicBezTo>
                    <a:cubicBezTo>
                      <a:pt x="264" y="206"/>
                      <a:pt x="276" y="197"/>
                      <a:pt x="286" y="187"/>
                    </a:cubicBezTo>
                    <a:cubicBezTo>
                      <a:pt x="300" y="173"/>
                      <a:pt x="300" y="151"/>
                      <a:pt x="286" y="137"/>
                    </a:cubicBezTo>
                    <a:cubicBezTo>
                      <a:pt x="280" y="130"/>
                      <a:pt x="271" y="126"/>
                      <a:pt x="261" y="126"/>
                    </a:cubicBezTo>
                    <a:cubicBezTo>
                      <a:pt x="252" y="126"/>
                      <a:pt x="243" y="130"/>
                      <a:pt x="236" y="137"/>
                    </a:cubicBezTo>
                    <a:cubicBezTo>
                      <a:pt x="231" y="142"/>
                      <a:pt x="225" y="147"/>
                      <a:pt x="219" y="151"/>
                    </a:cubicBezTo>
                    <a:cubicBezTo>
                      <a:pt x="191" y="97"/>
                      <a:pt x="191" y="97"/>
                      <a:pt x="191" y="97"/>
                    </a:cubicBezTo>
                    <a:cubicBezTo>
                      <a:pt x="202" y="87"/>
                      <a:pt x="210" y="72"/>
                      <a:pt x="210" y="55"/>
                    </a:cubicBezTo>
                    <a:cubicBezTo>
                      <a:pt x="210" y="25"/>
                      <a:pt x="185" y="0"/>
                      <a:pt x="155" y="0"/>
                    </a:cubicBezTo>
                    <a:cubicBezTo>
                      <a:pt x="125" y="0"/>
                      <a:pt x="100" y="25"/>
                      <a:pt x="100" y="55"/>
                    </a:cubicBezTo>
                    <a:cubicBezTo>
                      <a:pt x="100" y="72"/>
                      <a:pt x="107" y="87"/>
                      <a:pt x="119" y="97"/>
                    </a:cubicBezTo>
                    <a:cubicBezTo>
                      <a:pt x="90" y="151"/>
                      <a:pt x="90" y="151"/>
                      <a:pt x="90" y="151"/>
                    </a:cubicBezTo>
                    <a:cubicBezTo>
                      <a:pt x="84" y="147"/>
                      <a:pt x="79" y="142"/>
                      <a:pt x="73" y="137"/>
                    </a:cubicBezTo>
                    <a:cubicBezTo>
                      <a:pt x="67" y="130"/>
                      <a:pt x="58" y="126"/>
                      <a:pt x="48" y="126"/>
                    </a:cubicBezTo>
                    <a:cubicBezTo>
                      <a:pt x="39" y="126"/>
                      <a:pt x="30" y="130"/>
                      <a:pt x="23" y="137"/>
                    </a:cubicBezTo>
                    <a:cubicBezTo>
                      <a:pt x="9" y="151"/>
                      <a:pt x="9" y="173"/>
                      <a:pt x="23" y="187"/>
                    </a:cubicBezTo>
                    <a:cubicBezTo>
                      <a:pt x="33" y="197"/>
                      <a:pt x="45" y="206"/>
                      <a:pt x="57" y="214"/>
                    </a:cubicBezTo>
                    <a:cubicBezTo>
                      <a:pt x="2" y="319"/>
                      <a:pt x="2" y="319"/>
                      <a:pt x="2" y="319"/>
                    </a:cubicBezTo>
                    <a:cubicBezTo>
                      <a:pt x="0" y="323"/>
                      <a:pt x="2" y="329"/>
                      <a:pt x="6" y="331"/>
                    </a:cubicBezTo>
                    <a:cubicBezTo>
                      <a:pt x="7" y="332"/>
                      <a:pt x="9" y="332"/>
                      <a:pt x="10" y="332"/>
                    </a:cubicBezTo>
                    <a:cubicBezTo>
                      <a:pt x="14" y="332"/>
                      <a:pt x="17" y="331"/>
                      <a:pt x="19" y="327"/>
                    </a:cubicBezTo>
                    <a:cubicBezTo>
                      <a:pt x="74" y="223"/>
                      <a:pt x="74" y="223"/>
                      <a:pt x="74" y="223"/>
                    </a:cubicBezTo>
                    <a:cubicBezTo>
                      <a:pt x="99" y="235"/>
                      <a:pt x="126" y="241"/>
                      <a:pt x="155" y="241"/>
                    </a:cubicBezTo>
                    <a:cubicBezTo>
                      <a:pt x="183" y="241"/>
                      <a:pt x="211" y="235"/>
                      <a:pt x="236" y="223"/>
                    </a:cubicBezTo>
                    <a:cubicBezTo>
                      <a:pt x="290" y="327"/>
                      <a:pt x="290" y="327"/>
                      <a:pt x="290" y="327"/>
                    </a:cubicBezTo>
                    <a:cubicBezTo>
                      <a:pt x="292" y="331"/>
                      <a:pt x="295" y="332"/>
                      <a:pt x="299" y="332"/>
                    </a:cubicBezTo>
                    <a:cubicBezTo>
                      <a:pt x="300" y="332"/>
                      <a:pt x="302" y="332"/>
                      <a:pt x="303" y="331"/>
                    </a:cubicBezTo>
                    <a:cubicBezTo>
                      <a:pt x="308" y="329"/>
                      <a:pt x="309" y="323"/>
                      <a:pt x="307" y="319"/>
                    </a:cubicBezTo>
                    <a:close/>
                    <a:moveTo>
                      <a:pt x="155" y="19"/>
                    </a:moveTo>
                    <a:cubicBezTo>
                      <a:pt x="175" y="19"/>
                      <a:pt x="191" y="35"/>
                      <a:pt x="191" y="55"/>
                    </a:cubicBezTo>
                    <a:cubicBezTo>
                      <a:pt x="191" y="75"/>
                      <a:pt x="175" y="91"/>
                      <a:pt x="155" y="91"/>
                    </a:cubicBezTo>
                    <a:cubicBezTo>
                      <a:pt x="135" y="91"/>
                      <a:pt x="119" y="75"/>
                      <a:pt x="119" y="55"/>
                    </a:cubicBezTo>
                    <a:cubicBezTo>
                      <a:pt x="119" y="35"/>
                      <a:pt x="135" y="19"/>
                      <a:pt x="155" y="19"/>
                    </a:cubicBezTo>
                    <a:close/>
                    <a:moveTo>
                      <a:pt x="135" y="106"/>
                    </a:moveTo>
                    <a:cubicBezTo>
                      <a:pt x="141" y="109"/>
                      <a:pt x="148" y="110"/>
                      <a:pt x="155" y="110"/>
                    </a:cubicBezTo>
                    <a:cubicBezTo>
                      <a:pt x="162" y="110"/>
                      <a:pt x="168" y="109"/>
                      <a:pt x="175" y="106"/>
                    </a:cubicBezTo>
                    <a:cubicBezTo>
                      <a:pt x="203" y="160"/>
                      <a:pt x="203" y="160"/>
                      <a:pt x="203" y="160"/>
                    </a:cubicBezTo>
                    <a:cubicBezTo>
                      <a:pt x="188" y="167"/>
                      <a:pt x="172" y="170"/>
                      <a:pt x="155" y="170"/>
                    </a:cubicBezTo>
                    <a:cubicBezTo>
                      <a:pt x="138" y="170"/>
                      <a:pt x="122" y="167"/>
                      <a:pt x="107" y="160"/>
                    </a:cubicBezTo>
                    <a:lnTo>
                      <a:pt x="135" y="106"/>
                    </a:lnTo>
                    <a:close/>
                    <a:moveTo>
                      <a:pt x="36" y="174"/>
                    </a:moveTo>
                    <a:cubicBezTo>
                      <a:pt x="30" y="167"/>
                      <a:pt x="30" y="156"/>
                      <a:pt x="36" y="150"/>
                    </a:cubicBezTo>
                    <a:cubicBezTo>
                      <a:pt x="39" y="147"/>
                      <a:pt x="44" y="145"/>
                      <a:pt x="48" y="145"/>
                    </a:cubicBezTo>
                    <a:cubicBezTo>
                      <a:pt x="53" y="145"/>
                      <a:pt x="57" y="147"/>
                      <a:pt x="60" y="150"/>
                    </a:cubicBezTo>
                    <a:cubicBezTo>
                      <a:pt x="85" y="175"/>
                      <a:pt x="119" y="189"/>
                      <a:pt x="155" y="189"/>
                    </a:cubicBezTo>
                    <a:cubicBezTo>
                      <a:pt x="191" y="189"/>
                      <a:pt x="224" y="175"/>
                      <a:pt x="249" y="150"/>
                    </a:cubicBezTo>
                    <a:cubicBezTo>
                      <a:pt x="253" y="147"/>
                      <a:pt x="257" y="145"/>
                      <a:pt x="261" y="145"/>
                    </a:cubicBezTo>
                    <a:cubicBezTo>
                      <a:pt x="266" y="145"/>
                      <a:pt x="270" y="147"/>
                      <a:pt x="273" y="150"/>
                    </a:cubicBezTo>
                    <a:cubicBezTo>
                      <a:pt x="280" y="156"/>
                      <a:pt x="280" y="167"/>
                      <a:pt x="273" y="174"/>
                    </a:cubicBezTo>
                    <a:cubicBezTo>
                      <a:pt x="242" y="205"/>
                      <a:pt x="200" y="223"/>
                      <a:pt x="155" y="223"/>
                    </a:cubicBezTo>
                    <a:cubicBezTo>
                      <a:pt x="110" y="223"/>
                      <a:pt x="68" y="205"/>
                      <a:pt x="36" y="1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148"/>
              <p:cNvSpPr>
                <a:spLocks noEditPoints="1"/>
              </p:cNvSpPr>
              <p:nvPr/>
            </p:nvSpPr>
            <p:spPr bwMode="auto">
              <a:xfrm>
                <a:off x="5602288" y="1027113"/>
                <a:ext cx="44450" cy="84138"/>
              </a:xfrm>
              <a:custGeom>
                <a:avLst/>
                <a:gdLst>
                  <a:gd name="T0" fmla="*/ 9 w 45"/>
                  <a:gd name="T1" fmla="*/ 58 h 84"/>
                  <a:gd name="T2" fmla="*/ 13 w 45"/>
                  <a:gd name="T3" fmla="*/ 58 h 84"/>
                  <a:gd name="T4" fmla="*/ 13 w 45"/>
                  <a:gd name="T5" fmla="*/ 75 h 84"/>
                  <a:gd name="T6" fmla="*/ 23 w 45"/>
                  <a:gd name="T7" fmla="*/ 84 h 84"/>
                  <a:gd name="T8" fmla="*/ 32 w 45"/>
                  <a:gd name="T9" fmla="*/ 75 h 84"/>
                  <a:gd name="T10" fmla="*/ 32 w 45"/>
                  <a:gd name="T11" fmla="*/ 58 h 84"/>
                  <a:gd name="T12" fmla="*/ 36 w 45"/>
                  <a:gd name="T13" fmla="*/ 58 h 84"/>
                  <a:gd name="T14" fmla="*/ 45 w 45"/>
                  <a:gd name="T15" fmla="*/ 49 h 84"/>
                  <a:gd name="T16" fmla="*/ 45 w 45"/>
                  <a:gd name="T17" fmla="*/ 10 h 84"/>
                  <a:gd name="T18" fmla="*/ 36 w 45"/>
                  <a:gd name="T19" fmla="*/ 0 h 84"/>
                  <a:gd name="T20" fmla="*/ 9 w 45"/>
                  <a:gd name="T21" fmla="*/ 0 h 84"/>
                  <a:gd name="T22" fmla="*/ 0 w 45"/>
                  <a:gd name="T23" fmla="*/ 10 h 84"/>
                  <a:gd name="T24" fmla="*/ 0 w 45"/>
                  <a:gd name="T25" fmla="*/ 49 h 84"/>
                  <a:gd name="T26" fmla="*/ 9 w 45"/>
                  <a:gd name="T27" fmla="*/ 58 h 84"/>
                  <a:gd name="T28" fmla="*/ 19 w 45"/>
                  <a:gd name="T29" fmla="*/ 19 h 84"/>
                  <a:gd name="T30" fmla="*/ 26 w 45"/>
                  <a:gd name="T31" fmla="*/ 19 h 84"/>
                  <a:gd name="T32" fmla="*/ 26 w 45"/>
                  <a:gd name="T33" fmla="*/ 40 h 84"/>
                  <a:gd name="T34" fmla="*/ 19 w 45"/>
                  <a:gd name="T35" fmla="*/ 40 h 84"/>
                  <a:gd name="T36" fmla="*/ 19 w 45"/>
                  <a:gd name="T37" fmla="*/ 1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84">
                    <a:moveTo>
                      <a:pt x="9" y="58"/>
                    </a:moveTo>
                    <a:cubicBezTo>
                      <a:pt x="13" y="58"/>
                      <a:pt x="13" y="58"/>
                      <a:pt x="13" y="58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13" y="80"/>
                      <a:pt x="18" y="84"/>
                      <a:pt x="23" y="84"/>
                    </a:cubicBezTo>
                    <a:cubicBezTo>
                      <a:pt x="28" y="84"/>
                      <a:pt x="32" y="80"/>
                      <a:pt x="32" y="75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41" y="58"/>
                      <a:pt x="45" y="54"/>
                      <a:pt x="45" y="49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4"/>
                      <a:pt x="41" y="0"/>
                      <a:pt x="3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4" y="58"/>
                      <a:pt x="9" y="58"/>
                    </a:cubicBezTo>
                    <a:close/>
                    <a:moveTo>
                      <a:pt x="19" y="19"/>
                    </a:move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19" y="40"/>
                      <a:pt x="19" y="40"/>
                      <a:pt x="19" y="40"/>
                    </a:cubicBezTo>
                    <a:lnTo>
                      <a:pt x="19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3134509" y="3149569"/>
            <a:ext cx="1720112" cy="203908"/>
            <a:chOff x="3134509" y="3149569"/>
            <a:chExt cx="1720112" cy="203908"/>
          </a:xfrm>
        </p:grpSpPr>
        <p:sp>
          <p:nvSpPr>
            <p:cNvPr id="17" name="TextBox 16"/>
            <p:cNvSpPr txBox="1"/>
            <p:nvPr/>
          </p:nvSpPr>
          <p:spPr>
            <a:xfrm>
              <a:off x="3492345" y="3178745"/>
              <a:ext cx="13622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TENDÊNCIAS</a:t>
              </a:r>
            </a:p>
          </p:txBody>
        </p:sp>
        <p:sp>
          <p:nvSpPr>
            <p:cNvPr id="72" name="Freeform 157"/>
            <p:cNvSpPr>
              <a:spLocks noEditPoints="1"/>
            </p:cNvSpPr>
            <p:nvPr/>
          </p:nvSpPr>
          <p:spPr bwMode="auto">
            <a:xfrm>
              <a:off x="3134509" y="3149569"/>
              <a:ext cx="228346" cy="203908"/>
            </a:xfrm>
            <a:custGeom>
              <a:avLst/>
              <a:gdLst>
                <a:gd name="T0" fmla="*/ 455 w 477"/>
                <a:gd name="T1" fmla="*/ 118 h 425"/>
                <a:gd name="T2" fmla="*/ 363 w 477"/>
                <a:gd name="T3" fmla="*/ 118 h 425"/>
                <a:gd name="T4" fmla="*/ 341 w 477"/>
                <a:gd name="T5" fmla="*/ 141 h 425"/>
                <a:gd name="T6" fmla="*/ 341 w 477"/>
                <a:gd name="T7" fmla="*/ 403 h 425"/>
                <a:gd name="T8" fmla="*/ 341 w 477"/>
                <a:gd name="T9" fmla="*/ 406 h 425"/>
                <a:gd name="T10" fmla="*/ 306 w 477"/>
                <a:gd name="T11" fmla="*/ 406 h 425"/>
                <a:gd name="T12" fmla="*/ 307 w 477"/>
                <a:gd name="T13" fmla="*/ 403 h 425"/>
                <a:gd name="T14" fmla="*/ 307 w 477"/>
                <a:gd name="T15" fmla="*/ 23 h 425"/>
                <a:gd name="T16" fmla="*/ 284 w 477"/>
                <a:gd name="T17" fmla="*/ 0 h 425"/>
                <a:gd name="T18" fmla="*/ 193 w 477"/>
                <a:gd name="T19" fmla="*/ 0 h 425"/>
                <a:gd name="T20" fmla="*/ 170 w 477"/>
                <a:gd name="T21" fmla="*/ 23 h 425"/>
                <a:gd name="T22" fmla="*/ 170 w 477"/>
                <a:gd name="T23" fmla="*/ 403 h 425"/>
                <a:gd name="T24" fmla="*/ 171 w 477"/>
                <a:gd name="T25" fmla="*/ 406 h 425"/>
                <a:gd name="T26" fmla="*/ 136 w 477"/>
                <a:gd name="T27" fmla="*/ 406 h 425"/>
                <a:gd name="T28" fmla="*/ 136 w 477"/>
                <a:gd name="T29" fmla="*/ 403 h 425"/>
                <a:gd name="T30" fmla="*/ 136 w 477"/>
                <a:gd name="T31" fmla="*/ 259 h 425"/>
                <a:gd name="T32" fmla="*/ 114 w 477"/>
                <a:gd name="T33" fmla="*/ 236 h 425"/>
                <a:gd name="T34" fmla="*/ 22 w 477"/>
                <a:gd name="T35" fmla="*/ 236 h 425"/>
                <a:gd name="T36" fmla="*/ 0 w 477"/>
                <a:gd name="T37" fmla="*/ 259 h 425"/>
                <a:gd name="T38" fmla="*/ 0 w 477"/>
                <a:gd name="T39" fmla="*/ 403 h 425"/>
                <a:gd name="T40" fmla="*/ 22 w 477"/>
                <a:gd name="T41" fmla="*/ 425 h 425"/>
                <a:gd name="T42" fmla="*/ 68 w 477"/>
                <a:gd name="T43" fmla="*/ 425 h 425"/>
                <a:gd name="T44" fmla="*/ 114 w 477"/>
                <a:gd name="T45" fmla="*/ 425 h 425"/>
                <a:gd name="T46" fmla="*/ 193 w 477"/>
                <a:gd name="T47" fmla="*/ 425 h 425"/>
                <a:gd name="T48" fmla="*/ 284 w 477"/>
                <a:gd name="T49" fmla="*/ 425 h 425"/>
                <a:gd name="T50" fmla="*/ 363 w 477"/>
                <a:gd name="T51" fmla="*/ 425 h 425"/>
                <a:gd name="T52" fmla="*/ 455 w 477"/>
                <a:gd name="T53" fmla="*/ 425 h 425"/>
                <a:gd name="T54" fmla="*/ 477 w 477"/>
                <a:gd name="T55" fmla="*/ 403 h 425"/>
                <a:gd name="T56" fmla="*/ 477 w 477"/>
                <a:gd name="T57" fmla="*/ 141 h 425"/>
                <a:gd name="T58" fmla="*/ 455 w 477"/>
                <a:gd name="T59" fmla="*/ 118 h 425"/>
                <a:gd name="T60" fmla="*/ 68 w 477"/>
                <a:gd name="T61" fmla="*/ 406 h 425"/>
                <a:gd name="T62" fmla="*/ 22 w 477"/>
                <a:gd name="T63" fmla="*/ 406 h 425"/>
                <a:gd name="T64" fmla="*/ 19 w 477"/>
                <a:gd name="T65" fmla="*/ 403 h 425"/>
                <a:gd name="T66" fmla="*/ 19 w 477"/>
                <a:gd name="T67" fmla="*/ 259 h 425"/>
                <a:gd name="T68" fmla="*/ 22 w 477"/>
                <a:gd name="T69" fmla="*/ 255 h 425"/>
                <a:gd name="T70" fmla="*/ 114 w 477"/>
                <a:gd name="T71" fmla="*/ 255 h 425"/>
                <a:gd name="T72" fmla="*/ 118 w 477"/>
                <a:gd name="T73" fmla="*/ 259 h 425"/>
                <a:gd name="T74" fmla="*/ 118 w 477"/>
                <a:gd name="T75" fmla="*/ 403 h 425"/>
                <a:gd name="T76" fmla="*/ 114 w 477"/>
                <a:gd name="T77" fmla="*/ 406 h 425"/>
                <a:gd name="T78" fmla="*/ 68 w 477"/>
                <a:gd name="T79" fmla="*/ 406 h 425"/>
                <a:gd name="T80" fmla="*/ 193 w 477"/>
                <a:gd name="T81" fmla="*/ 406 h 425"/>
                <a:gd name="T82" fmla="*/ 189 w 477"/>
                <a:gd name="T83" fmla="*/ 403 h 425"/>
                <a:gd name="T84" fmla="*/ 189 w 477"/>
                <a:gd name="T85" fmla="*/ 23 h 425"/>
                <a:gd name="T86" fmla="*/ 193 w 477"/>
                <a:gd name="T87" fmla="*/ 19 h 425"/>
                <a:gd name="T88" fmla="*/ 284 w 477"/>
                <a:gd name="T89" fmla="*/ 19 h 425"/>
                <a:gd name="T90" fmla="*/ 288 w 477"/>
                <a:gd name="T91" fmla="*/ 23 h 425"/>
                <a:gd name="T92" fmla="*/ 288 w 477"/>
                <a:gd name="T93" fmla="*/ 403 h 425"/>
                <a:gd name="T94" fmla="*/ 284 w 477"/>
                <a:gd name="T95" fmla="*/ 406 h 425"/>
                <a:gd name="T96" fmla="*/ 193 w 477"/>
                <a:gd name="T97" fmla="*/ 406 h 425"/>
                <a:gd name="T98" fmla="*/ 363 w 477"/>
                <a:gd name="T99" fmla="*/ 406 h 425"/>
                <a:gd name="T100" fmla="*/ 359 w 477"/>
                <a:gd name="T101" fmla="*/ 403 h 425"/>
                <a:gd name="T102" fmla="*/ 359 w 477"/>
                <a:gd name="T103" fmla="*/ 141 h 425"/>
                <a:gd name="T104" fmla="*/ 363 w 477"/>
                <a:gd name="T105" fmla="*/ 137 h 425"/>
                <a:gd name="T106" fmla="*/ 455 w 477"/>
                <a:gd name="T107" fmla="*/ 137 h 425"/>
                <a:gd name="T108" fmla="*/ 458 w 477"/>
                <a:gd name="T109" fmla="*/ 141 h 425"/>
                <a:gd name="T110" fmla="*/ 458 w 477"/>
                <a:gd name="T111" fmla="*/ 403 h 425"/>
                <a:gd name="T112" fmla="*/ 455 w 477"/>
                <a:gd name="T113" fmla="*/ 406 h 425"/>
                <a:gd name="T114" fmla="*/ 363 w 477"/>
                <a:gd name="T115" fmla="*/ 406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7" h="425">
                  <a:moveTo>
                    <a:pt x="455" y="118"/>
                  </a:moveTo>
                  <a:cubicBezTo>
                    <a:pt x="363" y="118"/>
                    <a:pt x="363" y="118"/>
                    <a:pt x="363" y="118"/>
                  </a:cubicBezTo>
                  <a:cubicBezTo>
                    <a:pt x="351" y="118"/>
                    <a:pt x="341" y="128"/>
                    <a:pt x="341" y="141"/>
                  </a:cubicBezTo>
                  <a:cubicBezTo>
                    <a:pt x="341" y="403"/>
                    <a:pt x="341" y="403"/>
                    <a:pt x="341" y="403"/>
                  </a:cubicBezTo>
                  <a:cubicBezTo>
                    <a:pt x="341" y="404"/>
                    <a:pt x="341" y="405"/>
                    <a:pt x="341" y="406"/>
                  </a:cubicBezTo>
                  <a:cubicBezTo>
                    <a:pt x="306" y="406"/>
                    <a:pt x="306" y="406"/>
                    <a:pt x="306" y="406"/>
                  </a:cubicBezTo>
                  <a:cubicBezTo>
                    <a:pt x="307" y="405"/>
                    <a:pt x="307" y="404"/>
                    <a:pt x="307" y="403"/>
                  </a:cubicBezTo>
                  <a:cubicBezTo>
                    <a:pt x="307" y="23"/>
                    <a:pt x="307" y="23"/>
                    <a:pt x="307" y="23"/>
                  </a:cubicBezTo>
                  <a:cubicBezTo>
                    <a:pt x="307" y="10"/>
                    <a:pt x="297" y="0"/>
                    <a:pt x="284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180" y="0"/>
                    <a:pt x="170" y="10"/>
                    <a:pt x="170" y="23"/>
                  </a:cubicBezTo>
                  <a:cubicBezTo>
                    <a:pt x="170" y="403"/>
                    <a:pt x="170" y="403"/>
                    <a:pt x="170" y="403"/>
                  </a:cubicBezTo>
                  <a:cubicBezTo>
                    <a:pt x="170" y="404"/>
                    <a:pt x="170" y="405"/>
                    <a:pt x="171" y="406"/>
                  </a:cubicBezTo>
                  <a:cubicBezTo>
                    <a:pt x="136" y="406"/>
                    <a:pt x="136" y="406"/>
                    <a:pt x="136" y="406"/>
                  </a:cubicBezTo>
                  <a:cubicBezTo>
                    <a:pt x="136" y="405"/>
                    <a:pt x="136" y="404"/>
                    <a:pt x="136" y="403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6" y="246"/>
                    <a:pt x="126" y="236"/>
                    <a:pt x="114" y="236"/>
                  </a:cubicBezTo>
                  <a:cubicBezTo>
                    <a:pt x="22" y="236"/>
                    <a:pt x="22" y="236"/>
                    <a:pt x="22" y="236"/>
                  </a:cubicBezTo>
                  <a:cubicBezTo>
                    <a:pt x="10" y="236"/>
                    <a:pt x="0" y="246"/>
                    <a:pt x="0" y="259"/>
                  </a:cubicBezTo>
                  <a:cubicBezTo>
                    <a:pt x="0" y="403"/>
                    <a:pt x="0" y="403"/>
                    <a:pt x="0" y="403"/>
                  </a:cubicBezTo>
                  <a:cubicBezTo>
                    <a:pt x="0" y="415"/>
                    <a:pt x="10" y="425"/>
                    <a:pt x="22" y="425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114" y="425"/>
                    <a:pt x="114" y="425"/>
                    <a:pt x="114" y="425"/>
                  </a:cubicBezTo>
                  <a:cubicBezTo>
                    <a:pt x="193" y="425"/>
                    <a:pt x="193" y="425"/>
                    <a:pt x="193" y="425"/>
                  </a:cubicBezTo>
                  <a:cubicBezTo>
                    <a:pt x="284" y="425"/>
                    <a:pt x="284" y="425"/>
                    <a:pt x="284" y="425"/>
                  </a:cubicBezTo>
                  <a:cubicBezTo>
                    <a:pt x="363" y="425"/>
                    <a:pt x="363" y="425"/>
                    <a:pt x="363" y="425"/>
                  </a:cubicBezTo>
                  <a:cubicBezTo>
                    <a:pt x="455" y="425"/>
                    <a:pt x="455" y="425"/>
                    <a:pt x="455" y="425"/>
                  </a:cubicBezTo>
                  <a:cubicBezTo>
                    <a:pt x="467" y="425"/>
                    <a:pt x="477" y="415"/>
                    <a:pt x="477" y="403"/>
                  </a:cubicBezTo>
                  <a:cubicBezTo>
                    <a:pt x="477" y="141"/>
                    <a:pt x="477" y="141"/>
                    <a:pt x="477" y="141"/>
                  </a:cubicBezTo>
                  <a:cubicBezTo>
                    <a:pt x="477" y="128"/>
                    <a:pt x="467" y="118"/>
                    <a:pt x="455" y="118"/>
                  </a:cubicBezTo>
                  <a:close/>
                  <a:moveTo>
                    <a:pt x="68" y="406"/>
                  </a:moveTo>
                  <a:cubicBezTo>
                    <a:pt x="22" y="406"/>
                    <a:pt x="22" y="406"/>
                    <a:pt x="22" y="406"/>
                  </a:cubicBezTo>
                  <a:cubicBezTo>
                    <a:pt x="20" y="406"/>
                    <a:pt x="19" y="405"/>
                    <a:pt x="19" y="403"/>
                  </a:cubicBezTo>
                  <a:cubicBezTo>
                    <a:pt x="19" y="259"/>
                    <a:pt x="19" y="259"/>
                    <a:pt x="19" y="259"/>
                  </a:cubicBezTo>
                  <a:cubicBezTo>
                    <a:pt x="19" y="257"/>
                    <a:pt x="20" y="255"/>
                    <a:pt x="22" y="255"/>
                  </a:cubicBezTo>
                  <a:cubicBezTo>
                    <a:pt x="114" y="255"/>
                    <a:pt x="114" y="255"/>
                    <a:pt x="114" y="255"/>
                  </a:cubicBezTo>
                  <a:cubicBezTo>
                    <a:pt x="116" y="255"/>
                    <a:pt x="118" y="257"/>
                    <a:pt x="118" y="259"/>
                  </a:cubicBezTo>
                  <a:cubicBezTo>
                    <a:pt x="118" y="403"/>
                    <a:pt x="118" y="403"/>
                    <a:pt x="118" y="403"/>
                  </a:cubicBezTo>
                  <a:cubicBezTo>
                    <a:pt x="118" y="405"/>
                    <a:pt x="116" y="406"/>
                    <a:pt x="114" y="406"/>
                  </a:cubicBezTo>
                  <a:lnTo>
                    <a:pt x="68" y="406"/>
                  </a:lnTo>
                  <a:close/>
                  <a:moveTo>
                    <a:pt x="193" y="406"/>
                  </a:moveTo>
                  <a:cubicBezTo>
                    <a:pt x="191" y="406"/>
                    <a:pt x="189" y="405"/>
                    <a:pt x="189" y="40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1"/>
                    <a:pt x="191" y="19"/>
                    <a:pt x="193" y="19"/>
                  </a:cubicBezTo>
                  <a:cubicBezTo>
                    <a:pt x="284" y="19"/>
                    <a:pt x="284" y="19"/>
                    <a:pt x="284" y="19"/>
                  </a:cubicBezTo>
                  <a:cubicBezTo>
                    <a:pt x="286" y="19"/>
                    <a:pt x="288" y="21"/>
                    <a:pt x="288" y="23"/>
                  </a:cubicBezTo>
                  <a:cubicBezTo>
                    <a:pt x="288" y="403"/>
                    <a:pt x="288" y="403"/>
                    <a:pt x="288" y="403"/>
                  </a:cubicBezTo>
                  <a:cubicBezTo>
                    <a:pt x="288" y="405"/>
                    <a:pt x="286" y="406"/>
                    <a:pt x="284" y="406"/>
                  </a:cubicBezTo>
                  <a:lnTo>
                    <a:pt x="193" y="406"/>
                  </a:lnTo>
                  <a:close/>
                  <a:moveTo>
                    <a:pt x="363" y="406"/>
                  </a:moveTo>
                  <a:cubicBezTo>
                    <a:pt x="361" y="406"/>
                    <a:pt x="359" y="405"/>
                    <a:pt x="359" y="403"/>
                  </a:cubicBezTo>
                  <a:cubicBezTo>
                    <a:pt x="359" y="141"/>
                    <a:pt x="359" y="141"/>
                    <a:pt x="359" y="141"/>
                  </a:cubicBezTo>
                  <a:cubicBezTo>
                    <a:pt x="359" y="139"/>
                    <a:pt x="361" y="137"/>
                    <a:pt x="363" y="137"/>
                  </a:cubicBezTo>
                  <a:cubicBezTo>
                    <a:pt x="455" y="137"/>
                    <a:pt x="455" y="137"/>
                    <a:pt x="455" y="137"/>
                  </a:cubicBezTo>
                  <a:cubicBezTo>
                    <a:pt x="457" y="137"/>
                    <a:pt x="458" y="139"/>
                    <a:pt x="458" y="141"/>
                  </a:cubicBezTo>
                  <a:cubicBezTo>
                    <a:pt x="458" y="403"/>
                    <a:pt x="458" y="403"/>
                    <a:pt x="458" y="403"/>
                  </a:cubicBezTo>
                  <a:cubicBezTo>
                    <a:pt x="458" y="405"/>
                    <a:pt x="457" y="406"/>
                    <a:pt x="455" y="406"/>
                  </a:cubicBezTo>
                  <a:lnTo>
                    <a:pt x="363" y="4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101993" y="2427976"/>
            <a:ext cx="1752628" cy="203146"/>
            <a:chOff x="3101993" y="2427976"/>
            <a:chExt cx="1752628" cy="203146"/>
          </a:xfrm>
        </p:grpSpPr>
        <p:sp>
          <p:nvSpPr>
            <p:cNvPr id="16" name="TextBox 15"/>
            <p:cNvSpPr txBox="1"/>
            <p:nvPr/>
          </p:nvSpPr>
          <p:spPr>
            <a:xfrm>
              <a:off x="3492345" y="2458399"/>
              <a:ext cx="13622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ODELOS</a:t>
              </a:r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3101993" y="2427976"/>
              <a:ext cx="260424" cy="203146"/>
              <a:chOff x="6272214" y="3040063"/>
              <a:chExt cx="541338" cy="422276"/>
            </a:xfrm>
            <a:solidFill>
              <a:schemeClr val="bg1"/>
            </a:solidFill>
          </p:grpSpPr>
          <p:sp>
            <p:nvSpPr>
              <p:cNvPr id="74" name="Freeform 178"/>
              <p:cNvSpPr>
                <a:spLocks/>
              </p:cNvSpPr>
              <p:nvPr/>
            </p:nvSpPr>
            <p:spPr bwMode="auto">
              <a:xfrm>
                <a:off x="6272214" y="3143251"/>
                <a:ext cx="541338" cy="319088"/>
              </a:xfrm>
              <a:custGeom>
                <a:avLst/>
                <a:gdLst>
                  <a:gd name="T0" fmla="*/ 543 w 544"/>
                  <a:gd name="T1" fmla="*/ 236 h 320"/>
                  <a:gd name="T2" fmla="*/ 478 w 544"/>
                  <a:gd name="T3" fmla="*/ 7 h 320"/>
                  <a:gd name="T4" fmla="*/ 472 w 544"/>
                  <a:gd name="T5" fmla="*/ 1 h 320"/>
                  <a:gd name="T6" fmla="*/ 464 w 544"/>
                  <a:gd name="T7" fmla="*/ 2 h 320"/>
                  <a:gd name="T8" fmla="*/ 399 w 544"/>
                  <a:gd name="T9" fmla="*/ 38 h 320"/>
                  <a:gd name="T10" fmla="*/ 395 w 544"/>
                  <a:gd name="T11" fmla="*/ 51 h 320"/>
                  <a:gd name="T12" fmla="*/ 408 w 544"/>
                  <a:gd name="T13" fmla="*/ 54 h 320"/>
                  <a:gd name="T14" fmla="*/ 463 w 544"/>
                  <a:gd name="T15" fmla="*/ 24 h 320"/>
                  <a:gd name="T16" fmla="*/ 523 w 544"/>
                  <a:gd name="T17" fmla="*/ 235 h 320"/>
                  <a:gd name="T18" fmla="*/ 423 w 544"/>
                  <a:gd name="T19" fmla="*/ 296 h 320"/>
                  <a:gd name="T20" fmla="*/ 399 w 544"/>
                  <a:gd name="T21" fmla="*/ 100 h 320"/>
                  <a:gd name="T22" fmla="*/ 389 w 544"/>
                  <a:gd name="T23" fmla="*/ 92 h 320"/>
                  <a:gd name="T24" fmla="*/ 380 w 544"/>
                  <a:gd name="T25" fmla="*/ 103 h 320"/>
                  <a:gd name="T26" fmla="*/ 405 w 544"/>
                  <a:gd name="T27" fmla="*/ 298 h 320"/>
                  <a:gd name="T28" fmla="*/ 281 w 544"/>
                  <a:gd name="T29" fmla="*/ 265 h 320"/>
                  <a:gd name="T30" fmla="*/ 281 w 544"/>
                  <a:gd name="T31" fmla="*/ 231 h 320"/>
                  <a:gd name="T32" fmla="*/ 272 w 544"/>
                  <a:gd name="T33" fmla="*/ 222 h 320"/>
                  <a:gd name="T34" fmla="*/ 262 w 544"/>
                  <a:gd name="T35" fmla="*/ 231 h 320"/>
                  <a:gd name="T36" fmla="*/ 262 w 544"/>
                  <a:gd name="T37" fmla="*/ 265 h 320"/>
                  <a:gd name="T38" fmla="*/ 139 w 544"/>
                  <a:gd name="T39" fmla="*/ 298 h 320"/>
                  <a:gd name="T40" fmla="*/ 163 w 544"/>
                  <a:gd name="T41" fmla="*/ 103 h 320"/>
                  <a:gd name="T42" fmla="*/ 155 w 544"/>
                  <a:gd name="T43" fmla="*/ 92 h 320"/>
                  <a:gd name="T44" fmla="*/ 145 w 544"/>
                  <a:gd name="T45" fmla="*/ 100 h 320"/>
                  <a:gd name="T46" fmla="*/ 120 w 544"/>
                  <a:gd name="T47" fmla="*/ 296 h 320"/>
                  <a:gd name="T48" fmla="*/ 21 w 544"/>
                  <a:gd name="T49" fmla="*/ 235 h 320"/>
                  <a:gd name="T50" fmla="*/ 81 w 544"/>
                  <a:gd name="T51" fmla="*/ 24 h 320"/>
                  <a:gd name="T52" fmla="*/ 136 w 544"/>
                  <a:gd name="T53" fmla="*/ 54 h 320"/>
                  <a:gd name="T54" fmla="*/ 148 w 544"/>
                  <a:gd name="T55" fmla="*/ 51 h 320"/>
                  <a:gd name="T56" fmla="*/ 145 w 544"/>
                  <a:gd name="T57" fmla="*/ 38 h 320"/>
                  <a:gd name="T58" fmla="*/ 80 w 544"/>
                  <a:gd name="T59" fmla="*/ 2 h 320"/>
                  <a:gd name="T60" fmla="*/ 72 w 544"/>
                  <a:gd name="T61" fmla="*/ 1 h 320"/>
                  <a:gd name="T62" fmla="*/ 66 w 544"/>
                  <a:gd name="T63" fmla="*/ 7 h 320"/>
                  <a:gd name="T64" fmla="*/ 1 w 544"/>
                  <a:gd name="T65" fmla="*/ 236 h 320"/>
                  <a:gd name="T66" fmla="*/ 5 w 544"/>
                  <a:gd name="T67" fmla="*/ 247 h 320"/>
                  <a:gd name="T68" fmla="*/ 123 w 544"/>
                  <a:gd name="T69" fmla="*/ 319 h 320"/>
                  <a:gd name="T70" fmla="*/ 123 w 544"/>
                  <a:gd name="T71" fmla="*/ 319 h 320"/>
                  <a:gd name="T72" fmla="*/ 123 w 544"/>
                  <a:gd name="T73" fmla="*/ 319 h 320"/>
                  <a:gd name="T74" fmla="*/ 124 w 544"/>
                  <a:gd name="T75" fmla="*/ 320 h 320"/>
                  <a:gd name="T76" fmla="*/ 125 w 544"/>
                  <a:gd name="T77" fmla="*/ 320 h 320"/>
                  <a:gd name="T78" fmla="*/ 126 w 544"/>
                  <a:gd name="T79" fmla="*/ 320 h 320"/>
                  <a:gd name="T80" fmla="*/ 126 w 544"/>
                  <a:gd name="T81" fmla="*/ 320 h 320"/>
                  <a:gd name="T82" fmla="*/ 128 w 544"/>
                  <a:gd name="T83" fmla="*/ 320 h 320"/>
                  <a:gd name="T84" fmla="*/ 128 w 544"/>
                  <a:gd name="T85" fmla="*/ 320 h 320"/>
                  <a:gd name="T86" fmla="*/ 130 w 544"/>
                  <a:gd name="T87" fmla="*/ 320 h 320"/>
                  <a:gd name="T88" fmla="*/ 130 w 544"/>
                  <a:gd name="T89" fmla="*/ 320 h 320"/>
                  <a:gd name="T90" fmla="*/ 130 w 544"/>
                  <a:gd name="T91" fmla="*/ 320 h 320"/>
                  <a:gd name="T92" fmla="*/ 272 w 544"/>
                  <a:gd name="T93" fmla="*/ 281 h 320"/>
                  <a:gd name="T94" fmla="*/ 413 w 544"/>
                  <a:gd name="T95" fmla="*/ 320 h 320"/>
                  <a:gd name="T96" fmla="*/ 414 w 544"/>
                  <a:gd name="T97" fmla="*/ 320 h 320"/>
                  <a:gd name="T98" fmla="*/ 414 w 544"/>
                  <a:gd name="T99" fmla="*/ 320 h 320"/>
                  <a:gd name="T100" fmla="*/ 416 w 544"/>
                  <a:gd name="T101" fmla="*/ 320 h 320"/>
                  <a:gd name="T102" fmla="*/ 416 w 544"/>
                  <a:gd name="T103" fmla="*/ 320 h 320"/>
                  <a:gd name="T104" fmla="*/ 417 w 544"/>
                  <a:gd name="T105" fmla="*/ 320 h 320"/>
                  <a:gd name="T106" fmla="*/ 418 w 544"/>
                  <a:gd name="T107" fmla="*/ 320 h 320"/>
                  <a:gd name="T108" fmla="*/ 419 w 544"/>
                  <a:gd name="T109" fmla="*/ 320 h 320"/>
                  <a:gd name="T110" fmla="*/ 419 w 544"/>
                  <a:gd name="T111" fmla="*/ 320 h 320"/>
                  <a:gd name="T112" fmla="*/ 420 w 544"/>
                  <a:gd name="T113" fmla="*/ 319 h 320"/>
                  <a:gd name="T114" fmla="*/ 421 w 544"/>
                  <a:gd name="T115" fmla="*/ 319 h 320"/>
                  <a:gd name="T116" fmla="*/ 421 w 544"/>
                  <a:gd name="T117" fmla="*/ 319 h 320"/>
                  <a:gd name="T118" fmla="*/ 539 w 544"/>
                  <a:gd name="T119" fmla="*/ 247 h 320"/>
                  <a:gd name="T120" fmla="*/ 543 w 544"/>
                  <a:gd name="T121" fmla="*/ 236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4" h="320">
                    <a:moveTo>
                      <a:pt x="543" y="236"/>
                    </a:moveTo>
                    <a:cubicBezTo>
                      <a:pt x="478" y="7"/>
                      <a:pt x="478" y="7"/>
                      <a:pt x="478" y="7"/>
                    </a:cubicBezTo>
                    <a:cubicBezTo>
                      <a:pt x="477" y="4"/>
                      <a:pt x="475" y="2"/>
                      <a:pt x="472" y="1"/>
                    </a:cubicBezTo>
                    <a:cubicBezTo>
                      <a:pt x="469" y="0"/>
                      <a:pt x="466" y="0"/>
                      <a:pt x="464" y="2"/>
                    </a:cubicBezTo>
                    <a:cubicBezTo>
                      <a:pt x="399" y="38"/>
                      <a:pt x="399" y="38"/>
                      <a:pt x="399" y="38"/>
                    </a:cubicBezTo>
                    <a:cubicBezTo>
                      <a:pt x="394" y="41"/>
                      <a:pt x="393" y="46"/>
                      <a:pt x="395" y="51"/>
                    </a:cubicBezTo>
                    <a:cubicBezTo>
                      <a:pt x="398" y="55"/>
                      <a:pt x="404" y="57"/>
                      <a:pt x="408" y="54"/>
                    </a:cubicBezTo>
                    <a:cubicBezTo>
                      <a:pt x="463" y="24"/>
                      <a:pt x="463" y="24"/>
                      <a:pt x="463" y="24"/>
                    </a:cubicBezTo>
                    <a:cubicBezTo>
                      <a:pt x="523" y="235"/>
                      <a:pt x="523" y="235"/>
                      <a:pt x="523" y="235"/>
                    </a:cubicBezTo>
                    <a:cubicBezTo>
                      <a:pt x="423" y="296"/>
                      <a:pt x="423" y="296"/>
                      <a:pt x="423" y="296"/>
                    </a:cubicBezTo>
                    <a:cubicBezTo>
                      <a:pt x="399" y="100"/>
                      <a:pt x="399" y="100"/>
                      <a:pt x="399" y="100"/>
                    </a:cubicBezTo>
                    <a:cubicBezTo>
                      <a:pt x="398" y="95"/>
                      <a:pt x="394" y="92"/>
                      <a:pt x="389" y="92"/>
                    </a:cubicBezTo>
                    <a:cubicBezTo>
                      <a:pt x="383" y="93"/>
                      <a:pt x="380" y="98"/>
                      <a:pt x="380" y="103"/>
                    </a:cubicBezTo>
                    <a:cubicBezTo>
                      <a:pt x="405" y="298"/>
                      <a:pt x="405" y="298"/>
                      <a:pt x="405" y="298"/>
                    </a:cubicBezTo>
                    <a:cubicBezTo>
                      <a:pt x="281" y="265"/>
                      <a:pt x="281" y="265"/>
                      <a:pt x="281" y="265"/>
                    </a:cubicBezTo>
                    <a:cubicBezTo>
                      <a:pt x="281" y="231"/>
                      <a:pt x="281" y="231"/>
                      <a:pt x="281" y="231"/>
                    </a:cubicBezTo>
                    <a:cubicBezTo>
                      <a:pt x="281" y="226"/>
                      <a:pt x="277" y="222"/>
                      <a:pt x="272" y="222"/>
                    </a:cubicBezTo>
                    <a:cubicBezTo>
                      <a:pt x="267" y="222"/>
                      <a:pt x="262" y="226"/>
                      <a:pt x="262" y="231"/>
                    </a:cubicBezTo>
                    <a:cubicBezTo>
                      <a:pt x="262" y="265"/>
                      <a:pt x="262" y="265"/>
                      <a:pt x="262" y="265"/>
                    </a:cubicBezTo>
                    <a:cubicBezTo>
                      <a:pt x="139" y="298"/>
                      <a:pt x="139" y="298"/>
                      <a:pt x="139" y="298"/>
                    </a:cubicBezTo>
                    <a:cubicBezTo>
                      <a:pt x="163" y="103"/>
                      <a:pt x="163" y="103"/>
                      <a:pt x="163" y="103"/>
                    </a:cubicBezTo>
                    <a:cubicBezTo>
                      <a:pt x="164" y="98"/>
                      <a:pt x="160" y="93"/>
                      <a:pt x="155" y="92"/>
                    </a:cubicBezTo>
                    <a:cubicBezTo>
                      <a:pt x="150" y="92"/>
                      <a:pt x="145" y="95"/>
                      <a:pt x="145" y="100"/>
                    </a:cubicBezTo>
                    <a:cubicBezTo>
                      <a:pt x="120" y="296"/>
                      <a:pt x="120" y="296"/>
                      <a:pt x="120" y="296"/>
                    </a:cubicBezTo>
                    <a:cubicBezTo>
                      <a:pt x="21" y="235"/>
                      <a:pt x="21" y="235"/>
                      <a:pt x="21" y="235"/>
                    </a:cubicBezTo>
                    <a:cubicBezTo>
                      <a:pt x="81" y="24"/>
                      <a:pt x="81" y="24"/>
                      <a:pt x="81" y="24"/>
                    </a:cubicBezTo>
                    <a:cubicBezTo>
                      <a:pt x="136" y="54"/>
                      <a:pt x="136" y="54"/>
                      <a:pt x="136" y="54"/>
                    </a:cubicBezTo>
                    <a:cubicBezTo>
                      <a:pt x="140" y="57"/>
                      <a:pt x="146" y="55"/>
                      <a:pt x="148" y="51"/>
                    </a:cubicBezTo>
                    <a:cubicBezTo>
                      <a:pt x="151" y="46"/>
                      <a:pt x="149" y="41"/>
                      <a:pt x="145" y="38"/>
                    </a:cubicBezTo>
                    <a:cubicBezTo>
                      <a:pt x="80" y="2"/>
                      <a:pt x="80" y="2"/>
                      <a:pt x="80" y="2"/>
                    </a:cubicBezTo>
                    <a:cubicBezTo>
                      <a:pt x="77" y="0"/>
                      <a:pt x="74" y="0"/>
                      <a:pt x="72" y="1"/>
                    </a:cubicBezTo>
                    <a:cubicBezTo>
                      <a:pt x="69" y="2"/>
                      <a:pt x="67" y="4"/>
                      <a:pt x="66" y="7"/>
                    </a:cubicBezTo>
                    <a:cubicBezTo>
                      <a:pt x="1" y="236"/>
                      <a:pt x="1" y="236"/>
                      <a:pt x="1" y="236"/>
                    </a:cubicBezTo>
                    <a:cubicBezTo>
                      <a:pt x="0" y="241"/>
                      <a:pt x="1" y="245"/>
                      <a:pt x="5" y="247"/>
                    </a:cubicBezTo>
                    <a:cubicBezTo>
                      <a:pt x="123" y="319"/>
                      <a:pt x="123" y="319"/>
                      <a:pt x="123" y="319"/>
                    </a:cubicBezTo>
                    <a:cubicBezTo>
                      <a:pt x="123" y="319"/>
                      <a:pt x="123" y="319"/>
                      <a:pt x="123" y="319"/>
                    </a:cubicBezTo>
                    <a:cubicBezTo>
                      <a:pt x="123" y="319"/>
                      <a:pt x="123" y="319"/>
                      <a:pt x="123" y="319"/>
                    </a:cubicBezTo>
                    <a:cubicBezTo>
                      <a:pt x="124" y="319"/>
                      <a:pt x="124" y="320"/>
                      <a:pt x="124" y="320"/>
                    </a:cubicBezTo>
                    <a:cubicBezTo>
                      <a:pt x="124" y="320"/>
                      <a:pt x="125" y="320"/>
                      <a:pt x="125" y="320"/>
                    </a:cubicBezTo>
                    <a:cubicBezTo>
                      <a:pt x="125" y="320"/>
                      <a:pt x="125" y="320"/>
                      <a:pt x="126" y="320"/>
                    </a:cubicBezTo>
                    <a:cubicBezTo>
                      <a:pt x="126" y="320"/>
                      <a:pt x="126" y="320"/>
                      <a:pt x="126" y="320"/>
                    </a:cubicBezTo>
                    <a:cubicBezTo>
                      <a:pt x="127" y="320"/>
                      <a:pt x="127" y="320"/>
                      <a:pt x="128" y="320"/>
                    </a:cubicBezTo>
                    <a:cubicBezTo>
                      <a:pt x="128" y="320"/>
                      <a:pt x="128" y="320"/>
                      <a:pt x="128" y="320"/>
                    </a:cubicBezTo>
                    <a:cubicBezTo>
                      <a:pt x="128" y="320"/>
                      <a:pt x="129" y="320"/>
                      <a:pt x="130" y="320"/>
                    </a:cubicBezTo>
                    <a:cubicBezTo>
                      <a:pt x="130" y="320"/>
                      <a:pt x="130" y="320"/>
                      <a:pt x="130" y="320"/>
                    </a:cubicBezTo>
                    <a:cubicBezTo>
                      <a:pt x="130" y="320"/>
                      <a:pt x="130" y="320"/>
                      <a:pt x="130" y="320"/>
                    </a:cubicBezTo>
                    <a:cubicBezTo>
                      <a:pt x="272" y="281"/>
                      <a:pt x="272" y="281"/>
                      <a:pt x="272" y="281"/>
                    </a:cubicBezTo>
                    <a:cubicBezTo>
                      <a:pt x="413" y="320"/>
                      <a:pt x="413" y="320"/>
                      <a:pt x="413" y="320"/>
                    </a:cubicBezTo>
                    <a:cubicBezTo>
                      <a:pt x="414" y="320"/>
                      <a:pt x="414" y="320"/>
                      <a:pt x="414" y="320"/>
                    </a:cubicBezTo>
                    <a:cubicBezTo>
                      <a:pt x="414" y="320"/>
                      <a:pt x="414" y="320"/>
                      <a:pt x="414" y="320"/>
                    </a:cubicBezTo>
                    <a:cubicBezTo>
                      <a:pt x="414" y="320"/>
                      <a:pt x="415" y="320"/>
                      <a:pt x="416" y="320"/>
                    </a:cubicBezTo>
                    <a:cubicBezTo>
                      <a:pt x="416" y="320"/>
                      <a:pt x="416" y="320"/>
                      <a:pt x="416" y="320"/>
                    </a:cubicBezTo>
                    <a:cubicBezTo>
                      <a:pt x="416" y="320"/>
                      <a:pt x="417" y="320"/>
                      <a:pt x="417" y="320"/>
                    </a:cubicBezTo>
                    <a:cubicBezTo>
                      <a:pt x="418" y="320"/>
                      <a:pt x="418" y="320"/>
                      <a:pt x="418" y="320"/>
                    </a:cubicBezTo>
                    <a:cubicBezTo>
                      <a:pt x="418" y="320"/>
                      <a:pt x="419" y="320"/>
                      <a:pt x="419" y="320"/>
                    </a:cubicBezTo>
                    <a:cubicBezTo>
                      <a:pt x="419" y="320"/>
                      <a:pt x="419" y="320"/>
                      <a:pt x="419" y="320"/>
                    </a:cubicBezTo>
                    <a:cubicBezTo>
                      <a:pt x="420" y="320"/>
                      <a:pt x="420" y="319"/>
                      <a:pt x="420" y="319"/>
                    </a:cubicBezTo>
                    <a:cubicBezTo>
                      <a:pt x="421" y="319"/>
                      <a:pt x="421" y="319"/>
                      <a:pt x="421" y="319"/>
                    </a:cubicBezTo>
                    <a:cubicBezTo>
                      <a:pt x="421" y="319"/>
                      <a:pt x="421" y="319"/>
                      <a:pt x="421" y="319"/>
                    </a:cubicBezTo>
                    <a:cubicBezTo>
                      <a:pt x="539" y="247"/>
                      <a:pt x="539" y="247"/>
                      <a:pt x="539" y="247"/>
                    </a:cubicBezTo>
                    <a:cubicBezTo>
                      <a:pt x="542" y="245"/>
                      <a:pt x="544" y="241"/>
                      <a:pt x="543" y="2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179"/>
              <p:cNvSpPr>
                <a:spLocks noEditPoints="1"/>
              </p:cNvSpPr>
              <p:nvPr/>
            </p:nvSpPr>
            <p:spPr bwMode="auto">
              <a:xfrm>
                <a:off x="6429376" y="3040063"/>
                <a:ext cx="227013" cy="311150"/>
              </a:xfrm>
              <a:custGeom>
                <a:avLst/>
                <a:gdLst>
                  <a:gd name="T0" fmla="*/ 107 w 228"/>
                  <a:gd name="T1" fmla="*/ 311 h 313"/>
                  <a:gd name="T2" fmla="*/ 114 w 228"/>
                  <a:gd name="T3" fmla="*/ 313 h 313"/>
                  <a:gd name="T4" fmla="*/ 120 w 228"/>
                  <a:gd name="T5" fmla="*/ 311 h 313"/>
                  <a:gd name="T6" fmla="*/ 228 w 228"/>
                  <a:gd name="T7" fmla="*/ 114 h 313"/>
                  <a:gd name="T8" fmla="*/ 114 w 228"/>
                  <a:gd name="T9" fmla="*/ 0 h 313"/>
                  <a:gd name="T10" fmla="*/ 0 w 228"/>
                  <a:gd name="T11" fmla="*/ 114 h 313"/>
                  <a:gd name="T12" fmla="*/ 107 w 228"/>
                  <a:gd name="T13" fmla="*/ 311 h 313"/>
                  <a:gd name="T14" fmla="*/ 114 w 228"/>
                  <a:gd name="T15" fmla="*/ 18 h 313"/>
                  <a:gd name="T16" fmla="*/ 209 w 228"/>
                  <a:gd name="T17" fmla="*/ 114 h 313"/>
                  <a:gd name="T18" fmla="*/ 114 w 228"/>
                  <a:gd name="T19" fmla="*/ 291 h 313"/>
                  <a:gd name="T20" fmla="*/ 18 w 228"/>
                  <a:gd name="T21" fmla="*/ 114 h 313"/>
                  <a:gd name="T22" fmla="*/ 114 w 228"/>
                  <a:gd name="T23" fmla="*/ 18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8" h="313">
                    <a:moveTo>
                      <a:pt x="107" y="311"/>
                    </a:moveTo>
                    <a:cubicBezTo>
                      <a:pt x="109" y="312"/>
                      <a:pt x="112" y="313"/>
                      <a:pt x="114" y="313"/>
                    </a:cubicBezTo>
                    <a:cubicBezTo>
                      <a:pt x="116" y="313"/>
                      <a:pt x="118" y="312"/>
                      <a:pt x="120" y="311"/>
                    </a:cubicBezTo>
                    <a:cubicBezTo>
                      <a:pt x="125" y="307"/>
                      <a:pt x="228" y="212"/>
                      <a:pt x="228" y="114"/>
                    </a:cubicBezTo>
                    <a:cubicBezTo>
                      <a:pt x="228" y="50"/>
                      <a:pt x="178" y="0"/>
                      <a:pt x="114" y="0"/>
                    </a:cubicBezTo>
                    <a:cubicBezTo>
                      <a:pt x="50" y="0"/>
                      <a:pt x="0" y="50"/>
                      <a:pt x="0" y="114"/>
                    </a:cubicBezTo>
                    <a:cubicBezTo>
                      <a:pt x="0" y="210"/>
                      <a:pt x="103" y="307"/>
                      <a:pt x="107" y="311"/>
                    </a:cubicBezTo>
                    <a:close/>
                    <a:moveTo>
                      <a:pt x="114" y="18"/>
                    </a:moveTo>
                    <a:cubicBezTo>
                      <a:pt x="168" y="18"/>
                      <a:pt x="209" y="59"/>
                      <a:pt x="209" y="114"/>
                    </a:cubicBezTo>
                    <a:cubicBezTo>
                      <a:pt x="209" y="190"/>
                      <a:pt x="136" y="269"/>
                      <a:pt x="114" y="291"/>
                    </a:cubicBezTo>
                    <a:cubicBezTo>
                      <a:pt x="92" y="268"/>
                      <a:pt x="18" y="189"/>
                      <a:pt x="18" y="114"/>
                    </a:cubicBezTo>
                    <a:cubicBezTo>
                      <a:pt x="18" y="59"/>
                      <a:pt x="59" y="18"/>
                      <a:pt x="114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180"/>
              <p:cNvSpPr>
                <a:spLocks noEditPoints="1"/>
              </p:cNvSpPr>
              <p:nvPr/>
            </p:nvSpPr>
            <p:spPr bwMode="auto">
              <a:xfrm>
                <a:off x="6480176" y="3090863"/>
                <a:ext cx="123825" cy="123825"/>
              </a:xfrm>
              <a:custGeom>
                <a:avLst/>
                <a:gdLst>
                  <a:gd name="T0" fmla="*/ 124 w 124"/>
                  <a:gd name="T1" fmla="*/ 62 h 124"/>
                  <a:gd name="T2" fmla="*/ 62 w 124"/>
                  <a:gd name="T3" fmla="*/ 0 h 124"/>
                  <a:gd name="T4" fmla="*/ 0 w 124"/>
                  <a:gd name="T5" fmla="*/ 62 h 124"/>
                  <a:gd name="T6" fmla="*/ 62 w 124"/>
                  <a:gd name="T7" fmla="*/ 124 h 124"/>
                  <a:gd name="T8" fmla="*/ 124 w 124"/>
                  <a:gd name="T9" fmla="*/ 62 h 124"/>
                  <a:gd name="T10" fmla="*/ 62 w 124"/>
                  <a:gd name="T11" fmla="*/ 105 h 124"/>
                  <a:gd name="T12" fmla="*/ 19 w 124"/>
                  <a:gd name="T13" fmla="*/ 62 h 124"/>
                  <a:gd name="T14" fmla="*/ 62 w 124"/>
                  <a:gd name="T15" fmla="*/ 19 h 124"/>
                  <a:gd name="T16" fmla="*/ 105 w 124"/>
                  <a:gd name="T17" fmla="*/ 62 h 124"/>
                  <a:gd name="T18" fmla="*/ 62 w 124"/>
                  <a:gd name="T19" fmla="*/ 105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124">
                    <a:moveTo>
                      <a:pt x="124" y="62"/>
                    </a:moveTo>
                    <a:cubicBezTo>
                      <a:pt x="124" y="28"/>
                      <a:pt x="96" y="0"/>
                      <a:pt x="62" y="0"/>
                    </a:cubicBezTo>
                    <a:cubicBezTo>
                      <a:pt x="28" y="0"/>
                      <a:pt x="0" y="28"/>
                      <a:pt x="0" y="62"/>
                    </a:cubicBezTo>
                    <a:cubicBezTo>
                      <a:pt x="0" y="96"/>
                      <a:pt x="28" y="124"/>
                      <a:pt x="62" y="124"/>
                    </a:cubicBezTo>
                    <a:cubicBezTo>
                      <a:pt x="96" y="124"/>
                      <a:pt x="124" y="96"/>
                      <a:pt x="124" y="62"/>
                    </a:cubicBezTo>
                    <a:close/>
                    <a:moveTo>
                      <a:pt x="62" y="105"/>
                    </a:moveTo>
                    <a:cubicBezTo>
                      <a:pt x="38" y="105"/>
                      <a:pt x="19" y="86"/>
                      <a:pt x="19" y="62"/>
                    </a:cubicBezTo>
                    <a:cubicBezTo>
                      <a:pt x="19" y="38"/>
                      <a:pt x="38" y="19"/>
                      <a:pt x="62" y="19"/>
                    </a:cubicBezTo>
                    <a:cubicBezTo>
                      <a:pt x="86" y="19"/>
                      <a:pt x="105" y="38"/>
                      <a:pt x="105" y="62"/>
                    </a:cubicBezTo>
                    <a:cubicBezTo>
                      <a:pt x="105" y="86"/>
                      <a:pt x="86" y="105"/>
                      <a:pt x="62" y="10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3095027" y="3872154"/>
            <a:ext cx="1759594" cy="203906"/>
            <a:chOff x="3095027" y="3872154"/>
            <a:chExt cx="1759594" cy="203906"/>
          </a:xfrm>
        </p:grpSpPr>
        <p:sp>
          <p:nvSpPr>
            <p:cNvPr id="18" name="TextBox 17"/>
            <p:cNvSpPr txBox="1"/>
            <p:nvPr/>
          </p:nvSpPr>
          <p:spPr>
            <a:xfrm>
              <a:off x="3492345" y="3899091"/>
              <a:ext cx="13622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TIME</a:t>
              </a:r>
            </a:p>
          </p:txBody>
        </p:sp>
        <p:grpSp>
          <p:nvGrpSpPr>
            <p:cNvPr id="77" name="Group 76"/>
            <p:cNvGrpSpPr/>
            <p:nvPr/>
          </p:nvGrpSpPr>
          <p:grpSpPr>
            <a:xfrm>
              <a:off x="3095027" y="3872154"/>
              <a:ext cx="267296" cy="203906"/>
              <a:chOff x="6335713" y="3717925"/>
              <a:chExt cx="555625" cy="423863"/>
            </a:xfrm>
            <a:solidFill>
              <a:schemeClr val="bg1"/>
            </a:solidFill>
          </p:grpSpPr>
          <p:sp>
            <p:nvSpPr>
              <p:cNvPr id="78" name="Freeform 228"/>
              <p:cNvSpPr>
                <a:spLocks/>
              </p:cNvSpPr>
              <p:nvPr/>
            </p:nvSpPr>
            <p:spPr bwMode="auto">
              <a:xfrm>
                <a:off x="6624638" y="3717925"/>
                <a:ext cx="266700" cy="369888"/>
              </a:xfrm>
              <a:custGeom>
                <a:avLst/>
                <a:gdLst>
                  <a:gd name="T0" fmla="*/ 244 w 267"/>
                  <a:gd name="T1" fmla="*/ 0 h 372"/>
                  <a:gd name="T2" fmla="*/ 113 w 267"/>
                  <a:gd name="T3" fmla="*/ 0 h 372"/>
                  <a:gd name="T4" fmla="*/ 85 w 267"/>
                  <a:gd name="T5" fmla="*/ 12 h 372"/>
                  <a:gd name="T6" fmla="*/ 67 w 267"/>
                  <a:gd name="T7" fmla="*/ 30 h 372"/>
                  <a:gd name="T8" fmla="*/ 67 w 267"/>
                  <a:gd name="T9" fmla="*/ 43 h 372"/>
                  <a:gd name="T10" fmla="*/ 80 w 267"/>
                  <a:gd name="T11" fmla="*/ 43 h 372"/>
                  <a:gd name="T12" fmla="*/ 98 w 267"/>
                  <a:gd name="T13" fmla="*/ 25 h 372"/>
                  <a:gd name="T14" fmla="*/ 113 w 267"/>
                  <a:gd name="T15" fmla="*/ 19 h 372"/>
                  <a:gd name="T16" fmla="*/ 244 w 267"/>
                  <a:gd name="T17" fmla="*/ 19 h 372"/>
                  <a:gd name="T18" fmla="*/ 248 w 267"/>
                  <a:gd name="T19" fmla="*/ 22 h 372"/>
                  <a:gd name="T20" fmla="*/ 248 w 267"/>
                  <a:gd name="T21" fmla="*/ 154 h 372"/>
                  <a:gd name="T22" fmla="*/ 241 w 267"/>
                  <a:gd name="T23" fmla="*/ 170 h 372"/>
                  <a:gd name="T24" fmla="*/ 57 w 267"/>
                  <a:gd name="T25" fmla="*/ 353 h 372"/>
                  <a:gd name="T26" fmla="*/ 51 w 267"/>
                  <a:gd name="T27" fmla="*/ 353 h 372"/>
                  <a:gd name="T28" fmla="*/ 17 w 267"/>
                  <a:gd name="T29" fmla="*/ 318 h 372"/>
                  <a:gd name="T30" fmla="*/ 3 w 267"/>
                  <a:gd name="T31" fmla="*/ 318 h 372"/>
                  <a:gd name="T32" fmla="*/ 3 w 267"/>
                  <a:gd name="T33" fmla="*/ 331 h 372"/>
                  <a:gd name="T34" fmla="*/ 38 w 267"/>
                  <a:gd name="T35" fmla="*/ 366 h 372"/>
                  <a:gd name="T36" fmla="*/ 54 w 267"/>
                  <a:gd name="T37" fmla="*/ 372 h 372"/>
                  <a:gd name="T38" fmla="*/ 70 w 267"/>
                  <a:gd name="T39" fmla="*/ 366 h 372"/>
                  <a:gd name="T40" fmla="*/ 255 w 267"/>
                  <a:gd name="T41" fmla="*/ 183 h 372"/>
                  <a:gd name="T42" fmla="*/ 267 w 267"/>
                  <a:gd name="T43" fmla="*/ 154 h 372"/>
                  <a:gd name="T44" fmla="*/ 267 w 267"/>
                  <a:gd name="T45" fmla="*/ 22 h 372"/>
                  <a:gd name="T46" fmla="*/ 244 w 267"/>
                  <a:gd name="T47" fmla="*/ 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67" h="372">
                    <a:moveTo>
                      <a:pt x="244" y="0"/>
                    </a:moveTo>
                    <a:cubicBezTo>
                      <a:pt x="113" y="0"/>
                      <a:pt x="113" y="0"/>
                      <a:pt x="113" y="0"/>
                    </a:cubicBezTo>
                    <a:cubicBezTo>
                      <a:pt x="104" y="0"/>
                      <a:pt x="91" y="5"/>
                      <a:pt x="85" y="12"/>
                    </a:cubicBezTo>
                    <a:cubicBezTo>
                      <a:pt x="85" y="12"/>
                      <a:pt x="77" y="20"/>
                      <a:pt x="67" y="30"/>
                    </a:cubicBezTo>
                    <a:cubicBezTo>
                      <a:pt x="63" y="33"/>
                      <a:pt x="64" y="39"/>
                      <a:pt x="67" y="43"/>
                    </a:cubicBezTo>
                    <a:cubicBezTo>
                      <a:pt x="71" y="47"/>
                      <a:pt x="77" y="47"/>
                      <a:pt x="80" y="43"/>
                    </a:cubicBezTo>
                    <a:cubicBezTo>
                      <a:pt x="90" y="33"/>
                      <a:pt x="98" y="25"/>
                      <a:pt x="98" y="25"/>
                    </a:cubicBezTo>
                    <a:cubicBezTo>
                      <a:pt x="101" y="22"/>
                      <a:pt x="109" y="19"/>
                      <a:pt x="113" y="19"/>
                    </a:cubicBezTo>
                    <a:cubicBezTo>
                      <a:pt x="244" y="19"/>
                      <a:pt x="244" y="19"/>
                      <a:pt x="244" y="19"/>
                    </a:cubicBezTo>
                    <a:cubicBezTo>
                      <a:pt x="246" y="19"/>
                      <a:pt x="248" y="20"/>
                      <a:pt x="248" y="22"/>
                    </a:cubicBezTo>
                    <a:cubicBezTo>
                      <a:pt x="248" y="154"/>
                      <a:pt x="248" y="154"/>
                      <a:pt x="248" y="154"/>
                    </a:cubicBezTo>
                    <a:cubicBezTo>
                      <a:pt x="248" y="159"/>
                      <a:pt x="245" y="166"/>
                      <a:pt x="241" y="170"/>
                    </a:cubicBezTo>
                    <a:cubicBezTo>
                      <a:pt x="57" y="353"/>
                      <a:pt x="57" y="353"/>
                      <a:pt x="57" y="353"/>
                    </a:cubicBezTo>
                    <a:cubicBezTo>
                      <a:pt x="55" y="354"/>
                      <a:pt x="53" y="354"/>
                      <a:pt x="51" y="353"/>
                    </a:cubicBezTo>
                    <a:cubicBezTo>
                      <a:pt x="17" y="318"/>
                      <a:pt x="17" y="318"/>
                      <a:pt x="17" y="318"/>
                    </a:cubicBezTo>
                    <a:cubicBezTo>
                      <a:pt x="13" y="314"/>
                      <a:pt x="7" y="314"/>
                      <a:pt x="3" y="318"/>
                    </a:cubicBezTo>
                    <a:cubicBezTo>
                      <a:pt x="0" y="321"/>
                      <a:pt x="0" y="327"/>
                      <a:pt x="3" y="331"/>
                    </a:cubicBezTo>
                    <a:cubicBezTo>
                      <a:pt x="38" y="366"/>
                      <a:pt x="38" y="366"/>
                      <a:pt x="38" y="366"/>
                    </a:cubicBezTo>
                    <a:cubicBezTo>
                      <a:pt x="42" y="370"/>
                      <a:pt x="48" y="372"/>
                      <a:pt x="54" y="372"/>
                    </a:cubicBezTo>
                    <a:cubicBezTo>
                      <a:pt x="60" y="372"/>
                      <a:pt x="66" y="370"/>
                      <a:pt x="70" y="366"/>
                    </a:cubicBezTo>
                    <a:cubicBezTo>
                      <a:pt x="255" y="183"/>
                      <a:pt x="255" y="183"/>
                      <a:pt x="255" y="183"/>
                    </a:cubicBezTo>
                    <a:cubicBezTo>
                      <a:pt x="262" y="176"/>
                      <a:pt x="267" y="164"/>
                      <a:pt x="267" y="15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7" y="10"/>
                      <a:pt x="257" y="0"/>
                      <a:pt x="24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229"/>
              <p:cNvSpPr>
                <a:spLocks noEditPoints="1"/>
              </p:cNvSpPr>
              <p:nvPr/>
            </p:nvSpPr>
            <p:spPr bwMode="auto">
              <a:xfrm>
                <a:off x="6794501" y="3756025"/>
                <a:ext cx="57150" cy="58738"/>
              </a:xfrm>
              <a:custGeom>
                <a:avLst/>
                <a:gdLst>
                  <a:gd name="T0" fmla="*/ 58 w 58"/>
                  <a:gd name="T1" fmla="*/ 29 h 58"/>
                  <a:gd name="T2" fmla="*/ 29 w 58"/>
                  <a:gd name="T3" fmla="*/ 0 h 58"/>
                  <a:gd name="T4" fmla="*/ 0 w 58"/>
                  <a:gd name="T5" fmla="*/ 29 h 58"/>
                  <a:gd name="T6" fmla="*/ 29 w 58"/>
                  <a:gd name="T7" fmla="*/ 58 h 58"/>
                  <a:gd name="T8" fmla="*/ 58 w 58"/>
                  <a:gd name="T9" fmla="*/ 29 h 58"/>
                  <a:gd name="T10" fmla="*/ 19 w 58"/>
                  <a:gd name="T11" fmla="*/ 29 h 58"/>
                  <a:gd name="T12" fmla="*/ 29 w 58"/>
                  <a:gd name="T13" fmla="*/ 19 h 58"/>
                  <a:gd name="T14" fmla="*/ 39 w 58"/>
                  <a:gd name="T15" fmla="*/ 29 h 58"/>
                  <a:gd name="T16" fmla="*/ 29 w 58"/>
                  <a:gd name="T17" fmla="*/ 40 h 58"/>
                  <a:gd name="T18" fmla="*/ 19 w 58"/>
                  <a:gd name="T19" fmla="*/ 2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58" y="29"/>
                    </a:moveTo>
                    <a:cubicBezTo>
                      <a:pt x="58" y="13"/>
                      <a:pt x="45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lose/>
                    <a:moveTo>
                      <a:pt x="19" y="29"/>
                    </a:moveTo>
                    <a:cubicBezTo>
                      <a:pt x="19" y="24"/>
                      <a:pt x="23" y="19"/>
                      <a:pt x="29" y="19"/>
                    </a:cubicBezTo>
                    <a:cubicBezTo>
                      <a:pt x="35" y="19"/>
                      <a:pt x="39" y="24"/>
                      <a:pt x="39" y="29"/>
                    </a:cubicBezTo>
                    <a:cubicBezTo>
                      <a:pt x="39" y="35"/>
                      <a:pt x="35" y="40"/>
                      <a:pt x="29" y="40"/>
                    </a:cubicBezTo>
                    <a:cubicBezTo>
                      <a:pt x="23" y="40"/>
                      <a:pt x="19" y="35"/>
                      <a:pt x="19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230"/>
              <p:cNvSpPr>
                <a:spLocks noEditPoints="1"/>
              </p:cNvSpPr>
              <p:nvPr/>
            </p:nvSpPr>
            <p:spPr bwMode="auto">
              <a:xfrm>
                <a:off x="6335713" y="3770313"/>
                <a:ext cx="371475" cy="371475"/>
              </a:xfrm>
              <a:custGeom>
                <a:avLst/>
                <a:gdLst>
                  <a:gd name="T0" fmla="*/ 374 w 374"/>
                  <a:gd name="T1" fmla="*/ 154 h 373"/>
                  <a:gd name="T2" fmla="*/ 374 w 374"/>
                  <a:gd name="T3" fmla="*/ 23 h 373"/>
                  <a:gd name="T4" fmla="*/ 351 w 374"/>
                  <a:gd name="T5" fmla="*/ 0 h 373"/>
                  <a:gd name="T6" fmla="*/ 220 w 374"/>
                  <a:gd name="T7" fmla="*/ 0 h 373"/>
                  <a:gd name="T8" fmla="*/ 192 w 374"/>
                  <a:gd name="T9" fmla="*/ 13 h 373"/>
                  <a:gd name="T10" fmla="*/ 8 w 374"/>
                  <a:gd name="T11" fmla="*/ 198 h 373"/>
                  <a:gd name="T12" fmla="*/ 9 w 374"/>
                  <a:gd name="T13" fmla="*/ 230 h 373"/>
                  <a:gd name="T14" fmla="*/ 145 w 374"/>
                  <a:gd name="T15" fmla="*/ 366 h 373"/>
                  <a:gd name="T16" fmla="*/ 161 w 374"/>
                  <a:gd name="T17" fmla="*/ 373 h 373"/>
                  <a:gd name="T18" fmla="*/ 177 w 374"/>
                  <a:gd name="T19" fmla="*/ 366 h 373"/>
                  <a:gd name="T20" fmla="*/ 362 w 374"/>
                  <a:gd name="T21" fmla="*/ 183 h 373"/>
                  <a:gd name="T22" fmla="*/ 374 w 374"/>
                  <a:gd name="T23" fmla="*/ 154 h 373"/>
                  <a:gd name="T24" fmla="*/ 355 w 374"/>
                  <a:gd name="T25" fmla="*/ 154 h 373"/>
                  <a:gd name="T26" fmla="*/ 348 w 374"/>
                  <a:gd name="T27" fmla="*/ 170 h 373"/>
                  <a:gd name="T28" fmla="*/ 164 w 374"/>
                  <a:gd name="T29" fmla="*/ 353 h 373"/>
                  <a:gd name="T30" fmla="*/ 161 w 374"/>
                  <a:gd name="T31" fmla="*/ 354 h 373"/>
                  <a:gd name="T32" fmla="*/ 158 w 374"/>
                  <a:gd name="T33" fmla="*/ 353 h 373"/>
                  <a:gd name="T34" fmla="*/ 22 w 374"/>
                  <a:gd name="T35" fmla="*/ 216 h 373"/>
                  <a:gd name="T36" fmla="*/ 22 w 374"/>
                  <a:gd name="T37" fmla="*/ 211 h 373"/>
                  <a:gd name="T38" fmla="*/ 205 w 374"/>
                  <a:gd name="T39" fmla="*/ 26 h 373"/>
                  <a:gd name="T40" fmla="*/ 220 w 374"/>
                  <a:gd name="T41" fmla="*/ 19 h 373"/>
                  <a:gd name="T42" fmla="*/ 351 w 374"/>
                  <a:gd name="T43" fmla="*/ 19 h 373"/>
                  <a:gd name="T44" fmla="*/ 355 w 374"/>
                  <a:gd name="T45" fmla="*/ 23 h 373"/>
                  <a:gd name="T46" fmla="*/ 355 w 374"/>
                  <a:gd name="T47" fmla="*/ 154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74" h="373">
                    <a:moveTo>
                      <a:pt x="374" y="154"/>
                    </a:moveTo>
                    <a:cubicBezTo>
                      <a:pt x="374" y="23"/>
                      <a:pt x="374" y="23"/>
                      <a:pt x="374" y="23"/>
                    </a:cubicBezTo>
                    <a:cubicBezTo>
                      <a:pt x="374" y="10"/>
                      <a:pt x="364" y="0"/>
                      <a:pt x="351" y="0"/>
                    </a:cubicBezTo>
                    <a:cubicBezTo>
                      <a:pt x="220" y="0"/>
                      <a:pt x="220" y="0"/>
                      <a:pt x="220" y="0"/>
                    </a:cubicBezTo>
                    <a:cubicBezTo>
                      <a:pt x="211" y="0"/>
                      <a:pt x="198" y="6"/>
                      <a:pt x="192" y="13"/>
                    </a:cubicBezTo>
                    <a:cubicBezTo>
                      <a:pt x="8" y="198"/>
                      <a:pt x="8" y="198"/>
                      <a:pt x="8" y="198"/>
                    </a:cubicBezTo>
                    <a:cubicBezTo>
                      <a:pt x="0" y="207"/>
                      <a:pt x="0" y="221"/>
                      <a:pt x="9" y="230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9" y="370"/>
                      <a:pt x="155" y="373"/>
                      <a:pt x="161" y="373"/>
                    </a:cubicBezTo>
                    <a:cubicBezTo>
                      <a:pt x="167" y="373"/>
                      <a:pt x="173" y="371"/>
                      <a:pt x="177" y="366"/>
                    </a:cubicBezTo>
                    <a:cubicBezTo>
                      <a:pt x="362" y="183"/>
                      <a:pt x="362" y="183"/>
                      <a:pt x="362" y="183"/>
                    </a:cubicBezTo>
                    <a:cubicBezTo>
                      <a:pt x="369" y="177"/>
                      <a:pt x="374" y="164"/>
                      <a:pt x="374" y="154"/>
                    </a:cubicBezTo>
                    <a:close/>
                    <a:moveTo>
                      <a:pt x="355" y="154"/>
                    </a:moveTo>
                    <a:cubicBezTo>
                      <a:pt x="355" y="159"/>
                      <a:pt x="352" y="167"/>
                      <a:pt x="348" y="170"/>
                    </a:cubicBezTo>
                    <a:cubicBezTo>
                      <a:pt x="164" y="353"/>
                      <a:pt x="164" y="353"/>
                      <a:pt x="164" y="353"/>
                    </a:cubicBezTo>
                    <a:cubicBezTo>
                      <a:pt x="163" y="354"/>
                      <a:pt x="162" y="354"/>
                      <a:pt x="161" y="354"/>
                    </a:cubicBezTo>
                    <a:cubicBezTo>
                      <a:pt x="161" y="354"/>
                      <a:pt x="159" y="354"/>
                      <a:pt x="158" y="353"/>
                    </a:cubicBezTo>
                    <a:cubicBezTo>
                      <a:pt x="22" y="216"/>
                      <a:pt x="22" y="216"/>
                      <a:pt x="22" y="216"/>
                    </a:cubicBezTo>
                    <a:cubicBezTo>
                      <a:pt x="20" y="215"/>
                      <a:pt x="20" y="212"/>
                      <a:pt x="22" y="211"/>
                    </a:cubicBezTo>
                    <a:cubicBezTo>
                      <a:pt x="205" y="26"/>
                      <a:pt x="205" y="26"/>
                      <a:pt x="205" y="26"/>
                    </a:cubicBezTo>
                    <a:cubicBezTo>
                      <a:pt x="208" y="22"/>
                      <a:pt x="216" y="19"/>
                      <a:pt x="220" y="19"/>
                    </a:cubicBezTo>
                    <a:cubicBezTo>
                      <a:pt x="351" y="19"/>
                      <a:pt x="351" y="19"/>
                      <a:pt x="351" y="19"/>
                    </a:cubicBezTo>
                    <a:cubicBezTo>
                      <a:pt x="353" y="19"/>
                      <a:pt x="355" y="21"/>
                      <a:pt x="355" y="23"/>
                    </a:cubicBezTo>
                    <a:lnTo>
                      <a:pt x="355" y="1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231"/>
              <p:cNvSpPr>
                <a:spLocks noEditPoints="1"/>
              </p:cNvSpPr>
              <p:nvPr/>
            </p:nvSpPr>
            <p:spPr bwMode="auto">
              <a:xfrm>
                <a:off x="6610351" y="3810000"/>
                <a:ext cx="58738" cy="57150"/>
              </a:xfrm>
              <a:custGeom>
                <a:avLst/>
                <a:gdLst>
                  <a:gd name="T0" fmla="*/ 29 w 58"/>
                  <a:gd name="T1" fmla="*/ 0 h 58"/>
                  <a:gd name="T2" fmla="*/ 0 w 58"/>
                  <a:gd name="T3" fmla="*/ 29 h 58"/>
                  <a:gd name="T4" fmla="*/ 29 w 58"/>
                  <a:gd name="T5" fmla="*/ 58 h 58"/>
                  <a:gd name="T6" fmla="*/ 58 w 58"/>
                  <a:gd name="T7" fmla="*/ 29 h 58"/>
                  <a:gd name="T8" fmla="*/ 29 w 58"/>
                  <a:gd name="T9" fmla="*/ 0 h 58"/>
                  <a:gd name="T10" fmla="*/ 29 w 58"/>
                  <a:gd name="T11" fmla="*/ 39 h 58"/>
                  <a:gd name="T12" fmla="*/ 19 w 58"/>
                  <a:gd name="T13" fmla="*/ 29 h 58"/>
                  <a:gd name="T14" fmla="*/ 29 w 58"/>
                  <a:gd name="T15" fmla="*/ 18 h 58"/>
                  <a:gd name="T16" fmla="*/ 39 w 58"/>
                  <a:gd name="T17" fmla="*/ 29 h 58"/>
                  <a:gd name="T18" fmla="*/ 29 w 58"/>
                  <a:gd name="T19" fmla="*/ 3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lose/>
                    <a:moveTo>
                      <a:pt x="29" y="39"/>
                    </a:moveTo>
                    <a:cubicBezTo>
                      <a:pt x="23" y="39"/>
                      <a:pt x="19" y="34"/>
                      <a:pt x="19" y="29"/>
                    </a:cubicBezTo>
                    <a:cubicBezTo>
                      <a:pt x="19" y="23"/>
                      <a:pt x="23" y="18"/>
                      <a:pt x="29" y="18"/>
                    </a:cubicBezTo>
                    <a:cubicBezTo>
                      <a:pt x="35" y="18"/>
                      <a:pt x="39" y="23"/>
                      <a:pt x="39" y="29"/>
                    </a:cubicBezTo>
                    <a:cubicBezTo>
                      <a:pt x="39" y="34"/>
                      <a:pt x="35" y="39"/>
                      <a:pt x="29" y="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6381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MAPA MENTAL </a:t>
            </a:r>
            <a:r>
              <a:rPr lang="en-US" dirty="0"/>
              <a:t>DE NEGÓCIO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3"/>
          <p:cNvSpPr/>
          <p:nvPr/>
        </p:nvSpPr>
        <p:spPr>
          <a:xfrm>
            <a:off x="3914091" y="1543050"/>
            <a:ext cx="1310971" cy="1310969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Freeform 4"/>
          <p:cNvSpPr/>
          <p:nvPr/>
        </p:nvSpPr>
        <p:spPr>
          <a:xfrm>
            <a:off x="2503801" y="1872957"/>
            <a:ext cx="878047" cy="878044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Freeform 5"/>
          <p:cNvSpPr/>
          <p:nvPr/>
        </p:nvSpPr>
        <p:spPr>
          <a:xfrm>
            <a:off x="2385561" y="2974094"/>
            <a:ext cx="966058" cy="966057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Freeform 6"/>
          <p:cNvSpPr/>
          <p:nvPr/>
        </p:nvSpPr>
        <p:spPr>
          <a:xfrm>
            <a:off x="3631276" y="3018100"/>
            <a:ext cx="878047" cy="878044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Freeform 7"/>
          <p:cNvSpPr/>
          <p:nvPr/>
        </p:nvSpPr>
        <p:spPr>
          <a:xfrm>
            <a:off x="5662876" y="2854018"/>
            <a:ext cx="826706" cy="82670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Freeform 8"/>
          <p:cNvSpPr/>
          <p:nvPr/>
        </p:nvSpPr>
        <p:spPr>
          <a:xfrm>
            <a:off x="4761370" y="3444595"/>
            <a:ext cx="826706" cy="82670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Freeform 9"/>
          <p:cNvSpPr/>
          <p:nvPr/>
        </p:nvSpPr>
        <p:spPr>
          <a:xfrm>
            <a:off x="5769890" y="1746036"/>
            <a:ext cx="1013769" cy="1013766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11" name="Straight Connector 10"/>
          <p:cNvCxnSpPr>
            <a:stCxn id="5" idx="15"/>
            <a:endCxn id="4" idx="49"/>
          </p:cNvCxnSpPr>
          <p:nvPr/>
        </p:nvCxnSpPr>
        <p:spPr>
          <a:xfrm flipV="1">
            <a:off x="3379732" y="2134284"/>
            <a:ext cx="537519" cy="13466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6" idx="9"/>
            <a:endCxn id="4" idx="42"/>
          </p:cNvCxnSpPr>
          <p:nvPr/>
        </p:nvCxnSpPr>
        <p:spPr>
          <a:xfrm flipV="1">
            <a:off x="3241976" y="2562702"/>
            <a:ext cx="782584" cy="58799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7" idx="2"/>
            <a:endCxn id="4" idx="37"/>
          </p:cNvCxnSpPr>
          <p:nvPr/>
        </p:nvCxnSpPr>
        <p:spPr>
          <a:xfrm flipV="1">
            <a:off x="4155949" y="2776619"/>
            <a:ext cx="104632" cy="24991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9" idx="60"/>
            <a:endCxn id="4" idx="28"/>
          </p:cNvCxnSpPr>
          <p:nvPr/>
        </p:nvCxnSpPr>
        <p:spPr>
          <a:xfrm flipH="1" flipV="1">
            <a:off x="4820418" y="2804124"/>
            <a:ext cx="196123" cy="67193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8" idx="53"/>
            <a:endCxn id="4" idx="23"/>
          </p:cNvCxnSpPr>
          <p:nvPr/>
        </p:nvCxnSpPr>
        <p:spPr>
          <a:xfrm flipH="1" flipV="1">
            <a:off x="5076273" y="2614367"/>
            <a:ext cx="635412" cy="458149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0" idx="49"/>
            <a:endCxn id="4" idx="15"/>
          </p:cNvCxnSpPr>
          <p:nvPr/>
        </p:nvCxnSpPr>
        <p:spPr>
          <a:xfrm flipH="1" flipV="1">
            <a:off x="5221902" y="2134284"/>
            <a:ext cx="550431" cy="6895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555073" y="2381906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Lato" panose="020F0502020204030203" pitchFamily="34" charset="0"/>
              </a:rPr>
              <a:t>Marketing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997541" y="2013868"/>
            <a:ext cx="115654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Plano de</a:t>
            </a:r>
          </a:p>
          <a:p>
            <a:pPr algn="ctr"/>
            <a:r>
              <a:rPr lang="en-US" sz="12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negócios</a:t>
            </a:r>
            <a:endParaRPr lang="en-US" sz="1200" b="1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480839" y="3583248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  <a:latin typeface="Lato" panose="020F0502020204030203" pitchFamily="34" charset="0"/>
              </a:rPr>
              <a:t>Sal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685079" y="3583248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bg1"/>
                </a:solidFill>
                <a:latin typeface="Lato" panose="020F0502020204030203" pitchFamily="34" charset="0"/>
              </a:rPr>
              <a:t>Finança</a:t>
            </a:r>
            <a:endParaRPr lang="en-US" sz="8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790761" y="3947104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bg1"/>
                </a:solidFill>
                <a:latin typeface="Lato" panose="020F0502020204030203" pitchFamily="34" charset="0"/>
              </a:rPr>
              <a:t>Produto</a:t>
            </a:r>
            <a:endParaRPr lang="en-US" sz="8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688478" y="3385908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endParaRPr lang="en-US" sz="8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883188" y="2378055"/>
            <a:ext cx="7755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bg1"/>
                </a:solidFill>
                <a:latin typeface="Lato" panose="020F0502020204030203" pitchFamily="34" charset="0"/>
              </a:rPr>
              <a:t>Administração</a:t>
            </a:r>
            <a:endParaRPr lang="en-US" sz="8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155820" y="2099633"/>
            <a:ext cx="1217041" cy="415498"/>
            <a:chOff x="1155820" y="2099633"/>
            <a:chExt cx="1217041" cy="415498"/>
          </a:xfrm>
        </p:grpSpPr>
        <p:sp>
          <p:nvSpPr>
            <p:cNvPr id="47" name="TextBox 46"/>
            <p:cNvSpPr txBox="1"/>
            <p:nvPr/>
          </p:nvSpPr>
          <p:spPr>
            <a:xfrm>
              <a:off x="1155820" y="2099633"/>
              <a:ext cx="1026388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750" b="1" cap="all" spc="2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des </a:t>
              </a: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ciais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algn="r">
                <a:lnSpc>
                  <a:spcPct val="120000"/>
                </a:lnSpc>
              </a:pPr>
              <a:r>
                <a:rPr lang="en-US" sz="750" b="1" cap="all" spc="2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website</a:t>
              </a:r>
            </a:p>
            <a:p>
              <a:pPr algn="r">
                <a:lnSpc>
                  <a:spcPct val="120000"/>
                </a:lnSpc>
              </a:pPr>
              <a:r>
                <a:rPr lang="en-US" sz="750" b="1" cap="all" spc="2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O</a:t>
              </a:r>
            </a:p>
          </p:txBody>
        </p:sp>
        <p:cxnSp>
          <p:nvCxnSpPr>
            <p:cNvPr id="56" name="Straight Connector 55"/>
            <p:cNvCxnSpPr/>
            <p:nvPr/>
          </p:nvCxnSpPr>
          <p:spPr>
            <a:xfrm flipH="1">
              <a:off x="2267842" y="2166751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2267842" y="2301413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2267842" y="2441113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>
          <a:xfrm>
            <a:off x="1024383" y="3311899"/>
            <a:ext cx="1225202" cy="262892"/>
            <a:chOff x="1024383" y="3311899"/>
            <a:chExt cx="1225202" cy="262892"/>
          </a:xfrm>
        </p:grpSpPr>
        <p:sp>
          <p:nvSpPr>
            <p:cNvPr id="48" name="TextBox 47"/>
            <p:cNvSpPr txBox="1"/>
            <p:nvPr/>
          </p:nvSpPr>
          <p:spPr>
            <a:xfrm>
              <a:off x="1024383" y="3311899"/>
              <a:ext cx="1026388" cy="2628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astreament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 algn="r"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ventóri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>
            <a:xfrm flipH="1">
              <a:off x="2144566" y="3390356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2144566" y="3525018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5717388" y="3773673"/>
            <a:ext cx="1215563" cy="415498"/>
            <a:chOff x="5717388" y="3773673"/>
            <a:chExt cx="1215563" cy="415498"/>
          </a:xfrm>
        </p:grpSpPr>
        <p:sp>
          <p:nvSpPr>
            <p:cNvPr id="49" name="TextBox 48"/>
            <p:cNvSpPr txBox="1"/>
            <p:nvPr/>
          </p:nvSpPr>
          <p:spPr>
            <a:xfrm>
              <a:off x="5906563" y="3773673"/>
              <a:ext cx="1026388" cy="4154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esenvolviment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porte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nuntençã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62" name="Straight Connector 61"/>
            <p:cNvCxnSpPr/>
            <p:nvPr/>
          </p:nvCxnSpPr>
          <p:spPr>
            <a:xfrm flipH="1">
              <a:off x="5717388" y="3843756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flipH="1">
              <a:off x="5717388" y="3978418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 flipH="1">
              <a:off x="5717388" y="4118118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6624173" y="3109666"/>
            <a:ext cx="1232528" cy="262892"/>
            <a:chOff x="6624173" y="3109666"/>
            <a:chExt cx="1232528" cy="262892"/>
          </a:xfrm>
        </p:grpSpPr>
        <p:sp>
          <p:nvSpPr>
            <p:cNvPr id="52" name="TextBox 51"/>
            <p:cNvSpPr txBox="1"/>
            <p:nvPr/>
          </p:nvSpPr>
          <p:spPr>
            <a:xfrm>
              <a:off x="6830313" y="3109666"/>
              <a:ext cx="1026388" cy="2628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750" b="1" cap="all" spc="2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lano</a:t>
              </a:r>
            </a:p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alizaçã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65" name="Straight Connector 64"/>
            <p:cNvCxnSpPr/>
            <p:nvPr/>
          </p:nvCxnSpPr>
          <p:spPr>
            <a:xfrm flipH="1">
              <a:off x="6624173" y="3186071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flipH="1">
              <a:off x="6624173" y="3320733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6913794" y="2111242"/>
            <a:ext cx="1219697" cy="262892"/>
            <a:chOff x="6913794" y="2111242"/>
            <a:chExt cx="1219697" cy="262892"/>
          </a:xfrm>
        </p:grpSpPr>
        <p:sp>
          <p:nvSpPr>
            <p:cNvPr id="51" name="TextBox 50"/>
            <p:cNvSpPr txBox="1"/>
            <p:nvPr/>
          </p:nvSpPr>
          <p:spPr>
            <a:xfrm>
              <a:off x="7107103" y="2111242"/>
              <a:ext cx="1026388" cy="2628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750" b="1" cap="all" spc="2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</a:t>
              </a:r>
            </a:p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renciament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71" name="Straight Connector 70"/>
            <p:cNvCxnSpPr/>
            <p:nvPr/>
          </p:nvCxnSpPr>
          <p:spPr>
            <a:xfrm flipH="1">
              <a:off x="6913794" y="2198534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6913794" y="2333196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/>
          <p:cNvGrpSpPr/>
          <p:nvPr/>
        </p:nvGrpSpPr>
        <p:grpSpPr>
          <a:xfrm>
            <a:off x="3345753" y="4031188"/>
            <a:ext cx="1331461" cy="264111"/>
            <a:chOff x="3685079" y="4004765"/>
            <a:chExt cx="1331461" cy="264111"/>
          </a:xfrm>
        </p:grpSpPr>
        <p:sp>
          <p:nvSpPr>
            <p:cNvPr id="50" name="TextBox 49"/>
            <p:cNvSpPr txBox="1"/>
            <p:nvPr/>
          </p:nvSpPr>
          <p:spPr>
            <a:xfrm>
              <a:off x="3874253" y="4004765"/>
              <a:ext cx="1142287" cy="264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partilhamentos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  <a:p>
              <a:pPr>
                <a:lnSpc>
                  <a:spcPct val="120000"/>
                </a:lnSpc>
              </a:pPr>
              <a:r>
                <a:rPr lang="en-US" sz="750" b="1" cap="all" spc="2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vestimento</a:t>
              </a:r>
              <a:endParaRPr lang="en-US" sz="750" b="1" cap="all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cxnSp>
          <p:nvCxnSpPr>
            <p:cNvPr id="73" name="Straight Connector 72"/>
            <p:cNvCxnSpPr/>
            <p:nvPr/>
          </p:nvCxnSpPr>
          <p:spPr>
            <a:xfrm flipH="1">
              <a:off x="3685079" y="4069468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flipH="1">
              <a:off x="3685079" y="4204130"/>
              <a:ext cx="105019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Freeform 10"/>
          <p:cNvSpPr>
            <a:spLocks noEditPoints="1"/>
          </p:cNvSpPr>
          <p:nvPr/>
        </p:nvSpPr>
        <p:spPr bwMode="auto">
          <a:xfrm>
            <a:off x="2652508" y="3212781"/>
            <a:ext cx="375222" cy="293308"/>
          </a:xfrm>
          <a:custGeom>
            <a:avLst/>
            <a:gdLst>
              <a:gd name="T0" fmla="*/ 900 w 1024"/>
              <a:gd name="T1" fmla="*/ 643 h 800"/>
              <a:gd name="T2" fmla="*/ 900 w 1024"/>
              <a:gd name="T3" fmla="*/ 617 h 800"/>
              <a:gd name="T4" fmla="*/ 190 w 1024"/>
              <a:gd name="T5" fmla="*/ 113 h 800"/>
              <a:gd name="T6" fmla="*/ 13 w 1024"/>
              <a:gd name="T7" fmla="*/ 106 h 800"/>
              <a:gd name="T8" fmla="*/ 0 w 1024"/>
              <a:gd name="T9" fmla="*/ 177 h 800"/>
              <a:gd name="T10" fmla="*/ 194 w 1024"/>
              <a:gd name="T11" fmla="*/ 190 h 800"/>
              <a:gd name="T12" fmla="*/ 400 w 1024"/>
              <a:gd name="T13" fmla="*/ 643 h 800"/>
              <a:gd name="T14" fmla="*/ 26 w 1024"/>
              <a:gd name="T15" fmla="*/ 132 h 800"/>
              <a:gd name="T16" fmla="*/ 183 w 1024"/>
              <a:gd name="T17" fmla="*/ 164 h 800"/>
              <a:gd name="T18" fmla="*/ 1024 w 1024"/>
              <a:gd name="T19" fmla="*/ 193 h 800"/>
              <a:gd name="T20" fmla="*/ 1011 w 1024"/>
              <a:gd name="T21" fmla="*/ 282 h 800"/>
              <a:gd name="T22" fmla="*/ 868 w 1024"/>
              <a:gd name="T23" fmla="*/ 578 h 800"/>
              <a:gd name="T24" fmla="*/ 454 w 1024"/>
              <a:gd name="T25" fmla="*/ 586 h 800"/>
              <a:gd name="T26" fmla="*/ 327 w 1024"/>
              <a:gd name="T27" fmla="*/ 282 h 800"/>
              <a:gd name="T28" fmla="*/ 286 w 1024"/>
              <a:gd name="T29" fmla="*/ 269 h 800"/>
              <a:gd name="T30" fmla="*/ 299 w 1024"/>
              <a:gd name="T31" fmla="*/ 180 h 800"/>
              <a:gd name="T32" fmla="*/ 546 w 1024"/>
              <a:gd name="T33" fmla="*/ 193 h 800"/>
              <a:gd name="T34" fmla="*/ 312 w 1024"/>
              <a:gd name="T35" fmla="*/ 206 h 800"/>
              <a:gd name="T36" fmla="*/ 336 w 1024"/>
              <a:gd name="T37" fmla="*/ 256 h 800"/>
              <a:gd name="T38" fmla="*/ 463 w 1024"/>
              <a:gd name="T39" fmla="*/ 560 h 800"/>
              <a:gd name="T40" fmla="*/ 961 w 1024"/>
              <a:gd name="T41" fmla="*/ 264 h 800"/>
              <a:gd name="T42" fmla="*/ 998 w 1024"/>
              <a:gd name="T43" fmla="*/ 256 h 800"/>
              <a:gd name="T44" fmla="*/ 782 w 1024"/>
              <a:gd name="T45" fmla="*/ 206 h 800"/>
              <a:gd name="T46" fmla="*/ 782 w 1024"/>
              <a:gd name="T47" fmla="*/ 180 h 800"/>
              <a:gd name="T48" fmla="*/ 1024 w 1024"/>
              <a:gd name="T49" fmla="*/ 193 h 800"/>
              <a:gd name="T50" fmla="*/ 781 w 1024"/>
              <a:gd name="T51" fmla="*/ 726 h 800"/>
              <a:gd name="T52" fmla="*/ 927 w 1024"/>
              <a:gd name="T53" fmla="*/ 726 h 800"/>
              <a:gd name="T54" fmla="*/ 854 w 1024"/>
              <a:gd name="T55" fmla="*/ 773 h 800"/>
              <a:gd name="T56" fmla="*/ 854 w 1024"/>
              <a:gd name="T57" fmla="*/ 680 h 800"/>
              <a:gd name="T58" fmla="*/ 854 w 1024"/>
              <a:gd name="T59" fmla="*/ 773 h 800"/>
              <a:gd name="T60" fmla="*/ 329 w 1024"/>
              <a:gd name="T61" fmla="*/ 726 h 800"/>
              <a:gd name="T62" fmla="*/ 475 w 1024"/>
              <a:gd name="T63" fmla="*/ 726 h 800"/>
              <a:gd name="T64" fmla="*/ 402 w 1024"/>
              <a:gd name="T65" fmla="*/ 773 h 800"/>
              <a:gd name="T66" fmla="*/ 402 w 1024"/>
              <a:gd name="T67" fmla="*/ 680 h 800"/>
              <a:gd name="T68" fmla="*/ 402 w 1024"/>
              <a:gd name="T69" fmla="*/ 773 h 800"/>
              <a:gd name="T70" fmla="*/ 488 w 1024"/>
              <a:gd name="T71" fmla="*/ 293 h 800"/>
              <a:gd name="T72" fmla="*/ 655 w 1024"/>
              <a:gd name="T73" fmla="*/ 482 h 800"/>
              <a:gd name="T74" fmla="*/ 822 w 1024"/>
              <a:gd name="T75" fmla="*/ 293 h 800"/>
              <a:gd name="T76" fmla="*/ 812 w 1024"/>
              <a:gd name="T77" fmla="*/ 272 h 800"/>
              <a:gd name="T78" fmla="*/ 750 w 1024"/>
              <a:gd name="T79" fmla="*/ 14 h 800"/>
              <a:gd name="T80" fmla="*/ 573 w 1024"/>
              <a:gd name="T81" fmla="*/ 0 h 800"/>
              <a:gd name="T82" fmla="*/ 560 w 1024"/>
              <a:gd name="T83" fmla="*/ 272 h 800"/>
              <a:gd name="T84" fmla="*/ 486 w 1024"/>
              <a:gd name="T85" fmla="*/ 279 h 800"/>
              <a:gd name="T86" fmla="*/ 586 w 1024"/>
              <a:gd name="T87" fmla="*/ 285 h 800"/>
              <a:gd name="T88" fmla="*/ 724 w 1024"/>
              <a:gd name="T89" fmla="*/ 27 h 800"/>
              <a:gd name="T90" fmla="*/ 737 w 1024"/>
              <a:gd name="T91" fmla="*/ 298 h 800"/>
              <a:gd name="T92" fmla="*/ 655 w 1024"/>
              <a:gd name="T93" fmla="*/ 449 h 800"/>
              <a:gd name="T94" fmla="*/ 573 w 1024"/>
              <a:gd name="T95" fmla="*/ 298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24" h="800">
                <a:moveTo>
                  <a:pt x="400" y="643"/>
                </a:moveTo>
                <a:cubicBezTo>
                  <a:pt x="900" y="643"/>
                  <a:pt x="900" y="643"/>
                  <a:pt x="900" y="643"/>
                </a:cubicBezTo>
                <a:cubicBezTo>
                  <a:pt x="908" y="643"/>
                  <a:pt x="914" y="638"/>
                  <a:pt x="914" y="630"/>
                </a:cubicBezTo>
                <a:cubicBezTo>
                  <a:pt x="914" y="623"/>
                  <a:pt x="908" y="617"/>
                  <a:pt x="900" y="617"/>
                </a:cubicBezTo>
                <a:cubicBezTo>
                  <a:pt x="408" y="617"/>
                  <a:pt x="408" y="617"/>
                  <a:pt x="408" y="617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88" y="109"/>
                  <a:pt x="183" y="106"/>
                  <a:pt x="178" y="106"/>
                </a:cubicBezTo>
                <a:cubicBezTo>
                  <a:pt x="13" y="106"/>
                  <a:pt x="13" y="106"/>
                  <a:pt x="13" y="106"/>
                </a:cubicBezTo>
                <a:cubicBezTo>
                  <a:pt x="6" y="106"/>
                  <a:pt x="0" y="111"/>
                  <a:pt x="0" y="119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184"/>
                  <a:pt x="6" y="190"/>
                  <a:pt x="13" y="190"/>
                </a:cubicBezTo>
                <a:cubicBezTo>
                  <a:pt x="194" y="190"/>
                  <a:pt x="194" y="190"/>
                  <a:pt x="194" y="190"/>
                </a:cubicBezTo>
                <a:cubicBezTo>
                  <a:pt x="388" y="636"/>
                  <a:pt x="388" y="636"/>
                  <a:pt x="388" y="636"/>
                </a:cubicBezTo>
                <a:cubicBezTo>
                  <a:pt x="390" y="640"/>
                  <a:pt x="394" y="643"/>
                  <a:pt x="400" y="643"/>
                </a:cubicBezTo>
                <a:close/>
                <a:moveTo>
                  <a:pt x="26" y="164"/>
                </a:moveTo>
                <a:cubicBezTo>
                  <a:pt x="26" y="132"/>
                  <a:pt x="26" y="132"/>
                  <a:pt x="26" y="132"/>
                </a:cubicBezTo>
                <a:cubicBezTo>
                  <a:pt x="169" y="132"/>
                  <a:pt x="169" y="132"/>
                  <a:pt x="169" y="132"/>
                </a:cubicBezTo>
                <a:cubicBezTo>
                  <a:pt x="183" y="164"/>
                  <a:pt x="183" y="164"/>
                  <a:pt x="183" y="164"/>
                </a:cubicBezTo>
                <a:lnTo>
                  <a:pt x="26" y="164"/>
                </a:lnTo>
                <a:close/>
                <a:moveTo>
                  <a:pt x="1024" y="193"/>
                </a:moveTo>
                <a:cubicBezTo>
                  <a:pt x="1024" y="269"/>
                  <a:pt x="1024" y="269"/>
                  <a:pt x="1024" y="269"/>
                </a:cubicBezTo>
                <a:cubicBezTo>
                  <a:pt x="1024" y="276"/>
                  <a:pt x="1018" y="282"/>
                  <a:pt x="1011" y="282"/>
                </a:cubicBezTo>
                <a:cubicBezTo>
                  <a:pt x="983" y="282"/>
                  <a:pt x="983" y="282"/>
                  <a:pt x="983" y="282"/>
                </a:cubicBezTo>
                <a:cubicBezTo>
                  <a:pt x="868" y="578"/>
                  <a:pt x="868" y="578"/>
                  <a:pt x="868" y="578"/>
                </a:cubicBezTo>
                <a:cubicBezTo>
                  <a:pt x="866" y="583"/>
                  <a:pt x="861" y="586"/>
                  <a:pt x="855" y="586"/>
                </a:cubicBezTo>
                <a:cubicBezTo>
                  <a:pt x="454" y="586"/>
                  <a:pt x="454" y="586"/>
                  <a:pt x="454" y="586"/>
                </a:cubicBezTo>
                <a:cubicBezTo>
                  <a:pt x="449" y="586"/>
                  <a:pt x="444" y="583"/>
                  <a:pt x="442" y="578"/>
                </a:cubicBezTo>
                <a:cubicBezTo>
                  <a:pt x="327" y="282"/>
                  <a:pt x="327" y="282"/>
                  <a:pt x="327" y="282"/>
                </a:cubicBezTo>
                <a:cubicBezTo>
                  <a:pt x="299" y="282"/>
                  <a:pt x="299" y="282"/>
                  <a:pt x="299" y="282"/>
                </a:cubicBezTo>
                <a:cubicBezTo>
                  <a:pt x="292" y="282"/>
                  <a:pt x="286" y="276"/>
                  <a:pt x="286" y="269"/>
                </a:cubicBezTo>
                <a:cubicBezTo>
                  <a:pt x="286" y="193"/>
                  <a:pt x="286" y="193"/>
                  <a:pt x="286" y="193"/>
                </a:cubicBezTo>
                <a:cubicBezTo>
                  <a:pt x="286" y="186"/>
                  <a:pt x="292" y="180"/>
                  <a:pt x="299" y="180"/>
                </a:cubicBezTo>
                <a:cubicBezTo>
                  <a:pt x="533" y="180"/>
                  <a:pt x="533" y="180"/>
                  <a:pt x="533" y="180"/>
                </a:cubicBezTo>
                <a:cubicBezTo>
                  <a:pt x="540" y="180"/>
                  <a:pt x="546" y="186"/>
                  <a:pt x="546" y="193"/>
                </a:cubicBezTo>
                <a:cubicBezTo>
                  <a:pt x="546" y="200"/>
                  <a:pt x="540" y="206"/>
                  <a:pt x="533" y="206"/>
                </a:cubicBezTo>
                <a:cubicBezTo>
                  <a:pt x="312" y="206"/>
                  <a:pt x="312" y="206"/>
                  <a:pt x="312" y="206"/>
                </a:cubicBezTo>
                <a:cubicBezTo>
                  <a:pt x="312" y="256"/>
                  <a:pt x="312" y="256"/>
                  <a:pt x="312" y="256"/>
                </a:cubicBezTo>
                <a:cubicBezTo>
                  <a:pt x="336" y="256"/>
                  <a:pt x="336" y="256"/>
                  <a:pt x="336" y="256"/>
                </a:cubicBezTo>
                <a:cubicBezTo>
                  <a:pt x="341" y="256"/>
                  <a:pt x="346" y="259"/>
                  <a:pt x="348" y="264"/>
                </a:cubicBezTo>
                <a:cubicBezTo>
                  <a:pt x="463" y="560"/>
                  <a:pt x="463" y="560"/>
                  <a:pt x="463" y="560"/>
                </a:cubicBezTo>
                <a:cubicBezTo>
                  <a:pt x="846" y="560"/>
                  <a:pt x="846" y="560"/>
                  <a:pt x="846" y="560"/>
                </a:cubicBezTo>
                <a:cubicBezTo>
                  <a:pt x="961" y="264"/>
                  <a:pt x="961" y="264"/>
                  <a:pt x="961" y="264"/>
                </a:cubicBezTo>
                <a:cubicBezTo>
                  <a:pt x="963" y="259"/>
                  <a:pt x="968" y="256"/>
                  <a:pt x="974" y="256"/>
                </a:cubicBezTo>
                <a:cubicBezTo>
                  <a:pt x="998" y="256"/>
                  <a:pt x="998" y="256"/>
                  <a:pt x="998" y="256"/>
                </a:cubicBezTo>
                <a:cubicBezTo>
                  <a:pt x="998" y="206"/>
                  <a:pt x="998" y="206"/>
                  <a:pt x="998" y="206"/>
                </a:cubicBezTo>
                <a:cubicBezTo>
                  <a:pt x="782" y="206"/>
                  <a:pt x="782" y="206"/>
                  <a:pt x="782" y="206"/>
                </a:cubicBezTo>
                <a:cubicBezTo>
                  <a:pt x="775" y="206"/>
                  <a:pt x="769" y="200"/>
                  <a:pt x="769" y="193"/>
                </a:cubicBezTo>
                <a:cubicBezTo>
                  <a:pt x="769" y="186"/>
                  <a:pt x="775" y="180"/>
                  <a:pt x="782" y="180"/>
                </a:cubicBezTo>
                <a:cubicBezTo>
                  <a:pt x="1011" y="180"/>
                  <a:pt x="1011" y="180"/>
                  <a:pt x="1011" y="180"/>
                </a:cubicBezTo>
                <a:cubicBezTo>
                  <a:pt x="1018" y="180"/>
                  <a:pt x="1024" y="186"/>
                  <a:pt x="1024" y="193"/>
                </a:cubicBezTo>
                <a:close/>
                <a:moveTo>
                  <a:pt x="854" y="653"/>
                </a:moveTo>
                <a:cubicBezTo>
                  <a:pt x="813" y="653"/>
                  <a:pt x="781" y="686"/>
                  <a:pt x="781" y="726"/>
                </a:cubicBezTo>
                <a:cubicBezTo>
                  <a:pt x="781" y="767"/>
                  <a:pt x="813" y="800"/>
                  <a:pt x="854" y="800"/>
                </a:cubicBezTo>
                <a:cubicBezTo>
                  <a:pt x="894" y="800"/>
                  <a:pt x="927" y="767"/>
                  <a:pt x="927" y="726"/>
                </a:cubicBezTo>
                <a:cubicBezTo>
                  <a:pt x="927" y="686"/>
                  <a:pt x="894" y="653"/>
                  <a:pt x="854" y="653"/>
                </a:cubicBezTo>
                <a:close/>
                <a:moveTo>
                  <a:pt x="854" y="773"/>
                </a:moveTo>
                <a:cubicBezTo>
                  <a:pt x="828" y="773"/>
                  <a:pt x="807" y="752"/>
                  <a:pt x="807" y="726"/>
                </a:cubicBezTo>
                <a:cubicBezTo>
                  <a:pt x="807" y="701"/>
                  <a:pt x="828" y="680"/>
                  <a:pt x="854" y="680"/>
                </a:cubicBezTo>
                <a:cubicBezTo>
                  <a:pt x="880" y="680"/>
                  <a:pt x="901" y="701"/>
                  <a:pt x="901" y="726"/>
                </a:cubicBezTo>
                <a:cubicBezTo>
                  <a:pt x="901" y="752"/>
                  <a:pt x="880" y="773"/>
                  <a:pt x="854" y="773"/>
                </a:cubicBezTo>
                <a:close/>
                <a:moveTo>
                  <a:pt x="402" y="653"/>
                </a:moveTo>
                <a:cubicBezTo>
                  <a:pt x="361" y="653"/>
                  <a:pt x="329" y="686"/>
                  <a:pt x="329" y="726"/>
                </a:cubicBezTo>
                <a:cubicBezTo>
                  <a:pt x="329" y="767"/>
                  <a:pt x="361" y="800"/>
                  <a:pt x="402" y="800"/>
                </a:cubicBezTo>
                <a:cubicBezTo>
                  <a:pt x="442" y="800"/>
                  <a:pt x="475" y="767"/>
                  <a:pt x="475" y="726"/>
                </a:cubicBezTo>
                <a:cubicBezTo>
                  <a:pt x="475" y="686"/>
                  <a:pt x="442" y="653"/>
                  <a:pt x="402" y="653"/>
                </a:cubicBezTo>
                <a:close/>
                <a:moveTo>
                  <a:pt x="402" y="773"/>
                </a:moveTo>
                <a:cubicBezTo>
                  <a:pt x="376" y="773"/>
                  <a:pt x="355" y="752"/>
                  <a:pt x="355" y="726"/>
                </a:cubicBezTo>
                <a:cubicBezTo>
                  <a:pt x="355" y="701"/>
                  <a:pt x="376" y="680"/>
                  <a:pt x="402" y="680"/>
                </a:cubicBezTo>
                <a:cubicBezTo>
                  <a:pt x="427" y="680"/>
                  <a:pt x="448" y="701"/>
                  <a:pt x="448" y="726"/>
                </a:cubicBezTo>
                <a:cubicBezTo>
                  <a:pt x="448" y="752"/>
                  <a:pt x="427" y="773"/>
                  <a:pt x="402" y="773"/>
                </a:cubicBezTo>
                <a:close/>
                <a:moveTo>
                  <a:pt x="486" y="279"/>
                </a:moveTo>
                <a:cubicBezTo>
                  <a:pt x="483" y="284"/>
                  <a:pt x="484" y="289"/>
                  <a:pt x="488" y="293"/>
                </a:cubicBezTo>
                <a:cubicBezTo>
                  <a:pt x="645" y="478"/>
                  <a:pt x="645" y="478"/>
                  <a:pt x="645" y="478"/>
                </a:cubicBezTo>
                <a:cubicBezTo>
                  <a:pt x="647" y="481"/>
                  <a:pt x="651" y="482"/>
                  <a:pt x="655" y="482"/>
                </a:cubicBezTo>
                <a:cubicBezTo>
                  <a:pt x="659" y="482"/>
                  <a:pt x="662" y="481"/>
                  <a:pt x="665" y="478"/>
                </a:cubicBezTo>
                <a:cubicBezTo>
                  <a:pt x="822" y="293"/>
                  <a:pt x="822" y="293"/>
                  <a:pt x="822" y="293"/>
                </a:cubicBezTo>
                <a:cubicBezTo>
                  <a:pt x="825" y="289"/>
                  <a:pt x="826" y="284"/>
                  <a:pt x="824" y="279"/>
                </a:cubicBezTo>
                <a:cubicBezTo>
                  <a:pt x="822" y="274"/>
                  <a:pt x="817" y="272"/>
                  <a:pt x="812" y="272"/>
                </a:cubicBezTo>
                <a:cubicBezTo>
                  <a:pt x="750" y="272"/>
                  <a:pt x="750" y="272"/>
                  <a:pt x="750" y="272"/>
                </a:cubicBezTo>
                <a:cubicBezTo>
                  <a:pt x="750" y="14"/>
                  <a:pt x="750" y="14"/>
                  <a:pt x="750" y="14"/>
                </a:cubicBezTo>
                <a:cubicBezTo>
                  <a:pt x="750" y="6"/>
                  <a:pt x="744" y="0"/>
                  <a:pt x="737" y="0"/>
                </a:cubicBezTo>
                <a:cubicBezTo>
                  <a:pt x="573" y="0"/>
                  <a:pt x="573" y="0"/>
                  <a:pt x="573" y="0"/>
                </a:cubicBezTo>
                <a:cubicBezTo>
                  <a:pt x="566" y="0"/>
                  <a:pt x="560" y="6"/>
                  <a:pt x="560" y="14"/>
                </a:cubicBezTo>
                <a:cubicBezTo>
                  <a:pt x="560" y="272"/>
                  <a:pt x="560" y="272"/>
                  <a:pt x="560" y="272"/>
                </a:cubicBezTo>
                <a:cubicBezTo>
                  <a:pt x="498" y="272"/>
                  <a:pt x="498" y="272"/>
                  <a:pt x="498" y="272"/>
                </a:cubicBezTo>
                <a:cubicBezTo>
                  <a:pt x="492" y="272"/>
                  <a:pt x="488" y="274"/>
                  <a:pt x="486" y="279"/>
                </a:cubicBezTo>
                <a:close/>
                <a:moveTo>
                  <a:pt x="573" y="298"/>
                </a:moveTo>
                <a:cubicBezTo>
                  <a:pt x="580" y="298"/>
                  <a:pt x="586" y="292"/>
                  <a:pt x="586" y="285"/>
                </a:cubicBezTo>
                <a:cubicBezTo>
                  <a:pt x="586" y="27"/>
                  <a:pt x="586" y="27"/>
                  <a:pt x="586" y="27"/>
                </a:cubicBezTo>
                <a:cubicBezTo>
                  <a:pt x="724" y="27"/>
                  <a:pt x="724" y="27"/>
                  <a:pt x="724" y="27"/>
                </a:cubicBezTo>
                <a:cubicBezTo>
                  <a:pt x="724" y="285"/>
                  <a:pt x="724" y="285"/>
                  <a:pt x="724" y="285"/>
                </a:cubicBezTo>
                <a:cubicBezTo>
                  <a:pt x="724" y="292"/>
                  <a:pt x="730" y="298"/>
                  <a:pt x="737" y="298"/>
                </a:cubicBezTo>
                <a:cubicBezTo>
                  <a:pt x="784" y="298"/>
                  <a:pt x="784" y="298"/>
                  <a:pt x="784" y="298"/>
                </a:cubicBezTo>
                <a:cubicBezTo>
                  <a:pt x="655" y="449"/>
                  <a:pt x="655" y="449"/>
                  <a:pt x="655" y="449"/>
                </a:cubicBezTo>
                <a:cubicBezTo>
                  <a:pt x="526" y="298"/>
                  <a:pt x="526" y="298"/>
                  <a:pt x="526" y="298"/>
                </a:cubicBezTo>
                <a:lnTo>
                  <a:pt x="573" y="2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0" name="Freeform 9"/>
          <p:cNvSpPr>
            <a:spLocks noEditPoints="1"/>
          </p:cNvSpPr>
          <p:nvPr/>
        </p:nvSpPr>
        <p:spPr bwMode="auto">
          <a:xfrm>
            <a:off x="3938222" y="3199596"/>
            <a:ext cx="275415" cy="301611"/>
          </a:xfrm>
          <a:custGeom>
            <a:avLst/>
            <a:gdLst>
              <a:gd name="T0" fmla="*/ 60 w 938"/>
              <a:gd name="T1" fmla="*/ 885 h 1024"/>
              <a:gd name="T2" fmla="*/ 47 w 938"/>
              <a:gd name="T3" fmla="*/ 1011 h 1024"/>
              <a:gd name="T4" fmla="*/ 878 w 938"/>
              <a:gd name="T5" fmla="*/ 1024 h 1024"/>
              <a:gd name="T6" fmla="*/ 891 w 938"/>
              <a:gd name="T7" fmla="*/ 898 h 1024"/>
              <a:gd name="T8" fmla="*/ 865 w 938"/>
              <a:gd name="T9" fmla="*/ 998 h 1024"/>
              <a:gd name="T10" fmla="*/ 72 w 938"/>
              <a:gd name="T11" fmla="*/ 911 h 1024"/>
              <a:gd name="T12" fmla="*/ 865 w 938"/>
              <a:gd name="T13" fmla="*/ 998 h 1024"/>
              <a:gd name="T14" fmla="*/ 302 w 938"/>
              <a:gd name="T15" fmla="*/ 842 h 1024"/>
              <a:gd name="T16" fmla="*/ 289 w 938"/>
              <a:gd name="T17" fmla="*/ 390 h 1024"/>
              <a:gd name="T18" fmla="*/ 156 w 938"/>
              <a:gd name="T19" fmla="*/ 402 h 1024"/>
              <a:gd name="T20" fmla="*/ 169 w 938"/>
              <a:gd name="T21" fmla="*/ 854 h 1024"/>
              <a:gd name="T22" fmla="*/ 182 w 938"/>
              <a:gd name="T23" fmla="*/ 415 h 1024"/>
              <a:gd name="T24" fmla="*/ 276 w 938"/>
              <a:gd name="T25" fmla="*/ 829 h 1024"/>
              <a:gd name="T26" fmla="*/ 182 w 938"/>
              <a:gd name="T27" fmla="*/ 415 h 1024"/>
              <a:gd name="T28" fmla="*/ 542 w 938"/>
              <a:gd name="T29" fmla="*/ 842 h 1024"/>
              <a:gd name="T30" fmla="*/ 529 w 938"/>
              <a:gd name="T31" fmla="*/ 390 h 1024"/>
              <a:gd name="T32" fmla="*/ 396 w 938"/>
              <a:gd name="T33" fmla="*/ 402 h 1024"/>
              <a:gd name="T34" fmla="*/ 409 w 938"/>
              <a:gd name="T35" fmla="*/ 854 h 1024"/>
              <a:gd name="T36" fmla="*/ 422 w 938"/>
              <a:gd name="T37" fmla="*/ 415 h 1024"/>
              <a:gd name="T38" fmla="*/ 516 w 938"/>
              <a:gd name="T39" fmla="*/ 829 h 1024"/>
              <a:gd name="T40" fmla="*/ 422 w 938"/>
              <a:gd name="T41" fmla="*/ 415 h 1024"/>
              <a:gd name="T42" fmla="*/ 781 w 938"/>
              <a:gd name="T43" fmla="*/ 842 h 1024"/>
              <a:gd name="T44" fmla="*/ 768 w 938"/>
              <a:gd name="T45" fmla="*/ 390 h 1024"/>
              <a:gd name="T46" fmla="*/ 636 w 938"/>
              <a:gd name="T47" fmla="*/ 402 h 1024"/>
              <a:gd name="T48" fmla="*/ 648 w 938"/>
              <a:gd name="T49" fmla="*/ 854 h 1024"/>
              <a:gd name="T50" fmla="*/ 661 w 938"/>
              <a:gd name="T51" fmla="*/ 415 h 1024"/>
              <a:gd name="T52" fmla="*/ 755 w 938"/>
              <a:gd name="T53" fmla="*/ 829 h 1024"/>
              <a:gd name="T54" fmla="*/ 661 w 938"/>
              <a:gd name="T55" fmla="*/ 415 h 1024"/>
              <a:gd name="T56" fmla="*/ 475 w 938"/>
              <a:gd name="T57" fmla="*/ 2 h 1024"/>
              <a:gd name="T58" fmla="*/ 6 w 938"/>
              <a:gd name="T59" fmla="*/ 257 h 1024"/>
              <a:gd name="T60" fmla="*/ 0 w 938"/>
              <a:gd name="T61" fmla="*/ 341 h 1024"/>
              <a:gd name="T62" fmla="*/ 925 w 938"/>
              <a:gd name="T63" fmla="*/ 354 h 1024"/>
              <a:gd name="T64" fmla="*/ 938 w 938"/>
              <a:gd name="T65" fmla="*/ 268 h 1024"/>
              <a:gd name="T66" fmla="*/ 912 w 938"/>
              <a:gd name="T67" fmla="*/ 328 h 1024"/>
              <a:gd name="T68" fmla="*/ 26 w 938"/>
              <a:gd name="T69" fmla="*/ 276 h 1024"/>
              <a:gd name="T70" fmla="*/ 912 w 938"/>
              <a:gd name="T71" fmla="*/ 276 h 1024"/>
              <a:gd name="T72" fmla="*/ 462 w 938"/>
              <a:gd name="T73" fmla="*/ 59 h 1024"/>
              <a:gd name="T74" fmla="*/ 62 w 938"/>
              <a:gd name="T75" fmla="*/ 294 h 1024"/>
              <a:gd name="T76" fmla="*/ 863 w 938"/>
              <a:gd name="T77" fmla="*/ 304 h 1024"/>
              <a:gd name="T78" fmla="*/ 869 w 938"/>
              <a:gd name="T79" fmla="*/ 280 h 1024"/>
              <a:gd name="T80" fmla="*/ 462 w 938"/>
              <a:gd name="T81" fmla="*/ 59 h 1024"/>
              <a:gd name="T82" fmla="*/ 124 w 938"/>
              <a:gd name="T83" fmla="*/ 278 h 1024"/>
              <a:gd name="T84" fmla="*/ 813 w 938"/>
              <a:gd name="T85" fmla="*/ 278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38" h="1024">
                <a:moveTo>
                  <a:pt x="878" y="885"/>
                </a:moveTo>
                <a:cubicBezTo>
                  <a:pt x="60" y="885"/>
                  <a:pt x="60" y="885"/>
                  <a:pt x="60" y="885"/>
                </a:cubicBezTo>
                <a:cubicBezTo>
                  <a:pt x="52" y="885"/>
                  <a:pt x="47" y="891"/>
                  <a:pt x="47" y="898"/>
                </a:cubicBezTo>
                <a:cubicBezTo>
                  <a:pt x="47" y="1011"/>
                  <a:pt x="47" y="1011"/>
                  <a:pt x="47" y="1011"/>
                </a:cubicBezTo>
                <a:cubicBezTo>
                  <a:pt x="47" y="1018"/>
                  <a:pt x="52" y="1024"/>
                  <a:pt x="60" y="1024"/>
                </a:cubicBezTo>
                <a:cubicBezTo>
                  <a:pt x="878" y="1024"/>
                  <a:pt x="878" y="1024"/>
                  <a:pt x="878" y="1024"/>
                </a:cubicBezTo>
                <a:cubicBezTo>
                  <a:pt x="885" y="1024"/>
                  <a:pt x="891" y="1018"/>
                  <a:pt x="891" y="1011"/>
                </a:cubicBezTo>
                <a:cubicBezTo>
                  <a:pt x="891" y="898"/>
                  <a:pt x="891" y="898"/>
                  <a:pt x="891" y="898"/>
                </a:cubicBezTo>
                <a:cubicBezTo>
                  <a:pt x="891" y="891"/>
                  <a:pt x="885" y="885"/>
                  <a:pt x="878" y="885"/>
                </a:cubicBezTo>
                <a:close/>
                <a:moveTo>
                  <a:pt x="865" y="998"/>
                </a:moveTo>
                <a:cubicBezTo>
                  <a:pt x="72" y="998"/>
                  <a:pt x="72" y="998"/>
                  <a:pt x="72" y="998"/>
                </a:cubicBezTo>
                <a:cubicBezTo>
                  <a:pt x="72" y="911"/>
                  <a:pt x="72" y="911"/>
                  <a:pt x="72" y="911"/>
                </a:cubicBezTo>
                <a:cubicBezTo>
                  <a:pt x="865" y="911"/>
                  <a:pt x="865" y="911"/>
                  <a:pt x="865" y="911"/>
                </a:cubicBezTo>
                <a:lnTo>
                  <a:pt x="865" y="998"/>
                </a:lnTo>
                <a:close/>
                <a:moveTo>
                  <a:pt x="289" y="854"/>
                </a:moveTo>
                <a:cubicBezTo>
                  <a:pt x="296" y="854"/>
                  <a:pt x="302" y="849"/>
                  <a:pt x="302" y="842"/>
                </a:cubicBezTo>
                <a:cubicBezTo>
                  <a:pt x="302" y="402"/>
                  <a:pt x="302" y="402"/>
                  <a:pt x="302" y="402"/>
                </a:cubicBezTo>
                <a:cubicBezTo>
                  <a:pt x="302" y="395"/>
                  <a:pt x="296" y="390"/>
                  <a:pt x="289" y="390"/>
                </a:cubicBezTo>
                <a:cubicBezTo>
                  <a:pt x="169" y="390"/>
                  <a:pt x="169" y="390"/>
                  <a:pt x="169" y="390"/>
                </a:cubicBezTo>
                <a:cubicBezTo>
                  <a:pt x="162" y="390"/>
                  <a:pt x="156" y="395"/>
                  <a:pt x="156" y="402"/>
                </a:cubicBezTo>
                <a:cubicBezTo>
                  <a:pt x="156" y="842"/>
                  <a:pt x="156" y="842"/>
                  <a:pt x="156" y="842"/>
                </a:cubicBezTo>
                <a:cubicBezTo>
                  <a:pt x="156" y="849"/>
                  <a:pt x="162" y="854"/>
                  <a:pt x="169" y="854"/>
                </a:cubicBezTo>
                <a:lnTo>
                  <a:pt x="289" y="854"/>
                </a:lnTo>
                <a:close/>
                <a:moveTo>
                  <a:pt x="182" y="415"/>
                </a:moveTo>
                <a:cubicBezTo>
                  <a:pt x="276" y="415"/>
                  <a:pt x="276" y="415"/>
                  <a:pt x="276" y="415"/>
                </a:cubicBezTo>
                <a:cubicBezTo>
                  <a:pt x="276" y="829"/>
                  <a:pt x="276" y="829"/>
                  <a:pt x="276" y="829"/>
                </a:cubicBezTo>
                <a:cubicBezTo>
                  <a:pt x="182" y="829"/>
                  <a:pt x="182" y="829"/>
                  <a:pt x="182" y="829"/>
                </a:cubicBezTo>
                <a:lnTo>
                  <a:pt x="182" y="415"/>
                </a:lnTo>
                <a:close/>
                <a:moveTo>
                  <a:pt x="529" y="854"/>
                </a:moveTo>
                <a:cubicBezTo>
                  <a:pt x="536" y="854"/>
                  <a:pt x="542" y="849"/>
                  <a:pt x="542" y="842"/>
                </a:cubicBezTo>
                <a:cubicBezTo>
                  <a:pt x="542" y="402"/>
                  <a:pt x="542" y="402"/>
                  <a:pt x="542" y="402"/>
                </a:cubicBezTo>
                <a:cubicBezTo>
                  <a:pt x="542" y="395"/>
                  <a:pt x="536" y="390"/>
                  <a:pt x="529" y="390"/>
                </a:cubicBezTo>
                <a:cubicBezTo>
                  <a:pt x="409" y="390"/>
                  <a:pt x="409" y="390"/>
                  <a:pt x="409" y="390"/>
                </a:cubicBezTo>
                <a:cubicBezTo>
                  <a:pt x="402" y="390"/>
                  <a:pt x="396" y="395"/>
                  <a:pt x="396" y="402"/>
                </a:cubicBezTo>
                <a:cubicBezTo>
                  <a:pt x="396" y="842"/>
                  <a:pt x="396" y="842"/>
                  <a:pt x="396" y="842"/>
                </a:cubicBezTo>
                <a:cubicBezTo>
                  <a:pt x="396" y="849"/>
                  <a:pt x="402" y="854"/>
                  <a:pt x="409" y="854"/>
                </a:cubicBezTo>
                <a:lnTo>
                  <a:pt x="529" y="854"/>
                </a:lnTo>
                <a:close/>
                <a:moveTo>
                  <a:pt x="422" y="415"/>
                </a:moveTo>
                <a:cubicBezTo>
                  <a:pt x="516" y="415"/>
                  <a:pt x="516" y="415"/>
                  <a:pt x="516" y="415"/>
                </a:cubicBezTo>
                <a:cubicBezTo>
                  <a:pt x="516" y="829"/>
                  <a:pt x="516" y="829"/>
                  <a:pt x="516" y="829"/>
                </a:cubicBezTo>
                <a:cubicBezTo>
                  <a:pt x="422" y="829"/>
                  <a:pt x="422" y="829"/>
                  <a:pt x="422" y="829"/>
                </a:cubicBezTo>
                <a:lnTo>
                  <a:pt x="422" y="415"/>
                </a:lnTo>
                <a:close/>
                <a:moveTo>
                  <a:pt x="768" y="854"/>
                </a:moveTo>
                <a:cubicBezTo>
                  <a:pt x="775" y="854"/>
                  <a:pt x="781" y="849"/>
                  <a:pt x="781" y="842"/>
                </a:cubicBezTo>
                <a:cubicBezTo>
                  <a:pt x="781" y="402"/>
                  <a:pt x="781" y="402"/>
                  <a:pt x="781" y="402"/>
                </a:cubicBezTo>
                <a:cubicBezTo>
                  <a:pt x="781" y="395"/>
                  <a:pt x="775" y="390"/>
                  <a:pt x="768" y="390"/>
                </a:cubicBezTo>
                <a:cubicBezTo>
                  <a:pt x="648" y="390"/>
                  <a:pt x="648" y="390"/>
                  <a:pt x="648" y="390"/>
                </a:cubicBezTo>
                <a:cubicBezTo>
                  <a:pt x="641" y="390"/>
                  <a:pt x="636" y="395"/>
                  <a:pt x="636" y="402"/>
                </a:cubicBezTo>
                <a:cubicBezTo>
                  <a:pt x="636" y="842"/>
                  <a:pt x="636" y="842"/>
                  <a:pt x="636" y="842"/>
                </a:cubicBezTo>
                <a:cubicBezTo>
                  <a:pt x="636" y="849"/>
                  <a:pt x="641" y="854"/>
                  <a:pt x="648" y="854"/>
                </a:cubicBezTo>
                <a:lnTo>
                  <a:pt x="768" y="854"/>
                </a:lnTo>
                <a:close/>
                <a:moveTo>
                  <a:pt x="661" y="415"/>
                </a:moveTo>
                <a:cubicBezTo>
                  <a:pt x="755" y="415"/>
                  <a:pt x="755" y="415"/>
                  <a:pt x="755" y="415"/>
                </a:cubicBezTo>
                <a:cubicBezTo>
                  <a:pt x="755" y="829"/>
                  <a:pt x="755" y="829"/>
                  <a:pt x="755" y="829"/>
                </a:cubicBezTo>
                <a:cubicBezTo>
                  <a:pt x="661" y="829"/>
                  <a:pt x="661" y="829"/>
                  <a:pt x="661" y="829"/>
                </a:cubicBezTo>
                <a:lnTo>
                  <a:pt x="661" y="415"/>
                </a:lnTo>
                <a:close/>
                <a:moveTo>
                  <a:pt x="931" y="257"/>
                </a:moveTo>
                <a:cubicBezTo>
                  <a:pt x="475" y="2"/>
                  <a:pt x="475" y="2"/>
                  <a:pt x="475" y="2"/>
                </a:cubicBezTo>
                <a:cubicBezTo>
                  <a:pt x="471" y="0"/>
                  <a:pt x="466" y="0"/>
                  <a:pt x="462" y="2"/>
                </a:cubicBezTo>
                <a:cubicBezTo>
                  <a:pt x="6" y="257"/>
                  <a:pt x="6" y="257"/>
                  <a:pt x="6" y="257"/>
                </a:cubicBezTo>
                <a:cubicBezTo>
                  <a:pt x="2" y="260"/>
                  <a:pt x="0" y="264"/>
                  <a:pt x="0" y="268"/>
                </a:cubicBezTo>
                <a:cubicBezTo>
                  <a:pt x="0" y="341"/>
                  <a:pt x="0" y="341"/>
                  <a:pt x="0" y="341"/>
                </a:cubicBezTo>
                <a:cubicBezTo>
                  <a:pt x="0" y="348"/>
                  <a:pt x="6" y="354"/>
                  <a:pt x="13" y="354"/>
                </a:cubicBezTo>
                <a:cubicBezTo>
                  <a:pt x="925" y="354"/>
                  <a:pt x="925" y="354"/>
                  <a:pt x="925" y="354"/>
                </a:cubicBezTo>
                <a:cubicBezTo>
                  <a:pt x="932" y="354"/>
                  <a:pt x="938" y="348"/>
                  <a:pt x="938" y="341"/>
                </a:cubicBezTo>
                <a:cubicBezTo>
                  <a:pt x="938" y="268"/>
                  <a:pt x="938" y="268"/>
                  <a:pt x="938" y="268"/>
                </a:cubicBezTo>
                <a:cubicBezTo>
                  <a:pt x="938" y="264"/>
                  <a:pt x="935" y="260"/>
                  <a:pt x="931" y="257"/>
                </a:cubicBezTo>
                <a:close/>
                <a:moveTo>
                  <a:pt x="912" y="328"/>
                </a:moveTo>
                <a:cubicBezTo>
                  <a:pt x="26" y="328"/>
                  <a:pt x="26" y="328"/>
                  <a:pt x="26" y="328"/>
                </a:cubicBezTo>
                <a:cubicBezTo>
                  <a:pt x="26" y="276"/>
                  <a:pt x="26" y="276"/>
                  <a:pt x="26" y="276"/>
                </a:cubicBezTo>
                <a:cubicBezTo>
                  <a:pt x="469" y="28"/>
                  <a:pt x="469" y="28"/>
                  <a:pt x="469" y="28"/>
                </a:cubicBezTo>
                <a:cubicBezTo>
                  <a:pt x="912" y="276"/>
                  <a:pt x="912" y="276"/>
                  <a:pt x="912" y="276"/>
                </a:cubicBezTo>
                <a:lnTo>
                  <a:pt x="912" y="328"/>
                </a:lnTo>
                <a:close/>
                <a:moveTo>
                  <a:pt x="462" y="59"/>
                </a:moveTo>
                <a:cubicBezTo>
                  <a:pt x="69" y="280"/>
                  <a:pt x="69" y="280"/>
                  <a:pt x="69" y="280"/>
                </a:cubicBezTo>
                <a:cubicBezTo>
                  <a:pt x="63" y="283"/>
                  <a:pt x="61" y="289"/>
                  <a:pt x="62" y="294"/>
                </a:cubicBezTo>
                <a:cubicBezTo>
                  <a:pt x="64" y="300"/>
                  <a:pt x="69" y="304"/>
                  <a:pt x="75" y="304"/>
                </a:cubicBezTo>
                <a:cubicBezTo>
                  <a:pt x="863" y="304"/>
                  <a:pt x="863" y="304"/>
                  <a:pt x="863" y="304"/>
                </a:cubicBezTo>
                <a:cubicBezTo>
                  <a:pt x="869" y="304"/>
                  <a:pt x="874" y="300"/>
                  <a:pt x="875" y="294"/>
                </a:cubicBezTo>
                <a:cubicBezTo>
                  <a:pt x="877" y="289"/>
                  <a:pt x="874" y="283"/>
                  <a:pt x="869" y="280"/>
                </a:cubicBezTo>
                <a:cubicBezTo>
                  <a:pt x="475" y="59"/>
                  <a:pt x="475" y="59"/>
                  <a:pt x="475" y="59"/>
                </a:cubicBezTo>
                <a:cubicBezTo>
                  <a:pt x="471" y="57"/>
                  <a:pt x="466" y="57"/>
                  <a:pt x="462" y="59"/>
                </a:cubicBezTo>
                <a:close/>
                <a:moveTo>
                  <a:pt x="813" y="278"/>
                </a:moveTo>
                <a:cubicBezTo>
                  <a:pt x="124" y="278"/>
                  <a:pt x="124" y="278"/>
                  <a:pt x="124" y="278"/>
                </a:cubicBezTo>
                <a:cubicBezTo>
                  <a:pt x="469" y="85"/>
                  <a:pt x="469" y="85"/>
                  <a:pt x="469" y="85"/>
                </a:cubicBezTo>
                <a:lnTo>
                  <a:pt x="813" y="27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Freeform 7"/>
          <p:cNvSpPr>
            <a:spLocks noEditPoints="1"/>
          </p:cNvSpPr>
          <p:nvPr/>
        </p:nvSpPr>
        <p:spPr bwMode="auto">
          <a:xfrm>
            <a:off x="5057661" y="3649035"/>
            <a:ext cx="246870" cy="230618"/>
          </a:xfrm>
          <a:custGeom>
            <a:avLst/>
            <a:gdLst>
              <a:gd name="T0" fmla="*/ 460 w 766"/>
              <a:gd name="T1" fmla="*/ 0 h 715"/>
              <a:gd name="T2" fmla="*/ 12 w 766"/>
              <a:gd name="T3" fmla="*/ 0 h 715"/>
              <a:gd name="T4" fmla="*/ 0 w 766"/>
              <a:gd name="T5" fmla="*/ 702 h 715"/>
              <a:gd name="T6" fmla="*/ 754 w 766"/>
              <a:gd name="T7" fmla="*/ 715 h 715"/>
              <a:gd name="T8" fmla="*/ 766 w 766"/>
              <a:gd name="T9" fmla="*/ 13 h 715"/>
              <a:gd name="T10" fmla="*/ 447 w 766"/>
              <a:gd name="T11" fmla="*/ 25 h 715"/>
              <a:gd name="T12" fmla="*/ 390 w 766"/>
              <a:gd name="T13" fmla="*/ 79 h 715"/>
              <a:gd name="T14" fmla="*/ 381 w 766"/>
              <a:gd name="T15" fmla="*/ 76 h 715"/>
              <a:gd name="T16" fmla="*/ 319 w 766"/>
              <a:gd name="T17" fmla="*/ 135 h 715"/>
              <a:gd name="T18" fmla="*/ 447 w 766"/>
              <a:gd name="T19" fmla="*/ 25 h 715"/>
              <a:gd name="T20" fmla="*/ 25 w 766"/>
              <a:gd name="T21" fmla="*/ 690 h 715"/>
              <a:gd name="T22" fmla="*/ 294 w 766"/>
              <a:gd name="T23" fmla="*/ 25 h 715"/>
              <a:gd name="T24" fmla="*/ 302 w 766"/>
              <a:gd name="T25" fmla="*/ 178 h 715"/>
              <a:gd name="T26" fmla="*/ 315 w 766"/>
              <a:gd name="T27" fmla="*/ 175 h 715"/>
              <a:gd name="T28" fmla="*/ 451 w 766"/>
              <a:gd name="T29" fmla="*/ 175 h 715"/>
              <a:gd name="T30" fmla="*/ 472 w 766"/>
              <a:gd name="T31" fmla="*/ 166 h 715"/>
              <a:gd name="T32" fmla="*/ 741 w 766"/>
              <a:gd name="T33" fmla="*/ 25 h 715"/>
              <a:gd name="T34" fmla="*/ 249 w 766"/>
              <a:gd name="T35" fmla="*/ 253 h 715"/>
              <a:gd name="T36" fmla="*/ 130 w 766"/>
              <a:gd name="T37" fmla="*/ 354 h 715"/>
              <a:gd name="T38" fmla="*/ 139 w 766"/>
              <a:gd name="T39" fmla="*/ 375 h 715"/>
              <a:gd name="T40" fmla="*/ 179 w 766"/>
              <a:gd name="T41" fmla="*/ 603 h 715"/>
              <a:gd name="T42" fmla="*/ 289 w 766"/>
              <a:gd name="T43" fmla="*/ 616 h 715"/>
              <a:gd name="T44" fmla="*/ 302 w 766"/>
              <a:gd name="T45" fmla="*/ 375 h 715"/>
              <a:gd name="T46" fmla="*/ 353 w 766"/>
              <a:gd name="T47" fmla="*/ 368 h 715"/>
              <a:gd name="T48" fmla="*/ 249 w 766"/>
              <a:gd name="T49" fmla="*/ 253 h 715"/>
              <a:gd name="T50" fmla="*/ 277 w 766"/>
              <a:gd name="T51" fmla="*/ 363 h 715"/>
              <a:gd name="T52" fmla="*/ 203 w 766"/>
              <a:gd name="T53" fmla="*/ 591 h 715"/>
              <a:gd name="T54" fmla="*/ 191 w 766"/>
              <a:gd name="T55" fmla="*/ 351 h 715"/>
              <a:gd name="T56" fmla="*/ 240 w 766"/>
              <a:gd name="T57" fmla="*/ 279 h 715"/>
              <a:gd name="T58" fmla="*/ 289 w 766"/>
              <a:gd name="T59" fmla="*/ 351 h 715"/>
              <a:gd name="T60" fmla="*/ 413 w 766"/>
              <a:gd name="T61" fmla="*/ 368 h 715"/>
              <a:gd name="T62" fmla="*/ 464 w 766"/>
              <a:gd name="T63" fmla="*/ 375 h 715"/>
              <a:gd name="T64" fmla="*/ 477 w 766"/>
              <a:gd name="T65" fmla="*/ 616 h 715"/>
              <a:gd name="T66" fmla="*/ 587 w 766"/>
              <a:gd name="T67" fmla="*/ 603 h 715"/>
              <a:gd name="T68" fmla="*/ 627 w 766"/>
              <a:gd name="T69" fmla="*/ 375 h 715"/>
              <a:gd name="T70" fmla="*/ 636 w 766"/>
              <a:gd name="T71" fmla="*/ 354 h 715"/>
              <a:gd name="T72" fmla="*/ 517 w 766"/>
              <a:gd name="T73" fmla="*/ 253 h 715"/>
              <a:gd name="T74" fmla="*/ 597 w 766"/>
              <a:gd name="T75" fmla="*/ 351 h 715"/>
              <a:gd name="T76" fmla="*/ 562 w 766"/>
              <a:gd name="T77" fmla="*/ 363 h 715"/>
              <a:gd name="T78" fmla="*/ 489 w 766"/>
              <a:gd name="T79" fmla="*/ 591 h 715"/>
              <a:gd name="T80" fmla="*/ 477 w 766"/>
              <a:gd name="T81" fmla="*/ 351 h 715"/>
              <a:gd name="T82" fmla="*/ 526 w 766"/>
              <a:gd name="T83" fmla="*/ 279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66" h="715">
                <a:moveTo>
                  <a:pt x="754" y="0"/>
                </a:moveTo>
                <a:cubicBezTo>
                  <a:pt x="460" y="0"/>
                  <a:pt x="460" y="0"/>
                  <a:pt x="460" y="0"/>
                </a:cubicBezTo>
                <a:cubicBezTo>
                  <a:pt x="306" y="0"/>
                  <a:pt x="306" y="0"/>
                  <a:pt x="306" y="0"/>
                </a:cubicBez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6"/>
                  <a:pt x="0" y="13"/>
                </a:cubicBezTo>
                <a:cubicBezTo>
                  <a:pt x="0" y="702"/>
                  <a:pt x="0" y="702"/>
                  <a:pt x="0" y="702"/>
                </a:cubicBezTo>
                <a:cubicBezTo>
                  <a:pt x="0" y="709"/>
                  <a:pt x="5" y="715"/>
                  <a:pt x="12" y="715"/>
                </a:cubicBezTo>
                <a:cubicBezTo>
                  <a:pt x="754" y="715"/>
                  <a:pt x="754" y="715"/>
                  <a:pt x="754" y="715"/>
                </a:cubicBezTo>
                <a:cubicBezTo>
                  <a:pt x="760" y="715"/>
                  <a:pt x="766" y="709"/>
                  <a:pt x="766" y="702"/>
                </a:cubicBezTo>
                <a:cubicBezTo>
                  <a:pt x="766" y="13"/>
                  <a:pt x="766" y="13"/>
                  <a:pt x="766" y="13"/>
                </a:cubicBezTo>
                <a:cubicBezTo>
                  <a:pt x="766" y="6"/>
                  <a:pt x="760" y="0"/>
                  <a:pt x="754" y="0"/>
                </a:cubicBezTo>
                <a:close/>
                <a:moveTo>
                  <a:pt x="447" y="25"/>
                </a:moveTo>
                <a:cubicBezTo>
                  <a:pt x="447" y="136"/>
                  <a:pt x="447" y="136"/>
                  <a:pt x="447" y="136"/>
                </a:cubicBezTo>
                <a:cubicBezTo>
                  <a:pt x="390" y="79"/>
                  <a:pt x="390" y="79"/>
                  <a:pt x="390" y="79"/>
                </a:cubicBezTo>
                <a:cubicBezTo>
                  <a:pt x="388" y="77"/>
                  <a:pt x="384" y="76"/>
                  <a:pt x="381" y="76"/>
                </a:cubicBezTo>
                <a:cubicBezTo>
                  <a:pt x="381" y="76"/>
                  <a:pt x="381" y="76"/>
                  <a:pt x="381" y="76"/>
                </a:cubicBezTo>
                <a:cubicBezTo>
                  <a:pt x="378" y="76"/>
                  <a:pt x="374" y="77"/>
                  <a:pt x="372" y="80"/>
                </a:cubicBezTo>
                <a:cubicBezTo>
                  <a:pt x="319" y="135"/>
                  <a:pt x="319" y="135"/>
                  <a:pt x="319" y="135"/>
                </a:cubicBezTo>
                <a:cubicBezTo>
                  <a:pt x="319" y="25"/>
                  <a:pt x="319" y="25"/>
                  <a:pt x="319" y="25"/>
                </a:cubicBezTo>
                <a:lnTo>
                  <a:pt x="447" y="25"/>
                </a:lnTo>
                <a:close/>
                <a:moveTo>
                  <a:pt x="741" y="690"/>
                </a:moveTo>
                <a:cubicBezTo>
                  <a:pt x="25" y="690"/>
                  <a:pt x="25" y="690"/>
                  <a:pt x="25" y="690"/>
                </a:cubicBezTo>
                <a:cubicBezTo>
                  <a:pt x="25" y="25"/>
                  <a:pt x="25" y="25"/>
                  <a:pt x="25" y="25"/>
                </a:cubicBezTo>
                <a:cubicBezTo>
                  <a:pt x="294" y="25"/>
                  <a:pt x="294" y="25"/>
                  <a:pt x="294" y="25"/>
                </a:cubicBezTo>
                <a:cubicBezTo>
                  <a:pt x="294" y="166"/>
                  <a:pt x="294" y="166"/>
                  <a:pt x="294" y="166"/>
                </a:cubicBezTo>
                <a:cubicBezTo>
                  <a:pt x="294" y="171"/>
                  <a:pt x="297" y="176"/>
                  <a:pt x="302" y="178"/>
                </a:cubicBezTo>
                <a:cubicBezTo>
                  <a:pt x="303" y="178"/>
                  <a:pt x="305" y="179"/>
                  <a:pt x="306" y="179"/>
                </a:cubicBezTo>
                <a:cubicBezTo>
                  <a:pt x="310" y="179"/>
                  <a:pt x="313" y="177"/>
                  <a:pt x="315" y="175"/>
                </a:cubicBezTo>
                <a:cubicBezTo>
                  <a:pt x="381" y="106"/>
                  <a:pt x="381" y="106"/>
                  <a:pt x="381" y="106"/>
                </a:cubicBezTo>
                <a:cubicBezTo>
                  <a:pt x="451" y="175"/>
                  <a:pt x="451" y="175"/>
                  <a:pt x="451" y="175"/>
                </a:cubicBezTo>
                <a:cubicBezTo>
                  <a:pt x="454" y="179"/>
                  <a:pt x="460" y="180"/>
                  <a:pt x="464" y="178"/>
                </a:cubicBezTo>
                <a:cubicBezTo>
                  <a:pt x="469" y="176"/>
                  <a:pt x="472" y="171"/>
                  <a:pt x="472" y="166"/>
                </a:cubicBezTo>
                <a:cubicBezTo>
                  <a:pt x="472" y="25"/>
                  <a:pt x="472" y="25"/>
                  <a:pt x="472" y="25"/>
                </a:cubicBezTo>
                <a:cubicBezTo>
                  <a:pt x="741" y="25"/>
                  <a:pt x="741" y="25"/>
                  <a:pt x="741" y="25"/>
                </a:cubicBezTo>
                <a:lnTo>
                  <a:pt x="741" y="690"/>
                </a:lnTo>
                <a:close/>
                <a:moveTo>
                  <a:pt x="249" y="253"/>
                </a:moveTo>
                <a:cubicBezTo>
                  <a:pt x="244" y="248"/>
                  <a:pt x="236" y="248"/>
                  <a:pt x="231" y="253"/>
                </a:cubicBezTo>
                <a:cubicBezTo>
                  <a:pt x="130" y="354"/>
                  <a:pt x="130" y="354"/>
                  <a:pt x="130" y="354"/>
                </a:cubicBezTo>
                <a:cubicBezTo>
                  <a:pt x="127" y="358"/>
                  <a:pt x="125" y="363"/>
                  <a:pt x="127" y="368"/>
                </a:cubicBezTo>
                <a:cubicBezTo>
                  <a:pt x="129" y="372"/>
                  <a:pt x="134" y="375"/>
                  <a:pt x="139" y="375"/>
                </a:cubicBezTo>
                <a:cubicBezTo>
                  <a:pt x="179" y="375"/>
                  <a:pt x="179" y="375"/>
                  <a:pt x="179" y="375"/>
                </a:cubicBezTo>
                <a:cubicBezTo>
                  <a:pt x="179" y="603"/>
                  <a:pt x="179" y="603"/>
                  <a:pt x="179" y="603"/>
                </a:cubicBezTo>
                <a:cubicBezTo>
                  <a:pt x="179" y="610"/>
                  <a:pt x="184" y="616"/>
                  <a:pt x="191" y="616"/>
                </a:cubicBezTo>
                <a:cubicBezTo>
                  <a:pt x="289" y="616"/>
                  <a:pt x="289" y="616"/>
                  <a:pt x="289" y="616"/>
                </a:cubicBezTo>
                <a:cubicBezTo>
                  <a:pt x="296" y="616"/>
                  <a:pt x="302" y="610"/>
                  <a:pt x="302" y="603"/>
                </a:cubicBezTo>
                <a:cubicBezTo>
                  <a:pt x="302" y="375"/>
                  <a:pt x="302" y="375"/>
                  <a:pt x="302" y="375"/>
                </a:cubicBezTo>
                <a:cubicBezTo>
                  <a:pt x="341" y="375"/>
                  <a:pt x="341" y="375"/>
                  <a:pt x="341" y="375"/>
                </a:cubicBezTo>
                <a:cubicBezTo>
                  <a:pt x="346" y="375"/>
                  <a:pt x="351" y="372"/>
                  <a:pt x="353" y="368"/>
                </a:cubicBezTo>
                <a:cubicBezTo>
                  <a:pt x="355" y="363"/>
                  <a:pt x="354" y="358"/>
                  <a:pt x="350" y="354"/>
                </a:cubicBezTo>
                <a:lnTo>
                  <a:pt x="249" y="253"/>
                </a:lnTo>
                <a:close/>
                <a:moveTo>
                  <a:pt x="289" y="351"/>
                </a:moveTo>
                <a:cubicBezTo>
                  <a:pt x="282" y="351"/>
                  <a:pt x="277" y="356"/>
                  <a:pt x="277" y="363"/>
                </a:cubicBezTo>
                <a:cubicBezTo>
                  <a:pt x="277" y="591"/>
                  <a:pt x="277" y="591"/>
                  <a:pt x="277" y="591"/>
                </a:cubicBezTo>
                <a:cubicBezTo>
                  <a:pt x="203" y="591"/>
                  <a:pt x="203" y="591"/>
                  <a:pt x="203" y="591"/>
                </a:cubicBezTo>
                <a:cubicBezTo>
                  <a:pt x="203" y="363"/>
                  <a:pt x="203" y="363"/>
                  <a:pt x="203" y="363"/>
                </a:cubicBezTo>
                <a:cubicBezTo>
                  <a:pt x="203" y="356"/>
                  <a:pt x="198" y="351"/>
                  <a:pt x="191" y="351"/>
                </a:cubicBezTo>
                <a:cubicBezTo>
                  <a:pt x="169" y="351"/>
                  <a:pt x="169" y="351"/>
                  <a:pt x="169" y="351"/>
                </a:cubicBezTo>
                <a:cubicBezTo>
                  <a:pt x="240" y="279"/>
                  <a:pt x="240" y="279"/>
                  <a:pt x="240" y="279"/>
                </a:cubicBezTo>
                <a:cubicBezTo>
                  <a:pt x="312" y="351"/>
                  <a:pt x="312" y="351"/>
                  <a:pt x="312" y="351"/>
                </a:cubicBezTo>
                <a:lnTo>
                  <a:pt x="289" y="351"/>
                </a:lnTo>
                <a:close/>
                <a:moveTo>
                  <a:pt x="416" y="354"/>
                </a:moveTo>
                <a:cubicBezTo>
                  <a:pt x="412" y="358"/>
                  <a:pt x="411" y="363"/>
                  <a:pt x="413" y="368"/>
                </a:cubicBezTo>
                <a:cubicBezTo>
                  <a:pt x="415" y="372"/>
                  <a:pt x="419" y="375"/>
                  <a:pt x="424" y="375"/>
                </a:cubicBezTo>
                <a:cubicBezTo>
                  <a:pt x="464" y="375"/>
                  <a:pt x="464" y="375"/>
                  <a:pt x="464" y="375"/>
                </a:cubicBezTo>
                <a:cubicBezTo>
                  <a:pt x="464" y="603"/>
                  <a:pt x="464" y="603"/>
                  <a:pt x="464" y="603"/>
                </a:cubicBezTo>
                <a:cubicBezTo>
                  <a:pt x="464" y="610"/>
                  <a:pt x="470" y="616"/>
                  <a:pt x="477" y="616"/>
                </a:cubicBezTo>
                <a:cubicBezTo>
                  <a:pt x="575" y="616"/>
                  <a:pt x="575" y="616"/>
                  <a:pt x="575" y="616"/>
                </a:cubicBezTo>
                <a:cubicBezTo>
                  <a:pt x="582" y="616"/>
                  <a:pt x="587" y="610"/>
                  <a:pt x="587" y="603"/>
                </a:cubicBezTo>
                <a:cubicBezTo>
                  <a:pt x="587" y="375"/>
                  <a:pt x="587" y="375"/>
                  <a:pt x="587" y="375"/>
                </a:cubicBezTo>
                <a:cubicBezTo>
                  <a:pt x="627" y="375"/>
                  <a:pt x="627" y="375"/>
                  <a:pt x="627" y="375"/>
                </a:cubicBezTo>
                <a:cubicBezTo>
                  <a:pt x="632" y="375"/>
                  <a:pt x="637" y="372"/>
                  <a:pt x="638" y="368"/>
                </a:cubicBezTo>
                <a:cubicBezTo>
                  <a:pt x="640" y="363"/>
                  <a:pt x="639" y="358"/>
                  <a:pt x="636" y="354"/>
                </a:cubicBezTo>
                <a:cubicBezTo>
                  <a:pt x="534" y="253"/>
                  <a:pt x="534" y="253"/>
                  <a:pt x="534" y="253"/>
                </a:cubicBezTo>
                <a:cubicBezTo>
                  <a:pt x="530" y="248"/>
                  <a:pt x="522" y="248"/>
                  <a:pt x="517" y="253"/>
                </a:cubicBezTo>
                <a:lnTo>
                  <a:pt x="416" y="354"/>
                </a:lnTo>
                <a:close/>
                <a:moveTo>
                  <a:pt x="597" y="351"/>
                </a:moveTo>
                <a:cubicBezTo>
                  <a:pt x="575" y="351"/>
                  <a:pt x="575" y="351"/>
                  <a:pt x="575" y="351"/>
                </a:cubicBezTo>
                <a:cubicBezTo>
                  <a:pt x="568" y="351"/>
                  <a:pt x="562" y="356"/>
                  <a:pt x="562" y="363"/>
                </a:cubicBezTo>
                <a:cubicBezTo>
                  <a:pt x="562" y="591"/>
                  <a:pt x="562" y="591"/>
                  <a:pt x="562" y="591"/>
                </a:cubicBezTo>
                <a:cubicBezTo>
                  <a:pt x="489" y="591"/>
                  <a:pt x="489" y="591"/>
                  <a:pt x="489" y="591"/>
                </a:cubicBezTo>
                <a:cubicBezTo>
                  <a:pt x="489" y="363"/>
                  <a:pt x="489" y="363"/>
                  <a:pt x="489" y="363"/>
                </a:cubicBezTo>
                <a:cubicBezTo>
                  <a:pt x="489" y="356"/>
                  <a:pt x="483" y="351"/>
                  <a:pt x="477" y="351"/>
                </a:cubicBezTo>
                <a:cubicBezTo>
                  <a:pt x="454" y="351"/>
                  <a:pt x="454" y="351"/>
                  <a:pt x="454" y="351"/>
                </a:cubicBezTo>
                <a:cubicBezTo>
                  <a:pt x="526" y="279"/>
                  <a:pt x="526" y="279"/>
                  <a:pt x="526" y="279"/>
                </a:cubicBezTo>
                <a:lnTo>
                  <a:pt x="597" y="3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5"/>
          <p:cNvSpPr>
            <a:spLocks noEditPoints="1"/>
          </p:cNvSpPr>
          <p:nvPr/>
        </p:nvSpPr>
        <p:spPr bwMode="auto">
          <a:xfrm>
            <a:off x="5937874" y="2985965"/>
            <a:ext cx="243852" cy="322160"/>
          </a:xfrm>
          <a:custGeom>
            <a:avLst/>
            <a:gdLst>
              <a:gd name="T0" fmla="*/ 84 w 593"/>
              <a:gd name="T1" fmla="*/ 240 h 782"/>
              <a:gd name="T2" fmla="*/ 24 w 593"/>
              <a:gd name="T3" fmla="*/ 163 h 782"/>
              <a:gd name="T4" fmla="*/ 102 w 593"/>
              <a:gd name="T5" fmla="*/ 223 h 782"/>
              <a:gd name="T6" fmla="*/ 179 w 593"/>
              <a:gd name="T7" fmla="*/ 163 h 782"/>
              <a:gd name="T8" fmla="*/ 119 w 593"/>
              <a:gd name="T9" fmla="*/ 240 h 782"/>
              <a:gd name="T10" fmla="*/ 179 w 593"/>
              <a:gd name="T11" fmla="*/ 318 h 782"/>
              <a:gd name="T12" fmla="*/ 162 w 593"/>
              <a:gd name="T13" fmla="*/ 318 h 782"/>
              <a:gd name="T14" fmla="*/ 42 w 593"/>
              <a:gd name="T15" fmla="*/ 318 h 782"/>
              <a:gd name="T16" fmla="*/ 24 w 593"/>
              <a:gd name="T17" fmla="*/ 318 h 782"/>
              <a:gd name="T18" fmla="*/ 550 w 593"/>
              <a:gd name="T19" fmla="*/ 507 h 782"/>
              <a:gd name="T20" fmla="*/ 473 w 593"/>
              <a:gd name="T21" fmla="*/ 567 h 782"/>
              <a:gd name="T22" fmla="*/ 395 w 593"/>
              <a:gd name="T23" fmla="*/ 507 h 782"/>
              <a:gd name="T24" fmla="*/ 455 w 593"/>
              <a:gd name="T25" fmla="*/ 584 h 782"/>
              <a:gd name="T26" fmla="*/ 395 w 593"/>
              <a:gd name="T27" fmla="*/ 662 h 782"/>
              <a:gd name="T28" fmla="*/ 413 w 593"/>
              <a:gd name="T29" fmla="*/ 662 h 782"/>
              <a:gd name="T30" fmla="*/ 533 w 593"/>
              <a:gd name="T31" fmla="*/ 662 h 782"/>
              <a:gd name="T32" fmla="*/ 550 w 593"/>
              <a:gd name="T33" fmla="*/ 662 h 782"/>
              <a:gd name="T34" fmla="*/ 490 w 593"/>
              <a:gd name="T35" fmla="*/ 584 h 782"/>
              <a:gd name="T36" fmla="*/ 550 w 593"/>
              <a:gd name="T37" fmla="*/ 507 h 782"/>
              <a:gd name="T38" fmla="*/ 81 w 593"/>
              <a:gd name="T39" fmla="*/ 782 h 782"/>
              <a:gd name="T40" fmla="*/ 81 w 593"/>
              <a:gd name="T41" fmla="*/ 620 h 782"/>
              <a:gd name="T42" fmla="*/ 137 w 593"/>
              <a:gd name="T43" fmla="*/ 701 h 782"/>
              <a:gd name="T44" fmla="*/ 25 w 593"/>
              <a:gd name="T45" fmla="*/ 701 h 782"/>
              <a:gd name="T46" fmla="*/ 137 w 593"/>
              <a:gd name="T47" fmla="*/ 701 h 782"/>
              <a:gd name="T48" fmla="*/ 494 w 593"/>
              <a:gd name="T49" fmla="*/ 0 h 782"/>
              <a:gd name="T50" fmla="*/ 494 w 593"/>
              <a:gd name="T51" fmla="*/ 163 h 782"/>
              <a:gd name="T52" fmla="*/ 437 w 593"/>
              <a:gd name="T53" fmla="*/ 82 h 782"/>
              <a:gd name="T54" fmla="*/ 550 w 593"/>
              <a:gd name="T55" fmla="*/ 82 h 782"/>
              <a:gd name="T56" fmla="*/ 437 w 593"/>
              <a:gd name="T57" fmla="*/ 82 h 782"/>
              <a:gd name="T58" fmla="*/ 391 w 593"/>
              <a:gd name="T59" fmla="*/ 306 h 782"/>
              <a:gd name="T60" fmla="*/ 481 w 593"/>
              <a:gd name="T61" fmla="*/ 247 h 782"/>
              <a:gd name="T62" fmla="*/ 387 w 593"/>
              <a:gd name="T63" fmla="*/ 383 h 782"/>
              <a:gd name="T64" fmla="*/ 68 w 593"/>
              <a:gd name="T65" fmla="*/ 584 h 782"/>
              <a:gd name="T66" fmla="*/ 93 w 593"/>
              <a:gd name="T67" fmla="*/ 584 h 782"/>
              <a:gd name="T68" fmla="*/ 392 w 593"/>
              <a:gd name="T69" fmla="*/ 407 h 782"/>
              <a:gd name="T70" fmla="*/ 506 w 593"/>
              <a:gd name="T71" fmla="*/ 249 h 782"/>
              <a:gd name="T72" fmla="*/ 593 w 593"/>
              <a:gd name="T73" fmla="*/ 309 h 7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93" h="782">
                <a:moveTo>
                  <a:pt x="24" y="300"/>
                </a:moveTo>
                <a:cubicBezTo>
                  <a:pt x="84" y="240"/>
                  <a:pt x="84" y="240"/>
                  <a:pt x="84" y="240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20" y="175"/>
                  <a:pt x="20" y="168"/>
                  <a:pt x="24" y="163"/>
                </a:cubicBezTo>
                <a:cubicBezTo>
                  <a:pt x="29" y="158"/>
                  <a:pt x="37" y="158"/>
                  <a:pt x="42" y="163"/>
                </a:cubicBezTo>
                <a:cubicBezTo>
                  <a:pt x="102" y="223"/>
                  <a:pt x="102" y="223"/>
                  <a:pt x="102" y="223"/>
                </a:cubicBezTo>
                <a:cubicBezTo>
                  <a:pt x="162" y="163"/>
                  <a:pt x="162" y="163"/>
                  <a:pt x="162" y="163"/>
                </a:cubicBezTo>
                <a:cubicBezTo>
                  <a:pt x="167" y="158"/>
                  <a:pt x="175" y="158"/>
                  <a:pt x="179" y="163"/>
                </a:cubicBezTo>
                <a:cubicBezTo>
                  <a:pt x="184" y="168"/>
                  <a:pt x="184" y="175"/>
                  <a:pt x="179" y="180"/>
                </a:cubicBezTo>
                <a:cubicBezTo>
                  <a:pt x="119" y="240"/>
                  <a:pt x="119" y="240"/>
                  <a:pt x="119" y="240"/>
                </a:cubicBezTo>
                <a:cubicBezTo>
                  <a:pt x="179" y="300"/>
                  <a:pt x="179" y="300"/>
                  <a:pt x="179" y="300"/>
                </a:cubicBezTo>
                <a:cubicBezTo>
                  <a:pt x="184" y="305"/>
                  <a:pt x="184" y="313"/>
                  <a:pt x="179" y="318"/>
                </a:cubicBezTo>
                <a:cubicBezTo>
                  <a:pt x="177" y="320"/>
                  <a:pt x="174" y="321"/>
                  <a:pt x="171" y="321"/>
                </a:cubicBezTo>
                <a:cubicBezTo>
                  <a:pt x="168" y="321"/>
                  <a:pt x="164" y="320"/>
                  <a:pt x="162" y="318"/>
                </a:cubicBezTo>
                <a:cubicBezTo>
                  <a:pt x="102" y="258"/>
                  <a:pt x="102" y="258"/>
                  <a:pt x="102" y="258"/>
                </a:cubicBezTo>
                <a:cubicBezTo>
                  <a:pt x="42" y="318"/>
                  <a:pt x="42" y="318"/>
                  <a:pt x="42" y="318"/>
                </a:cubicBezTo>
                <a:cubicBezTo>
                  <a:pt x="39" y="320"/>
                  <a:pt x="36" y="321"/>
                  <a:pt x="33" y="321"/>
                </a:cubicBezTo>
                <a:cubicBezTo>
                  <a:pt x="30" y="321"/>
                  <a:pt x="27" y="320"/>
                  <a:pt x="24" y="318"/>
                </a:cubicBezTo>
                <a:cubicBezTo>
                  <a:pt x="20" y="313"/>
                  <a:pt x="20" y="305"/>
                  <a:pt x="24" y="300"/>
                </a:cubicBezTo>
                <a:close/>
                <a:moveTo>
                  <a:pt x="550" y="507"/>
                </a:moveTo>
                <a:cubicBezTo>
                  <a:pt x="545" y="502"/>
                  <a:pt x="538" y="502"/>
                  <a:pt x="533" y="507"/>
                </a:cubicBezTo>
                <a:cubicBezTo>
                  <a:pt x="473" y="567"/>
                  <a:pt x="473" y="567"/>
                  <a:pt x="473" y="567"/>
                </a:cubicBezTo>
                <a:cubicBezTo>
                  <a:pt x="413" y="507"/>
                  <a:pt x="413" y="507"/>
                  <a:pt x="413" y="507"/>
                </a:cubicBezTo>
                <a:cubicBezTo>
                  <a:pt x="408" y="502"/>
                  <a:pt x="400" y="502"/>
                  <a:pt x="395" y="507"/>
                </a:cubicBezTo>
                <a:cubicBezTo>
                  <a:pt x="390" y="512"/>
                  <a:pt x="390" y="519"/>
                  <a:pt x="395" y="524"/>
                </a:cubicBezTo>
                <a:cubicBezTo>
                  <a:pt x="455" y="584"/>
                  <a:pt x="455" y="584"/>
                  <a:pt x="455" y="584"/>
                </a:cubicBezTo>
                <a:cubicBezTo>
                  <a:pt x="395" y="644"/>
                  <a:pt x="395" y="644"/>
                  <a:pt x="395" y="644"/>
                </a:cubicBezTo>
                <a:cubicBezTo>
                  <a:pt x="390" y="649"/>
                  <a:pt x="390" y="657"/>
                  <a:pt x="395" y="662"/>
                </a:cubicBezTo>
                <a:cubicBezTo>
                  <a:pt x="397" y="664"/>
                  <a:pt x="401" y="665"/>
                  <a:pt x="404" y="665"/>
                </a:cubicBezTo>
                <a:cubicBezTo>
                  <a:pt x="407" y="665"/>
                  <a:pt x="410" y="664"/>
                  <a:pt x="413" y="662"/>
                </a:cubicBezTo>
                <a:cubicBezTo>
                  <a:pt x="473" y="602"/>
                  <a:pt x="473" y="602"/>
                  <a:pt x="473" y="602"/>
                </a:cubicBezTo>
                <a:cubicBezTo>
                  <a:pt x="533" y="662"/>
                  <a:pt x="533" y="662"/>
                  <a:pt x="533" y="662"/>
                </a:cubicBezTo>
                <a:cubicBezTo>
                  <a:pt x="535" y="664"/>
                  <a:pt x="538" y="665"/>
                  <a:pt x="541" y="665"/>
                </a:cubicBezTo>
                <a:cubicBezTo>
                  <a:pt x="545" y="665"/>
                  <a:pt x="548" y="664"/>
                  <a:pt x="550" y="662"/>
                </a:cubicBezTo>
                <a:cubicBezTo>
                  <a:pt x="555" y="657"/>
                  <a:pt x="555" y="649"/>
                  <a:pt x="550" y="644"/>
                </a:cubicBezTo>
                <a:cubicBezTo>
                  <a:pt x="490" y="584"/>
                  <a:pt x="490" y="584"/>
                  <a:pt x="490" y="584"/>
                </a:cubicBezTo>
                <a:cubicBezTo>
                  <a:pt x="550" y="524"/>
                  <a:pt x="550" y="524"/>
                  <a:pt x="550" y="524"/>
                </a:cubicBezTo>
                <a:cubicBezTo>
                  <a:pt x="555" y="519"/>
                  <a:pt x="555" y="512"/>
                  <a:pt x="550" y="507"/>
                </a:cubicBezTo>
                <a:close/>
                <a:moveTo>
                  <a:pt x="162" y="701"/>
                </a:moveTo>
                <a:cubicBezTo>
                  <a:pt x="162" y="746"/>
                  <a:pt x="126" y="782"/>
                  <a:pt x="81" y="782"/>
                </a:cubicBezTo>
                <a:cubicBezTo>
                  <a:pt x="36" y="782"/>
                  <a:pt x="0" y="746"/>
                  <a:pt x="0" y="701"/>
                </a:cubicBezTo>
                <a:cubicBezTo>
                  <a:pt x="0" y="656"/>
                  <a:pt x="36" y="620"/>
                  <a:pt x="81" y="620"/>
                </a:cubicBezTo>
                <a:cubicBezTo>
                  <a:pt x="126" y="620"/>
                  <a:pt x="162" y="656"/>
                  <a:pt x="162" y="701"/>
                </a:cubicBezTo>
                <a:close/>
                <a:moveTo>
                  <a:pt x="137" y="701"/>
                </a:moveTo>
                <a:cubicBezTo>
                  <a:pt x="137" y="670"/>
                  <a:pt x="112" y="644"/>
                  <a:pt x="81" y="644"/>
                </a:cubicBezTo>
                <a:cubicBezTo>
                  <a:pt x="50" y="644"/>
                  <a:pt x="25" y="670"/>
                  <a:pt x="25" y="701"/>
                </a:cubicBezTo>
                <a:cubicBezTo>
                  <a:pt x="25" y="732"/>
                  <a:pt x="50" y="757"/>
                  <a:pt x="81" y="757"/>
                </a:cubicBezTo>
                <a:cubicBezTo>
                  <a:pt x="112" y="757"/>
                  <a:pt x="137" y="732"/>
                  <a:pt x="137" y="701"/>
                </a:cubicBezTo>
                <a:close/>
                <a:moveTo>
                  <a:pt x="412" y="82"/>
                </a:moveTo>
                <a:cubicBezTo>
                  <a:pt x="412" y="37"/>
                  <a:pt x="449" y="0"/>
                  <a:pt x="494" y="0"/>
                </a:cubicBezTo>
                <a:cubicBezTo>
                  <a:pt x="538" y="0"/>
                  <a:pt x="575" y="37"/>
                  <a:pt x="575" y="82"/>
                </a:cubicBezTo>
                <a:cubicBezTo>
                  <a:pt x="575" y="126"/>
                  <a:pt x="538" y="163"/>
                  <a:pt x="494" y="163"/>
                </a:cubicBezTo>
                <a:cubicBezTo>
                  <a:pt x="449" y="163"/>
                  <a:pt x="412" y="126"/>
                  <a:pt x="412" y="82"/>
                </a:cubicBezTo>
                <a:close/>
                <a:moveTo>
                  <a:pt x="437" y="82"/>
                </a:moveTo>
                <a:cubicBezTo>
                  <a:pt x="437" y="113"/>
                  <a:pt x="463" y="138"/>
                  <a:pt x="494" y="138"/>
                </a:cubicBezTo>
                <a:cubicBezTo>
                  <a:pt x="525" y="138"/>
                  <a:pt x="550" y="113"/>
                  <a:pt x="550" y="82"/>
                </a:cubicBezTo>
                <a:cubicBezTo>
                  <a:pt x="550" y="51"/>
                  <a:pt x="525" y="25"/>
                  <a:pt x="494" y="25"/>
                </a:cubicBezTo>
                <a:cubicBezTo>
                  <a:pt x="463" y="25"/>
                  <a:pt x="437" y="51"/>
                  <a:pt x="437" y="82"/>
                </a:cubicBezTo>
                <a:close/>
                <a:moveTo>
                  <a:pt x="494" y="198"/>
                </a:moveTo>
                <a:cubicBezTo>
                  <a:pt x="391" y="306"/>
                  <a:pt x="391" y="306"/>
                  <a:pt x="391" y="306"/>
                </a:cubicBezTo>
                <a:cubicBezTo>
                  <a:pt x="408" y="323"/>
                  <a:pt x="408" y="323"/>
                  <a:pt x="408" y="323"/>
                </a:cubicBezTo>
                <a:cubicBezTo>
                  <a:pt x="481" y="247"/>
                  <a:pt x="481" y="247"/>
                  <a:pt x="481" y="247"/>
                </a:cubicBezTo>
                <a:cubicBezTo>
                  <a:pt x="481" y="272"/>
                  <a:pt x="481" y="272"/>
                  <a:pt x="481" y="272"/>
                </a:cubicBezTo>
                <a:cubicBezTo>
                  <a:pt x="481" y="325"/>
                  <a:pt x="439" y="374"/>
                  <a:pt x="387" y="383"/>
                </a:cubicBezTo>
                <a:cubicBezTo>
                  <a:pt x="215" y="412"/>
                  <a:pt x="215" y="412"/>
                  <a:pt x="215" y="412"/>
                </a:cubicBezTo>
                <a:cubicBezTo>
                  <a:pt x="130" y="426"/>
                  <a:pt x="68" y="498"/>
                  <a:pt x="68" y="584"/>
                </a:cubicBezTo>
                <a:cubicBezTo>
                  <a:pt x="68" y="591"/>
                  <a:pt x="74" y="597"/>
                  <a:pt x="81" y="597"/>
                </a:cubicBezTo>
                <a:cubicBezTo>
                  <a:pt x="88" y="597"/>
                  <a:pt x="93" y="591"/>
                  <a:pt x="93" y="584"/>
                </a:cubicBezTo>
                <a:cubicBezTo>
                  <a:pt x="93" y="511"/>
                  <a:pt x="146" y="448"/>
                  <a:pt x="219" y="436"/>
                </a:cubicBezTo>
                <a:cubicBezTo>
                  <a:pt x="392" y="407"/>
                  <a:pt x="392" y="407"/>
                  <a:pt x="392" y="407"/>
                </a:cubicBezTo>
                <a:cubicBezTo>
                  <a:pt x="455" y="397"/>
                  <a:pt x="506" y="336"/>
                  <a:pt x="506" y="272"/>
                </a:cubicBezTo>
                <a:cubicBezTo>
                  <a:pt x="506" y="249"/>
                  <a:pt x="506" y="249"/>
                  <a:pt x="506" y="249"/>
                </a:cubicBezTo>
                <a:cubicBezTo>
                  <a:pt x="575" y="326"/>
                  <a:pt x="575" y="326"/>
                  <a:pt x="575" y="326"/>
                </a:cubicBezTo>
                <a:cubicBezTo>
                  <a:pt x="593" y="309"/>
                  <a:pt x="593" y="309"/>
                  <a:pt x="593" y="309"/>
                </a:cubicBezTo>
                <a:lnTo>
                  <a:pt x="494" y="1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6"/>
          <p:cNvSpPr>
            <a:spLocks noEditPoints="1"/>
          </p:cNvSpPr>
          <p:nvPr/>
        </p:nvSpPr>
        <p:spPr bwMode="auto">
          <a:xfrm>
            <a:off x="6080992" y="1904971"/>
            <a:ext cx="391381" cy="389326"/>
          </a:xfrm>
          <a:custGeom>
            <a:avLst/>
            <a:gdLst>
              <a:gd name="T0" fmla="*/ 252 w 916"/>
              <a:gd name="T1" fmla="*/ 749 h 910"/>
              <a:gd name="T2" fmla="*/ 187 w 916"/>
              <a:gd name="T3" fmla="*/ 493 h 910"/>
              <a:gd name="T4" fmla="*/ 124 w 916"/>
              <a:gd name="T5" fmla="*/ 748 h 910"/>
              <a:gd name="T6" fmla="*/ 3 w 916"/>
              <a:gd name="T7" fmla="*/ 859 h 910"/>
              <a:gd name="T8" fmla="*/ 8 w 916"/>
              <a:gd name="T9" fmla="*/ 877 h 910"/>
              <a:gd name="T10" fmla="*/ 365 w 916"/>
              <a:gd name="T11" fmla="*/ 877 h 910"/>
              <a:gd name="T12" fmla="*/ 371 w 916"/>
              <a:gd name="T13" fmla="*/ 859 h 910"/>
              <a:gd name="T14" fmla="*/ 95 w 916"/>
              <a:gd name="T15" fmla="*/ 624 h 910"/>
              <a:gd name="T16" fmla="*/ 279 w 916"/>
              <a:gd name="T17" fmla="*/ 624 h 910"/>
              <a:gd name="T18" fmla="*/ 95 w 916"/>
              <a:gd name="T19" fmla="*/ 624 h 910"/>
              <a:gd name="T20" fmla="*/ 224 w 916"/>
              <a:gd name="T21" fmla="*/ 769 h 910"/>
              <a:gd name="T22" fmla="*/ 149 w 916"/>
              <a:gd name="T23" fmla="*/ 767 h 910"/>
              <a:gd name="T24" fmla="*/ 187 w 916"/>
              <a:gd name="T25" fmla="*/ 885 h 910"/>
              <a:gd name="T26" fmla="*/ 124 w 916"/>
              <a:gd name="T27" fmla="*/ 776 h 910"/>
              <a:gd name="T28" fmla="*/ 194 w 916"/>
              <a:gd name="T29" fmla="*/ 831 h 910"/>
              <a:gd name="T30" fmla="*/ 341 w 916"/>
              <a:gd name="T31" fmla="*/ 860 h 910"/>
              <a:gd name="T32" fmla="*/ 913 w 916"/>
              <a:gd name="T33" fmla="*/ 859 h 910"/>
              <a:gd name="T34" fmla="*/ 793 w 916"/>
              <a:gd name="T35" fmla="*/ 749 h 910"/>
              <a:gd name="T36" fmla="*/ 729 w 916"/>
              <a:gd name="T37" fmla="*/ 493 h 910"/>
              <a:gd name="T38" fmla="*/ 666 w 916"/>
              <a:gd name="T39" fmla="*/ 748 h 910"/>
              <a:gd name="T40" fmla="*/ 544 w 916"/>
              <a:gd name="T41" fmla="*/ 859 h 910"/>
              <a:gd name="T42" fmla="*/ 550 w 916"/>
              <a:gd name="T43" fmla="*/ 877 h 910"/>
              <a:gd name="T44" fmla="*/ 907 w 916"/>
              <a:gd name="T45" fmla="*/ 877 h 910"/>
              <a:gd name="T46" fmla="*/ 913 w 916"/>
              <a:gd name="T47" fmla="*/ 859 h 910"/>
              <a:gd name="T48" fmla="*/ 729 w 916"/>
              <a:gd name="T49" fmla="*/ 518 h 910"/>
              <a:gd name="T50" fmla="*/ 729 w 916"/>
              <a:gd name="T51" fmla="*/ 754 h 910"/>
              <a:gd name="T52" fmla="*/ 729 w 916"/>
              <a:gd name="T53" fmla="*/ 779 h 910"/>
              <a:gd name="T54" fmla="*/ 729 w 916"/>
              <a:gd name="T55" fmla="*/ 805 h 910"/>
              <a:gd name="T56" fmla="*/ 729 w 916"/>
              <a:gd name="T57" fmla="*/ 779 h 910"/>
              <a:gd name="T58" fmla="*/ 574 w 916"/>
              <a:gd name="T59" fmla="*/ 860 h 910"/>
              <a:gd name="T60" fmla="*/ 721 w 916"/>
              <a:gd name="T61" fmla="*/ 831 h 910"/>
              <a:gd name="T62" fmla="*/ 792 w 916"/>
              <a:gd name="T63" fmla="*/ 776 h 910"/>
              <a:gd name="T64" fmla="*/ 729 w 916"/>
              <a:gd name="T65" fmla="*/ 885 h 910"/>
              <a:gd name="T66" fmla="*/ 597 w 916"/>
              <a:gd name="T67" fmla="*/ 655 h 910"/>
              <a:gd name="T68" fmla="*/ 604 w 916"/>
              <a:gd name="T69" fmla="*/ 632 h 910"/>
              <a:gd name="T70" fmla="*/ 540 w 916"/>
              <a:gd name="T71" fmla="*/ 571 h 910"/>
              <a:gd name="T72" fmla="*/ 471 w 916"/>
              <a:gd name="T73" fmla="*/ 427 h 910"/>
              <a:gd name="T74" fmla="*/ 637 w 916"/>
              <a:gd name="T75" fmla="*/ 384 h 910"/>
              <a:gd name="T76" fmla="*/ 643 w 916"/>
              <a:gd name="T77" fmla="*/ 365 h 910"/>
              <a:gd name="T78" fmla="*/ 523 w 916"/>
              <a:gd name="T79" fmla="*/ 255 h 910"/>
              <a:gd name="T80" fmla="*/ 459 w 916"/>
              <a:gd name="T81" fmla="*/ 0 h 910"/>
              <a:gd name="T82" fmla="*/ 396 w 916"/>
              <a:gd name="T83" fmla="*/ 255 h 910"/>
              <a:gd name="T84" fmla="*/ 274 w 916"/>
              <a:gd name="T85" fmla="*/ 365 h 910"/>
              <a:gd name="T86" fmla="*/ 280 w 916"/>
              <a:gd name="T87" fmla="*/ 384 h 910"/>
              <a:gd name="T88" fmla="*/ 446 w 916"/>
              <a:gd name="T89" fmla="*/ 427 h 910"/>
              <a:gd name="T90" fmla="*/ 378 w 916"/>
              <a:gd name="T91" fmla="*/ 571 h 910"/>
              <a:gd name="T92" fmla="*/ 320 w 916"/>
              <a:gd name="T93" fmla="*/ 629 h 910"/>
              <a:gd name="T94" fmla="*/ 327 w 916"/>
              <a:gd name="T95" fmla="*/ 652 h 910"/>
              <a:gd name="T96" fmla="*/ 390 w 916"/>
              <a:gd name="T97" fmla="*/ 612 h 910"/>
              <a:gd name="T98" fmla="*/ 528 w 916"/>
              <a:gd name="T99" fmla="*/ 612 h 910"/>
              <a:gd name="T100" fmla="*/ 367 w 916"/>
              <a:gd name="T101" fmla="*/ 130 h 910"/>
              <a:gd name="T102" fmla="*/ 550 w 916"/>
              <a:gd name="T103" fmla="*/ 130 h 910"/>
              <a:gd name="T104" fmla="*/ 367 w 916"/>
              <a:gd name="T105" fmla="*/ 130 h 910"/>
              <a:gd name="T106" fmla="*/ 495 w 916"/>
              <a:gd name="T107" fmla="*/ 275 h 910"/>
              <a:gd name="T108" fmla="*/ 420 w 916"/>
              <a:gd name="T109" fmla="*/ 273 h 910"/>
              <a:gd name="T110" fmla="*/ 396 w 916"/>
              <a:gd name="T111" fmla="*/ 282 h 910"/>
              <a:gd name="T112" fmla="*/ 466 w 916"/>
              <a:gd name="T113" fmla="*/ 337 h 910"/>
              <a:gd name="T114" fmla="*/ 613 w 916"/>
              <a:gd name="T115" fmla="*/ 366 h 910"/>
              <a:gd name="T116" fmla="*/ 305 w 916"/>
              <a:gd name="T117" fmla="*/ 366 h 910"/>
              <a:gd name="T118" fmla="*/ 459 w 916"/>
              <a:gd name="T119" fmla="*/ 627 h 910"/>
              <a:gd name="T120" fmla="*/ 405 w 916"/>
              <a:gd name="T121" fmla="*/ 587 h 910"/>
              <a:gd name="T122" fmla="*/ 403 w 916"/>
              <a:gd name="T123" fmla="*/ 571 h 910"/>
              <a:gd name="T124" fmla="*/ 515 w 916"/>
              <a:gd name="T125" fmla="*/ 571 h 9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6" h="910">
                <a:moveTo>
                  <a:pt x="252" y="749"/>
                </a:moveTo>
                <a:cubicBezTo>
                  <a:pt x="252" y="749"/>
                  <a:pt x="252" y="749"/>
                  <a:pt x="252" y="749"/>
                </a:cubicBezTo>
                <a:cubicBezTo>
                  <a:pt x="281" y="721"/>
                  <a:pt x="303" y="676"/>
                  <a:pt x="303" y="624"/>
                </a:cubicBezTo>
                <a:cubicBezTo>
                  <a:pt x="303" y="545"/>
                  <a:pt x="258" y="493"/>
                  <a:pt x="187" y="493"/>
                </a:cubicBezTo>
                <a:cubicBezTo>
                  <a:pt x="116" y="493"/>
                  <a:pt x="71" y="545"/>
                  <a:pt x="71" y="624"/>
                </a:cubicBezTo>
                <a:cubicBezTo>
                  <a:pt x="71" y="673"/>
                  <a:pt x="94" y="720"/>
                  <a:pt x="124" y="748"/>
                </a:cubicBezTo>
                <a:cubicBezTo>
                  <a:pt x="123" y="749"/>
                  <a:pt x="123" y="749"/>
                  <a:pt x="122" y="749"/>
                </a:cubicBezTo>
                <a:cubicBezTo>
                  <a:pt x="53" y="782"/>
                  <a:pt x="5" y="856"/>
                  <a:pt x="3" y="859"/>
                </a:cubicBezTo>
                <a:cubicBezTo>
                  <a:pt x="1" y="862"/>
                  <a:pt x="0" y="866"/>
                  <a:pt x="1" y="870"/>
                </a:cubicBezTo>
                <a:cubicBezTo>
                  <a:pt x="2" y="873"/>
                  <a:pt x="5" y="876"/>
                  <a:pt x="8" y="877"/>
                </a:cubicBezTo>
                <a:cubicBezTo>
                  <a:pt x="12" y="879"/>
                  <a:pt x="90" y="910"/>
                  <a:pt x="187" y="910"/>
                </a:cubicBezTo>
                <a:cubicBezTo>
                  <a:pt x="284" y="910"/>
                  <a:pt x="362" y="879"/>
                  <a:pt x="365" y="877"/>
                </a:cubicBezTo>
                <a:cubicBezTo>
                  <a:pt x="369" y="876"/>
                  <a:pt x="372" y="873"/>
                  <a:pt x="373" y="870"/>
                </a:cubicBezTo>
                <a:cubicBezTo>
                  <a:pt x="374" y="866"/>
                  <a:pt x="373" y="862"/>
                  <a:pt x="371" y="859"/>
                </a:cubicBezTo>
                <a:cubicBezTo>
                  <a:pt x="369" y="856"/>
                  <a:pt x="321" y="782"/>
                  <a:pt x="252" y="749"/>
                </a:cubicBezTo>
                <a:close/>
                <a:moveTo>
                  <a:pt x="95" y="624"/>
                </a:moveTo>
                <a:cubicBezTo>
                  <a:pt x="95" y="559"/>
                  <a:pt x="130" y="518"/>
                  <a:pt x="187" y="518"/>
                </a:cubicBezTo>
                <a:cubicBezTo>
                  <a:pt x="243" y="518"/>
                  <a:pt x="279" y="559"/>
                  <a:pt x="279" y="624"/>
                </a:cubicBezTo>
                <a:cubicBezTo>
                  <a:pt x="279" y="694"/>
                  <a:pt x="228" y="754"/>
                  <a:pt x="187" y="754"/>
                </a:cubicBezTo>
                <a:cubicBezTo>
                  <a:pt x="156" y="754"/>
                  <a:pt x="95" y="699"/>
                  <a:pt x="95" y="624"/>
                </a:cubicBezTo>
                <a:close/>
                <a:moveTo>
                  <a:pt x="187" y="779"/>
                </a:moveTo>
                <a:cubicBezTo>
                  <a:pt x="199" y="779"/>
                  <a:pt x="211" y="776"/>
                  <a:pt x="224" y="769"/>
                </a:cubicBezTo>
                <a:cubicBezTo>
                  <a:pt x="209" y="786"/>
                  <a:pt x="195" y="799"/>
                  <a:pt x="187" y="805"/>
                </a:cubicBezTo>
                <a:cubicBezTo>
                  <a:pt x="178" y="798"/>
                  <a:pt x="164" y="785"/>
                  <a:pt x="149" y="767"/>
                </a:cubicBezTo>
                <a:cubicBezTo>
                  <a:pt x="161" y="775"/>
                  <a:pt x="175" y="779"/>
                  <a:pt x="187" y="779"/>
                </a:cubicBezTo>
                <a:close/>
                <a:moveTo>
                  <a:pt x="187" y="885"/>
                </a:moveTo>
                <a:cubicBezTo>
                  <a:pt x="119" y="885"/>
                  <a:pt x="59" y="868"/>
                  <a:pt x="33" y="860"/>
                </a:cubicBezTo>
                <a:cubicBezTo>
                  <a:pt x="48" y="839"/>
                  <a:pt x="82" y="799"/>
                  <a:pt x="124" y="776"/>
                </a:cubicBezTo>
                <a:cubicBezTo>
                  <a:pt x="151" y="810"/>
                  <a:pt x="178" y="830"/>
                  <a:pt x="180" y="831"/>
                </a:cubicBezTo>
                <a:cubicBezTo>
                  <a:pt x="184" y="835"/>
                  <a:pt x="190" y="835"/>
                  <a:pt x="194" y="831"/>
                </a:cubicBezTo>
                <a:cubicBezTo>
                  <a:pt x="196" y="830"/>
                  <a:pt x="223" y="810"/>
                  <a:pt x="250" y="776"/>
                </a:cubicBezTo>
                <a:cubicBezTo>
                  <a:pt x="292" y="799"/>
                  <a:pt x="326" y="839"/>
                  <a:pt x="341" y="860"/>
                </a:cubicBezTo>
                <a:cubicBezTo>
                  <a:pt x="314" y="868"/>
                  <a:pt x="255" y="885"/>
                  <a:pt x="187" y="885"/>
                </a:cubicBezTo>
                <a:close/>
                <a:moveTo>
                  <a:pt x="913" y="859"/>
                </a:moveTo>
                <a:cubicBezTo>
                  <a:pt x="911" y="856"/>
                  <a:pt x="863" y="782"/>
                  <a:pt x="794" y="749"/>
                </a:cubicBezTo>
                <a:cubicBezTo>
                  <a:pt x="794" y="749"/>
                  <a:pt x="794" y="749"/>
                  <a:pt x="793" y="749"/>
                </a:cubicBezTo>
                <a:cubicBezTo>
                  <a:pt x="823" y="721"/>
                  <a:pt x="845" y="676"/>
                  <a:pt x="845" y="624"/>
                </a:cubicBezTo>
                <a:cubicBezTo>
                  <a:pt x="845" y="545"/>
                  <a:pt x="799" y="493"/>
                  <a:pt x="729" y="493"/>
                </a:cubicBezTo>
                <a:cubicBezTo>
                  <a:pt x="658" y="493"/>
                  <a:pt x="612" y="545"/>
                  <a:pt x="612" y="624"/>
                </a:cubicBezTo>
                <a:cubicBezTo>
                  <a:pt x="612" y="673"/>
                  <a:pt x="636" y="720"/>
                  <a:pt x="666" y="748"/>
                </a:cubicBezTo>
                <a:cubicBezTo>
                  <a:pt x="665" y="749"/>
                  <a:pt x="664" y="749"/>
                  <a:pt x="663" y="749"/>
                </a:cubicBezTo>
                <a:cubicBezTo>
                  <a:pt x="595" y="782"/>
                  <a:pt x="546" y="856"/>
                  <a:pt x="544" y="859"/>
                </a:cubicBezTo>
                <a:cubicBezTo>
                  <a:pt x="542" y="862"/>
                  <a:pt x="542" y="866"/>
                  <a:pt x="543" y="870"/>
                </a:cubicBezTo>
                <a:cubicBezTo>
                  <a:pt x="544" y="873"/>
                  <a:pt x="547" y="876"/>
                  <a:pt x="550" y="877"/>
                </a:cubicBezTo>
                <a:cubicBezTo>
                  <a:pt x="553" y="879"/>
                  <a:pt x="631" y="910"/>
                  <a:pt x="729" y="910"/>
                </a:cubicBezTo>
                <a:cubicBezTo>
                  <a:pt x="826" y="910"/>
                  <a:pt x="904" y="879"/>
                  <a:pt x="907" y="877"/>
                </a:cubicBezTo>
                <a:cubicBezTo>
                  <a:pt x="911" y="876"/>
                  <a:pt x="913" y="873"/>
                  <a:pt x="914" y="870"/>
                </a:cubicBezTo>
                <a:cubicBezTo>
                  <a:pt x="916" y="866"/>
                  <a:pt x="915" y="862"/>
                  <a:pt x="913" y="859"/>
                </a:cubicBezTo>
                <a:close/>
                <a:moveTo>
                  <a:pt x="637" y="624"/>
                </a:moveTo>
                <a:cubicBezTo>
                  <a:pt x="637" y="559"/>
                  <a:pt x="672" y="518"/>
                  <a:pt x="729" y="518"/>
                </a:cubicBezTo>
                <a:cubicBezTo>
                  <a:pt x="785" y="518"/>
                  <a:pt x="820" y="559"/>
                  <a:pt x="820" y="624"/>
                </a:cubicBezTo>
                <a:cubicBezTo>
                  <a:pt x="820" y="694"/>
                  <a:pt x="770" y="754"/>
                  <a:pt x="729" y="754"/>
                </a:cubicBezTo>
                <a:cubicBezTo>
                  <a:pt x="697" y="754"/>
                  <a:pt x="637" y="699"/>
                  <a:pt x="637" y="624"/>
                </a:cubicBezTo>
                <a:close/>
                <a:moveTo>
                  <a:pt x="729" y="779"/>
                </a:moveTo>
                <a:cubicBezTo>
                  <a:pt x="741" y="779"/>
                  <a:pt x="753" y="776"/>
                  <a:pt x="765" y="769"/>
                </a:cubicBezTo>
                <a:cubicBezTo>
                  <a:pt x="751" y="786"/>
                  <a:pt x="737" y="799"/>
                  <a:pt x="729" y="805"/>
                </a:cubicBezTo>
                <a:cubicBezTo>
                  <a:pt x="720" y="798"/>
                  <a:pt x="705" y="785"/>
                  <a:pt x="690" y="767"/>
                </a:cubicBezTo>
                <a:cubicBezTo>
                  <a:pt x="703" y="775"/>
                  <a:pt x="716" y="779"/>
                  <a:pt x="729" y="779"/>
                </a:cubicBezTo>
                <a:close/>
                <a:moveTo>
                  <a:pt x="729" y="885"/>
                </a:moveTo>
                <a:cubicBezTo>
                  <a:pt x="661" y="885"/>
                  <a:pt x="601" y="868"/>
                  <a:pt x="574" y="860"/>
                </a:cubicBezTo>
                <a:cubicBezTo>
                  <a:pt x="590" y="839"/>
                  <a:pt x="623" y="799"/>
                  <a:pt x="665" y="776"/>
                </a:cubicBezTo>
                <a:cubicBezTo>
                  <a:pt x="692" y="810"/>
                  <a:pt x="720" y="830"/>
                  <a:pt x="721" y="831"/>
                </a:cubicBezTo>
                <a:cubicBezTo>
                  <a:pt x="726" y="835"/>
                  <a:pt x="732" y="835"/>
                  <a:pt x="736" y="831"/>
                </a:cubicBezTo>
                <a:cubicBezTo>
                  <a:pt x="737" y="830"/>
                  <a:pt x="765" y="810"/>
                  <a:pt x="792" y="776"/>
                </a:cubicBezTo>
                <a:cubicBezTo>
                  <a:pt x="834" y="799"/>
                  <a:pt x="867" y="839"/>
                  <a:pt x="883" y="860"/>
                </a:cubicBezTo>
                <a:cubicBezTo>
                  <a:pt x="856" y="868"/>
                  <a:pt x="797" y="885"/>
                  <a:pt x="729" y="885"/>
                </a:cubicBezTo>
                <a:close/>
                <a:moveTo>
                  <a:pt x="590" y="653"/>
                </a:moveTo>
                <a:cubicBezTo>
                  <a:pt x="592" y="654"/>
                  <a:pt x="595" y="655"/>
                  <a:pt x="597" y="655"/>
                </a:cubicBezTo>
                <a:cubicBezTo>
                  <a:pt x="601" y="655"/>
                  <a:pt x="605" y="653"/>
                  <a:pt x="607" y="650"/>
                </a:cubicBezTo>
                <a:cubicBezTo>
                  <a:pt x="611" y="644"/>
                  <a:pt x="610" y="636"/>
                  <a:pt x="604" y="632"/>
                </a:cubicBezTo>
                <a:cubicBezTo>
                  <a:pt x="538" y="588"/>
                  <a:pt x="538" y="588"/>
                  <a:pt x="538" y="588"/>
                </a:cubicBezTo>
                <a:cubicBezTo>
                  <a:pt x="539" y="583"/>
                  <a:pt x="540" y="577"/>
                  <a:pt x="540" y="571"/>
                </a:cubicBezTo>
                <a:cubicBezTo>
                  <a:pt x="540" y="531"/>
                  <a:pt x="510" y="497"/>
                  <a:pt x="471" y="491"/>
                </a:cubicBezTo>
                <a:cubicBezTo>
                  <a:pt x="471" y="427"/>
                  <a:pt x="471" y="427"/>
                  <a:pt x="471" y="427"/>
                </a:cubicBezTo>
                <a:cubicBezTo>
                  <a:pt x="471" y="422"/>
                  <a:pt x="468" y="417"/>
                  <a:pt x="464" y="416"/>
                </a:cubicBezTo>
                <a:cubicBezTo>
                  <a:pt x="559" y="415"/>
                  <a:pt x="634" y="385"/>
                  <a:pt x="637" y="384"/>
                </a:cubicBezTo>
                <a:cubicBezTo>
                  <a:pt x="641" y="382"/>
                  <a:pt x="643" y="379"/>
                  <a:pt x="644" y="376"/>
                </a:cubicBezTo>
                <a:cubicBezTo>
                  <a:pt x="646" y="372"/>
                  <a:pt x="645" y="368"/>
                  <a:pt x="643" y="365"/>
                </a:cubicBezTo>
                <a:cubicBezTo>
                  <a:pt x="641" y="362"/>
                  <a:pt x="593" y="289"/>
                  <a:pt x="524" y="255"/>
                </a:cubicBezTo>
                <a:cubicBezTo>
                  <a:pt x="524" y="255"/>
                  <a:pt x="524" y="255"/>
                  <a:pt x="523" y="255"/>
                </a:cubicBezTo>
                <a:cubicBezTo>
                  <a:pt x="553" y="227"/>
                  <a:pt x="575" y="182"/>
                  <a:pt x="575" y="130"/>
                </a:cubicBezTo>
                <a:cubicBezTo>
                  <a:pt x="575" y="51"/>
                  <a:pt x="530" y="0"/>
                  <a:pt x="459" y="0"/>
                </a:cubicBezTo>
                <a:cubicBezTo>
                  <a:pt x="388" y="0"/>
                  <a:pt x="342" y="51"/>
                  <a:pt x="342" y="130"/>
                </a:cubicBezTo>
                <a:cubicBezTo>
                  <a:pt x="342" y="180"/>
                  <a:pt x="366" y="226"/>
                  <a:pt x="396" y="255"/>
                </a:cubicBezTo>
                <a:cubicBezTo>
                  <a:pt x="395" y="255"/>
                  <a:pt x="394" y="255"/>
                  <a:pt x="394" y="255"/>
                </a:cubicBezTo>
                <a:cubicBezTo>
                  <a:pt x="325" y="289"/>
                  <a:pt x="276" y="362"/>
                  <a:pt x="274" y="365"/>
                </a:cubicBezTo>
                <a:cubicBezTo>
                  <a:pt x="272" y="368"/>
                  <a:pt x="272" y="372"/>
                  <a:pt x="273" y="376"/>
                </a:cubicBezTo>
                <a:cubicBezTo>
                  <a:pt x="274" y="379"/>
                  <a:pt x="277" y="382"/>
                  <a:pt x="280" y="384"/>
                </a:cubicBezTo>
                <a:cubicBezTo>
                  <a:pt x="283" y="385"/>
                  <a:pt x="359" y="415"/>
                  <a:pt x="454" y="416"/>
                </a:cubicBezTo>
                <a:cubicBezTo>
                  <a:pt x="449" y="417"/>
                  <a:pt x="446" y="422"/>
                  <a:pt x="446" y="427"/>
                </a:cubicBezTo>
                <a:cubicBezTo>
                  <a:pt x="446" y="491"/>
                  <a:pt x="446" y="491"/>
                  <a:pt x="446" y="491"/>
                </a:cubicBezTo>
                <a:cubicBezTo>
                  <a:pt x="408" y="497"/>
                  <a:pt x="378" y="531"/>
                  <a:pt x="378" y="571"/>
                </a:cubicBezTo>
                <a:cubicBezTo>
                  <a:pt x="378" y="577"/>
                  <a:pt x="379" y="583"/>
                  <a:pt x="380" y="589"/>
                </a:cubicBezTo>
                <a:cubicBezTo>
                  <a:pt x="320" y="629"/>
                  <a:pt x="320" y="629"/>
                  <a:pt x="320" y="629"/>
                </a:cubicBezTo>
                <a:cubicBezTo>
                  <a:pt x="314" y="633"/>
                  <a:pt x="313" y="640"/>
                  <a:pt x="316" y="646"/>
                </a:cubicBezTo>
                <a:cubicBezTo>
                  <a:pt x="319" y="650"/>
                  <a:pt x="323" y="652"/>
                  <a:pt x="327" y="652"/>
                </a:cubicBezTo>
                <a:cubicBezTo>
                  <a:pt x="329" y="652"/>
                  <a:pt x="331" y="651"/>
                  <a:pt x="334" y="649"/>
                </a:cubicBezTo>
                <a:cubicBezTo>
                  <a:pt x="390" y="612"/>
                  <a:pt x="390" y="612"/>
                  <a:pt x="390" y="612"/>
                </a:cubicBezTo>
                <a:cubicBezTo>
                  <a:pt x="404" y="636"/>
                  <a:pt x="429" y="652"/>
                  <a:pt x="459" y="652"/>
                </a:cubicBezTo>
                <a:cubicBezTo>
                  <a:pt x="488" y="652"/>
                  <a:pt x="514" y="636"/>
                  <a:pt x="528" y="612"/>
                </a:cubicBezTo>
                <a:lnTo>
                  <a:pt x="590" y="653"/>
                </a:lnTo>
                <a:close/>
                <a:moveTo>
                  <a:pt x="367" y="130"/>
                </a:moveTo>
                <a:cubicBezTo>
                  <a:pt x="367" y="65"/>
                  <a:pt x="402" y="24"/>
                  <a:pt x="459" y="24"/>
                </a:cubicBezTo>
                <a:cubicBezTo>
                  <a:pt x="515" y="24"/>
                  <a:pt x="550" y="65"/>
                  <a:pt x="550" y="130"/>
                </a:cubicBezTo>
                <a:cubicBezTo>
                  <a:pt x="550" y="200"/>
                  <a:pt x="500" y="260"/>
                  <a:pt x="459" y="260"/>
                </a:cubicBezTo>
                <a:cubicBezTo>
                  <a:pt x="427" y="260"/>
                  <a:pt x="367" y="205"/>
                  <a:pt x="367" y="130"/>
                </a:cubicBezTo>
                <a:close/>
                <a:moveTo>
                  <a:pt x="459" y="285"/>
                </a:moveTo>
                <a:cubicBezTo>
                  <a:pt x="471" y="285"/>
                  <a:pt x="483" y="282"/>
                  <a:pt x="495" y="275"/>
                </a:cubicBezTo>
                <a:cubicBezTo>
                  <a:pt x="481" y="292"/>
                  <a:pt x="467" y="305"/>
                  <a:pt x="459" y="312"/>
                </a:cubicBezTo>
                <a:cubicBezTo>
                  <a:pt x="450" y="304"/>
                  <a:pt x="435" y="291"/>
                  <a:pt x="420" y="273"/>
                </a:cubicBezTo>
                <a:cubicBezTo>
                  <a:pt x="433" y="281"/>
                  <a:pt x="446" y="285"/>
                  <a:pt x="459" y="285"/>
                </a:cubicBezTo>
                <a:close/>
                <a:moveTo>
                  <a:pt x="396" y="282"/>
                </a:moveTo>
                <a:cubicBezTo>
                  <a:pt x="422" y="316"/>
                  <a:pt x="450" y="336"/>
                  <a:pt x="451" y="337"/>
                </a:cubicBezTo>
                <a:cubicBezTo>
                  <a:pt x="456" y="341"/>
                  <a:pt x="462" y="341"/>
                  <a:pt x="466" y="337"/>
                </a:cubicBezTo>
                <a:cubicBezTo>
                  <a:pt x="467" y="336"/>
                  <a:pt x="495" y="316"/>
                  <a:pt x="522" y="282"/>
                </a:cubicBezTo>
                <a:cubicBezTo>
                  <a:pt x="564" y="305"/>
                  <a:pt x="598" y="345"/>
                  <a:pt x="613" y="366"/>
                </a:cubicBezTo>
                <a:cubicBezTo>
                  <a:pt x="586" y="375"/>
                  <a:pt x="527" y="391"/>
                  <a:pt x="459" y="391"/>
                </a:cubicBezTo>
                <a:cubicBezTo>
                  <a:pt x="391" y="391"/>
                  <a:pt x="331" y="374"/>
                  <a:pt x="305" y="366"/>
                </a:cubicBezTo>
                <a:cubicBezTo>
                  <a:pt x="320" y="345"/>
                  <a:pt x="354" y="305"/>
                  <a:pt x="396" y="282"/>
                </a:cubicBezTo>
                <a:close/>
                <a:moveTo>
                  <a:pt x="459" y="627"/>
                </a:moveTo>
                <a:cubicBezTo>
                  <a:pt x="436" y="627"/>
                  <a:pt x="416" y="613"/>
                  <a:pt x="407" y="593"/>
                </a:cubicBezTo>
                <a:cubicBezTo>
                  <a:pt x="407" y="591"/>
                  <a:pt x="407" y="589"/>
                  <a:pt x="405" y="587"/>
                </a:cubicBezTo>
                <a:cubicBezTo>
                  <a:pt x="405" y="587"/>
                  <a:pt x="405" y="587"/>
                  <a:pt x="405" y="586"/>
                </a:cubicBezTo>
                <a:cubicBezTo>
                  <a:pt x="404" y="582"/>
                  <a:pt x="403" y="576"/>
                  <a:pt x="403" y="571"/>
                </a:cubicBezTo>
                <a:cubicBezTo>
                  <a:pt x="403" y="540"/>
                  <a:pt x="428" y="515"/>
                  <a:pt x="459" y="515"/>
                </a:cubicBezTo>
                <a:cubicBezTo>
                  <a:pt x="490" y="515"/>
                  <a:pt x="515" y="540"/>
                  <a:pt x="515" y="571"/>
                </a:cubicBezTo>
                <a:cubicBezTo>
                  <a:pt x="515" y="602"/>
                  <a:pt x="490" y="627"/>
                  <a:pt x="459" y="6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8"/>
          <p:cNvSpPr>
            <a:spLocks noEditPoints="1"/>
          </p:cNvSpPr>
          <p:nvPr/>
        </p:nvSpPr>
        <p:spPr bwMode="auto">
          <a:xfrm>
            <a:off x="2799411" y="2064369"/>
            <a:ext cx="307906" cy="268330"/>
          </a:xfrm>
          <a:custGeom>
            <a:avLst/>
            <a:gdLst>
              <a:gd name="T0" fmla="*/ 692 w 935"/>
              <a:gd name="T1" fmla="*/ 2 h 816"/>
              <a:gd name="T2" fmla="*/ 343 w 935"/>
              <a:gd name="T3" fmla="*/ 200 h 816"/>
              <a:gd name="T4" fmla="*/ 350 w 935"/>
              <a:gd name="T5" fmla="*/ 508 h 816"/>
              <a:gd name="T6" fmla="*/ 698 w 935"/>
              <a:gd name="T7" fmla="*/ 697 h 816"/>
              <a:gd name="T8" fmla="*/ 710 w 935"/>
              <a:gd name="T9" fmla="*/ 684 h 816"/>
              <a:gd name="T10" fmla="*/ 704 w 935"/>
              <a:gd name="T11" fmla="*/ 2 h 816"/>
              <a:gd name="T12" fmla="*/ 368 w 935"/>
              <a:gd name="T13" fmla="*/ 489 h 816"/>
              <a:gd name="T14" fmla="*/ 686 w 935"/>
              <a:gd name="T15" fmla="*/ 34 h 816"/>
              <a:gd name="T16" fmla="*/ 116 w 935"/>
              <a:gd name="T17" fmla="*/ 253 h 816"/>
              <a:gd name="T18" fmla="*/ 320 w 935"/>
              <a:gd name="T19" fmla="*/ 221 h 816"/>
              <a:gd name="T20" fmla="*/ 320 w 935"/>
              <a:gd name="T21" fmla="*/ 196 h 816"/>
              <a:gd name="T22" fmla="*/ 99 w 935"/>
              <a:gd name="T23" fmla="*/ 235 h 816"/>
              <a:gd name="T24" fmla="*/ 49 w 935"/>
              <a:gd name="T25" fmla="*/ 288 h 816"/>
              <a:gd name="T26" fmla="*/ 0 w 935"/>
              <a:gd name="T27" fmla="*/ 360 h 816"/>
              <a:gd name="T28" fmla="*/ 66 w 935"/>
              <a:gd name="T29" fmla="*/ 409 h 816"/>
              <a:gd name="T30" fmla="*/ 194 w 935"/>
              <a:gd name="T31" fmla="*/ 501 h 816"/>
              <a:gd name="T32" fmla="*/ 332 w 935"/>
              <a:gd name="T33" fmla="*/ 489 h 816"/>
              <a:gd name="T34" fmla="*/ 194 w 935"/>
              <a:gd name="T35" fmla="*/ 476 h 816"/>
              <a:gd name="T36" fmla="*/ 84 w 935"/>
              <a:gd name="T37" fmla="*/ 367 h 816"/>
              <a:gd name="T38" fmla="*/ 116 w 935"/>
              <a:gd name="T39" fmla="*/ 253 h 816"/>
              <a:gd name="T40" fmla="*/ 25 w 935"/>
              <a:gd name="T41" fmla="*/ 360 h 816"/>
              <a:gd name="T42" fmla="*/ 49 w 935"/>
              <a:gd name="T43" fmla="*/ 313 h 816"/>
              <a:gd name="T44" fmla="*/ 59 w 935"/>
              <a:gd name="T45" fmla="*/ 330 h 816"/>
              <a:gd name="T46" fmla="*/ 60 w 935"/>
              <a:gd name="T47" fmla="*/ 384 h 816"/>
              <a:gd name="T48" fmla="*/ 935 w 935"/>
              <a:gd name="T49" fmla="*/ 348 h 816"/>
              <a:gd name="T50" fmla="*/ 878 w 935"/>
              <a:gd name="T51" fmla="*/ 551 h 816"/>
              <a:gd name="T52" fmla="*/ 867 w 935"/>
              <a:gd name="T53" fmla="*/ 533 h 816"/>
              <a:gd name="T54" fmla="*/ 867 w 935"/>
              <a:gd name="T55" fmla="*/ 164 h 816"/>
              <a:gd name="T56" fmla="*/ 890 w 935"/>
              <a:gd name="T57" fmla="*/ 153 h 816"/>
              <a:gd name="T58" fmla="*/ 826 w 935"/>
              <a:gd name="T59" fmla="*/ 218 h 816"/>
              <a:gd name="T60" fmla="*/ 826 w 935"/>
              <a:gd name="T61" fmla="*/ 479 h 816"/>
              <a:gd name="T62" fmla="*/ 810 w 935"/>
              <a:gd name="T63" fmla="*/ 486 h 816"/>
              <a:gd name="T64" fmla="*/ 826 w 935"/>
              <a:gd name="T65" fmla="*/ 348 h 816"/>
              <a:gd name="T66" fmla="*/ 810 w 935"/>
              <a:gd name="T67" fmla="*/ 211 h 816"/>
              <a:gd name="T68" fmla="*/ 759 w 935"/>
              <a:gd name="T69" fmla="*/ 287 h 816"/>
              <a:gd name="T70" fmla="*/ 759 w 935"/>
              <a:gd name="T71" fmla="*/ 410 h 816"/>
              <a:gd name="T72" fmla="*/ 744 w 935"/>
              <a:gd name="T73" fmla="*/ 419 h 816"/>
              <a:gd name="T74" fmla="*/ 741 w 935"/>
              <a:gd name="T75" fmla="*/ 348 h 816"/>
              <a:gd name="T76" fmla="*/ 744 w 935"/>
              <a:gd name="T77" fmla="*/ 278 h 816"/>
              <a:gd name="T78" fmla="*/ 295 w 935"/>
              <a:gd name="T79" fmla="*/ 522 h 816"/>
              <a:gd name="T80" fmla="*/ 246 w 935"/>
              <a:gd name="T81" fmla="*/ 816 h 816"/>
              <a:gd name="T82" fmla="*/ 174 w 935"/>
              <a:gd name="T83" fmla="*/ 767 h 816"/>
              <a:gd name="T84" fmla="*/ 186 w 935"/>
              <a:gd name="T85" fmla="*/ 510 h 816"/>
              <a:gd name="T86" fmla="*/ 199 w 935"/>
              <a:gd name="T87" fmla="*/ 767 h 816"/>
              <a:gd name="T88" fmla="*/ 246 w 935"/>
              <a:gd name="T89" fmla="*/ 792 h 816"/>
              <a:gd name="T90" fmla="*/ 270 w 935"/>
              <a:gd name="T91" fmla="*/ 522 h 816"/>
              <a:gd name="T92" fmla="*/ 295 w 935"/>
              <a:gd name="T93" fmla="*/ 522 h 8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35" h="816">
                <a:moveTo>
                  <a:pt x="704" y="2"/>
                </a:moveTo>
                <a:cubicBezTo>
                  <a:pt x="701" y="0"/>
                  <a:pt x="696" y="0"/>
                  <a:pt x="692" y="2"/>
                </a:cubicBezTo>
                <a:cubicBezTo>
                  <a:pt x="350" y="189"/>
                  <a:pt x="350" y="189"/>
                  <a:pt x="350" y="189"/>
                </a:cubicBezTo>
                <a:cubicBezTo>
                  <a:pt x="346" y="191"/>
                  <a:pt x="343" y="196"/>
                  <a:pt x="343" y="200"/>
                </a:cubicBezTo>
                <a:cubicBezTo>
                  <a:pt x="343" y="497"/>
                  <a:pt x="343" y="497"/>
                  <a:pt x="343" y="497"/>
                </a:cubicBezTo>
                <a:cubicBezTo>
                  <a:pt x="343" y="501"/>
                  <a:pt x="346" y="505"/>
                  <a:pt x="350" y="508"/>
                </a:cubicBezTo>
                <a:cubicBezTo>
                  <a:pt x="692" y="695"/>
                  <a:pt x="692" y="695"/>
                  <a:pt x="692" y="695"/>
                </a:cubicBezTo>
                <a:cubicBezTo>
                  <a:pt x="694" y="696"/>
                  <a:pt x="696" y="697"/>
                  <a:pt x="698" y="697"/>
                </a:cubicBezTo>
                <a:cubicBezTo>
                  <a:pt x="700" y="697"/>
                  <a:pt x="702" y="696"/>
                  <a:pt x="704" y="695"/>
                </a:cubicBezTo>
                <a:cubicBezTo>
                  <a:pt x="708" y="693"/>
                  <a:pt x="710" y="689"/>
                  <a:pt x="710" y="684"/>
                </a:cubicBezTo>
                <a:cubicBezTo>
                  <a:pt x="710" y="13"/>
                  <a:pt x="710" y="13"/>
                  <a:pt x="710" y="13"/>
                </a:cubicBezTo>
                <a:cubicBezTo>
                  <a:pt x="710" y="8"/>
                  <a:pt x="708" y="4"/>
                  <a:pt x="704" y="2"/>
                </a:cubicBezTo>
                <a:close/>
                <a:moveTo>
                  <a:pt x="686" y="663"/>
                </a:moveTo>
                <a:cubicBezTo>
                  <a:pt x="368" y="489"/>
                  <a:pt x="368" y="489"/>
                  <a:pt x="368" y="489"/>
                </a:cubicBezTo>
                <a:cubicBezTo>
                  <a:pt x="368" y="207"/>
                  <a:pt x="368" y="207"/>
                  <a:pt x="368" y="207"/>
                </a:cubicBezTo>
                <a:cubicBezTo>
                  <a:pt x="686" y="34"/>
                  <a:pt x="686" y="34"/>
                  <a:pt x="686" y="34"/>
                </a:cubicBezTo>
                <a:lnTo>
                  <a:pt x="686" y="663"/>
                </a:lnTo>
                <a:close/>
                <a:moveTo>
                  <a:pt x="116" y="253"/>
                </a:moveTo>
                <a:cubicBezTo>
                  <a:pt x="137" y="232"/>
                  <a:pt x="164" y="221"/>
                  <a:pt x="194" y="221"/>
                </a:cubicBezTo>
                <a:cubicBezTo>
                  <a:pt x="320" y="221"/>
                  <a:pt x="320" y="221"/>
                  <a:pt x="320" y="221"/>
                </a:cubicBezTo>
                <a:cubicBezTo>
                  <a:pt x="327" y="221"/>
                  <a:pt x="332" y="215"/>
                  <a:pt x="332" y="208"/>
                </a:cubicBezTo>
                <a:cubicBezTo>
                  <a:pt x="332" y="201"/>
                  <a:pt x="327" y="196"/>
                  <a:pt x="320" y="196"/>
                </a:cubicBezTo>
                <a:cubicBezTo>
                  <a:pt x="194" y="196"/>
                  <a:pt x="194" y="196"/>
                  <a:pt x="194" y="196"/>
                </a:cubicBezTo>
                <a:cubicBezTo>
                  <a:pt x="158" y="196"/>
                  <a:pt x="124" y="210"/>
                  <a:pt x="99" y="235"/>
                </a:cubicBezTo>
                <a:cubicBezTo>
                  <a:pt x="84" y="250"/>
                  <a:pt x="73" y="268"/>
                  <a:pt x="66" y="288"/>
                </a:cubicBezTo>
                <a:cubicBezTo>
                  <a:pt x="49" y="288"/>
                  <a:pt x="49" y="288"/>
                  <a:pt x="49" y="288"/>
                </a:cubicBezTo>
                <a:cubicBezTo>
                  <a:pt x="22" y="288"/>
                  <a:pt x="0" y="310"/>
                  <a:pt x="0" y="337"/>
                </a:cubicBezTo>
                <a:cubicBezTo>
                  <a:pt x="0" y="360"/>
                  <a:pt x="0" y="360"/>
                  <a:pt x="0" y="360"/>
                </a:cubicBezTo>
                <a:cubicBezTo>
                  <a:pt x="0" y="387"/>
                  <a:pt x="22" y="409"/>
                  <a:pt x="49" y="409"/>
                </a:cubicBezTo>
                <a:cubicBezTo>
                  <a:pt x="66" y="409"/>
                  <a:pt x="66" y="409"/>
                  <a:pt x="66" y="409"/>
                </a:cubicBezTo>
                <a:cubicBezTo>
                  <a:pt x="73" y="429"/>
                  <a:pt x="84" y="447"/>
                  <a:pt x="99" y="462"/>
                </a:cubicBezTo>
                <a:cubicBezTo>
                  <a:pt x="124" y="487"/>
                  <a:pt x="158" y="501"/>
                  <a:pt x="194" y="501"/>
                </a:cubicBezTo>
                <a:cubicBezTo>
                  <a:pt x="320" y="501"/>
                  <a:pt x="320" y="501"/>
                  <a:pt x="320" y="501"/>
                </a:cubicBezTo>
                <a:cubicBezTo>
                  <a:pt x="327" y="501"/>
                  <a:pt x="332" y="496"/>
                  <a:pt x="332" y="489"/>
                </a:cubicBezTo>
                <a:cubicBezTo>
                  <a:pt x="332" y="482"/>
                  <a:pt x="327" y="476"/>
                  <a:pt x="320" y="476"/>
                </a:cubicBezTo>
                <a:cubicBezTo>
                  <a:pt x="194" y="476"/>
                  <a:pt x="194" y="476"/>
                  <a:pt x="194" y="476"/>
                </a:cubicBezTo>
                <a:cubicBezTo>
                  <a:pt x="164" y="476"/>
                  <a:pt x="137" y="465"/>
                  <a:pt x="116" y="444"/>
                </a:cubicBezTo>
                <a:cubicBezTo>
                  <a:pt x="95" y="423"/>
                  <a:pt x="84" y="396"/>
                  <a:pt x="84" y="367"/>
                </a:cubicBezTo>
                <a:cubicBezTo>
                  <a:pt x="84" y="330"/>
                  <a:pt x="84" y="330"/>
                  <a:pt x="84" y="330"/>
                </a:cubicBezTo>
                <a:cubicBezTo>
                  <a:pt x="84" y="301"/>
                  <a:pt x="95" y="273"/>
                  <a:pt x="116" y="253"/>
                </a:cubicBezTo>
                <a:close/>
                <a:moveTo>
                  <a:pt x="49" y="384"/>
                </a:moveTo>
                <a:cubicBezTo>
                  <a:pt x="36" y="384"/>
                  <a:pt x="25" y="373"/>
                  <a:pt x="25" y="360"/>
                </a:cubicBezTo>
                <a:cubicBezTo>
                  <a:pt x="25" y="337"/>
                  <a:pt x="25" y="337"/>
                  <a:pt x="25" y="337"/>
                </a:cubicBezTo>
                <a:cubicBezTo>
                  <a:pt x="25" y="324"/>
                  <a:pt x="36" y="313"/>
                  <a:pt x="49" y="313"/>
                </a:cubicBezTo>
                <a:cubicBezTo>
                  <a:pt x="60" y="313"/>
                  <a:pt x="60" y="313"/>
                  <a:pt x="60" y="313"/>
                </a:cubicBezTo>
                <a:cubicBezTo>
                  <a:pt x="60" y="318"/>
                  <a:pt x="59" y="324"/>
                  <a:pt x="59" y="330"/>
                </a:cubicBezTo>
                <a:cubicBezTo>
                  <a:pt x="59" y="367"/>
                  <a:pt x="59" y="367"/>
                  <a:pt x="59" y="367"/>
                </a:cubicBezTo>
                <a:cubicBezTo>
                  <a:pt x="59" y="373"/>
                  <a:pt x="60" y="378"/>
                  <a:pt x="60" y="384"/>
                </a:cubicBezTo>
                <a:lnTo>
                  <a:pt x="49" y="384"/>
                </a:lnTo>
                <a:close/>
                <a:moveTo>
                  <a:pt x="935" y="348"/>
                </a:moveTo>
                <a:cubicBezTo>
                  <a:pt x="935" y="417"/>
                  <a:pt x="919" y="483"/>
                  <a:pt x="890" y="544"/>
                </a:cubicBezTo>
                <a:cubicBezTo>
                  <a:pt x="887" y="548"/>
                  <a:pt x="883" y="551"/>
                  <a:pt x="878" y="551"/>
                </a:cubicBezTo>
                <a:cubicBezTo>
                  <a:pt x="877" y="551"/>
                  <a:pt x="875" y="550"/>
                  <a:pt x="873" y="549"/>
                </a:cubicBezTo>
                <a:cubicBezTo>
                  <a:pt x="867" y="546"/>
                  <a:pt x="864" y="539"/>
                  <a:pt x="867" y="533"/>
                </a:cubicBezTo>
                <a:cubicBezTo>
                  <a:pt x="895" y="475"/>
                  <a:pt x="910" y="413"/>
                  <a:pt x="910" y="348"/>
                </a:cubicBezTo>
                <a:cubicBezTo>
                  <a:pt x="910" y="284"/>
                  <a:pt x="895" y="222"/>
                  <a:pt x="867" y="164"/>
                </a:cubicBezTo>
                <a:cubicBezTo>
                  <a:pt x="864" y="158"/>
                  <a:pt x="867" y="150"/>
                  <a:pt x="873" y="147"/>
                </a:cubicBezTo>
                <a:cubicBezTo>
                  <a:pt x="879" y="144"/>
                  <a:pt x="887" y="147"/>
                  <a:pt x="890" y="153"/>
                </a:cubicBezTo>
                <a:cubicBezTo>
                  <a:pt x="919" y="214"/>
                  <a:pt x="935" y="280"/>
                  <a:pt x="935" y="348"/>
                </a:cubicBezTo>
                <a:close/>
                <a:moveTo>
                  <a:pt x="826" y="218"/>
                </a:moveTo>
                <a:cubicBezTo>
                  <a:pt x="842" y="260"/>
                  <a:pt x="850" y="303"/>
                  <a:pt x="850" y="348"/>
                </a:cubicBezTo>
                <a:cubicBezTo>
                  <a:pt x="850" y="393"/>
                  <a:pt x="842" y="437"/>
                  <a:pt x="826" y="479"/>
                </a:cubicBezTo>
                <a:cubicBezTo>
                  <a:pt x="824" y="484"/>
                  <a:pt x="819" y="487"/>
                  <a:pt x="814" y="487"/>
                </a:cubicBezTo>
                <a:cubicBezTo>
                  <a:pt x="813" y="487"/>
                  <a:pt x="811" y="486"/>
                  <a:pt x="810" y="486"/>
                </a:cubicBezTo>
                <a:cubicBezTo>
                  <a:pt x="804" y="483"/>
                  <a:pt x="800" y="476"/>
                  <a:pt x="803" y="470"/>
                </a:cubicBezTo>
                <a:cubicBezTo>
                  <a:pt x="818" y="431"/>
                  <a:pt x="826" y="390"/>
                  <a:pt x="826" y="348"/>
                </a:cubicBezTo>
                <a:cubicBezTo>
                  <a:pt x="826" y="307"/>
                  <a:pt x="818" y="266"/>
                  <a:pt x="803" y="227"/>
                </a:cubicBezTo>
                <a:cubicBezTo>
                  <a:pt x="800" y="221"/>
                  <a:pt x="804" y="213"/>
                  <a:pt x="810" y="211"/>
                </a:cubicBezTo>
                <a:cubicBezTo>
                  <a:pt x="816" y="208"/>
                  <a:pt x="824" y="212"/>
                  <a:pt x="826" y="218"/>
                </a:cubicBezTo>
                <a:close/>
                <a:moveTo>
                  <a:pt x="759" y="287"/>
                </a:moveTo>
                <a:cubicBezTo>
                  <a:pt x="764" y="307"/>
                  <a:pt x="766" y="328"/>
                  <a:pt x="766" y="348"/>
                </a:cubicBezTo>
                <a:cubicBezTo>
                  <a:pt x="766" y="369"/>
                  <a:pt x="764" y="390"/>
                  <a:pt x="759" y="410"/>
                </a:cubicBezTo>
                <a:cubicBezTo>
                  <a:pt x="758" y="416"/>
                  <a:pt x="753" y="419"/>
                  <a:pt x="747" y="419"/>
                </a:cubicBezTo>
                <a:cubicBezTo>
                  <a:pt x="746" y="419"/>
                  <a:pt x="745" y="419"/>
                  <a:pt x="744" y="419"/>
                </a:cubicBezTo>
                <a:cubicBezTo>
                  <a:pt x="738" y="418"/>
                  <a:pt x="734" y="411"/>
                  <a:pt x="735" y="404"/>
                </a:cubicBezTo>
                <a:cubicBezTo>
                  <a:pt x="739" y="386"/>
                  <a:pt x="741" y="367"/>
                  <a:pt x="741" y="348"/>
                </a:cubicBezTo>
                <a:cubicBezTo>
                  <a:pt x="741" y="330"/>
                  <a:pt x="739" y="311"/>
                  <a:pt x="735" y="293"/>
                </a:cubicBezTo>
                <a:cubicBezTo>
                  <a:pt x="734" y="286"/>
                  <a:pt x="738" y="279"/>
                  <a:pt x="744" y="278"/>
                </a:cubicBezTo>
                <a:cubicBezTo>
                  <a:pt x="751" y="276"/>
                  <a:pt x="758" y="280"/>
                  <a:pt x="759" y="287"/>
                </a:cubicBezTo>
                <a:close/>
                <a:moveTo>
                  <a:pt x="295" y="522"/>
                </a:moveTo>
                <a:cubicBezTo>
                  <a:pt x="295" y="767"/>
                  <a:pt x="295" y="767"/>
                  <a:pt x="295" y="767"/>
                </a:cubicBezTo>
                <a:cubicBezTo>
                  <a:pt x="295" y="794"/>
                  <a:pt x="273" y="816"/>
                  <a:pt x="246" y="816"/>
                </a:cubicBezTo>
                <a:cubicBezTo>
                  <a:pt x="223" y="816"/>
                  <a:pt x="223" y="816"/>
                  <a:pt x="223" y="816"/>
                </a:cubicBezTo>
                <a:cubicBezTo>
                  <a:pt x="196" y="816"/>
                  <a:pt x="174" y="794"/>
                  <a:pt x="174" y="767"/>
                </a:cubicBezTo>
                <a:cubicBezTo>
                  <a:pt x="174" y="522"/>
                  <a:pt x="174" y="522"/>
                  <a:pt x="174" y="522"/>
                </a:cubicBezTo>
                <a:cubicBezTo>
                  <a:pt x="174" y="516"/>
                  <a:pt x="180" y="510"/>
                  <a:pt x="186" y="510"/>
                </a:cubicBezTo>
                <a:cubicBezTo>
                  <a:pt x="193" y="510"/>
                  <a:pt x="199" y="516"/>
                  <a:pt x="199" y="522"/>
                </a:cubicBezTo>
                <a:cubicBezTo>
                  <a:pt x="199" y="767"/>
                  <a:pt x="199" y="767"/>
                  <a:pt x="199" y="767"/>
                </a:cubicBezTo>
                <a:cubicBezTo>
                  <a:pt x="199" y="780"/>
                  <a:pt x="210" y="792"/>
                  <a:pt x="223" y="792"/>
                </a:cubicBezTo>
                <a:cubicBezTo>
                  <a:pt x="246" y="792"/>
                  <a:pt x="246" y="792"/>
                  <a:pt x="246" y="792"/>
                </a:cubicBezTo>
                <a:cubicBezTo>
                  <a:pt x="259" y="792"/>
                  <a:pt x="270" y="780"/>
                  <a:pt x="270" y="767"/>
                </a:cubicBezTo>
                <a:cubicBezTo>
                  <a:pt x="270" y="522"/>
                  <a:pt x="270" y="522"/>
                  <a:pt x="270" y="522"/>
                </a:cubicBezTo>
                <a:cubicBezTo>
                  <a:pt x="270" y="516"/>
                  <a:pt x="276" y="510"/>
                  <a:pt x="283" y="510"/>
                </a:cubicBezTo>
                <a:cubicBezTo>
                  <a:pt x="290" y="510"/>
                  <a:pt x="295" y="516"/>
                  <a:pt x="295" y="5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35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Mapa</a:t>
            </a:r>
            <a:r>
              <a:rPr lang="en-US" dirty="0">
                <a:solidFill>
                  <a:srgbClr val="EC0000"/>
                </a:solidFill>
              </a:rPr>
              <a:t> mental </a:t>
            </a:r>
            <a:r>
              <a:rPr lang="en-US" dirty="0"/>
              <a:t>de </a:t>
            </a:r>
            <a:r>
              <a:rPr lang="en-US" dirty="0" err="1"/>
              <a:t>ideias</a:t>
            </a:r>
            <a:r>
              <a:rPr lang="en-US" dirty="0"/>
              <a:t> de </a:t>
            </a:r>
            <a:r>
              <a:rPr lang="en-US" dirty="0" err="1"/>
              <a:t>negóci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</p:spPr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3"/>
          <p:cNvSpPr/>
          <p:nvPr/>
        </p:nvSpPr>
        <p:spPr>
          <a:xfrm>
            <a:off x="4028452" y="2452848"/>
            <a:ext cx="991818" cy="991817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accent3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2073720" y="1544263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1483148" y="2174812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2278663" y="2781031"/>
            <a:ext cx="762720" cy="762719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3146404" y="3280598"/>
            <a:ext cx="753335" cy="753334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4021029" y="1519293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3036003" y="1519293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4864847" y="1519293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5679288" y="1519293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597134" y="1483705"/>
            <a:ext cx="794301" cy="79430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6901782" y="2308085"/>
            <a:ext cx="759070" cy="75907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5998118" y="2825797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5197547" y="3272522"/>
            <a:ext cx="769488" cy="769487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4187768" y="3727016"/>
            <a:ext cx="673186" cy="673185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rgbClr val="EC0000"/>
              </a:solidFill>
            </a:endParaRPr>
          </a:p>
        </p:txBody>
      </p:sp>
      <p:cxnSp>
        <p:nvCxnSpPr>
          <p:cNvPr id="18" name="Straight Connector 17"/>
          <p:cNvCxnSpPr>
            <a:stCxn id="5" idx="31"/>
            <a:endCxn id="4" idx="62"/>
          </p:cNvCxnSpPr>
          <p:nvPr/>
        </p:nvCxnSpPr>
        <p:spPr>
          <a:xfrm>
            <a:off x="4390615" y="2190857"/>
            <a:ext cx="36998" cy="27151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6" idx="24"/>
            <a:endCxn id="4" idx="55"/>
          </p:cNvCxnSpPr>
          <p:nvPr/>
        </p:nvCxnSpPr>
        <p:spPr>
          <a:xfrm>
            <a:off x="3610604" y="2093893"/>
            <a:ext cx="530414" cy="54026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7" idx="22"/>
            <a:endCxn id="4" idx="53"/>
          </p:cNvCxnSpPr>
          <p:nvPr/>
        </p:nvCxnSpPr>
        <p:spPr>
          <a:xfrm>
            <a:off x="2690180" y="2067856"/>
            <a:ext cx="1396829" cy="647129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8" idx="17"/>
            <a:endCxn id="4" idx="50"/>
          </p:cNvCxnSpPr>
          <p:nvPr/>
        </p:nvCxnSpPr>
        <p:spPr>
          <a:xfrm>
            <a:off x="2154712" y="2544398"/>
            <a:ext cx="1883266" cy="30761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9" idx="15"/>
            <a:endCxn id="4" idx="47"/>
          </p:cNvCxnSpPr>
          <p:nvPr/>
        </p:nvCxnSpPr>
        <p:spPr>
          <a:xfrm flipV="1">
            <a:off x="3039545" y="2997365"/>
            <a:ext cx="991297" cy="127644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0" idx="8"/>
            <a:endCxn id="4" idx="43"/>
          </p:cNvCxnSpPr>
          <p:nvPr/>
        </p:nvCxnSpPr>
        <p:spPr>
          <a:xfrm flipV="1">
            <a:off x="3789416" y="3182528"/>
            <a:ext cx="297593" cy="20839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17" idx="0"/>
            <a:endCxn id="4" idx="32"/>
          </p:cNvCxnSpPr>
          <p:nvPr/>
        </p:nvCxnSpPr>
        <p:spPr>
          <a:xfrm flipV="1">
            <a:off x="4524361" y="3444664"/>
            <a:ext cx="0" cy="28235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stCxn id="11" idx="37"/>
            <a:endCxn id="4" idx="7"/>
          </p:cNvCxnSpPr>
          <p:nvPr/>
        </p:nvCxnSpPr>
        <p:spPr>
          <a:xfrm flipH="1">
            <a:off x="4838960" y="2152733"/>
            <a:ext cx="203809" cy="41268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12" idx="40"/>
            <a:endCxn id="4" idx="10"/>
          </p:cNvCxnSpPr>
          <p:nvPr/>
        </p:nvCxnSpPr>
        <p:spPr>
          <a:xfrm flipH="1">
            <a:off x="4936694" y="2093892"/>
            <a:ext cx="841180" cy="57935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13" idx="43"/>
            <a:endCxn id="4" idx="12"/>
          </p:cNvCxnSpPr>
          <p:nvPr/>
        </p:nvCxnSpPr>
        <p:spPr>
          <a:xfrm flipH="1">
            <a:off x="4982521" y="2068071"/>
            <a:ext cx="1661509" cy="69091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>
            <a:stCxn id="14" idx="48"/>
            <a:endCxn id="4" idx="14"/>
          </p:cNvCxnSpPr>
          <p:nvPr/>
        </p:nvCxnSpPr>
        <p:spPr>
          <a:xfrm flipH="1">
            <a:off x="5010744" y="2687620"/>
            <a:ext cx="1891038" cy="16439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15" idx="51"/>
            <a:endCxn id="4" idx="16"/>
          </p:cNvCxnSpPr>
          <p:nvPr/>
        </p:nvCxnSpPr>
        <p:spPr>
          <a:xfrm flipH="1" flipV="1">
            <a:off x="5020270" y="2948757"/>
            <a:ext cx="992342" cy="11592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>
            <a:stCxn id="16" idx="54"/>
            <a:endCxn id="4" idx="22"/>
          </p:cNvCxnSpPr>
          <p:nvPr/>
        </p:nvCxnSpPr>
        <p:spPr>
          <a:xfrm flipH="1" flipV="1">
            <a:off x="4936694" y="3224268"/>
            <a:ext cx="325694" cy="219245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5"/>
          <p:cNvSpPr>
            <a:spLocks noEditPoints="1"/>
          </p:cNvSpPr>
          <p:nvPr/>
        </p:nvSpPr>
        <p:spPr bwMode="auto">
          <a:xfrm>
            <a:off x="4329417" y="2656036"/>
            <a:ext cx="380696" cy="574492"/>
          </a:xfrm>
          <a:custGeom>
            <a:avLst/>
            <a:gdLst>
              <a:gd name="T0" fmla="*/ 862 w 1615"/>
              <a:gd name="T1" fmla="*/ 2 h 2440"/>
              <a:gd name="T2" fmla="*/ 800 w 1615"/>
              <a:gd name="T3" fmla="*/ 0 h 2440"/>
              <a:gd name="T4" fmla="*/ 65 w 1615"/>
              <a:gd name="T5" fmla="*/ 1120 h 2440"/>
              <a:gd name="T6" fmla="*/ 151 w 1615"/>
              <a:gd name="T7" fmla="*/ 1272 h 2440"/>
              <a:gd name="T8" fmla="*/ 464 w 1615"/>
              <a:gd name="T9" fmla="*/ 1915 h 2440"/>
              <a:gd name="T10" fmla="*/ 464 w 1615"/>
              <a:gd name="T11" fmla="*/ 2139 h 2440"/>
              <a:gd name="T12" fmla="*/ 531 w 1615"/>
              <a:gd name="T13" fmla="*/ 2307 h 2440"/>
              <a:gd name="T14" fmla="*/ 1078 w 1615"/>
              <a:gd name="T15" fmla="*/ 2307 h 2440"/>
              <a:gd name="T16" fmla="*/ 1144 w 1615"/>
              <a:gd name="T17" fmla="*/ 2139 h 2440"/>
              <a:gd name="T18" fmla="*/ 1144 w 1615"/>
              <a:gd name="T19" fmla="*/ 1915 h 2440"/>
              <a:gd name="T20" fmla="*/ 1447 w 1615"/>
              <a:gd name="T21" fmla="*/ 1287 h 2440"/>
              <a:gd name="T22" fmla="*/ 1539 w 1615"/>
              <a:gd name="T23" fmla="*/ 1128 h 2440"/>
              <a:gd name="T24" fmla="*/ 1547 w 1615"/>
              <a:gd name="T25" fmla="*/ 1111 h 2440"/>
              <a:gd name="T26" fmla="*/ 1591 w 1615"/>
              <a:gd name="T27" fmla="*/ 963 h 2440"/>
              <a:gd name="T28" fmla="*/ 1307 w 1615"/>
              <a:gd name="T29" fmla="*/ 939 h 2440"/>
              <a:gd name="T30" fmla="*/ 1315 w 1615"/>
              <a:gd name="T31" fmla="*/ 1056 h 2440"/>
              <a:gd name="T32" fmla="*/ 1073 w 1615"/>
              <a:gd name="T33" fmla="*/ 980 h 2440"/>
              <a:gd name="T34" fmla="*/ 828 w 1615"/>
              <a:gd name="T35" fmla="*/ 939 h 2440"/>
              <a:gd name="T36" fmla="*/ 1078 w 1615"/>
              <a:gd name="T37" fmla="*/ 464 h 2440"/>
              <a:gd name="T38" fmla="*/ 828 w 1615"/>
              <a:gd name="T39" fmla="*/ 49 h 2440"/>
              <a:gd name="T40" fmla="*/ 289 w 1615"/>
              <a:gd name="T41" fmla="*/ 251 h 2440"/>
              <a:gd name="T42" fmla="*/ 793 w 1615"/>
              <a:gd name="T43" fmla="*/ 359 h 2440"/>
              <a:gd name="T44" fmla="*/ 1030 w 1615"/>
              <a:gd name="T45" fmla="*/ 464 h 2440"/>
              <a:gd name="T46" fmla="*/ 793 w 1615"/>
              <a:gd name="T47" fmla="*/ 570 h 2440"/>
              <a:gd name="T48" fmla="*/ 592 w 1615"/>
              <a:gd name="T49" fmla="*/ 939 h 2440"/>
              <a:gd name="T50" fmla="*/ 243 w 1615"/>
              <a:gd name="T51" fmla="*/ 870 h 2440"/>
              <a:gd name="T52" fmla="*/ 49 w 1615"/>
              <a:gd name="T53" fmla="*/ 803 h 2440"/>
              <a:gd name="T54" fmla="*/ 193 w 1615"/>
              <a:gd name="T55" fmla="*/ 1248 h 2440"/>
              <a:gd name="T56" fmla="*/ 72 w 1615"/>
              <a:gd name="T57" fmla="*/ 988 h 2440"/>
              <a:gd name="T58" fmla="*/ 317 w 1615"/>
              <a:gd name="T59" fmla="*/ 949 h 2440"/>
              <a:gd name="T60" fmla="*/ 558 w 1615"/>
              <a:gd name="T61" fmla="*/ 870 h 2440"/>
              <a:gd name="T62" fmla="*/ 551 w 1615"/>
              <a:gd name="T63" fmla="*/ 988 h 2440"/>
              <a:gd name="T64" fmla="*/ 711 w 1615"/>
              <a:gd name="T65" fmla="*/ 1217 h 2440"/>
              <a:gd name="T66" fmla="*/ 780 w 1615"/>
              <a:gd name="T67" fmla="*/ 1566 h 2440"/>
              <a:gd name="T68" fmla="*/ 464 w 1615"/>
              <a:gd name="T69" fmla="*/ 1840 h 2440"/>
              <a:gd name="T70" fmla="*/ 670 w 1615"/>
              <a:gd name="T71" fmla="*/ 2392 h 2440"/>
              <a:gd name="T72" fmla="*/ 938 w 1615"/>
              <a:gd name="T73" fmla="*/ 2392 h 2440"/>
              <a:gd name="T74" fmla="*/ 565 w 1615"/>
              <a:gd name="T75" fmla="*/ 2265 h 2440"/>
              <a:gd name="T76" fmla="*/ 1096 w 1615"/>
              <a:gd name="T77" fmla="*/ 2187 h 2440"/>
              <a:gd name="T78" fmla="*/ 512 w 1615"/>
              <a:gd name="T79" fmla="*/ 2139 h 2440"/>
              <a:gd name="T80" fmla="*/ 1096 w 1615"/>
              <a:gd name="T81" fmla="*/ 2139 h 2440"/>
              <a:gd name="T82" fmla="*/ 512 w 1615"/>
              <a:gd name="T83" fmla="*/ 2013 h 2440"/>
              <a:gd name="T84" fmla="*/ 1080 w 1615"/>
              <a:gd name="T85" fmla="*/ 1935 h 2440"/>
              <a:gd name="T86" fmla="*/ 1419 w 1615"/>
              <a:gd name="T87" fmla="*/ 1240 h 2440"/>
              <a:gd name="T88" fmla="*/ 1144 w 1615"/>
              <a:gd name="T89" fmla="*/ 1840 h 2440"/>
              <a:gd name="T90" fmla="*/ 828 w 1615"/>
              <a:gd name="T91" fmla="*/ 1525 h 2440"/>
              <a:gd name="T92" fmla="*/ 711 w 1615"/>
              <a:gd name="T93" fmla="*/ 1532 h 2440"/>
              <a:gd name="T94" fmla="*/ 788 w 1615"/>
              <a:gd name="T95" fmla="*/ 1290 h 2440"/>
              <a:gd name="T96" fmla="*/ 828 w 1615"/>
              <a:gd name="T97" fmla="*/ 988 h 2440"/>
              <a:gd name="T98" fmla="*/ 1182 w 1615"/>
              <a:gd name="T99" fmla="*/ 1238 h 2440"/>
              <a:gd name="T100" fmla="*/ 1537 w 1615"/>
              <a:gd name="T101" fmla="*/ 988 h 2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15" h="2440">
                <a:moveTo>
                  <a:pt x="1591" y="963"/>
                </a:moveTo>
                <a:cubicBezTo>
                  <a:pt x="1615" y="849"/>
                  <a:pt x="1613" y="730"/>
                  <a:pt x="1585" y="613"/>
                </a:cubicBezTo>
                <a:cubicBezTo>
                  <a:pt x="1506" y="277"/>
                  <a:pt x="1208" y="26"/>
                  <a:pt x="862" y="2"/>
                </a:cubicBezTo>
                <a:cubicBezTo>
                  <a:pt x="844" y="0"/>
                  <a:pt x="827" y="1"/>
                  <a:pt x="809" y="1"/>
                </a:cubicBezTo>
                <a:cubicBezTo>
                  <a:pt x="807" y="0"/>
                  <a:pt x="806" y="0"/>
                  <a:pt x="804" y="0"/>
                </a:cubicBezTo>
                <a:cubicBezTo>
                  <a:pt x="803" y="0"/>
                  <a:pt x="801" y="0"/>
                  <a:pt x="800" y="0"/>
                </a:cubicBezTo>
                <a:cubicBezTo>
                  <a:pt x="597" y="1"/>
                  <a:pt x="406" y="76"/>
                  <a:pt x="256" y="215"/>
                </a:cubicBezTo>
                <a:cubicBezTo>
                  <a:pt x="94" y="367"/>
                  <a:pt x="0" y="581"/>
                  <a:pt x="0" y="803"/>
                </a:cubicBezTo>
                <a:cubicBezTo>
                  <a:pt x="0" y="913"/>
                  <a:pt x="22" y="1020"/>
                  <a:pt x="65" y="1120"/>
                </a:cubicBezTo>
                <a:cubicBezTo>
                  <a:pt x="65" y="1122"/>
                  <a:pt x="65" y="1122"/>
                  <a:pt x="65" y="1122"/>
                </a:cubicBezTo>
                <a:cubicBezTo>
                  <a:pt x="68" y="1125"/>
                  <a:pt x="68" y="1125"/>
                  <a:pt x="68" y="1125"/>
                </a:cubicBezTo>
                <a:cubicBezTo>
                  <a:pt x="79" y="1144"/>
                  <a:pt x="112" y="1201"/>
                  <a:pt x="151" y="1272"/>
                </a:cubicBezTo>
                <a:cubicBezTo>
                  <a:pt x="215" y="1384"/>
                  <a:pt x="296" y="1532"/>
                  <a:pt x="327" y="1602"/>
                </a:cubicBezTo>
                <a:cubicBezTo>
                  <a:pt x="350" y="1653"/>
                  <a:pt x="389" y="1768"/>
                  <a:pt x="418" y="1855"/>
                </a:cubicBezTo>
                <a:cubicBezTo>
                  <a:pt x="427" y="1881"/>
                  <a:pt x="443" y="1901"/>
                  <a:pt x="464" y="1915"/>
                </a:cubicBezTo>
                <a:cubicBezTo>
                  <a:pt x="464" y="2013"/>
                  <a:pt x="464" y="2013"/>
                  <a:pt x="464" y="2013"/>
                </a:cubicBezTo>
                <a:cubicBezTo>
                  <a:pt x="464" y="2061"/>
                  <a:pt x="464" y="2061"/>
                  <a:pt x="464" y="2061"/>
                </a:cubicBezTo>
                <a:cubicBezTo>
                  <a:pt x="464" y="2139"/>
                  <a:pt x="464" y="2139"/>
                  <a:pt x="464" y="2139"/>
                </a:cubicBezTo>
                <a:cubicBezTo>
                  <a:pt x="464" y="2187"/>
                  <a:pt x="464" y="2187"/>
                  <a:pt x="464" y="2187"/>
                </a:cubicBezTo>
                <a:cubicBezTo>
                  <a:pt x="464" y="2212"/>
                  <a:pt x="464" y="2212"/>
                  <a:pt x="464" y="2212"/>
                </a:cubicBezTo>
                <a:cubicBezTo>
                  <a:pt x="464" y="2256"/>
                  <a:pt x="492" y="2293"/>
                  <a:pt x="531" y="2307"/>
                </a:cubicBezTo>
                <a:cubicBezTo>
                  <a:pt x="534" y="2381"/>
                  <a:pt x="595" y="2440"/>
                  <a:pt x="670" y="2440"/>
                </a:cubicBezTo>
                <a:cubicBezTo>
                  <a:pt x="938" y="2440"/>
                  <a:pt x="938" y="2440"/>
                  <a:pt x="938" y="2440"/>
                </a:cubicBezTo>
                <a:cubicBezTo>
                  <a:pt x="1013" y="2440"/>
                  <a:pt x="1074" y="2381"/>
                  <a:pt x="1078" y="2307"/>
                </a:cubicBezTo>
                <a:cubicBezTo>
                  <a:pt x="1116" y="2293"/>
                  <a:pt x="1144" y="2256"/>
                  <a:pt x="1144" y="2212"/>
                </a:cubicBezTo>
                <a:cubicBezTo>
                  <a:pt x="1144" y="2187"/>
                  <a:pt x="1144" y="2187"/>
                  <a:pt x="1144" y="2187"/>
                </a:cubicBezTo>
                <a:cubicBezTo>
                  <a:pt x="1144" y="2139"/>
                  <a:pt x="1144" y="2139"/>
                  <a:pt x="1144" y="2139"/>
                </a:cubicBezTo>
                <a:cubicBezTo>
                  <a:pt x="1144" y="2061"/>
                  <a:pt x="1144" y="2061"/>
                  <a:pt x="1144" y="2061"/>
                </a:cubicBezTo>
                <a:cubicBezTo>
                  <a:pt x="1144" y="2013"/>
                  <a:pt x="1144" y="2013"/>
                  <a:pt x="1144" y="2013"/>
                </a:cubicBezTo>
                <a:cubicBezTo>
                  <a:pt x="1144" y="1915"/>
                  <a:pt x="1144" y="1915"/>
                  <a:pt x="1144" y="1915"/>
                </a:cubicBezTo>
                <a:cubicBezTo>
                  <a:pt x="1165" y="1901"/>
                  <a:pt x="1182" y="1881"/>
                  <a:pt x="1190" y="1855"/>
                </a:cubicBezTo>
                <a:cubicBezTo>
                  <a:pt x="1219" y="1768"/>
                  <a:pt x="1258" y="1653"/>
                  <a:pt x="1281" y="1602"/>
                </a:cubicBezTo>
                <a:cubicBezTo>
                  <a:pt x="1313" y="1530"/>
                  <a:pt x="1396" y="1379"/>
                  <a:pt x="1447" y="1287"/>
                </a:cubicBezTo>
                <a:cubicBezTo>
                  <a:pt x="1458" y="1287"/>
                  <a:pt x="1458" y="1287"/>
                  <a:pt x="1458" y="1287"/>
                </a:cubicBezTo>
                <a:cubicBezTo>
                  <a:pt x="1458" y="1269"/>
                  <a:pt x="1458" y="1269"/>
                  <a:pt x="1458" y="1269"/>
                </a:cubicBezTo>
                <a:cubicBezTo>
                  <a:pt x="1496" y="1201"/>
                  <a:pt x="1528" y="1146"/>
                  <a:pt x="1539" y="1128"/>
                </a:cubicBezTo>
                <a:cubicBezTo>
                  <a:pt x="1540" y="1126"/>
                  <a:pt x="1541" y="1124"/>
                  <a:pt x="1542" y="1122"/>
                </a:cubicBezTo>
                <a:cubicBezTo>
                  <a:pt x="1547" y="1116"/>
                  <a:pt x="1547" y="1116"/>
                  <a:pt x="1547" y="1116"/>
                </a:cubicBezTo>
                <a:cubicBezTo>
                  <a:pt x="1547" y="1111"/>
                  <a:pt x="1547" y="1111"/>
                  <a:pt x="1547" y="1111"/>
                </a:cubicBezTo>
                <a:cubicBezTo>
                  <a:pt x="1565" y="1066"/>
                  <a:pt x="1579" y="1020"/>
                  <a:pt x="1589" y="973"/>
                </a:cubicBezTo>
                <a:cubicBezTo>
                  <a:pt x="1591" y="970"/>
                  <a:pt x="1592" y="967"/>
                  <a:pt x="1592" y="963"/>
                </a:cubicBezTo>
                <a:cubicBezTo>
                  <a:pt x="1592" y="963"/>
                  <a:pt x="1591" y="963"/>
                  <a:pt x="1591" y="963"/>
                </a:cubicBezTo>
                <a:close/>
                <a:moveTo>
                  <a:pt x="1539" y="624"/>
                </a:moveTo>
                <a:cubicBezTo>
                  <a:pt x="1563" y="730"/>
                  <a:pt x="1566" y="836"/>
                  <a:pt x="1547" y="939"/>
                </a:cubicBezTo>
                <a:cubicBezTo>
                  <a:pt x="1307" y="939"/>
                  <a:pt x="1307" y="939"/>
                  <a:pt x="1307" y="939"/>
                </a:cubicBezTo>
                <a:cubicBezTo>
                  <a:pt x="1294" y="939"/>
                  <a:pt x="1283" y="950"/>
                  <a:pt x="1283" y="963"/>
                </a:cubicBezTo>
                <a:cubicBezTo>
                  <a:pt x="1283" y="971"/>
                  <a:pt x="1287" y="978"/>
                  <a:pt x="1292" y="982"/>
                </a:cubicBezTo>
                <a:cubicBezTo>
                  <a:pt x="1307" y="1004"/>
                  <a:pt x="1315" y="1030"/>
                  <a:pt x="1315" y="1056"/>
                </a:cubicBezTo>
                <a:cubicBezTo>
                  <a:pt x="1315" y="1130"/>
                  <a:pt x="1255" y="1189"/>
                  <a:pt x="1182" y="1189"/>
                </a:cubicBezTo>
                <a:cubicBezTo>
                  <a:pt x="1108" y="1189"/>
                  <a:pt x="1049" y="1130"/>
                  <a:pt x="1049" y="1056"/>
                </a:cubicBezTo>
                <a:cubicBezTo>
                  <a:pt x="1049" y="1029"/>
                  <a:pt x="1057" y="1003"/>
                  <a:pt x="1073" y="980"/>
                </a:cubicBezTo>
                <a:cubicBezTo>
                  <a:pt x="1078" y="975"/>
                  <a:pt x="1080" y="968"/>
                  <a:pt x="1079" y="960"/>
                </a:cubicBezTo>
                <a:cubicBezTo>
                  <a:pt x="1078" y="948"/>
                  <a:pt x="1067" y="939"/>
                  <a:pt x="1055" y="939"/>
                </a:cubicBezTo>
                <a:cubicBezTo>
                  <a:pt x="828" y="939"/>
                  <a:pt x="828" y="939"/>
                  <a:pt x="828" y="939"/>
                </a:cubicBezTo>
                <a:cubicBezTo>
                  <a:pt x="828" y="632"/>
                  <a:pt x="828" y="632"/>
                  <a:pt x="828" y="632"/>
                </a:cubicBezTo>
                <a:cubicBezTo>
                  <a:pt x="850" y="641"/>
                  <a:pt x="873" y="646"/>
                  <a:pt x="897" y="646"/>
                </a:cubicBezTo>
                <a:cubicBezTo>
                  <a:pt x="997" y="646"/>
                  <a:pt x="1078" y="564"/>
                  <a:pt x="1078" y="464"/>
                </a:cubicBezTo>
                <a:cubicBezTo>
                  <a:pt x="1078" y="364"/>
                  <a:pt x="997" y="283"/>
                  <a:pt x="897" y="283"/>
                </a:cubicBezTo>
                <a:cubicBezTo>
                  <a:pt x="873" y="283"/>
                  <a:pt x="850" y="288"/>
                  <a:pt x="828" y="297"/>
                </a:cubicBezTo>
                <a:cubicBezTo>
                  <a:pt x="828" y="49"/>
                  <a:pt x="828" y="49"/>
                  <a:pt x="828" y="49"/>
                </a:cubicBezTo>
                <a:cubicBezTo>
                  <a:pt x="838" y="49"/>
                  <a:pt x="848" y="49"/>
                  <a:pt x="858" y="50"/>
                </a:cubicBezTo>
                <a:cubicBezTo>
                  <a:pt x="1184" y="72"/>
                  <a:pt x="1464" y="309"/>
                  <a:pt x="1539" y="624"/>
                </a:cubicBezTo>
                <a:close/>
                <a:moveTo>
                  <a:pt x="289" y="251"/>
                </a:moveTo>
                <a:cubicBezTo>
                  <a:pt x="425" y="124"/>
                  <a:pt x="597" y="54"/>
                  <a:pt x="780" y="48"/>
                </a:cubicBezTo>
                <a:cubicBezTo>
                  <a:pt x="780" y="338"/>
                  <a:pt x="780" y="338"/>
                  <a:pt x="780" y="338"/>
                </a:cubicBezTo>
                <a:cubicBezTo>
                  <a:pt x="780" y="347"/>
                  <a:pt x="785" y="355"/>
                  <a:pt x="793" y="359"/>
                </a:cubicBezTo>
                <a:cubicBezTo>
                  <a:pt x="801" y="363"/>
                  <a:pt x="811" y="362"/>
                  <a:pt x="818" y="357"/>
                </a:cubicBezTo>
                <a:cubicBezTo>
                  <a:pt x="841" y="340"/>
                  <a:pt x="869" y="331"/>
                  <a:pt x="897" y="331"/>
                </a:cubicBezTo>
                <a:cubicBezTo>
                  <a:pt x="970" y="331"/>
                  <a:pt x="1030" y="391"/>
                  <a:pt x="1030" y="464"/>
                </a:cubicBezTo>
                <a:cubicBezTo>
                  <a:pt x="1030" y="538"/>
                  <a:pt x="970" y="597"/>
                  <a:pt x="897" y="597"/>
                </a:cubicBezTo>
                <a:cubicBezTo>
                  <a:pt x="869" y="597"/>
                  <a:pt x="841" y="588"/>
                  <a:pt x="818" y="572"/>
                </a:cubicBezTo>
                <a:cubicBezTo>
                  <a:pt x="811" y="566"/>
                  <a:pt x="801" y="565"/>
                  <a:pt x="793" y="570"/>
                </a:cubicBezTo>
                <a:cubicBezTo>
                  <a:pt x="785" y="574"/>
                  <a:pt x="780" y="582"/>
                  <a:pt x="780" y="591"/>
                </a:cubicBezTo>
                <a:cubicBezTo>
                  <a:pt x="780" y="939"/>
                  <a:pt x="780" y="939"/>
                  <a:pt x="780" y="939"/>
                </a:cubicBezTo>
                <a:cubicBezTo>
                  <a:pt x="592" y="939"/>
                  <a:pt x="592" y="939"/>
                  <a:pt x="592" y="939"/>
                </a:cubicBezTo>
                <a:cubicBezTo>
                  <a:pt x="601" y="918"/>
                  <a:pt x="606" y="894"/>
                  <a:pt x="606" y="870"/>
                </a:cubicBezTo>
                <a:cubicBezTo>
                  <a:pt x="606" y="770"/>
                  <a:pt x="524" y="689"/>
                  <a:pt x="425" y="689"/>
                </a:cubicBezTo>
                <a:cubicBezTo>
                  <a:pt x="325" y="689"/>
                  <a:pt x="243" y="770"/>
                  <a:pt x="243" y="870"/>
                </a:cubicBezTo>
                <a:cubicBezTo>
                  <a:pt x="243" y="894"/>
                  <a:pt x="248" y="918"/>
                  <a:pt x="257" y="939"/>
                </a:cubicBezTo>
                <a:cubicBezTo>
                  <a:pt x="61" y="939"/>
                  <a:pt x="61" y="939"/>
                  <a:pt x="61" y="939"/>
                </a:cubicBezTo>
                <a:cubicBezTo>
                  <a:pt x="53" y="895"/>
                  <a:pt x="49" y="849"/>
                  <a:pt x="49" y="803"/>
                </a:cubicBezTo>
                <a:cubicBezTo>
                  <a:pt x="49" y="595"/>
                  <a:pt x="136" y="393"/>
                  <a:pt x="289" y="251"/>
                </a:cubicBezTo>
                <a:close/>
                <a:moveTo>
                  <a:pt x="371" y="1583"/>
                </a:moveTo>
                <a:cubicBezTo>
                  <a:pt x="340" y="1510"/>
                  <a:pt x="257" y="1361"/>
                  <a:pt x="193" y="1248"/>
                </a:cubicBezTo>
                <a:cubicBezTo>
                  <a:pt x="154" y="1177"/>
                  <a:pt x="121" y="1120"/>
                  <a:pt x="111" y="1102"/>
                </a:cubicBezTo>
                <a:cubicBezTo>
                  <a:pt x="109" y="1099"/>
                  <a:pt x="109" y="1099"/>
                  <a:pt x="109" y="1099"/>
                </a:cubicBezTo>
                <a:cubicBezTo>
                  <a:pt x="93" y="1063"/>
                  <a:pt x="82" y="1025"/>
                  <a:pt x="72" y="988"/>
                </a:cubicBezTo>
                <a:cubicBezTo>
                  <a:pt x="298" y="988"/>
                  <a:pt x="298" y="988"/>
                  <a:pt x="298" y="988"/>
                </a:cubicBezTo>
                <a:cubicBezTo>
                  <a:pt x="307" y="988"/>
                  <a:pt x="315" y="982"/>
                  <a:pt x="319" y="974"/>
                </a:cubicBezTo>
                <a:cubicBezTo>
                  <a:pt x="323" y="966"/>
                  <a:pt x="323" y="956"/>
                  <a:pt x="317" y="949"/>
                </a:cubicBezTo>
                <a:cubicBezTo>
                  <a:pt x="300" y="926"/>
                  <a:pt x="291" y="899"/>
                  <a:pt x="291" y="870"/>
                </a:cubicBezTo>
                <a:cubicBezTo>
                  <a:pt x="291" y="797"/>
                  <a:pt x="351" y="737"/>
                  <a:pt x="425" y="737"/>
                </a:cubicBezTo>
                <a:cubicBezTo>
                  <a:pt x="498" y="737"/>
                  <a:pt x="558" y="797"/>
                  <a:pt x="558" y="870"/>
                </a:cubicBezTo>
                <a:cubicBezTo>
                  <a:pt x="558" y="898"/>
                  <a:pt x="549" y="924"/>
                  <a:pt x="533" y="947"/>
                </a:cubicBezTo>
                <a:cubicBezTo>
                  <a:pt x="528" y="952"/>
                  <a:pt x="526" y="960"/>
                  <a:pt x="527" y="967"/>
                </a:cubicBezTo>
                <a:cubicBezTo>
                  <a:pt x="529" y="979"/>
                  <a:pt x="539" y="988"/>
                  <a:pt x="551" y="988"/>
                </a:cubicBezTo>
                <a:cubicBezTo>
                  <a:pt x="780" y="988"/>
                  <a:pt x="780" y="988"/>
                  <a:pt x="780" y="988"/>
                </a:cubicBezTo>
                <a:cubicBezTo>
                  <a:pt x="780" y="1231"/>
                  <a:pt x="780" y="1231"/>
                  <a:pt x="780" y="1231"/>
                </a:cubicBezTo>
                <a:cubicBezTo>
                  <a:pt x="758" y="1222"/>
                  <a:pt x="735" y="1217"/>
                  <a:pt x="711" y="1217"/>
                </a:cubicBezTo>
                <a:cubicBezTo>
                  <a:pt x="611" y="1217"/>
                  <a:pt x="530" y="1299"/>
                  <a:pt x="530" y="1399"/>
                </a:cubicBezTo>
                <a:cubicBezTo>
                  <a:pt x="530" y="1499"/>
                  <a:pt x="611" y="1580"/>
                  <a:pt x="711" y="1580"/>
                </a:cubicBezTo>
                <a:cubicBezTo>
                  <a:pt x="735" y="1580"/>
                  <a:pt x="758" y="1575"/>
                  <a:pt x="780" y="1566"/>
                </a:cubicBezTo>
                <a:cubicBezTo>
                  <a:pt x="780" y="1886"/>
                  <a:pt x="780" y="1886"/>
                  <a:pt x="780" y="1886"/>
                </a:cubicBezTo>
                <a:cubicBezTo>
                  <a:pt x="528" y="1886"/>
                  <a:pt x="528" y="1886"/>
                  <a:pt x="528" y="1886"/>
                </a:cubicBezTo>
                <a:cubicBezTo>
                  <a:pt x="499" y="1886"/>
                  <a:pt x="473" y="1868"/>
                  <a:pt x="464" y="1840"/>
                </a:cubicBezTo>
                <a:cubicBezTo>
                  <a:pt x="435" y="1752"/>
                  <a:pt x="395" y="1635"/>
                  <a:pt x="371" y="1583"/>
                </a:cubicBezTo>
                <a:close/>
                <a:moveTo>
                  <a:pt x="938" y="2392"/>
                </a:moveTo>
                <a:cubicBezTo>
                  <a:pt x="670" y="2392"/>
                  <a:pt x="670" y="2392"/>
                  <a:pt x="670" y="2392"/>
                </a:cubicBezTo>
                <a:cubicBezTo>
                  <a:pt x="624" y="2392"/>
                  <a:pt x="586" y="2358"/>
                  <a:pt x="579" y="2314"/>
                </a:cubicBezTo>
                <a:cubicBezTo>
                  <a:pt x="1029" y="2314"/>
                  <a:pt x="1029" y="2314"/>
                  <a:pt x="1029" y="2314"/>
                </a:cubicBezTo>
                <a:cubicBezTo>
                  <a:pt x="1023" y="2358"/>
                  <a:pt x="984" y="2392"/>
                  <a:pt x="938" y="2392"/>
                </a:cubicBezTo>
                <a:close/>
                <a:moveTo>
                  <a:pt x="1096" y="2212"/>
                </a:moveTo>
                <a:cubicBezTo>
                  <a:pt x="1096" y="2242"/>
                  <a:pt x="1072" y="2265"/>
                  <a:pt x="1043" y="2265"/>
                </a:cubicBezTo>
                <a:cubicBezTo>
                  <a:pt x="565" y="2265"/>
                  <a:pt x="565" y="2265"/>
                  <a:pt x="565" y="2265"/>
                </a:cubicBezTo>
                <a:cubicBezTo>
                  <a:pt x="536" y="2265"/>
                  <a:pt x="512" y="2242"/>
                  <a:pt x="512" y="2212"/>
                </a:cubicBezTo>
                <a:cubicBezTo>
                  <a:pt x="512" y="2187"/>
                  <a:pt x="512" y="2187"/>
                  <a:pt x="512" y="2187"/>
                </a:cubicBezTo>
                <a:cubicBezTo>
                  <a:pt x="1096" y="2187"/>
                  <a:pt x="1096" y="2187"/>
                  <a:pt x="1096" y="2187"/>
                </a:cubicBezTo>
                <a:lnTo>
                  <a:pt x="1096" y="2212"/>
                </a:lnTo>
                <a:close/>
                <a:moveTo>
                  <a:pt x="1096" y="2139"/>
                </a:moveTo>
                <a:cubicBezTo>
                  <a:pt x="512" y="2139"/>
                  <a:pt x="512" y="2139"/>
                  <a:pt x="512" y="2139"/>
                </a:cubicBezTo>
                <a:cubicBezTo>
                  <a:pt x="512" y="2061"/>
                  <a:pt x="512" y="2061"/>
                  <a:pt x="512" y="2061"/>
                </a:cubicBezTo>
                <a:cubicBezTo>
                  <a:pt x="1096" y="2061"/>
                  <a:pt x="1096" y="2061"/>
                  <a:pt x="1096" y="2061"/>
                </a:cubicBezTo>
                <a:lnTo>
                  <a:pt x="1096" y="2139"/>
                </a:lnTo>
                <a:close/>
                <a:moveTo>
                  <a:pt x="1096" y="1935"/>
                </a:moveTo>
                <a:cubicBezTo>
                  <a:pt x="1096" y="2013"/>
                  <a:pt x="1096" y="2013"/>
                  <a:pt x="1096" y="2013"/>
                </a:cubicBezTo>
                <a:cubicBezTo>
                  <a:pt x="512" y="2013"/>
                  <a:pt x="512" y="2013"/>
                  <a:pt x="512" y="2013"/>
                </a:cubicBezTo>
                <a:cubicBezTo>
                  <a:pt x="512" y="1935"/>
                  <a:pt x="512" y="1935"/>
                  <a:pt x="512" y="1935"/>
                </a:cubicBezTo>
                <a:cubicBezTo>
                  <a:pt x="528" y="1935"/>
                  <a:pt x="528" y="1935"/>
                  <a:pt x="528" y="1935"/>
                </a:cubicBezTo>
                <a:cubicBezTo>
                  <a:pt x="1080" y="1935"/>
                  <a:pt x="1080" y="1935"/>
                  <a:pt x="1080" y="1935"/>
                </a:cubicBezTo>
                <a:lnTo>
                  <a:pt x="1096" y="1935"/>
                </a:lnTo>
                <a:close/>
                <a:moveTo>
                  <a:pt x="1498" y="1102"/>
                </a:moveTo>
                <a:cubicBezTo>
                  <a:pt x="1486" y="1121"/>
                  <a:pt x="1456" y="1174"/>
                  <a:pt x="1419" y="1240"/>
                </a:cubicBezTo>
                <a:cubicBezTo>
                  <a:pt x="1412" y="1252"/>
                  <a:pt x="1412" y="1252"/>
                  <a:pt x="1412" y="1252"/>
                </a:cubicBezTo>
                <a:cubicBezTo>
                  <a:pt x="1361" y="1342"/>
                  <a:pt x="1271" y="1505"/>
                  <a:pt x="1237" y="1583"/>
                </a:cubicBezTo>
                <a:cubicBezTo>
                  <a:pt x="1214" y="1635"/>
                  <a:pt x="1174" y="1752"/>
                  <a:pt x="1144" y="1840"/>
                </a:cubicBezTo>
                <a:cubicBezTo>
                  <a:pt x="1135" y="1868"/>
                  <a:pt x="1109" y="1886"/>
                  <a:pt x="1080" y="1886"/>
                </a:cubicBezTo>
                <a:cubicBezTo>
                  <a:pt x="828" y="1886"/>
                  <a:pt x="828" y="1886"/>
                  <a:pt x="828" y="1886"/>
                </a:cubicBezTo>
                <a:cubicBezTo>
                  <a:pt x="828" y="1525"/>
                  <a:pt x="828" y="1525"/>
                  <a:pt x="828" y="1525"/>
                </a:cubicBezTo>
                <a:cubicBezTo>
                  <a:pt x="828" y="1516"/>
                  <a:pt x="823" y="1508"/>
                  <a:pt x="815" y="1504"/>
                </a:cubicBezTo>
                <a:cubicBezTo>
                  <a:pt x="807" y="1500"/>
                  <a:pt x="797" y="1501"/>
                  <a:pt x="790" y="1506"/>
                </a:cubicBezTo>
                <a:cubicBezTo>
                  <a:pt x="767" y="1523"/>
                  <a:pt x="740" y="1532"/>
                  <a:pt x="711" y="1532"/>
                </a:cubicBezTo>
                <a:cubicBezTo>
                  <a:pt x="638" y="1532"/>
                  <a:pt x="578" y="1472"/>
                  <a:pt x="578" y="1399"/>
                </a:cubicBezTo>
                <a:cubicBezTo>
                  <a:pt x="578" y="1325"/>
                  <a:pt x="638" y="1266"/>
                  <a:pt x="711" y="1266"/>
                </a:cubicBezTo>
                <a:cubicBezTo>
                  <a:pt x="739" y="1266"/>
                  <a:pt x="765" y="1274"/>
                  <a:pt x="788" y="1290"/>
                </a:cubicBezTo>
                <a:cubicBezTo>
                  <a:pt x="793" y="1295"/>
                  <a:pt x="800" y="1297"/>
                  <a:pt x="808" y="1296"/>
                </a:cubicBezTo>
                <a:cubicBezTo>
                  <a:pt x="820" y="1294"/>
                  <a:pt x="828" y="1284"/>
                  <a:pt x="828" y="1272"/>
                </a:cubicBezTo>
                <a:cubicBezTo>
                  <a:pt x="828" y="988"/>
                  <a:pt x="828" y="988"/>
                  <a:pt x="828" y="988"/>
                </a:cubicBezTo>
                <a:cubicBezTo>
                  <a:pt x="1014" y="988"/>
                  <a:pt x="1014" y="988"/>
                  <a:pt x="1014" y="988"/>
                </a:cubicBezTo>
                <a:cubicBezTo>
                  <a:pt x="1005" y="1009"/>
                  <a:pt x="1000" y="1032"/>
                  <a:pt x="1000" y="1056"/>
                </a:cubicBezTo>
                <a:cubicBezTo>
                  <a:pt x="1000" y="1156"/>
                  <a:pt x="1082" y="1238"/>
                  <a:pt x="1182" y="1238"/>
                </a:cubicBezTo>
                <a:cubicBezTo>
                  <a:pt x="1282" y="1238"/>
                  <a:pt x="1363" y="1156"/>
                  <a:pt x="1363" y="1056"/>
                </a:cubicBezTo>
                <a:cubicBezTo>
                  <a:pt x="1363" y="1032"/>
                  <a:pt x="1358" y="1009"/>
                  <a:pt x="1349" y="988"/>
                </a:cubicBezTo>
                <a:cubicBezTo>
                  <a:pt x="1537" y="988"/>
                  <a:pt x="1537" y="988"/>
                  <a:pt x="1537" y="988"/>
                </a:cubicBezTo>
                <a:cubicBezTo>
                  <a:pt x="1528" y="1024"/>
                  <a:pt x="1516" y="1061"/>
                  <a:pt x="1501" y="1096"/>
                </a:cubicBezTo>
                <a:lnTo>
                  <a:pt x="1498" y="11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schemeClr val="accent3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099651" y="1814333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Opções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509079" y="2439428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Logística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306555" y="3093139"/>
            <a:ext cx="70693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Criatividade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212409" y="358801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3"/>
                </a:solidFill>
                <a:latin typeface="Lato" panose="020F0502020204030203" pitchFamily="34" charset="0"/>
              </a:rPr>
              <a:t>Nova Era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4209103" y="3994359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Pagamento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273510" y="358801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3"/>
                </a:solidFill>
                <a:latin typeface="Lato" panose="020F0502020204030203" pitchFamily="34" charset="0"/>
              </a:rPr>
              <a:t>Marketing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024049" y="3093140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Vendas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970655" y="2618371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Clientes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6683622" y="181160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Estratégia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705219" y="178663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3"/>
                </a:solidFill>
                <a:latin typeface="Lato" panose="020F0502020204030203" pitchFamily="34" charset="0"/>
              </a:rPr>
              <a:t>Design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892151" y="178663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Pessoas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046960" y="178663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Sucesso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061934" y="1786636"/>
            <a:ext cx="62132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3"/>
                </a:solidFill>
                <a:latin typeface="Lato" panose="020F0502020204030203" pitchFamily="34" charset="0"/>
              </a:rPr>
              <a:t>Verba</a:t>
            </a:r>
            <a:endParaRPr lang="en-US" sz="900" b="1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894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4057769" y="2400420"/>
            <a:ext cx="1028461" cy="1028461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 MODELO DE </a:t>
            </a:r>
            <a:r>
              <a:rPr lang="en-US" dirty="0">
                <a:solidFill>
                  <a:srgbClr val="EC0000"/>
                </a:solidFill>
              </a:rPr>
              <a:t>NEGÓCI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13" name="Straight Connector 12"/>
          <p:cNvCxnSpPr>
            <a:stCxn id="5" idx="6"/>
            <a:endCxn id="12" idx="2"/>
          </p:cNvCxnSpPr>
          <p:nvPr/>
        </p:nvCxnSpPr>
        <p:spPr>
          <a:xfrm>
            <a:off x="3984424" y="2914650"/>
            <a:ext cx="73345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6" idx="4"/>
            <a:endCxn id="12" idx="0"/>
          </p:cNvCxnSpPr>
          <p:nvPr/>
        </p:nvCxnSpPr>
        <p:spPr>
          <a:xfrm>
            <a:off x="4572000" y="2327074"/>
            <a:ext cx="0" cy="7334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4" idx="2"/>
            <a:endCxn id="12" idx="6"/>
          </p:cNvCxnSpPr>
          <p:nvPr/>
        </p:nvCxnSpPr>
        <p:spPr>
          <a:xfrm flipH="1">
            <a:off x="5086231" y="2914650"/>
            <a:ext cx="73345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7" idx="0"/>
            <a:endCxn id="12" idx="4"/>
          </p:cNvCxnSpPr>
          <p:nvPr/>
        </p:nvCxnSpPr>
        <p:spPr>
          <a:xfrm flipV="1">
            <a:off x="4572000" y="3428881"/>
            <a:ext cx="0" cy="7334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4179988" y="1543050"/>
            <a:ext cx="784024" cy="784024"/>
            <a:chOff x="4179988" y="1543050"/>
            <a:chExt cx="784024" cy="784024"/>
          </a:xfrm>
        </p:grpSpPr>
        <p:sp>
          <p:nvSpPr>
            <p:cNvPr id="6" name="Oval 5"/>
            <p:cNvSpPr/>
            <p:nvPr/>
          </p:nvSpPr>
          <p:spPr>
            <a:xfrm>
              <a:off x="4179988" y="1543050"/>
              <a:ext cx="784024" cy="78402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0" name="Oval 9"/>
            <p:cNvSpPr/>
            <p:nvPr/>
          </p:nvSpPr>
          <p:spPr>
            <a:xfrm>
              <a:off x="4232275" y="1595337"/>
              <a:ext cx="679452" cy="67945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9" name="Freeform 18"/>
            <p:cNvSpPr>
              <a:spLocks noEditPoints="1"/>
            </p:cNvSpPr>
            <p:nvPr/>
          </p:nvSpPr>
          <p:spPr bwMode="auto">
            <a:xfrm>
              <a:off x="4438771" y="1776063"/>
              <a:ext cx="284208" cy="317999"/>
            </a:xfrm>
            <a:custGeom>
              <a:avLst/>
              <a:gdLst>
                <a:gd name="T0" fmla="*/ 775 w 1551"/>
                <a:gd name="T1" fmla="*/ 1177 h 1736"/>
                <a:gd name="T2" fmla="*/ 1251 w 1551"/>
                <a:gd name="T3" fmla="*/ 536 h 1736"/>
                <a:gd name="T4" fmla="*/ 775 w 1551"/>
                <a:gd name="T5" fmla="*/ 0 h 1736"/>
                <a:gd name="T6" fmla="*/ 300 w 1551"/>
                <a:gd name="T7" fmla="*/ 536 h 1736"/>
                <a:gd name="T8" fmla="*/ 775 w 1551"/>
                <a:gd name="T9" fmla="*/ 1177 h 1736"/>
                <a:gd name="T10" fmla="*/ 775 w 1551"/>
                <a:gd name="T11" fmla="*/ 60 h 1736"/>
                <a:gd name="T12" fmla="*/ 1191 w 1551"/>
                <a:gd name="T13" fmla="*/ 536 h 1736"/>
                <a:gd name="T14" fmla="*/ 775 w 1551"/>
                <a:gd name="T15" fmla="*/ 1118 h 1736"/>
                <a:gd name="T16" fmla="*/ 360 w 1551"/>
                <a:gd name="T17" fmla="*/ 536 h 1736"/>
                <a:gd name="T18" fmla="*/ 775 w 1551"/>
                <a:gd name="T19" fmla="*/ 60 h 1736"/>
                <a:gd name="T20" fmla="*/ 1545 w 1551"/>
                <a:gd name="T21" fmla="*/ 1556 h 1736"/>
                <a:gd name="T22" fmla="*/ 1045 w 1551"/>
                <a:gd name="T23" fmla="*/ 1093 h 1736"/>
                <a:gd name="T24" fmla="*/ 1008 w 1551"/>
                <a:gd name="T25" fmla="*/ 1102 h 1736"/>
                <a:gd name="T26" fmla="*/ 775 w 1551"/>
                <a:gd name="T27" fmla="*/ 1344 h 1736"/>
                <a:gd name="T28" fmla="*/ 543 w 1551"/>
                <a:gd name="T29" fmla="*/ 1102 h 1736"/>
                <a:gd name="T30" fmla="*/ 506 w 1551"/>
                <a:gd name="T31" fmla="*/ 1093 h 1736"/>
                <a:gd name="T32" fmla="*/ 6 w 1551"/>
                <a:gd name="T33" fmla="*/ 1556 h 1736"/>
                <a:gd name="T34" fmla="*/ 2 w 1551"/>
                <a:gd name="T35" fmla="*/ 1582 h 1736"/>
                <a:gd name="T36" fmla="*/ 19 w 1551"/>
                <a:gd name="T37" fmla="*/ 1600 h 1736"/>
                <a:gd name="T38" fmla="*/ 775 w 1551"/>
                <a:gd name="T39" fmla="*/ 1736 h 1736"/>
                <a:gd name="T40" fmla="*/ 1531 w 1551"/>
                <a:gd name="T41" fmla="*/ 1600 h 1736"/>
                <a:gd name="T42" fmla="*/ 1549 w 1551"/>
                <a:gd name="T43" fmla="*/ 1582 h 1736"/>
                <a:gd name="T44" fmla="*/ 1545 w 1551"/>
                <a:gd name="T45" fmla="*/ 1556 h 1736"/>
                <a:gd name="T46" fmla="*/ 775 w 1551"/>
                <a:gd name="T47" fmla="*/ 1676 h 1736"/>
                <a:gd name="T48" fmla="*/ 77 w 1551"/>
                <a:gd name="T49" fmla="*/ 1558 h 1736"/>
                <a:gd name="T50" fmla="*/ 511 w 1551"/>
                <a:gd name="T51" fmla="*/ 1158 h 1736"/>
                <a:gd name="T52" fmla="*/ 758 w 1551"/>
                <a:gd name="T53" fmla="*/ 1406 h 1736"/>
                <a:gd name="T54" fmla="*/ 793 w 1551"/>
                <a:gd name="T55" fmla="*/ 1406 h 1736"/>
                <a:gd name="T56" fmla="*/ 1040 w 1551"/>
                <a:gd name="T57" fmla="*/ 1158 h 1736"/>
                <a:gd name="T58" fmla="*/ 1474 w 1551"/>
                <a:gd name="T59" fmla="*/ 1558 h 1736"/>
                <a:gd name="T60" fmla="*/ 775 w 1551"/>
                <a:gd name="T61" fmla="*/ 1676 h 1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51" h="1736">
                  <a:moveTo>
                    <a:pt x="775" y="1177"/>
                  </a:moveTo>
                  <a:cubicBezTo>
                    <a:pt x="995" y="1177"/>
                    <a:pt x="1251" y="897"/>
                    <a:pt x="1251" y="536"/>
                  </a:cubicBezTo>
                  <a:cubicBezTo>
                    <a:pt x="1251" y="211"/>
                    <a:pt x="1064" y="0"/>
                    <a:pt x="775" y="0"/>
                  </a:cubicBezTo>
                  <a:cubicBezTo>
                    <a:pt x="487" y="0"/>
                    <a:pt x="300" y="211"/>
                    <a:pt x="300" y="536"/>
                  </a:cubicBezTo>
                  <a:cubicBezTo>
                    <a:pt x="300" y="890"/>
                    <a:pt x="588" y="1177"/>
                    <a:pt x="775" y="1177"/>
                  </a:cubicBezTo>
                  <a:close/>
                  <a:moveTo>
                    <a:pt x="775" y="60"/>
                  </a:moveTo>
                  <a:cubicBezTo>
                    <a:pt x="1032" y="60"/>
                    <a:pt x="1191" y="242"/>
                    <a:pt x="1191" y="536"/>
                  </a:cubicBezTo>
                  <a:cubicBezTo>
                    <a:pt x="1191" y="858"/>
                    <a:pt x="964" y="1118"/>
                    <a:pt x="775" y="1118"/>
                  </a:cubicBezTo>
                  <a:cubicBezTo>
                    <a:pt x="615" y="1118"/>
                    <a:pt x="360" y="852"/>
                    <a:pt x="360" y="536"/>
                  </a:cubicBezTo>
                  <a:cubicBezTo>
                    <a:pt x="360" y="242"/>
                    <a:pt x="519" y="60"/>
                    <a:pt x="775" y="60"/>
                  </a:cubicBezTo>
                  <a:close/>
                  <a:moveTo>
                    <a:pt x="1545" y="1556"/>
                  </a:moveTo>
                  <a:cubicBezTo>
                    <a:pt x="1537" y="1543"/>
                    <a:pt x="1334" y="1233"/>
                    <a:pt x="1045" y="1093"/>
                  </a:cubicBezTo>
                  <a:cubicBezTo>
                    <a:pt x="1032" y="1087"/>
                    <a:pt x="1016" y="1091"/>
                    <a:pt x="1008" y="1102"/>
                  </a:cubicBezTo>
                  <a:cubicBezTo>
                    <a:pt x="917" y="1223"/>
                    <a:pt x="816" y="1311"/>
                    <a:pt x="775" y="1344"/>
                  </a:cubicBezTo>
                  <a:cubicBezTo>
                    <a:pt x="735" y="1311"/>
                    <a:pt x="633" y="1223"/>
                    <a:pt x="543" y="1102"/>
                  </a:cubicBezTo>
                  <a:cubicBezTo>
                    <a:pt x="535" y="1091"/>
                    <a:pt x="519" y="1087"/>
                    <a:pt x="506" y="1093"/>
                  </a:cubicBezTo>
                  <a:cubicBezTo>
                    <a:pt x="217" y="1233"/>
                    <a:pt x="14" y="1543"/>
                    <a:pt x="6" y="1556"/>
                  </a:cubicBezTo>
                  <a:cubicBezTo>
                    <a:pt x="1" y="1564"/>
                    <a:pt x="0" y="1573"/>
                    <a:pt x="2" y="1582"/>
                  </a:cubicBezTo>
                  <a:cubicBezTo>
                    <a:pt x="5" y="1590"/>
                    <a:pt x="11" y="1597"/>
                    <a:pt x="19" y="1600"/>
                  </a:cubicBezTo>
                  <a:cubicBezTo>
                    <a:pt x="33" y="1606"/>
                    <a:pt x="363" y="1736"/>
                    <a:pt x="775" y="1736"/>
                  </a:cubicBezTo>
                  <a:cubicBezTo>
                    <a:pt x="1188" y="1736"/>
                    <a:pt x="1517" y="1606"/>
                    <a:pt x="1531" y="1600"/>
                  </a:cubicBezTo>
                  <a:cubicBezTo>
                    <a:pt x="1540" y="1597"/>
                    <a:pt x="1546" y="1590"/>
                    <a:pt x="1549" y="1582"/>
                  </a:cubicBezTo>
                  <a:cubicBezTo>
                    <a:pt x="1551" y="1573"/>
                    <a:pt x="1550" y="1564"/>
                    <a:pt x="1545" y="1556"/>
                  </a:cubicBezTo>
                  <a:close/>
                  <a:moveTo>
                    <a:pt x="775" y="1676"/>
                  </a:moveTo>
                  <a:cubicBezTo>
                    <a:pt x="451" y="1676"/>
                    <a:pt x="173" y="1591"/>
                    <a:pt x="77" y="1558"/>
                  </a:cubicBezTo>
                  <a:cubicBezTo>
                    <a:pt x="134" y="1479"/>
                    <a:pt x="298" y="1269"/>
                    <a:pt x="511" y="1158"/>
                  </a:cubicBezTo>
                  <a:cubicBezTo>
                    <a:pt x="627" y="1308"/>
                    <a:pt x="752" y="1401"/>
                    <a:pt x="758" y="1406"/>
                  </a:cubicBezTo>
                  <a:cubicBezTo>
                    <a:pt x="768" y="1413"/>
                    <a:pt x="783" y="1413"/>
                    <a:pt x="793" y="1406"/>
                  </a:cubicBezTo>
                  <a:cubicBezTo>
                    <a:pt x="799" y="1401"/>
                    <a:pt x="924" y="1308"/>
                    <a:pt x="1040" y="1158"/>
                  </a:cubicBezTo>
                  <a:cubicBezTo>
                    <a:pt x="1252" y="1269"/>
                    <a:pt x="1417" y="1479"/>
                    <a:pt x="1474" y="1558"/>
                  </a:cubicBezTo>
                  <a:cubicBezTo>
                    <a:pt x="1378" y="1591"/>
                    <a:pt x="1100" y="1676"/>
                    <a:pt x="775" y="167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4122424" y="2760761"/>
            <a:ext cx="9067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10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vendas</a:t>
            </a:r>
            <a:endParaRPr lang="en-US" sz="1000" b="1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5345011" y="1696534"/>
            <a:ext cx="1491126" cy="461282"/>
            <a:chOff x="5296829" y="1699770"/>
            <a:chExt cx="1491126" cy="461282"/>
          </a:xfrm>
        </p:grpSpPr>
        <p:sp>
          <p:nvSpPr>
            <p:cNvPr id="32" name="TextBox 31"/>
            <p:cNvSpPr txBox="1"/>
            <p:nvPr/>
          </p:nvSpPr>
          <p:spPr>
            <a:xfrm>
              <a:off x="5296843" y="1699770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esso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296829" y="1876743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324599" y="2676121"/>
            <a:ext cx="1491126" cy="461282"/>
            <a:chOff x="5296829" y="1699770"/>
            <a:chExt cx="1491126" cy="461282"/>
          </a:xfrm>
        </p:grpSpPr>
        <p:sp>
          <p:nvSpPr>
            <p:cNvPr id="37" name="TextBox 36"/>
            <p:cNvSpPr txBox="1"/>
            <p:nvPr/>
          </p:nvSpPr>
          <p:spPr>
            <a:xfrm>
              <a:off x="5296843" y="1699770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mess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5296829" y="1876743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321159" y="2684616"/>
            <a:ext cx="1491126" cy="460064"/>
            <a:chOff x="5296829" y="1699770"/>
            <a:chExt cx="1491126" cy="460064"/>
          </a:xfrm>
        </p:grpSpPr>
        <p:sp>
          <p:nvSpPr>
            <p:cNvPr id="46" name="TextBox 45"/>
            <p:cNvSpPr txBox="1"/>
            <p:nvPr/>
          </p:nvSpPr>
          <p:spPr>
            <a:xfrm>
              <a:off x="5296843" y="1699770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lucro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296829" y="1876743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2281720" y="3664204"/>
            <a:ext cx="1491126" cy="460064"/>
            <a:chOff x="5296829" y="1699770"/>
            <a:chExt cx="1491126" cy="460064"/>
          </a:xfrm>
        </p:grpSpPr>
        <p:sp>
          <p:nvSpPr>
            <p:cNvPr id="49" name="TextBox 48"/>
            <p:cNvSpPr txBox="1"/>
            <p:nvPr/>
          </p:nvSpPr>
          <p:spPr>
            <a:xfrm>
              <a:off x="5296843" y="1699770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cess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296829" y="1876743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159576" y="2522639"/>
            <a:ext cx="784024" cy="784024"/>
            <a:chOff x="5159576" y="2522639"/>
            <a:chExt cx="784024" cy="784024"/>
          </a:xfrm>
        </p:grpSpPr>
        <p:sp>
          <p:nvSpPr>
            <p:cNvPr id="4" name="Oval 3"/>
            <p:cNvSpPr/>
            <p:nvPr/>
          </p:nvSpPr>
          <p:spPr>
            <a:xfrm>
              <a:off x="5159576" y="2522639"/>
              <a:ext cx="784024" cy="78402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" name="Oval 7"/>
            <p:cNvSpPr/>
            <p:nvPr/>
          </p:nvSpPr>
          <p:spPr>
            <a:xfrm>
              <a:off x="5211863" y="2574925"/>
              <a:ext cx="679452" cy="67945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0" name="Freeform 38"/>
            <p:cNvSpPr>
              <a:spLocks noEditPoints="1"/>
            </p:cNvSpPr>
            <p:nvPr/>
          </p:nvSpPr>
          <p:spPr bwMode="auto">
            <a:xfrm>
              <a:off x="5340551" y="2748853"/>
              <a:ext cx="422074" cy="331592"/>
            </a:xfrm>
            <a:custGeom>
              <a:avLst/>
              <a:gdLst>
                <a:gd name="T0" fmla="*/ 716 w 1034"/>
                <a:gd name="T1" fmla="*/ 615 h 810"/>
                <a:gd name="T2" fmla="*/ 538 w 1034"/>
                <a:gd name="T3" fmla="*/ 556 h 810"/>
                <a:gd name="T4" fmla="*/ 767 w 1034"/>
                <a:gd name="T5" fmla="*/ 630 h 810"/>
                <a:gd name="T6" fmla="*/ 666 w 1034"/>
                <a:gd name="T7" fmla="*/ 780 h 810"/>
                <a:gd name="T8" fmla="*/ 517 w 1034"/>
                <a:gd name="T9" fmla="*/ 773 h 810"/>
                <a:gd name="T10" fmla="*/ 368 w 1034"/>
                <a:gd name="T11" fmla="*/ 780 h 810"/>
                <a:gd name="T12" fmla="*/ 270 w 1034"/>
                <a:gd name="T13" fmla="*/ 704 h 810"/>
                <a:gd name="T14" fmla="*/ 240 w 1034"/>
                <a:gd name="T15" fmla="*/ 538 h 810"/>
                <a:gd name="T16" fmla="*/ 301 w 1034"/>
                <a:gd name="T17" fmla="*/ 0 h 810"/>
                <a:gd name="T18" fmla="*/ 625 w 1034"/>
                <a:gd name="T19" fmla="*/ 107 h 810"/>
                <a:gd name="T20" fmla="*/ 107 w 1034"/>
                <a:gd name="T21" fmla="*/ 372 h 810"/>
                <a:gd name="T22" fmla="*/ 661 w 1034"/>
                <a:gd name="T23" fmla="*/ 107 h 810"/>
                <a:gd name="T24" fmla="*/ 998 w 1034"/>
                <a:gd name="T25" fmla="*/ 301 h 810"/>
                <a:gd name="T26" fmla="*/ 359 w 1034"/>
                <a:gd name="T27" fmla="*/ 538 h 810"/>
                <a:gd name="T28" fmla="*/ 317 w 1034"/>
                <a:gd name="T29" fmla="*/ 496 h 810"/>
                <a:gd name="T30" fmla="*/ 258 w 1034"/>
                <a:gd name="T31" fmla="*/ 597 h 810"/>
                <a:gd name="T32" fmla="*/ 455 w 1034"/>
                <a:gd name="T33" fmla="*/ 535 h 810"/>
                <a:gd name="T34" fmla="*/ 435 w 1034"/>
                <a:gd name="T35" fmla="*/ 518 h 810"/>
                <a:gd name="T36" fmla="*/ 421 w 1034"/>
                <a:gd name="T37" fmla="*/ 518 h 810"/>
                <a:gd name="T38" fmla="*/ 407 w 1034"/>
                <a:gd name="T39" fmla="*/ 526 h 810"/>
                <a:gd name="T40" fmla="*/ 287 w 1034"/>
                <a:gd name="T41" fmla="*/ 687 h 810"/>
                <a:gd name="T42" fmla="*/ 516 w 1034"/>
                <a:gd name="T43" fmla="*/ 606 h 810"/>
                <a:gd name="T44" fmla="*/ 494 w 1034"/>
                <a:gd name="T45" fmla="*/ 578 h 810"/>
                <a:gd name="T46" fmla="*/ 347 w 1034"/>
                <a:gd name="T47" fmla="*/ 705 h 810"/>
                <a:gd name="T48" fmla="*/ 546 w 1034"/>
                <a:gd name="T49" fmla="*/ 696 h 810"/>
                <a:gd name="T50" fmla="*/ 436 w 1034"/>
                <a:gd name="T51" fmla="*/ 734 h 810"/>
                <a:gd name="T52" fmla="*/ 606 w 1034"/>
                <a:gd name="T53" fmla="*/ 755 h 810"/>
                <a:gd name="T54" fmla="*/ 563 w 1034"/>
                <a:gd name="T55" fmla="*/ 724 h 810"/>
                <a:gd name="T56" fmla="*/ 597 w 1034"/>
                <a:gd name="T57" fmla="*/ 776 h 810"/>
                <a:gd name="T58" fmla="*/ 536 w 1034"/>
                <a:gd name="T59" fmla="*/ 396 h 810"/>
                <a:gd name="T60" fmla="*/ 478 w 1034"/>
                <a:gd name="T61" fmla="*/ 448 h 810"/>
                <a:gd name="T62" fmla="*/ 418 w 1034"/>
                <a:gd name="T63" fmla="*/ 436 h 810"/>
                <a:gd name="T64" fmla="*/ 499 w 1034"/>
                <a:gd name="T65" fmla="*/ 278 h 810"/>
                <a:gd name="T66" fmla="*/ 377 w 1034"/>
                <a:gd name="T67" fmla="*/ 478 h 810"/>
                <a:gd name="T68" fmla="*/ 388 w 1034"/>
                <a:gd name="T69" fmla="*/ 494 h 810"/>
                <a:gd name="T70" fmla="*/ 403 w 1034"/>
                <a:gd name="T71" fmla="*/ 498 h 810"/>
                <a:gd name="T72" fmla="*/ 429 w 1034"/>
                <a:gd name="T73" fmla="*/ 492 h 810"/>
                <a:gd name="T74" fmla="*/ 458 w 1034"/>
                <a:gd name="T75" fmla="*/ 501 h 810"/>
                <a:gd name="T76" fmla="*/ 478 w 1034"/>
                <a:gd name="T77" fmla="*/ 526 h 810"/>
                <a:gd name="T78" fmla="*/ 493 w 1034"/>
                <a:gd name="T79" fmla="*/ 552 h 810"/>
                <a:gd name="T80" fmla="*/ 517 w 1034"/>
                <a:gd name="T81" fmla="*/ 561 h 810"/>
                <a:gd name="T82" fmla="*/ 538 w 1034"/>
                <a:gd name="T83" fmla="*/ 626 h 810"/>
                <a:gd name="T84" fmla="*/ 537 w 1034"/>
                <a:gd name="T85" fmla="*/ 645 h 810"/>
                <a:gd name="T86" fmla="*/ 645 w 1034"/>
                <a:gd name="T87" fmla="*/ 746 h 810"/>
                <a:gd name="T88" fmla="*/ 755 w 1034"/>
                <a:gd name="T89" fmla="*/ 666 h 810"/>
                <a:gd name="T90" fmla="*/ 755 w 1034"/>
                <a:gd name="T91" fmla="*/ 606 h 810"/>
                <a:gd name="T92" fmla="*/ 666 w 1034"/>
                <a:gd name="T93" fmla="*/ 147 h 810"/>
                <a:gd name="T94" fmla="*/ 428 w 1034"/>
                <a:gd name="T95" fmla="*/ 398 h 810"/>
                <a:gd name="T96" fmla="*/ 469 w 1034"/>
                <a:gd name="T97" fmla="*/ 425 h 810"/>
                <a:gd name="T98" fmla="*/ 527 w 1034"/>
                <a:gd name="T99" fmla="*/ 369 h 810"/>
                <a:gd name="T100" fmla="*/ 118 w 1034"/>
                <a:gd name="T101" fmla="*/ 319 h 810"/>
                <a:gd name="T102" fmla="*/ 915 w 1034"/>
                <a:gd name="T103" fmla="*/ 26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4" h="810">
                  <a:moveTo>
                    <a:pt x="716" y="615"/>
                  </a:moveTo>
                  <a:cubicBezTo>
                    <a:pt x="597" y="496"/>
                    <a:pt x="597" y="496"/>
                    <a:pt x="597" y="496"/>
                  </a:cubicBezTo>
                  <a:cubicBezTo>
                    <a:pt x="615" y="478"/>
                    <a:pt x="615" y="478"/>
                    <a:pt x="615" y="478"/>
                  </a:cubicBezTo>
                  <a:cubicBezTo>
                    <a:pt x="734" y="597"/>
                    <a:pt x="734" y="597"/>
                    <a:pt x="734" y="597"/>
                  </a:cubicBezTo>
                  <a:lnTo>
                    <a:pt x="716" y="615"/>
                  </a:lnTo>
                  <a:close/>
                  <a:moveTo>
                    <a:pt x="538" y="556"/>
                  </a:moveTo>
                  <a:cubicBezTo>
                    <a:pt x="687" y="704"/>
                    <a:pt x="687" y="704"/>
                    <a:pt x="687" y="704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556" y="538"/>
                    <a:pt x="556" y="538"/>
                    <a:pt x="556" y="538"/>
                  </a:cubicBezTo>
                  <a:lnTo>
                    <a:pt x="538" y="556"/>
                  </a:lnTo>
                  <a:close/>
                  <a:moveTo>
                    <a:pt x="904" y="386"/>
                  </a:moveTo>
                  <a:cubicBezTo>
                    <a:pt x="773" y="517"/>
                    <a:pt x="773" y="517"/>
                    <a:pt x="773" y="517"/>
                  </a:cubicBezTo>
                  <a:cubicBezTo>
                    <a:pt x="794" y="538"/>
                    <a:pt x="794" y="538"/>
                    <a:pt x="794" y="538"/>
                  </a:cubicBezTo>
                  <a:cubicBezTo>
                    <a:pt x="815" y="559"/>
                    <a:pt x="815" y="594"/>
                    <a:pt x="794" y="615"/>
                  </a:cubicBezTo>
                  <a:cubicBezTo>
                    <a:pt x="786" y="623"/>
                    <a:pt x="777" y="628"/>
                    <a:pt x="767" y="630"/>
                  </a:cubicBezTo>
                  <a:cubicBezTo>
                    <a:pt x="775" y="640"/>
                    <a:pt x="780" y="652"/>
                    <a:pt x="780" y="666"/>
                  </a:cubicBezTo>
                  <a:cubicBezTo>
                    <a:pt x="780" y="680"/>
                    <a:pt x="774" y="694"/>
                    <a:pt x="764" y="705"/>
                  </a:cubicBezTo>
                  <a:cubicBezTo>
                    <a:pt x="753" y="716"/>
                    <a:pt x="736" y="722"/>
                    <a:pt x="720" y="720"/>
                  </a:cubicBezTo>
                  <a:cubicBezTo>
                    <a:pt x="722" y="736"/>
                    <a:pt x="716" y="752"/>
                    <a:pt x="704" y="764"/>
                  </a:cubicBezTo>
                  <a:cubicBezTo>
                    <a:pt x="694" y="775"/>
                    <a:pt x="680" y="780"/>
                    <a:pt x="666" y="780"/>
                  </a:cubicBezTo>
                  <a:cubicBezTo>
                    <a:pt x="653" y="780"/>
                    <a:pt x="640" y="775"/>
                    <a:pt x="630" y="766"/>
                  </a:cubicBezTo>
                  <a:cubicBezTo>
                    <a:pt x="628" y="777"/>
                    <a:pt x="623" y="786"/>
                    <a:pt x="615" y="794"/>
                  </a:cubicBezTo>
                  <a:cubicBezTo>
                    <a:pt x="605" y="804"/>
                    <a:pt x="591" y="810"/>
                    <a:pt x="576" y="810"/>
                  </a:cubicBezTo>
                  <a:cubicBezTo>
                    <a:pt x="562" y="810"/>
                    <a:pt x="548" y="804"/>
                    <a:pt x="538" y="794"/>
                  </a:cubicBezTo>
                  <a:cubicBezTo>
                    <a:pt x="517" y="773"/>
                    <a:pt x="517" y="773"/>
                    <a:pt x="517" y="773"/>
                  </a:cubicBezTo>
                  <a:cubicBezTo>
                    <a:pt x="496" y="794"/>
                    <a:pt x="496" y="794"/>
                    <a:pt x="496" y="794"/>
                  </a:cubicBezTo>
                  <a:cubicBezTo>
                    <a:pt x="485" y="805"/>
                    <a:pt x="471" y="810"/>
                    <a:pt x="457" y="810"/>
                  </a:cubicBezTo>
                  <a:cubicBezTo>
                    <a:pt x="443" y="810"/>
                    <a:pt x="429" y="805"/>
                    <a:pt x="419" y="794"/>
                  </a:cubicBezTo>
                  <a:cubicBezTo>
                    <a:pt x="411" y="786"/>
                    <a:pt x="406" y="777"/>
                    <a:pt x="404" y="766"/>
                  </a:cubicBezTo>
                  <a:cubicBezTo>
                    <a:pt x="393" y="775"/>
                    <a:pt x="381" y="780"/>
                    <a:pt x="368" y="780"/>
                  </a:cubicBezTo>
                  <a:cubicBezTo>
                    <a:pt x="354" y="780"/>
                    <a:pt x="340" y="775"/>
                    <a:pt x="329" y="764"/>
                  </a:cubicBezTo>
                  <a:cubicBezTo>
                    <a:pt x="319" y="754"/>
                    <a:pt x="313" y="740"/>
                    <a:pt x="313" y="725"/>
                  </a:cubicBezTo>
                  <a:cubicBezTo>
                    <a:pt x="313" y="723"/>
                    <a:pt x="313" y="722"/>
                    <a:pt x="314" y="720"/>
                  </a:cubicBezTo>
                  <a:cubicBezTo>
                    <a:pt x="312" y="720"/>
                    <a:pt x="310" y="720"/>
                    <a:pt x="308" y="720"/>
                  </a:cubicBezTo>
                  <a:cubicBezTo>
                    <a:pt x="294" y="720"/>
                    <a:pt x="280" y="715"/>
                    <a:pt x="270" y="704"/>
                  </a:cubicBezTo>
                  <a:cubicBezTo>
                    <a:pt x="259" y="694"/>
                    <a:pt x="254" y="680"/>
                    <a:pt x="254" y="666"/>
                  </a:cubicBezTo>
                  <a:cubicBezTo>
                    <a:pt x="254" y="652"/>
                    <a:pt x="259" y="640"/>
                    <a:pt x="267" y="630"/>
                  </a:cubicBezTo>
                  <a:cubicBezTo>
                    <a:pt x="257" y="628"/>
                    <a:pt x="248" y="623"/>
                    <a:pt x="240" y="615"/>
                  </a:cubicBezTo>
                  <a:cubicBezTo>
                    <a:pt x="229" y="605"/>
                    <a:pt x="224" y="591"/>
                    <a:pt x="224" y="576"/>
                  </a:cubicBezTo>
                  <a:cubicBezTo>
                    <a:pt x="224" y="562"/>
                    <a:pt x="229" y="548"/>
                    <a:pt x="240" y="538"/>
                  </a:cubicBezTo>
                  <a:cubicBezTo>
                    <a:pt x="261" y="517"/>
                    <a:pt x="261" y="517"/>
                    <a:pt x="261" y="517"/>
                  </a:cubicBezTo>
                  <a:cubicBezTo>
                    <a:pt x="130" y="386"/>
                    <a:pt x="130" y="386"/>
                    <a:pt x="130" y="386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408" y="107"/>
                    <a:pt x="408" y="107"/>
                    <a:pt x="408" y="107"/>
                  </a:cubicBezTo>
                  <a:cubicBezTo>
                    <a:pt x="386" y="130"/>
                    <a:pt x="386" y="130"/>
                    <a:pt x="386" y="130"/>
                  </a:cubicBezTo>
                  <a:cubicBezTo>
                    <a:pt x="517" y="261"/>
                    <a:pt x="517" y="261"/>
                    <a:pt x="517" y="261"/>
                  </a:cubicBezTo>
                  <a:cubicBezTo>
                    <a:pt x="648" y="129"/>
                    <a:pt x="648" y="129"/>
                    <a:pt x="648" y="129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733" y="0"/>
                    <a:pt x="733" y="0"/>
                    <a:pt x="733" y="0"/>
                  </a:cubicBezTo>
                  <a:cubicBezTo>
                    <a:pt x="1034" y="301"/>
                    <a:pt x="1034" y="301"/>
                    <a:pt x="1034" y="301"/>
                  </a:cubicBezTo>
                  <a:cubicBezTo>
                    <a:pt x="926" y="408"/>
                    <a:pt x="926" y="408"/>
                    <a:pt x="926" y="408"/>
                  </a:cubicBezTo>
                  <a:lnTo>
                    <a:pt x="904" y="386"/>
                  </a:lnTo>
                  <a:close/>
                  <a:moveTo>
                    <a:pt x="107" y="372"/>
                  </a:moveTo>
                  <a:cubicBezTo>
                    <a:pt x="372" y="107"/>
                    <a:pt x="372" y="107"/>
                    <a:pt x="372" y="107"/>
                  </a:cubicBezTo>
                  <a:cubicBezTo>
                    <a:pt x="301" y="36"/>
                    <a:pt x="301" y="36"/>
                    <a:pt x="301" y="36"/>
                  </a:cubicBezTo>
                  <a:cubicBezTo>
                    <a:pt x="36" y="301"/>
                    <a:pt x="36" y="301"/>
                    <a:pt x="36" y="301"/>
                  </a:cubicBezTo>
                  <a:lnTo>
                    <a:pt x="107" y="372"/>
                  </a:lnTo>
                  <a:close/>
                  <a:moveTo>
                    <a:pt x="661" y="107"/>
                  </a:moveTo>
                  <a:cubicBezTo>
                    <a:pt x="794" y="240"/>
                    <a:pt x="794" y="240"/>
                    <a:pt x="794" y="240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6" y="372"/>
                    <a:pt x="926" y="372"/>
                    <a:pt x="926" y="372"/>
                  </a:cubicBezTo>
                  <a:cubicBezTo>
                    <a:pt x="998" y="301"/>
                    <a:pt x="998" y="301"/>
                    <a:pt x="998" y="301"/>
                  </a:cubicBezTo>
                  <a:cubicBezTo>
                    <a:pt x="733" y="36"/>
                    <a:pt x="733" y="36"/>
                    <a:pt x="733" y="36"/>
                  </a:cubicBezTo>
                  <a:lnTo>
                    <a:pt x="661" y="107"/>
                  </a:lnTo>
                  <a:close/>
                  <a:moveTo>
                    <a:pt x="258" y="597"/>
                  </a:moveTo>
                  <a:cubicBezTo>
                    <a:pt x="269" y="609"/>
                    <a:pt x="288" y="609"/>
                    <a:pt x="299" y="597"/>
                  </a:cubicBezTo>
                  <a:cubicBezTo>
                    <a:pt x="359" y="538"/>
                    <a:pt x="359" y="538"/>
                    <a:pt x="359" y="538"/>
                  </a:cubicBezTo>
                  <a:cubicBezTo>
                    <a:pt x="360" y="537"/>
                    <a:pt x="360" y="536"/>
                    <a:pt x="361" y="536"/>
                  </a:cubicBezTo>
                  <a:cubicBezTo>
                    <a:pt x="365" y="530"/>
                    <a:pt x="368" y="524"/>
                    <a:pt x="368" y="517"/>
                  </a:cubicBezTo>
                  <a:cubicBezTo>
                    <a:pt x="368" y="513"/>
                    <a:pt x="367" y="510"/>
                    <a:pt x="366" y="507"/>
                  </a:cubicBezTo>
                  <a:cubicBezTo>
                    <a:pt x="364" y="503"/>
                    <a:pt x="362" y="499"/>
                    <a:pt x="359" y="496"/>
                  </a:cubicBezTo>
                  <a:cubicBezTo>
                    <a:pt x="348" y="485"/>
                    <a:pt x="328" y="485"/>
                    <a:pt x="317" y="496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58" y="556"/>
                    <a:pt x="258" y="556"/>
                    <a:pt x="258" y="556"/>
                  </a:cubicBezTo>
                  <a:cubicBezTo>
                    <a:pt x="252" y="561"/>
                    <a:pt x="249" y="568"/>
                    <a:pt x="249" y="576"/>
                  </a:cubicBezTo>
                  <a:cubicBezTo>
                    <a:pt x="249" y="584"/>
                    <a:pt x="252" y="592"/>
                    <a:pt x="258" y="597"/>
                  </a:cubicBezTo>
                  <a:close/>
                  <a:moveTo>
                    <a:pt x="329" y="687"/>
                  </a:moveTo>
                  <a:cubicBezTo>
                    <a:pt x="448" y="567"/>
                    <a:pt x="448" y="567"/>
                    <a:pt x="448" y="567"/>
                  </a:cubicBezTo>
                  <a:cubicBezTo>
                    <a:pt x="450" y="566"/>
                    <a:pt x="451" y="564"/>
                    <a:pt x="452" y="563"/>
                  </a:cubicBezTo>
                  <a:cubicBezTo>
                    <a:pt x="455" y="558"/>
                    <a:pt x="457" y="552"/>
                    <a:pt x="457" y="547"/>
                  </a:cubicBezTo>
                  <a:cubicBezTo>
                    <a:pt x="457" y="543"/>
                    <a:pt x="456" y="539"/>
                    <a:pt x="455" y="535"/>
                  </a:cubicBezTo>
                  <a:cubicBezTo>
                    <a:pt x="454" y="533"/>
                    <a:pt x="452" y="531"/>
                    <a:pt x="451" y="529"/>
                  </a:cubicBezTo>
                  <a:cubicBezTo>
                    <a:pt x="450" y="528"/>
                    <a:pt x="449" y="527"/>
                    <a:pt x="448" y="526"/>
                  </a:cubicBezTo>
                  <a:cubicBezTo>
                    <a:pt x="446" y="523"/>
                    <a:pt x="443" y="522"/>
                    <a:pt x="440" y="520"/>
                  </a:cubicBezTo>
                  <a:cubicBezTo>
                    <a:pt x="440" y="520"/>
                    <a:pt x="439" y="520"/>
                    <a:pt x="439" y="519"/>
                  </a:cubicBezTo>
                  <a:cubicBezTo>
                    <a:pt x="438" y="519"/>
                    <a:pt x="436" y="519"/>
                    <a:pt x="435" y="518"/>
                  </a:cubicBezTo>
                  <a:cubicBezTo>
                    <a:pt x="434" y="518"/>
                    <a:pt x="434" y="518"/>
                    <a:pt x="433" y="518"/>
                  </a:cubicBezTo>
                  <a:cubicBezTo>
                    <a:pt x="431" y="517"/>
                    <a:pt x="429" y="517"/>
                    <a:pt x="428" y="517"/>
                  </a:cubicBezTo>
                  <a:cubicBezTo>
                    <a:pt x="428" y="517"/>
                    <a:pt x="427" y="517"/>
                    <a:pt x="427" y="517"/>
                  </a:cubicBezTo>
                  <a:cubicBezTo>
                    <a:pt x="426" y="517"/>
                    <a:pt x="424" y="517"/>
                    <a:pt x="422" y="518"/>
                  </a:cubicBezTo>
                  <a:cubicBezTo>
                    <a:pt x="422" y="518"/>
                    <a:pt x="421" y="518"/>
                    <a:pt x="421" y="518"/>
                  </a:cubicBezTo>
                  <a:cubicBezTo>
                    <a:pt x="420" y="518"/>
                    <a:pt x="418" y="519"/>
                    <a:pt x="416" y="519"/>
                  </a:cubicBezTo>
                  <a:cubicBezTo>
                    <a:pt x="416" y="520"/>
                    <a:pt x="415" y="520"/>
                    <a:pt x="415" y="520"/>
                  </a:cubicBezTo>
                  <a:cubicBezTo>
                    <a:pt x="413" y="521"/>
                    <a:pt x="412" y="521"/>
                    <a:pt x="411" y="522"/>
                  </a:cubicBezTo>
                  <a:cubicBezTo>
                    <a:pt x="410" y="523"/>
                    <a:pt x="409" y="524"/>
                    <a:pt x="407" y="525"/>
                  </a:cubicBezTo>
                  <a:cubicBezTo>
                    <a:pt x="407" y="525"/>
                    <a:pt x="407" y="526"/>
                    <a:pt x="407" y="526"/>
                  </a:cubicBezTo>
                  <a:cubicBezTo>
                    <a:pt x="377" y="556"/>
                    <a:pt x="377" y="556"/>
                    <a:pt x="377" y="556"/>
                  </a:cubicBezTo>
                  <a:cubicBezTo>
                    <a:pt x="317" y="615"/>
                    <a:pt x="317" y="615"/>
                    <a:pt x="317" y="615"/>
                  </a:cubicBezTo>
                  <a:cubicBezTo>
                    <a:pt x="287" y="645"/>
                    <a:pt x="287" y="645"/>
                    <a:pt x="287" y="645"/>
                  </a:cubicBezTo>
                  <a:cubicBezTo>
                    <a:pt x="282" y="650"/>
                    <a:pt x="279" y="658"/>
                    <a:pt x="279" y="666"/>
                  </a:cubicBezTo>
                  <a:cubicBezTo>
                    <a:pt x="279" y="674"/>
                    <a:pt x="282" y="681"/>
                    <a:pt x="287" y="687"/>
                  </a:cubicBezTo>
                  <a:cubicBezTo>
                    <a:pt x="299" y="698"/>
                    <a:pt x="318" y="698"/>
                    <a:pt x="329" y="687"/>
                  </a:cubicBezTo>
                  <a:close/>
                  <a:moveTo>
                    <a:pt x="389" y="746"/>
                  </a:moveTo>
                  <a:cubicBezTo>
                    <a:pt x="478" y="657"/>
                    <a:pt x="478" y="657"/>
                    <a:pt x="478" y="657"/>
                  </a:cubicBezTo>
                  <a:cubicBezTo>
                    <a:pt x="508" y="627"/>
                    <a:pt x="508" y="627"/>
                    <a:pt x="508" y="627"/>
                  </a:cubicBezTo>
                  <a:cubicBezTo>
                    <a:pt x="513" y="621"/>
                    <a:pt x="516" y="614"/>
                    <a:pt x="516" y="606"/>
                  </a:cubicBezTo>
                  <a:cubicBezTo>
                    <a:pt x="516" y="598"/>
                    <a:pt x="513" y="591"/>
                    <a:pt x="508" y="585"/>
                  </a:cubicBezTo>
                  <a:cubicBezTo>
                    <a:pt x="506" y="584"/>
                    <a:pt x="504" y="582"/>
                    <a:pt x="502" y="581"/>
                  </a:cubicBezTo>
                  <a:cubicBezTo>
                    <a:pt x="502" y="581"/>
                    <a:pt x="501" y="580"/>
                    <a:pt x="500" y="580"/>
                  </a:cubicBezTo>
                  <a:cubicBezTo>
                    <a:pt x="499" y="579"/>
                    <a:pt x="497" y="579"/>
                    <a:pt x="496" y="578"/>
                  </a:cubicBezTo>
                  <a:cubicBezTo>
                    <a:pt x="495" y="578"/>
                    <a:pt x="494" y="578"/>
                    <a:pt x="494" y="578"/>
                  </a:cubicBezTo>
                  <a:cubicBezTo>
                    <a:pt x="492" y="577"/>
                    <a:pt x="490" y="577"/>
                    <a:pt x="487" y="577"/>
                  </a:cubicBezTo>
                  <a:cubicBezTo>
                    <a:pt x="487" y="577"/>
                    <a:pt x="487" y="577"/>
                    <a:pt x="487" y="577"/>
                  </a:cubicBezTo>
                  <a:cubicBezTo>
                    <a:pt x="484" y="577"/>
                    <a:pt x="482" y="577"/>
                    <a:pt x="479" y="578"/>
                  </a:cubicBezTo>
                  <a:cubicBezTo>
                    <a:pt x="474" y="579"/>
                    <a:pt x="470" y="582"/>
                    <a:pt x="466" y="585"/>
                  </a:cubicBezTo>
                  <a:cubicBezTo>
                    <a:pt x="347" y="705"/>
                    <a:pt x="347" y="705"/>
                    <a:pt x="347" y="705"/>
                  </a:cubicBezTo>
                  <a:cubicBezTo>
                    <a:pt x="341" y="710"/>
                    <a:pt x="338" y="717"/>
                    <a:pt x="338" y="725"/>
                  </a:cubicBezTo>
                  <a:cubicBezTo>
                    <a:pt x="338" y="733"/>
                    <a:pt x="342" y="741"/>
                    <a:pt x="347" y="746"/>
                  </a:cubicBezTo>
                  <a:cubicBezTo>
                    <a:pt x="359" y="758"/>
                    <a:pt x="377" y="758"/>
                    <a:pt x="389" y="746"/>
                  </a:cubicBezTo>
                  <a:close/>
                  <a:moveTo>
                    <a:pt x="538" y="716"/>
                  </a:moveTo>
                  <a:cubicBezTo>
                    <a:pt x="543" y="711"/>
                    <a:pt x="546" y="703"/>
                    <a:pt x="546" y="696"/>
                  </a:cubicBezTo>
                  <a:cubicBezTo>
                    <a:pt x="546" y="688"/>
                    <a:pt x="543" y="680"/>
                    <a:pt x="538" y="675"/>
                  </a:cubicBezTo>
                  <a:cubicBezTo>
                    <a:pt x="532" y="669"/>
                    <a:pt x="524" y="666"/>
                    <a:pt x="517" y="666"/>
                  </a:cubicBezTo>
                  <a:cubicBezTo>
                    <a:pt x="511" y="666"/>
                    <a:pt x="506" y="668"/>
                    <a:pt x="501" y="671"/>
                  </a:cubicBezTo>
                  <a:cubicBezTo>
                    <a:pt x="499" y="672"/>
                    <a:pt x="497" y="673"/>
                    <a:pt x="496" y="675"/>
                  </a:cubicBezTo>
                  <a:cubicBezTo>
                    <a:pt x="436" y="734"/>
                    <a:pt x="436" y="734"/>
                    <a:pt x="436" y="734"/>
                  </a:cubicBezTo>
                  <a:cubicBezTo>
                    <a:pt x="431" y="740"/>
                    <a:pt x="428" y="747"/>
                    <a:pt x="428" y="755"/>
                  </a:cubicBezTo>
                  <a:cubicBezTo>
                    <a:pt x="428" y="763"/>
                    <a:pt x="431" y="770"/>
                    <a:pt x="436" y="776"/>
                  </a:cubicBezTo>
                  <a:cubicBezTo>
                    <a:pt x="448" y="787"/>
                    <a:pt x="467" y="787"/>
                    <a:pt x="478" y="776"/>
                  </a:cubicBezTo>
                  <a:lnTo>
                    <a:pt x="538" y="716"/>
                  </a:lnTo>
                  <a:close/>
                  <a:moveTo>
                    <a:pt x="606" y="755"/>
                  </a:moveTo>
                  <a:cubicBezTo>
                    <a:pt x="606" y="747"/>
                    <a:pt x="603" y="740"/>
                    <a:pt x="597" y="734"/>
                  </a:cubicBezTo>
                  <a:cubicBezTo>
                    <a:pt x="570" y="707"/>
                    <a:pt x="570" y="707"/>
                    <a:pt x="570" y="707"/>
                  </a:cubicBezTo>
                  <a:cubicBezTo>
                    <a:pt x="570" y="710"/>
                    <a:pt x="569" y="713"/>
                    <a:pt x="568" y="716"/>
                  </a:cubicBezTo>
                  <a:cubicBezTo>
                    <a:pt x="567" y="717"/>
                    <a:pt x="567" y="717"/>
                    <a:pt x="567" y="718"/>
                  </a:cubicBezTo>
                  <a:cubicBezTo>
                    <a:pt x="566" y="720"/>
                    <a:pt x="564" y="722"/>
                    <a:pt x="563" y="724"/>
                  </a:cubicBezTo>
                  <a:cubicBezTo>
                    <a:pt x="563" y="725"/>
                    <a:pt x="562" y="726"/>
                    <a:pt x="562" y="727"/>
                  </a:cubicBezTo>
                  <a:cubicBezTo>
                    <a:pt x="560" y="729"/>
                    <a:pt x="558" y="732"/>
                    <a:pt x="556" y="734"/>
                  </a:cubicBezTo>
                  <a:cubicBezTo>
                    <a:pt x="535" y="755"/>
                    <a:pt x="535" y="755"/>
                    <a:pt x="535" y="755"/>
                  </a:cubicBezTo>
                  <a:cubicBezTo>
                    <a:pt x="556" y="776"/>
                    <a:pt x="556" y="776"/>
                    <a:pt x="556" y="776"/>
                  </a:cubicBezTo>
                  <a:cubicBezTo>
                    <a:pt x="567" y="787"/>
                    <a:pt x="586" y="787"/>
                    <a:pt x="597" y="776"/>
                  </a:cubicBezTo>
                  <a:cubicBezTo>
                    <a:pt x="597" y="776"/>
                    <a:pt x="597" y="776"/>
                    <a:pt x="597" y="776"/>
                  </a:cubicBezTo>
                  <a:cubicBezTo>
                    <a:pt x="603" y="770"/>
                    <a:pt x="606" y="763"/>
                    <a:pt x="606" y="755"/>
                  </a:cubicBezTo>
                  <a:close/>
                  <a:moveTo>
                    <a:pt x="776" y="556"/>
                  </a:moveTo>
                  <a:cubicBezTo>
                    <a:pt x="576" y="356"/>
                    <a:pt x="576" y="356"/>
                    <a:pt x="576" y="356"/>
                  </a:cubicBezTo>
                  <a:cubicBezTo>
                    <a:pt x="536" y="396"/>
                    <a:pt x="536" y="396"/>
                    <a:pt x="536" y="396"/>
                  </a:cubicBezTo>
                  <a:cubicBezTo>
                    <a:pt x="496" y="436"/>
                    <a:pt x="496" y="436"/>
                    <a:pt x="496" y="436"/>
                  </a:cubicBezTo>
                  <a:cubicBezTo>
                    <a:pt x="495" y="437"/>
                    <a:pt x="495" y="437"/>
                    <a:pt x="494" y="438"/>
                  </a:cubicBezTo>
                  <a:cubicBezTo>
                    <a:pt x="492" y="440"/>
                    <a:pt x="490" y="442"/>
                    <a:pt x="488" y="443"/>
                  </a:cubicBezTo>
                  <a:cubicBezTo>
                    <a:pt x="486" y="444"/>
                    <a:pt x="484" y="445"/>
                    <a:pt x="482" y="446"/>
                  </a:cubicBezTo>
                  <a:cubicBezTo>
                    <a:pt x="481" y="447"/>
                    <a:pt x="480" y="448"/>
                    <a:pt x="478" y="448"/>
                  </a:cubicBezTo>
                  <a:cubicBezTo>
                    <a:pt x="475" y="450"/>
                    <a:pt x="472" y="450"/>
                    <a:pt x="469" y="451"/>
                  </a:cubicBezTo>
                  <a:cubicBezTo>
                    <a:pt x="468" y="451"/>
                    <a:pt x="468" y="451"/>
                    <a:pt x="468" y="451"/>
                  </a:cubicBezTo>
                  <a:cubicBezTo>
                    <a:pt x="458" y="453"/>
                    <a:pt x="446" y="452"/>
                    <a:pt x="436" y="448"/>
                  </a:cubicBezTo>
                  <a:cubicBezTo>
                    <a:pt x="436" y="448"/>
                    <a:pt x="436" y="448"/>
                    <a:pt x="435" y="448"/>
                  </a:cubicBezTo>
                  <a:cubicBezTo>
                    <a:pt x="429" y="445"/>
                    <a:pt x="423" y="441"/>
                    <a:pt x="418" y="436"/>
                  </a:cubicBezTo>
                  <a:cubicBezTo>
                    <a:pt x="415" y="433"/>
                    <a:pt x="412" y="429"/>
                    <a:pt x="410" y="425"/>
                  </a:cubicBezTo>
                  <a:cubicBezTo>
                    <a:pt x="405" y="416"/>
                    <a:pt x="402" y="407"/>
                    <a:pt x="402" y="398"/>
                  </a:cubicBezTo>
                  <a:cubicBezTo>
                    <a:pt x="402" y="391"/>
                    <a:pt x="404" y="385"/>
                    <a:pt x="406" y="379"/>
                  </a:cubicBezTo>
                  <a:cubicBezTo>
                    <a:pt x="409" y="371"/>
                    <a:pt x="413" y="365"/>
                    <a:pt x="418" y="359"/>
                  </a:cubicBezTo>
                  <a:cubicBezTo>
                    <a:pt x="499" y="278"/>
                    <a:pt x="499" y="278"/>
                    <a:pt x="499" y="278"/>
                  </a:cubicBezTo>
                  <a:cubicBezTo>
                    <a:pt x="368" y="147"/>
                    <a:pt x="368" y="147"/>
                    <a:pt x="368" y="147"/>
                  </a:cubicBezTo>
                  <a:cubicBezTo>
                    <a:pt x="148" y="368"/>
                    <a:pt x="148" y="368"/>
                    <a:pt x="148" y="368"/>
                  </a:cubicBezTo>
                  <a:cubicBezTo>
                    <a:pt x="279" y="499"/>
                    <a:pt x="279" y="499"/>
                    <a:pt x="279" y="499"/>
                  </a:cubicBezTo>
                  <a:cubicBezTo>
                    <a:pt x="299" y="478"/>
                    <a:pt x="299" y="478"/>
                    <a:pt x="299" y="478"/>
                  </a:cubicBezTo>
                  <a:cubicBezTo>
                    <a:pt x="321" y="457"/>
                    <a:pt x="355" y="457"/>
                    <a:pt x="377" y="478"/>
                  </a:cubicBezTo>
                  <a:cubicBezTo>
                    <a:pt x="377" y="478"/>
                    <a:pt x="377" y="478"/>
                    <a:pt x="377" y="478"/>
                  </a:cubicBezTo>
                  <a:cubicBezTo>
                    <a:pt x="377" y="479"/>
                    <a:pt x="378" y="479"/>
                    <a:pt x="378" y="480"/>
                  </a:cubicBezTo>
                  <a:cubicBezTo>
                    <a:pt x="380" y="482"/>
                    <a:pt x="381" y="483"/>
                    <a:pt x="383" y="485"/>
                  </a:cubicBezTo>
                  <a:cubicBezTo>
                    <a:pt x="383" y="486"/>
                    <a:pt x="384" y="487"/>
                    <a:pt x="384" y="488"/>
                  </a:cubicBezTo>
                  <a:cubicBezTo>
                    <a:pt x="386" y="490"/>
                    <a:pt x="387" y="492"/>
                    <a:pt x="388" y="494"/>
                  </a:cubicBezTo>
                  <a:cubicBezTo>
                    <a:pt x="388" y="495"/>
                    <a:pt x="389" y="496"/>
                    <a:pt x="389" y="496"/>
                  </a:cubicBezTo>
                  <a:cubicBezTo>
                    <a:pt x="390" y="499"/>
                    <a:pt x="391" y="502"/>
                    <a:pt x="392" y="505"/>
                  </a:cubicBezTo>
                  <a:cubicBezTo>
                    <a:pt x="393" y="504"/>
                    <a:pt x="394" y="504"/>
                    <a:pt x="395" y="503"/>
                  </a:cubicBezTo>
                  <a:cubicBezTo>
                    <a:pt x="396" y="502"/>
                    <a:pt x="397" y="501"/>
                    <a:pt x="399" y="500"/>
                  </a:cubicBezTo>
                  <a:cubicBezTo>
                    <a:pt x="400" y="499"/>
                    <a:pt x="401" y="499"/>
                    <a:pt x="403" y="498"/>
                  </a:cubicBezTo>
                  <a:cubicBezTo>
                    <a:pt x="404" y="497"/>
                    <a:pt x="406" y="496"/>
                    <a:pt x="408" y="495"/>
                  </a:cubicBezTo>
                  <a:cubicBezTo>
                    <a:pt x="409" y="495"/>
                    <a:pt x="409" y="495"/>
                    <a:pt x="410" y="495"/>
                  </a:cubicBezTo>
                  <a:cubicBezTo>
                    <a:pt x="416" y="493"/>
                    <a:pt x="422" y="492"/>
                    <a:pt x="428" y="492"/>
                  </a:cubicBezTo>
                  <a:cubicBezTo>
                    <a:pt x="428" y="492"/>
                    <a:pt x="428" y="492"/>
                    <a:pt x="428" y="492"/>
                  </a:cubicBezTo>
                  <a:cubicBezTo>
                    <a:pt x="428" y="492"/>
                    <a:pt x="428" y="492"/>
                    <a:pt x="429" y="492"/>
                  </a:cubicBezTo>
                  <a:cubicBezTo>
                    <a:pt x="432" y="492"/>
                    <a:pt x="435" y="492"/>
                    <a:pt x="438" y="493"/>
                  </a:cubicBezTo>
                  <a:cubicBezTo>
                    <a:pt x="440" y="493"/>
                    <a:pt x="442" y="494"/>
                    <a:pt x="443" y="494"/>
                  </a:cubicBezTo>
                  <a:cubicBezTo>
                    <a:pt x="445" y="495"/>
                    <a:pt x="447" y="495"/>
                    <a:pt x="448" y="496"/>
                  </a:cubicBezTo>
                  <a:cubicBezTo>
                    <a:pt x="450" y="497"/>
                    <a:pt x="452" y="498"/>
                    <a:pt x="453" y="499"/>
                  </a:cubicBezTo>
                  <a:cubicBezTo>
                    <a:pt x="455" y="499"/>
                    <a:pt x="456" y="500"/>
                    <a:pt x="458" y="501"/>
                  </a:cubicBezTo>
                  <a:cubicBezTo>
                    <a:pt x="459" y="502"/>
                    <a:pt x="460" y="503"/>
                    <a:pt x="461" y="504"/>
                  </a:cubicBezTo>
                  <a:cubicBezTo>
                    <a:pt x="463" y="505"/>
                    <a:pt x="465" y="506"/>
                    <a:pt x="466" y="508"/>
                  </a:cubicBezTo>
                  <a:cubicBezTo>
                    <a:pt x="466" y="508"/>
                    <a:pt x="466" y="508"/>
                    <a:pt x="466" y="508"/>
                  </a:cubicBezTo>
                  <a:cubicBezTo>
                    <a:pt x="467" y="509"/>
                    <a:pt x="468" y="511"/>
                    <a:pt x="469" y="512"/>
                  </a:cubicBezTo>
                  <a:cubicBezTo>
                    <a:pt x="473" y="516"/>
                    <a:pt x="476" y="521"/>
                    <a:pt x="478" y="526"/>
                  </a:cubicBezTo>
                  <a:cubicBezTo>
                    <a:pt x="481" y="532"/>
                    <a:pt x="482" y="539"/>
                    <a:pt x="482" y="547"/>
                  </a:cubicBezTo>
                  <a:cubicBezTo>
                    <a:pt x="482" y="547"/>
                    <a:pt x="482" y="547"/>
                    <a:pt x="482" y="547"/>
                  </a:cubicBezTo>
                  <a:cubicBezTo>
                    <a:pt x="482" y="549"/>
                    <a:pt x="482" y="550"/>
                    <a:pt x="482" y="552"/>
                  </a:cubicBezTo>
                  <a:cubicBezTo>
                    <a:pt x="482" y="552"/>
                    <a:pt x="483" y="552"/>
                    <a:pt x="483" y="552"/>
                  </a:cubicBezTo>
                  <a:cubicBezTo>
                    <a:pt x="486" y="551"/>
                    <a:pt x="490" y="551"/>
                    <a:pt x="493" y="552"/>
                  </a:cubicBezTo>
                  <a:cubicBezTo>
                    <a:pt x="493" y="552"/>
                    <a:pt x="494" y="552"/>
                    <a:pt x="494" y="552"/>
                  </a:cubicBezTo>
                  <a:cubicBezTo>
                    <a:pt x="498" y="552"/>
                    <a:pt x="501" y="553"/>
                    <a:pt x="504" y="554"/>
                  </a:cubicBezTo>
                  <a:cubicBezTo>
                    <a:pt x="505" y="555"/>
                    <a:pt x="506" y="555"/>
                    <a:pt x="506" y="555"/>
                  </a:cubicBezTo>
                  <a:cubicBezTo>
                    <a:pt x="510" y="556"/>
                    <a:pt x="513" y="558"/>
                    <a:pt x="516" y="560"/>
                  </a:cubicBezTo>
                  <a:cubicBezTo>
                    <a:pt x="516" y="560"/>
                    <a:pt x="517" y="560"/>
                    <a:pt x="517" y="561"/>
                  </a:cubicBezTo>
                  <a:cubicBezTo>
                    <a:pt x="520" y="563"/>
                    <a:pt x="523" y="565"/>
                    <a:pt x="526" y="567"/>
                  </a:cubicBezTo>
                  <a:cubicBezTo>
                    <a:pt x="536" y="578"/>
                    <a:pt x="542" y="591"/>
                    <a:pt x="542" y="606"/>
                  </a:cubicBezTo>
                  <a:cubicBezTo>
                    <a:pt x="542" y="610"/>
                    <a:pt x="541" y="613"/>
                    <a:pt x="541" y="616"/>
                  </a:cubicBezTo>
                  <a:cubicBezTo>
                    <a:pt x="541" y="618"/>
                    <a:pt x="540" y="619"/>
                    <a:pt x="540" y="620"/>
                  </a:cubicBezTo>
                  <a:cubicBezTo>
                    <a:pt x="539" y="622"/>
                    <a:pt x="539" y="624"/>
                    <a:pt x="538" y="626"/>
                  </a:cubicBezTo>
                  <a:cubicBezTo>
                    <a:pt x="537" y="628"/>
                    <a:pt x="537" y="629"/>
                    <a:pt x="536" y="630"/>
                  </a:cubicBezTo>
                  <a:cubicBezTo>
                    <a:pt x="535" y="632"/>
                    <a:pt x="534" y="634"/>
                    <a:pt x="533" y="635"/>
                  </a:cubicBezTo>
                  <a:cubicBezTo>
                    <a:pt x="533" y="637"/>
                    <a:pt x="532" y="638"/>
                    <a:pt x="531" y="639"/>
                  </a:cubicBezTo>
                  <a:cubicBezTo>
                    <a:pt x="530" y="640"/>
                    <a:pt x="529" y="641"/>
                    <a:pt x="529" y="642"/>
                  </a:cubicBezTo>
                  <a:cubicBezTo>
                    <a:pt x="531" y="643"/>
                    <a:pt x="534" y="643"/>
                    <a:pt x="537" y="645"/>
                  </a:cubicBezTo>
                  <a:cubicBezTo>
                    <a:pt x="537" y="645"/>
                    <a:pt x="538" y="645"/>
                    <a:pt x="539" y="645"/>
                  </a:cubicBezTo>
                  <a:cubicBezTo>
                    <a:pt x="541" y="646"/>
                    <a:pt x="543" y="648"/>
                    <a:pt x="546" y="649"/>
                  </a:cubicBezTo>
                  <a:cubicBezTo>
                    <a:pt x="546" y="649"/>
                    <a:pt x="547" y="650"/>
                    <a:pt x="548" y="650"/>
                  </a:cubicBezTo>
                  <a:cubicBezTo>
                    <a:pt x="551" y="652"/>
                    <a:pt x="553" y="654"/>
                    <a:pt x="556" y="657"/>
                  </a:cubicBezTo>
                  <a:cubicBezTo>
                    <a:pt x="645" y="746"/>
                    <a:pt x="645" y="746"/>
                    <a:pt x="645" y="746"/>
                  </a:cubicBezTo>
                  <a:cubicBezTo>
                    <a:pt x="656" y="757"/>
                    <a:pt x="676" y="757"/>
                    <a:pt x="687" y="746"/>
                  </a:cubicBezTo>
                  <a:cubicBezTo>
                    <a:pt x="698" y="735"/>
                    <a:pt x="698" y="716"/>
                    <a:pt x="687" y="705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716" y="698"/>
                    <a:pt x="735" y="698"/>
                    <a:pt x="746" y="687"/>
                  </a:cubicBezTo>
                  <a:cubicBezTo>
                    <a:pt x="752" y="681"/>
                    <a:pt x="755" y="674"/>
                    <a:pt x="755" y="666"/>
                  </a:cubicBezTo>
                  <a:cubicBezTo>
                    <a:pt x="755" y="658"/>
                    <a:pt x="752" y="650"/>
                    <a:pt x="746" y="645"/>
                  </a:cubicBezTo>
                  <a:cubicBezTo>
                    <a:pt x="716" y="615"/>
                    <a:pt x="716" y="615"/>
                    <a:pt x="716" y="615"/>
                  </a:cubicBezTo>
                  <a:cubicBezTo>
                    <a:pt x="734" y="597"/>
                    <a:pt x="734" y="597"/>
                    <a:pt x="734" y="597"/>
                  </a:cubicBezTo>
                  <a:cubicBezTo>
                    <a:pt x="740" y="603"/>
                    <a:pt x="747" y="606"/>
                    <a:pt x="755" y="606"/>
                  </a:cubicBezTo>
                  <a:cubicBezTo>
                    <a:pt x="755" y="606"/>
                    <a:pt x="755" y="606"/>
                    <a:pt x="755" y="606"/>
                  </a:cubicBezTo>
                  <a:cubicBezTo>
                    <a:pt x="763" y="606"/>
                    <a:pt x="770" y="603"/>
                    <a:pt x="776" y="597"/>
                  </a:cubicBezTo>
                  <a:cubicBezTo>
                    <a:pt x="787" y="586"/>
                    <a:pt x="787" y="567"/>
                    <a:pt x="776" y="556"/>
                  </a:cubicBezTo>
                  <a:close/>
                  <a:moveTo>
                    <a:pt x="886" y="368"/>
                  </a:moveTo>
                  <a:cubicBezTo>
                    <a:pt x="776" y="258"/>
                    <a:pt x="776" y="258"/>
                    <a:pt x="776" y="258"/>
                  </a:cubicBezTo>
                  <a:cubicBezTo>
                    <a:pt x="666" y="147"/>
                    <a:pt x="666" y="147"/>
                    <a:pt x="666" y="147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436" y="377"/>
                    <a:pt x="436" y="377"/>
                    <a:pt x="436" y="377"/>
                  </a:cubicBezTo>
                  <a:cubicBezTo>
                    <a:pt x="433" y="380"/>
                    <a:pt x="431" y="383"/>
                    <a:pt x="430" y="387"/>
                  </a:cubicBezTo>
                  <a:cubicBezTo>
                    <a:pt x="429" y="390"/>
                    <a:pt x="428" y="394"/>
                    <a:pt x="428" y="398"/>
                  </a:cubicBezTo>
                  <a:cubicBezTo>
                    <a:pt x="428" y="402"/>
                    <a:pt x="429" y="406"/>
                    <a:pt x="431" y="410"/>
                  </a:cubicBezTo>
                  <a:cubicBezTo>
                    <a:pt x="432" y="413"/>
                    <a:pt x="434" y="416"/>
                    <a:pt x="436" y="418"/>
                  </a:cubicBezTo>
                  <a:cubicBezTo>
                    <a:pt x="442" y="424"/>
                    <a:pt x="449" y="427"/>
                    <a:pt x="457" y="427"/>
                  </a:cubicBezTo>
                  <a:cubicBezTo>
                    <a:pt x="457" y="427"/>
                    <a:pt x="457" y="427"/>
                    <a:pt x="457" y="427"/>
                  </a:cubicBezTo>
                  <a:cubicBezTo>
                    <a:pt x="461" y="427"/>
                    <a:pt x="465" y="426"/>
                    <a:pt x="469" y="425"/>
                  </a:cubicBezTo>
                  <a:cubicBezTo>
                    <a:pt x="469" y="425"/>
                    <a:pt x="469" y="425"/>
                    <a:pt x="469" y="425"/>
                  </a:cubicBezTo>
                  <a:cubicBezTo>
                    <a:pt x="471" y="424"/>
                    <a:pt x="472" y="423"/>
                    <a:pt x="474" y="422"/>
                  </a:cubicBezTo>
                  <a:cubicBezTo>
                    <a:pt x="475" y="422"/>
                    <a:pt x="475" y="421"/>
                    <a:pt x="476" y="420"/>
                  </a:cubicBezTo>
                  <a:cubicBezTo>
                    <a:pt x="477" y="419"/>
                    <a:pt x="478" y="419"/>
                    <a:pt x="478" y="418"/>
                  </a:cubicBezTo>
                  <a:cubicBezTo>
                    <a:pt x="527" y="369"/>
                    <a:pt x="527" y="369"/>
                    <a:pt x="527" y="369"/>
                  </a:cubicBezTo>
                  <a:cubicBezTo>
                    <a:pt x="576" y="320"/>
                    <a:pt x="576" y="320"/>
                    <a:pt x="576" y="320"/>
                  </a:cubicBezTo>
                  <a:cubicBezTo>
                    <a:pt x="755" y="499"/>
                    <a:pt x="755" y="499"/>
                    <a:pt x="755" y="499"/>
                  </a:cubicBezTo>
                  <a:lnTo>
                    <a:pt x="886" y="368"/>
                  </a:lnTo>
                  <a:close/>
                  <a:moveTo>
                    <a:pt x="89" y="290"/>
                  </a:moveTo>
                  <a:cubicBezTo>
                    <a:pt x="118" y="319"/>
                    <a:pt x="118" y="319"/>
                    <a:pt x="118" y="319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18" y="260"/>
                    <a:pt x="118" y="260"/>
                    <a:pt x="118" y="260"/>
                  </a:cubicBezTo>
                  <a:lnTo>
                    <a:pt x="89" y="290"/>
                  </a:lnTo>
                  <a:close/>
                  <a:moveTo>
                    <a:pt x="945" y="290"/>
                  </a:moveTo>
                  <a:cubicBezTo>
                    <a:pt x="915" y="260"/>
                    <a:pt x="915" y="260"/>
                    <a:pt x="915" y="260"/>
                  </a:cubicBezTo>
                  <a:cubicBezTo>
                    <a:pt x="886" y="290"/>
                    <a:pt x="886" y="290"/>
                    <a:pt x="886" y="290"/>
                  </a:cubicBezTo>
                  <a:cubicBezTo>
                    <a:pt x="915" y="319"/>
                    <a:pt x="915" y="319"/>
                    <a:pt x="915" y="319"/>
                  </a:cubicBezTo>
                  <a:lnTo>
                    <a:pt x="945" y="2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179988" y="3502226"/>
            <a:ext cx="784024" cy="784024"/>
            <a:chOff x="4179988" y="3502226"/>
            <a:chExt cx="784024" cy="784024"/>
          </a:xfrm>
        </p:grpSpPr>
        <p:sp>
          <p:nvSpPr>
            <p:cNvPr id="7" name="Oval 6"/>
            <p:cNvSpPr/>
            <p:nvPr/>
          </p:nvSpPr>
          <p:spPr>
            <a:xfrm>
              <a:off x="4179988" y="3502226"/>
              <a:ext cx="784024" cy="78402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1" name="Oval 10"/>
            <p:cNvSpPr/>
            <p:nvPr/>
          </p:nvSpPr>
          <p:spPr>
            <a:xfrm>
              <a:off x="4232275" y="3554512"/>
              <a:ext cx="679452" cy="67945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1" name="Freeform 41"/>
            <p:cNvSpPr>
              <a:spLocks noEditPoints="1"/>
            </p:cNvSpPr>
            <p:nvPr/>
          </p:nvSpPr>
          <p:spPr bwMode="auto">
            <a:xfrm>
              <a:off x="4388137" y="3737519"/>
              <a:ext cx="385476" cy="303092"/>
            </a:xfrm>
            <a:custGeom>
              <a:avLst/>
              <a:gdLst>
                <a:gd name="T0" fmla="*/ 116 w 906"/>
                <a:gd name="T1" fmla="*/ 479 h 711"/>
                <a:gd name="T2" fmla="*/ 116 w 906"/>
                <a:gd name="T3" fmla="*/ 711 h 711"/>
                <a:gd name="T4" fmla="*/ 906 w 906"/>
                <a:gd name="T5" fmla="*/ 595 h 711"/>
                <a:gd name="T6" fmla="*/ 790 w 906"/>
                <a:gd name="T7" fmla="*/ 686 h 711"/>
                <a:gd name="T8" fmla="*/ 25 w 906"/>
                <a:gd name="T9" fmla="*/ 595 h 711"/>
                <a:gd name="T10" fmla="*/ 790 w 906"/>
                <a:gd name="T11" fmla="*/ 504 h 711"/>
                <a:gd name="T12" fmla="*/ 790 w 906"/>
                <a:gd name="T13" fmla="*/ 686 h 711"/>
                <a:gd name="T14" fmla="*/ 77 w 906"/>
                <a:gd name="T15" fmla="*/ 595 h 711"/>
                <a:gd name="T16" fmla="*/ 206 w 906"/>
                <a:gd name="T17" fmla="*/ 595 h 711"/>
                <a:gd name="T18" fmla="*/ 142 w 906"/>
                <a:gd name="T19" fmla="*/ 634 h 711"/>
                <a:gd name="T20" fmla="*/ 142 w 906"/>
                <a:gd name="T21" fmla="*/ 556 h 711"/>
                <a:gd name="T22" fmla="*/ 142 w 906"/>
                <a:gd name="T23" fmla="*/ 634 h 711"/>
                <a:gd name="T24" fmla="*/ 233 w 906"/>
                <a:gd name="T25" fmla="*/ 595 h 711"/>
                <a:gd name="T26" fmla="*/ 362 w 906"/>
                <a:gd name="T27" fmla="*/ 595 h 711"/>
                <a:gd name="T28" fmla="*/ 297 w 906"/>
                <a:gd name="T29" fmla="*/ 634 h 711"/>
                <a:gd name="T30" fmla="*/ 297 w 906"/>
                <a:gd name="T31" fmla="*/ 556 h 711"/>
                <a:gd name="T32" fmla="*/ 297 w 906"/>
                <a:gd name="T33" fmla="*/ 634 h 711"/>
                <a:gd name="T34" fmla="*/ 388 w 906"/>
                <a:gd name="T35" fmla="*/ 595 h 711"/>
                <a:gd name="T36" fmla="*/ 517 w 906"/>
                <a:gd name="T37" fmla="*/ 595 h 711"/>
                <a:gd name="T38" fmla="*/ 453 w 906"/>
                <a:gd name="T39" fmla="*/ 634 h 711"/>
                <a:gd name="T40" fmla="*/ 453 w 906"/>
                <a:gd name="T41" fmla="*/ 556 h 711"/>
                <a:gd name="T42" fmla="*/ 453 w 906"/>
                <a:gd name="T43" fmla="*/ 634 h 711"/>
                <a:gd name="T44" fmla="*/ 544 w 906"/>
                <a:gd name="T45" fmla="*/ 595 h 711"/>
                <a:gd name="T46" fmla="*/ 673 w 906"/>
                <a:gd name="T47" fmla="*/ 595 h 711"/>
                <a:gd name="T48" fmla="*/ 608 w 906"/>
                <a:gd name="T49" fmla="*/ 634 h 711"/>
                <a:gd name="T50" fmla="*/ 608 w 906"/>
                <a:gd name="T51" fmla="*/ 556 h 711"/>
                <a:gd name="T52" fmla="*/ 608 w 906"/>
                <a:gd name="T53" fmla="*/ 634 h 711"/>
                <a:gd name="T54" fmla="*/ 699 w 906"/>
                <a:gd name="T55" fmla="*/ 595 h 711"/>
                <a:gd name="T56" fmla="*/ 828 w 906"/>
                <a:gd name="T57" fmla="*/ 595 h 711"/>
                <a:gd name="T58" fmla="*/ 764 w 906"/>
                <a:gd name="T59" fmla="*/ 634 h 711"/>
                <a:gd name="T60" fmla="*/ 764 w 906"/>
                <a:gd name="T61" fmla="*/ 556 h 711"/>
                <a:gd name="T62" fmla="*/ 764 w 906"/>
                <a:gd name="T63" fmla="*/ 634 h 711"/>
                <a:gd name="T64" fmla="*/ 707 w 906"/>
                <a:gd name="T65" fmla="*/ 441 h 711"/>
                <a:gd name="T66" fmla="*/ 719 w 906"/>
                <a:gd name="T67" fmla="*/ 13 h 711"/>
                <a:gd name="T68" fmla="*/ 522 w 906"/>
                <a:gd name="T69" fmla="*/ 0 h 711"/>
                <a:gd name="T70" fmla="*/ 199 w 906"/>
                <a:gd name="T71" fmla="*/ 0 h 711"/>
                <a:gd name="T72" fmla="*/ 186 w 906"/>
                <a:gd name="T73" fmla="*/ 428 h 711"/>
                <a:gd name="T74" fmla="*/ 509 w 906"/>
                <a:gd name="T75" fmla="*/ 25 h 711"/>
                <a:gd name="T76" fmla="*/ 460 w 906"/>
                <a:gd name="T77" fmla="*/ 72 h 711"/>
                <a:gd name="T78" fmla="*/ 451 w 906"/>
                <a:gd name="T79" fmla="*/ 68 h 711"/>
                <a:gd name="T80" fmla="*/ 396 w 906"/>
                <a:gd name="T81" fmla="*/ 120 h 711"/>
                <a:gd name="T82" fmla="*/ 509 w 906"/>
                <a:gd name="T83" fmla="*/ 25 h 711"/>
                <a:gd name="T84" fmla="*/ 371 w 906"/>
                <a:gd name="T85" fmla="*/ 25 h 711"/>
                <a:gd name="T86" fmla="*/ 379 w 906"/>
                <a:gd name="T87" fmla="*/ 163 h 711"/>
                <a:gd name="T88" fmla="*/ 393 w 906"/>
                <a:gd name="T89" fmla="*/ 160 h 711"/>
                <a:gd name="T90" fmla="*/ 513 w 906"/>
                <a:gd name="T91" fmla="*/ 160 h 711"/>
                <a:gd name="T92" fmla="*/ 535 w 906"/>
                <a:gd name="T93" fmla="*/ 151 h 711"/>
                <a:gd name="T94" fmla="*/ 694 w 906"/>
                <a:gd name="T95" fmla="*/ 25 h 711"/>
                <a:gd name="T96" fmla="*/ 212 w 906"/>
                <a:gd name="T97" fmla="*/ 41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6" h="711">
                  <a:moveTo>
                    <a:pt x="790" y="479"/>
                  </a:moveTo>
                  <a:cubicBezTo>
                    <a:pt x="116" y="479"/>
                    <a:pt x="116" y="479"/>
                    <a:pt x="116" y="479"/>
                  </a:cubicBezTo>
                  <a:cubicBezTo>
                    <a:pt x="52" y="479"/>
                    <a:pt x="0" y="531"/>
                    <a:pt x="0" y="595"/>
                  </a:cubicBezTo>
                  <a:cubicBezTo>
                    <a:pt x="0" y="659"/>
                    <a:pt x="52" y="711"/>
                    <a:pt x="116" y="711"/>
                  </a:cubicBezTo>
                  <a:cubicBezTo>
                    <a:pt x="790" y="711"/>
                    <a:pt x="790" y="711"/>
                    <a:pt x="790" y="711"/>
                  </a:cubicBezTo>
                  <a:cubicBezTo>
                    <a:pt x="854" y="711"/>
                    <a:pt x="906" y="659"/>
                    <a:pt x="906" y="595"/>
                  </a:cubicBezTo>
                  <a:cubicBezTo>
                    <a:pt x="906" y="531"/>
                    <a:pt x="854" y="479"/>
                    <a:pt x="790" y="479"/>
                  </a:cubicBezTo>
                  <a:close/>
                  <a:moveTo>
                    <a:pt x="790" y="686"/>
                  </a:moveTo>
                  <a:cubicBezTo>
                    <a:pt x="116" y="686"/>
                    <a:pt x="116" y="686"/>
                    <a:pt x="116" y="686"/>
                  </a:cubicBezTo>
                  <a:cubicBezTo>
                    <a:pt x="66" y="686"/>
                    <a:pt x="25" y="645"/>
                    <a:pt x="25" y="595"/>
                  </a:cubicBezTo>
                  <a:cubicBezTo>
                    <a:pt x="25" y="545"/>
                    <a:pt x="66" y="504"/>
                    <a:pt x="116" y="504"/>
                  </a:cubicBezTo>
                  <a:cubicBezTo>
                    <a:pt x="790" y="504"/>
                    <a:pt x="790" y="504"/>
                    <a:pt x="790" y="504"/>
                  </a:cubicBezTo>
                  <a:cubicBezTo>
                    <a:pt x="840" y="504"/>
                    <a:pt x="881" y="545"/>
                    <a:pt x="881" y="595"/>
                  </a:cubicBezTo>
                  <a:cubicBezTo>
                    <a:pt x="881" y="645"/>
                    <a:pt x="840" y="686"/>
                    <a:pt x="790" y="686"/>
                  </a:cubicBezTo>
                  <a:close/>
                  <a:moveTo>
                    <a:pt x="142" y="530"/>
                  </a:moveTo>
                  <a:cubicBezTo>
                    <a:pt x="106" y="530"/>
                    <a:pt x="77" y="559"/>
                    <a:pt x="77" y="595"/>
                  </a:cubicBezTo>
                  <a:cubicBezTo>
                    <a:pt x="77" y="630"/>
                    <a:pt x="106" y="659"/>
                    <a:pt x="142" y="659"/>
                  </a:cubicBezTo>
                  <a:cubicBezTo>
                    <a:pt x="177" y="659"/>
                    <a:pt x="206" y="630"/>
                    <a:pt x="206" y="595"/>
                  </a:cubicBezTo>
                  <a:cubicBezTo>
                    <a:pt x="206" y="559"/>
                    <a:pt x="177" y="530"/>
                    <a:pt x="142" y="530"/>
                  </a:cubicBezTo>
                  <a:close/>
                  <a:moveTo>
                    <a:pt x="142" y="634"/>
                  </a:moveTo>
                  <a:cubicBezTo>
                    <a:pt x="120" y="634"/>
                    <a:pt x="103" y="617"/>
                    <a:pt x="103" y="595"/>
                  </a:cubicBezTo>
                  <a:cubicBezTo>
                    <a:pt x="103" y="573"/>
                    <a:pt x="120" y="556"/>
                    <a:pt x="142" y="556"/>
                  </a:cubicBezTo>
                  <a:cubicBezTo>
                    <a:pt x="163" y="556"/>
                    <a:pt x="181" y="573"/>
                    <a:pt x="181" y="595"/>
                  </a:cubicBezTo>
                  <a:cubicBezTo>
                    <a:pt x="181" y="617"/>
                    <a:pt x="163" y="634"/>
                    <a:pt x="142" y="634"/>
                  </a:cubicBezTo>
                  <a:close/>
                  <a:moveTo>
                    <a:pt x="297" y="530"/>
                  </a:moveTo>
                  <a:cubicBezTo>
                    <a:pt x="262" y="530"/>
                    <a:pt x="233" y="559"/>
                    <a:pt x="233" y="595"/>
                  </a:cubicBezTo>
                  <a:cubicBezTo>
                    <a:pt x="233" y="630"/>
                    <a:pt x="262" y="659"/>
                    <a:pt x="297" y="659"/>
                  </a:cubicBezTo>
                  <a:cubicBezTo>
                    <a:pt x="333" y="659"/>
                    <a:pt x="362" y="630"/>
                    <a:pt x="362" y="595"/>
                  </a:cubicBezTo>
                  <a:cubicBezTo>
                    <a:pt x="362" y="559"/>
                    <a:pt x="333" y="530"/>
                    <a:pt x="297" y="530"/>
                  </a:cubicBezTo>
                  <a:close/>
                  <a:moveTo>
                    <a:pt x="297" y="634"/>
                  </a:moveTo>
                  <a:cubicBezTo>
                    <a:pt x="276" y="634"/>
                    <a:pt x="258" y="617"/>
                    <a:pt x="258" y="595"/>
                  </a:cubicBezTo>
                  <a:cubicBezTo>
                    <a:pt x="258" y="573"/>
                    <a:pt x="276" y="556"/>
                    <a:pt x="297" y="556"/>
                  </a:cubicBezTo>
                  <a:cubicBezTo>
                    <a:pt x="319" y="556"/>
                    <a:pt x="336" y="573"/>
                    <a:pt x="336" y="595"/>
                  </a:cubicBezTo>
                  <a:cubicBezTo>
                    <a:pt x="336" y="617"/>
                    <a:pt x="319" y="634"/>
                    <a:pt x="297" y="634"/>
                  </a:cubicBezTo>
                  <a:close/>
                  <a:moveTo>
                    <a:pt x="453" y="530"/>
                  </a:moveTo>
                  <a:cubicBezTo>
                    <a:pt x="417" y="530"/>
                    <a:pt x="388" y="559"/>
                    <a:pt x="388" y="595"/>
                  </a:cubicBezTo>
                  <a:cubicBezTo>
                    <a:pt x="388" y="630"/>
                    <a:pt x="417" y="659"/>
                    <a:pt x="453" y="659"/>
                  </a:cubicBezTo>
                  <a:cubicBezTo>
                    <a:pt x="488" y="659"/>
                    <a:pt x="517" y="630"/>
                    <a:pt x="517" y="595"/>
                  </a:cubicBezTo>
                  <a:cubicBezTo>
                    <a:pt x="517" y="559"/>
                    <a:pt x="488" y="530"/>
                    <a:pt x="453" y="530"/>
                  </a:cubicBezTo>
                  <a:close/>
                  <a:moveTo>
                    <a:pt x="453" y="634"/>
                  </a:moveTo>
                  <a:cubicBezTo>
                    <a:pt x="431" y="634"/>
                    <a:pt x="414" y="617"/>
                    <a:pt x="414" y="595"/>
                  </a:cubicBezTo>
                  <a:cubicBezTo>
                    <a:pt x="414" y="573"/>
                    <a:pt x="431" y="556"/>
                    <a:pt x="453" y="556"/>
                  </a:cubicBezTo>
                  <a:cubicBezTo>
                    <a:pt x="474" y="556"/>
                    <a:pt x="492" y="573"/>
                    <a:pt x="492" y="595"/>
                  </a:cubicBezTo>
                  <a:cubicBezTo>
                    <a:pt x="492" y="617"/>
                    <a:pt x="474" y="634"/>
                    <a:pt x="453" y="634"/>
                  </a:cubicBezTo>
                  <a:close/>
                  <a:moveTo>
                    <a:pt x="608" y="530"/>
                  </a:moveTo>
                  <a:cubicBezTo>
                    <a:pt x="573" y="530"/>
                    <a:pt x="544" y="559"/>
                    <a:pt x="544" y="595"/>
                  </a:cubicBezTo>
                  <a:cubicBezTo>
                    <a:pt x="544" y="630"/>
                    <a:pt x="573" y="659"/>
                    <a:pt x="608" y="659"/>
                  </a:cubicBezTo>
                  <a:cubicBezTo>
                    <a:pt x="644" y="659"/>
                    <a:pt x="673" y="630"/>
                    <a:pt x="673" y="595"/>
                  </a:cubicBezTo>
                  <a:cubicBezTo>
                    <a:pt x="673" y="559"/>
                    <a:pt x="644" y="530"/>
                    <a:pt x="608" y="530"/>
                  </a:cubicBezTo>
                  <a:close/>
                  <a:moveTo>
                    <a:pt x="608" y="634"/>
                  </a:moveTo>
                  <a:cubicBezTo>
                    <a:pt x="587" y="634"/>
                    <a:pt x="569" y="617"/>
                    <a:pt x="569" y="595"/>
                  </a:cubicBezTo>
                  <a:cubicBezTo>
                    <a:pt x="569" y="573"/>
                    <a:pt x="587" y="556"/>
                    <a:pt x="608" y="556"/>
                  </a:cubicBezTo>
                  <a:cubicBezTo>
                    <a:pt x="630" y="556"/>
                    <a:pt x="647" y="573"/>
                    <a:pt x="647" y="595"/>
                  </a:cubicBezTo>
                  <a:cubicBezTo>
                    <a:pt x="647" y="617"/>
                    <a:pt x="630" y="634"/>
                    <a:pt x="608" y="634"/>
                  </a:cubicBezTo>
                  <a:close/>
                  <a:moveTo>
                    <a:pt x="764" y="530"/>
                  </a:moveTo>
                  <a:cubicBezTo>
                    <a:pt x="728" y="530"/>
                    <a:pt x="699" y="559"/>
                    <a:pt x="699" y="595"/>
                  </a:cubicBezTo>
                  <a:cubicBezTo>
                    <a:pt x="699" y="630"/>
                    <a:pt x="728" y="659"/>
                    <a:pt x="764" y="659"/>
                  </a:cubicBezTo>
                  <a:cubicBezTo>
                    <a:pt x="799" y="659"/>
                    <a:pt x="828" y="630"/>
                    <a:pt x="828" y="595"/>
                  </a:cubicBezTo>
                  <a:cubicBezTo>
                    <a:pt x="828" y="559"/>
                    <a:pt x="799" y="530"/>
                    <a:pt x="764" y="530"/>
                  </a:cubicBezTo>
                  <a:close/>
                  <a:moveTo>
                    <a:pt x="764" y="634"/>
                  </a:moveTo>
                  <a:cubicBezTo>
                    <a:pt x="742" y="634"/>
                    <a:pt x="725" y="617"/>
                    <a:pt x="725" y="595"/>
                  </a:cubicBezTo>
                  <a:cubicBezTo>
                    <a:pt x="725" y="573"/>
                    <a:pt x="742" y="556"/>
                    <a:pt x="764" y="556"/>
                  </a:cubicBezTo>
                  <a:cubicBezTo>
                    <a:pt x="785" y="556"/>
                    <a:pt x="803" y="573"/>
                    <a:pt x="803" y="595"/>
                  </a:cubicBezTo>
                  <a:cubicBezTo>
                    <a:pt x="803" y="617"/>
                    <a:pt x="785" y="634"/>
                    <a:pt x="764" y="634"/>
                  </a:cubicBezTo>
                  <a:close/>
                  <a:moveTo>
                    <a:pt x="199" y="441"/>
                  </a:moveTo>
                  <a:cubicBezTo>
                    <a:pt x="707" y="441"/>
                    <a:pt x="707" y="441"/>
                    <a:pt x="707" y="441"/>
                  </a:cubicBezTo>
                  <a:cubicBezTo>
                    <a:pt x="714" y="441"/>
                    <a:pt x="719" y="435"/>
                    <a:pt x="719" y="428"/>
                  </a:cubicBezTo>
                  <a:cubicBezTo>
                    <a:pt x="719" y="13"/>
                    <a:pt x="719" y="13"/>
                    <a:pt x="719" y="13"/>
                  </a:cubicBezTo>
                  <a:cubicBezTo>
                    <a:pt x="719" y="6"/>
                    <a:pt x="714" y="0"/>
                    <a:pt x="707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2" y="0"/>
                    <a:pt x="186" y="6"/>
                    <a:pt x="186" y="13"/>
                  </a:cubicBezTo>
                  <a:cubicBezTo>
                    <a:pt x="186" y="428"/>
                    <a:pt x="186" y="428"/>
                    <a:pt x="186" y="428"/>
                  </a:cubicBezTo>
                  <a:cubicBezTo>
                    <a:pt x="186" y="435"/>
                    <a:pt x="192" y="441"/>
                    <a:pt x="199" y="441"/>
                  </a:cubicBezTo>
                  <a:close/>
                  <a:moveTo>
                    <a:pt x="509" y="25"/>
                  </a:moveTo>
                  <a:cubicBezTo>
                    <a:pt x="509" y="121"/>
                    <a:pt x="509" y="121"/>
                    <a:pt x="509" y="121"/>
                  </a:cubicBezTo>
                  <a:cubicBezTo>
                    <a:pt x="460" y="72"/>
                    <a:pt x="460" y="72"/>
                    <a:pt x="460" y="72"/>
                  </a:cubicBezTo>
                  <a:cubicBezTo>
                    <a:pt x="458" y="69"/>
                    <a:pt x="455" y="68"/>
                    <a:pt x="451" y="68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48" y="68"/>
                    <a:pt x="444" y="69"/>
                    <a:pt x="442" y="72"/>
                  </a:cubicBezTo>
                  <a:cubicBezTo>
                    <a:pt x="396" y="120"/>
                    <a:pt x="396" y="120"/>
                    <a:pt x="396" y="120"/>
                  </a:cubicBezTo>
                  <a:cubicBezTo>
                    <a:pt x="396" y="25"/>
                    <a:pt x="396" y="25"/>
                    <a:pt x="396" y="25"/>
                  </a:cubicBezTo>
                  <a:lnTo>
                    <a:pt x="509" y="25"/>
                  </a:lnTo>
                  <a:close/>
                  <a:moveTo>
                    <a:pt x="212" y="25"/>
                  </a:moveTo>
                  <a:cubicBezTo>
                    <a:pt x="371" y="25"/>
                    <a:pt x="371" y="25"/>
                    <a:pt x="371" y="25"/>
                  </a:cubicBezTo>
                  <a:cubicBezTo>
                    <a:pt x="371" y="151"/>
                    <a:pt x="371" y="151"/>
                    <a:pt x="371" y="151"/>
                  </a:cubicBezTo>
                  <a:cubicBezTo>
                    <a:pt x="371" y="156"/>
                    <a:pt x="374" y="161"/>
                    <a:pt x="379" y="163"/>
                  </a:cubicBezTo>
                  <a:cubicBezTo>
                    <a:pt x="380" y="163"/>
                    <a:pt x="382" y="164"/>
                    <a:pt x="384" y="164"/>
                  </a:cubicBezTo>
                  <a:cubicBezTo>
                    <a:pt x="387" y="164"/>
                    <a:pt x="390" y="162"/>
                    <a:pt x="393" y="160"/>
                  </a:cubicBezTo>
                  <a:cubicBezTo>
                    <a:pt x="451" y="99"/>
                    <a:pt x="451" y="99"/>
                    <a:pt x="451" y="99"/>
                  </a:cubicBezTo>
                  <a:cubicBezTo>
                    <a:pt x="513" y="160"/>
                    <a:pt x="513" y="160"/>
                    <a:pt x="513" y="160"/>
                  </a:cubicBezTo>
                  <a:cubicBezTo>
                    <a:pt x="517" y="164"/>
                    <a:pt x="522" y="165"/>
                    <a:pt x="527" y="163"/>
                  </a:cubicBezTo>
                  <a:cubicBezTo>
                    <a:pt x="532" y="161"/>
                    <a:pt x="535" y="156"/>
                    <a:pt x="535" y="151"/>
                  </a:cubicBezTo>
                  <a:cubicBezTo>
                    <a:pt x="535" y="25"/>
                    <a:pt x="535" y="25"/>
                    <a:pt x="535" y="25"/>
                  </a:cubicBezTo>
                  <a:cubicBezTo>
                    <a:pt x="694" y="25"/>
                    <a:pt x="694" y="25"/>
                    <a:pt x="694" y="25"/>
                  </a:cubicBezTo>
                  <a:cubicBezTo>
                    <a:pt x="694" y="415"/>
                    <a:pt x="694" y="415"/>
                    <a:pt x="694" y="415"/>
                  </a:cubicBezTo>
                  <a:cubicBezTo>
                    <a:pt x="212" y="415"/>
                    <a:pt x="212" y="415"/>
                    <a:pt x="212" y="415"/>
                  </a:cubicBezTo>
                  <a:lnTo>
                    <a:pt x="212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200400" y="2522639"/>
            <a:ext cx="784024" cy="784024"/>
            <a:chOff x="3200400" y="2522639"/>
            <a:chExt cx="784024" cy="784024"/>
          </a:xfrm>
        </p:grpSpPr>
        <p:sp>
          <p:nvSpPr>
            <p:cNvPr id="5" name="Oval 4"/>
            <p:cNvSpPr/>
            <p:nvPr/>
          </p:nvSpPr>
          <p:spPr>
            <a:xfrm>
              <a:off x="3200400" y="2522639"/>
              <a:ext cx="784024" cy="78402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" name="Oval 8"/>
            <p:cNvSpPr/>
            <p:nvPr/>
          </p:nvSpPr>
          <p:spPr>
            <a:xfrm>
              <a:off x="3252686" y="2574925"/>
              <a:ext cx="679452" cy="67945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3433712" y="2747863"/>
              <a:ext cx="317334" cy="335609"/>
            </a:xfrm>
            <a:custGeom>
              <a:avLst/>
              <a:gdLst>
                <a:gd name="T0" fmla="*/ 1000 w 1379"/>
                <a:gd name="T1" fmla="*/ 1247 h 1462"/>
                <a:gd name="T2" fmla="*/ 1247 w 1379"/>
                <a:gd name="T3" fmla="*/ 1295 h 1462"/>
                <a:gd name="T4" fmla="*/ 1295 w 1379"/>
                <a:gd name="T5" fmla="*/ 465 h 1462"/>
                <a:gd name="T6" fmla="*/ 1048 w 1379"/>
                <a:gd name="T7" fmla="*/ 416 h 1462"/>
                <a:gd name="T8" fmla="*/ 1250 w 1379"/>
                <a:gd name="T9" fmla="*/ 465 h 1462"/>
                <a:gd name="T10" fmla="*/ 1247 w 1379"/>
                <a:gd name="T11" fmla="*/ 1249 h 1462"/>
                <a:gd name="T12" fmla="*/ 1045 w 1379"/>
                <a:gd name="T13" fmla="*/ 1247 h 1462"/>
                <a:gd name="T14" fmla="*/ 1048 w 1379"/>
                <a:gd name="T15" fmla="*/ 462 h 1462"/>
                <a:gd name="T16" fmla="*/ 1250 w 1379"/>
                <a:gd name="T17" fmla="*/ 465 h 1462"/>
                <a:gd name="T18" fmla="*/ 1356 w 1379"/>
                <a:gd name="T19" fmla="*/ 1462 h 1462"/>
                <a:gd name="T20" fmla="*/ 0 w 1379"/>
                <a:gd name="T21" fmla="*/ 1439 h 1462"/>
                <a:gd name="T22" fmla="*/ 23 w 1379"/>
                <a:gd name="T23" fmla="*/ 83 h 1462"/>
                <a:gd name="T24" fmla="*/ 45 w 1379"/>
                <a:gd name="T25" fmla="*/ 1416 h 1462"/>
                <a:gd name="T26" fmla="*/ 1379 w 1379"/>
                <a:gd name="T27" fmla="*/ 1439 h 1462"/>
                <a:gd name="T28" fmla="*/ 414 w 1379"/>
                <a:gd name="T29" fmla="*/ 1295 h 1462"/>
                <a:gd name="T30" fmla="*/ 462 w 1379"/>
                <a:gd name="T31" fmla="*/ 881 h 1462"/>
                <a:gd name="T32" fmla="*/ 215 w 1379"/>
                <a:gd name="T33" fmla="*/ 833 h 1462"/>
                <a:gd name="T34" fmla="*/ 166 w 1379"/>
                <a:gd name="T35" fmla="*/ 1247 h 1462"/>
                <a:gd name="T36" fmla="*/ 212 w 1379"/>
                <a:gd name="T37" fmla="*/ 881 h 1462"/>
                <a:gd name="T38" fmla="*/ 414 w 1379"/>
                <a:gd name="T39" fmla="*/ 879 h 1462"/>
                <a:gd name="T40" fmla="*/ 416 w 1379"/>
                <a:gd name="T41" fmla="*/ 1247 h 1462"/>
                <a:gd name="T42" fmla="*/ 215 w 1379"/>
                <a:gd name="T43" fmla="*/ 1249 h 1462"/>
                <a:gd name="T44" fmla="*/ 212 w 1379"/>
                <a:gd name="T45" fmla="*/ 881 h 1462"/>
                <a:gd name="T46" fmla="*/ 351 w 1379"/>
                <a:gd name="T47" fmla="*/ 740 h 1462"/>
                <a:gd name="T48" fmla="*/ 1081 w 1379"/>
                <a:gd name="T49" fmla="*/ 280 h 1462"/>
                <a:gd name="T50" fmla="*/ 1129 w 1379"/>
                <a:gd name="T51" fmla="*/ 260 h 1462"/>
                <a:gd name="T52" fmla="*/ 1101 w 1379"/>
                <a:gd name="T53" fmla="*/ 0 h 1462"/>
                <a:gd name="T54" fmla="*/ 842 w 1379"/>
                <a:gd name="T55" fmla="*/ 17 h 1462"/>
                <a:gd name="T56" fmla="*/ 907 w 1379"/>
                <a:gd name="T57" fmla="*/ 106 h 1462"/>
                <a:gd name="T58" fmla="*/ 313 w 1379"/>
                <a:gd name="T59" fmla="*/ 737 h 1462"/>
                <a:gd name="T60" fmla="*/ 955 w 1379"/>
                <a:gd name="T61" fmla="*/ 122 h 1462"/>
                <a:gd name="T62" fmla="*/ 955 w 1379"/>
                <a:gd name="T63" fmla="*/ 90 h 1462"/>
                <a:gd name="T64" fmla="*/ 1083 w 1379"/>
                <a:gd name="T65" fmla="*/ 45 h 1462"/>
                <a:gd name="T66" fmla="*/ 1039 w 1379"/>
                <a:gd name="T67" fmla="*/ 173 h 1462"/>
                <a:gd name="T68" fmla="*/ 549 w 1379"/>
                <a:gd name="T69" fmla="*/ 528 h 1462"/>
                <a:gd name="T70" fmla="*/ 631 w 1379"/>
                <a:gd name="T71" fmla="*/ 666 h 1462"/>
                <a:gd name="T72" fmla="*/ 583 w 1379"/>
                <a:gd name="T73" fmla="*/ 1247 h 1462"/>
                <a:gd name="T74" fmla="*/ 830 w 1379"/>
                <a:gd name="T75" fmla="*/ 1295 h 1462"/>
                <a:gd name="T76" fmla="*/ 879 w 1379"/>
                <a:gd name="T77" fmla="*/ 715 h 1462"/>
                <a:gd name="T78" fmla="*/ 631 w 1379"/>
                <a:gd name="T79" fmla="*/ 666 h 1462"/>
                <a:gd name="T80" fmla="*/ 833 w 1379"/>
                <a:gd name="T81" fmla="*/ 1247 h 1462"/>
                <a:gd name="T82" fmla="*/ 631 w 1379"/>
                <a:gd name="T83" fmla="*/ 1249 h 1462"/>
                <a:gd name="T84" fmla="*/ 629 w 1379"/>
                <a:gd name="T85" fmla="*/ 715 h 1462"/>
                <a:gd name="T86" fmla="*/ 830 w 1379"/>
                <a:gd name="T87" fmla="*/ 712 h 1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9" h="1462">
                  <a:moveTo>
                    <a:pt x="1000" y="465"/>
                  </a:moveTo>
                  <a:cubicBezTo>
                    <a:pt x="1000" y="1247"/>
                    <a:pt x="1000" y="1247"/>
                    <a:pt x="1000" y="1247"/>
                  </a:cubicBezTo>
                  <a:cubicBezTo>
                    <a:pt x="1000" y="1274"/>
                    <a:pt x="1021" y="1295"/>
                    <a:pt x="1048" y="1295"/>
                  </a:cubicBezTo>
                  <a:cubicBezTo>
                    <a:pt x="1247" y="1295"/>
                    <a:pt x="1247" y="1295"/>
                    <a:pt x="1247" y="1295"/>
                  </a:cubicBezTo>
                  <a:cubicBezTo>
                    <a:pt x="1274" y="1295"/>
                    <a:pt x="1295" y="1274"/>
                    <a:pt x="1295" y="1247"/>
                  </a:cubicBezTo>
                  <a:cubicBezTo>
                    <a:pt x="1295" y="465"/>
                    <a:pt x="1295" y="465"/>
                    <a:pt x="1295" y="465"/>
                  </a:cubicBezTo>
                  <a:cubicBezTo>
                    <a:pt x="1295" y="438"/>
                    <a:pt x="1274" y="416"/>
                    <a:pt x="1247" y="416"/>
                  </a:cubicBezTo>
                  <a:cubicBezTo>
                    <a:pt x="1048" y="416"/>
                    <a:pt x="1048" y="416"/>
                    <a:pt x="1048" y="416"/>
                  </a:cubicBezTo>
                  <a:cubicBezTo>
                    <a:pt x="1021" y="416"/>
                    <a:pt x="1000" y="438"/>
                    <a:pt x="1000" y="465"/>
                  </a:cubicBezTo>
                  <a:close/>
                  <a:moveTo>
                    <a:pt x="1250" y="465"/>
                  </a:moveTo>
                  <a:cubicBezTo>
                    <a:pt x="1250" y="1247"/>
                    <a:pt x="1250" y="1247"/>
                    <a:pt x="1250" y="1247"/>
                  </a:cubicBezTo>
                  <a:cubicBezTo>
                    <a:pt x="1250" y="1248"/>
                    <a:pt x="1248" y="1249"/>
                    <a:pt x="1247" y="1249"/>
                  </a:cubicBezTo>
                  <a:cubicBezTo>
                    <a:pt x="1048" y="1249"/>
                    <a:pt x="1048" y="1249"/>
                    <a:pt x="1048" y="1249"/>
                  </a:cubicBezTo>
                  <a:cubicBezTo>
                    <a:pt x="1047" y="1249"/>
                    <a:pt x="1045" y="1248"/>
                    <a:pt x="1045" y="1247"/>
                  </a:cubicBezTo>
                  <a:cubicBezTo>
                    <a:pt x="1045" y="465"/>
                    <a:pt x="1045" y="465"/>
                    <a:pt x="1045" y="465"/>
                  </a:cubicBezTo>
                  <a:cubicBezTo>
                    <a:pt x="1045" y="463"/>
                    <a:pt x="1047" y="462"/>
                    <a:pt x="1048" y="462"/>
                  </a:cubicBezTo>
                  <a:cubicBezTo>
                    <a:pt x="1247" y="462"/>
                    <a:pt x="1247" y="462"/>
                    <a:pt x="1247" y="462"/>
                  </a:cubicBezTo>
                  <a:cubicBezTo>
                    <a:pt x="1248" y="462"/>
                    <a:pt x="1250" y="463"/>
                    <a:pt x="1250" y="465"/>
                  </a:cubicBezTo>
                  <a:close/>
                  <a:moveTo>
                    <a:pt x="1379" y="1439"/>
                  </a:moveTo>
                  <a:cubicBezTo>
                    <a:pt x="1379" y="1452"/>
                    <a:pt x="1368" y="1462"/>
                    <a:pt x="1356" y="1462"/>
                  </a:cubicBezTo>
                  <a:cubicBezTo>
                    <a:pt x="23" y="1462"/>
                    <a:pt x="23" y="1462"/>
                    <a:pt x="23" y="1462"/>
                  </a:cubicBezTo>
                  <a:cubicBezTo>
                    <a:pt x="10" y="1462"/>
                    <a:pt x="0" y="1452"/>
                    <a:pt x="0" y="1439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93"/>
                    <a:pt x="10" y="83"/>
                    <a:pt x="23" y="83"/>
                  </a:cubicBezTo>
                  <a:cubicBezTo>
                    <a:pt x="35" y="83"/>
                    <a:pt x="45" y="93"/>
                    <a:pt x="45" y="106"/>
                  </a:cubicBezTo>
                  <a:cubicBezTo>
                    <a:pt x="45" y="1416"/>
                    <a:pt x="45" y="1416"/>
                    <a:pt x="45" y="1416"/>
                  </a:cubicBezTo>
                  <a:cubicBezTo>
                    <a:pt x="1356" y="1416"/>
                    <a:pt x="1356" y="1416"/>
                    <a:pt x="1356" y="1416"/>
                  </a:cubicBezTo>
                  <a:cubicBezTo>
                    <a:pt x="1368" y="1416"/>
                    <a:pt x="1379" y="1426"/>
                    <a:pt x="1379" y="1439"/>
                  </a:cubicBezTo>
                  <a:close/>
                  <a:moveTo>
                    <a:pt x="215" y="1295"/>
                  </a:moveTo>
                  <a:cubicBezTo>
                    <a:pt x="414" y="1295"/>
                    <a:pt x="414" y="1295"/>
                    <a:pt x="414" y="1295"/>
                  </a:cubicBezTo>
                  <a:cubicBezTo>
                    <a:pt x="440" y="1295"/>
                    <a:pt x="462" y="1274"/>
                    <a:pt x="462" y="1247"/>
                  </a:cubicBezTo>
                  <a:cubicBezTo>
                    <a:pt x="462" y="881"/>
                    <a:pt x="462" y="881"/>
                    <a:pt x="462" y="881"/>
                  </a:cubicBezTo>
                  <a:cubicBezTo>
                    <a:pt x="462" y="855"/>
                    <a:pt x="440" y="833"/>
                    <a:pt x="414" y="833"/>
                  </a:cubicBezTo>
                  <a:cubicBezTo>
                    <a:pt x="215" y="833"/>
                    <a:pt x="215" y="833"/>
                    <a:pt x="215" y="833"/>
                  </a:cubicBezTo>
                  <a:cubicBezTo>
                    <a:pt x="188" y="833"/>
                    <a:pt x="166" y="855"/>
                    <a:pt x="166" y="881"/>
                  </a:cubicBezTo>
                  <a:cubicBezTo>
                    <a:pt x="166" y="1247"/>
                    <a:pt x="166" y="1247"/>
                    <a:pt x="166" y="1247"/>
                  </a:cubicBezTo>
                  <a:cubicBezTo>
                    <a:pt x="166" y="1274"/>
                    <a:pt x="188" y="1295"/>
                    <a:pt x="215" y="1295"/>
                  </a:cubicBezTo>
                  <a:close/>
                  <a:moveTo>
                    <a:pt x="212" y="881"/>
                  </a:moveTo>
                  <a:cubicBezTo>
                    <a:pt x="212" y="880"/>
                    <a:pt x="213" y="879"/>
                    <a:pt x="215" y="879"/>
                  </a:cubicBezTo>
                  <a:cubicBezTo>
                    <a:pt x="414" y="879"/>
                    <a:pt x="414" y="879"/>
                    <a:pt x="414" y="879"/>
                  </a:cubicBezTo>
                  <a:cubicBezTo>
                    <a:pt x="415" y="879"/>
                    <a:pt x="416" y="880"/>
                    <a:pt x="416" y="881"/>
                  </a:cubicBezTo>
                  <a:cubicBezTo>
                    <a:pt x="416" y="1247"/>
                    <a:pt x="416" y="1247"/>
                    <a:pt x="416" y="1247"/>
                  </a:cubicBezTo>
                  <a:cubicBezTo>
                    <a:pt x="416" y="1248"/>
                    <a:pt x="415" y="1249"/>
                    <a:pt x="414" y="1249"/>
                  </a:cubicBezTo>
                  <a:cubicBezTo>
                    <a:pt x="215" y="1249"/>
                    <a:pt x="215" y="1249"/>
                    <a:pt x="215" y="1249"/>
                  </a:cubicBezTo>
                  <a:cubicBezTo>
                    <a:pt x="213" y="1249"/>
                    <a:pt x="212" y="1248"/>
                    <a:pt x="212" y="1247"/>
                  </a:cubicBezTo>
                  <a:lnTo>
                    <a:pt x="212" y="881"/>
                  </a:lnTo>
                  <a:close/>
                  <a:moveTo>
                    <a:pt x="334" y="746"/>
                  </a:moveTo>
                  <a:cubicBezTo>
                    <a:pt x="340" y="746"/>
                    <a:pt x="346" y="744"/>
                    <a:pt x="351" y="740"/>
                  </a:cubicBezTo>
                  <a:cubicBezTo>
                    <a:pt x="1021" y="220"/>
                    <a:pt x="1021" y="220"/>
                    <a:pt x="1021" y="220"/>
                  </a:cubicBezTo>
                  <a:cubicBezTo>
                    <a:pt x="1081" y="280"/>
                    <a:pt x="1081" y="280"/>
                    <a:pt x="1081" y="280"/>
                  </a:cubicBezTo>
                  <a:cubicBezTo>
                    <a:pt x="1089" y="288"/>
                    <a:pt x="1101" y="290"/>
                    <a:pt x="1111" y="286"/>
                  </a:cubicBezTo>
                  <a:cubicBezTo>
                    <a:pt x="1122" y="282"/>
                    <a:pt x="1129" y="272"/>
                    <a:pt x="1129" y="260"/>
                  </a:cubicBezTo>
                  <a:cubicBezTo>
                    <a:pt x="1129" y="28"/>
                    <a:pt x="1129" y="28"/>
                    <a:pt x="1129" y="28"/>
                  </a:cubicBezTo>
                  <a:cubicBezTo>
                    <a:pt x="1129" y="12"/>
                    <a:pt x="1116" y="0"/>
                    <a:pt x="1101" y="0"/>
                  </a:cubicBezTo>
                  <a:cubicBezTo>
                    <a:pt x="868" y="0"/>
                    <a:pt x="868" y="0"/>
                    <a:pt x="868" y="0"/>
                  </a:cubicBezTo>
                  <a:cubicBezTo>
                    <a:pt x="857" y="0"/>
                    <a:pt x="847" y="6"/>
                    <a:pt x="842" y="17"/>
                  </a:cubicBezTo>
                  <a:cubicBezTo>
                    <a:pt x="838" y="27"/>
                    <a:pt x="840" y="39"/>
                    <a:pt x="848" y="47"/>
                  </a:cubicBezTo>
                  <a:cubicBezTo>
                    <a:pt x="907" y="106"/>
                    <a:pt x="907" y="106"/>
                    <a:pt x="907" y="106"/>
                  </a:cubicBezTo>
                  <a:cubicBezTo>
                    <a:pt x="314" y="698"/>
                    <a:pt x="314" y="698"/>
                    <a:pt x="314" y="698"/>
                  </a:cubicBezTo>
                  <a:cubicBezTo>
                    <a:pt x="304" y="709"/>
                    <a:pt x="303" y="725"/>
                    <a:pt x="313" y="737"/>
                  </a:cubicBezTo>
                  <a:cubicBezTo>
                    <a:pt x="319" y="743"/>
                    <a:pt x="326" y="746"/>
                    <a:pt x="334" y="746"/>
                  </a:cubicBezTo>
                  <a:close/>
                  <a:moveTo>
                    <a:pt x="955" y="122"/>
                  </a:moveTo>
                  <a:cubicBezTo>
                    <a:pt x="960" y="118"/>
                    <a:pt x="962" y="112"/>
                    <a:pt x="962" y="106"/>
                  </a:cubicBezTo>
                  <a:cubicBezTo>
                    <a:pt x="962" y="100"/>
                    <a:pt x="960" y="94"/>
                    <a:pt x="955" y="90"/>
                  </a:cubicBezTo>
                  <a:cubicBezTo>
                    <a:pt x="911" y="45"/>
                    <a:pt x="911" y="45"/>
                    <a:pt x="911" y="45"/>
                  </a:cubicBezTo>
                  <a:cubicBezTo>
                    <a:pt x="1083" y="45"/>
                    <a:pt x="1083" y="45"/>
                    <a:pt x="1083" y="45"/>
                  </a:cubicBezTo>
                  <a:cubicBezTo>
                    <a:pt x="1083" y="217"/>
                    <a:pt x="1083" y="217"/>
                    <a:pt x="1083" y="217"/>
                  </a:cubicBezTo>
                  <a:cubicBezTo>
                    <a:pt x="1039" y="173"/>
                    <a:pt x="1039" y="173"/>
                    <a:pt x="1039" y="173"/>
                  </a:cubicBezTo>
                  <a:cubicBezTo>
                    <a:pt x="1031" y="165"/>
                    <a:pt x="1018" y="164"/>
                    <a:pt x="1008" y="171"/>
                  </a:cubicBezTo>
                  <a:cubicBezTo>
                    <a:pt x="549" y="528"/>
                    <a:pt x="549" y="528"/>
                    <a:pt x="549" y="528"/>
                  </a:cubicBezTo>
                  <a:lnTo>
                    <a:pt x="955" y="122"/>
                  </a:lnTo>
                  <a:close/>
                  <a:moveTo>
                    <a:pt x="631" y="666"/>
                  </a:moveTo>
                  <a:cubicBezTo>
                    <a:pt x="605" y="666"/>
                    <a:pt x="583" y="688"/>
                    <a:pt x="583" y="715"/>
                  </a:cubicBezTo>
                  <a:cubicBezTo>
                    <a:pt x="583" y="1247"/>
                    <a:pt x="583" y="1247"/>
                    <a:pt x="583" y="1247"/>
                  </a:cubicBezTo>
                  <a:cubicBezTo>
                    <a:pt x="583" y="1274"/>
                    <a:pt x="605" y="1295"/>
                    <a:pt x="631" y="1295"/>
                  </a:cubicBezTo>
                  <a:cubicBezTo>
                    <a:pt x="830" y="1295"/>
                    <a:pt x="830" y="1295"/>
                    <a:pt x="830" y="1295"/>
                  </a:cubicBezTo>
                  <a:cubicBezTo>
                    <a:pt x="857" y="1295"/>
                    <a:pt x="879" y="1274"/>
                    <a:pt x="879" y="1247"/>
                  </a:cubicBezTo>
                  <a:cubicBezTo>
                    <a:pt x="879" y="715"/>
                    <a:pt x="879" y="715"/>
                    <a:pt x="879" y="715"/>
                  </a:cubicBezTo>
                  <a:cubicBezTo>
                    <a:pt x="879" y="688"/>
                    <a:pt x="857" y="666"/>
                    <a:pt x="830" y="666"/>
                  </a:cubicBezTo>
                  <a:lnTo>
                    <a:pt x="631" y="666"/>
                  </a:lnTo>
                  <a:close/>
                  <a:moveTo>
                    <a:pt x="833" y="715"/>
                  </a:moveTo>
                  <a:cubicBezTo>
                    <a:pt x="833" y="1247"/>
                    <a:pt x="833" y="1247"/>
                    <a:pt x="833" y="1247"/>
                  </a:cubicBezTo>
                  <a:cubicBezTo>
                    <a:pt x="833" y="1248"/>
                    <a:pt x="832" y="1249"/>
                    <a:pt x="830" y="1249"/>
                  </a:cubicBezTo>
                  <a:cubicBezTo>
                    <a:pt x="631" y="1249"/>
                    <a:pt x="631" y="1249"/>
                    <a:pt x="631" y="1249"/>
                  </a:cubicBezTo>
                  <a:cubicBezTo>
                    <a:pt x="630" y="1249"/>
                    <a:pt x="629" y="1248"/>
                    <a:pt x="629" y="1247"/>
                  </a:cubicBezTo>
                  <a:cubicBezTo>
                    <a:pt x="629" y="715"/>
                    <a:pt x="629" y="715"/>
                    <a:pt x="629" y="715"/>
                  </a:cubicBezTo>
                  <a:cubicBezTo>
                    <a:pt x="629" y="713"/>
                    <a:pt x="630" y="712"/>
                    <a:pt x="631" y="712"/>
                  </a:cubicBezTo>
                  <a:cubicBezTo>
                    <a:pt x="830" y="712"/>
                    <a:pt x="830" y="712"/>
                    <a:pt x="830" y="712"/>
                  </a:cubicBezTo>
                  <a:cubicBezTo>
                    <a:pt x="832" y="712"/>
                    <a:pt x="833" y="713"/>
                    <a:pt x="833" y="7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4635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3059411" y="3232368"/>
            <a:ext cx="1011906" cy="1011201"/>
            <a:chOff x="3059411" y="3232368"/>
            <a:chExt cx="1011906" cy="1011201"/>
          </a:xfrm>
        </p:grpSpPr>
        <p:sp>
          <p:nvSpPr>
            <p:cNvPr id="5" name="Oval 6"/>
            <p:cNvSpPr>
              <a:spLocks noChangeArrowheads="1"/>
            </p:cNvSpPr>
            <p:nvPr/>
          </p:nvSpPr>
          <p:spPr bwMode="auto">
            <a:xfrm>
              <a:off x="3059411" y="3232368"/>
              <a:ext cx="1011906" cy="1011201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Oval 6"/>
            <p:cNvSpPr>
              <a:spLocks noChangeArrowheads="1"/>
            </p:cNvSpPr>
            <p:nvPr/>
          </p:nvSpPr>
          <p:spPr bwMode="auto">
            <a:xfrm>
              <a:off x="3134300" y="3307204"/>
              <a:ext cx="862129" cy="861529"/>
            </a:xfrm>
            <a:prstGeom prst="ellipse">
              <a:avLst/>
            </a:prstGeom>
            <a:solidFill>
              <a:srgbClr val="EC0000"/>
            </a:solidFill>
            <a:ln w="190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0" name="Freeform 38"/>
            <p:cNvSpPr>
              <a:spLocks noEditPoints="1"/>
            </p:cNvSpPr>
            <p:nvPr/>
          </p:nvSpPr>
          <p:spPr bwMode="auto">
            <a:xfrm>
              <a:off x="3322741" y="3547358"/>
              <a:ext cx="485246" cy="381223"/>
            </a:xfrm>
            <a:custGeom>
              <a:avLst/>
              <a:gdLst>
                <a:gd name="T0" fmla="*/ 716 w 1034"/>
                <a:gd name="T1" fmla="*/ 615 h 810"/>
                <a:gd name="T2" fmla="*/ 538 w 1034"/>
                <a:gd name="T3" fmla="*/ 556 h 810"/>
                <a:gd name="T4" fmla="*/ 767 w 1034"/>
                <a:gd name="T5" fmla="*/ 630 h 810"/>
                <a:gd name="T6" fmla="*/ 666 w 1034"/>
                <a:gd name="T7" fmla="*/ 780 h 810"/>
                <a:gd name="T8" fmla="*/ 517 w 1034"/>
                <a:gd name="T9" fmla="*/ 773 h 810"/>
                <a:gd name="T10" fmla="*/ 368 w 1034"/>
                <a:gd name="T11" fmla="*/ 780 h 810"/>
                <a:gd name="T12" fmla="*/ 270 w 1034"/>
                <a:gd name="T13" fmla="*/ 704 h 810"/>
                <a:gd name="T14" fmla="*/ 240 w 1034"/>
                <a:gd name="T15" fmla="*/ 538 h 810"/>
                <a:gd name="T16" fmla="*/ 301 w 1034"/>
                <a:gd name="T17" fmla="*/ 0 h 810"/>
                <a:gd name="T18" fmla="*/ 625 w 1034"/>
                <a:gd name="T19" fmla="*/ 107 h 810"/>
                <a:gd name="T20" fmla="*/ 107 w 1034"/>
                <a:gd name="T21" fmla="*/ 372 h 810"/>
                <a:gd name="T22" fmla="*/ 661 w 1034"/>
                <a:gd name="T23" fmla="*/ 107 h 810"/>
                <a:gd name="T24" fmla="*/ 998 w 1034"/>
                <a:gd name="T25" fmla="*/ 301 h 810"/>
                <a:gd name="T26" fmla="*/ 359 w 1034"/>
                <a:gd name="T27" fmla="*/ 538 h 810"/>
                <a:gd name="T28" fmla="*/ 317 w 1034"/>
                <a:gd name="T29" fmla="*/ 496 h 810"/>
                <a:gd name="T30" fmla="*/ 258 w 1034"/>
                <a:gd name="T31" fmla="*/ 597 h 810"/>
                <a:gd name="T32" fmla="*/ 455 w 1034"/>
                <a:gd name="T33" fmla="*/ 535 h 810"/>
                <a:gd name="T34" fmla="*/ 435 w 1034"/>
                <a:gd name="T35" fmla="*/ 518 h 810"/>
                <a:gd name="T36" fmla="*/ 421 w 1034"/>
                <a:gd name="T37" fmla="*/ 518 h 810"/>
                <a:gd name="T38" fmla="*/ 407 w 1034"/>
                <a:gd name="T39" fmla="*/ 526 h 810"/>
                <a:gd name="T40" fmla="*/ 287 w 1034"/>
                <a:gd name="T41" fmla="*/ 687 h 810"/>
                <a:gd name="T42" fmla="*/ 516 w 1034"/>
                <a:gd name="T43" fmla="*/ 606 h 810"/>
                <a:gd name="T44" fmla="*/ 494 w 1034"/>
                <a:gd name="T45" fmla="*/ 578 h 810"/>
                <a:gd name="T46" fmla="*/ 347 w 1034"/>
                <a:gd name="T47" fmla="*/ 705 h 810"/>
                <a:gd name="T48" fmla="*/ 546 w 1034"/>
                <a:gd name="T49" fmla="*/ 696 h 810"/>
                <a:gd name="T50" fmla="*/ 436 w 1034"/>
                <a:gd name="T51" fmla="*/ 734 h 810"/>
                <a:gd name="T52" fmla="*/ 606 w 1034"/>
                <a:gd name="T53" fmla="*/ 755 h 810"/>
                <a:gd name="T54" fmla="*/ 563 w 1034"/>
                <a:gd name="T55" fmla="*/ 724 h 810"/>
                <a:gd name="T56" fmla="*/ 597 w 1034"/>
                <a:gd name="T57" fmla="*/ 776 h 810"/>
                <a:gd name="T58" fmla="*/ 536 w 1034"/>
                <a:gd name="T59" fmla="*/ 396 h 810"/>
                <a:gd name="T60" fmla="*/ 478 w 1034"/>
                <a:gd name="T61" fmla="*/ 448 h 810"/>
                <a:gd name="T62" fmla="*/ 418 w 1034"/>
                <a:gd name="T63" fmla="*/ 436 h 810"/>
                <a:gd name="T64" fmla="*/ 499 w 1034"/>
                <a:gd name="T65" fmla="*/ 278 h 810"/>
                <a:gd name="T66" fmla="*/ 377 w 1034"/>
                <a:gd name="T67" fmla="*/ 478 h 810"/>
                <a:gd name="T68" fmla="*/ 388 w 1034"/>
                <a:gd name="T69" fmla="*/ 494 h 810"/>
                <a:gd name="T70" fmla="*/ 403 w 1034"/>
                <a:gd name="T71" fmla="*/ 498 h 810"/>
                <a:gd name="T72" fmla="*/ 429 w 1034"/>
                <a:gd name="T73" fmla="*/ 492 h 810"/>
                <a:gd name="T74" fmla="*/ 458 w 1034"/>
                <a:gd name="T75" fmla="*/ 501 h 810"/>
                <a:gd name="T76" fmla="*/ 478 w 1034"/>
                <a:gd name="T77" fmla="*/ 526 h 810"/>
                <a:gd name="T78" fmla="*/ 493 w 1034"/>
                <a:gd name="T79" fmla="*/ 552 h 810"/>
                <a:gd name="T80" fmla="*/ 517 w 1034"/>
                <a:gd name="T81" fmla="*/ 561 h 810"/>
                <a:gd name="T82" fmla="*/ 538 w 1034"/>
                <a:gd name="T83" fmla="*/ 626 h 810"/>
                <a:gd name="T84" fmla="*/ 537 w 1034"/>
                <a:gd name="T85" fmla="*/ 645 h 810"/>
                <a:gd name="T86" fmla="*/ 645 w 1034"/>
                <a:gd name="T87" fmla="*/ 746 h 810"/>
                <a:gd name="T88" fmla="*/ 755 w 1034"/>
                <a:gd name="T89" fmla="*/ 666 h 810"/>
                <a:gd name="T90" fmla="*/ 755 w 1034"/>
                <a:gd name="T91" fmla="*/ 606 h 810"/>
                <a:gd name="T92" fmla="*/ 666 w 1034"/>
                <a:gd name="T93" fmla="*/ 147 h 810"/>
                <a:gd name="T94" fmla="*/ 428 w 1034"/>
                <a:gd name="T95" fmla="*/ 398 h 810"/>
                <a:gd name="T96" fmla="*/ 469 w 1034"/>
                <a:gd name="T97" fmla="*/ 425 h 810"/>
                <a:gd name="T98" fmla="*/ 527 w 1034"/>
                <a:gd name="T99" fmla="*/ 369 h 810"/>
                <a:gd name="T100" fmla="*/ 118 w 1034"/>
                <a:gd name="T101" fmla="*/ 319 h 810"/>
                <a:gd name="T102" fmla="*/ 915 w 1034"/>
                <a:gd name="T103" fmla="*/ 26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4" h="810">
                  <a:moveTo>
                    <a:pt x="716" y="615"/>
                  </a:moveTo>
                  <a:cubicBezTo>
                    <a:pt x="597" y="496"/>
                    <a:pt x="597" y="496"/>
                    <a:pt x="597" y="496"/>
                  </a:cubicBezTo>
                  <a:cubicBezTo>
                    <a:pt x="615" y="478"/>
                    <a:pt x="615" y="478"/>
                    <a:pt x="615" y="478"/>
                  </a:cubicBezTo>
                  <a:cubicBezTo>
                    <a:pt x="734" y="597"/>
                    <a:pt x="734" y="597"/>
                    <a:pt x="734" y="597"/>
                  </a:cubicBezTo>
                  <a:lnTo>
                    <a:pt x="716" y="615"/>
                  </a:lnTo>
                  <a:close/>
                  <a:moveTo>
                    <a:pt x="538" y="556"/>
                  </a:moveTo>
                  <a:cubicBezTo>
                    <a:pt x="687" y="704"/>
                    <a:pt x="687" y="704"/>
                    <a:pt x="687" y="704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556" y="538"/>
                    <a:pt x="556" y="538"/>
                    <a:pt x="556" y="538"/>
                  </a:cubicBezTo>
                  <a:lnTo>
                    <a:pt x="538" y="556"/>
                  </a:lnTo>
                  <a:close/>
                  <a:moveTo>
                    <a:pt x="904" y="386"/>
                  </a:moveTo>
                  <a:cubicBezTo>
                    <a:pt x="773" y="517"/>
                    <a:pt x="773" y="517"/>
                    <a:pt x="773" y="517"/>
                  </a:cubicBezTo>
                  <a:cubicBezTo>
                    <a:pt x="794" y="538"/>
                    <a:pt x="794" y="538"/>
                    <a:pt x="794" y="538"/>
                  </a:cubicBezTo>
                  <a:cubicBezTo>
                    <a:pt x="815" y="559"/>
                    <a:pt x="815" y="594"/>
                    <a:pt x="794" y="615"/>
                  </a:cubicBezTo>
                  <a:cubicBezTo>
                    <a:pt x="786" y="623"/>
                    <a:pt x="777" y="628"/>
                    <a:pt x="767" y="630"/>
                  </a:cubicBezTo>
                  <a:cubicBezTo>
                    <a:pt x="775" y="640"/>
                    <a:pt x="780" y="652"/>
                    <a:pt x="780" y="666"/>
                  </a:cubicBezTo>
                  <a:cubicBezTo>
                    <a:pt x="780" y="680"/>
                    <a:pt x="774" y="694"/>
                    <a:pt x="764" y="705"/>
                  </a:cubicBezTo>
                  <a:cubicBezTo>
                    <a:pt x="753" y="716"/>
                    <a:pt x="736" y="722"/>
                    <a:pt x="720" y="720"/>
                  </a:cubicBezTo>
                  <a:cubicBezTo>
                    <a:pt x="722" y="736"/>
                    <a:pt x="716" y="752"/>
                    <a:pt x="704" y="764"/>
                  </a:cubicBezTo>
                  <a:cubicBezTo>
                    <a:pt x="694" y="775"/>
                    <a:pt x="680" y="780"/>
                    <a:pt x="666" y="780"/>
                  </a:cubicBezTo>
                  <a:cubicBezTo>
                    <a:pt x="653" y="780"/>
                    <a:pt x="640" y="775"/>
                    <a:pt x="630" y="766"/>
                  </a:cubicBezTo>
                  <a:cubicBezTo>
                    <a:pt x="628" y="777"/>
                    <a:pt x="623" y="786"/>
                    <a:pt x="615" y="794"/>
                  </a:cubicBezTo>
                  <a:cubicBezTo>
                    <a:pt x="605" y="804"/>
                    <a:pt x="591" y="810"/>
                    <a:pt x="576" y="810"/>
                  </a:cubicBezTo>
                  <a:cubicBezTo>
                    <a:pt x="562" y="810"/>
                    <a:pt x="548" y="804"/>
                    <a:pt x="538" y="794"/>
                  </a:cubicBezTo>
                  <a:cubicBezTo>
                    <a:pt x="517" y="773"/>
                    <a:pt x="517" y="773"/>
                    <a:pt x="517" y="773"/>
                  </a:cubicBezTo>
                  <a:cubicBezTo>
                    <a:pt x="496" y="794"/>
                    <a:pt x="496" y="794"/>
                    <a:pt x="496" y="794"/>
                  </a:cubicBezTo>
                  <a:cubicBezTo>
                    <a:pt x="485" y="805"/>
                    <a:pt x="471" y="810"/>
                    <a:pt x="457" y="810"/>
                  </a:cubicBezTo>
                  <a:cubicBezTo>
                    <a:pt x="443" y="810"/>
                    <a:pt x="429" y="805"/>
                    <a:pt x="419" y="794"/>
                  </a:cubicBezTo>
                  <a:cubicBezTo>
                    <a:pt x="411" y="786"/>
                    <a:pt x="406" y="777"/>
                    <a:pt x="404" y="766"/>
                  </a:cubicBezTo>
                  <a:cubicBezTo>
                    <a:pt x="393" y="775"/>
                    <a:pt x="381" y="780"/>
                    <a:pt x="368" y="780"/>
                  </a:cubicBezTo>
                  <a:cubicBezTo>
                    <a:pt x="354" y="780"/>
                    <a:pt x="340" y="775"/>
                    <a:pt x="329" y="764"/>
                  </a:cubicBezTo>
                  <a:cubicBezTo>
                    <a:pt x="319" y="754"/>
                    <a:pt x="313" y="740"/>
                    <a:pt x="313" y="725"/>
                  </a:cubicBezTo>
                  <a:cubicBezTo>
                    <a:pt x="313" y="723"/>
                    <a:pt x="313" y="722"/>
                    <a:pt x="314" y="720"/>
                  </a:cubicBezTo>
                  <a:cubicBezTo>
                    <a:pt x="312" y="720"/>
                    <a:pt x="310" y="720"/>
                    <a:pt x="308" y="720"/>
                  </a:cubicBezTo>
                  <a:cubicBezTo>
                    <a:pt x="294" y="720"/>
                    <a:pt x="280" y="715"/>
                    <a:pt x="270" y="704"/>
                  </a:cubicBezTo>
                  <a:cubicBezTo>
                    <a:pt x="259" y="694"/>
                    <a:pt x="254" y="680"/>
                    <a:pt x="254" y="666"/>
                  </a:cubicBezTo>
                  <a:cubicBezTo>
                    <a:pt x="254" y="652"/>
                    <a:pt x="259" y="640"/>
                    <a:pt x="267" y="630"/>
                  </a:cubicBezTo>
                  <a:cubicBezTo>
                    <a:pt x="257" y="628"/>
                    <a:pt x="248" y="623"/>
                    <a:pt x="240" y="615"/>
                  </a:cubicBezTo>
                  <a:cubicBezTo>
                    <a:pt x="229" y="605"/>
                    <a:pt x="224" y="591"/>
                    <a:pt x="224" y="576"/>
                  </a:cubicBezTo>
                  <a:cubicBezTo>
                    <a:pt x="224" y="562"/>
                    <a:pt x="229" y="548"/>
                    <a:pt x="240" y="538"/>
                  </a:cubicBezTo>
                  <a:cubicBezTo>
                    <a:pt x="261" y="517"/>
                    <a:pt x="261" y="517"/>
                    <a:pt x="261" y="517"/>
                  </a:cubicBezTo>
                  <a:cubicBezTo>
                    <a:pt x="130" y="386"/>
                    <a:pt x="130" y="386"/>
                    <a:pt x="130" y="386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408" y="107"/>
                    <a:pt x="408" y="107"/>
                    <a:pt x="408" y="107"/>
                  </a:cubicBezTo>
                  <a:cubicBezTo>
                    <a:pt x="386" y="130"/>
                    <a:pt x="386" y="130"/>
                    <a:pt x="386" y="130"/>
                  </a:cubicBezTo>
                  <a:cubicBezTo>
                    <a:pt x="517" y="261"/>
                    <a:pt x="517" y="261"/>
                    <a:pt x="517" y="261"/>
                  </a:cubicBezTo>
                  <a:cubicBezTo>
                    <a:pt x="648" y="129"/>
                    <a:pt x="648" y="129"/>
                    <a:pt x="648" y="129"/>
                  </a:cubicBezTo>
                  <a:cubicBezTo>
                    <a:pt x="625" y="107"/>
                    <a:pt x="625" y="107"/>
                    <a:pt x="625" y="107"/>
                  </a:cubicBezTo>
                  <a:cubicBezTo>
                    <a:pt x="733" y="0"/>
                    <a:pt x="733" y="0"/>
                    <a:pt x="733" y="0"/>
                  </a:cubicBezTo>
                  <a:cubicBezTo>
                    <a:pt x="1034" y="301"/>
                    <a:pt x="1034" y="301"/>
                    <a:pt x="1034" y="301"/>
                  </a:cubicBezTo>
                  <a:cubicBezTo>
                    <a:pt x="926" y="408"/>
                    <a:pt x="926" y="408"/>
                    <a:pt x="926" y="408"/>
                  </a:cubicBezTo>
                  <a:lnTo>
                    <a:pt x="904" y="386"/>
                  </a:lnTo>
                  <a:close/>
                  <a:moveTo>
                    <a:pt x="107" y="372"/>
                  </a:moveTo>
                  <a:cubicBezTo>
                    <a:pt x="372" y="107"/>
                    <a:pt x="372" y="107"/>
                    <a:pt x="372" y="107"/>
                  </a:cubicBezTo>
                  <a:cubicBezTo>
                    <a:pt x="301" y="36"/>
                    <a:pt x="301" y="36"/>
                    <a:pt x="301" y="36"/>
                  </a:cubicBezTo>
                  <a:cubicBezTo>
                    <a:pt x="36" y="301"/>
                    <a:pt x="36" y="301"/>
                    <a:pt x="36" y="301"/>
                  </a:cubicBezTo>
                  <a:lnTo>
                    <a:pt x="107" y="372"/>
                  </a:lnTo>
                  <a:close/>
                  <a:moveTo>
                    <a:pt x="661" y="107"/>
                  </a:moveTo>
                  <a:cubicBezTo>
                    <a:pt x="794" y="240"/>
                    <a:pt x="794" y="240"/>
                    <a:pt x="794" y="240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2" y="368"/>
                    <a:pt x="922" y="368"/>
                    <a:pt x="922" y="368"/>
                  </a:cubicBezTo>
                  <a:cubicBezTo>
                    <a:pt x="926" y="372"/>
                    <a:pt x="926" y="372"/>
                    <a:pt x="926" y="372"/>
                  </a:cubicBezTo>
                  <a:cubicBezTo>
                    <a:pt x="998" y="301"/>
                    <a:pt x="998" y="301"/>
                    <a:pt x="998" y="301"/>
                  </a:cubicBezTo>
                  <a:cubicBezTo>
                    <a:pt x="733" y="36"/>
                    <a:pt x="733" y="36"/>
                    <a:pt x="733" y="36"/>
                  </a:cubicBezTo>
                  <a:lnTo>
                    <a:pt x="661" y="107"/>
                  </a:lnTo>
                  <a:close/>
                  <a:moveTo>
                    <a:pt x="258" y="597"/>
                  </a:moveTo>
                  <a:cubicBezTo>
                    <a:pt x="269" y="609"/>
                    <a:pt x="288" y="609"/>
                    <a:pt x="299" y="597"/>
                  </a:cubicBezTo>
                  <a:cubicBezTo>
                    <a:pt x="359" y="538"/>
                    <a:pt x="359" y="538"/>
                    <a:pt x="359" y="538"/>
                  </a:cubicBezTo>
                  <a:cubicBezTo>
                    <a:pt x="360" y="537"/>
                    <a:pt x="360" y="536"/>
                    <a:pt x="361" y="536"/>
                  </a:cubicBezTo>
                  <a:cubicBezTo>
                    <a:pt x="365" y="530"/>
                    <a:pt x="368" y="524"/>
                    <a:pt x="368" y="517"/>
                  </a:cubicBezTo>
                  <a:cubicBezTo>
                    <a:pt x="368" y="513"/>
                    <a:pt x="367" y="510"/>
                    <a:pt x="366" y="507"/>
                  </a:cubicBezTo>
                  <a:cubicBezTo>
                    <a:pt x="364" y="503"/>
                    <a:pt x="362" y="499"/>
                    <a:pt x="359" y="496"/>
                  </a:cubicBezTo>
                  <a:cubicBezTo>
                    <a:pt x="348" y="485"/>
                    <a:pt x="328" y="485"/>
                    <a:pt x="317" y="496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79" y="535"/>
                    <a:pt x="279" y="535"/>
                    <a:pt x="279" y="535"/>
                  </a:cubicBezTo>
                  <a:cubicBezTo>
                    <a:pt x="258" y="556"/>
                    <a:pt x="258" y="556"/>
                    <a:pt x="258" y="556"/>
                  </a:cubicBezTo>
                  <a:cubicBezTo>
                    <a:pt x="252" y="561"/>
                    <a:pt x="249" y="568"/>
                    <a:pt x="249" y="576"/>
                  </a:cubicBezTo>
                  <a:cubicBezTo>
                    <a:pt x="249" y="584"/>
                    <a:pt x="252" y="592"/>
                    <a:pt x="258" y="597"/>
                  </a:cubicBezTo>
                  <a:close/>
                  <a:moveTo>
                    <a:pt x="329" y="687"/>
                  </a:moveTo>
                  <a:cubicBezTo>
                    <a:pt x="448" y="567"/>
                    <a:pt x="448" y="567"/>
                    <a:pt x="448" y="567"/>
                  </a:cubicBezTo>
                  <a:cubicBezTo>
                    <a:pt x="450" y="566"/>
                    <a:pt x="451" y="564"/>
                    <a:pt x="452" y="563"/>
                  </a:cubicBezTo>
                  <a:cubicBezTo>
                    <a:pt x="455" y="558"/>
                    <a:pt x="457" y="552"/>
                    <a:pt x="457" y="547"/>
                  </a:cubicBezTo>
                  <a:cubicBezTo>
                    <a:pt x="457" y="543"/>
                    <a:pt x="456" y="539"/>
                    <a:pt x="455" y="535"/>
                  </a:cubicBezTo>
                  <a:cubicBezTo>
                    <a:pt x="454" y="533"/>
                    <a:pt x="452" y="531"/>
                    <a:pt x="451" y="529"/>
                  </a:cubicBezTo>
                  <a:cubicBezTo>
                    <a:pt x="450" y="528"/>
                    <a:pt x="449" y="527"/>
                    <a:pt x="448" y="526"/>
                  </a:cubicBezTo>
                  <a:cubicBezTo>
                    <a:pt x="446" y="523"/>
                    <a:pt x="443" y="522"/>
                    <a:pt x="440" y="520"/>
                  </a:cubicBezTo>
                  <a:cubicBezTo>
                    <a:pt x="440" y="520"/>
                    <a:pt x="439" y="520"/>
                    <a:pt x="439" y="519"/>
                  </a:cubicBezTo>
                  <a:cubicBezTo>
                    <a:pt x="438" y="519"/>
                    <a:pt x="436" y="519"/>
                    <a:pt x="435" y="518"/>
                  </a:cubicBezTo>
                  <a:cubicBezTo>
                    <a:pt x="434" y="518"/>
                    <a:pt x="434" y="518"/>
                    <a:pt x="433" y="518"/>
                  </a:cubicBezTo>
                  <a:cubicBezTo>
                    <a:pt x="431" y="517"/>
                    <a:pt x="429" y="517"/>
                    <a:pt x="428" y="517"/>
                  </a:cubicBezTo>
                  <a:cubicBezTo>
                    <a:pt x="428" y="517"/>
                    <a:pt x="427" y="517"/>
                    <a:pt x="427" y="517"/>
                  </a:cubicBezTo>
                  <a:cubicBezTo>
                    <a:pt x="426" y="517"/>
                    <a:pt x="424" y="517"/>
                    <a:pt x="422" y="518"/>
                  </a:cubicBezTo>
                  <a:cubicBezTo>
                    <a:pt x="422" y="518"/>
                    <a:pt x="421" y="518"/>
                    <a:pt x="421" y="518"/>
                  </a:cubicBezTo>
                  <a:cubicBezTo>
                    <a:pt x="420" y="518"/>
                    <a:pt x="418" y="519"/>
                    <a:pt x="416" y="519"/>
                  </a:cubicBezTo>
                  <a:cubicBezTo>
                    <a:pt x="416" y="520"/>
                    <a:pt x="415" y="520"/>
                    <a:pt x="415" y="520"/>
                  </a:cubicBezTo>
                  <a:cubicBezTo>
                    <a:pt x="413" y="521"/>
                    <a:pt x="412" y="521"/>
                    <a:pt x="411" y="522"/>
                  </a:cubicBezTo>
                  <a:cubicBezTo>
                    <a:pt x="410" y="523"/>
                    <a:pt x="409" y="524"/>
                    <a:pt x="407" y="525"/>
                  </a:cubicBezTo>
                  <a:cubicBezTo>
                    <a:pt x="407" y="525"/>
                    <a:pt x="407" y="526"/>
                    <a:pt x="407" y="526"/>
                  </a:cubicBezTo>
                  <a:cubicBezTo>
                    <a:pt x="377" y="556"/>
                    <a:pt x="377" y="556"/>
                    <a:pt x="377" y="556"/>
                  </a:cubicBezTo>
                  <a:cubicBezTo>
                    <a:pt x="317" y="615"/>
                    <a:pt x="317" y="615"/>
                    <a:pt x="317" y="615"/>
                  </a:cubicBezTo>
                  <a:cubicBezTo>
                    <a:pt x="287" y="645"/>
                    <a:pt x="287" y="645"/>
                    <a:pt x="287" y="645"/>
                  </a:cubicBezTo>
                  <a:cubicBezTo>
                    <a:pt x="282" y="650"/>
                    <a:pt x="279" y="658"/>
                    <a:pt x="279" y="666"/>
                  </a:cubicBezTo>
                  <a:cubicBezTo>
                    <a:pt x="279" y="674"/>
                    <a:pt x="282" y="681"/>
                    <a:pt x="287" y="687"/>
                  </a:cubicBezTo>
                  <a:cubicBezTo>
                    <a:pt x="299" y="698"/>
                    <a:pt x="318" y="698"/>
                    <a:pt x="329" y="687"/>
                  </a:cubicBezTo>
                  <a:close/>
                  <a:moveTo>
                    <a:pt x="389" y="746"/>
                  </a:moveTo>
                  <a:cubicBezTo>
                    <a:pt x="478" y="657"/>
                    <a:pt x="478" y="657"/>
                    <a:pt x="478" y="657"/>
                  </a:cubicBezTo>
                  <a:cubicBezTo>
                    <a:pt x="508" y="627"/>
                    <a:pt x="508" y="627"/>
                    <a:pt x="508" y="627"/>
                  </a:cubicBezTo>
                  <a:cubicBezTo>
                    <a:pt x="513" y="621"/>
                    <a:pt x="516" y="614"/>
                    <a:pt x="516" y="606"/>
                  </a:cubicBezTo>
                  <a:cubicBezTo>
                    <a:pt x="516" y="598"/>
                    <a:pt x="513" y="591"/>
                    <a:pt x="508" y="585"/>
                  </a:cubicBezTo>
                  <a:cubicBezTo>
                    <a:pt x="506" y="584"/>
                    <a:pt x="504" y="582"/>
                    <a:pt x="502" y="581"/>
                  </a:cubicBezTo>
                  <a:cubicBezTo>
                    <a:pt x="502" y="581"/>
                    <a:pt x="501" y="580"/>
                    <a:pt x="500" y="580"/>
                  </a:cubicBezTo>
                  <a:cubicBezTo>
                    <a:pt x="499" y="579"/>
                    <a:pt x="497" y="579"/>
                    <a:pt x="496" y="578"/>
                  </a:cubicBezTo>
                  <a:cubicBezTo>
                    <a:pt x="495" y="578"/>
                    <a:pt x="494" y="578"/>
                    <a:pt x="494" y="578"/>
                  </a:cubicBezTo>
                  <a:cubicBezTo>
                    <a:pt x="492" y="577"/>
                    <a:pt x="490" y="577"/>
                    <a:pt x="487" y="577"/>
                  </a:cubicBezTo>
                  <a:cubicBezTo>
                    <a:pt x="487" y="577"/>
                    <a:pt x="487" y="577"/>
                    <a:pt x="487" y="577"/>
                  </a:cubicBezTo>
                  <a:cubicBezTo>
                    <a:pt x="484" y="577"/>
                    <a:pt x="482" y="577"/>
                    <a:pt x="479" y="578"/>
                  </a:cubicBezTo>
                  <a:cubicBezTo>
                    <a:pt x="474" y="579"/>
                    <a:pt x="470" y="582"/>
                    <a:pt x="466" y="585"/>
                  </a:cubicBezTo>
                  <a:cubicBezTo>
                    <a:pt x="347" y="705"/>
                    <a:pt x="347" y="705"/>
                    <a:pt x="347" y="705"/>
                  </a:cubicBezTo>
                  <a:cubicBezTo>
                    <a:pt x="341" y="710"/>
                    <a:pt x="338" y="717"/>
                    <a:pt x="338" y="725"/>
                  </a:cubicBezTo>
                  <a:cubicBezTo>
                    <a:pt x="338" y="733"/>
                    <a:pt x="342" y="741"/>
                    <a:pt x="347" y="746"/>
                  </a:cubicBezTo>
                  <a:cubicBezTo>
                    <a:pt x="359" y="758"/>
                    <a:pt x="377" y="758"/>
                    <a:pt x="389" y="746"/>
                  </a:cubicBezTo>
                  <a:close/>
                  <a:moveTo>
                    <a:pt x="538" y="716"/>
                  </a:moveTo>
                  <a:cubicBezTo>
                    <a:pt x="543" y="711"/>
                    <a:pt x="546" y="703"/>
                    <a:pt x="546" y="696"/>
                  </a:cubicBezTo>
                  <a:cubicBezTo>
                    <a:pt x="546" y="688"/>
                    <a:pt x="543" y="680"/>
                    <a:pt x="538" y="675"/>
                  </a:cubicBezTo>
                  <a:cubicBezTo>
                    <a:pt x="532" y="669"/>
                    <a:pt x="524" y="666"/>
                    <a:pt x="517" y="666"/>
                  </a:cubicBezTo>
                  <a:cubicBezTo>
                    <a:pt x="511" y="666"/>
                    <a:pt x="506" y="668"/>
                    <a:pt x="501" y="671"/>
                  </a:cubicBezTo>
                  <a:cubicBezTo>
                    <a:pt x="499" y="672"/>
                    <a:pt x="497" y="673"/>
                    <a:pt x="496" y="675"/>
                  </a:cubicBezTo>
                  <a:cubicBezTo>
                    <a:pt x="436" y="734"/>
                    <a:pt x="436" y="734"/>
                    <a:pt x="436" y="734"/>
                  </a:cubicBezTo>
                  <a:cubicBezTo>
                    <a:pt x="431" y="740"/>
                    <a:pt x="428" y="747"/>
                    <a:pt x="428" y="755"/>
                  </a:cubicBezTo>
                  <a:cubicBezTo>
                    <a:pt x="428" y="763"/>
                    <a:pt x="431" y="770"/>
                    <a:pt x="436" y="776"/>
                  </a:cubicBezTo>
                  <a:cubicBezTo>
                    <a:pt x="448" y="787"/>
                    <a:pt x="467" y="787"/>
                    <a:pt x="478" y="776"/>
                  </a:cubicBezTo>
                  <a:lnTo>
                    <a:pt x="538" y="716"/>
                  </a:lnTo>
                  <a:close/>
                  <a:moveTo>
                    <a:pt x="606" y="755"/>
                  </a:moveTo>
                  <a:cubicBezTo>
                    <a:pt x="606" y="747"/>
                    <a:pt x="603" y="740"/>
                    <a:pt x="597" y="734"/>
                  </a:cubicBezTo>
                  <a:cubicBezTo>
                    <a:pt x="570" y="707"/>
                    <a:pt x="570" y="707"/>
                    <a:pt x="570" y="707"/>
                  </a:cubicBezTo>
                  <a:cubicBezTo>
                    <a:pt x="570" y="710"/>
                    <a:pt x="569" y="713"/>
                    <a:pt x="568" y="716"/>
                  </a:cubicBezTo>
                  <a:cubicBezTo>
                    <a:pt x="567" y="717"/>
                    <a:pt x="567" y="717"/>
                    <a:pt x="567" y="718"/>
                  </a:cubicBezTo>
                  <a:cubicBezTo>
                    <a:pt x="566" y="720"/>
                    <a:pt x="564" y="722"/>
                    <a:pt x="563" y="724"/>
                  </a:cubicBezTo>
                  <a:cubicBezTo>
                    <a:pt x="563" y="725"/>
                    <a:pt x="562" y="726"/>
                    <a:pt x="562" y="727"/>
                  </a:cubicBezTo>
                  <a:cubicBezTo>
                    <a:pt x="560" y="729"/>
                    <a:pt x="558" y="732"/>
                    <a:pt x="556" y="734"/>
                  </a:cubicBezTo>
                  <a:cubicBezTo>
                    <a:pt x="535" y="755"/>
                    <a:pt x="535" y="755"/>
                    <a:pt x="535" y="755"/>
                  </a:cubicBezTo>
                  <a:cubicBezTo>
                    <a:pt x="556" y="776"/>
                    <a:pt x="556" y="776"/>
                    <a:pt x="556" y="776"/>
                  </a:cubicBezTo>
                  <a:cubicBezTo>
                    <a:pt x="567" y="787"/>
                    <a:pt x="586" y="787"/>
                    <a:pt x="597" y="776"/>
                  </a:cubicBezTo>
                  <a:cubicBezTo>
                    <a:pt x="597" y="776"/>
                    <a:pt x="597" y="776"/>
                    <a:pt x="597" y="776"/>
                  </a:cubicBezTo>
                  <a:cubicBezTo>
                    <a:pt x="603" y="770"/>
                    <a:pt x="606" y="763"/>
                    <a:pt x="606" y="755"/>
                  </a:cubicBezTo>
                  <a:close/>
                  <a:moveTo>
                    <a:pt x="776" y="556"/>
                  </a:moveTo>
                  <a:cubicBezTo>
                    <a:pt x="576" y="356"/>
                    <a:pt x="576" y="356"/>
                    <a:pt x="576" y="356"/>
                  </a:cubicBezTo>
                  <a:cubicBezTo>
                    <a:pt x="536" y="396"/>
                    <a:pt x="536" y="396"/>
                    <a:pt x="536" y="396"/>
                  </a:cubicBezTo>
                  <a:cubicBezTo>
                    <a:pt x="496" y="436"/>
                    <a:pt x="496" y="436"/>
                    <a:pt x="496" y="436"/>
                  </a:cubicBezTo>
                  <a:cubicBezTo>
                    <a:pt x="495" y="437"/>
                    <a:pt x="495" y="437"/>
                    <a:pt x="494" y="438"/>
                  </a:cubicBezTo>
                  <a:cubicBezTo>
                    <a:pt x="492" y="440"/>
                    <a:pt x="490" y="442"/>
                    <a:pt x="488" y="443"/>
                  </a:cubicBezTo>
                  <a:cubicBezTo>
                    <a:pt x="486" y="444"/>
                    <a:pt x="484" y="445"/>
                    <a:pt x="482" y="446"/>
                  </a:cubicBezTo>
                  <a:cubicBezTo>
                    <a:pt x="481" y="447"/>
                    <a:pt x="480" y="448"/>
                    <a:pt x="478" y="448"/>
                  </a:cubicBezTo>
                  <a:cubicBezTo>
                    <a:pt x="475" y="450"/>
                    <a:pt x="472" y="450"/>
                    <a:pt x="469" y="451"/>
                  </a:cubicBezTo>
                  <a:cubicBezTo>
                    <a:pt x="468" y="451"/>
                    <a:pt x="468" y="451"/>
                    <a:pt x="468" y="451"/>
                  </a:cubicBezTo>
                  <a:cubicBezTo>
                    <a:pt x="458" y="453"/>
                    <a:pt x="446" y="452"/>
                    <a:pt x="436" y="448"/>
                  </a:cubicBezTo>
                  <a:cubicBezTo>
                    <a:pt x="436" y="448"/>
                    <a:pt x="436" y="448"/>
                    <a:pt x="435" y="448"/>
                  </a:cubicBezTo>
                  <a:cubicBezTo>
                    <a:pt x="429" y="445"/>
                    <a:pt x="423" y="441"/>
                    <a:pt x="418" y="436"/>
                  </a:cubicBezTo>
                  <a:cubicBezTo>
                    <a:pt x="415" y="433"/>
                    <a:pt x="412" y="429"/>
                    <a:pt x="410" y="425"/>
                  </a:cubicBezTo>
                  <a:cubicBezTo>
                    <a:pt x="405" y="416"/>
                    <a:pt x="402" y="407"/>
                    <a:pt x="402" y="398"/>
                  </a:cubicBezTo>
                  <a:cubicBezTo>
                    <a:pt x="402" y="391"/>
                    <a:pt x="404" y="385"/>
                    <a:pt x="406" y="379"/>
                  </a:cubicBezTo>
                  <a:cubicBezTo>
                    <a:pt x="409" y="371"/>
                    <a:pt x="413" y="365"/>
                    <a:pt x="418" y="359"/>
                  </a:cubicBezTo>
                  <a:cubicBezTo>
                    <a:pt x="499" y="278"/>
                    <a:pt x="499" y="278"/>
                    <a:pt x="499" y="278"/>
                  </a:cubicBezTo>
                  <a:cubicBezTo>
                    <a:pt x="368" y="147"/>
                    <a:pt x="368" y="147"/>
                    <a:pt x="368" y="147"/>
                  </a:cubicBezTo>
                  <a:cubicBezTo>
                    <a:pt x="148" y="368"/>
                    <a:pt x="148" y="368"/>
                    <a:pt x="148" y="368"/>
                  </a:cubicBezTo>
                  <a:cubicBezTo>
                    <a:pt x="279" y="499"/>
                    <a:pt x="279" y="499"/>
                    <a:pt x="279" y="499"/>
                  </a:cubicBezTo>
                  <a:cubicBezTo>
                    <a:pt x="299" y="478"/>
                    <a:pt x="299" y="478"/>
                    <a:pt x="299" y="478"/>
                  </a:cubicBezTo>
                  <a:cubicBezTo>
                    <a:pt x="321" y="457"/>
                    <a:pt x="355" y="457"/>
                    <a:pt x="377" y="478"/>
                  </a:cubicBezTo>
                  <a:cubicBezTo>
                    <a:pt x="377" y="478"/>
                    <a:pt x="377" y="478"/>
                    <a:pt x="377" y="478"/>
                  </a:cubicBezTo>
                  <a:cubicBezTo>
                    <a:pt x="377" y="479"/>
                    <a:pt x="378" y="479"/>
                    <a:pt x="378" y="480"/>
                  </a:cubicBezTo>
                  <a:cubicBezTo>
                    <a:pt x="380" y="482"/>
                    <a:pt x="381" y="483"/>
                    <a:pt x="383" y="485"/>
                  </a:cubicBezTo>
                  <a:cubicBezTo>
                    <a:pt x="383" y="486"/>
                    <a:pt x="384" y="487"/>
                    <a:pt x="384" y="488"/>
                  </a:cubicBezTo>
                  <a:cubicBezTo>
                    <a:pt x="386" y="490"/>
                    <a:pt x="387" y="492"/>
                    <a:pt x="388" y="494"/>
                  </a:cubicBezTo>
                  <a:cubicBezTo>
                    <a:pt x="388" y="495"/>
                    <a:pt x="389" y="496"/>
                    <a:pt x="389" y="496"/>
                  </a:cubicBezTo>
                  <a:cubicBezTo>
                    <a:pt x="390" y="499"/>
                    <a:pt x="391" y="502"/>
                    <a:pt x="392" y="505"/>
                  </a:cubicBezTo>
                  <a:cubicBezTo>
                    <a:pt x="393" y="504"/>
                    <a:pt x="394" y="504"/>
                    <a:pt x="395" y="503"/>
                  </a:cubicBezTo>
                  <a:cubicBezTo>
                    <a:pt x="396" y="502"/>
                    <a:pt x="397" y="501"/>
                    <a:pt x="399" y="500"/>
                  </a:cubicBezTo>
                  <a:cubicBezTo>
                    <a:pt x="400" y="499"/>
                    <a:pt x="401" y="499"/>
                    <a:pt x="403" y="498"/>
                  </a:cubicBezTo>
                  <a:cubicBezTo>
                    <a:pt x="404" y="497"/>
                    <a:pt x="406" y="496"/>
                    <a:pt x="408" y="495"/>
                  </a:cubicBezTo>
                  <a:cubicBezTo>
                    <a:pt x="409" y="495"/>
                    <a:pt x="409" y="495"/>
                    <a:pt x="410" y="495"/>
                  </a:cubicBezTo>
                  <a:cubicBezTo>
                    <a:pt x="416" y="493"/>
                    <a:pt x="422" y="492"/>
                    <a:pt x="428" y="492"/>
                  </a:cubicBezTo>
                  <a:cubicBezTo>
                    <a:pt x="428" y="492"/>
                    <a:pt x="428" y="492"/>
                    <a:pt x="428" y="492"/>
                  </a:cubicBezTo>
                  <a:cubicBezTo>
                    <a:pt x="428" y="492"/>
                    <a:pt x="428" y="492"/>
                    <a:pt x="429" y="492"/>
                  </a:cubicBezTo>
                  <a:cubicBezTo>
                    <a:pt x="432" y="492"/>
                    <a:pt x="435" y="492"/>
                    <a:pt x="438" y="493"/>
                  </a:cubicBezTo>
                  <a:cubicBezTo>
                    <a:pt x="440" y="493"/>
                    <a:pt x="442" y="494"/>
                    <a:pt x="443" y="494"/>
                  </a:cubicBezTo>
                  <a:cubicBezTo>
                    <a:pt x="445" y="495"/>
                    <a:pt x="447" y="495"/>
                    <a:pt x="448" y="496"/>
                  </a:cubicBezTo>
                  <a:cubicBezTo>
                    <a:pt x="450" y="497"/>
                    <a:pt x="452" y="498"/>
                    <a:pt x="453" y="499"/>
                  </a:cubicBezTo>
                  <a:cubicBezTo>
                    <a:pt x="455" y="499"/>
                    <a:pt x="456" y="500"/>
                    <a:pt x="458" y="501"/>
                  </a:cubicBezTo>
                  <a:cubicBezTo>
                    <a:pt x="459" y="502"/>
                    <a:pt x="460" y="503"/>
                    <a:pt x="461" y="504"/>
                  </a:cubicBezTo>
                  <a:cubicBezTo>
                    <a:pt x="463" y="505"/>
                    <a:pt x="465" y="506"/>
                    <a:pt x="466" y="508"/>
                  </a:cubicBezTo>
                  <a:cubicBezTo>
                    <a:pt x="466" y="508"/>
                    <a:pt x="466" y="508"/>
                    <a:pt x="466" y="508"/>
                  </a:cubicBezTo>
                  <a:cubicBezTo>
                    <a:pt x="467" y="509"/>
                    <a:pt x="468" y="511"/>
                    <a:pt x="469" y="512"/>
                  </a:cubicBezTo>
                  <a:cubicBezTo>
                    <a:pt x="473" y="516"/>
                    <a:pt x="476" y="521"/>
                    <a:pt x="478" y="526"/>
                  </a:cubicBezTo>
                  <a:cubicBezTo>
                    <a:pt x="481" y="532"/>
                    <a:pt x="482" y="539"/>
                    <a:pt x="482" y="547"/>
                  </a:cubicBezTo>
                  <a:cubicBezTo>
                    <a:pt x="482" y="547"/>
                    <a:pt x="482" y="547"/>
                    <a:pt x="482" y="547"/>
                  </a:cubicBezTo>
                  <a:cubicBezTo>
                    <a:pt x="482" y="549"/>
                    <a:pt x="482" y="550"/>
                    <a:pt x="482" y="552"/>
                  </a:cubicBezTo>
                  <a:cubicBezTo>
                    <a:pt x="482" y="552"/>
                    <a:pt x="483" y="552"/>
                    <a:pt x="483" y="552"/>
                  </a:cubicBezTo>
                  <a:cubicBezTo>
                    <a:pt x="486" y="551"/>
                    <a:pt x="490" y="551"/>
                    <a:pt x="493" y="552"/>
                  </a:cubicBezTo>
                  <a:cubicBezTo>
                    <a:pt x="493" y="552"/>
                    <a:pt x="494" y="552"/>
                    <a:pt x="494" y="552"/>
                  </a:cubicBezTo>
                  <a:cubicBezTo>
                    <a:pt x="498" y="552"/>
                    <a:pt x="501" y="553"/>
                    <a:pt x="504" y="554"/>
                  </a:cubicBezTo>
                  <a:cubicBezTo>
                    <a:pt x="505" y="555"/>
                    <a:pt x="506" y="555"/>
                    <a:pt x="506" y="555"/>
                  </a:cubicBezTo>
                  <a:cubicBezTo>
                    <a:pt x="510" y="556"/>
                    <a:pt x="513" y="558"/>
                    <a:pt x="516" y="560"/>
                  </a:cubicBezTo>
                  <a:cubicBezTo>
                    <a:pt x="516" y="560"/>
                    <a:pt x="517" y="560"/>
                    <a:pt x="517" y="561"/>
                  </a:cubicBezTo>
                  <a:cubicBezTo>
                    <a:pt x="520" y="563"/>
                    <a:pt x="523" y="565"/>
                    <a:pt x="526" y="567"/>
                  </a:cubicBezTo>
                  <a:cubicBezTo>
                    <a:pt x="536" y="578"/>
                    <a:pt x="542" y="591"/>
                    <a:pt x="542" y="606"/>
                  </a:cubicBezTo>
                  <a:cubicBezTo>
                    <a:pt x="542" y="610"/>
                    <a:pt x="541" y="613"/>
                    <a:pt x="541" y="616"/>
                  </a:cubicBezTo>
                  <a:cubicBezTo>
                    <a:pt x="541" y="618"/>
                    <a:pt x="540" y="619"/>
                    <a:pt x="540" y="620"/>
                  </a:cubicBezTo>
                  <a:cubicBezTo>
                    <a:pt x="539" y="622"/>
                    <a:pt x="539" y="624"/>
                    <a:pt x="538" y="626"/>
                  </a:cubicBezTo>
                  <a:cubicBezTo>
                    <a:pt x="537" y="628"/>
                    <a:pt x="537" y="629"/>
                    <a:pt x="536" y="630"/>
                  </a:cubicBezTo>
                  <a:cubicBezTo>
                    <a:pt x="535" y="632"/>
                    <a:pt x="534" y="634"/>
                    <a:pt x="533" y="635"/>
                  </a:cubicBezTo>
                  <a:cubicBezTo>
                    <a:pt x="533" y="637"/>
                    <a:pt x="532" y="638"/>
                    <a:pt x="531" y="639"/>
                  </a:cubicBezTo>
                  <a:cubicBezTo>
                    <a:pt x="530" y="640"/>
                    <a:pt x="529" y="641"/>
                    <a:pt x="529" y="642"/>
                  </a:cubicBezTo>
                  <a:cubicBezTo>
                    <a:pt x="531" y="643"/>
                    <a:pt x="534" y="643"/>
                    <a:pt x="537" y="645"/>
                  </a:cubicBezTo>
                  <a:cubicBezTo>
                    <a:pt x="537" y="645"/>
                    <a:pt x="538" y="645"/>
                    <a:pt x="539" y="645"/>
                  </a:cubicBezTo>
                  <a:cubicBezTo>
                    <a:pt x="541" y="646"/>
                    <a:pt x="543" y="648"/>
                    <a:pt x="546" y="649"/>
                  </a:cubicBezTo>
                  <a:cubicBezTo>
                    <a:pt x="546" y="649"/>
                    <a:pt x="547" y="650"/>
                    <a:pt x="548" y="650"/>
                  </a:cubicBezTo>
                  <a:cubicBezTo>
                    <a:pt x="551" y="652"/>
                    <a:pt x="553" y="654"/>
                    <a:pt x="556" y="657"/>
                  </a:cubicBezTo>
                  <a:cubicBezTo>
                    <a:pt x="645" y="746"/>
                    <a:pt x="645" y="746"/>
                    <a:pt x="645" y="746"/>
                  </a:cubicBezTo>
                  <a:cubicBezTo>
                    <a:pt x="656" y="757"/>
                    <a:pt x="676" y="757"/>
                    <a:pt x="687" y="746"/>
                  </a:cubicBezTo>
                  <a:cubicBezTo>
                    <a:pt x="698" y="735"/>
                    <a:pt x="698" y="716"/>
                    <a:pt x="687" y="705"/>
                  </a:cubicBezTo>
                  <a:cubicBezTo>
                    <a:pt x="705" y="687"/>
                    <a:pt x="705" y="687"/>
                    <a:pt x="705" y="687"/>
                  </a:cubicBezTo>
                  <a:cubicBezTo>
                    <a:pt x="716" y="698"/>
                    <a:pt x="735" y="698"/>
                    <a:pt x="746" y="687"/>
                  </a:cubicBezTo>
                  <a:cubicBezTo>
                    <a:pt x="752" y="681"/>
                    <a:pt x="755" y="674"/>
                    <a:pt x="755" y="666"/>
                  </a:cubicBezTo>
                  <a:cubicBezTo>
                    <a:pt x="755" y="658"/>
                    <a:pt x="752" y="650"/>
                    <a:pt x="746" y="645"/>
                  </a:cubicBezTo>
                  <a:cubicBezTo>
                    <a:pt x="716" y="615"/>
                    <a:pt x="716" y="615"/>
                    <a:pt x="716" y="615"/>
                  </a:cubicBezTo>
                  <a:cubicBezTo>
                    <a:pt x="734" y="597"/>
                    <a:pt x="734" y="597"/>
                    <a:pt x="734" y="597"/>
                  </a:cubicBezTo>
                  <a:cubicBezTo>
                    <a:pt x="740" y="603"/>
                    <a:pt x="747" y="606"/>
                    <a:pt x="755" y="606"/>
                  </a:cubicBezTo>
                  <a:cubicBezTo>
                    <a:pt x="755" y="606"/>
                    <a:pt x="755" y="606"/>
                    <a:pt x="755" y="606"/>
                  </a:cubicBezTo>
                  <a:cubicBezTo>
                    <a:pt x="763" y="606"/>
                    <a:pt x="770" y="603"/>
                    <a:pt x="776" y="597"/>
                  </a:cubicBezTo>
                  <a:cubicBezTo>
                    <a:pt x="787" y="586"/>
                    <a:pt x="787" y="567"/>
                    <a:pt x="776" y="556"/>
                  </a:cubicBezTo>
                  <a:close/>
                  <a:moveTo>
                    <a:pt x="886" y="368"/>
                  </a:moveTo>
                  <a:cubicBezTo>
                    <a:pt x="776" y="258"/>
                    <a:pt x="776" y="258"/>
                    <a:pt x="776" y="258"/>
                  </a:cubicBezTo>
                  <a:cubicBezTo>
                    <a:pt x="666" y="147"/>
                    <a:pt x="666" y="147"/>
                    <a:pt x="666" y="147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535" y="278"/>
                    <a:pt x="535" y="278"/>
                    <a:pt x="535" y="278"/>
                  </a:cubicBezTo>
                  <a:cubicBezTo>
                    <a:pt x="436" y="377"/>
                    <a:pt x="436" y="377"/>
                    <a:pt x="436" y="377"/>
                  </a:cubicBezTo>
                  <a:cubicBezTo>
                    <a:pt x="433" y="380"/>
                    <a:pt x="431" y="383"/>
                    <a:pt x="430" y="387"/>
                  </a:cubicBezTo>
                  <a:cubicBezTo>
                    <a:pt x="429" y="390"/>
                    <a:pt x="428" y="394"/>
                    <a:pt x="428" y="398"/>
                  </a:cubicBezTo>
                  <a:cubicBezTo>
                    <a:pt x="428" y="402"/>
                    <a:pt x="429" y="406"/>
                    <a:pt x="431" y="410"/>
                  </a:cubicBezTo>
                  <a:cubicBezTo>
                    <a:pt x="432" y="413"/>
                    <a:pt x="434" y="416"/>
                    <a:pt x="436" y="418"/>
                  </a:cubicBezTo>
                  <a:cubicBezTo>
                    <a:pt x="442" y="424"/>
                    <a:pt x="449" y="427"/>
                    <a:pt x="457" y="427"/>
                  </a:cubicBezTo>
                  <a:cubicBezTo>
                    <a:pt x="457" y="427"/>
                    <a:pt x="457" y="427"/>
                    <a:pt x="457" y="427"/>
                  </a:cubicBezTo>
                  <a:cubicBezTo>
                    <a:pt x="461" y="427"/>
                    <a:pt x="465" y="426"/>
                    <a:pt x="469" y="425"/>
                  </a:cubicBezTo>
                  <a:cubicBezTo>
                    <a:pt x="469" y="425"/>
                    <a:pt x="469" y="425"/>
                    <a:pt x="469" y="425"/>
                  </a:cubicBezTo>
                  <a:cubicBezTo>
                    <a:pt x="471" y="424"/>
                    <a:pt x="472" y="423"/>
                    <a:pt x="474" y="422"/>
                  </a:cubicBezTo>
                  <a:cubicBezTo>
                    <a:pt x="475" y="422"/>
                    <a:pt x="475" y="421"/>
                    <a:pt x="476" y="420"/>
                  </a:cubicBezTo>
                  <a:cubicBezTo>
                    <a:pt x="477" y="419"/>
                    <a:pt x="478" y="419"/>
                    <a:pt x="478" y="418"/>
                  </a:cubicBezTo>
                  <a:cubicBezTo>
                    <a:pt x="527" y="369"/>
                    <a:pt x="527" y="369"/>
                    <a:pt x="527" y="369"/>
                  </a:cubicBezTo>
                  <a:cubicBezTo>
                    <a:pt x="576" y="320"/>
                    <a:pt x="576" y="320"/>
                    <a:pt x="576" y="320"/>
                  </a:cubicBezTo>
                  <a:cubicBezTo>
                    <a:pt x="755" y="499"/>
                    <a:pt x="755" y="499"/>
                    <a:pt x="755" y="499"/>
                  </a:cubicBezTo>
                  <a:lnTo>
                    <a:pt x="886" y="368"/>
                  </a:lnTo>
                  <a:close/>
                  <a:moveTo>
                    <a:pt x="89" y="290"/>
                  </a:moveTo>
                  <a:cubicBezTo>
                    <a:pt x="118" y="319"/>
                    <a:pt x="118" y="319"/>
                    <a:pt x="118" y="319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18" y="260"/>
                    <a:pt x="118" y="260"/>
                    <a:pt x="118" y="260"/>
                  </a:cubicBezTo>
                  <a:lnTo>
                    <a:pt x="89" y="290"/>
                  </a:lnTo>
                  <a:close/>
                  <a:moveTo>
                    <a:pt x="945" y="290"/>
                  </a:moveTo>
                  <a:cubicBezTo>
                    <a:pt x="915" y="260"/>
                    <a:pt x="915" y="260"/>
                    <a:pt x="915" y="260"/>
                  </a:cubicBezTo>
                  <a:cubicBezTo>
                    <a:pt x="886" y="290"/>
                    <a:pt x="886" y="290"/>
                    <a:pt x="886" y="290"/>
                  </a:cubicBezTo>
                  <a:cubicBezTo>
                    <a:pt x="915" y="319"/>
                    <a:pt x="915" y="319"/>
                    <a:pt x="915" y="319"/>
                  </a:cubicBezTo>
                  <a:lnTo>
                    <a:pt x="945" y="2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073385" y="3232368"/>
            <a:ext cx="1011204" cy="1011201"/>
            <a:chOff x="5073385" y="3232368"/>
            <a:chExt cx="1011204" cy="1011201"/>
          </a:xfrm>
        </p:grpSpPr>
        <p:sp>
          <p:nvSpPr>
            <p:cNvPr id="6" name="Oval 7"/>
            <p:cNvSpPr>
              <a:spLocks noChangeArrowheads="1"/>
            </p:cNvSpPr>
            <p:nvPr/>
          </p:nvSpPr>
          <p:spPr bwMode="auto">
            <a:xfrm>
              <a:off x="5073385" y="3232368"/>
              <a:ext cx="1011204" cy="1011201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Oval 7"/>
            <p:cNvSpPr>
              <a:spLocks noChangeArrowheads="1"/>
            </p:cNvSpPr>
            <p:nvPr/>
          </p:nvSpPr>
          <p:spPr bwMode="auto">
            <a:xfrm>
              <a:off x="5148222" y="3307204"/>
              <a:ext cx="861531" cy="861529"/>
            </a:xfrm>
            <a:prstGeom prst="ellipse">
              <a:avLst/>
            </a:prstGeom>
            <a:solidFill>
              <a:srgbClr val="EC0000"/>
            </a:solidFill>
            <a:ln w="190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2" name="Freeform 41"/>
            <p:cNvSpPr>
              <a:spLocks noEditPoints="1"/>
            </p:cNvSpPr>
            <p:nvPr/>
          </p:nvSpPr>
          <p:spPr bwMode="auto">
            <a:xfrm>
              <a:off x="5356137" y="3562745"/>
              <a:ext cx="445700" cy="350446"/>
            </a:xfrm>
            <a:custGeom>
              <a:avLst/>
              <a:gdLst>
                <a:gd name="T0" fmla="*/ 116 w 906"/>
                <a:gd name="T1" fmla="*/ 479 h 711"/>
                <a:gd name="T2" fmla="*/ 116 w 906"/>
                <a:gd name="T3" fmla="*/ 711 h 711"/>
                <a:gd name="T4" fmla="*/ 906 w 906"/>
                <a:gd name="T5" fmla="*/ 595 h 711"/>
                <a:gd name="T6" fmla="*/ 790 w 906"/>
                <a:gd name="T7" fmla="*/ 686 h 711"/>
                <a:gd name="T8" fmla="*/ 25 w 906"/>
                <a:gd name="T9" fmla="*/ 595 h 711"/>
                <a:gd name="T10" fmla="*/ 790 w 906"/>
                <a:gd name="T11" fmla="*/ 504 h 711"/>
                <a:gd name="T12" fmla="*/ 790 w 906"/>
                <a:gd name="T13" fmla="*/ 686 h 711"/>
                <a:gd name="T14" fmla="*/ 77 w 906"/>
                <a:gd name="T15" fmla="*/ 595 h 711"/>
                <a:gd name="T16" fmla="*/ 206 w 906"/>
                <a:gd name="T17" fmla="*/ 595 h 711"/>
                <a:gd name="T18" fmla="*/ 142 w 906"/>
                <a:gd name="T19" fmla="*/ 634 h 711"/>
                <a:gd name="T20" fmla="*/ 142 w 906"/>
                <a:gd name="T21" fmla="*/ 556 h 711"/>
                <a:gd name="T22" fmla="*/ 142 w 906"/>
                <a:gd name="T23" fmla="*/ 634 h 711"/>
                <a:gd name="T24" fmla="*/ 233 w 906"/>
                <a:gd name="T25" fmla="*/ 595 h 711"/>
                <a:gd name="T26" fmla="*/ 362 w 906"/>
                <a:gd name="T27" fmla="*/ 595 h 711"/>
                <a:gd name="T28" fmla="*/ 297 w 906"/>
                <a:gd name="T29" fmla="*/ 634 h 711"/>
                <a:gd name="T30" fmla="*/ 297 w 906"/>
                <a:gd name="T31" fmla="*/ 556 h 711"/>
                <a:gd name="T32" fmla="*/ 297 w 906"/>
                <a:gd name="T33" fmla="*/ 634 h 711"/>
                <a:gd name="T34" fmla="*/ 388 w 906"/>
                <a:gd name="T35" fmla="*/ 595 h 711"/>
                <a:gd name="T36" fmla="*/ 517 w 906"/>
                <a:gd name="T37" fmla="*/ 595 h 711"/>
                <a:gd name="T38" fmla="*/ 453 w 906"/>
                <a:gd name="T39" fmla="*/ 634 h 711"/>
                <a:gd name="T40" fmla="*/ 453 w 906"/>
                <a:gd name="T41" fmla="*/ 556 h 711"/>
                <a:gd name="T42" fmla="*/ 453 w 906"/>
                <a:gd name="T43" fmla="*/ 634 h 711"/>
                <a:gd name="T44" fmla="*/ 544 w 906"/>
                <a:gd name="T45" fmla="*/ 595 h 711"/>
                <a:gd name="T46" fmla="*/ 673 w 906"/>
                <a:gd name="T47" fmla="*/ 595 h 711"/>
                <a:gd name="T48" fmla="*/ 608 w 906"/>
                <a:gd name="T49" fmla="*/ 634 h 711"/>
                <a:gd name="T50" fmla="*/ 608 w 906"/>
                <a:gd name="T51" fmla="*/ 556 h 711"/>
                <a:gd name="T52" fmla="*/ 608 w 906"/>
                <a:gd name="T53" fmla="*/ 634 h 711"/>
                <a:gd name="T54" fmla="*/ 699 w 906"/>
                <a:gd name="T55" fmla="*/ 595 h 711"/>
                <a:gd name="T56" fmla="*/ 828 w 906"/>
                <a:gd name="T57" fmla="*/ 595 h 711"/>
                <a:gd name="T58" fmla="*/ 764 w 906"/>
                <a:gd name="T59" fmla="*/ 634 h 711"/>
                <a:gd name="T60" fmla="*/ 764 w 906"/>
                <a:gd name="T61" fmla="*/ 556 h 711"/>
                <a:gd name="T62" fmla="*/ 764 w 906"/>
                <a:gd name="T63" fmla="*/ 634 h 711"/>
                <a:gd name="T64" fmla="*/ 707 w 906"/>
                <a:gd name="T65" fmla="*/ 441 h 711"/>
                <a:gd name="T66" fmla="*/ 719 w 906"/>
                <a:gd name="T67" fmla="*/ 13 h 711"/>
                <a:gd name="T68" fmla="*/ 522 w 906"/>
                <a:gd name="T69" fmla="*/ 0 h 711"/>
                <a:gd name="T70" fmla="*/ 199 w 906"/>
                <a:gd name="T71" fmla="*/ 0 h 711"/>
                <a:gd name="T72" fmla="*/ 186 w 906"/>
                <a:gd name="T73" fmla="*/ 428 h 711"/>
                <a:gd name="T74" fmla="*/ 509 w 906"/>
                <a:gd name="T75" fmla="*/ 25 h 711"/>
                <a:gd name="T76" fmla="*/ 460 w 906"/>
                <a:gd name="T77" fmla="*/ 72 h 711"/>
                <a:gd name="T78" fmla="*/ 451 w 906"/>
                <a:gd name="T79" fmla="*/ 68 h 711"/>
                <a:gd name="T80" fmla="*/ 396 w 906"/>
                <a:gd name="T81" fmla="*/ 120 h 711"/>
                <a:gd name="T82" fmla="*/ 509 w 906"/>
                <a:gd name="T83" fmla="*/ 25 h 711"/>
                <a:gd name="T84" fmla="*/ 371 w 906"/>
                <a:gd name="T85" fmla="*/ 25 h 711"/>
                <a:gd name="T86" fmla="*/ 379 w 906"/>
                <a:gd name="T87" fmla="*/ 163 h 711"/>
                <a:gd name="T88" fmla="*/ 393 w 906"/>
                <a:gd name="T89" fmla="*/ 160 h 711"/>
                <a:gd name="T90" fmla="*/ 513 w 906"/>
                <a:gd name="T91" fmla="*/ 160 h 711"/>
                <a:gd name="T92" fmla="*/ 535 w 906"/>
                <a:gd name="T93" fmla="*/ 151 h 711"/>
                <a:gd name="T94" fmla="*/ 694 w 906"/>
                <a:gd name="T95" fmla="*/ 25 h 711"/>
                <a:gd name="T96" fmla="*/ 212 w 906"/>
                <a:gd name="T97" fmla="*/ 415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6" h="711">
                  <a:moveTo>
                    <a:pt x="790" y="479"/>
                  </a:moveTo>
                  <a:cubicBezTo>
                    <a:pt x="116" y="479"/>
                    <a:pt x="116" y="479"/>
                    <a:pt x="116" y="479"/>
                  </a:cubicBezTo>
                  <a:cubicBezTo>
                    <a:pt x="52" y="479"/>
                    <a:pt x="0" y="531"/>
                    <a:pt x="0" y="595"/>
                  </a:cubicBezTo>
                  <a:cubicBezTo>
                    <a:pt x="0" y="659"/>
                    <a:pt x="52" y="711"/>
                    <a:pt x="116" y="711"/>
                  </a:cubicBezTo>
                  <a:cubicBezTo>
                    <a:pt x="790" y="711"/>
                    <a:pt x="790" y="711"/>
                    <a:pt x="790" y="711"/>
                  </a:cubicBezTo>
                  <a:cubicBezTo>
                    <a:pt x="854" y="711"/>
                    <a:pt x="906" y="659"/>
                    <a:pt x="906" y="595"/>
                  </a:cubicBezTo>
                  <a:cubicBezTo>
                    <a:pt x="906" y="531"/>
                    <a:pt x="854" y="479"/>
                    <a:pt x="790" y="479"/>
                  </a:cubicBezTo>
                  <a:close/>
                  <a:moveTo>
                    <a:pt x="790" y="686"/>
                  </a:moveTo>
                  <a:cubicBezTo>
                    <a:pt x="116" y="686"/>
                    <a:pt x="116" y="686"/>
                    <a:pt x="116" y="686"/>
                  </a:cubicBezTo>
                  <a:cubicBezTo>
                    <a:pt x="66" y="686"/>
                    <a:pt x="25" y="645"/>
                    <a:pt x="25" y="595"/>
                  </a:cubicBezTo>
                  <a:cubicBezTo>
                    <a:pt x="25" y="545"/>
                    <a:pt x="66" y="504"/>
                    <a:pt x="116" y="504"/>
                  </a:cubicBezTo>
                  <a:cubicBezTo>
                    <a:pt x="790" y="504"/>
                    <a:pt x="790" y="504"/>
                    <a:pt x="790" y="504"/>
                  </a:cubicBezTo>
                  <a:cubicBezTo>
                    <a:pt x="840" y="504"/>
                    <a:pt x="881" y="545"/>
                    <a:pt x="881" y="595"/>
                  </a:cubicBezTo>
                  <a:cubicBezTo>
                    <a:pt x="881" y="645"/>
                    <a:pt x="840" y="686"/>
                    <a:pt x="790" y="686"/>
                  </a:cubicBezTo>
                  <a:close/>
                  <a:moveTo>
                    <a:pt x="142" y="530"/>
                  </a:moveTo>
                  <a:cubicBezTo>
                    <a:pt x="106" y="530"/>
                    <a:pt x="77" y="559"/>
                    <a:pt x="77" y="595"/>
                  </a:cubicBezTo>
                  <a:cubicBezTo>
                    <a:pt x="77" y="630"/>
                    <a:pt x="106" y="659"/>
                    <a:pt x="142" y="659"/>
                  </a:cubicBezTo>
                  <a:cubicBezTo>
                    <a:pt x="177" y="659"/>
                    <a:pt x="206" y="630"/>
                    <a:pt x="206" y="595"/>
                  </a:cubicBezTo>
                  <a:cubicBezTo>
                    <a:pt x="206" y="559"/>
                    <a:pt x="177" y="530"/>
                    <a:pt x="142" y="530"/>
                  </a:cubicBezTo>
                  <a:close/>
                  <a:moveTo>
                    <a:pt x="142" y="634"/>
                  </a:moveTo>
                  <a:cubicBezTo>
                    <a:pt x="120" y="634"/>
                    <a:pt x="103" y="617"/>
                    <a:pt x="103" y="595"/>
                  </a:cubicBezTo>
                  <a:cubicBezTo>
                    <a:pt x="103" y="573"/>
                    <a:pt x="120" y="556"/>
                    <a:pt x="142" y="556"/>
                  </a:cubicBezTo>
                  <a:cubicBezTo>
                    <a:pt x="163" y="556"/>
                    <a:pt x="181" y="573"/>
                    <a:pt x="181" y="595"/>
                  </a:cubicBezTo>
                  <a:cubicBezTo>
                    <a:pt x="181" y="617"/>
                    <a:pt x="163" y="634"/>
                    <a:pt x="142" y="634"/>
                  </a:cubicBezTo>
                  <a:close/>
                  <a:moveTo>
                    <a:pt x="297" y="530"/>
                  </a:moveTo>
                  <a:cubicBezTo>
                    <a:pt x="262" y="530"/>
                    <a:pt x="233" y="559"/>
                    <a:pt x="233" y="595"/>
                  </a:cubicBezTo>
                  <a:cubicBezTo>
                    <a:pt x="233" y="630"/>
                    <a:pt x="262" y="659"/>
                    <a:pt x="297" y="659"/>
                  </a:cubicBezTo>
                  <a:cubicBezTo>
                    <a:pt x="333" y="659"/>
                    <a:pt x="362" y="630"/>
                    <a:pt x="362" y="595"/>
                  </a:cubicBezTo>
                  <a:cubicBezTo>
                    <a:pt x="362" y="559"/>
                    <a:pt x="333" y="530"/>
                    <a:pt x="297" y="530"/>
                  </a:cubicBezTo>
                  <a:close/>
                  <a:moveTo>
                    <a:pt x="297" y="634"/>
                  </a:moveTo>
                  <a:cubicBezTo>
                    <a:pt x="276" y="634"/>
                    <a:pt x="258" y="617"/>
                    <a:pt x="258" y="595"/>
                  </a:cubicBezTo>
                  <a:cubicBezTo>
                    <a:pt x="258" y="573"/>
                    <a:pt x="276" y="556"/>
                    <a:pt x="297" y="556"/>
                  </a:cubicBezTo>
                  <a:cubicBezTo>
                    <a:pt x="319" y="556"/>
                    <a:pt x="336" y="573"/>
                    <a:pt x="336" y="595"/>
                  </a:cubicBezTo>
                  <a:cubicBezTo>
                    <a:pt x="336" y="617"/>
                    <a:pt x="319" y="634"/>
                    <a:pt x="297" y="634"/>
                  </a:cubicBezTo>
                  <a:close/>
                  <a:moveTo>
                    <a:pt x="453" y="530"/>
                  </a:moveTo>
                  <a:cubicBezTo>
                    <a:pt x="417" y="530"/>
                    <a:pt x="388" y="559"/>
                    <a:pt x="388" y="595"/>
                  </a:cubicBezTo>
                  <a:cubicBezTo>
                    <a:pt x="388" y="630"/>
                    <a:pt x="417" y="659"/>
                    <a:pt x="453" y="659"/>
                  </a:cubicBezTo>
                  <a:cubicBezTo>
                    <a:pt x="488" y="659"/>
                    <a:pt x="517" y="630"/>
                    <a:pt x="517" y="595"/>
                  </a:cubicBezTo>
                  <a:cubicBezTo>
                    <a:pt x="517" y="559"/>
                    <a:pt x="488" y="530"/>
                    <a:pt x="453" y="530"/>
                  </a:cubicBezTo>
                  <a:close/>
                  <a:moveTo>
                    <a:pt x="453" y="634"/>
                  </a:moveTo>
                  <a:cubicBezTo>
                    <a:pt x="431" y="634"/>
                    <a:pt x="414" y="617"/>
                    <a:pt x="414" y="595"/>
                  </a:cubicBezTo>
                  <a:cubicBezTo>
                    <a:pt x="414" y="573"/>
                    <a:pt x="431" y="556"/>
                    <a:pt x="453" y="556"/>
                  </a:cubicBezTo>
                  <a:cubicBezTo>
                    <a:pt x="474" y="556"/>
                    <a:pt x="492" y="573"/>
                    <a:pt x="492" y="595"/>
                  </a:cubicBezTo>
                  <a:cubicBezTo>
                    <a:pt x="492" y="617"/>
                    <a:pt x="474" y="634"/>
                    <a:pt x="453" y="634"/>
                  </a:cubicBezTo>
                  <a:close/>
                  <a:moveTo>
                    <a:pt x="608" y="530"/>
                  </a:moveTo>
                  <a:cubicBezTo>
                    <a:pt x="573" y="530"/>
                    <a:pt x="544" y="559"/>
                    <a:pt x="544" y="595"/>
                  </a:cubicBezTo>
                  <a:cubicBezTo>
                    <a:pt x="544" y="630"/>
                    <a:pt x="573" y="659"/>
                    <a:pt x="608" y="659"/>
                  </a:cubicBezTo>
                  <a:cubicBezTo>
                    <a:pt x="644" y="659"/>
                    <a:pt x="673" y="630"/>
                    <a:pt x="673" y="595"/>
                  </a:cubicBezTo>
                  <a:cubicBezTo>
                    <a:pt x="673" y="559"/>
                    <a:pt x="644" y="530"/>
                    <a:pt x="608" y="530"/>
                  </a:cubicBezTo>
                  <a:close/>
                  <a:moveTo>
                    <a:pt x="608" y="634"/>
                  </a:moveTo>
                  <a:cubicBezTo>
                    <a:pt x="587" y="634"/>
                    <a:pt x="569" y="617"/>
                    <a:pt x="569" y="595"/>
                  </a:cubicBezTo>
                  <a:cubicBezTo>
                    <a:pt x="569" y="573"/>
                    <a:pt x="587" y="556"/>
                    <a:pt x="608" y="556"/>
                  </a:cubicBezTo>
                  <a:cubicBezTo>
                    <a:pt x="630" y="556"/>
                    <a:pt x="647" y="573"/>
                    <a:pt x="647" y="595"/>
                  </a:cubicBezTo>
                  <a:cubicBezTo>
                    <a:pt x="647" y="617"/>
                    <a:pt x="630" y="634"/>
                    <a:pt x="608" y="634"/>
                  </a:cubicBezTo>
                  <a:close/>
                  <a:moveTo>
                    <a:pt x="764" y="530"/>
                  </a:moveTo>
                  <a:cubicBezTo>
                    <a:pt x="728" y="530"/>
                    <a:pt x="699" y="559"/>
                    <a:pt x="699" y="595"/>
                  </a:cubicBezTo>
                  <a:cubicBezTo>
                    <a:pt x="699" y="630"/>
                    <a:pt x="728" y="659"/>
                    <a:pt x="764" y="659"/>
                  </a:cubicBezTo>
                  <a:cubicBezTo>
                    <a:pt x="799" y="659"/>
                    <a:pt x="828" y="630"/>
                    <a:pt x="828" y="595"/>
                  </a:cubicBezTo>
                  <a:cubicBezTo>
                    <a:pt x="828" y="559"/>
                    <a:pt x="799" y="530"/>
                    <a:pt x="764" y="530"/>
                  </a:cubicBezTo>
                  <a:close/>
                  <a:moveTo>
                    <a:pt x="764" y="634"/>
                  </a:moveTo>
                  <a:cubicBezTo>
                    <a:pt x="742" y="634"/>
                    <a:pt x="725" y="617"/>
                    <a:pt x="725" y="595"/>
                  </a:cubicBezTo>
                  <a:cubicBezTo>
                    <a:pt x="725" y="573"/>
                    <a:pt x="742" y="556"/>
                    <a:pt x="764" y="556"/>
                  </a:cubicBezTo>
                  <a:cubicBezTo>
                    <a:pt x="785" y="556"/>
                    <a:pt x="803" y="573"/>
                    <a:pt x="803" y="595"/>
                  </a:cubicBezTo>
                  <a:cubicBezTo>
                    <a:pt x="803" y="617"/>
                    <a:pt x="785" y="634"/>
                    <a:pt x="764" y="634"/>
                  </a:cubicBezTo>
                  <a:close/>
                  <a:moveTo>
                    <a:pt x="199" y="441"/>
                  </a:moveTo>
                  <a:cubicBezTo>
                    <a:pt x="707" y="441"/>
                    <a:pt x="707" y="441"/>
                    <a:pt x="707" y="441"/>
                  </a:cubicBezTo>
                  <a:cubicBezTo>
                    <a:pt x="714" y="441"/>
                    <a:pt x="719" y="435"/>
                    <a:pt x="719" y="428"/>
                  </a:cubicBezTo>
                  <a:cubicBezTo>
                    <a:pt x="719" y="13"/>
                    <a:pt x="719" y="13"/>
                    <a:pt x="719" y="13"/>
                  </a:cubicBezTo>
                  <a:cubicBezTo>
                    <a:pt x="719" y="6"/>
                    <a:pt x="714" y="0"/>
                    <a:pt x="707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384" y="0"/>
                    <a:pt x="384" y="0"/>
                    <a:pt x="384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92" y="0"/>
                    <a:pt x="186" y="6"/>
                    <a:pt x="186" y="13"/>
                  </a:cubicBezTo>
                  <a:cubicBezTo>
                    <a:pt x="186" y="428"/>
                    <a:pt x="186" y="428"/>
                    <a:pt x="186" y="428"/>
                  </a:cubicBezTo>
                  <a:cubicBezTo>
                    <a:pt x="186" y="435"/>
                    <a:pt x="192" y="441"/>
                    <a:pt x="199" y="441"/>
                  </a:cubicBezTo>
                  <a:close/>
                  <a:moveTo>
                    <a:pt x="509" y="25"/>
                  </a:moveTo>
                  <a:cubicBezTo>
                    <a:pt x="509" y="121"/>
                    <a:pt x="509" y="121"/>
                    <a:pt x="509" y="121"/>
                  </a:cubicBezTo>
                  <a:cubicBezTo>
                    <a:pt x="460" y="72"/>
                    <a:pt x="460" y="72"/>
                    <a:pt x="460" y="72"/>
                  </a:cubicBezTo>
                  <a:cubicBezTo>
                    <a:pt x="458" y="69"/>
                    <a:pt x="455" y="68"/>
                    <a:pt x="451" y="68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48" y="68"/>
                    <a:pt x="444" y="69"/>
                    <a:pt x="442" y="72"/>
                  </a:cubicBezTo>
                  <a:cubicBezTo>
                    <a:pt x="396" y="120"/>
                    <a:pt x="396" y="120"/>
                    <a:pt x="396" y="120"/>
                  </a:cubicBezTo>
                  <a:cubicBezTo>
                    <a:pt x="396" y="25"/>
                    <a:pt x="396" y="25"/>
                    <a:pt x="396" y="25"/>
                  </a:cubicBezTo>
                  <a:lnTo>
                    <a:pt x="509" y="25"/>
                  </a:lnTo>
                  <a:close/>
                  <a:moveTo>
                    <a:pt x="212" y="25"/>
                  </a:moveTo>
                  <a:cubicBezTo>
                    <a:pt x="371" y="25"/>
                    <a:pt x="371" y="25"/>
                    <a:pt x="371" y="25"/>
                  </a:cubicBezTo>
                  <a:cubicBezTo>
                    <a:pt x="371" y="151"/>
                    <a:pt x="371" y="151"/>
                    <a:pt x="371" y="151"/>
                  </a:cubicBezTo>
                  <a:cubicBezTo>
                    <a:pt x="371" y="156"/>
                    <a:pt x="374" y="161"/>
                    <a:pt x="379" y="163"/>
                  </a:cubicBezTo>
                  <a:cubicBezTo>
                    <a:pt x="380" y="163"/>
                    <a:pt x="382" y="164"/>
                    <a:pt x="384" y="164"/>
                  </a:cubicBezTo>
                  <a:cubicBezTo>
                    <a:pt x="387" y="164"/>
                    <a:pt x="390" y="162"/>
                    <a:pt x="393" y="160"/>
                  </a:cubicBezTo>
                  <a:cubicBezTo>
                    <a:pt x="451" y="99"/>
                    <a:pt x="451" y="99"/>
                    <a:pt x="451" y="99"/>
                  </a:cubicBezTo>
                  <a:cubicBezTo>
                    <a:pt x="513" y="160"/>
                    <a:pt x="513" y="160"/>
                    <a:pt x="513" y="160"/>
                  </a:cubicBezTo>
                  <a:cubicBezTo>
                    <a:pt x="517" y="164"/>
                    <a:pt x="522" y="165"/>
                    <a:pt x="527" y="163"/>
                  </a:cubicBezTo>
                  <a:cubicBezTo>
                    <a:pt x="532" y="161"/>
                    <a:pt x="535" y="156"/>
                    <a:pt x="535" y="151"/>
                  </a:cubicBezTo>
                  <a:cubicBezTo>
                    <a:pt x="535" y="25"/>
                    <a:pt x="535" y="25"/>
                    <a:pt x="535" y="25"/>
                  </a:cubicBezTo>
                  <a:cubicBezTo>
                    <a:pt x="694" y="25"/>
                    <a:pt x="694" y="25"/>
                    <a:pt x="694" y="25"/>
                  </a:cubicBezTo>
                  <a:cubicBezTo>
                    <a:pt x="694" y="415"/>
                    <a:pt x="694" y="415"/>
                    <a:pt x="694" y="415"/>
                  </a:cubicBezTo>
                  <a:cubicBezTo>
                    <a:pt x="212" y="415"/>
                    <a:pt x="212" y="415"/>
                    <a:pt x="212" y="415"/>
                  </a:cubicBezTo>
                  <a:lnTo>
                    <a:pt x="212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066398" y="1543050"/>
            <a:ext cx="1011906" cy="1011905"/>
            <a:chOff x="4066398" y="1543050"/>
            <a:chExt cx="1011906" cy="1011905"/>
          </a:xfrm>
        </p:grpSpPr>
        <p:sp>
          <p:nvSpPr>
            <p:cNvPr id="7" name="Oval 8"/>
            <p:cNvSpPr>
              <a:spLocks noChangeArrowheads="1"/>
            </p:cNvSpPr>
            <p:nvPr/>
          </p:nvSpPr>
          <p:spPr bwMode="auto">
            <a:xfrm>
              <a:off x="4066398" y="1543050"/>
              <a:ext cx="1011906" cy="1011905"/>
            </a:xfrm>
            <a:prstGeom prst="ellipse">
              <a:avLst/>
            </a:prstGeom>
            <a:solidFill>
              <a:schemeClr val="accent1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Oval 8"/>
            <p:cNvSpPr>
              <a:spLocks noChangeArrowheads="1"/>
            </p:cNvSpPr>
            <p:nvPr/>
          </p:nvSpPr>
          <p:spPr bwMode="auto">
            <a:xfrm>
              <a:off x="4141287" y="1617938"/>
              <a:ext cx="862129" cy="862127"/>
            </a:xfrm>
            <a:prstGeom prst="ellipse">
              <a:avLst/>
            </a:prstGeom>
            <a:solidFill>
              <a:srgbClr val="EC0000"/>
            </a:solidFill>
            <a:ln w="190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1" name="Freeform 42"/>
            <p:cNvSpPr>
              <a:spLocks noEditPoints="1"/>
            </p:cNvSpPr>
            <p:nvPr/>
          </p:nvSpPr>
          <p:spPr bwMode="auto">
            <a:xfrm>
              <a:off x="4384716" y="1861929"/>
              <a:ext cx="375270" cy="374144"/>
            </a:xfrm>
            <a:custGeom>
              <a:avLst/>
              <a:gdLst>
                <a:gd name="T0" fmla="*/ 774 w 814"/>
                <a:gd name="T1" fmla="*/ 96 h 809"/>
                <a:gd name="T2" fmla="*/ 508 w 814"/>
                <a:gd name="T3" fmla="*/ 141 h 809"/>
                <a:gd name="T4" fmla="*/ 138 w 814"/>
                <a:gd name="T5" fmla="*/ 513 h 809"/>
                <a:gd name="T6" fmla="*/ 77 w 814"/>
                <a:gd name="T7" fmla="*/ 749 h 809"/>
                <a:gd name="T8" fmla="*/ 181 w 814"/>
                <a:gd name="T9" fmla="*/ 715 h 809"/>
                <a:gd name="T10" fmla="*/ 306 w 814"/>
                <a:gd name="T11" fmla="*/ 672 h 809"/>
                <a:gd name="T12" fmla="*/ 125 w 814"/>
                <a:gd name="T13" fmla="*/ 634 h 809"/>
                <a:gd name="T14" fmla="*/ 246 w 814"/>
                <a:gd name="T15" fmla="*/ 630 h 809"/>
                <a:gd name="T16" fmla="*/ 180 w 814"/>
                <a:gd name="T17" fmla="*/ 689 h 809"/>
                <a:gd name="T18" fmla="*/ 193 w 814"/>
                <a:gd name="T19" fmla="*/ 541 h 809"/>
                <a:gd name="T20" fmla="*/ 568 w 814"/>
                <a:gd name="T21" fmla="*/ 117 h 809"/>
                <a:gd name="T22" fmla="*/ 535 w 814"/>
                <a:gd name="T23" fmla="*/ 150 h 809"/>
                <a:gd name="T24" fmla="*/ 559 w 814"/>
                <a:gd name="T25" fmla="*/ 210 h 809"/>
                <a:gd name="T26" fmla="*/ 211 w 814"/>
                <a:gd name="T27" fmla="*/ 559 h 809"/>
                <a:gd name="T28" fmla="*/ 646 w 814"/>
                <a:gd name="T29" fmla="*/ 297 h 809"/>
                <a:gd name="T30" fmla="*/ 628 w 814"/>
                <a:gd name="T31" fmla="*/ 57 h 809"/>
                <a:gd name="T32" fmla="*/ 756 w 814"/>
                <a:gd name="T33" fmla="*/ 186 h 809"/>
                <a:gd name="T34" fmla="*/ 628 w 814"/>
                <a:gd name="T35" fmla="*/ 57 h 809"/>
                <a:gd name="T36" fmla="*/ 97 w 814"/>
                <a:gd name="T37" fmla="*/ 717 h 809"/>
                <a:gd name="T38" fmla="*/ 17 w 814"/>
                <a:gd name="T39" fmla="*/ 119 h 809"/>
                <a:gd name="T40" fmla="*/ 382 w 814"/>
                <a:gd name="T41" fmla="*/ 217 h 809"/>
                <a:gd name="T42" fmla="*/ 164 w 814"/>
                <a:gd name="T43" fmla="*/ 35 h 809"/>
                <a:gd name="T44" fmla="*/ 35 w 814"/>
                <a:gd name="T45" fmla="*/ 164 h 809"/>
                <a:gd name="T46" fmla="*/ 144 w 814"/>
                <a:gd name="T47" fmla="*/ 125 h 809"/>
                <a:gd name="T48" fmla="*/ 125 w 814"/>
                <a:gd name="T49" fmla="*/ 254 h 809"/>
                <a:gd name="T50" fmla="*/ 185 w 814"/>
                <a:gd name="T51" fmla="*/ 230 h 809"/>
                <a:gd name="T52" fmla="*/ 254 w 814"/>
                <a:gd name="T53" fmla="*/ 254 h 809"/>
                <a:gd name="T54" fmla="*/ 208 w 814"/>
                <a:gd name="T55" fmla="*/ 336 h 809"/>
                <a:gd name="T56" fmla="*/ 228 w 814"/>
                <a:gd name="T57" fmla="*/ 387 h 809"/>
                <a:gd name="T58" fmla="*/ 797 w 814"/>
                <a:gd name="T59" fmla="*/ 695 h 809"/>
                <a:gd name="T60" fmla="*/ 632 w 814"/>
                <a:gd name="T61" fmla="*/ 796 h 809"/>
                <a:gd name="T62" fmla="*/ 597 w 814"/>
                <a:gd name="T63" fmla="*/ 761 h 809"/>
                <a:gd name="T64" fmla="*/ 533 w 814"/>
                <a:gd name="T65" fmla="*/ 697 h 809"/>
                <a:gd name="T66" fmla="*/ 469 w 814"/>
                <a:gd name="T67" fmla="*/ 633 h 809"/>
                <a:gd name="T68" fmla="*/ 444 w 814"/>
                <a:gd name="T69" fmla="*/ 572 h 809"/>
                <a:gd name="T70" fmla="*/ 560 w 814"/>
                <a:gd name="T71" fmla="*/ 542 h 809"/>
                <a:gd name="T72" fmla="*/ 542 w 814"/>
                <a:gd name="T73" fmla="*/ 670 h 809"/>
                <a:gd name="T74" fmla="*/ 602 w 814"/>
                <a:gd name="T75" fmla="*/ 646 h 809"/>
                <a:gd name="T76" fmla="*/ 670 w 814"/>
                <a:gd name="T77" fmla="*/ 670 h 809"/>
                <a:gd name="T78" fmla="*/ 624 w 814"/>
                <a:gd name="T79" fmla="*/ 752 h 809"/>
                <a:gd name="T80" fmla="*/ 779 w 814"/>
                <a:gd name="T81" fmla="*/ 677 h 809"/>
                <a:gd name="T82" fmla="*/ 571 w 814"/>
                <a:gd name="T83" fmla="*/ 424 h 809"/>
                <a:gd name="T84" fmla="*/ 797 w 814"/>
                <a:gd name="T85" fmla="*/ 695 h 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4" h="809">
                  <a:moveTo>
                    <a:pt x="673" y="306"/>
                  </a:moveTo>
                  <a:cubicBezTo>
                    <a:pt x="774" y="204"/>
                    <a:pt x="774" y="204"/>
                    <a:pt x="774" y="204"/>
                  </a:cubicBezTo>
                  <a:cubicBezTo>
                    <a:pt x="804" y="174"/>
                    <a:pt x="804" y="126"/>
                    <a:pt x="774" y="96"/>
                  </a:cubicBezTo>
                  <a:cubicBezTo>
                    <a:pt x="717" y="39"/>
                    <a:pt x="717" y="39"/>
                    <a:pt x="717" y="39"/>
                  </a:cubicBezTo>
                  <a:cubicBezTo>
                    <a:pt x="688" y="10"/>
                    <a:pt x="640" y="10"/>
                    <a:pt x="610" y="39"/>
                  </a:cubicBezTo>
                  <a:cubicBezTo>
                    <a:pt x="508" y="141"/>
                    <a:pt x="508" y="141"/>
                    <a:pt x="508" y="141"/>
                  </a:cubicBezTo>
                  <a:cubicBezTo>
                    <a:pt x="141" y="508"/>
                    <a:pt x="141" y="508"/>
                    <a:pt x="141" y="508"/>
                  </a:cubicBezTo>
                  <a:cubicBezTo>
                    <a:pt x="140" y="509"/>
                    <a:pt x="139" y="511"/>
                    <a:pt x="139" y="512"/>
                  </a:cubicBezTo>
                  <a:cubicBezTo>
                    <a:pt x="139" y="512"/>
                    <a:pt x="138" y="513"/>
                    <a:pt x="138" y="513"/>
                  </a:cubicBezTo>
                  <a:cubicBezTo>
                    <a:pt x="65" y="733"/>
                    <a:pt x="65" y="733"/>
                    <a:pt x="65" y="733"/>
                  </a:cubicBezTo>
                  <a:cubicBezTo>
                    <a:pt x="64" y="737"/>
                    <a:pt x="65" y="742"/>
                    <a:pt x="68" y="746"/>
                  </a:cubicBezTo>
                  <a:cubicBezTo>
                    <a:pt x="71" y="748"/>
                    <a:pt x="74" y="749"/>
                    <a:pt x="77" y="749"/>
                  </a:cubicBezTo>
                  <a:cubicBezTo>
                    <a:pt x="78" y="749"/>
                    <a:pt x="80" y="749"/>
                    <a:pt x="81" y="749"/>
                  </a:cubicBezTo>
                  <a:cubicBezTo>
                    <a:pt x="180" y="716"/>
                    <a:pt x="180" y="716"/>
                    <a:pt x="180" y="716"/>
                  </a:cubicBezTo>
                  <a:cubicBezTo>
                    <a:pt x="181" y="715"/>
                    <a:pt x="181" y="715"/>
                    <a:pt x="181" y="715"/>
                  </a:cubicBezTo>
                  <a:cubicBezTo>
                    <a:pt x="301" y="675"/>
                    <a:pt x="301" y="675"/>
                    <a:pt x="301" y="675"/>
                  </a:cubicBezTo>
                  <a:cubicBezTo>
                    <a:pt x="301" y="675"/>
                    <a:pt x="301" y="675"/>
                    <a:pt x="301" y="675"/>
                  </a:cubicBezTo>
                  <a:cubicBezTo>
                    <a:pt x="303" y="674"/>
                    <a:pt x="305" y="674"/>
                    <a:pt x="306" y="672"/>
                  </a:cubicBezTo>
                  <a:lnTo>
                    <a:pt x="673" y="306"/>
                  </a:lnTo>
                  <a:close/>
                  <a:moveTo>
                    <a:pt x="180" y="689"/>
                  </a:moveTo>
                  <a:cubicBezTo>
                    <a:pt x="125" y="634"/>
                    <a:pt x="125" y="634"/>
                    <a:pt x="125" y="634"/>
                  </a:cubicBezTo>
                  <a:cubicBezTo>
                    <a:pt x="156" y="540"/>
                    <a:pt x="156" y="540"/>
                    <a:pt x="156" y="54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46" y="630"/>
                    <a:pt x="246" y="630"/>
                    <a:pt x="246" y="630"/>
                  </a:cubicBezTo>
                  <a:cubicBezTo>
                    <a:pt x="274" y="658"/>
                    <a:pt x="274" y="658"/>
                    <a:pt x="274" y="658"/>
                  </a:cubicBezTo>
                  <a:lnTo>
                    <a:pt x="180" y="689"/>
                  </a:lnTo>
                  <a:close/>
                  <a:moveTo>
                    <a:pt x="517" y="168"/>
                  </a:moveTo>
                  <a:cubicBezTo>
                    <a:pt x="541" y="192"/>
                    <a:pt x="541" y="192"/>
                    <a:pt x="541" y="192"/>
                  </a:cubicBezTo>
                  <a:cubicBezTo>
                    <a:pt x="193" y="541"/>
                    <a:pt x="193" y="541"/>
                    <a:pt x="193" y="541"/>
                  </a:cubicBezTo>
                  <a:cubicBezTo>
                    <a:pt x="168" y="517"/>
                    <a:pt x="168" y="517"/>
                    <a:pt x="168" y="517"/>
                  </a:cubicBezTo>
                  <a:lnTo>
                    <a:pt x="517" y="168"/>
                  </a:lnTo>
                  <a:close/>
                  <a:moveTo>
                    <a:pt x="568" y="117"/>
                  </a:moveTo>
                  <a:cubicBezTo>
                    <a:pt x="697" y="246"/>
                    <a:pt x="697" y="246"/>
                    <a:pt x="697" y="246"/>
                  </a:cubicBezTo>
                  <a:cubicBezTo>
                    <a:pt x="664" y="279"/>
                    <a:pt x="664" y="279"/>
                    <a:pt x="664" y="279"/>
                  </a:cubicBezTo>
                  <a:cubicBezTo>
                    <a:pt x="535" y="150"/>
                    <a:pt x="535" y="150"/>
                    <a:pt x="535" y="150"/>
                  </a:cubicBezTo>
                  <a:lnTo>
                    <a:pt x="568" y="117"/>
                  </a:lnTo>
                  <a:close/>
                  <a:moveTo>
                    <a:pt x="211" y="559"/>
                  </a:moveTo>
                  <a:cubicBezTo>
                    <a:pt x="559" y="210"/>
                    <a:pt x="559" y="210"/>
                    <a:pt x="559" y="210"/>
                  </a:cubicBezTo>
                  <a:cubicBezTo>
                    <a:pt x="603" y="254"/>
                    <a:pt x="603" y="254"/>
                    <a:pt x="603" y="254"/>
                  </a:cubicBezTo>
                  <a:cubicBezTo>
                    <a:pt x="255" y="603"/>
                    <a:pt x="255" y="603"/>
                    <a:pt x="255" y="603"/>
                  </a:cubicBezTo>
                  <a:lnTo>
                    <a:pt x="211" y="559"/>
                  </a:lnTo>
                  <a:close/>
                  <a:moveTo>
                    <a:pt x="273" y="621"/>
                  </a:moveTo>
                  <a:cubicBezTo>
                    <a:pt x="621" y="272"/>
                    <a:pt x="621" y="272"/>
                    <a:pt x="621" y="272"/>
                  </a:cubicBezTo>
                  <a:cubicBezTo>
                    <a:pt x="646" y="297"/>
                    <a:pt x="646" y="297"/>
                    <a:pt x="646" y="297"/>
                  </a:cubicBezTo>
                  <a:cubicBezTo>
                    <a:pt x="297" y="645"/>
                    <a:pt x="297" y="645"/>
                    <a:pt x="297" y="645"/>
                  </a:cubicBezTo>
                  <a:lnTo>
                    <a:pt x="273" y="621"/>
                  </a:lnTo>
                  <a:close/>
                  <a:moveTo>
                    <a:pt x="628" y="57"/>
                  </a:moveTo>
                  <a:cubicBezTo>
                    <a:pt x="648" y="37"/>
                    <a:pt x="680" y="37"/>
                    <a:pt x="699" y="57"/>
                  </a:cubicBezTo>
                  <a:cubicBezTo>
                    <a:pt x="756" y="114"/>
                    <a:pt x="756" y="114"/>
                    <a:pt x="756" y="114"/>
                  </a:cubicBezTo>
                  <a:cubicBezTo>
                    <a:pt x="776" y="134"/>
                    <a:pt x="776" y="166"/>
                    <a:pt x="756" y="186"/>
                  </a:cubicBezTo>
                  <a:cubicBezTo>
                    <a:pt x="715" y="228"/>
                    <a:pt x="715" y="228"/>
                    <a:pt x="715" y="228"/>
                  </a:cubicBezTo>
                  <a:cubicBezTo>
                    <a:pt x="586" y="99"/>
                    <a:pt x="586" y="99"/>
                    <a:pt x="586" y="99"/>
                  </a:cubicBezTo>
                  <a:lnTo>
                    <a:pt x="628" y="57"/>
                  </a:lnTo>
                  <a:close/>
                  <a:moveTo>
                    <a:pt x="116" y="661"/>
                  </a:moveTo>
                  <a:cubicBezTo>
                    <a:pt x="153" y="698"/>
                    <a:pt x="153" y="698"/>
                    <a:pt x="153" y="698"/>
                  </a:cubicBezTo>
                  <a:cubicBezTo>
                    <a:pt x="97" y="717"/>
                    <a:pt x="97" y="717"/>
                    <a:pt x="97" y="717"/>
                  </a:cubicBezTo>
                  <a:lnTo>
                    <a:pt x="116" y="661"/>
                  </a:lnTo>
                  <a:close/>
                  <a:moveTo>
                    <a:pt x="17" y="181"/>
                  </a:moveTo>
                  <a:cubicBezTo>
                    <a:pt x="0" y="164"/>
                    <a:pt x="0" y="136"/>
                    <a:pt x="17" y="119"/>
                  </a:cubicBezTo>
                  <a:cubicBezTo>
                    <a:pt x="119" y="17"/>
                    <a:pt x="119" y="17"/>
                    <a:pt x="119" y="17"/>
                  </a:cubicBezTo>
                  <a:cubicBezTo>
                    <a:pt x="136" y="0"/>
                    <a:pt x="165" y="0"/>
                    <a:pt x="182" y="17"/>
                  </a:cubicBezTo>
                  <a:cubicBezTo>
                    <a:pt x="382" y="217"/>
                    <a:pt x="382" y="217"/>
                    <a:pt x="382" y="217"/>
                  </a:cubicBezTo>
                  <a:cubicBezTo>
                    <a:pt x="387" y="222"/>
                    <a:pt x="387" y="230"/>
                    <a:pt x="382" y="235"/>
                  </a:cubicBezTo>
                  <a:cubicBezTo>
                    <a:pt x="377" y="240"/>
                    <a:pt x="369" y="240"/>
                    <a:pt x="364" y="2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57" y="28"/>
                    <a:pt x="144" y="28"/>
                    <a:pt x="137" y="35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28" y="144"/>
                    <a:pt x="28" y="156"/>
                    <a:pt x="35" y="164"/>
                  </a:cubicBezTo>
                  <a:cubicBezTo>
                    <a:pt x="61" y="190"/>
                    <a:pt x="61" y="190"/>
                    <a:pt x="61" y="190"/>
                  </a:cubicBezTo>
                  <a:cubicBezTo>
                    <a:pt x="126" y="125"/>
                    <a:pt x="126" y="125"/>
                    <a:pt x="126" y="125"/>
                  </a:cubicBezTo>
                  <a:cubicBezTo>
                    <a:pt x="131" y="120"/>
                    <a:pt x="139" y="120"/>
                    <a:pt x="144" y="125"/>
                  </a:cubicBezTo>
                  <a:cubicBezTo>
                    <a:pt x="149" y="130"/>
                    <a:pt x="149" y="138"/>
                    <a:pt x="144" y="143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125" y="254"/>
                    <a:pt x="125" y="254"/>
                    <a:pt x="125" y="254"/>
                  </a:cubicBezTo>
                  <a:cubicBezTo>
                    <a:pt x="167" y="212"/>
                    <a:pt x="167" y="212"/>
                    <a:pt x="167" y="212"/>
                  </a:cubicBezTo>
                  <a:cubicBezTo>
                    <a:pt x="172" y="207"/>
                    <a:pt x="180" y="207"/>
                    <a:pt x="185" y="212"/>
                  </a:cubicBezTo>
                  <a:cubicBezTo>
                    <a:pt x="190" y="217"/>
                    <a:pt x="190" y="225"/>
                    <a:pt x="185" y="230"/>
                  </a:cubicBezTo>
                  <a:cubicBezTo>
                    <a:pt x="143" y="272"/>
                    <a:pt x="143" y="272"/>
                    <a:pt x="143" y="272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254" y="254"/>
                    <a:pt x="254" y="254"/>
                    <a:pt x="254" y="254"/>
                  </a:cubicBezTo>
                  <a:cubicBezTo>
                    <a:pt x="259" y="249"/>
                    <a:pt x="267" y="249"/>
                    <a:pt x="272" y="254"/>
                  </a:cubicBezTo>
                  <a:cubicBezTo>
                    <a:pt x="277" y="259"/>
                    <a:pt x="277" y="267"/>
                    <a:pt x="272" y="272"/>
                  </a:cubicBezTo>
                  <a:cubicBezTo>
                    <a:pt x="208" y="336"/>
                    <a:pt x="208" y="336"/>
                    <a:pt x="208" y="336"/>
                  </a:cubicBezTo>
                  <a:cubicBezTo>
                    <a:pt x="237" y="366"/>
                    <a:pt x="237" y="366"/>
                    <a:pt x="237" y="366"/>
                  </a:cubicBezTo>
                  <a:cubicBezTo>
                    <a:pt x="242" y="370"/>
                    <a:pt x="242" y="379"/>
                    <a:pt x="237" y="383"/>
                  </a:cubicBezTo>
                  <a:cubicBezTo>
                    <a:pt x="235" y="386"/>
                    <a:pt x="231" y="387"/>
                    <a:pt x="228" y="387"/>
                  </a:cubicBezTo>
                  <a:cubicBezTo>
                    <a:pt x="225" y="387"/>
                    <a:pt x="222" y="386"/>
                    <a:pt x="219" y="383"/>
                  </a:cubicBezTo>
                  <a:lnTo>
                    <a:pt x="17" y="181"/>
                  </a:lnTo>
                  <a:close/>
                  <a:moveTo>
                    <a:pt x="797" y="695"/>
                  </a:moveTo>
                  <a:cubicBezTo>
                    <a:pt x="695" y="796"/>
                    <a:pt x="695" y="796"/>
                    <a:pt x="695" y="796"/>
                  </a:cubicBezTo>
                  <a:cubicBezTo>
                    <a:pt x="687" y="805"/>
                    <a:pt x="675" y="809"/>
                    <a:pt x="664" y="809"/>
                  </a:cubicBezTo>
                  <a:cubicBezTo>
                    <a:pt x="652" y="809"/>
                    <a:pt x="641" y="805"/>
                    <a:pt x="632" y="796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97" y="761"/>
                    <a:pt x="597" y="761"/>
                    <a:pt x="597" y="761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533" y="697"/>
                    <a:pt x="533" y="697"/>
                    <a:pt x="533" y="697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69" y="633"/>
                    <a:pt x="469" y="633"/>
                    <a:pt x="469" y="633"/>
                  </a:cubicBezTo>
                  <a:cubicBezTo>
                    <a:pt x="426" y="590"/>
                    <a:pt x="426" y="590"/>
                    <a:pt x="426" y="590"/>
                  </a:cubicBezTo>
                  <a:cubicBezTo>
                    <a:pt x="421" y="585"/>
                    <a:pt x="421" y="577"/>
                    <a:pt x="426" y="572"/>
                  </a:cubicBezTo>
                  <a:cubicBezTo>
                    <a:pt x="431" y="567"/>
                    <a:pt x="439" y="567"/>
                    <a:pt x="444" y="572"/>
                  </a:cubicBezTo>
                  <a:cubicBezTo>
                    <a:pt x="478" y="606"/>
                    <a:pt x="478" y="606"/>
                    <a:pt x="478" y="606"/>
                  </a:cubicBezTo>
                  <a:cubicBezTo>
                    <a:pt x="542" y="542"/>
                    <a:pt x="542" y="542"/>
                    <a:pt x="542" y="542"/>
                  </a:cubicBezTo>
                  <a:cubicBezTo>
                    <a:pt x="547" y="537"/>
                    <a:pt x="555" y="537"/>
                    <a:pt x="560" y="542"/>
                  </a:cubicBezTo>
                  <a:cubicBezTo>
                    <a:pt x="565" y="547"/>
                    <a:pt x="565" y="555"/>
                    <a:pt x="560" y="560"/>
                  </a:cubicBezTo>
                  <a:cubicBezTo>
                    <a:pt x="496" y="624"/>
                    <a:pt x="496" y="624"/>
                    <a:pt x="496" y="624"/>
                  </a:cubicBezTo>
                  <a:cubicBezTo>
                    <a:pt x="542" y="670"/>
                    <a:pt x="542" y="670"/>
                    <a:pt x="542" y="670"/>
                  </a:cubicBezTo>
                  <a:cubicBezTo>
                    <a:pt x="584" y="628"/>
                    <a:pt x="584" y="628"/>
                    <a:pt x="584" y="628"/>
                  </a:cubicBezTo>
                  <a:cubicBezTo>
                    <a:pt x="589" y="623"/>
                    <a:pt x="597" y="623"/>
                    <a:pt x="602" y="628"/>
                  </a:cubicBezTo>
                  <a:cubicBezTo>
                    <a:pt x="607" y="633"/>
                    <a:pt x="607" y="641"/>
                    <a:pt x="602" y="646"/>
                  </a:cubicBezTo>
                  <a:cubicBezTo>
                    <a:pt x="560" y="688"/>
                    <a:pt x="560" y="688"/>
                    <a:pt x="560" y="688"/>
                  </a:cubicBezTo>
                  <a:cubicBezTo>
                    <a:pt x="606" y="734"/>
                    <a:pt x="606" y="734"/>
                    <a:pt x="606" y="734"/>
                  </a:cubicBezTo>
                  <a:cubicBezTo>
                    <a:pt x="670" y="670"/>
                    <a:pt x="670" y="670"/>
                    <a:pt x="670" y="670"/>
                  </a:cubicBezTo>
                  <a:cubicBezTo>
                    <a:pt x="675" y="665"/>
                    <a:pt x="683" y="665"/>
                    <a:pt x="688" y="670"/>
                  </a:cubicBezTo>
                  <a:cubicBezTo>
                    <a:pt x="693" y="675"/>
                    <a:pt x="693" y="683"/>
                    <a:pt x="688" y="688"/>
                  </a:cubicBezTo>
                  <a:cubicBezTo>
                    <a:pt x="624" y="752"/>
                    <a:pt x="624" y="752"/>
                    <a:pt x="624" y="752"/>
                  </a:cubicBezTo>
                  <a:cubicBezTo>
                    <a:pt x="650" y="778"/>
                    <a:pt x="650" y="778"/>
                    <a:pt x="650" y="778"/>
                  </a:cubicBezTo>
                  <a:cubicBezTo>
                    <a:pt x="657" y="786"/>
                    <a:pt x="670" y="786"/>
                    <a:pt x="677" y="779"/>
                  </a:cubicBezTo>
                  <a:cubicBezTo>
                    <a:pt x="779" y="677"/>
                    <a:pt x="779" y="677"/>
                    <a:pt x="779" y="677"/>
                  </a:cubicBezTo>
                  <a:cubicBezTo>
                    <a:pt x="786" y="669"/>
                    <a:pt x="786" y="657"/>
                    <a:pt x="779" y="650"/>
                  </a:cubicBezTo>
                  <a:cubicBezTo>
                    <a:pt x="571" y="442"/>
                    <a:pt x="571" y="442"/>
                    <a:pt x="571" y="442"/>
                  </a:cubicBezTo>
                  <a:cubicBezTo>
                    <a:pt x="566" y="437"/>
                    <a:pt x="566" y="429"/>
                    <a:pt x="571" y="424"/>
                  </a:cubicBezTo>
                  <a:cubicBezTo>
                    <a:pt x="576" y="419"/>
                    <a:pt x="584" y="419"/>
                    <a:pt x="589" y="424"/>
                  </a:cubicBezTo>
                  <a:cubicBezTo>
                    <a:pt x="797" y="632"/>
                    <a:pt x="797" y="632"/>
                    <a:pt x="797" y="632"/>
                  </a:cubicBezTo>
                  <a:cubicBezTo>
                    <a:pt x="814" y="649"/>
                    <a:pt x="814" y="677"/>
                    <a:pt x="797" y="6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STRATÉGIA DE </a:t>
            </a:r>
            <a:r>
              <a:rPr lang="en-US" dirty="0">
                <a:solidFill>
                  <a:srgbClr val="EC0000"/>
                </a:solidFill>
              </a:rPr>
              <a:t>PRODUÇÃ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8" name="Freeform 7"/>
          <p:cNvSpPr>
            <a:spLocks noChangeArrowheads="1"/>
          </p:cNvSpPr>
          <p:nvPr/>
        </p:nvSpPr>
        <p:spPr bwMode="auto">
          <a:xfrm>
            <a:off x="3797416" y="2438233"/>
            <a:ext cx="1549820" cy="1300087"/>
          </a:xfrm>
          <a:custGeom>
            <a:avLst/>
            <a:gdLst>
              <a:gd name="connsiteX0" fmla="*/ 1594401 w 4551394"/>
              <a:gd name="connsiteY0" fmla="*/ 0 h 3818006"/>
              <a:gd name="connsiteX1" fmla="*/ 1640840 w 4551394"/>
              <a:gd name="connsiteY1" fmla="*/ 28212 h 3818006"/>
              <a:gd name="connsiteX2" fmla="*/ 2275773 w 4551394"/>
              <a:gd name="connsiteY2" fmla="*/ 188983 h 3818006"/>
              <a:gd name="connsiteX3" fmla="*/ 2910706 w 4551394"/>
              <a:gd name="connsiteY3" fmla="*/ 28212 h 3818006"/>
              <a:gd name="connsiteX4" fmla="*/ 2957142 w 4551394"/>
              <a:gd name="connsiteY4" fmla="*/ 2 h 3818006"/>
              <a:gd name="connsiteX5" fmla="*/ 4551394 w 4551394"/>
              <a:gd name="connsiteY5" fmla="*/ 2674517 h 3818006"/>
              <a:gd name="connsiteX6" fmla="*/ 4487741 w 4551394"/>
              <a:gd name="connsiteY6" fmla="*/ 2713187 h 3818006"/>
              <a:gd name="connsiteX7" fmla="*/ 3900861 w 4551394"/>
              <a:gd name="connsiteY7" fmla="*/ 3816975 h 3818006"/>
              <a:gd name="connsiteX8" fmla="*/ 3900913 w 4551394"/>
              <a:gd name="connsiteY8" fmla="*/ 3818006 h 3818006"/>
              <a:gd name="connsiteX9" fmla="*/ 2275771 w 4551394"/>
              <a:gd name="connsiteY9" fmla="*/ 3818006 h 3818006"/>
              <a:gd name="connsiteX10" fmla="*/ 650524 w 4551394"/>
              <a:gd name="connsiteY10" fmla="*/ 3818006 h 3818006"/>
              <a:gd name="connsiteX11" fmla="*/ 650576 w 4551394"/>
              <a:gd name="connsiteY11" fmla="*/ 3816975 h 3818006"/>
              <a:gd name="connsiteX12" fmla="*/ 63288 w 4551394"/>
              <a:gd name="connsiteY12" fmla="*/ 2713187 h 3818006"/>
              <a:gd name="connsiteX13" fmla="*/ 0 w 4551394"/>
              <a:gd name="connsiteY13" fmla="*/ 2674765 h 3818006"/>
              <a:gd name="connsiteX14" fmla="*/ 1594401 w 4551394"/>
              <a:gd name="connsiteY14" fmla="*/ 0 h 3818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51394" h="3818006">
                <a:moveTo>
                  <a:pt x="1594401" y="0"/>
                </a:moveTo>
                <a:lnTo>
                  <a:pt x="1640840" y="28212"/>
                </a:lnTo>
                <a:cubicBezTo>
                  <a:pt x="1829582" y="130743"/>
                  <a:pt x="2045876" y="188983"/>
                  <a:pt x="2275773" y="188983"/>
                </a:cubicBezTo>
                <a:cubicBezTo>
                  <a:pt x="2505670" y="188983"/>
                  <a:pt x="2721964" y="130743"/>
                  <a:pt x="2910706" y="28212"/>
                </a:cubicBezTo>
                <a:lnTo>
                  <a:pt x="2957142" y="2"/>
                </a:lnTo>
                <a:lnTo>
                  <a:pt x="4551394" y="2674517"/>
                </a:lnTo>
                <a:lnTo>
                  <a:pt x="4487741" y="2713187"/>
                </a:lnTo>
                <a:cubicBezTo>
                  <a:pt x="4133660" y="2952399"/>
                  <a:pt x="3900861" y="3357501"/>
                  <a:pt x="3900861" y="3816975"/>
                </a:cubicBezTo>
                <a:lnTo>
                  <a:pt x="3900913" y="3818006"/>
                </a:lnTo>
                <a:lnTo>
                  <a:pt x="2275771" y="3818006"/>
                </a:lnTo>
                <a:lnTo>
                  <a:pt x="650524" y="3818006"/>
                </a:lnTo>
                <a:lnTo>
                  <a:pt x="650576" y="3816975"/>
                </a:lnTo>
                <a:cubicBezTo>
                  <a:pt x="650576" y="3357501"/>
                  <a:pt x="417615" y="2952399"/>
                  <a:pt x="63288" y="2713187"/>
                </a:cubicBezTo>
                <a:lnTo>
                  <a:pt x="0" y="2674765"/>
                </a:lnTo>
                <a:lnTo>
                  <a:pt x="1594401" y="0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 dirty="0"/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>
            <a:off x="3441143" y="2182894"/>
            <a:ext cx="567307" cy="991221"/>
          </a:xfrm>
          <a:custGeom>
            <a:avLst/>
            <a:gdLst>
              <a:gd name="T0" fmla="*/ 4900 w 4900"/>
              <a:gd name="T1" fmla="*/ 0 h 8559"/>
              <a:gd name="T2" fmla="*/ 0 w 4900"/>
              <a:gd name="T3" fmla="*/ 8497 h 8559"/>
              <a:gd name="T4" fmla="*/ 0 w 4900"/>
              <a:gd name="T5" fmla="*/ 8559 h 8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900" h="8559">
                <a:moveTo>
                  <a:pt x="4900" y="0"/>
                </a:moveTo>
                <a:cubicBezTo>
                  <a:pt x="1970" y="1698"/>
                  <a:pt x="0" y="4867"/>
                  <a:pt x="0" y="8497"/>
                </a:cubicBezTo>
                <a:cubicBezTo>
                  <a:pt x="0" y="8518"/>
                  <a:pt x="0" y="8538"/>
                  <a:pt x="0" y="8559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none" w="sm" len="sm"/>
            <a:tailEnd type="triangl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5135549" y="2182894"/>
            <a:ext cx="567307" cy="991221"/>
          </a:xfrm>
          <a:custGeom>
            <a:avLst/>
            <a:gdLst>
              <a:gd name="T0" fmla="*/ 0 w 4900"/>
              <a:gd name="T1" fmla="*/ 0 h 8559"/>
              <a:gd name="T2" fmla="*/ 4900 w 4900"/>
              <a:gd name="T3" fmla="*/ 8497 h 8559"/>
              <a:gd name="T4" fmla="*/ 4900 w 4900"/>
              <a:gd name="T5" fmla="*/ 8559 h 8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900" h="8559">
                <a:moveTo>
                  <a:pt x="0" y="0"/>
                </a:moveTo>
                <a:cubicBezTo>
                  <a:pt x="2930" y="1698"/>
                  <a:pt x="4900" y="4867"/>
                  <a:pt x="4900" y="8497"/>
                </a:cubicBezTo>
                <a:cubicBezTo>
                  <a:pt x="4900" y="8518"/>
                  <a:pt x="4900" y="8538"/>
                  <a:pt x="4900" y="8559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triangl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6" name="Freeform 7"/>
          <p:cNvSpPr>
            <a:spLocks/>
          </p:cNvSpPr>
          <p:nvPr/>
        </p:nvSpPr>
        <p:spPr bwMode="auto">
          <a:xfrm>
            <a:off x="4000936" y="4086882"/>
            <a:ext cx="1141502" cy="219158"/>
          </a:xfrm>
          <a:custGeom>
            <a:avLst/>
            <a:gdLst>
              <a:gd name="T0" fmla="*/ 9861 w 9861"/>
              <a:gd name="T1" fmla="*/ 187 h 1894"/>
              <a:gd name="T2" fmla="*/ 53 w 9861"/>
              <a:gd name="T3" fmla="*/ 31 h 1894"/>
              <a:gd name="T4" fmla="*/ 0 w 9861"/>
              <a:gd name="T5" fmla="*/ 0 h 18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861" h="1894">
                <a:moveTo>
                  <a:pt x="9861" y="187"/>
                </a:moveTo>
                <a:cubicBezTo>
                  <a:pt x="6900" y="1830"/>
                  <a:pt x="3168" y="1894"/>
                  <a:pt x="53" y="31"/>
                </a:cubicBezTo>
                <a:cubicBezTo>
                  <a:pt x="35" y="21"/>
                  <a:pt x="18" y="1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triangl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3" name="Oval 32"/>
          <p:cNvSpPr/>
          <p:nvPr/>
        </p:nvSpPr>
        <p:spPr>
          <a:xfrm>
            <a:off x="3587807" y="2505463"/>
            <a:ext cx="84594" cy="84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35" name="Oval 34"/>
          <p:cNvSpPr/>
          <p:nvPr/>
        </p:nvSpPr>
        <p:spPr>
          <a:xfrm>
            <a:off x="5472252" y="2505463"/>
            <a:ext cx="84594" cy="84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6" name="Oval 35"/>
          <p:cNvSpPr/>
          <p:nvPr/>
        </p:nvSpPr>
        <p:spPr>
          <a:xfrm>
            <a:off x="4528132" y="4205989"/>
            <a:ext cx="84594" cy="84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52" name="Group 51"/>
          <p:cNvGrpSpPr/>
          <p:nvPr/>
        </p:nvGrpSpPr>
        <p:grpSpPr>
          <a:xfrm>
            <a:off x="5667924" y="1734100"/>
            <a:ext cx="1870265" cy="483584"/>
            <a:chOff x="5825625" y="1808180"/>
            <a:chExt cx="1870265" cy="483584"/>
          </a:xfrm>
        </p:grpSpPr>
        <p:sp>
          <p:nvSpPr>
            <p:cNvPr id="44" name="TextBox 43"/>
            <p:cNvSpPr txBox="1"/>
            <p:nvPr/>
          </p:nvSpPr>
          <p:spPr>
            <a:xfrm>
              <a:off x="5825654" y="1808180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TÓTIP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825625" y="2007455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ligul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6667311" y="3485153"/>
            <a:ext cx="1870265" cy="483584"/>
            <a:chOff x="6486025" y="3485801"/>
            <a:chExt cx="1870265" cy="483584"/>
          </a:xfrm>
        </p:grpSpPr>
        <p:sp>
          <p:nvSpPr>
            <p:cNvPr id="46" name="TextBox 45"/>
            <p:cNvSpPr txBox="1"/>
            <p:nvPr/>
          </p:nvSpPr>
          <p:spPr>
            <a:xfrm>
              <a:off x="6486054" y="3485801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486025" y="3685076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ligul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23016" y="3485153"/>
            <a:ext cx="1870265" cy="483584"/>
            <a:chOff x="6486025" y="3485801"/>
            <a:chExt cx="1870265" cy="483584"/>
          </a:xfrm>
        </p:grpSpPr>
        <p:sp>
          <p:nvSpPr>
            <p:cNvPr id="54" name="TextBox 53"/>
            <p:cNvSpPr txBox="1"/>
            <p:nvPr/>
          </p:nvSpPr>
          <p:spPr>
            <a:xfrm>
              <a:off x="6486054" y="3485801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PROV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486025" y="3685076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ligul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593725" y="1543508"/>
            <a:ext cx="2529450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cap="all" spc="20" dirty="0" err="1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ciclo</a:t>
            </a:r>
            <a:r>
              <a:rPr lang="en-US" sz="1400" cap="all" spc="20" dirty="0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 DE  </a:t>
            </a:r>
            <a:r>
              <a:rPr lang="en-US" sz="1400" cap="all" spc="20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PONTOS-CHAVE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593725" y="1818608"/>
            <a:ext cx="1997075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899619" y="2955362"/>
            <a:ext cx="13447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Ciclo</a:t>
            </a:r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</a:p>
          <a:p>
            <a:pPr algn="ctr"/>
            <a:r>
              <a:rPr lang="en-US" sz="12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rodução</a:t>
            </a:r>
            <a:endParaRPr lang="en-US" sz="1200" b="1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657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icl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financiamen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1585628" y="2140490"/>
            <a:ext cx="526441" cy="919818"/>
          </a:xfrm>
          <a:custGeom>
            <a:avLst/>
            <a:gdLst>
              <a:gd name="T0" fmla="*/ 4900 w 4900"/>
              <a:gd name="T1" fmla="*/ 0 h 8559"/>
              <a:gd name="T2" fmla="*/ 0 w 4900"/>
              <a:gd name="T3" fmla="*/ 8497 h 8559"/>
              <a:gd name="T4" fmla="*/ 0 w 4900"/>
              <a:gd name="T5" fmla="*/ 8559 h 8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900" h="8559">
                <a:moveTo>
                  <a:pt x="4900" y="0"/>
                </a:moveTo>
                <a:cubicBezTo>
                  <a:pt x="1970" y="1698"/>
                  <a:pt x="0" y="4867"/>
                  <a:pt x="0" y="8497"/>
                </a:cubicBezTo>
                <a:cubicBezTo>
                  <a:pt x="0" y="8518"/>
                  <a:pt x="0" y="8538"/>
                  <a:pt x="0" y="8559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none" w="sm" len="sm"/>
            <a:tailEnd type="triangl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3157977" y="2140490"/>
            <a:ext cx="526441" cy="919818"/>
          </a:xfrm>
          <a:custGeom>
            <a:avLst/>
            <a:gdLst>
              <a:gd name="T0" fmla="*/ 0 w 4900"/>
              <a:gd name="T1" fmla="*/ 0 h 8559"/>
              <a:gd name="T2" fmla="*/ 4900 w 4900"/>
              <a:gd name="T3" fmla="*/ 8497 h 8559"/>
              <a:gd name="T4" fmla="*/ 4900 w 4900"/>
              <a:gd name="T5" fmla="*/ 8559 h 8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900" h="8559">
                <a:moveTo>
                  <a:pt x="0" y="0"/>
                </a:moveTo>
                <a:cubicBezTo>
                  <a:pt x="2930" y="1698"/>
                  <a:pt x="4900" y="4867"/>
                  <a:pt x="4900" y="8497"/>
                </a:cubicBezTo>
                <a:cubicBezTo>
                  <a:pt x="4900" y="8518"/>
                  <a:pt x="4900" y="8538"/>
                  <a:pt x="4900" y="8559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triangl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2105096" y="3948169"/>
            <a:ext cx="1059273" cy="203371"/>
          </a:xfrm>
          <a:custGeom>
            <a:avLst/>
            <a:gdLst>
              <a:gd name="T0" fmla="*/ 9861 w 9861"/>
              <a:gd name="T1" fmla="*/ 187 h 1894"/>
              <a:gd name="T2" fmla="*/ 53 w 9861"/>
              <a:gd name="T3" fmla="*/ 31 h 1894"/>
              <a:gd name="T4" fmla="*/ 0 w 9861"/>
              <a:gd name="T5" fmla="*/ 0 h 18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861" h="1894">
                <a:moveTo>
                  <a:pt x="9861" y="187"/>
                </a:moveTo>
                <a:cubicBezTo>
                  <a:pt x="6900" y="1830"/>
                  <a:pt x="3168" y="1894"/>
                  <a:pt x="53" y="31"/>
                </a:cubicBezTo>
                <a:cubicBezTo>
                  <a:pt x="35" y="21"/>
                  <a:pt x="18" y="1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 type="triangl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Oval 6"/>
          <p:cNvSpPr/>
          <p:nvPr/>
        </p:nvSpPr>
        <p:spPr>
          <a:xfrm>
            <a:off x="2148880" y="1544049"/>
            <a:ext cx="979730" cy="97973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Oval 7"/>
          <p:cNvSpPr/>
          <p:nvPr/>
        </p:nvSpPr>
        <p:spPr>
          <a:xfrm>
            <a:off x="1272617" y="3065468"/>
            <a:ext cx="979730" cy="979730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9" name="Oval 8"/>
          <p:cNvSpPr/>
          <p:nvPr/>
        </p:nvSpPr>
        <p:spPr>
          <a:xfrm>
            <a:off x="3025144" y="3065468"/>
            <a:ext cx="979730" cy="97973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2" name="Group 21"/>
          <p:cNvGrpSpPr/>
          <p:nvPr/>
        </p:nvGrpSpPr>
        <p:grpSpPr>
          <a:xfrm>
            <a:off x="2222897" y="1751710"/>
            <a:ext cx="831696" cy="549009"/>
            <a:chOff x="2222897" y="1751710"/>
            <a:chExt cx="831696" cy="549009"/>
          </a:xfrm>
        </p:grpSpPr>
        <p:sp>
          <p:nvSpPr>
            <p:cNvPr id="13" name="Title 2"/>
            <p:cNvSpPr txBox="1">
              <a:spLocks/>
            </p:cNvSpPr>
            <p:nvPr/>
          </p:nvSpPr>
          <p:spPr>
            <a:xfrm>
              <a:off x="2222897" y="2039109"/>
              <a:ext cx="831696" cy="261610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5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justes</a:t>
              </a:r>
              <a:r>
                <a:rPr lang="en-US" sz="85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 do </a:t>
              </a:r>
              <a:r>
                <a:rPr lang="en-US" sz="85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rojeto</a:t>
              </a:r>
              <a:endParaRPr lang="en-US" sz="85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" name="Freeform 81"/>
            <p:cNvSpPr>
              <a:spLocks noEditPoints="1"/>
            </p:cNvSpPr>
            <p:nvPr/>
          </p:nvSpPr>
          <p:spPr bwMode="auto">
            <a:xfrm>
              <a:off x="2528520" y="1751710"/>
              <a:ext cx="220450" cy="200999"/>
            </a:xfrm>
            <a:custGeom>
              <a:avLst/>
              <a:gdLst>
                <a:gd name="T0" fmla="*/ 345 w 353"/>
                <a:gd name="T1" fmla="*/ 273 h 321"/>
                <a:gd name="T2" fmla="*/ 192 w 353"/>
                <a:gd name="T3" fmla="*/ 273 h 321"/>
                <a:gd name="T4" fmla="*/ 152 w 353"/>
                <a:gd name="T5" fmla="*/ 241 h 321"/>
                <a:gd name="T6" fmla="*/ 113 w 353"/>
                <a:gd name="T7" fmla="*/ 273 h 321"/>
                <a:gd name="T8" fmla="*/ 8 w 353"/>
                <a:gd name="T9" fmla="*/ 273 h 321"/>
                <a:gd name="T10" fmla="*/ 0 w 353"/>
                <a:gd name="T11" fmla="*/ 281 h 321"/>
                <a:gd name="T12" fmla="*/ 8 w 353"/>
                <a:gd name="T13" fmla="*/ 289 h 321"/>
                <a:gd name="T14" fmla="*/ 113 w 353"/>
                <a:gd name="T15" fmla="*/ 289 h 321"/>
                <a:gd name="T16" fmla="*/ 152 w 353"/>
                <a:gd name="T17" fmla="*/ 321 h 321"/>
                <a:gd name="T18" fmla="*/ 192 w 353"/>
                <a:gd name="T19" fmla="*/ 289 h 321"/>
                <a:gd name="T20" fmla="*/ 345 w 353"/>
                <a:gd name="T21" fmla="*/ 289 h 321"/>
                <a:gd name="T22" fmla="*/ 353 w 353"/>
                <a:gd name="T23" fmla="*/ 281 h 321"/>
                <a:gd name="T24" fmla="*/ 345 w 353"/>
                <a:gd name="T25" fmla="*/ 273 h 321"/>
                <a:gd name="T26" fmla="*/ 152 w 353"/>
                <a:gd name="T27" fmla="*/ 305 h 321"/>
                <a:gd name="T28" fmla="*/ 128 w 353"/>
                <a:gd name="T29" fmla="*/ 281 h 321"/>
                <a:gd name="T30" fmla="*/ 152 w 353"/>
                <a:gd name="T31" fmla="*/ 257 h 321"/>
                <a:gd name="T32" fmla="*/ 177 w 353"/>
                <a:gd name="T33" fmla="*/ 281 h 321"/>
                <a:gd name="T34" fmla="*/ 152 w 353"/>
                <a:gd name="T35" fmla="*/ 305 h 321"/>
                <a:gd name="T36" fmla="*/ 8 w 353"/>
                <a:gd name="T37" fmla="*/ 48 h 321"/>
                <a:gd name="T38" fmla="*/ 49 w 353"/>
                <a:gd name="T39" fmla="*/ 48 h 321"/>
                <a:gd name="T40" fmla="*/ 88 w 353"/>
                <a:gd name="T41" fmla="*/ 80 h 321"/>
                <a:gd name="T42" fmla="*/ 128 w 353"/>
                <a:gd name="T43" fmla="*/ 48 h 321"/>
                <a:gd name="T44" fmla="*/ 345 w 353"/>
                <a:gd name="T45" fmla="*/ 48 h 321"/>
                <a:gd name="T46" fmla="*/ 353 w 353"/>
                <a:gd name="T47" fmla="*/ 40 h 321"/>
                <a:gd name="T48" fmla="*/ 345 w 353"/>
                <a:gd name="T49" fmla="*/ 32 h 321"/>
                <a:gd name="T50" fmla="*/ 128 w 353"/>
                <a:gd name="T51" fmla="*/ 32 h 321"/>
                <a:gd name="T52" fmla="*/ 88 w 353"/>
                <a:gd name="T53" fmla="*/ 0 h 321"/>
                <a:gd name="T54" fmla="*/ 49 w 353"/>
                <a:gd name="T55" fmla="*/ 32 h 321"/>
                <a:gd name="T56" fmla="*/ 8 w 353"/>
                <a:gd name="T57" fmla="*/ 32 h 321"/>
                <a:gd name="T58" fmla="*/ 0 w 353"/>
                <a:gd name="T59" fmla="*/ 40 h 321"/>
                <a:gd name="T60" fmla="*/ 8 w 353"/>
                <a:gd name="T61" fmla="*/ 48 h 321"/>
                <a:gd name="T62" fmla="*/ 88 w 353"/>
                <a:gd name="T63" fmla="*/ 16 h 321"/>
                <a:gd name="T64" fmla="*/ 112 w 353"/>
                <a:gd name="T65" fmla="*/ 40 h 321"/>
                <a:gd name="T66" fmla="*/ 88 w 353"/>
                <a:gd name="T67" fmla="*/ 64 h 321"/>
                <a:gd name="T68" fmla="*/ 64 w 353"/>
                <a:gd name="T69" fmla="*/ 40 h 321"/>
                <a:gd name="T70" fmla="*/ 88 w 353"/>
                <a:gd name="T71" fmla="*/ 16 h 321"/>
                <a:gd name="T72" fmla="*/ 345 w 353"/>
                <a:gd name="T73" fmla="*/ 152 h 321"/>
                <a:gd name="T74" fmla="*/ 320 w 353"/>
                <a:gd name="T75" fmla="*/ 152 h 321"/>
                <a:gd name="T76" fmla="*/ 281 w 353"/>
                <a:gd name="T77" fmla="*/ 120 h 321"/>
                <a:gd name="T78" fmla="*/ 242 w 353"/>
                <a:gd name="T79" fmla="*/ 152 h 321"/>
                <a:gd name="T80" fmla="*/ 8 w 353"/>
                <a:gd name="T81" fmla="*/ 152 h 321"/>
                <a:gd name="T82" fmla="*/ 0 w 353"/>
                <a:gd name="T83" fmla="*/ 160 h 321"/>
                <a:gd name="T84" fmla="*/ 8 w 353"/>
                <a:gd name="T85" fmla="*/ 168 h 321"/>
                <a:gd name="T86" fmla="*/ 242 w 353"/>
                <a:gd name="T87" fmla="*/ 168 h 321"/>
                <a:gd name="T88" fmla="*/ 281 w 353"/>
                <a:gd name="T89" fmla="*/ 201 h 321"/>
                <a:gd name="T90" fmla="*/ 320 w 353"/>
                <a:gd name="T91" fmla="*/ 168 h 321"/>
                <a:gd name="T92" fmla="*/ 345 w 353"/>
                <a:gd name="T93" fmla="*/ 168 h 321"/>
                <a:gd name="T94" fmla="*/ 353 w 353"/>
                <a:gd name="T95" fmla="*/ 160 h 321"/>
                <a:gd name="T96" fmla="*/ 345 w 353"/>
                <a:gd name="T97" fmla="*/ 152 h 321"/>
                <a:gd name="T98" fmla="*/ 281 w 353"/>
                <a:gd name="T99" fmla="*/ 184 h 321"/>
                <a:gd name="T100" fmla="*/ 257 w 353"/>
                <a:gd name="T101" fmla="*/ 160 h 321"/>
                <a:gd name="T102" fmla="*/ 281 w 353"/>
                <a:gd name="T103" fmla="*/ 136 h 321"/>
                <a:gd name="T104" fmla="*/ 305 w 353"/>
                <a:gd name="T105" fmla="*/ 160 h 321"/>
                <a:gd name="T106" fmla="*/ 281 w 353"/>
                <a:gd name="T107" fmla="*/ 18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3" h="321">
                  <a:moveTo>
                    <a:pt x="345" y="273"/>
                  </a:moveTo>
                  <a:cubicBezTo>
                    <a:pt x="192" y="273"/>
                    <a:pt x="192" y="273"/>
                    <a:pt x="192" y="273"/>
                  </a:cubicBezTo>
                  <a:cubicBezTo>
                    <a:pt x="188" y="254"/>
                    <a:pt x="172" y="241"/>
                    <a:pt x="152" y="241"/>
                  </a:cubicBezTo>
                  <a:cubicBezTo>
                    <a:pt x="133" y="241"/>
                    <a:pt x="117" y="254"/>
                    <a:pt x="113" y="273"/>
                  </a:cubicBezTo>
                  <a:cubicBezTo>
                    <a:pt x="8" y="273"/>
                    <a:pt x="8" y="273"/>
                    <a:pt x="8" y="273"/>
                  </a:cubicBezTo>
                  <a:cubicBezTo>
                    <a:pt x="3" y="273"/>
                    <a:pt x="0" y="276"/>
                    <a:pt x="0" y="281"/>
                  </a:cubicBezTo>
                  <a:cubicBezTo>
                    <a:pt x="0" y="285"/>
                    <a:pt x="3" y="289"/>
                    <a:pt x="8" y="289"/>
                  </a:cubicBezTo>
                  <a:cubicBezTo>
                    <a:pt x="113" y="289"/>
                    <a:pt x="113" y="289"/>
                    <a:pt x="113" y="289"/>
                  </a:cubicBezTo>
                  <a:cubicBezTo>
                    <a:pt x="117" y="307"/>
                    <a:pt x="133" y="321"/>
                    <a:pt x="152" y="321"/>
                  </a:cubicBezTo>
                  <a:cubicBezTo>
                    <a:pt x="172" y="321"/>
                    <a:pt x="188" y="307"/>
                    <a:pt x="192" y="289"/>
                  </a:cubicBezTo>
                  <a:cubicBezTo>
                    <a:pt x="345" y="289"/>
                    <a:pt x="345" y="289"/>
                    <a:pt x="345" y="289"/>
                  </a:cubicBezTo>
                  <a:cubicBezTo>
                    <a:pt x="350" y="289"/>
                    <a:pt x="353" y="285"/>
                    <a:pt x="353" y="281"/>
                  </a:cubicBezTo>
                  <a:cubicBezTo>
                    <a:pt x="353" y="276"/>
                    <a:pt x="350" y="273"/>
                    <a:pt x="345" y="273"/>
                  </a:cubicBezTo>
                  <a:moveTo>
                    <a:pt x="152" y="305"/>
                  </a:moveTo>
                  <a:cubicBezTo>
                    <a:pt x="139" y="305"/>
                    <a:pt x="128" y="294"/>
                    <a:pt x="128" y="281"/>
                  </a:cubicBezTo>
                  <a:cubicBezTo>
                    <a:pt x="128" y="267"/>
                    <a:pt x="139" y="257"/>
                    <a:pt x="152" y="257"/>
                  </a:cubicBezTo>
                  <a:cubicBezTo>
                    <a:pt x="166" y="257"/>
                    <a:pt x="177" y="267"/>
                    <a:pt x="177" y="281"/>
                  </a:cubicBezTo>
                  <a:cubicBezTo>
                    <a:pt x="177" y="294"/>
                    <a:pt x="166" y="305"/>
                    <a:pt x="152" y="305"/>
                  </a:cubicBezTo>
                  <a:moveTo>
                    <a:pt x="8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53" y="66"/>
                    <a:pt x="69" y="80"/>
                    <a:pt x="88" y="80"/>
                  </a:cubicBezTo>
                  <a:cubicBezTo>
                    <a:pt x="108" y="80"/>
                    <a:pt x="124" y="66"/>
                    <a:pt x="128" y="48"/>
                  </a:cubicBezTo>
                  <a:cubicBezTo>
                    <a:pt x="345" y="48"/>
                    <a:pt x="345" y="48"/>
                    <a:pt x="345" y="48"/>
                  </a:cubicBezTo>
                  <a:cubicBezTo>
                    <a:pt x="350" y="48"/>
                    <a:pt x="353" y="44"/>
                    <a:pt x="353" y="40"/>
                  </a:cubicBezTo>
                  <a:cubicBezTo>
                    <a:pt x="353" y="36"/>
                    <a:pt x="350" y="32"/>
                    <a:pt x="345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4" y="14"/>
                    <a:pt x="108" y="0"/>
                    <a:pt x="88" y="0"/>
                  </a:cubicBezTo>
                  <a:cubicBezTo>
                    <a:pt x="69" y="0"/>
                    <a:pt x="53" y="14"/>
                    <a:pt x="4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3" y="32"/>
                    <a:pt x="0" y="36"/>
                    <a:pt x="0" y="40"/>
                  </a:cubicBezTo>
                  <a:cubicBezTo>
                    <a:pt x="0" y="44"/>
                    <a:pt x="3" y="48"/>
                    <a:pt x="8" y="48"/>
                  </a:cubicBezTo>
                  <a:moveTo>
                    <a:pt x="88" y="16"/>
                  </a:moveTo>
                  <a:cubicBezTo>
                    <a:pt x="102" y="16"/>
                    <a:pt x="112" y="27"/>
                    <a:pt x="112" y="40"/>
                  </a:cubicBezTo>
                  <a:cubicBezTo>
                    <a:pt x="112" y="53"/>
                    <a:pt x="102" y="64"/>
                    <a:pt x="88" y="64"/>
                  </a:cubicBezTo>
                  <a:cubicBezTo>
                    <a:pt x="75" y="64"/>
                    <a:pt x="64" y="53"/>
                    <a:pt x="64" y="40"/>
                  </a:cubicBezTo>
                  <a:cubicBezTo>
                    <a:pt x="64" y="27"/>
                    <a:pt x="75" y="16"/>
                    <a:pt x="88" y="16"/>
                  </a:cubicBezTo>
                  <a:moveTo>
                    <a:pt x="345" y="152"/>
                  </a:moveTo>
                  <a:cubicBezTo>
                    <a:pt x="320" y="152"/>
                    <a:pt x="320" y="152"/>
                    <a:pt x="320" y="152"/>
                  </a:cubicBezTo>
                  <a:cubicBezTo>
                    <a:pt x="316" y="134"/>
                    <a:pt x="300" y="120"/>
                    <a:pt x="281" y="120"/>
                  </a:cubicBezTo>
                  <a:cubicBezTo>
                    <a:pt x="261" y="120"/>
                    <a:pt x="245" y="134"/>
                    <a:pt x="242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3" y="152"/>
                    <a:pt x="0" y="156"/>
                    <a:pt x="0" y="160"/>
                  </a:cubicBezTo>
                  <a:cubicBezTo>
                    <a:pt x="0" y="165"/>
                    <a:pt x="3" y="168"/>
                    <a:pt x="8" y="168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5" y="187"/>
                    <a:pt x="261" y="201"/>
                    <a:pt x="281" y="201"/>
                  </a:cubicBezTo>
                  <a:cubicBezTo>
                    <a:pt x="300" y="201"/>
                    <a:pt x="316" y="187"/>
                    <a:pt x="320" y="168"/>
                  </a:cubicBezTo>
                  <a:cubicBezTo>
                    <a:pt x="345" y="168"/>
                    <a:pt x="345" y="168"/>
                    <a:pt x="345" y="168"/>
                  </a:cubicBezTo>
                  <a:cubicBezTo>
                    <a:pt x="350" y="168"/>
                    <a:pt x="353" y="165"/>
                    <a:pt x="353" y="160"/>
                  </a:cubicBezTo>
                  <a:cubicBezTo>
                    <a:pt x="353" y="156"/>
                    <a:pt x="350" y="152"/>
                    <a:pt x="345" y="152"/>
                  </a:cubicBezTo>
                  <a:moveTo>
                    <a:pt x="281" y="184"/>
                  </a:moveTo>
                  <a:cubicBezTo>
                    <a:pt x="268" y="184"/>
                    <a:pt x="257" y="174"/>
                    <a:pt x="257" y="160"/>
                  </a:cubicBezTo>
                  <a:cubicBezTo>
                    <a:pt x="257" y="147"/>
                    <a:pt x="268" y="136"/>
                    <a:pt x="281" y="136"/>
                  </a:cubicBezTo>
                  <a:cubicBezTo>
                    <a:pt x="294" y="136"/>
                    <a:pt x="305" y="147"/>
                    <a:pt x="305" y="160"/>
                  </a:cubicBezTo>
                  <a:cubicBezTo>
                    <a:pt x="305" y="174"/>
                    <a:pt x="294" y="184"/>
                    <a:pt x="281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1346634" y="3293860"/>
            <a:ext cx="831696" cy="555229"/>
            <a:chOff x="1346634" y="3293860"/>
            <a:chExt cx="831696" cy="555229"/>
          </a:xfrm>
        </p:grpSpPr>
        <p:sp>
          <p:nvSpPr>
            <p:cNvPr id="12" name="Title 2"/>
            <p:cNvSpPr txBox="1">
              <a:spLocks/>
            </p:cNvSpPr>
            <p:nvPr/>
          </p:nvSpPr>
          <p:spPr>
            <a:xfrm>
              <a:off x="1346634" y="3587479"/>
              <a:ext cx="831696" cy="261610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5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Plano de </a:t>
              </a:r>
            </a:p>
            <a:p>
              <a:r>
                <a:rPr lang="en-US" sz="85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peração</a:t>
              </a:r>
              <a:endParaRPr lang="en-US" sz="85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5" name="Freeform 115"/>
            <p:cNvSpPr>
              <a:spLocks noEditPoints="1"/>
            </p:cNvSpPr>
            <p:nvPr/>
          </p:nvSpPr>
          <p:spPr bwMode="auto">
            <a:xfrm>
              <a:off x="1652257" y="3293860"/>
              <a:ext cx="220450" cy="220450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099160" y="3293860"/>
            <a:ext cx="831696" cy="555229"/>
            <a:chOff x="3099160" y="3293860"/>
            <a:chExt cx="831696" cy="555229"/>
          </a:xfrm>
        </p:grpSpPr>
        <p:sp>
          <p:nvSpPr>
            <p:cNvPr id="11" name="Title 2"/>
            <p:cNvSpPr txBox="1">
              <a:spLocks/>
            </p:cNvSpPr>
            <p:nvPr/>
          </p:nvSpPr>
          <p:spPr>
            <a:xfrm>
              <a:off x="3099160" y="3587479"/>
              <a:ext cx="831696" cy="261610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5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Plano</a:t>
              </a:r>
            </a:p>
            <a:p>
              <a:r>
                <a:rPr lang="en-US" sz="85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Financeiro</a:t>
              </a:r>
              <a:endParaRPr lang="en-US" sz="85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6" name="Freeform 117"/>
            <p:cNvSpPr>
              <a:spLocks noEditPoints="1"/>
            </p:cNvSpPr>
            <p:nvPr/>
          </p:nvSpPr>
          <p:spPr bwMode="auto">
            <a:xfrm>
              <a:off x="3404783" y="3293860"/>
              <a:ext cx="220450" cy="220450"/>
            </a:xfrm>
            <a:custGeom>
              <a:avLst/>
              <a:gdLst>
                <a:gd name="T0" fmla="*/ 353 w 353"/>
                <a:gd name="T1" fmla="*/ 136 h 353"/>
                <a:gd name="T2" fmla="*/ 349 w 353"/>
                <a:gd name="T3" fmla="*/ 97 h 353"/>
                <a:gd name="T4" fmla="*/ 180 w 353"/>
                <a:gd name="T5" fmla="*/ 1 h 353"/>
                <a:gd name="T6" fmla="*/ 176 w 353"/>
                <a:gd name="T7" fmla="*/ 0 h 353"/>
                <a:gd name="T8" fmla="*/ 173 w 353"/>
                <a:gd name="T9" fmla="*/ 1 h 353"/>
                <a:gd name="T10" fmla="*/ 4 w 353"/>
                <a:gd name="T11" fmla="*/ 97 h 353"/>
                <a:gd name="T12" fmla="*/ 0 w 353"/>
                <a:gd name="T13" fmla="*/ 136 h 353"/>
                <a:gd name="T14" fmla="*/ 32 w 353"/>
                <a:gd name="T15" fmla="*/ 144 h 353"/>
                <a:gd name="T16" fmla="*/ 24 w 353"/>
                <a:gd name="T17" fmla="*/ 289 h 353"/>
                <a:gd name="T18" fmla="*/ 16 w 353"/>
                <a:gd name="T19" fmla="*/ 294 h 353"/>
                <a:gd name="T20" fmla="*/ 0 w 353"/>
                <a:gd name="T21" fmla="*/ 342 h 353"/>
                <a:gd name="T22" fmla="*/ 8 w 353"/>
                <a:gd name="T23" fmla="*/ 353 h 353"/>
                <a:gd name="T24" fmla="*/ 353 w 353"/>
                <a:gd name="T25" fmla="*/ 345 h 353"/>
                <a:gd name="T26" fmla="*/ 353 w 353"/>
                <a:gd name="T27" fmla="*/ 342 h 353"/>
                <a:gd name="T28" fmla="*/ 337 w 353"/>
                <a:gd name="T29" fmla="*/ 294 h 353"/>
                <a:gd name="T30" fmla="*/ 321 w 353"/>
                <a:gd name="T31" fmla="*/ 289 h 353"/>
                <a:gd name="T32" fmla="*/ 345 w 353"/>
                <a:gd name="T33" fmla="*/ 144 h 353"/>
                <a:gd name="T34" fmla="*/ 315 w 353"/>
                <a:gd name="T35" fmla="*/ 96 h 353"/>
                <a:gd name="T36" fmla="*/ 176 w 353"/>
                <a:gd name="T37" fmla="*/ 17 h 353"/>
                <a:gd name="T38" fmla="*/ 334 w 353"/>
                <a:gd name="T39" fmla="*/ 337 h 353"/>
                <a:gd name="T40" fmla="*/ 30 w 353"/>
                <a:gd name="T41" fmla="*/ 305 h 353"/>
                <a:gd name="T42" fmla="*/ 48 w 353"/>
                <a:gd name="T43" fmla="*/ 144 h 353"/>
                <a:gd name="T44" fmla="*/ 80 w 353"/>
                <a:gd name="T45" fmla="*/ 289 h 353"/>
                <a:gd name="T46" fmla="*/ 48 w 353"/>
                <a:gd name="T47" fmla="*/ 144 h 353"/>
                <a:gd name="T48" fmla="*/ 128 w 353"/>
                <a:gd name="T49" fmla="*/ 144 h 353"/>
                <a:gd name="T50" fmla="*/ 96 w 353"/>
                <a:gd name="T51" fmla="*/ 289 h 353"/>
                <a:gd name="T52" fmla="*/ 144 w 353"/>
                <a:gd name="T53" fmla="*/ 144 h 353"/>
                <a:gd name="T54" fmla="*/ 209 w 353"/>
                <a:gd name="T55" fmla="*/ 289 h 353"/>
                <a:gd name="T56" fmla="*/ 144 w 353"/>
                <a:gd name="T57" fmla="*/ 144 h 353"/>
                <a:gd name="T58" fmla="*/ 257 w 353"/>
                <a:gd name="T59" fmla="*/ 144 h 353"/>
                <a:gd name="T60" fmla="*/ 225 w 353"/>
                <a:gd name="T61" fmla="*/ 289 h 353"/>
                <a:gd name="T62" fmla="*/ 273 w 353"/>
                <a:gd name="T63" fmla="*/ 144 h 353"/>
                <a:gd name="T64" fmla="*/ 305 w 353"/>
                <a:gd name="T65" fmla="*/ 289 h 353"/>
                <a:gd name="T66" fmla="*/ 273 w 353"/>
                <a:gd name="T67" fmla="*/ 144 h 353"/>
                <a:gd name="T68" fmla="*/ 337 w 353"/>
                <a:gd name="T69" fmla="*/ 112 h 353"/>
                <a:gd name="T70" fmla="*/ 16 w 353"/>
                <a:gd name="T71" fmla="*/ 12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53">
                  <a:moveTo>
                    <a:pt x="345" y="144"/>
                  </a:moveTo>
                  <a:cubicBezTo>
                    <a:pt x="350" y="144"/>
                    <a:pt x="353" y="141"/>
                    <a:pt x="353" y="136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1"/>
                    <a:pt x="351" y="99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79" y="0"/>
                    <a:pt x="178" y="0"/>
                    <a:pt x="176" y="0"/>
                  </a:cubicBezTo>
                  <a:cubicBezTo>
                    <a:pt x="175" y="0"/>
                    <a:pt x="174" y="0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2" y="99"/>
                    <a:pt x="0" y="101"/>
                    <a:pt x="0" y="10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1"/>
                    <a:pt x="3" y="144"/>
                    <a:pt x="8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0" y="289"/>
                    <a:pt x="18" y="291"/>
                    <a:pt x="16" y="294"/>
                  </a:cubicBezTo>
                  <a:cubicBezTo>
                    <a:pt x="16" y="294"/>
                    <a:pt x="16" y="294"/>
                    <a:pt x="16" y="294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3"/>
                    <a:pt x="0" y="344"/>
                    <a:pt x="0" y="345"/>
                  </a:cubicBezTo>
                  <a:cubicBezTo>
                    <a:pt x="0" y="349"/>
                    <a:pt x="3" y="353"/>
                    <a:pt x="8" y="353"/>
                  </a:cubicBezTo>
                  <a:cubicBezTo>
                    <a:pt x="345" y="353"/>
                    <a:pt x="345" y="353"/>
                    <a:pt x="345" y="353"/>
                  </a:cubicBezTo>
                  <a:cubicBezTo>
                    <a:pt x="350" y="353"/>
                    <a:pt x="353" y="349"/>
                    <a:pt x="353" y="345"/>
                  </a:cubicBezTo>
                  <a:cubicBezTo>
                    <a:pt x="353" y="344"/>
                    <a:pt x="353" y="343"/>
                    <a:pt x="353" y="342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5" y="291"/>
                    <a:pt x="333" y="289"/>
                    <a:pt x="329" y="289"/>
                  </a:cubicBezTo>
                  <a:cubicBezTo>
                    <a:pt x="321" y="289"/>
                    <a:pt x="321" y="289"/>
                    <a:pt x="321" y="289"/>
                  </a:cubicBezTo>
                  <a:cubicBezTo>
                    <a:pt x="321" y="144"/>
                    <a:pt x="321" y="144"/>
                    <a:pt x="321" y="144"/>
                  </a:cubicBezTo>
                  <a:lnTo>
                    <a:pt x="345" y="144"/>
                  </a:lnTo>
                  <a:close/>
                  <a:moveTo>
                    <a:pt x="176" y="17"/>
                  </a:moveTo>
                  <a:cubicBezTo>
                    <a:pt x="315" y="96"/>
                    <a:pt x="315" y="96"/>
                    <a:pt x="315" y="96"/>
                  </a:cubicBezTo>
                  <a:cubicBezTo>
                    <a:pt x="38" y="96"/>
                    <a:pt x="38" y="96"/>
                    <a:pt x="38" y="96"/>
                  </a:cubicBezTo>
                  <a:lnTo>
                    <a:pt x="176" y="17"/>
                  </a:lnTo>
                  <a:close/>
                  <a:moveTo>
                    <a:pt x="323" y="305"/>
                  </a:moveTo>
                  <a:cubicBezTo>
                    <a:pt x="334" y="337"/>
                    <a:pt x="334" y="337"/>
                    <a:pt x="334" y="337"/>
                  </a:cubicBezTo>
                  <a:cubicBezTo>
                    <a:pt x="19" y="337"/>
                    <a:pt x="19" y="337"/>
                    <a:pt x="19" y="337"/>
                  </a:cubicBezTo>
                  <a:cubicBezTo>
                    <a:pt x="30" y="305"/>
                    <a:pt x="30" y="305"/>
                    <a:pt x="30" y="305"/>
                  </a:cubicBezTo>
                  <a:lnTo>
                    <a:pt x="323" y="305"/>
                  </a:lnTo>
                  <a:close/>
                  <a:moveTo>
                    <a:pt x="48" y="144"/>
                  </a:moveTo>
                  <a:cubicBezTo>
                    <a:pt x="80" y="144"/>
                    <a:pt x="80" y="144"/>
                    <a:pt x="80" y="144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48" y="289"/>
                    <a:pt x="48" y="289"/>
                    <a:pt x="48" y="289"/>
                  </a:cubicBezTo>
                  <a:lnTo>
                    <a:pt x="48" y="144"/>
                  </a:lnTo>
                  <a:close/>
                  <a:moveTo>
                    <a:pt x="96" y="144"/>
                  </a:moveTo>
                  <a:cubicBezTo>
                    <a:pt x="128" y="144"/>
                    <a:pt x="128" y="144"/>
                    <a:pt x="128" y="144"/>
                  </a:cubicBezTo>
                  <a:cubicBezTo>
                    <a:pt x="128" y="289"/>
                    <a:pt x="128" y="289"/>
                    <a:pt x="128" y="289"/>
                  </a:cubicBezTo>
                  <a:cubicBezTo>
                    <a:pt x="96" y="289"/>
                    <a:pt x="96" y="289"/>
                    <a:pt x="96" y="289"/>
                  </a:cubicBezTo>
                  <a:lnTo>
                    <a:pt x="96" y="144"/>
                  </a:lnTo>
                  <a:close/>
                  <a:moveTo>
                    <a:pt x="144" y="144"/>
                  </a:moveTo>
                  <a:cubicBezTo>
                    <a:pt x="209" y="144"/>
                    <a:pt x="209" y="144"/>
                    <a:pt x="209" y="14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144" y="289"/>
                    <a:pt x="144" y="289"/>
                    <a:pt x="144" y="289"/>
                  </a:cubicBezTo>
                  <a:lnTo>
                    <a:pt x="144" y="144"/>
                  </a:lnTo>
                  <a:close/>
                  <a:moveTo>
                    <a:pt x="225" y="144"/>
                  </a:moveTo>
                  <a:cubicBezTo>
                    <a:pt x="257" y="144"/>
                    <a:pt x="257" y="144"/>
                    <a:pt x="257" y="144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25" y="289"/>
                    <a:pt x="225" y="289"/>
                    <a:pt x="225" y="289"/>
                  </a:cubicBezTo>
                  <a:lnTo>
                    <a:pt x="225" y="144"/>
                  </a:lnTo>
                  <a:close/>
                  <a:moveTo>
                    <a:pt x="273" y="144"/>
                  </a:moveTo>
                  <a:cubicBezTo>
                    <a:pt x="305" y="144"/>
                    <a:pt x="305" y="144"/>
                    <a:pt x="305" y="144"/>
                  </a:cubicBezTo>
                  <a:cubicBezTo>
                    <a:pt x="305" y="289"/>
                    <a:pt x="305" y="289"/>
                    <a:pt x="305" y="289"/>
                  </a:cubicBezTo>
                  <a:cubicBezTo>
                    <a:pt x="273" y="289"/>
                    <a:pt x="273" y="289"/>
                    <a:pt x="273" y="289"/>
                  </a:cubicBezTo>
                  <a:lnTo>
                    <a:pt x="273" y="144"/>
                  </a:lnTo>
                  <a:close/>
                  <a:moveTo>
                    <a:pt x="16" y="112"/>
                  </a:moveTo>
                  <a:cubicBezTo>
                    <a:pt x="337" y="112"/>
                    <a:pt x="337" y="112"/>
                    <a:pt x="337" y="112"/>
                  </a:cubicBezTo>
                  <a:cubicBezTo>
                    <a:pt x="337" y="128"/>
                    <a:pt x="337" y="128"/>
                    <a:pt x="337" y="128"/>
                  </a:cubicBezTo>
                  <a:cubicBezTo>
                    <a:pt x="16" y="128"/>
                    <a:pt x="16" y="128"/>
                    <a:pt x="16" y="128"/>
                  </a:cubicBezTo>
                  <a:lnTo>
                    <a:pt x="16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9" name="Oval 28"/>
          <p:cNvSpPr/>
          <p:nvPr/>
        </p:nvSpPr>
        <p:spPr>
          <a:xfrm>
            <a:off x="1685772" y="2468929"/>
            <a:ext cx="85466" cy="8546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0" name="Oval 29"/>
          <p:cNvSpPr/>
          <p:nvPr/>
        </p:nvSpPr>
        <p:spPr>
          <a:xfrm>
            <a:off x="2596013" y="4060655"/>
            <a:ext cx="85466" cy="85465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31" name="Oval 30"/>
          <p:cNvSpPr/>
          <p:nvPr/>
        </p:nvSpPr>
        <p:spPr>
          <a:xfrm>
            <a:off x="3485652" y="2468929"/>
            <a:ext cx="85466" cy="85465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1050773" y="2424719"/>
            <a:ext cx="565841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900" spc="0" dirty="0">
                <a:solidFill>
                  <a:schemeClr val="accent1"/>
                </a:solidFill>
                <a:latin typeface="Lato" panose="020F0502020204030203" pitchFamily="34" charset="0"/>
              </a:rPr>
              <a:t>44%</a:t>
            </a:r>
          </a:p>
        </p:txBody>
      </p:sp>
      <p:sp>
        <p:nvSpPr>
          <p:cNvPr id="33" name="Title 2"/>
          <p:cNvSpPr txBox="1">
            <a:spLocks/>
          </p:cNvSpPr>
          <p:nvPr/>
        </p:nvSpPr>
        <p:spPr>
          <a:xfrm>
            <a:off x="3625234" y="2424719"/>
            <a:ext cx="565841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>
                <a:solidFill>
                  <a:schemeClr val="accent1"/>
                </a:solidFill>
                <a:latin typeface="Lato" panose="020F0502020204030203" pitchFamily="34" charset="0"/>
              </a:rPr>
              <a:t>64%</a:t>
            </a:r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2355824" y="4165951"/>
            <a:ext cx="565841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>
                <a:solidFill>
                  <a:schemeClr val="accent1"/>
                </a:solidFill>
                <a:latin typeface="Lato" panose="020F0502020204030203" pitchFamily="34" charset="0"/>
              </a:rPr>
              <a:t>25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962642" y="2770018"/>
            <a:ext cx="13447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spc="2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Ciclo</a:t>
            </a:r>
            <a:r>
              <a:rPr lang="en-US" sz="1200" cap="all" spc="20" dirty="0">
                <a:solidFill>
                  <a:schemeClr val="accent1"/>
                </a:solidFill>
                <a:latin typeface="Lato Black" panose="020F0A02020204030203" pitchFamily="34" charset="0"/>
              </a:rPr>
              <a:t> de </a:t>
            </a:r>
          </a:p>
          <a:p>
            <a:pPr algn="ctr"/>
            <a:r>
              <a:rPr lang="en-US" sz="1200" cap="all" spc="2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financiamento</a:t>
            </a:r>
            <a:endParaRPr lang="en-US" sz="1200" cap="all" spc="20" dirty="0">
              <a:solidFill>
                <a:schemeClr val="accent1"/>
              </a:solidFill>
              <a:latin typeface="Lato Black" panose="020F0A02020204030203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5234988" y="1551516"/>
            <a:ext cx="418680" cy="418680"/>
            <a:chOff x="5234988" y="1551516"/>
            <a:chExt cx="418680" cy="418680"/>
          </a:xfrm>
        </p:grpSpPr>
        <p:sp>
          <p:nvSpPr>
            <p:cNvPr id="38" name="Oval 37"/>
            <p:cNvSpPr/>
            <p:nvPr/>
          </p:nvSpPr>
          <p:spPr>
            <a:xfrm>
              <a:off x="5234988" y="1551516"/>
              <a:ext cx="418680" cy="4186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250879" y="1668523"/>
              <a:ext cx="3868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234988" y="2475684"/>
            <a:ext cx="418680" cy="418680"/>
            <a:chOff x="5234988" y="2475684"/>
            <a:chExt cx="418680" cy="418680"/>
          </a:xfrm>
        </p:grpSpPr>
        <p:sp>
          <p:nvSpPr>
            <p:cNvPr id="41" name="Oval 40"/>
            <p:cNvSpPr/>
            <p:nvPr/>
          </p:nvSpPr>
          <p:spPr>
            <a:xfrm>
              <a:off x="5234988" y="2475684"/>
              <a:ext cx="418680" cy="41868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Lato" panose="020F050202020403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250879" y="2592691"/>
              <a:ext cx="3868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234988" y="3399852"/>
            <a:ext cx="418680" cy="418680"/>
            <a:chOff x="5234988" y="3399852"/>
            <a:chExt cx="418680" cy="418680"/>
          </a:xfrm>
        </p:grpSpPr>
        <p:sp>
          <p:nvSpPr>
            <p:cNvPr id="44" name="Oval 43"/>
            <p:cNvSpPr/>
            <p:nvPr/>
          </p:nvSpPr>
          <p:spPr>
            <a:xfrm>
              <a:off x="5234988" y="3399852"/>
              <a:ext cx="418680" cy="41868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>
                <a:latin typeface="Lato" panose="020F0502020204030203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250879" y="3516859"/>
              <a:ext cx="3868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825625" y="1551516"/>
            <a:ext cx="1870265" cy="483584"/>
            <a:chOff x="5825625" y="1551516"/>
            <a:chExt cx="1870265" cy="483584"/>
          </a:xfrm>
        </p:grpSpPr>
        <p:sp>
          <p:nvSpPr>
            <p:cNvPr id="49" name="TextBox 48"/>
            <p:cNvSpPr txBox="1"/>
            <p:nvPr/>
          </p:nvSpPr>
          <p:spPr>
            <a:xfrm>
              <a:off x="5825654" y="1551516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just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825625" y="1750791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825625" y="2480911"/>
            <a:ext cx="1870265" cy="483584"/>
            <a:chOff x="5825625" y="2480911"/>
            <a:chExt cx="1870265" cy="483584"/>
          </a:xfrm>
        </p:grpSpPr>
        <p:sp>
          <p:nvSpPr>
            <p:cNvPr id="54" name="TextBox 53"/>
            <p:cNvSpPr txBox="1"/>
            <p:nvPr/>
          </p:nvSpPr>
          <p:spPr>
            <a:xfrm>
              <a:off x="5825654" y="2480911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operaçõ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825625" y="2680186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825625" y="3399852"/>
            <a:ext cx="1870265" cy="483584"/>
            <a:chOff x="5825625" y="3399852"/>
            <a:chExt cx="1870265" cy="483584"/>
          </a:xfrm>
        </p:grpSpPr>
        <p:sp>
          <p:nvSpPr>
            <p:cNvPr id="56" name="TextBox 55"/>
            <p:cNvSpPr txBox="1"/>
            <p:nvPr/>
          </p:nvSpPr>
          <p:spPr>
            <a:xfrm>
              <a:off x="5825654" y="3399852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finanç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5825625" y="3599127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16431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VALIAÇÃO DE </a:t>
            </a:r>
            <a:r>
              <a:rPr lang="en-US" dirty="0">
                <a:solidFill>
                  <a:srgbClr val="EC0000"/>
                </a:solidFill>
              </a:rPr>
              <a:t>INICIALIZAÇÃ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3752608" y="2081561"/>
            <a:ext cx="1636864" cy="163686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Arc 34"/>
          <p:cNvSpPr/>
          <p:nvPr/>
        </p:nvSpPr>
        <p:spPr>
          <a:xfrm>
            <a:off x="4019225" y="1591231"/>
            <a:ext cx="1103768" cy="122106"/>
          </a:xfrm>
          <a:custGeom>
            <a:avLst/>
            <a:gdLst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2" fmla="*/ 4355298 w 8710596"/>
              <a:gd name="connsiteY2" fmla="*/ 4355298 h 8710596"/>
              <a:gd name="connsiteX3" fmla="*/ 2520686 w 8710596"/>
              <a:gd name="connsiteY3" fmla="*/ 405258 h 8710596"/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0" fmla="*/ 0 w 3663308"/>
              <a:gd name="connsiteY0" fmla="*/ 405258 h 405258"/>
              <a:gd name="connsiteX1" fmla="*/ 3663308 w 3663308"/>
              <a:gd name="connsiteY1" fmla="*/ 402516 h 405258"/>
              <a:gd name="connsiteX2" fmla="*/ 0 w 3663308"/>
              <a:gd name="connsiteY2" fmla="*/ 405258 h 405258"/>
              <a:gd name="connsiteX0" fmla="*/ 0 w 3663308"/>
              <a:gd name="connsiteY0" fmla="*/ 405258 h 405258"/>
              <a:gd name="connsiteX1" fmla="*/ 3663308 w 3663308"/>
              <a:gd name="connsiteY1" fmla="*/ 402516 h 40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63308" h="405258" stroke="0" extrusionOk="0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  <a:lnTo>
                  <a:pt x="0" y="405258"/>
                </a:lnTo>
                <a:close/>
              </a:path>
              <a:path w="3663308" h="405258" fill="none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Oval 7"/>
          <p:cNvSpPr/>
          <p:nvPr/>
        </p:nvSpPr>
        <p:spPr>
          <a:xfrm>
            <a:off x="3240061" y="1571559"/>
            <a:ext cx="795594" cy="795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Oval 8"/>
          <p:cNvSpPr/>
          <p:nvPr/>
        </p:nvSpPr>
        <p:spPr>
          <a:xfrm>
            <a:off x="3240061" y="3439843"/>
            <a:ext cx="795594" cy="795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Oval 9"/>
          <p:cNvSpPr/>
          <p:nvPr/>
        </p:nvSpPr>
        <p:spPr>
          <a:xfrm>
            <a:off x="5108347" y="1571559"/>
            <a:ext cx="795594" cy="795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1" name="Oval 10"/>
          <p:cNvSpPr/>
          <p:nvPr/>
        </p:nvSpPr>
        <p:spPr>
          <a:xfrm>
            <a:off x="5108347" y="3439843"/>
            <a:ext cx="795594" cy="7955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2" name="Arc 34"/>
          <p:cNvSpPr/>
          <p:nvPr/>
        </p:nvSpPr>
        <p:spPr>
          <a:xfrm rot="10800000">
            <a:off x="4019225" y="4093659"/>
            <a:ext cx="1103768" cy="122106"/>
          </a:xfrm>
          <a:custGeom>
            <a:avLst/>
            <a:gdLst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2" fmla="*/ 4355298 w 8710596"/>
              <a:gd name="connsiteY2" fmla="*/ 4355298 h 8710596"/>
              <a:gd name="connsiteX3" fmla="*/ 2520686 w 8710596"/>
              <a:gd name="connsiteY3" fmla="*/ 405258 h 8710596"/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0" fmla="*/ 0 w 3663308"/>
              <a:gd name="connsiteY0" fmla="*/ 405258 h 405258"/>
              <a:gd name="connsiteX1" fmla="*/ 3663308 w 3663308"/>
              <a:gd name="connsiteY1" fmla="*/ 402516 h 405258"/>
              <a:gd name="connsiteX2" fmla="*/ 0 w 3663308"/>
              <a:gd name="connsiteY2" fmla="*/ 405258 h 405258"/>
              <a:gd name="connsiteX0" fmla="*/ 0 w 3663308"/>
              <a:gd name="connsiteY0" fmla="*/ 405258 h 405258"/>
              <a:gd name="connsiteX1" fmla="*/ 3663308 w 3663308"/>
              <a:gd name="connsiteY1" fmla="*/ 402516 h 40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63308" h="405258" stroke="0" extrusionOk="0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  <a:lnTo>
                  <a:pt x="0" y="405258"/>
                </a:lnTo>
                <a:close/>
              </a:path>
              <a:path w="3663308" h="405258" fill="none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3" name="Arc 34"/>
          <p:cNvSpPr/>
          <p:nvPr/>
        </p:nvSpPr>
        <p:spPr>
          <a:xfrm rot="5400000">
            <a:off x="5271332" y="2842445"/>
            <a:ext cx="1103768" cy="122106"/>
          </a:xfrm>
          <a:custGeom>
            <a:avLst/>
            <a:gdLst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2" fmla="*/ 4355298 w 8710596"/>
              <a:gd name="connsiteY2" fmla="*/ 4355298 h 8710596"/>
              <a:gd name="connsiteX3" fmla="*/ 2520686 w 8710596"/>
              <a:gd name="connsiteY3" fmla="*/ 405258 h 8710596"/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0" fmla="*/ 0 w 3663308"/>
              <a:gd name="connsiteY0" fmla="*/ 405258 h 405258"/>
              <a:gd name="connsiteX1" fmla="*/ 3663308 w 3663308"/>
              <a:gd name="connsiteY1" fmla="*/ 402516 h 405258"/>
              <a:gd name="connsiteX2" fmla="*/ 0 w 3663308"/>
              <a:gd name="connsiteY2" fmla="*/ 405258 h 405258"/>
              <a:gd name="connsiteX0" fmla="*/ 0 w 3663308"/>
              <a:gd name="connsiteY0" fmla="*/ 405258 h 405258"/>
              <a:gd name="connsiteX1" fmla="*/ 3663308 w 3663308"/>
              <a:gd name="connsiteY1" fmla="*/ 402516 h 40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63308" h="405258" stroke="0" extrusionOk="0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  <a:lnTo>
                  <a:pt x="0" y="405258"/>
                </a:lnTo>
                <a:close/>
              </a:path>
              <a:path w="3663308" h="405258" fill="none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Arc 34"/>
          <p:cNvSpPr/>
          <p:nvPr/>
        </p:nvSpPr>
        <p:spPr>
          <a:xfrm rot="16200000">
            <a:off x="2768901" y="2842445"/>
            <a:ext cx="1103768" cy="122106"/>
          </a:xfrm>
          <a:custGeom>
            <a:avLst/>
            <a:gdLst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2" fmla="*/ 4355298 w 8710596"/>
              <a:gd name="connsiteY2" fmla="*/ 4355298 h 8710596"/>
              <a:gd name="connsiteX3" fmla="*/ 2520686 w 8710596"/>
              <a:gd name="connsiteY3" fmla="*/ 405258 h 8710596"/>
              <a:gd name="connsiteX0" fmla="*/ 2520686 w 8710596"/>
              <a:gd name="connsiteY0" fmla="*/ 405258 h 8710596"/>
              <a:gd name="connsiteX1" fmla="*/ 6183994 w 8710596"/>
              <a:gd name="connsiteY1" fmla="*/ 402516 h 8710596"/>
              <a:gd name="connsiteX0" fmla="*/ 0 w 3663308"/>
              <a:gd name="connsiteY0" fmla="*/ 405258 h 405258"/>
              <a:gd name="connsiteX1" fmla="*/ 3663308 w 3663308"/>
              <a:gd name="connsiteY1" fmla="*/ 402516 h 405258"/>
              <a:gd name="connsiteX2" fmla="*/ 0 w 3663308"/>
              <a:gd name="connsiteY2" fmla="*/ 405258 h 405258"/>
              <a:gd name="connsiteX0" fmla="*/ 0 w 3663308"/>
              <a:gd name="connsiteY0" fmla="*/ 405258 h 405258"/>
              <a:gd name="connsiteX1" fmla="*/ 3663308 w 3663308"/>
              <a:gd name="connsiteY1" fmla="*/ 402516 h 405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63308" h="405258" stroke="0" extrusionOk="0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  <a:lnTo>
                  <a:pt x="0" y="405258"/>
                </a:lnTo>
                <a:close/>
              </a:path>
              <a:path w="3663308" h="405258" fill="none">
                <a:moveTo>
                  <a:pt x="0" y="405258"/>
                </a:moveTo>
                <a:cubicBezTo>
                  <a:pt x="1161328" y="-134125"/>
                  <a:pt x="2501174" y="-135128"/>
                  <a:pt x="3663308" y="402516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5" name="Oval 14"/>
          <p:cNvSpPr/>
          <p:nvPr/>
        </p:nvSpPr>
        <p:spPr>
          <a:xfrm>
            <a:off x="3218986" y="2859498"/>
            <a:ext cx="81494" cy="814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Oval 15"/>
          <p:cNvSpPr/>
          <p:nvPr/>
        </p:nvSpPr>
        <p:spPr>
          <a:xfrm>
            <a:off x="5843522" y="2859498"/>
            <a:ext cx="81494" cy="814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7" name="Oval 16"/>
          <p:cNvSpPr/>
          <p:nvPr/>
        </p:nvSpPr>
        <p:spPr>
          <a:xfrm>
            <a:off x="4531254" y="1550484"/>
            <a:ext cx="81494" cy="814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8" name="Oval 17"/>
          <p:cNvSpPr/>
          <p:nvPr/>
        </p:nvSpPr>
        <p:spPr>
          <a:xfrm>
            <a:off x="4531254" y="4175019"/>
            <a:ext cx="81494" cy="8149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8" name="Group 27"/>
          <p:cNvGrpSpPr/>
          <p:nvPr/>
        </p:nvGrpSpPr>
        <p:grpSpPr>
          <a:xfrm>
            <a:off x="3283378" y="1744890"/>
            <a:ext cx="708959" cy="385358"/>
            <a:chOff x="3283378" y="1744890"/>
            <a:chExt cx="708959" cy="385358"/>
          </a:xfrm>
        </p:grpSpPr>
        <p:sp>
          <p:nvSpPr>
            <p:cNvPr id="19" name="Title 2"/>
            <p:cNvSpPr txBox="1">
              <a:spLocks/>
            </p:cNvSpPr>
            <p:nvPr/>
          </p:nvSpPr>
          <p:spPr>
            <a:xfrm>
              <a:off x="3283378" y="2003290"/>
              <a:ext cx="708959" cy="12695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valiação</a:t>
              </a:r>
              <a:endParaRPr lang="en-US" sz="80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283378" y="1744890"/>
              <a:ext cx="7089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5%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151663" y="1744890"/>
            <a:ext cx="708959" cy="385358"/>
            <a:chOff x="5151663" y="1744890"/>
            <a:chExt cx="708959" cy="385358"/>
          </a:xfrm>
        </p:grpSpPr>
        <p:sp>
          <p:nvSpPr>
            <p:cNvPr id="21" name="Title 2"/>
            <p:cNvSpPr txBox="1">
              <a:spLocks/>
            </p:cNvSpPr>
            <p:nvPr/>
          </p:nvSpPr>
          <p:spPr>
            <a:xfrm>
              <a:off x="5151663" y="2003290"/>
              <a:ext cx="708959" cy="12695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ntrega</a:t>
              </a:r>
              <a:endParaRPr lang="en-US" sz="80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5151663" y="1744890"/>
              <a:ext cx="7089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62%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283378" y="3611179"/>
            <a:ext cx="708959" cy="385358"/>
            <a:chOff x="3283378" y="3611179"/>
            <a:chExt cx="708959" cy="385358"/>
          </a:xfrm>
        </p:grpSpPr>
        <p:sp>
          <p:nvSpPr>
            <p:cNvPr id="23" name="Title 2"/>
            <p:cNvSpPr txBox="1">
              <a:spLocks/>
            </p:cNvSpPr>
            <p:nvPr/>
          </p:nvSpPr>
          <p:spPr>
            <a:xfrm>
              <a:off x="3283378" y="3869579"/>
              <a:ext cx="708959" cy="12695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nálise</a:t>
              </a:r>
              <a:endParaRPr lang="en-US" sz="800" spc="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283378" y="3611179"/>
              <a:ext cx="7089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12%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151663" y="3611179"/>
            <a:ext cx="708959" cy="385358"/>
            <a:chOff x="5151663" y="3611179"/>
            <a:chExt cx="708959" cy="385358"/>
          </a:xfrm>
        </p:grpSpPr>
        <p:sp>
          <p:nvSpPr>
            <p:cNvPr id="25" name="Title 2"/>
            <p:cNvSpPr txBox="1">
              <a:spLocks/>
            </p:cNvSpPr>
            <p:nvPr/>
          </p:nvSpPr>
          <p:spPr>
            <a:xfrm>
              <a:off x="5151663" y="3869579"/>
              <a:ext cx="708959" cy="12695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Design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151663" y="3611179"/>
              <a:ext cx="70895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44%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883796" y="2546725"/>
            <a:ext cx="1376408" cy="678001"/>
            <a:chOff x="3883796" y="2546725"/>
            <a:chExt cx="1376408" cy="678001"/>
          </a:xfrm>
        </p:grpSpPr>
        <p:sp>
          <p:nvSpPr>
            <p:cNvPr id="33" name="TextBox 32"/>
            <p:cNvSpPr txBox="1"/>
            <p:nvPr/>
          </p:nvSpPr>
          <p:spPr>
            <a:xfrm>
              <a:off x="3883796" y="2791594"/>
              <a:ext cx="1376408" cy="433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Insert some brief and narrow data, information and analysis about the main title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900166" y="2546725"/>
              <a:ext cx="134476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figuração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283018" y="1729537"/>
            <a:ext cx="1491126" cy="461282"/>
            <a:chOff x="6231086" y="1672194"/>
            <a:chExt cx="1491126" cy="461282"/>
          </a:xfrm>
        </p:grpSpPr>
        <p:sp>
          <p:nvSpPr>
            <p:cNvPr id="35" name="TextBox 34"/>
            <p:cNvSpPr txBox="1"/>
            <p:nvPr/>
          </p:nvSpPr>
          <p:spPr>
            <a:xfrm>
              <a:off x="6231100" y="1672194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231086" y="1849167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quis porttitor augue, in sagittis ant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283018" y="3616604"/>
            <a:ext cx="1491126" cy="461282"/>
            <a:chOff x="6231086" y="1672194"/>
            <a:chExt cx="1491126" cy="461282"/>
          </a:xfrm>
        </p:grpSpPr>
        <p:sp>
          <p:nvSpPr>
            <p:cNvPr id="39" name="TextBox 38"/>
            <p:cNvSpPr txBox="1"/>
            <p:nvPr/>
          </p:nvSpPr>
          <p:spPr>
            <a:xfrm>
              <a:off x="6231100" y="1672194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231086" y="1849167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quis porttitor augue, in sagittis ant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361376" y="1729537"/>
            <a:ext cx="1491126" cy="460064"/>
            <a:chOff x="6231086" y="1672194"/>
            <a:chExt cx="1491126" cy="460064"/>
          </a:xfrm>
        </p:grpSpPr>
        <p:sp>
          <p:nvSpPr>
            <p:cNvPr id="43" name="TextBox 42"/>
            <p:cNvSpPr txBox="1"/>
            <p:nvPr/>
          </p:nvSpPr>
          <p:spPr>
            <a:xfrm>
              <a:off x="6231100" y="1672194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231086" y="1849167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quis porttitor augue, in sagittis ant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361376" y="3616604"/>
            <a:ext cx="1491126" cy="461282"/>
            <a:chOff x="6231086" y="1672194"/>
            <a:chExt cx="1491126" cy="461282"/>
          </a:xfrm>
        </p:grpSpPr>
        <p:sp>
          <p:nvSpPr>
            <p:cNvPr id="46" name="TextBox 45"/>
            <p:cNvSpPr txBox="1"/>
            <p:nvPr/>
          </p:nvSpPr>
          <p:spPr>
            <a:xfrm>
              <a:off x="6231100" y="1672194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231086" y="1849167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quis porttitor augue, in sagittis ant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0116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Mapa</a:t>
            </a:r>
            <a:r>
              <a:rPr lang="en-US" dirty="0">
                <a:solidFill>
                  <a:srgbClr val="EC0000"/>
                </a:solidFill>
              </a:rPr>
              <a:t> mental </a:t>
            </a:r>
            <a:r>
              <a:rPr lang="en-US" dirty="0"/>
              <a:t>da </a:t>
            </a:r>
            <a:r>
              <a:rPr lang="en-US" dirty="0" err="1"/>
              <a:t>configuração</a:t>
            </a:r>
            <a:r>
              <a:rPr lang="en-US" dirty="0"/>
              <a:t> de </a:t>
            </a:r>
            <a:r>
              <a:rPr lang="en-US" dirty="0" err="1"/>
              <a:t>negóci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28" name="Oval 27"/>
          <p:cNvSpPr/>
          <p:nvPr/>
        </p:nvSpPr>
        <p:spPr>
          <a:xfrm>
            <a:off x="5797081" y="1543050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9" name="Oval 28"/>
          <p:cNvSpPr/>
          <p:nvPr/>
        </p:nvSpPr>
        <p:spPr>
          <a:xfrm>
            <a:off x="5797081" y="2471784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0" name="Oval 29"/>
          <p:cNvSpPr/>
          <p:nvPr/>
        </p:nvSpPr>
        <p:spPr>
          <a:xfrm>
            <a:off x="5797081" y="3444502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2" name="Arc 11"/>
          <p:cNvSpPr/>
          <p:nvPr/>
        </p:nvSpPr>
        <p:spPr>
          <a:xfrm>
            <a:off x="5082475" y="1923640"/>
            <a:ext cx="657495" cy="309537"/>
          </a:xfrm>
          <a:custGeom>
            <a:avLst/>
            <a:gdLst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2" fmla="*/ 2365236 w 4730471"/>
              <a:gd name="connsiteY2" fmla="*/ 2365236 h 4730471"/>
              <a:gd name="connsiteX3" fmla="*/ 493444 w 4730471"/>
              <a:gd name="connsiteY3" fmla="*/ 919298 h 4730471"/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2" fmla="*/ 1418826 w 1952713"/>
              <a:gd name="connsiteY2" fmla="*/ 638040 h 1032353"/>
              <a:gd name="connsiteX3" fmla="*/ 0 w 1952713"/>
              <a:gd name="connsiteY3" fmla="*/ 919302 h 1032353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2" fmla="*/ 1181760 w 1952713"/>
              <a:gd name="connsiteY2" fmla="*/ 803140 h 1046284"/>
              <a:gd name="connsiteX3" fmla="*/ 0 w 1952713"/>
              <a:gd name="connsiteY3" fmla="*/ 919302 h 1046284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2" fmla="*/ 1181760 w 1952713"/>
              <a:gd name="connsiteY2" fmla="*/ 803140 h 1124821"/>
              <a:gd name="connsiteX3" fmla="*/ 0 w 1952713"/>
              <a:gd name="connsiteY3" fmla="*/ 919302 h 1124821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2" fmla="*/ 1393427 w 1952713"/>
              <a:gd name="connsiteY2" fmla="*/ 549140 h 1078339"/>
              <a:gd name="connsiteX3" fmla="*/ 0 w 1952713"/>
              <a:gd name="connsiteY3" fmla="*/ 919302 h 1078339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2" fmla="*/ 1363793 w 1952713"/>
              <a:gd name="connsiteY2" fmla="*/ 527973 h 1075375"/>
              <a:gd name="connsiteX3" fmla="*/ 0 w 1952713"/>
              <a:gd name="connsiteY3" fmla="*/ 919302 h 1075375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2713" h="919302" stroke="0" extrusionOk="0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  <a:lnTo>
                  <a:pt x="0" y="919302"/>
                </a:lnTo>
                <a:close/>
              </a:path>
              <a:path w="1952713" h="919302" fill="none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</a:path>
            </a:pathLst>
          </a:cu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5" name="Arc 11"/>
          <p:cNvSpPr/>
          <p:nvPr/>
        </p:nvSpPr>
        <p:spPr>
          <a:xfrm flipV="1">
            <a:off x="5082475" y="3533047"/>
            <a:ext cx="657495" cy="309537"/>
          </a:xfrm>
          <a:custGeom>
            <a:avLst/>
            <a:gdLst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2" fmla="*/ 2365236 w 4730471"/>
              <a:gd name="connsiteY2" fmla="*/ 2365236 h 4730471"/>
              <a:gd name="connsiteX3" fmla="*/ 493444 w 4730471"/>
              <a:gd name="connsiteY3" fmla="*/ 919298 h 4730471"/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2" fmla="*/ 1418826 w 1952713"/>
              <a:gd name="connsiteY2" fmla="*/ 638040 h 1032353"/>
              <a:gd name="connsiteX3" fmla="*/ 0 w 1952713"/>
              <a:gd name="connsiteY3" fmla="*/ 919302 h 1032353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2" fmla="*/ 1181760 w 1952713"/>
              <a:gd name="connsiteY2" fmla="*/ 803140 h 1046284"/>
              <a:gd name="connsiteX3" fmla="*/ 0 w 1952713"/>
              <a:gd name="connsiteY3" fmla="*/ 919302 h 1046284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2" fmla="*/ 1181760 w 1952713"/>
              <a:gd name="connsiteY2" fmla="*/ 803140 h 1124821"/>
              <a:gd name="connsiteX3" fmla="*/ 0 w 1952713"/>
              <a:gd name="connsiteY3" fmla="*/ 919302 h 1124821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2" fmla="*/ 1393427 w 1952713"/>
              <a:gd name="connsiteY2" fmla="*/ 549140 h 1078339"/>
              <a:gd name="connsiteX3" fmla="*/ 0 w 1952713"/>
              <a:gd name="connsiteY3" fmla="*/ 919302 h 1078339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2" fmla="*/ 1363793 w 1952713"/>
              <a:gd name="connsiteY2" fmla="*/ 527973 h 1075375"/>
              <a:gd name="connsiteX3" fmla="*/ 0 w 1952713"/>
              <a:gd name="connsiteY3" fmla="*/ 919302 h 1075375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2713" h="919302" stroke="0" extrusionOk="0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  <a:lnTo>
                  <a:pt x="0" y="919302"/>
                </a:lnTo>
                <a:close/>
              </a:path>
              <a:path w="1952713" h="919302" fill="none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</a:path>
            </a:pathLst>
          </a:cu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36" name="Straight Connector 35"/>
          <p:cNvCxnSpPr>
            <a:stCxn id="31" idx="6"/>
          </p:cNvCxnSpPr>
          <p:nvPr/>
        </p:nvCxnSpPr>
        <p:spPr>
          <a:xfrm>
            <a:off x="5400961" y="2883113"/>
            <a:ext cx="339009" cy="0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2524263" y="1543050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38" name="Oval 37"/>
          <p:cNvSpPr/>
          <p:nvPr/>
        </p:nvSpPr>
        <p:spPr>
          <a:xfrm>
            <a:off x="2524263" y="2471784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9" name="Oval 38"/>
          <p:cNvSpPr/>
          <p:nvPr/>
        </p:nvSpPr>
        <p:spPr>
          <a:xfrm>
            <a:off x="2524263" y="3444502"/>
            <a:ext cx="822656" cy="82265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0" name="Arc 11"/>
          <p:cNvSpPr/>
          <p:nvPr/>
        </p:nvSpPr>
        <p:spPr>
          <a:xfrm flipH="1">
            <a:off x="3404031" y="1923640"/>
            <a:ext cx="657495" cy="309537"/>
          </a:xfrm>
          <a:custGeom>
            <a:avLst/>
            <a:gdLst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2" fmla="*/ 2365236 w 4730471"/>
              <a:gd name="connsiteY2" fmla="*/ 2365236 h 4730471"/>
              <a:gd name="connsiteX3" fmla="*/ 493444 w 4730471"/>
              <a:gd name="connsiteY3" fmla="*/ 919298 h 4730471"/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2" fmla="*/ 1418826 w 1952713"/>
              <a:gd name="connsiteY2" fmla="*/ 638040 h 1032353"/>
              <a:gd name="connsiteX3" fmla="*/ 0 w 1952713"/>
              <a:gd name="connsiteY3" fmla="*/ 919302 h 1032353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2" fmla="*/ 1181760 w 1952713"/>
              <a:gd name="connsiteY2" fmla="*/ 803140 h 1046284"/>
              <a:gd name="connsiteX3" fmla="*/ 0 w 1952713"/>
              <a:gd name="connsiteY3" fmla="*/ 919302 h 1046284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2" fmla="*/ 1181760 w 1952713"/>
              <a:gd name="connsiteY2" fmla="*/ 803140 h 1124821"/>
              <a:gd name="connsiteX3" fmla="*/ 0 w 1952713"/>
              <a:gd name="connsiteY3" fmla="*/ 919302 h 1124821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2" fmla="*/ 1393427 w 1952713"/>
              <a:gd name="connsiteY2" fmla="*/ 549140 h 1078339"/>
              <a:gd name="connsiteX3" fmla="*/ 0 w 1952713"/>
              <a:gd name="connsiteY3" fmla="*/ 919302 h 1078339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2" fmla="*/ 1363793 w 1952713"/>
              <a:gd name="connsiteY2" fmla="*/ 527973 h 1075375"/>
              <a:gd name="connsiteX3" fmla="*/ 0 w 1952713"/>
              <a:gd name="connsiteY3" fmla="*/ 919302 h 1075375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2713" h="919302" stroke="0" extrusionOk="0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  <a:lnTo>
                  <a:pt x="0" y="919302"/>
                </a:lnTo>
                <a:close/>
              </a:path>
              <a:path w="1952713" h="919302" fill="none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</a:path>
            </a:pathLst>
          </a:cu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1" name="Arc 11"/>
          <p:cNvSpPr/>
          <p:nvPr/>
        </p:nvSpPr>
        <p:spPr>
          <a:xfrm flipH="1" flipV="1">
            <a:off x="3404031" y="3533047"/>
            <a:ext cx="657495" cy="309537"/>
          </a:xfrm>
          <a:custGeom>
            <a:avLst/>
            <a:gdLst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2" fmla="*/ 2365236 w 4730471"/>
              <a:gd name="connsiteY2" fmla="*/ 2365236 h 4730471"/>
              <a:gd name="connsiteX3" fmla="*/ 493444 w 4730471"/>
              <a:gd name="connsiteY3" fmla="*/ 919298 h 4730471"/>
              <a:gd name="connsiteX0" fmla="*/ 493444 w 4730471"/>
              <a:gd name="connsiteY0" fmla="*/ 919298 h 4730471"/>
              <a:gd name="connsiteX1" fmla="*/ 2446157 w 4730471"/>
              <a:gd name="connsiteY1" fmla="*/ 1384 h 4730471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2" fmla="*/ 1418826 w 1952713"/>
              <a:gd name="connsiteY2" fmla="*/ 638040 h 1032353"/>
              <a:gd name="connsiteX3" fmla="*/ 0 w 1952713"/>
              <a:gd name="connsiteY3" fmla="*/ 919302 h 1032353"/>
              <a:gd name="connsiteX0" fmla="*/ 0 w 1952713"/>
              <a:gd name="connsiteY0" fmla="*/ 919302 h 1032353"/>
              <a:gd name="connsiteX1" fmla="*/ 1952713 w 1952713"/>
              <a:gd name="connsiteY1" fmla="*/ 1388 h 1032353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2" fmla="*/ 1181760 w 1952713"/>
              <a:gd name="connsiteY2" fmla="*/ 803140 h 1046284"/>
              <a:gd name="connsiteX3" fmla="*/ 0 w 1952713"/>
              <a:gd name="connsiteY3" fmla="*/ 919302 h 1046284"/>
              <a:gd name="connsiteX0" fmla="*/ 0 w 1952713"/>
              <a:gd name="connsiteY0" fmla="*/ 919302 h 1046284"/>
              <a:gd name="connsiteX1" fmla="*/ 1952713 w 1952713"/>
              <a:gd name="connsiteY1" fmla="*/ 1388 h 1046284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2" fmla="*/ 1181760 w 1952713"/>
              <a:gd name="connsiteY2" fmla="*/ 803140 h 1124821"/>
              <a:gd name="connsiteX3" fmla="*/ 0 w 1952713"/>
              <a:gd name="connsiteY3" fmla="*/ 919302 h 1124821"/>
              <a:gd name="connsiteX0" fmla="*/ 0 w 1952713"/>
              <a:gd name="connsiteY0" fmla="*/ 919302 h 1124821"/>
              <a:gd name="connsiteX1" fmla="*/ 1952713 w 1952713"/>
              <a:gd name="connsiteY1" fmla="*/ 1388 h 1124821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2" fmla="*/ 1393427 w 1952713"/>
              <a:gd name="connsiteY2" fmla="*/ 549140 h 1078339"/>
              <a:gd name="connsiteX3" fmla="*/ 0 w 1952713"/>
              <a:gd name="connsiteY3" fmla="*/ 919302 h 1078339"/>
              <a:gd name="connsiteX0" fmla="*/ 0 w 1952713"/>
              <a:gd name="connsiteY0" fmla="*/ 919302 h 1078339"/>
              <a:gd name="connsiteX1" fmla="*/ 1952713 w 1952713"/>
              <a:gd name="connsiteY1" fmla="*/ 1388 h 1078339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2" fmla="*/ 1363793 w 1952713"/>
              <a:gd name="connsiteY2" fmla="*/ 527973 h 1075375"/>
              <a:gd name="connsiteX3" fmla="*/ 0 w 1952713"/>
              <a:gd name="connsiteY3" fmla="*/ 919302 h 1075375"/>
              <a:gd name="connsiteX0" fmla="*/ 0 w 1952713"/>
              <a:gd name="connsiteY0" fmla="*/ 919302 h 1075375"/>
              <a:gd name="connsiteX1" fmla="*/ 1952713 w 1952713"/>
              <a:gd name="connsiteY1" fmla="*/ 1388 h 1075375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  <a:gd name="connsiteX2" fmla="*/ 0 w 1952713"/>
              <a:gd name="connsiteY2" fmla="*/ 919302 h 919302"/>
              <a:gd name="connsiteX0" fmla="*/ 0 w 1952713"/>
              <a:gd name="connsiteY0" fmla="*/ 919302 h 919302"/>
              <a:gd name="connsiteX1" fmla="*/ 1952713 w 1952713"/>
              <a:gd name="connsiteY1" fmla="*/ 1388 h 919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52713" h="919302" stroke="0" extrusionOk="0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  <a:lnTo>
                  <a:pt x="0" y="919302"/>
                </a:lnTo>
                <a:close/>
              </a:path>
              <a:path w="1952713" h="919302" fill="none">
                <a:moveTo>
                  <a:pt x="0" y="919302"/>
                </a:moveTo>
                <a:cubicBezTo>
                  <a:pt x="465299" y="316964"/>
                  <a:pt x="1192032" y="-24652"/>
                  <a:pt x="1952713" y="1388"/>
                </a:cubicBezTo>
              </a:path>
            </a:pathLst>
          </a:cu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42" name="Straight Connector 41"/>
          <p:cNvCxnSpPr/>
          <p:nvPr/>
        </p:nvCxnSpPr>
        <p:spPr>
          <a:xfrm flipH="1">
            <a:off x="3404031" y="2883112"/>
            <a:ext cx="339009" cy="0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2"/>
          <p:cNvSpPr txBox="1">
            <a:spLocks/>
          </p:cNvSpPr>
          <p:nvPr/>
        </p:nvSpPr>
        <p:spPr>
          <a:xfrm>
            <a:off x="2568024" y="2017631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Mercado</a:t>
            </a:r>
          </a:p>
        </p:txBody>
      </p:sp>
      <p:sp>
        <p:nvSpPr>
          <p:cNvPr id="44" name="Title 2"/>
          <p:cNvSpPr txBox="1">
            <a:spLocks/>
          </p:cNvSpPr>
          <p:nvPr/>
        </p:nvSpPr>
        <p:spPr>
          <a:xfrm>
            <a:off x="2568024" y="2946366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Materiais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5" name="Title 2"/>
          <p:cNvSpPr txBox="1">
            <a:spLocks/>
          </p:cNvSpPr>
          <p:nvPr/>
        </p:nvSpPr>
        <p:spPr>
          <a:xfrm>
            <a:off x="2568024" y="3919083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Finança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6" name="Title 2"/>
          <p:cNvSpPr txBox="1">
            <a:spLocks/>
          </p:cNvSpPr>
          <p:nvPr/>
        </p:nvSpPr>
        <p:spPr>
          <a:xfrm>
            <a:off x="5840842" y="2017631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Habilidades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7" name="Title 2"/>
          <p:cNvSpPr txBox="1">
            <a:spLocks/>
          </p:cNvSpPr>
          <p:nvPr/>
        </p:nvSpPr>
        <p:spPr>
          <a:xfrm>
            <a:off x="5840842" y="2946366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Getnet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8" name="Title 2"/>
          <p:cNvSpPr txBox="1">
            <a:spLocks/>
          </p:cNvSpPr>
          <p:nvPr/>
        </p:nvSpPr>
        <p:spPr>
          <a:xfrm>
            <a:off x="5840842" y="3919083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Fundos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9" name="Freeform 51"/>
          <p:cNvSpPr>
            <a:spLocks noEditPoints="1"/>
          </p:cNvSpPr>
          <p:nvPr/>
        </p:nvSpPr>
        <p:spPr bwMode="auto">
          <a:xfrm>
            <a:off x="2823220" y="2662532"/>
            <a:ext cx="224743" cy="224744"/>
          </a:xfrm>
          <a:custGeom>
            <a:avLst/>
            <a:gdLst>
              <a:gd name="T0" fmla="*/ 340 w 353"/>
              <a:gd name="T1" fmla="*/ 155 h 353"/>
              <a:gd name="T2" fmla="*/ 312 w 353"/>
              <a:gd name="T3" fmla="*/ 140 h 353"/>
              <a:gd name="T4" fmla="*/ 340 w 353"/>
              <a:gd name="T5" fmla="*/ 126 h 353"/>
              <a:gd name="T6" fmla="*/ 340 w 353"/>
              <a:gd name="T7" fmla="*/ 83 h 353"/>
              <a:gd name="T8" fmla="*/ 188 w 353"/>
              <a:gd name="T9" fmla="*/ 3 h 353"/>
              <a:gd name="T10" fmla="*/ 176 w 353"/>
              <a:gd name="T11" fmla="*/ 0 h 353"/>
              <a:gd name="T12" fmla="*/ 165 w 353"/>
              <a:gd name="T13" fmla="*/ 3 h 353"/>
              <a:gd name="T14" fmla="*/ 13 w 353"/>
              <a:gd name="T15" fmla="*/ 83 h 353"/>
              <a:gd name="T16" fmla="*/ 13 w 353"/>
              <a:gd name="T17" fmla="*/ 126 h 353"/>
              <a:gd name="T18" fmla="*/ 41 w 353"/>
              <a:gd name="T19" fmla="*/ 140 h 353"/>
              <a:gd name="T20" fmla="*/ 13 w 353"/>
              <a:gd name="T21" fmla="*/ 155 h 353"/>
              <a:gd name="T22" fmla="*/ 13 w 353"/>
              <a:gd name="T23" fmla="*/ 198 h 353"/>
              <a:gd name="T24" fmla="*/ 41 w 353"/>
              <a:gd name="T25" fmla="*/ 213 h 353"/>
              <a:gd name="T26" fmla="*/ 13 w 353"/>
              <a:gd name="T27" fmla="*/ 228 h 353"/>
              <a:gd name="T28" fmla="*/ 13 w 353"/>
              <a:gd name="T29" fmla="*/ 270 h 353"/>
              <a:gd name="T30" fmla="*/ 165 w 353"/>
              <a:gd name="T31" fmla="*/ 350 h 353"/>
              <a:gd name="T32" fmla="*/ 176 w 353"/>
              <a:gd name="T33" fmla="*/ 353 h 353"/>
              <a:gd name="T34" fmla="*/ 188 w 353"/>
              <a:gd name="T35" fmla="*/ 350 h 353"/>
              <a:gd name="T36" fmla="*/ 340 w 353"/>
              <a:gd name="T37" fmla="*/ 270 h 353"/>
              <a:gd name="T38" fmla="*/ 340 w 353"/>
              <a:gd name="T39" fmla="*/ 228 h 353"/>
              <a:gd name="T40" fmla="*/ 312 w 353"/>
              <a:gd name="T41" fmla="*/ 213 h 353"/>
              <a:gd name="T42" fmla="*/ 340 w 353"/>
              <a:gd name="T43" fmla="*/ 198 h 353"/>
              <a:gd name="T44" fmla="*/ 20 w 353"/>
              <a:gd name="T45" fmla="*/ 111 h 353"/>
              <a:gd name="T46" fmla="*/ 16 w 353"/>
              <a:gd name="T47" fmla="*/ 104 h 353"/>
              <a:gd name="T48" fmla="*/ 20 w 353"/>
              <a:gd name="T49" fmla="*/ 97 h 353"/>
              <a:gd name="T50" fmla="*/ 173 w 353"/>
              <a:gd name="T51" fmla="*/ 17 h 353"/>
              <a:gd name="T52" fmla="*/ 180 w 353"/>
              <a:gd name="T53" fmla="*/ 17 h 353"/>
              <a:gd name="T54" fmla="*/ 333 w 353"/>
              <a:gd name="T55" fmla="*/ 97 h 353"/>
              <a:gd name="T56" fmla="*/ 337 w 353"/>
              <a:gd name="T57" fmla="*/ 104 h 353"/>
              <a:gd name="T58" fmla="*/ 333 w 353"/>
              <a:gd name="T59" fmla="*/ 111 h 353"/>
              <a:gd name="T60" fmla="*/ 180 w 353"/>
              <a:gd name="T61" fmla="*/ 192 h 353"/>
              <a:gd name="T62" fmla="*/ 173 w 353"/>
              <a:gd name="T63" fmla="*/ 192 h 353"/>
              <a:gd name="T64" fmla="*/ 20 w 353"/>
              <a:gd name="T65" fmla="*/ 111 h 353"/>
              <a:gd name="T66" fmla="*/ 333 w 353"/>
              <a:gd name="T67" fmla="*/ 242 h 353"/>
              <a:gd name="T68" fmla="*/ 333 w 353"/>
              <a:gd name="T69" fmla="*/ 256 h 353"/>
              <a:gd name="T70" fmla="*/ 180 w 353"/>
              <a:gd name="T71" fmla="*/ 336 h 353"/>
              <a:gd name="T72" fmla="*/ 176 w 353"/>
              <a:gd name="T73" fmla="*/ 337 h 353"/>
              <a:gd name="T74" fmla="*/ 173 w 353"/>
              <a:gd name="T75" fmla="*/ 336 h 353"/>
              <a:gd name="T76" fmla="*/ 20 w 353"/>
              <a:gd name="T77" fmla="*/ 256 h 353"/>
              <a:gd name="T78" fmla="*/ 20 w 353"/>
              <a:gd name="T79" fmla="*/ 242 h 353"/>
              <a:gd name="T80" fmla="*/ 58 w 353"/>
              <a:gd name="T81" fmla="*/ 222 h 353"/>
              <a:gd name="T82" fmla="*/ 165 w 353"/>
              <a:gd name="T83" fmla="*/ 278 h 353"/>
              <a:gd name="T84" fmla="*/ 188 w 353"/>
              <a:gd name="T85" fmla="*/ 278 h 353"/>
              <a:gd name="T86" fmla="*/ 295 w 353"/>
              <a:gd name="T87" fmla="*/ 222 h 353"/>
              <a:gd name="T88" fmla="*/ 333 w 353"/>
              <a:gd name="T89" fmla="*/ 184 h 353"/>
              <a:gd name="T90" fmla="*/ 180 w 353"/>
              <a:gd name="T91" fmla="*/ 264 h 353"/>
              <a:gd name="T92" fmla="*/ 176 w 353"/>
              <a:gd name="T93" fmla="*/ 265 h 353"/>
              <a:gd name="T94" fmla="*/ 173 w 353"/>
              <a:gd name="T95" fmla="*/ 264 h 353"/>
              <a:gd name="T96" fmla="*/ 20 w 353"/>
              <a:gd name="T97" fmla="*/ 184 h 353"/>
              <a:gd name="T98" fmla="*/ 20 w 353"/>
              <a:gd name="T99" fmla="*/ 170 h 353"/>
              <a:gd name="T100" fmla="*/ 58 w 353"/>
              <a:gd name="T101" fmla="*/ 150 h 353"/>
              <a:gd name="T102" fmla="*/ 165 w 353"/>
              <a:gd name="T103" fmla="*/ 206 h 353"/>
              <a:gd name="T104" fmla="*/ 188 w 353"/>
              <a:gd name="T105" fmla="*/ 206 h 353"/>
              <a:gd name="T106" fmla="*/ 295 w 353"/>
              <a:gd name="T107" fmla="*/ 150 h 353"/>
              <a:gd name="T108" fmla="*/ 333 w 353"/>
              <a:gd name="T109" fmla="*/ 170 h 353"/>
              <a:gd name="T110" fmla="*/ 333 w 353"/>
              <a:gd name="T111" fmla="*/ 18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3" h="353">
                <a:moveTo>
                  <a:pt x="353" y="177"/>
                </a:moveTo>
                <a:cubicBezTo>
                  <a:pt x="353" y="167"/>
                  <a:pt x="348" y="159"/>
                  <a:pt x="340" y="155"/>
                </a:cubicBezTo>
                <a:cubicBezTo>
                  <a:pt x="340" y="155"/>
                  <a:pt x="340" y="155"/>
                  <a:pt x="340" y="155"/>
                </a:cubicBezTo>
                <a:cubicBezTo>
                  <a:pt x="312" y="140"/>
                  <a:pt x="312" y="140"/>
                  <a:pt x="312" y="140"/>
                </a:cubicBezTo>
                <a:cubicBezTo>
                  <a:pt x="340" y="126"/>
                  <a:pt x="340" y="126"/>
                  <a:pt x="340" y="126"/>
                </a:cubicBezTo>
                <a:cubicBezTo>
                  <a:pt x="340" y="126"/>
                  <a:pt x="340" y="126"/>
                  <a:pt x="340" y="126"/>
                </a:cubicBezTo>
                <a:cubicBezTo>
                  <a:pt x="348" y="122"/>
                  <a:pt x="353" y="114"/>
                  <a:pt x="353" y="104"/>
                </a:cubicBezTo>
                <a:cubicBezTo>
                  <a:pt x="353" y="95"/>
                  <a:pt x="348" y="87"/>
                  <a:pt x="340" y="83"/>
                </a:cubicBezTo>
                <a:cubicBezTo>
                  <a:pt x="340" y="83"/>
                  <a:pt x="340" y="83"/>
                  <a:pt x="340" y="83"/>
                </a:cubicBezTo>
                <a:cubicBezTo>
                  <a:pt x="188" y="3"/>
                  <a:pt x="188" y="3"/>
                  <a:pt x="188" y="3"/>
                </a:cubicBezTo>
                <a:cubicBezTo>
                  <a:pt x="188" y="3"/>
                  <a:pt x="188" y="3"/>
                  <a:pt x="188" y="3"/>
                </a:cubicBezTo>
                <a:cubicBezTo>
                  <a:pt x="184" y="1"/>
                  <a:pt x="181" y="0"/>
                  <a:pt x="176" y="0"/>
                </a:cubicBezTo>
                <a:cubicBezTo>
                  <a:pt x="172" y="0"/>
                  <a:pt x="169" y="1"/>
                  <a:pt x="165" y="3"/>
                </a:cubicBezTo>
                <a:cubicBezTo>
                  <a:pt x="165" y="3"/>
                  <a:pt x="165" y="3"/>
                  <a:pt x="165" y="3"/>
                </a:cubicBezTo>
                <a:cubicBezTo>
                  <a:pt x="13" y="83"/>
                  <a:pt x="13" y="83"/>
                  <a:pt x="13" y="83"/>
                </a:cubicBezTo>
                <a:cubicBezTo>
                  <a:pt x="13" y="83"/>
                  <a:pt x="13" y="83"/>
                  <a:pt x="13" y="83"/>
                </a:cubicBezTo>
                <a:cubicBezTo>
                  <a:pt x="5" y="87"/>
                  <a:pt x="0" y="95"/>
                  <a:pt x="0" y="104"/>
                </a:cubicBezTo>
                <a:cubicBezTo>
                  <a:pt x="0" y="114"/>
                  <a:pt x="5" y="122"/>
                  <a:pt x="13" y="126"/>
                </a:cubicBezTo>
                <a:cubicBezTo>
                  <a:pt x="13" y="126"/>
                  <a:pt x="13" y="126"/>
                  <a:pt x="13" y="126"/>
                </a:cubicBezTo>
                <a:cubicBezTo>
                  <a:pt x="41" y="140"/>
                  <a:pt x="41" y="140"/>
                  <a:pt x="41" y="140"/>
                </a:cubicBezTo>
                <a:cubicBezTo>
                  <a:pt x="13" y="155"/>
                  <a:pt x="13" y="155"/>
                  <a:pt x="13" y="155"/>
                </a:cubicBezTo>
                <a:cubicBezTo>
                  <a:pt x="13" y="155"/>
                  <a:pt x="13" y="155"/>
                  <a:pt x="13" y="155"/>
                </a:cubicBezTo>
                <a:cubicBezTo>
                  <a:pt x="5" y="159"/>
                  <a:pt x="0" y="167"/>
                  <a:pt x="0" y="177"/>
                </a:cubicBezTo>
                <a:cubicBezTo>
                  <a:pt x="0" y="186"/>
                  <a:pt x="5" y="194"/>
                  <a:pt x="13" y="198"/>
                </a:cubicBezTo>
                <a:cubicBezTo>
                  <a:pt x="13" y="198"/>
                  <a:pt x="13" y="198"/>
                  <a:pt x="13" y="198"/>
                </a:cubicBezTo>
                <a:cubicBezTo>
                  <a:pt x="41" y="213"/>
                  <a:pt x="41" y="213"/>
                  <a:pt x="41" y="213"/>
                </a:cubicBezTo>
                <a:cubicBezTo>
                  <a:pt x="13" y="228"/>
                  <a:pt x="13" y="228"/>
                  <a:pt x="13" y="228"/>
                </a:cubicBezTo>
                <a:cubicBezTo>
                  <a:pt x="13" y="228"/>
                  <a:pt x="13" y="228"/>
                  <a:pt x="13" y="228"/>
                </a:cubicBezTo>
                <a:cubicBezTo>
                  <a:pt x="5" y="232"/>
                  <a:pt x="0" y="240"/>
                  <a:pt x="0" y="249"/>
                </a:cubicBezTo>
                <a:cubicBezTo>
                  <a:pt x="0" y="258"/>
                  <a:pt x="5" y="266"/>
                  <a:pt x="13" y="270"/>
                </a:cubicBezTo>
                <a:cubicBezTo>
                  <a:pt x="13" y="270"/>
                  <a:pt x="13" y="270"/>
                  <a:pt x="13" y="270"/>
                </a:cubicBezTo>
                <a:cubicBezTo>
                  <a:pt x="165" y="350"/>
                  <a:pt x="165" y="350"/>
                  <a:pt x="165" y="350"/>
                </a:cubicBezTo>
                <a:cubicBezTo>
                  <a:pt x="165" y="350"/>
                  <a:pt x="165" y="350"/>
                  <a:pt x="165" y="350"/>
                </a:cubicBezTo>
                <a:cubicBezTo>
                  <a:pt x="169" y="352"/>
                  <a:pt x="172" y="353"/>
                  <a:pt x="176" y="353"/>
                </a:cubicBezTo>
                <a:cubicBezTo>
                  <a:pt x="181" y="353"/>
                  <a:pt x="184" y="352"/>
                  <a:pt x="188" y="350"/>
                </a:cubicBezTo>
                <a:cubicBezTo>
                  <a:pt x="188" y="350"/>
                  <a:pt x="188" y="350"/>
                  <a:pt x="188" y="350"/>
                </a:cubicBezTo>
                <a:cubicBezTo>
                  <a:pt x="340" y="270"/>
                  <a:pt x="340" y="270"/>
                  <a:pt x="340" y="270"/>
                </a:cubicBezTo>
                <a:cubicBezTo>
                  <a:pt x="340" y="270"/>
                  <a:pt x="340" y="270"/>
                  <a:pt x="340" y="270"/>
                </a:cubicBezTo>
                <a:cubicBezTo>
                  <a:pt x="348" y="266"/>
                  <a:pt x="353" y="258"/>
                  <a:pt x="353" y="249"/>
                </a:cubicBezTo>
                <a:cubicBezTo>
                  <a:pt x="353" y="240"/>
                  <a:pt x="348" y="232"/>
                  <a:pt x="340" y="228"/>
                </a:cubicBezTo>
                <a:cubicBezTo>
                  <a:pt x="340" y="228"/>
                  <a:pt x="340" y="228"/>
                  <a:pt x="340" y="228"/>
                </a:cubicBezTo>
                <a:cubicBezTo>
                  <a:pt x="312" y="213"/>
                  <a:pt x="312" y="213"/>
                  <a:pt x="312" y="213"/>
                </a:cubicBezTo>
                <a:cubicBezTo>
                  <a:pt x="340" y="198"/>
                  <a:pt x="340" y="198"/>
                  <a:pt x="340" y="198"/>
                </a:cubicBezTo>
                <a:cubicBezTo>
                  <a:pt x="340" y="198"/>
                  <a:pt x="340" y="198"/>
                  <a:pt x="340" y="198"/>
                </a:cubicBezTo>
                <a:cubicBezTo>
                  <a:pt x="348" y="194"/>
                  <a:pt x="353" y="186"/>
                  <a:pt x="353" y="177"/>
                </a:cubicBezTo>
                <a:moveTo>
                  <a:pt x="20" y="111"/>
                </a:moveTo>
                <a:cubicBezTo>
                  <a:pt x="20" y="111"/>
                  <a:pt x="20" y="111"/>
                  <a:pt x="20" y="111"/>
                </a:cubicBezTo>
                <a:cubicBezTo>
                  <a:pt x="18" y="110"/>
                  <a:pt x="16" y="107"/>
                  <a:pt x="16" y="104"/>
                </a:cubicBezTo>
                <a:cubicBezTo>
                  <a:pt x="16" y="101"/>
                  <a:pt x="18" y="99"/>
                  <a:pt x="20" y="97"/>
                </a:cubicBezTo>
                <a:cubicBezTo>
                  <a:pt x="20" y="97"/>
                  <a:pt x="20" y="97"/>
                  <a:pt x="20" y="97"/>
                </a:cubicBezTo>
                <a:cubicBezTo>
                  <a:pt x="173" y="17"/>
                  <a:pt x="173" y="17"/>
                  <a:pt x="173" y="17"/>
                </a:cubicBezTo>
                <a:cubicBezTo>
                  <a:pt x="173" y="17"/>
                  <a:pt x="173" y="17"/>
                  <a:pt x="173" y="17"/>
                </a:cubicBezTo>
                <a:cubicBezTo>
                  <a:pt x="174" y="16"/>
                  <a:pt x="175" y="16"/>
                  <a:pt x="176" y="16"/>
                </a:cubicBezTo>
                <a:cubicBezTo>
                  <a:pt x="178" y="16"/>
                  <a:pt x="179" y="16"/>
                  <a:pt x="180" y="17"/>
                </a:cubicBezTo>
                <a:cubicBezTo>
                  <a:pt x="180" y="17"/>
                  <a:pt x="180" y="17"/>
                  <a:pt x="180" y="17"/>
                </a:cubicBezTo>
                <a:cubicBezTo>
                  <a:pt x="333" y="97"/>
                  <a:pt x="333" y="97"/>
                  <a:pt x="333" y="97"/>
                </a:cubicBezTo>
                <a:cubicBezTo>
                  <a:pt x="333" y="97"/>
                  <a:pt x="333" y="97"/>
                  <a:pt x="333" y="97"/>
                </a:cubicBezTo>
                <a:cubicBezTo>
                  <a:pt x="335" y="99"/>
                  <a:pt x="337" y="101"/>
                  <a:pt x="337" y="104"/>
                </a:cubicBezTo>
                <a:cubicBezTo>
                  <a:pt x="337" y="107"/>
                  <a:pt x="335" y="110"/>
                  <a:pt x="333" y="111"/>
                </a:cubicBezTo>
                <a:cubicBezTo>
                  <a:pt x="333" y="111"/>
                  <a:pt x="333" y="111"/>
                  <a:pt x="333" y="111"/>
                </a:cubicBezTo>
                <a:cubicBezTo>
                  <a:pt x="180" y="192"/>
                  <a:pt x="180" y="192"/>
                  <a:pt x="180" y="192"/>
                </a:cubicBezTo>
                <a:cubicBezTo>
                  <a:pt x="180" y="192"/>
                  <a:pt x="180" y="192"/>
                  <a:pt x="180" y="192"/>
                </a:cubicBezTo>
                <a:cubicBezTo>
                  <a:pt x="179" y="192"/>
                  <a:pt x="178" y="193"/>
                  <a:pt x="176" y="193"/>
                </a:cubicBezTo>
                <a:cubicBezTo>
                  <a:pt x="175" y="193"/>
                  <a:pt x="174" y="192"/>
                  <a:pt x="173" y="192"/>
                </a:cubicBezTo>
                <a:cubicBezTo>
                  <a:pt x="173" y="192"/>
                  <a:pt x="173" y="192"/>
                  <a:pt x="173" y="192"/>
                </a:cubicBezTo>
                <a:lnTo>
                  <a:pt x="20" y="111"/>
                </a:lnTo>
                <a:close/>
                <a:moveTo>
                  <a:pt x="333" y="242"/>
                </a:moveTo>
                <a:cubicBezTo>
                  <a:pt x="333" y="242"/>
                  <a:pt x="333" y="242"/>
                  <a:pt x="333" y="242"/>
                </a:cubicBezTo>
                <a:cubicBezTo>
                  <a:pt x="335" y="243"/>
                  <a:pt x="337" y="246"/>
                  <a:pt x="337" y="249"/>
                </a:cubicBezTo>
                <a:cubicBezTo>
                  <a:pt x="337" y="252"/>
                  <a:pt x="335" y="255"/>
                  <a:pt x="333" y="256"/>
                </a:cubicBezTo>
                <a:cubicBezTo>
                  <a:pt x="333" y="256"/>
                  <a:pt x="333" y="256"/>
                  <a:pt x="333" y="256"/>
                </a:cubicBezTo>
                <a:cubicBezTo>
                  <a:pt x="180" y="336"/>
                  <a:pt x="180" y="336"/>
                  <a:pt x="180" y="336"/>
                </a:cubicBezTo>
                <a:cubicBezTo>
                  <a:pt x="180" y="336"/>
                  <a:pt x="180" y="336"/>
                  <a:pt x="180" y="336"/>
                </a:cubicBezTo>
                <a:cubicBezTo>
                  <a:pt x="179" y="337"/>
                  <a:pt x="178" y="337"/>
                  <a:pt x="176" y="337"/>
                </a:cubicBezTo>
                <a:cubicBezTo>
                  <a:pt x="175" y="337"/>
                  <a:pt x="174" y="337"/>
                  <a:pt x="173" y="336"/>
                </a:cubicBezTo>
                <a:cubicBezTo>
                  <a:pt x="173" y="336"/>
                  <a:pt x="173" y="336"/>
                  <a:pt x="173" y="336"/>
                </a:cubicBezTo>
                <a:cubicBezTo>
                  <a:pt x="20" y="256"/>
                  <a:pt x="20" y="256"/>
                  <a:pt x="20" y="256"/>
                </a:cubicBezTo>
                <a:cubicBezTo>
                  <a:pt x="20" y="256"/>
                  <a:pt x="20" y="256"/>
                  <a:pt x="20" y="256"/>
                </a:cubicBezTo>
                <a:cubicBezTo>
                  <a:pt x="18" y="255"/>
                  <a:pt x="16" y="252"/>
                  <a:pt x="16" y="249"/>
                </a:cubicBezTo>
                <a:cubicBezTo>
                  <a:pt x="16" y="246"/>
                  <a:pt x="18" y="243"/>
                  <a:pt x="20" y="242"/>
                </a:cubicBezTo>
                <a:cubicBezTo>
                  <a:pt x="20" y="242"/>
                  <a:pt x="20" y="242"/>
                  <a:pt x="20" y="242"/>
                </a:cubicBezTo>
                <a:cubicBezTo>
                  <a:pt x="58" y="222"/>
                  <a:pt x="58" y="222"/>
                  <a:pt x="58" y="222"/>
                </a:cubicBezTo>
                <a:cubicBezTo>
                  <a:pt x="165" y="278"/>
                  <a:pt x="165" y="278"/>
                  <a:pt x="165" y="278"/>
                </a:cubicBezTo>
                <a:cubicBezTo>
                  <a:pt x="165" y="278"/>
                  <a:pt x="165" y="278"/>
                  <a:pt x="165" y="278"/>
                </a:cubicBezTo>
                <a:cubicBezTo>
                  <a:pt x="169" y="280"/>
                  <a:pt x="172" y="281"/>
                  <a:pt x="176" y="281"/>
                </a:cubicBezTo>
                <a:cubicBezTo>
                  <a:pt x="181" y="281"/>
                  <a:pt x="184" y="280"/>
                  <a:pt x="188" y="278"/>
                </a:cubicBezTo>
                <a:cubicBezTo>
                  <a:pt x="188" y="278"/>
                  <a:pt x="188" y="278"/>
                  <a:pt x="188" y="278"/>
                </a:cubicBezTo>
                <a:cubicBezTo>
                  <a:pt x="295" y="222"/>
                  <a:pt x="295" y="222"/>
                  <a:pt x="295" y="222"/>
                </a:cubicBezTo>
                <a:lnTo>
                  <a:pt x="333" y="242"/>
                </a:lnTo>
                <a:close/>
                <a:moveTo>
                  <a:pt x="333" y="184"/>
                </a:moveTo>
                <a:cubicBezTo>
                  <a:pt x="333" y="184"/>
                  <a:pt x="333" y="184"/>
                  <a:pt x="333" y="184"/>
                </a:cubicBezTo>
                <a:cubicBezTo>
                  <a:pt x="180" y="264"/>
                  <a:pt x="180" y="264"/>
                  <a:pt x="180" y="264"/>
                </a:cubicBezTo>
                <a:cubicBezTo>
                  <a:pt x="180" y="264"/>
                  <a:pt x="180" y="264"/>
                  <a:pt x="180" y="264"/>
                </a:cubicBezTo>
                <a:cubicBezTo>
                  <a:pt x="179" y="265"/>
                  <a:pt x="178" y="265"/>
                  <a:pt x="176" y="265"/>
                </a:cubicBezTo>
                <a:cubicBezTo>
                  <a:pt x="175" y="265"/>
                  <a:pt x="174" y="265"/>
                  <a:pt x="173" y="264"/>
                </a:cubicBezTo>
                <a:cubicBezTo>
                  <a:pt x="173" y="264"/>
                  <a:pt x="173" y="264"/>
                  <a:pt x="173" y="264"/>
                </a:cubicBezTo>
                <a:cubicBezTo>
                  <a:pt x="20" y="184"/>
                  <a:pt x="20" y="184"/>
                  <a:pt x="20" y="184"/>
                </a:cubicBezTo>
                <a:cubicBezTo>
                  <a:pt x="20" y="184"/>
                  <a:pt x="20" y="184"/>
                  <a:pt x="20" y="184"/>
                </a:cubicBezTo>
                <a:cubicBezTo>
                  <a:pt x="18" y="182"/>
                  <a:pt x="16" y="180"/>
                  <a:pt x="16" y="177"/>
                </a:cubicBezTo>
                <a:cubicBezTo>
                  <a:pt x="16" y="174"/>
                  <a:pt x="18" y="171"/>
                  <a:pt x="20" y="170"/>
                </a:cubicBezTo>
                <a:cubicBezTo>
                  <a:pt x="20" y="170"/>
                  <a:pt x="20" y="170"/>
                  <a:pt x="20" y="170"/>
                </a:cubicBezTo>
                <a:cubicBezTo>
                  <a:pt x="58" y="150"/>
                  <a:pt x="58" y="150"/>
                  <a:pt x="58" y="150"/>
                </a:cubicBezTo>
                <a:cubicBezTo>
                  <a:pt x="165" y="206"/>
                  <a:pt x="165" y="206"/>
                  <a:pt x="165" y="206"/>
                </a:cubicBezTo>
                <a:cubicBezTo>
                  <a:pt x="165" y="206"/>
                  <a:pt x="165" y="206"/>
                  <a:pt x="165" y="206"/>
                </a:cubicBezTo>
                <a:cubicBezTo>
                  <a:pt x="169" y="208"/>
                  <a:pt x="172" y="209"/>
                  <a:pt x="176" y="209"/>
                </a:cubicBezTo>
                <a:cubicBezTo>
                  <a:pt x="181" y="209"/>
                  <a:pt x="184" y="208"/>
                  <a:pt x="188" y="206"/>
                </a:cubicBezTo>
                <a:cubicBezTo>
                  <a:pt x="188" y="206"/>
                  <a:pt x="188" y="206"/>
                  <a:pt x="188" y="206"/>
                </a:cubicBezTo>
                <a:cubicBezTo>
                  <a:pt x="295" y="150"/>
                  <a:pt x="295" y="150"/>
                  <a:pt x="295" y="150"/>
                </a:cubicBezTo>
                <a:cubicBezTo>
                  <a:pt x="333" y="170"/>
                  <a:pt x="333" y="170"/>
                  <a:pt x="333" y="170"/>
                </a:cubicBezTo>
                <a:cubicBezTo>
                  <a:pt x="333" y="170"/>
                  <a:pt x="333" y="170"/>
                  <a:pt x="333" y="170"/>
                </a:cubicBezTo>
                <a:cubicBezTo>
                  <a:pt x="335" y="171"/>
                  <a:pt x="337" y="174"/>
                  <a:pt x="337" y="177"/>
                </a:cubicBezTo>
                <a:cubicBezTo>
                  <a:pt x="337" y="180"/>
                  <a:pt x="335" y="182"/>
                  <a:pt x="333" y="18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0" name="Freeform 16"/>
          <p:cNvSpPr>
            <a:spLocks noEditPoints="1"/>
          </p:cNvSpPr>
          <p:nvPr/>
        </p:nvSpPr>
        <p:spPr bwMode="auto">
          <a:xfrm>
            <a:off x="2823628" y="1732004"/>
            <a:ext cx="223926" cy="224744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1" name="Freeform 43"/>
          <p:cNvSpPr>
            <a:spLocks noEditPoints="1"/>
          </p:cNvSpPr>
          <p:nvPr/>
        </p:nvSpPr>
        <p:spPr bwMode="auto">
          <a:xfrm>
            <a:off x="6080085" y="3699501"/>
            <a:ext cx="256649" cy="140503"/>
          </a:xfrm>
          <a:custGeom>
            <a:avLst/>
            <a:gdLst>
              <a:gd name="T0" fmla="*/ 72 w 353"/>
              <a:gd name="T1" fmla="*/ 32 h 193"/>
              <a:gd name="T2" fmla="*/ 72 w 353"/>
              <a:gd name="T3" fmla="*/ 48 h 193"/>
              <a:gd name="T4" fmla="*/ 96 w 353"/>
              <a:gd name="T5" fmla="*/ 40 h 193"/>
              <a:gd name="T6" fmla="*/ 176 w 353"/>
              <a:gd name="T7" fmla="*/ 32 h 193"/>
              <a:gd name="T8" fmla="*/ 176 w 353"/>
              <a:gd name="T9" fmla="*/ 161 h 193"/>
              <a:gd name="T10" fmla="*/ 176 w 353"/>
              <a:gd name="T11" fmla="*/ 32 h 193"/>
              <a:gd name="T12" fmla="*/ 197 w 353"/>
              <a:gd name="T13" fmla="*/ 131 h 193"/>
              <a:gd name="T14" fmla="*/ 179 w 353"/>
              <a:gd name="T15" fmla="*/ 137 h 193"/>
              <a:gd name="T16" fmla="*/ 173 w 353"/>
              <a:gd name="T17" fmla="*/ 145 h 193"/>
              <a:gd name="T18" fmla="*/ 163 w 353"/>
              <a:gd name="T19" fmla="*/ 135 h 193"/>
              <a:gd name="T20" fmla="*/ 150 w 353"/>
              <a:gd name="T21" fmla="*/ 122 h 193"/>
              <a:gd name="T22" fmla="*/ 160 w 353"/>
              <a:gd name="T23" fmla="*/ 112 h 193"/>
              <a:gd name="T24" fmla="*/ 173 w 353"/>
              <a:gd name="T25" fmla="*/ 127 h 193"/>
              <a:gd name="T26" fmla="*/ 165 w 353"/>
              <a:gd name="T27" fmla="*/ 98 h 193"/>
              <a:gd name="T28" fmla="*/ 152 w 353"/>
              <a:gd name="T29" fmla="*/ 87 h 193"/>
              <a:gd name="T30" fmla="*/ 151 w 353"/>
              <a:gd name="T31" fmla="*/ 68 h 193"/>
              <a:gd name="T32" fmla="*/ 165 w 353"/>
              <a:gd name="T33" fmla="*/ 57 h 193"/>
              <a:gd name="T34" fmla="*/ 173 w 353"/>
              <a:gd name="T35" fmla="*/ 48 h 193"/>
              <a:gd name="T36" fmla="*/ 179 w 353"/>
              <a:gd name="T37" fmla="*/ 55 h 193"/>
              <a:gd name="T38" fmla="*/ 195 w 353"/>
              <a:gd name="T39" fmla="*/ 61 h 193"/>
              <a:gd name="T40" fmla="*/ 202 w 353"/>
              <a:gd name="T41" fmla="*/ 77 h 193"/>
              <a:gd name="T42" fmla="*/ 187 w 353"/>
              <a:gd name="T43" fmla="*/ 68 h 193"/>
              <a:gd name="T44" fmla="*/ 179 w 353"/>
              <a:gd name="T45" fmla="*/ 88 h 193"/>
              <a:gd name="T46" fmla="*/ 196 w 353"/>
              <a:gd name="T47" fmla="*/ 96 h 193"/>
              <a:gd name="T48" fmla="*/ 204 w 353"/>
              <a:gd name="T49" fmla="*/ 113 h 193"/>
              <a:gd name="T50" fmla="*/ 337 w 353"/>
              <a:gd name="T51" fmla="*/ 0 h 193"/>
              <a:gd name="T52" fmla="*/ 0 w 353"/>
              <a:gd name="T53" fmla="*/ 16 h 193"/>
              <a:gd name="T54" fmla="*/ 16 w 353"/>
              <a:gd name="T55" fmla="*/ 193 h 193"/>
              <a:gd name="T56" fmla="*/ 353 w 353"/>
              <a:gd name="T57" fmla="*/ 177 h 193"/>
              <a:gd name="T58" fmla="*/ 337 w 353"/>
              <a:gd name="T59" fmla="*/ 0 h 193"/>
              <a:gd name="T60" fmla="*/ 32 w 353"/>
              <a:gd name="T61" fmla="*/ 24 h 193"/>
              <a:gd name="T62" fmla="*/ 16 w 353"/>
              <a:gd name="T63" fmla="*/ 24 h 193"/>
              <a:gd name="T64" fmla="*/ 24 w 353"/>
              <a:gd name="T65" fmla="*/ 177 h 193"/>
              <a:gd name="T66" fmla="*/ 24 w 353"/>
              <a:gd name="T67" fmla="*/ 161 h 193"/>
              <a:gd name="T68" fmla="*/ 24 w 353"/>
              <a:gd name="T69" fmla="*/ 177 h 193"/>
              <a:gd name="T70" fmla="*/ 321 w 353"/>
              <a:gd name="T71" fmla="*/ 169 h 193"/>
              <a:gd name="T72" fmla="*/ 337 w 353"/>
              <a:gd name="T73" fmla="*/ 169 h 193"/>
              <a:gd name="T74" fmla="*/ 337 w 353"/>
              <a:gd name="T75" fmla="*/ 146 h 193"/>
              <a:gd name="T76" fmla="*/ 305 w 353"/>
              <a:gd name="T77" fmla="*/ 169 h 193"/>
              <a:gd name="T78" fmla="*/ 46 w 353"/>
              <a:gd name="T79" fmla="*/ 177 h 193"/>
              <a:gd name="T80" fmla="*/ 24 w 353"/>
              <a:gd name="T81" fmla="*/ 145 h 193"/>
              <a:gd name="T82" fmla="*/ 16 w 353"/>
              <a:gd name="T83" fmla="*/ 47 h 193"/>
              <a:gd name="T84" fmla="*/ 48 w 353"/>
              <a:gd name="T85" fmla="*/ 24 h 193"/>
              <a:gd name="T86" fmla="*/ 306 w 353"/>
              <a:gd name="T87" fmla="*/ 16 h 193"/>
              <a:gd name="T88" fmla="*/ 329 w 353"/>
              <a:gd name="T89" fmla="*/ 48 h 193"/>
              <a:gd name="T90" fmla="*/ 337 w 353"/>
              <a:gd name="T91" fmla="*/ 146 h 193"/>
              <a:gd name="T92" fmla="*/ 321 w 353"/>
              <a:gd name="T93" fmla="*/ 24 h 193"/>
              <a:gd name="T94" fmla="*/ 337 w 353"/>
              <a:gd name="T95" fmla="*/ 24 h 193"/>
              <a:gd name="T96" fmla="*/ 162 w 353"/>
              <a:gd name="T97" fmla="*/ 76 h 193"/>
              <a:gd name="T98" fmla="*/ 166 w 353"/>
              <a:gd name="T99" fmla="*/ 84 h 193"/>
              <a:gd name="T100" fmla="*/ 173 w 353"/>
              <a:gd name="T101" fmla="*/ 87 h 193"/>
              <a:gd name="T102" fmla="*/ 165 w 353"/>
              <a:gd name="T103" fmla="*/ 68 h 193"/>
              <a:gd name="T104" fmla="*/ 281 w 353"/>
              <a:gd name="T105" fmla="*/ 145 h 193"/>
              <a:gd name="T106" fmla="*/ 256 w 353"/>
              <a:gd name="T107" fmla="*/ 153 h 193"/>
              <a:gd name="T108" fmla="*/ 281 w 353"/>
              <a:gd name="T109" fmla="*/ 161 h 193"/>
              <a:gd name="T110" fmla="*/ 281 w 353"/>
              <a:gd name="T111" fmla="*/ 145 h 193"/>
              <a:gd name="T112" fmla="*/ 183 w 353"/>
              <a:gd name="T113" fmla="*/ 103 h 193"/>
              <a:gd name="T114" fmla="*/ 179 w 353"/>
              <a:gd name="T115" fmla="*/ 127 h 193"/>
              <a:gd name="T116" fmla="*/ 192 w 353"/>
              <a:gd name="T117" fmla="*/ 114 h 193"/>
              <a:gd name="T118" fmla="*/ 188 w 353"/>
              <a:gd name="T119" fmla="*/ 106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53" h="193">
                <a:moveTo>
                  <a:pt x="88" y="32"/>
                </a:moveTo>
                <a:cubicBezTo>
                  <a:pt x="72" y="32"/>
                  <a:pt x="72" y="32"/>
                  <a:pt x="72" y="32"/>
                </a:cubicBezTo>
                <a:cubicBezTo>
                  <a:pt x="67" y="32"/>
                  <a:pt x="64" y="36"/>
                  <a:pt x="64" y="40"/>
                </a:cubicBezTo>
                <a:cubicBezTo>
                  <a:pt x="64" y="45"/>
                  <a:pt x="67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92" y="48"/>
                  <a:pt x="96" y="45"/>
                  <a:pt x="96" y="40"/>
                </a:cubicBezTo>
                <a:cubicBezTo>
                  <a:pt x="96" y="36"/>
                  <a:pt x="92" y="32"/>
                  <a:pt x="88" y="32"/>
                </a:cubicBezTo>
                <a:moveTo>
                  <a:pt x="176" y="32"/>
                </a:moveTo>
                <a:cubicBezTo>
                  <a:pt x="141" y="32"/>
                  <a:pt x="112" y="61"/>
                  <a:pt x="112" y="96"/>
                </a:cubicBezTo>
                <a:cubicBezTo>
                  <a:pt x="112" y="132"/>
                  <a:pt x="141" y="161"/>
                  <a:pt x="176" y="161"/>
                </a:cubicBezTo>
                <a:cubicBezTo>
                  <a:pt x="212" y="161"/>
                  <a:pt x="240" y="132"/>
                  <a:pt x="240" y="96"/>
                </a:cubicBezTo>
                <a:cubicBezTo>
                  <a:pt x="240" y="61"/>
                  <a:pt x="212" y="32"/>
                  <a:pt x="176" y="32"/>
                </a:cubicBezTo>
                <a:moveTo>
                  <a:pt x="202" y="123"/>
                </a:moveTo>
                <a:cubicBezTo>
                  <a:pt x="201" y="126"/>
                  <a:pt x="199" y="129"/>
                  <a:pt x="197" y="131"/>
                </a:cubicBezTo>
                <a:cubicBezTo>
                  <a:pt x="194" y="133"/>
                  <a:pt x="192" y="134"/>
                  <a:pt x="189" y="135"/>
                </a:cubicBezTo>
                <a:cubicBezTo>
                  <a:pt x="185" y="136"/>
                  <a:pt x="183" y="137"/>
                  <a:pt x="179" y="137"/>
                </a:cubicBezTo>
                <a:cubicBezTo>
                  <a:pt x="179" y="145"/>
                  <a:pt x="179" y="145"/>
                  <a:pt x="179" y="145"/>
                </a:cubicBezTo>
                <a:cubicBezTo>
                  <a:pt x="173" y="145"/>
                  <a:pt x="173" y="145"/>
                  <a:pt x="173" y="145"/>
                </a:cubicBezTo>
                <a:cubicBezTo>
                  <a:pt x="173" y="137"/>
                  <a:pt x="173" y="137"/>
                  <a:pt x="173" y="137"/>
                </a:cubicBezTo>
                <a:cubicBezTo>
                  <a:pt x="169" y="137"/>
                  <a:pt x="166" y="136"/>
                  <a:pt x="163" y="135"/>
                </a:cubicBezTo>
                <a:cubicBezTo>
                  <a:pt x="160" y="134"/>
                  <a:pt x="157" y="132"/>
                  <a:pt x="155" y="130"/>
                </a:cubicBezTo>
                <a:cubicBezTo>
                  <a:pt x="153" y="128"/>
                  <a:pt x="151" y="125"/>
                  <a:pt x="150" y="122"/>
                </a:cubicBezTo>
                <a:cubicBezTo>
                  <a:pt x="148" y="119"/>
                  <a:pt x="148" y="116"/>
                  <a:pt x="148" y="112"/>
                </a:cubicBezTo>
                <a:cubicBezTo>
                  <a:pt x="160" y="112"/>
                  <a:pt x="160" y="112"/>
                  <a:pt x="160" y="112"/>
                </a:cubicBezTo>
                <a:cubicBezTo>
                  <a:pt x="160" y="116"/>
                  <a:pt x="161" y="120"/>
                  <a:pt x="163" y="123"/>
                </a:cubicBezTo>
                <a:cubicBezTo>
                  <a:pt x="165" y="126"/>
                  <a:pt x="168" y="127"/>
                  <a:pt x="173" y="127"/>
                </a:cubicBezTo>
                <a:cubicBezTo>
                  <a:pt x="173" y="101"/>
                  <a:pt x="173" y="101"/>
                  <a:pt x="173" y="101"/>
                </a:cubicBezTo>
                <a:cubicBezTo>
                  <a:pt x="170" y="100"/>
                  <a:pt x="168" y="99"/>
                  <a:pt x="165" y="98"/>
                </a:cubicBezTo>
                <a:cubicBezTo>
                  <a:pt x="162" y="97"/>
                  <a:pt x="160" y="95"/>
                  <a:pt x="157" y="94"/>
                </a:cubicBezTo>
                <a:cubicBezTo>
                  <a:pt x="155" y="92"/>
                  <a:pt x="153" y="90"/>
                  <a:pt x="152" y="87"/>
                </a:cubicBezTo>
                <a:cubicBezTo>
                  <a:pt x="150" y="84"/>
                  <a:pt x="149" y="81"/>
                  <a:pt x="149" y="77"/>
                </a:cubicBezTo>
                <a:cubicBezTo>
                  <a:pt x="149" y="73"/>
                  <a:pt x="150" y="70"/>
                  <a:pt x="151" y="68"/>
                </a:cubicBezTo>
                <a:cubicBezTo>
                  <a:pt x="153" y="65"/>
                  <a:pt x="155" y="63"/>
                  <a:pt x="157" y="61"/>
                </a:cubicBezTo>
                <a:cubicBezTo>
                  <a:pt x="159" y="59"/>
                  <a:pt x="162" y="58"/>
                  <a:pt x="165" y="57"/>
                </a:cubicBezTo>
                <a:cubicBezTo>
                  <a:pt x="168" y="56"/>
                  <a:pt x="170" y="55"/>
                  <a:pt x="173" y="55"/>
                </a:cubicBezTo>
                <a:cubicBezTo>
                  <a:pt x="173" y="48"/>
                  <a:pt x="173" y="48"/>
                  <a:pt x="173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79" y="55"/>
                  <a:pt x="179" y="55"/>
                  <a:pt x="179" y="55"/>
                </a:cubicBezTo>
                <a:cubicBezTo>
                  <a:pt x="183" y="55"/>
                  <a:pt x="185" y="56"/>
                  <a:pt x="188" y="57"/>
                </a:cubicBezTo>
                <a:cubicBezTo>
                  <a:pt x="191" y="58"/>
                  <a:pt x="193" y="59"/>
                  <a:pt x="195" y="61"/>
                </a:cubicBezTo>
                <a:cubicBezTo>
                  <a:pt x="197" y="62"/>
                  <a:pt x="199" y="65"/>
                  <a:pt x="200" y="67"/>
                </a:cubicBezTo>
                <a:cubicBezTo>
                  <a:pt x="202" y="70"/>
                  <a:pt x="202" y="73"/>
                  <a:pt x="202" y="77"/>
                </a:cubicBezTo>
                <a:cubicBezTo>
                  <a:pt x="190" y="77"/>
                  <a:pt x="190" y="77"/>
                  <a:pt x="190" y="77"/>
                </a:cubicBezTo>
                <a:cubicBezTo>
                  <a:pt x="190" y="73"/>
                  <a:pt x="189" y="70"/>
                  <a:pt x="187" y="68"/>
                </a:cubicBezTo>
                <a:cubicBezTo>
                  <a:pt x="185" y="66"/>
                  <a:pt x="183" y="65"/>
                  <a:pt x="179" y="65"/>
                </a:cubicBezTo>
                <a:cubicBezTo>
                  <a:pt x="179" y="88"/>
                  <a:pt x="179" y="88"/>
                  <a:pt x="179" y="88"/>
                </a:cubicBezTo>
                <a:cubicBezTo>
                  <a:pt x="183" y="89"/>
                  <a:pt x="185" y="90"/>
                  <a:pt x="188" y="91"/>
                </a:cubicBezTo>
                <a:cubicBezTo>
                  <a:pt x="191" y="93"/>
                  <a:pt x="194" y="94"/>
                  <a:pt x="196" y="96"/>
                </a:cubicBezTo>
                <a:cubicBezTo>
                  <a:pt x="199" y="98"/>
                  <a:pt x="200" y="100"/>
                  <a:pt x="202" y="103"/>
                </a:cubicBezTo>
                <a:cubicBezTo>
                  <a:pt x="203" y="105"/>
                  <a:pt x="204" y="109"/>
                  <a:pt x="204" y="113"/>
                </a:cubicBezTo>
                <a:cubicBezTo>
                  <a:pt x="204" y="117"/>
                  <a:pt x="203" y="120"/>
                  <a:pt x="202" y="123"/>
                </a:cubicBezTo>
                <a:moveTo>
                  <a:pt x="337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186"/>
                  <a:pt x="7" y="193"/>
                  <a:pt x="16" y="193"/>
                </a:cubicBezTo>
                <a:cubicBezTo>
                  <a:pt x="337" y="193"/>
                  <a:pt x="337" y="193"/>
                  <a:pt x="337" y="193"/>
                </a:cubicBezTo>
                <a:cubicBezTo>
                  <a:pt x="346" y="193"/>
                  <a:pt x="353" y="186"/>
                  <a:pt x="353" y="177"/>
                </a:cubicBezTo>
                <a:cubicBezTo>
                  <a:pt x="353" y="16"/>
                  <a:pt x="353" y="16"/>
                  <a:pt x="353" y="16"/>
                </a:cubicBezTo>
                <a:cubicBezTo>
                  <a:pt x="353" y="7"/>
                  <a:pt x="346" y="0"/>
                  <a:pt x="337" y="0"/>
                </a:cubicBezTo>
                <a:moveTo>
                  <a:pt x="24" y="16"/>
                </a:moveTo>
                <a:cubicBezTo>
                  <a:pt x="28" y="16"/>
                  <a:pt x="32" y="20"/>
                  <a:pt x="32" y="24"/>
                </a:cubicBezTo>
                <a:cubicBezTo>
                  <a:pt x="32" y="29"/>
                  <a:pt x="28" y="32"/>
                  <a:pt x="24" y="32"/>
                </a:cubicBezTo>
                <a:cubicBezTo>
                  <a:pt x="19" y="32"/>
                  <a:pt x="16" y="29"/>
                  <a:pt x="16" y="24"/>
                </a:cubicBezTo>
                <a:cubicBezTo>
                  <a:pt x="16" y="20"/>
                  <a:pt x="19" y="16"/>
                  <a:pt x="24" y="16"/>
                </a:cubicBezTo>
                <a:moveTo>
                  <a:pt x="24" y="177"/>
                </a:moveTo>
                <a:cubicBezTo>
                  <a:pt x="19" y="177"/>
                  <a:pt x="16" y="173"/>
                  <a:pt x="16" y="169"/>
                </a:cubicBezTo>
                <a:cubicBezTo>
                  <a:pt x="16" y="164"/>
                  <a:pt x="19" y="161"/>
                  <a:pt x="24" y="161"/>
                </a:cubicBezTo>
                <a:cubicBezTo>
                  <a:pt x="28" y="161"/>
                  <a:pt x="32" y="164"/>
                  <a:pt x="32" y="169"/>
                </a:cubicBezTo>
                <a:cubicBezTo>
                  <a:pt x="32" y="173"/>
                  <a:pt x="28" y="177"/>
                  <a:pt x="24" y="177"/>
                </a:cubicBezTo>
                <a:moveTo>
                  <a:pt x="329" y="177"/>
                </a:moveTo>
                <a:cubicBezTo>
                  <a:pt x="324" y="177"/>
                  <a:pt x="321" y="173"/>
                  <a:pt x="321" y="169"/>
                </a:cubicBezTo>
                <a:cubicBezTo>
                  <a:pt x="321" y="164"/>
                  <a:pt x="324" y="161"/>
                  <a:pt x="329" y="161"/>
                </a:cubicBezTo>
                <a:cubicBezTo>
                  <a:pt x="333" y="161"/>
                  <a:pt x="337" y="164"/>
                  <a:pt x="337" y="169"/>
                </a:cubicBezTo>
                <a:cubicBezTo>
                  <a:pt x="337" y="173"/>
                  <a:pt x="333" y="177"/>
                  <a:pt x="329" y="177"/>
                </a:cubicBezTo>
                <a:moveTo>
                  <a:pt x="337" y="146"/>
                </a:moveTo>
                <a:cubicBezTo>
                  <a:pt x="334" y="145"/>
                  <a:pt x="332" y="145"/>
                  <a:pt x="329" y="145"/>
                </a:cubicBezTo>
                <a:cubicBezTo>
                  <a:pt x="315" y="145"/>
                  <a:pt x="305" y="155"/>
                  <a:pt x="305" y="169"/>
                </a:cubicBezTo>
                <a:cubicBezTo>
                  <a:pt x="305" y="171"/>
                  <a:pt x="305" y="174"/>
                  <a:pt x="306" y="177"/>
                </a:cubicBezTo>
                <a:cubicBezTo>
                  <a:pt x="46" y="177"/>
                  <a:pt x="46" y="177"/>
                  <a:pt x="46" y="177"/>
                </a:cubicBezTo>
                <a:cubicBezTo>
                  <a:pt x="47" y="174"/>
                  <a:pt x="48" y="171"/>
                  <a:pt x="48" y="169"/>
                </a:cubicBezTo>
                <a:cubicBezTo>
                  <a:pt x="48" y="155"/>
                  <a:pt x="37" y="145"/>
                  <a:pt x="24" y="145"/>
                </a:cubicBezTo>
                <a:cubicBezTo>
                  <a:pt x="21" y="145"/>
                  <a:pt x="18" y="145"/>
                  <a:pt x="16" y="146"/>
                </a:cubicBezTo>
                <a:cubicBezTo>
                  <a:pt x="16" y="47"/>
                  <a:pt x="16" y="47"/>
                  <a:pt x="16" y="47"/>
                </a:cubicBezTo>
                <a:cubicBezTo>
                  <a:pt x="18" y="48"/>
                  <a:pt x="21" y="48"/>
                  <a:pt x="24" y="48"/>
                </a:cubicBezTo>
                <a:cubicBezTo>
                  <a:pt x="37" y="48"/>
                  <a:pt x="48" y="37"/>
                  <a:pt x="48" y="24"/>
                </a:cubicBezTo>
                <a:cubicBezTo>
                  <a:pt x="48" y="21"/>
                  <a:pt x="47" y="19"/>
                  <a:pt x="46" y="16"/>
                </a:cubicBezTo>
                <a:cubicBezTo>
                  <a:pt x="306" y="16"/>
                  <a:pt x="306" y="16"/>
                  <a:pt x="306" y="16"/>
                </a:cubicBezTo>
                <a:cubicBezTo>
                  <a:pt x="305" y="19"/>
                  <a:pt x="305" y="21"/>
                  <a:pt x="305" y="24"/>
                </a:cubicBezTo>
                <a:cubicBezTo>
                  <a:pt x="305" y="37"/>
                  <a:pt x="315" y="48"/>
                  <a:pt x="329" y="48"/>
                </a:cubicBezTo>
                <a:cubicBezTo>
                  <a:pt x="332" y="48"/>
                  <a:pt x="334" y="48"/>
                  <a:pt x="337" y="47"/>
                </a:cubicBezTo>
                <a:lnTo>
                  <a:pt x="337" y="146"/>
                </a:lnTo>
                <a:close/>
                <a:moveTo>
                  <a:pt x="329" y="32"/>
                </a:moveTo>
                <a:cubicBezTo>
                  <a:pt x="324" y="32"/>
                  <a:pt x="321" y="29"/>
                  <a:pt x="321" y="24"/>
                </a:cubicBezTo>
                <a:cubicBezTo>
                  <a:pt x="321" y="20"/>
                  <a:pt x="324" y="16"/>
                  <a:pt x="329" y="16"/>
                </a:cubicBezTo>
                <a:cubicBezTo>
                  <a:pt x="333" y="16"/>
                  <a:pt x="337" y="20"/>
                  <a:pt x="337" y="24"/>
                </a:cubicBezTo>
                <a:cubicBezTo>
                  <a:pt x="337" y="29"/>
                  <a:pt x="333" y="32"/>
                  <a:pt x="329" y="32"/>
                </a:cubicBezTo>
                <a:moveTo>
                  <a:pt x="162" y="76"/>
                </a:moveTo>
                <a:cubicBezTo>
                  <a:pt x="162" y="78"/>
                  <a:pt x="162" y="79"/>
                  <a:pt x="163" y="80"/>
                </a:cubicBezTo>
                <a:cubicBezTo>
                  <a:pt x="164" y="82"/>
                  <a:pt x="164" y="83"/>
                  <a:pt x="166" y="84"/>
                </a:cubicBezTo>
                <a:cubicBezTo>
                  <a:pt x="167" y="84"/>
                  <a:pt x="168" y="85"/>
                  <a:pt x="169" y="86"/>
                </a:cubicBezTo>
                <a:cubicBezTo>
                  <a:pt x="171" y="86"/>
                  <a:pt x="171" y="87"/>
                  <a:pt x="173" y="87"/>
                </a:cubicBezTo>
                <a:cubicBezTo>
                  <a:pt x="173" y="65"/>
                  <a:pt x="173" y="65"/>
                  <a:pt x="173" y="65"/>
                </a:cubicBezTo>
                <a:cubicBezTo>
                  <a:pt x="169" y="65"/>
                  <a:pt x="167" y="66"/>
                  <a:pt x="165" y="68"/>
                </a:cubicBezTo>
                <a:cubicBezTo>
                  <a:pt x="163" y="69"/>
                  <a:pt x="162" y="72"/>
                  <a:pt x="162" y="76"/>
                </a:cubicBezTo>
                <a:moveTo>
                  <a:pt x="281" y="145"/>
                </a:moveTo>
                <a:cubicBezTo>
                  <a:pt x="264" y="145"/>
                  <a:pt x="264" y="145"/>
                  <a:pt x="264" y="145"/>
                </a:cubicBezTo>
                <a:cubicBezTo>
                  <a:pt x="260" y="145"/>
                  <a:pt x="256" y="148"/>
                  <a:pt x="256" y="153"/>
                </a:cubicBezTo>
                <a:cubicBezTo>
                  <a:pt x="256" y="157"/>
                  <a:pt x="260" y="161"/>
                  <a:pt x="264" y="161"/>
                </a:cubicBezTo>
                <a:cubicBezTo>
                  <a:pt x="281" y="161"/>
                  <a:pt x="281" y="161"/>
                  <a:pt x="281" y="161"/>
                </a:cubicBezTo>
                <a:cubicBezTo>
                  <a:pt x="285" y="161"/>
                  <a:pt x="289" y="157"/>
                  <a:pt x="289" y="153"/>
                </a:cubicBezTo>
                <a:cubicBezTo>
                  <a:pt x="289" y="148"/>
                  <a:pt x="285" y="145"/>
                  <a:pt x="281" y="145"/>
                </a:cubicBezTo>
                <a:moveTo>
                  <a:pt x="188" y="106"/>
                </a:moveTo>
                <a:cubicBezTo>
                  <a:pt x="186" y="105"/>
                  <a:pt x="185" y="104"/>
                  <a:pt x="183" y="103"/>
                </a:cubicBezTo>
                <a:cubicBezTo>
                  <a:pt x="182" y="103"/>
                  <a:pt x="181" y="102"/>
                  <a:pt x="179" y="102"/>
                </a:cubicBezTo>
                <a:cubicBezTo>
                  <a:pt x="179" y="127"/>
                  <a:pt x="179" y="127"/>
                  <a:pt x="179" y="127"/>
                </a:cubicBezTo>
                <a:cubicBezTo>
                  <a:pt x="183" y="127"/>
                  <a:pt x="186" y="126"/>
                  <a:pt x="188" y="124"/>
                </a:cubicBezTo>
                <a:cubicBezTo>
                  <a:pt x="191" y="122"/>
                  <a:pt x="192" y="119"/>
                  <a:pt x="192" y="114"/>
                </a:cubicBezTo>
                <a:cubicBezTo>
                  <a:pt x="192" y="112"/>
                  <a:pt x="191" y="111"/>
                  <a:pt x="191" y="109"/>
                </a:cubicBezTo>
                <a:cubicBezTo>
                  <a:pt x="190" y="108"/>
                  <a:pt x="189" y="107"/>
                  <a:pt x="188" y="106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2" name="Freeform 51"/>
          <p:cNvSpPr>
            <a:spLocks noEditPoints="1"/>
          </p:cNvSpPr>
          <p:nvPr/>
        </p:nvSpPr>
        <p:spPr bwMode="auto">
          <a:xfrm>
            <a:off x="6096855" y="2662421"/>
            <a:ext cx="223109" cy="223109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3" name="Freeform 52"/>
          <p:cNvSpPr>
            <a:spLocks noEditPoints="1"/>
          </p:cNvSpPr>
          <p:nvPr/>
        </p:nvSpPr>
        <p:spPr bwMode="auto">
          <a:xfrm>
            <a:off x="2824037" y="3654918"/>
            <a:ext cx="223109" cy="182247"/>
          </a:xfrm>
          <a:custGeom>
            <a:avLst/>
            <a:gdLst>
              <a:gd name="T0" fmla="*/ 56 w 353"/>
              <a:gd name="T1" fmla="*/ 176 h 289"/>
              <a:gd name="T2" fmla="*/ 8 w 353"/>
              <a:gd name="T3" fmla="*/ 176 h 289"/>
              <a:gd name="T4" fmla="*/ 0 w 353"/>
              <a:gd name="T5" fmla="*/ 184 h 289"/>
              <a:gd name="T6" fmla="*/ 0 w 353"/>
              <a:gd name="T7" fmla="*/ 281 h 289"/>
              <a:gd name="T8" fmla="*/ 8 w 353"/>
              <a:gd name="T9" fmla="*/ 289 h 289"/>
              <a:gd name="T10" fmla="*/ 56 w 353"/>
              <a:gd name="T11" fmla="*/ 289 h 289"/>
              <a:gd name="T12" fmla="*/ 64 w 353"/>
              <a:gd name="T13" fmla="*/ 281 h 289"/>
              <a:gd name="T14" fmla="*/ 64 w 353"/>
              <a:gd name="T15" fmla="*/ 184 h 289"/>
              <a:gd name="T16" fmla="*/ 56 w 353"/>
              <a:gd name="T17" fmla="*/ 176 h 289"/>
              <a:gd name="T18" fmla="*/ 48 w 353"/>
              <a:gd name="T19" fmla="*/ 272 h 289"/>
              <a:gd name="T20" fmla="*/ 16 w 353"/>
              <a:gd name="T21" fmla="*/ 272 h 289"/>
              <a:gd name="T22" fmla="*/ 16 w 353"/>
              <a:gd name="T23" fmla="*/ 192 h 289"/>
              <a:gd name="T24" fmla="*/ 48 w 353"/>
              <a:gd name="T25" fmla="*/ 192 h 289"/>
              <a:gd name="T26" fmla="*/ 48 w 353"/>
              <a:gd name="T27" fmla="*/ 272 h 289"/>
              <a:gd name="T28" fmla="*/ 249 w 353"/>
              <a:gd name="T29" fmla="*/ 128 h 289"/>
              <a:gd name="T30" fmla="*/ 201 w 353"/>
              <a:gd name="T31" fmla="*/ 128 h 289"/>
              <a:gd name="T32" fmla="*/ 193 w 353"/>
              <a:gd name="T33" fmla="*/ 136 h 289"/>
              <a:gd name="T34" fmla="*/ 193 w 353"/>
              <a:gd name="T35" fmla="*/ 281 h 289"/>
              <a:gd name="T36" fmla="*/ 201 w 353"/>
              <a:gd name="T37" fmla="*/ 289 h 289"/>
              <a:gd name="T38" fmla="*/ 249 w 353"/>
              <a:gd name="T39" fmla="*/ 289 h 289"/>
              <a:gd name="T40" fmla="*/ 257 w 353"/>
              <a:gd name="T41" fmla="*/ 281 h 289"/>
              <a:gd name="T42" fmla="*/ 257 w 353"/>
              <a:gd name="T43" fmla="*/ 136 h 289"/>
              <a:gd name="T44" fmla="*/ 249 w 353"/>
              <a:gd name="T45" fmla="*/ 128 h 289"/>
              <a:gd name="T46" fmla="*/ 241 w 353"/>
              <a:gd name="T47" fmla="*/ 272 h 289"/>
              <a:gd name="T48" fmla="*/ 209 w 353"/>
              <a:gd name="T49" fmla="*/ 272 h 289"/>
              <a:gd name="T50" fmla="*/ 209 w 353"/>
              <a:gd name="T51" fmla="*/ 144 h 289"/>
              <a:gd name="T52" fmla="*/ 241 w 353"/>
              <a:gd name="T53" fmla="*/ 144 h 289"/>
              <a:gd name="T54" fmla="*/ 241 w 353"/>
              <a:gd name="T55" fmla="*/ 272 h 289"/>
              <a:gd name="T56" fmla="*/ 153 w 353"/>
              <a:gd name="T57" fmla="*/ 32 h 289"/>
              <a:gd name="T58" fmla="*/ 105 w 353"/>
              <a:gd name="T59" fmla="*/ 32 h 289"/>
              <a:gd name="T60" fmla="*/ 97 w 353"/>
              <a:gd name="T61" fmla="*/ 40 h 289"/>
              <a:gd name="T62" fmla="*/ 97 w 353"/>
              <a:gd name="T63" fmla="*/ 281 h 289"/>
              <a:gd name="T64" fmla="*/ 105 w 353"/>
              <a:gd name="T65" fmla="*/ 289 h 289"/>
              <a:gd name="T66" fmla="*/ 153 w 353"/>
              <a:gd name="T67" fmla="*/ 289 h 289"/>
              <a:gd name="T68" fmla="*/ 161 w 353"/>
              <a:gd name="T69" fmla="*/ 281 h 289"/>
              <a:gd name="T70" fmla="*/ 161 w 353"/>
              <a:gd name="T71" fmla="*/ 40 h 289"/>
              <a:gd name="T72" fmla="*/ 153 w 353"/>
              <a:gd name="T73" fmla="*/ 32 h 289"/>
              <a:gd name="T74" fmla="*/ 145 w 353"/>
              <a:gd name="T75" fmla="*/ 272 h 289"/>
              <a:gd name="T76" fmla="*/ 113 w 353"/>
              <a:gd name="T77" fmla="*/ 272 h 289"/>
              <a:gd name="T78" fmla="*/ 113 w 353"/>
              <a:gd name="T79" fmla="*/ 48 h 289"/>
              <a:gd name="T80" fmla="*/ 145 w 353"/>
              <a:gd name="T81" fmla="*/ 48 h 289"/>
              <a:gd name="T82" fmla="*/ 145 w 353"/>
              <a:gd name="T83" fmla="*/ 272 h 289"/>
              <a:gd name="T84" fmla="*/ 345 w 353"/>
              <a:gd name="T85" fmla="*/ 0 h 289"/>
              <a:gd name="T86" fmla="*/ 297 w 353"/>
              <a:gd name="T87" fmla="*/ 0 h 289"/>
              <a:gd name="T88" fmla="*/ 289 w 353"/>
              <a:gd name="T89" fmla="*/ 8 h 289"/>
              <a:gd name="T90" fmla="*/ 289 w 353"/>
              <a:gd name="T91" fmla="*/ 281 h 289"/>
              <a:gd name="T92" fmla="*/ 297 w 353"/>
              <a:gd name="T93" fmla="*/ 289 h 289"/>
              <a:gd name="T94" fmla="*/ 345 w 353"/>
              <a:gd name="T95" fmla="*/ 289 h 289"/>
              <a:gd name="T96" fmla="*/ 353 w 353"/>
              <a:gd name="T97" fmla="*/ 281 h 289"/>
              <a:gd name="T98" fmla="*/ 353 w 353"/>
              <a:gd name="T99" fmla="*/ 8 h 289"/>
              <a:gd name="T100" fmla="*/ 345 w 353"/>
              <a:gd name="T101" fmla="*/ 0 h 289"/>
              <a:gd name="T102" fmla="*/ 337 w 353"/>
              <a:gd name="T103" fmla="*/ 272 h 289"/>
              <a:gd name="T104" fmla="*/ 305 w 353"/>
              <a:gd name="T105" fmla="*/ 272 h 289"/>
              <a:gd name="T106" fmla="*/ 305 w 353"/>
              <a:gd name="T107" fmla="*/ 16 h 289"/>
              <a:gd name="T108" fmla="*/ 337 w 353"/>
              <a:gd name="T109" fmla="*/ 16 h 289"/>
              <a:gd name="T110" fmla="*/ 337 w 353"/>
              <a:gd name="T111" fmla="*/ 272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3" h="289">
                <a:moveTo>
                  <a:pt x="56" y="176"/>
                </a:moveTo>
                <a:cubicBezTo>
                  <a:pt x="8" y="176"/>
                  <a:pt x="8" y="176"/>
                  <a:pt x="8" y="176"/>
                </a:cubicBezTo>
                <a:cubicBezTo>
                  <a:pt x="4" y="176"/>
                  <a:pt x="0" y="180"/>
                  <a:pt x="0" y="184"/>
                </a:cubicBezTo>
                <a:cubicBezTo>
                  <a:pt x="0" y="281"/>
                  <a:pt x="0" y="281"/>
                  <a:pt x="0" y="281"/>
                </a:cubicBezTo>
                <a:cubicBezTo>
                  <a:pt x="0" y="285"/>
                  <a:pt x="4" y="289"/>
                  <a:pt x="8" y="289"/>
                </a:cubicBezTo>
                <a:cubicBezTo>
                  <a:pt x="56" y="289"/>
                  <a:pt x="56" y="289"/>
                  <a:pt x="56" y="289"/>
                </a:cubicBezTo>
                <a:cubicBezTo>
                  <a:pt x="61" y="289"/>
                  <a:pt x="64" y="285"/>
                  <a:pt x="64" y="281"/>
                </a:cubicBezTo>
                <a:cubicBezTo>
                  <a:pt x="64" y="184"/>
                  <a:pt x="64" y="184"/>
                  <a:pt x="64" y="184"/>
                </a:cubicBezTo>
                <a:cubicBezTo>
                  <a:pt x="64" y="180"/>
                  <a:pt x="61" y="176"/>
                  <a:pt x="56" y="176"/>
                </a:cubicBezTo>
                <a:moveTo>
                  <a:pt x="48" y="272"/>
                </a:moveTo>
                <a:cubicBezTo>
                  <a:pt x="16" y="272"/>
                  <a:pt x="16" y="272"/>
                  <a:pt x="16" y="272"/>
                </a:cubicBezTo>
                <a:cubicBezTo>
                  <a:pt x="16" y="192"/>
                  <a:pt x="16" y="192"/>
                  <a:pt x="16" y="192"/>
                </a:cubicBezTo>
                <a:cubicBezTo>
                  <a:pt x="48" y="192"/>
                  <a:pt x="48" y="192"/>
                  <a:pt x="48" y="192"/>
                </a:cubicBezTo>
                <a:lnTo>
                  <a:pt x="48" y="272"/>
                </a:lnTo>
                <a:close/>
                <a:moveTo>
                  <a:pt x="249" y="128"/>
                </a:moveTo>
                <a:cubicBezTo>
                  <a:pt x="201" y="128"/>
                  <a:pt x="201" y="128"/>
                  <a:pt x="201" y="128"/>
                </a:cubicBezTo>
                <a:cubicBezTo>
                  <a:pt x="196" y="128"/>
                  <a:pt x="193" y="132"/>
                  <a:pt x="193" y="136"/>
                </a:cubicBezTo>
                <a:cubicBezTo>
                  <a:pt x="193" y="281"/>
                  <a:pt x="193" y="281"/>
                  <a:pt x="193" y="281"/>
                </a:cubicBezTo>
                <a:cubicBezTo>
                  <a:pt x="193" y="285"/>
                  <a:pt x="196" y="289"/>
                  <a:pt x="201" y="289"/>
                </a:cubicBezTo>
                <a:cubicBezTo>
                  <a:pt x="249" y="289"/>
                  <a:pt x="249" y="289"/>
                  <a:pt x="249" y="289"/>
                </a:cubicBezTo>
                <a:cubicBezTo>
                  <a:pt x="254" y="289"/>
                  <a:pt x="257" y="285"/>
                  <a:pt x="257" y="281"/>
                </a:cubicBezTo>
                <a:cubicBezTo>
                  <a:pt x="257" y="136"/>
                  <a:pt x="257" y="136"/>
                  <a:pt x="257" y="136"/>
                </a:cubicBezTo>
                <a:cubicBezTo>
                  <a:pt x="257" y="132"/>
                  <a:pt x="254" y="128"/>
                  <a:pt x="249" y="128"/>
                </a:cubicBezTo>
                <a:moveTo>
                  <a:pt x="241" y="272"/>
                </a:moveTo>
                <a:cubicBezTo>
                  <a:pt x="209" y="272"/>
                  <a:pt x="209" y="272"/>
                  <a:pt x="209" y="272"/>
                </a:cubicBezTo>
                <a:cubicBezTo>
                  <a:pt x="209" y="144"/>
                  <a:pt x="209" y="144"/>
                  <a:pt x="209" y="144"/>
                </a:cubicBezTo>
                <a:cubicBezTo>
                  <a:pt x="241" y="144"/>
                  <a:pt x="241" y="144"/>
                  <a:pt x="241" y="144"/>
                </a:cubicBezTo>
                <a:lnTo>
                  <a:pt x="241" y="272"/>
                </a:lnTo>
                <a:close/>
                <a:moveTo>
                  <a:pt x="153" y="32"/>
                </a:moveTo>
                <a:cubicBezTo>
                  <a:pt x="105" y="32"/>
                  <a:pt x="105" y="32"/>
                  <a:pt x="105" y="32"/>
                </a:cubicBezTo>
                <a:cubicBezTo>
                  <a:pt x="100" y="32"/>
                  <a:pt x="97" y="35"/>
                  <a:pt x="97" y="40"/>
                </a:cubicBezTo>
                <a:cubicBezTo>
                  <a:pt x="97" y="281"/>
                  <a:pt x="97" y="281"/>
                  <a:pt x="97" y="281"/>
                </a:cubicBezTo>
                <a:cubicBezTo>
                  <a:pt x="97" y="285"/>
                  <a:pt x="100" y="289"/>
                  <a:pt x="105" y="289"/>
                </a:cubicBezTo>
                <a:cubicBezTo>
                  <a:pt x="153" y="289"/>
                  <a:pt x="153" y="289"/>
                  <a:pt x="153" y="289"/>
                </a:cubicBezTo>
                <a:cubicBezTo>
                  <a:pt x="157" y="289"/>
                  <a:pt x="161" y="285"/>
                  <a:pt x="161" y="281"/>
                </a:cubicBezTo>
                <a:cubicBezTo>
                  <a:pt x="161" y="40"/>
                  <a:pt x="161" y="40"/>
                  <a:pt x="161" y="40"/>
                </a:cubicBezTo>
                <a:cubicBezTo>
                  <a:pt x="161" y="35"/>
                  <a:pt x="157" y="32"/>
                  <a:pt x="153" y="32"/>
                </a:cubicBezTo>
                <a:moveTo>
                  <a:pt x="145" y="272"/>
                </a:moveTo>
                <a:cubicBezTo>
                  <a:pt x="113" y="272"/>
                  <a:pt x="113" y="272"/>
                  <a:pt x="113" y="272"/>
                </a:cubicBezTo>
                <a:cubicBezTo>
                  <a:pt x="113" y="48"/>
                  <a:pt x="113" y="48"/>
                  <a:pt x="113" y="48"/>
                </a:cubicBezTo>
                <a:cubicBezTo>
                  <a:pt x="145" y="48"/>
                  <a:pt x="145" y="48"/>
                  <a:pt x="145" y="48"/>
                </a:cubicBezTo>
                <a:lnTo>
                  <a:pt x="145" y="272"/>
                </a:lnTo>
                <a:close/>
                <a:moveTo>
                  <a:pt x="345" y="0"/>
                </a:moveTo>
                <a:cubicBezTo>
                  <a:pt x="297" y="0"/>
                  <a:pt x="297" y="0"/>
                  <a:pt x="297" y="0"/>
                </a:cubicBezTo>
                <a:cubicBezTo>
                  <a:pt x="293" y="0"/>
                  <a:pt x="289" y="3"/>
                  <a:pt x="289" y="8"/>
                </a:cubicBezTo>
                <a:cubicBezTo>
                  <a:pt x="289" y="281"/>
                  <a:pt x="289" y="281"/>
                  <a:pt x="289" y="281"/>
                </a:cubicBezTo>
                <a:cubicBezTo>
                  <a:pt x="289" y="285"/>
                  <a:pt x="293" y="289"/>
                  <a:pt x="297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8"/>
                  <a:pt x="353" y="8"/>
                  <a:pt x="353" y="8"/>
                </a:cubicBezTo>
                <a:cubicBezTo>
                  <a:pt x="353" y="3"/>
                  <a:pt x="350" y="0"/>
                  <a:pt x="345" y="0"/>
                </a:cubicBezTo>
                <a:moveTo>
                  <a:pt x="337" y="272"/>
                </a:moveTo>
                <a:cubicBezTo>
                  <a:pt x="305" y="272"/>
                  <a:pt x="305" y="272"/>
                  <a:pt x="305" y="272"/>
                </a:cubicBezTo>
                <a:cubicBezTo>
                  <a:pt x="305" y="16"/>
                  <a:pt x="305" y="16"/>
                  <a:pt x="305" y="16"/>
                </a:cubicBezTo>
                <a:cubicBezTo>
                  <a:pt x="337" y="16"/>
                  <a:pt x="337" y="16"/>
                  <a:pt x="337" y="16"/>
                </a:cubicBezTo>
                <a:lnTo>
                  <a:pt x="337" y="27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4" name="Freeform 13"/>
          <p:cNvSpPr>
            <a:spLocks noEditPoints="1"/>
          </p:cNvSpPr>
          <p:nvPr/>
        </p:nvSpPr>
        <p:spPr bwMode="auto">
          <a:xfrm>
            <a:off x="6107033" y="1742604"/>
            <a:ext cx="202752" cy="202752"/>
          </a:xfrm>
          <a:custGeom>
            <a:avLst/>
            <a:gdLst>
              <a:gd name="T0" fmla="*/ 353 w 353"/>
              <a:gd name="T1" fmla="*/ 104 h 353"/>
              <a:gd name="T2" fmla="*/ 351 w 353"/>
              <a:gd name="T3" fmla="*/ 99 h 353"/>
              <a:gd name="T4" fmla="*/ 351 w 353"/>
              <a:gd name="T5" fmla="*/ 99 h 353"/>
              <a:gd name="T6" fmla="*/ 351 w 353"/>
              <a:gd name="T7" fmla="*/ 99 h 353"/>
              <a:gd name="T8" fmla="*/ 350 w 353"/>
              <a:gd name="T9" fmla="*/ 98 h 353"/>
              <a:gd name="T10" fmla="*/ 255 w 353"/>
              <a:gd name="T11" fmla="*/ 3 h 353"/>
              <a:gd name="T12" fmla="*/ 255 w 353"/>
              <a:gd name="T13" fmla="*/ 3 h 353"/>
              <a:gd name="T14" fmla="*/ 248 w 353"/>
              <a:gd name="T15" fmla="*/ 0 h 353"/>
              <a:gd name="T16" fmla="*/ 104 w 353"/>
              <a:gd name="T17" fmla="*/ 0 h 353"/>
              <a:gd name="T18" fmla="*/ 98 w 353"/>
              <a:gd name="T19" fmla="*/ 3 h 353"/>
              <a:gd name="T20" fmla="*/ 97 w 353"/>
              <a:gd name="T21" fmla="*/ 3 h 353"/>
              <a:gd name="T22" fmla="*/ 2 w 353"/>
              <a:gd name="T23" fmla="*/ 98 h 353"/>
              <a:gd name="T24" fmla="*/ 2 w 353"/>
              <a:gd name="T25" fmla="*/ 99 h 353"/>
              <a:gd name="T26" fmla="*/ 1 w 353"/>
              <a:gd name="T27" fmla="*/ 99 h 353"/>
              <a:gd name="T28" fmla="*/ 1 w 353"/>
              <a:gd name="T29" fmla="*/ 99 h 353"/>
              <a:gd name="T30" fmla="*/ 0 w 353"/>
              <a:gd name="T31" fmla="*/ 104 h 353"/>
              <a:gd name="T32" fmla="*/ 1 w 353"/>
              <a:gd name="T33" fmla="*/ 109 h 353"/>
              <a:gd name="T34" fmla="*/ 1 w 353"/>
              <a:gd name="T35" fmla="*/ 109 h 353"/>
              <a:gd name="T36" fmla="*/ 170 w 353"/>
              <a:gd name="T37" fmla="*/ 350 h 353"/>
              <a:gd name="T38" fmla="*/ 170 w 353"/>
              <a:gd name="T39" fmla="*/ 350 h 353"/>
              <a:gd name="T40" fmla="*/ 176 w 353"/>
              <a:gd name="T41" fmla="*/ 353 h 353"/>
              <a:gd name="T42" fmla="*/ 182 w 353"/>
              <a:gd name="T43" fmla="*/ 350 h 353"/>
              <a:gd name="T44" fmla="*/ 182 w 353"/>
              <a:gd name="T45" fmla="*/ 350 h 353"/>
              <a:gd name="T46" fmla="*/ 351 w 353"/>
              <a:gd name="T47" fmla="*/ 109 h 353"/>
              <a:gd name="T48" fmla="*/ 351 w 353"/>
              <a:gd name="T49" fmla="*/ 109 h 353"/>
              <a:gd name="T50" fmla="*/ 353 w 353"/>
              <a:gd name="T51" fmla="*/ 104 h 353"/>
              <a:gd name="T52" fmla="*/ 245 w 353"/>
              <a:gd name="T53" fmla="*/ 16 h 353"/>
              <a:gd name="T54" fmla="*/ 325 w 353"/>
              <a:gd name="T55" fmla="*/ 96 h 353"/>
              <a:gd name="T56" fmla="*/ 253 w 353"/>
              <a:gd name="T57" fmla="*/ 96 h 353"/>
              <a:gd name="T58" fmla="*/ 213 w 353"/>
              <a:gd name="T59" fmla="*/ 16 h 353"/>
              <a:gd name="T60" fmla="*/ 245 w 353"/>
              <a:gd name="T61" fmla="*/ 16 h 353"/>
              <a:gd name="T62" fmla="*/ 195 w 353"/>
              <a:gd name="T63" fmla="*/ 16 h 353"/>
              <a:gd name="T64" fmla="*/ 235 w 353"/>
              <a:gd name="T65" fmla="*/ 96 h 353"/>
              <a:gd name="T66" fmla="*/ 117 w 353"/>
              <a:gd name="T67" fmla="*/ 96 h 353"/>
              <a:gd name="T68" fmla="*/ 157 w 353"/>
              <a:gd name="T69" fmla="*/ 16 h 353"/>
              <a:gd name="T70" fmla="*/ 195 w 353"/>
              <a:gd name="T71" fmla="*/ 16 h 353"/>
              <a:gd name="T72" fmla="*/ 107 w 353"/>
              <a:gd name="T73" fmla="*/ 16 h 353"/>
              <a:gd name="T74" fmla="*/ 139 w 353"/>
              <a:gd name="T75" fmla="*/ 16 h 353"/>
              <a:gd name="T76" fmla="*/ 99 w 353"/>
              <a:gd name="T77" fmla="*/ 96 h 353"/>
              <a:gd name="T78" fmla="*/ 27 w 353"/>
              <a:gd name="T79" fmla="*/ 96 h 353"/>
              <a:gd name="T80" fmla="*/ 107 w 353"/>
              <a:gd name="T81" fmla="*/ 16 h 353"/>
              <a:gd name="T82" fmla="*/ 23 w 353"/>
              <a:gd name="T83" fmla="*/ 112 h 353"/>
              <a:gd name="T84" fmla="*/ 98 w 353"/>
              <a:gd name="T85" fmla="*/ 112 h 353"/>
              <a:gd name="T86" fmla="*/ 154 w 353"/>
              <a:gd name="T87" fmla="*/ 299 h 353"/>
              <a:gd name="T88" fmla="*/ 23 w 353"/>
              <a:gd name="T89" fmla="*/ 112 h 353"/>
              <a:gd name="T90" fmla="*/ 176 w 353"/>
              <a:gd name="T91" fmla="*/ 317 h 353"/>
              <a:gd name="T92" fmla="*/ 115 w 353"/>
              <a:gd name="T93" fmla="*/ 112 h 353"/>
              <a:gd name="T94" fmla="*/ 238 w 353"/>
              <a:gd name="T95" fmla="*/ 112 h 353"/>
              <a:gd name="T96" fmla="*/ 176 w 353"/>
              <a:gd name="T97" fmla="*/ 317 h 353"/>
              <a:gd name="T98" fmla="*/ 198 w 353"/>
              <a:gd name="T99" fmla="*/ 299 h 353"/>
              <a:gd name="T100" fmla="*/ 254 w 353"/>
              <a:gd name="T101" fmla="*/ 112 h 353"/>
              <a:gd name="T102" fmla="*/ 329 w 353"/>
              <a:gd name="T103" fmla="*/ 112 h 353"/>
              <a:gd name="T104" fmla="*/ 198 w 353"/>
              <a:gd name="T105" fmla="*/ 29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3" h="353">
                <a:moveTo>
                  <a:pt x="353" y="104"/>
                </a:moveTo>
                <a:cubicBezTo>
                  <a:pt x="353" y="102"/>
                  <a:pt x="352" y="101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1" y="99"/>
                  <a:pt x="351" y="99"/>
                  <a:pt x="351" y="99"/>
                </a:cubicBezTo>
                <a:cubicBezTo>
                  <a:pt x="350" y="98"/>
                  <a:pt x="350" y="98"/>
                  <a:pt x="350" y="98"/>
                </a:cubicBezTo>
                <a:cubicBezTo>
                  <a:pt x="255" y="3"/>
                  <a:pt x="255" y="3"/>
                  <a:pt x="255" y="3"/>
                </a:cubicBezTo>
                <a:cubicBezTo>
                  <a:pt x="255" y="3"/>
                  <a:pt x="255" y="3"/>
                  <a:pt x="255" y="3"/>
                </a:cubicBezTo>
                <a:cubicBezTo>
                  <a:pt x="253" y="1"/>
                  <a:pt x="251" y="0"/>
                  <a:pt x="248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01" y="0"/>
                  <a:pt x="99" y="1"/>
                  <a:pt x="98" y="3"/>
                </a:cubicBezTo>
                <a:cubicBezTo>
                  <a:pt x="97" y="3"/>
                  <a:pt x="97" y="3"/>
                  <a:pt x="97" y="3"/>
                </a:cubicBezTo>
                <a:cubicBezTo>
                  <a:pt x="2" y="98"/>
                  <a:pt x="2" y="98"/>
                  <a:pt x="2" y="98"/>
                </a:cubicBezTo>
                <a:cubicBezTo>
                  <a:pt x="2" y="98"/>
                  <a:pt x="2" y="98"/>
                  <a:pt x="2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1" y="99"/>
                  <a:pt x="1" y="99"/>
                  <a:pt x="1" y="99"/>
                </a:cubicBezTo>
                <a:cubicBezTo>
                  <a:pt x="0" y="101"/>
                  <a:pt x="0" y="102"/>
                  <a:pt x="0" y="104"/>
                </a:cubicBezTo>
                <a:cubicBezTo>
                  <a:pt x="0" y="106"/>
                  <a:pt x="0" y="108"/>
                  <a:pt x="1" y="109"/>
                </a:cubicBezTo>
                <a:cubicBezTo>
                  <a:pt x="1" y="109"/>
                  <a:pt x="1" y="109"/>
                  <a:pt x="1" y="109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0" y="350"/>
                  <a:pt x="170" y="350"/>
                  <a:pt x="170" y="350"/>
                </a:cubicBezTo>
                <a:cubicBezTo>
                  <a:pt x="171" y="352"/>
                  <a:pt x="174" y="353"/>
                  <a:pt x="176" y="353"/>
                </a:cubicBezTo>
                <a:cubicBezTo>
                  <a:pt x="179" y="353"/>
                  <a:pt x="181" y="352"/>
                  <a:pt x="182" y="350"/>
                </a:cubicBezTo>
                <a:cubicBezTo>
                  <a:pt x="182" y="350"/>
                  <a:pt x="182" y="350"/>
                  <a:pt x="182" y="350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1" y="109"/>
                  <a:pt x="351" y="109"/>
                  <a:pt x="351" y="109"/>
                </a:cubicBezTo>
                <a:cubicBezTo>
                  <a:pt x="352" y="108"/>
                  <a:pt x="353" y="106"/>
                  <a:pt x="353" y="104"/>
                </a:cubicBezTo>
                <a:moveTo>
                  <a:pt x="245" y="16"/>
                </a:moveTo>
                <a:cubicBezTo>
                  <a:pt x="325" y="96"/>
                  <a:pt x="325" y="96"/>
                  <a:pt x="325" y="96"/>
                </a:cubicBezTo>
                <a:cubicBezTo>
                  <a:pt x="253" y="96"/>
                  <a:pt x="253" y="96"/>
                  <a:pt x="253" y="96"/>
                </a:cubicBezTo>
                <a:cubicBezTo>
                  <a:pt x="213" y="16"/>
                  <a:pt x="213" y="16"/>
                  <a:pt x="213" y="16"/>
                </a:cubicBezTo>
                <a:lnTo>
                  <a:pt x="245" y="16"/>
                </a:lnTo>
                <a:close/>
                <a:moveTo>
                  <a:pt x="195" y="16"/>
                </a:moveTo>
                <a:cubicBezTo>
                  <a:pt x="235" y="96"/>
                  <a:pt x="235" y="96"/>
                  <a:pt x="235" y="96"/>
                </a:cubicBezTo>
                <a:cubicBezTo>
                  <a:pt x="117" y="96"/>
                  <a:pt x="117" y="96"/>
                  <a:pt x="117" y="96"/>
                </a:cubicBezTo>
                <a:cubicBezTo>
                  <a:pt x="157" y="16"/>
                  <a:pt x="157" y="16"/>
                  <a:pt x="157" y="16"/>
                </a:cubicBezTo>
                <a:lnTo>
                  <a:pt x="195" y="16"/>
                </a:lnTo>
                <a:close/>
                <a:moveTo>
                  <a:pt x="107" y="16"/>
                </a:moveTo>
                <a:cubicBezTo>
                  <a:pt x="139" y="16"/>
                  <a:pt x="139" y="16"/>
                  <a:pt x="139" y="16"/>
                </a:cubicBezTo>
                <a:cubicBezTo>
                  <a:pt x="99" y="96"/>
                  <a:pt x="99" y="96"/>
                  <a:pt x="99" y="96"/>
                </a:cubicBezTo>
                <a:cubicBezTo>
                  <a:pt x="27" y="96"/>
                  <a:pt x="27" y="96"/>
                  <a:pt x="27" y="96"/>
                </a:cubicBezTo>
                <a:lnTo>
                  <a:pt x="107" y="16"/>
                </a:lnTo>
                <a:close/>
                <a:moveTo>
                  <a:pt x="23" y="112"/>
                </a:moveTo>
                <a:cubicBezTo>
                  <a:pt x="98" y="112"/>
                  <a:pt x="98" y="112"/>
                  <a:pt x="98" y="112"/>
                </a:cubicBezTo>
                <a:cubicBezTo>
                  <a:pt x="154" y="299"/>
                  <a:pt x="154" y="299"/>
                  <a:pt x="154" y="299"/>
                </a:cubicBezTo>
                <a:lnTo>
                  <a:pt x="23" y="112"/>
                </a:lnTo>
                <a:close/>
                <a:moveTo>
                  <a:pt x="176" y="317"/>
                </a:moveTo>
                <a:cubicBezTo>
                  <a:pt x="115" y="112"/>
                  <a:pt x="115" y="112"/>
                  <a:pt x="115" y="112"/>
                </a:cubicBezTo>
                <a:cubicBezTo>
                  <a:pt x="238" y="112"/>
                  <a:pt x="238" y="112"/>
                  <a:pt x="238" y="112"/>
                </a:cubicBezTo>
                <a:lnTo>
                  <a:pt x="176" y="317"/>
                </a:lnTo>
                <a:close/>
                <a:moveTo>
                  <a:pt x="198" y="299"/>
                </a:moveTo>
                <a:cubicBezTo>
                  <a:pt x="254" y="112"/>
                  <a:pt x="254" y="112"/>
                  <a:pt x="254" y="112"/>
                </a:cubicBezTo>
                <a:cubicBezTo>
                  <a:pt x="329" y="112"/>
                  <a:pt x="329" y="112"/>
                  <a:pt x="329" y="112"/>
                </a:cubicBezTo>
                <a:lnTo>
                  <a:pt x="198" y="2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9" name="Group 8"/>
          <p:cNvGrpSpPr/>
          <p:nvPr/>
        </p:nvGrpSpPr>
        <p:grpSpPr>
          <a:xfrm>
            <a:off x="1018479" y="1693803"/>
            <a:ext cx="1360924" cy="534115"/>
            <a:chOff x="1018479" y="1693803"/>
            <a:chExt cx="1360924" cy="534115"/>
          </a:xfrm>
        </p:grpSpPr>
        <p:sp>
          <p:nvSpPr>
            <p:cNvPr id="55" name="TextBox 54"/>
            <p:cNvSpPr txBox="1"/>
            <p:nvPr/>
          </p:nvSpPr>
          <p:spPr>
            <a:xfrm>
              <a:off x="1018479" y="1693803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ÚSTRIAy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018479" y="1897381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DUTOS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018479" y="2100960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CALIZAÇÃO</a:t>
              </a:r>
            </a:p>
          </p:txBody>
        </p:sp>
        <p:cxnSp>
          <p:nvCxnSpPr>
            <p:cNvPr id="67" name="Straight Connector 66"/>
            <p:cNvCxnSpPr/>
            <p:nvPr/>
          </p:nvCxnSpPr>
          <p:spPr>
            <a:xfrm flipH="1">
              <a:off x="2285108" y="1750505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2285108" y="1954378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>
              <a:off x="2285108" y="2157956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1018479" y="2622537"/>
            <a:ext cx="1360924" cy="534115"/>
            <a:chOff x="1018479" y="2622537"/>
            <a:chExt cx="1360924" cy="534115"/>
          </a:xfrm>
        </p:grpSpPr>
        <p:sp>
          <p:nvSpPr>
            <p:cNvPr id="22" name="TextBox 21"/>
            <p:cNvSpPr txBox="1"/>
            <p:nvPr/>
          </p:nvSpPr>
          <p:spPr>
            <a:xfrm>
              <a:off x="1018479" y="2622537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SCRITÓRIO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018479" y="2826115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logística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018479" y="3029694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rmazenament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0" name="Straight Connector 69"/>
            <p:cNvCxnSpPr/>
            <p:nvPr/>
          </p:nvCxnSpPr>
          <p:spPr>
            <a:xfrm flipH="1">
              <a:off x="2285108" y="2679239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H="1">
              <a:off x="2285108" y="2883112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2285108" y="3086691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/>
          <p:cNvGrpSpPr/>
          <p:nvPr/>
        </p:nvGrpSpPr>
        <p:grpSpPr>
          <a:xfrm>
            <a:off x="1018479" y="3595255"/>
            <a:ext cx="1360924" cy="534115"/>
            <a:chOff x="1018479" y="3595255"/>
            <a:chExt cx="1360924" cy="534115"/>
          </a:xfrm>
        </p:grpSpPr>
        <p:sp>
          <p:nvSpPr>
            <p:cNvPr id="25" name="TextBox 24"/>
            <p:cNvSpPr txBox="1"/>
            <p:nvPr/>
          </p:nvSpPr>
          <p:spPr>
            <a:xfrm>
              <a:off x="1018479" y="3595255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xa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018479" y="3798833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idore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018479" y="4002412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rba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3" name="Straight Connector 72"/>
            <p:cNvCxnSpPr/>
            <p:nvPr/>
          </p:nvCxnSpPr>
          <p:spPr>
            <a:xfrm flipH="1">
              <a:off x="2285108" y="3651956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flipH="1">
              <a:off x="2285108" y="3855829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H="1">
              <a:off x="2285108" y="4059408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/>
          <p:nvPr/>
        </p:nvGrpSpPr>
        <p:grpSpPr>
          <a:xfrm>
            <a:off x="6764598" y="1693803"/>
            <a:ext cx="1360925" cy="534115"/>
            <a:chOff x="6764598" y="1693803"/>
            <a:chExt cx="1360925" cy="534115"/>
          </a:xfrm>
        </p:grpSpPr>
        <p:sp>
          <p:nvSpPr>
            <p:cNvPr id="64" name="TextBox 63"/>
            <p:cNvSpPr txBox="1"/>
            <p:nvPr/>
          </p:nvSpPr>
          <p:spPr>
            <a:xfrm>
              <a:off x="7002030" y="1693803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uncionário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7002030" y="1897381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reinament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002030" y="2100960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specialista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6" name="Straight Connector 75"/>
            <p:cNvCxnSpPr/>
            <p:nvPr/>
          </p:nvCxnSpPr>
          <p:spPr>
            <a:xfrm flipH="1">
              <a:off x="6764598" y="1750505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>
              <a:off x="6764598" y="1954378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flipH="1">
              <a:off x="6764598" y="2157956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/>
          <p:cNvGrpSpPr/>
          <p:nvPr/>
        </p:nvGrpSpPr>
        <p:grpSpPr>
          <a:xfrm>
            <a:off x="6764598" y="2622537"/>
            <a:ext cx="1360925" cy="534115"/>
            <a:chOff x="6764598" y="2622537"/>
            <a:chExt cx="1360925" cy="534115"/>
          </a:xfrm>
        </p:grpSpPr>
        <p:sp>
          <p:nvSpPr>
            <p:cNvPr id="58" name="TextBox 57"/>
            <p:cNvSpPr txBox="1"/>
            <p:nvPr/>
          </p:nvSpPr>
          <p:spPr>
            <a:xfrm>
              <a:off x="7002030" y="2622537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undadore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002030" y="2826115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tivaçã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002030" y="3029694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pósit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79" name="Straight Connector 78"/>
            <p:cNvCxnSpPr/>
            <p:nvPr/>
          </p:nvCxnSpPr>
          <p:spPr>
            <a:xfrm flipH="1">
              <a:off x="6764598" y="2679239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 flipH="1">
              <a:off x="6764598" y="2883112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flipH="1">
              <a:off x="6764598" y="3086691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6764598" y="3595255"/>
            <a:ext cx="1360925" cy="534115"/>
            <a:chOff x="6764598" y="3595255"/>
            <a:chExt cx="1360925" cy="534115"/>
          </a:xfrm>
        </p:grpSpPr>
        <p:sp>
          <p:nvSpPr>
            <p:cNvPr id="61" name="TextBox 60"/>
            <p:cNvSpPr txBox="1"/>
            <p:nvPr/>
          </p:nvSpPr>
          <p:spPr>
            <a:xfrm>
              <a:off x="7002030" y="3595255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luxo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e </a:t>
              </a:r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aixa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002030" y="3798833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curso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002030" y="4002412"/>
              <a:ext cx="1123493" cy="12695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esciment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cxnSp>
          <p:nvCxnSpPr>
            <p:cNvPr id="82" name="Straight Connector 81"/>
            <p:cNvCxnSpPr/>
            <p:nvPr/>
          </p:nvCxnSpPr>
          <p:spPr>
            <a:xfrm flipH="1">
              <a:off x="6764598" y="3651956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flipH="1">
              <a:off x="6764598" y="3855829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flipH="1">
              <a:off x="6764598" y="4059408"/>
              <a:ext cx="94295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Oval 30"/>
          <p:cNvSpPr/>
          <p:nvPr/>
        </p:nvSpPr>
        <p:spPr>
          <a:xfrm>
            <a:off x="3743040" y="2054152"/>
            <a:ext cx="1657921" cy="165792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88" name="Group 87"/>
          <p:cNvGrpSpPr/>
          <p:nvPr/>
        </p:nvGrpSpPr>
        <p:grpSpPr>
          <a:xfrm>
            <a:off x="3883796" y="2529845"/>
            <a:ext cx="1376408" cy="681718"/>
            <a:chOff x="3883796" y="2664679"/>
            <a:chExt cx="1376408" cy="681718"/>
          </a:xfrm>
        </p:grpSpPr>
        <p:sp>
          <p:nvSpPr>
            <p:cNvPr id="86" name="TextBox 85"/>
            <p:cNvSpPr txBox="1"/>
            <p:nvPr/>
          </p:nvSpPr>
          <p:spPr>
            <a:xfrm>
              <a:off x="3883796" y="2913265"/>
              <a:ext cx="1376408" cy="433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Insert some brief and narrow data, information and analysis about the main title</a:t>
              </a: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900166" y="2664679"/>
              <a:ext cx="134476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Business Setu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2480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sucess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Oval 35"/>
          <p:cNvSpPr>
            <a:spLocks noChangeArrowheads="1"/>
          </p:cNvSpPr>
          <p:nvPr/>
        </p:nvSpPr>
        <p:spPr bwMode="auto">
          <a:xfrm>
            <a:off x="3956003" y="2298323"/>
            <a:ext cx="1231995" cy="123265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Freeform 9"/>
          <p:cNvSpPr>
            <a:spLocks noEditPoints="1"/>
          </p:cNvSpPr>
          <p:nvPr/>
        </p:nvSpPr>
        <p:spPr bwMode="auto">
          <a:xfrm>
            <a:off x="4276225" y="2555596"/>
            <a:ext cx="581865" cy="653951"/>
          </a:xfrm>
          <a:custGeom>
            <a:avLst/>
            <a:gdLst>
              <a:gd name="T0" fmla="*/ 1310 w 1506"/>
              <a:gd name="T1" fmla="*/ 783 h 1693"/>
              <a:gd name="T2" fmla="*/ 996 w 1506"/>
              <a:gd name="T3" fmla="*/ 0 h 1693"/>
              <a:gd name="T4" fmla="*/ 302 w 1506"/>
              <a:gd name="T5" fmla="*/ 314 h 1693"/>
              <a:gd name="T6" fmla="*/ 317 w 1506"/>
              <a:gd name="T7" fmla="*/ 587 h 1693"/>
              <a:gd name="T8" fmla="*/ 512 w 1506"/>
              <a:gd name="T9" fmla="*/ 572 h 1693"/>
              <a:gd name="T10" fmla="*/ 647 w 1506"/>
              <a:gd name="T11" fmla="*/ 196 h 1693"/>
              <a:gd name="T12" fmla="*/ 1099 w 1506"/>
              <a:gd name="T13" fmla="*/ 330 h 1693"/>
              <a:gd name="T14" fmla="*/ 181 w 1506"/>
              <a:gd name="T15" fmla="*/ 783 h 1693"/>
              <a:gd name="T16" fmla="*/ 106 w 1506"/>
              <a:gd name="T17" fmla="*/ 1618 h 1693"/>
              <a:gd name="T18" fmla="*/ 1431 w 1506"/>
              <a:gd name="T19" fmla="*/ 1693 h 1693"/>
              <a:gd name="T20" fmla="*/ 1506 w 1506"/>
              <a:gd name="T21" fmla="*/ 857 h 1693"/>
              <a:gd name="T22" fmla="*/ 965 w 1506"/>
              <a:gd name="T23" fmla="*/ 166 h 1693"/>
              <a:gd name="T24" fmla="*/ 482 w 1506"/>
              <a:gd name="T25" fmla="*/ 330 h 1693"/>
              <a:gd name="T26" fmla="*/ 332 w 1506"/>
              <a:gd name="T27" fmla="*/ 557 h 1693"/>
              <a:gd name="T28" fmla="*/ 616 w 1506"/>
              <a:gd name="T29" fmla="*/ 30 h 1693"/>
              <a:gd name="T30" fmla="*/ 1280 w 1506"/>
              <a:gd name="T31" fmla="*/ 314 h 1693"/>
              <a:gd name="T32" fmla="*/ 1129 w 1506"/>
              <a:gd name="T33" fmla="*/ 783 h 1693"/>
              <a:gd name="T34" fmla="*/ 965 w 1506"/>
              <a:gd name="T35" fmla="*/ 166 h 1693"/>
              <a:gd name="T36" fmla="*/ 1431 w 1506"/>
              <a:gd name="T37" fmla="*/ 1663 h 1693"/>
              <a:gd name="T38" fmla="*/ 136 w 1506"/>
              <a:gd name="T39" fmla="*/ 1618 h 1693"/>
              <a:gd name="T40" fmla="*/ 181 w 1506"/>
              <a:gd name="T41" fmla="*/ 813 h 1693"/>
              <a:gd name="T42" fmla="*/ 1114 w 1506"/>
              <a:gd name="T43" fmla="*/ 813 h 1693"/>
              <a:gd name="T44" fmla="*/ 1295 w 1506"/>
              <a:gd name="T45" fmla="*/ 813 h 1693"/>
              <a:gd name="T46" fmla="*/ 1476 w 1506"/>
              <a:gd name="T47" fmla="*/ 857 h 1693"/>
              <a:gd name="T48" fmla="*/ 170 w 1506"/>
              <a:gd name="T49" fmla="*/ 587 h 1693"/>
              <a:gd name="T50" fmla="*/ 0 w 1506"/>
              <a:gd name="T51" fmla="*/ 572 h 1693"/>
              <a:gd name="T52" fmla="*/ 170 w 1506"/>
              <a:gd name="T53" fmla="*/ 557 h 1693"/>
              <a:gd name="T54" fmla="*/ 170 w 1506"/>
              <a:gd name="T55" fmla="*/ 587 h 1693"/>
              <a:gd name="T56" fmla="*/ 102 w 1506"/>
              <a:gd name="T57" fmla="*/ 396 h 1693"/>
              <a:gd name="T58" fmla="*/ 221 w 1506"/>
              <a:gd name="T59" fmla="*/ 494 h 1693"/>
              <a:gd name="T60" fmla="*/ 211 w 1506"/>
              <a:gd name="T61" fmla="*/ 519 h 1693"/>
              <a:gd name="T62" fmla="*/ 102 w 1506"/>
              <a:gd name="T63" fmla="*/ 417 h 1693"/>
              <a:gd name="T64" fmla="*/ 102 w 1506"/>
              <a:gd name="T65" fmla="*/ 751 h 1693"/>
              <a:gd name="T66" fmla="*/ 200 w 1506"/>
              <a:gd name="T67" fmla="*/ 632 h 1693"/>
              <a:gd name="T68" fmla="*/ 221 w 1506"/>
              <a:gd name="T69" fmla="*/ 653 h 1693"/>
              <a:gd name="T70" fmla="*/ 113 w 1506"/>
              <a:gd name="T71" fmla="*/ 755 h 1693"/>
              <a:gd name="T72" fmla="*/ 833 w 1506"/>
              <a:gd name="T73" fmla="*/ 1491 h 1693"/>
              <a:gd name="T74" fmla="*/ 834 w 1506"/>
              <a:gd name="T75" fmla="*/ 1542 h 1693"/>
              <a:gd name="T76" fmla="*/ 802 w 1506"/>
              <a:gd name="T77" fmla="*/ 1495 h 1693"/>
              <a:gd name="T78" fmla="*/ 781 w 1506"/>
              <a:gd name="T79" fmla="*/ 1496 h 1693"/>
              <a:gd name="T80" fmla="*/ 656 w 1506"/>
              <a:gd name="T81" fmla="*/ 1373 h 1693"/>
              <a:gd name="T82" fmla="*/ 641 w 1506"/>
              <a:gd name="T83" fmla="*/ 1121 h 1693"/>
              <a:gd name="T84" fmla="*/ 802 w 1506"/>
              <a:gd name="T85" fmla="*/ 981 h 1693"/>
              <a:gd name="T86" fmla="*/ 834 w 1506"/>
              <a:gd name="T87" fmla="*/ 934 h 1693"/>
              <a:gd name="T88" fmla="*/ 834 w 1506"/>
              <a:gd name="T89" fmla="*/ 979 h 1693"/>
              <a:gd name="T90" fmla="*/ 955 w 1506"/>
              <a:gd name="T91" fmla="*/ 1102 h 1693"/>
              <a:gd name="T92" fmla="*/ 971 w 1506"/>
              <a:gd name="T93" fmla="*/ 1355 h 1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06" h="1693">
                <a:moveTo>
                  <a:pt x="1431" y="783"/>
                </a:moveTo>
                <a:cubicBezTo>
                  <a:pt x="1310" y="783"/>
                  <a:pt x="1310" y="783"/>
                  <a:pt x="1310" y="783"/>
                </a:cubicBezTo>
                <a:cubicBezTo>
                  <a:pt x="1310" y="314"/>
                  <a:pt x="1310" y="314"/>
                  <a:pt x="1310" y="314"/>
                </a:cubicBezTo>
                <a:cubicBezTo>
                  <a:pt x="1310" y="141"/>
                  <a:pt x="1169" y="0"/>
                  <a:pt x="996" y="0"/>
                </a:cubicBezTo>
                <a:cubicBezTo>
                  <a:pt x="616" y="0"/>
                  <a:pt x="616" y="0"/>
                  <a:pt x="616" y="0"/>
                </a:cubicBezTo>
                <a:cubicBezTo>
                  <a:pt x="443" y="0"/>
                  <a:pt x="302" y="141"/>
                  <a:pt x="302" y="314"/>
                </a:cubicBezTo>
                <a:cubicBezTo>
                  <a:pt x="302" y="572"/>
                  <a:pt x="302" y="572"/>
                  <a:pt x="302" y="572"/>
                </a:cubicBezTo>
                <a:cubicBezTo>
                  <a:pt x="302" y="580"/>
                  <a:pt x="309" y="587"/>
                  <a:pt x="317" y="587"/>
                </a:cubicBezTo>
                <a:cubicBezTo>
                  <a:pt x="497" y="587"/>
                  <a:pt x="497" y="587"/>
                  <a:pt x="497" y="587"/>
                </a:cubicBezTo>
                <a:cubicBezTo>
                  <a:pt x="506" y="587"/>
                  <a:pt x="512" y="580"/>
                  <a:pt x="512" y="572"/>
                </a:cubicBezTo>
                <a:cubicBezTo>
                  <a:pt x="512" y="330"/>
                  <a:pt x="512" y="330"/>
                  <a:pt x="512" y="330"/>
                </a:cubicBezTo>
                <a:cubicBezTo>
                  <a:pt x="512" y="256"/>
                  <a:pt x="573" y="196"/>
                  <a:pt x="647" y="196"/>
                </a:cubicBezTo>
                <a:cubicBezTo>
                  <a:pt x="965" y="196"/>
                  <a:pt x="965" y="196"/>
                  <a:pt x="965" y="196"/>
                </a:cubicBezTo>
                <a:cubicBezTo>
                  <a:pt x="1039" y="196"/>
                  <a:pt x="1099" y="256"/>
                  <a:pt x="1099" y="330"/>
                </a:cubicBezTo>
                <a:cubicBezTo>
                  <a:pt x="1099" y="783"/>
                  <a:pt x="1099" y="783"/>
                  <a:pt x="1099" y="783"/>
                </a:cubicBezTo>
                <a:cubicBezTo>
                  <a:pt x="181" y="783"/>
                  <a:pt x="181" y="783"/>
                  <a:pt x="181" y="783"/>
                </a:cubicBezTo>
                <a:cubicBezTo>
                  <a:pt x="140" y="783"/>
                  <a:pt x="106" y="816"/>
                  <a:pt x="106" y="857"/>
                </a:cubicBezTo>
                <a:cubicBezTo>
                  <a:pt x="106" y="1618"/>
                  <a:pt x="106" y="1618"/>
                  <a:pt x="106" y="1618"/>
                </a:cubicBezTo>
                <a:cubicBezTo>
                  <a:pt x="106" y="1660"/>
                  <a:pt x="140" y="1693"/>
                  <a:pt x="181" y="1693"/>
                </a:cubicBezTo>
                <a:cubicBezTo>
                  <a:pt x="1431" y="1693"/>
                  <a:pt x="1431" y="1693"/>
                  <a:pt x="1431" y="1693"/>
                </a:cubicBezTo>
                <a:cubicBezTo>
                  <a:pt x="1472" y="1693"/>
                  <a:pt x="1506" y="1660"/>
                  <a:pt x="1506" y="1618"/>
                </a:cubicBezTo>
                <a:cubicBezTo>
                  <a:pt x="1506" y="857"/>
                  <a:pt x="1506" y="857"/>
                  <a:pt x="1506" y="857"/>
                </a:cubicBezTo>
                <a:cubicBezTo>
                  <a:pt x="1506" y="816"/>
                  <a:pt x="1472" y="783"/>
                  <a:pt x="1431" y="783"/>
                </a:cubicBezTo>
                <a:close/>
                <a:moveTo>
                  <a:pt x="965" y="166"/>
                </a:moveTo>
                <a:cubicBezTo>
                  <a:pt x="647" y="166"/>
                  <a:pt x="647" y="166"/>
                  <a:pt x="647" y="166"/>
                </a:cubicBezTo>
                <a:cubicBezTo>
                  <a:pt x="556" y="166"/>
                  <a:pt x="482" y="240"/>
                  <a:pt x="482" y="330"/>
                </a:cubicBezTo>
                <a:cubicBezTo>
                  <a:pt x="482" y="557"/>
                  <a:pt x="482" y="557"/>
                  <a:pt x="482" y="557"/>
                </a:cubicBezTo>
                <a:cubicBezTo>
                  <a:pt x="332" y="557"/>
                  <a:pt x="332" y="557"/>
                  <a:pt x="332" y="557"/>
                </a:cubicBezTo>
                <a:cubicBezTo>
                  <a:pt x="332" y="314"/>
                  <a:pt x="332" y="314"/>
                  <a:pt x="332" y="314"/>
                </a:cubicBezTo>
                <a:cubicBezTo>
                  <a:pt x="332" y="157"/>
                  <a:pt x="459" y="30"/>
                  <a:pt x="616" y="30"/>
                </a:cubicBezTo>
                <a:cubicBezTo>
                  <a:pt x="996" y="30"/>
                  <a:pt x="996" y="30"/>
                  <a:pt x="996" y="30"/>
                </a:cubicBezTo>
                <a:cubicBezTo>
                  <a:pt x="1153" y="30"/>
                  <a:pt x="1280" y="157"/>
                  <a:pt x="1280" y="314"/>
                </a:cubicBezTo>
                <a:cubicBezTo>
                  <a:pt x="1280" y="783"/>
                  <a:pt x="1280" y="783"/>
                  <a:pt x="1280" y="783"/>
                </a:cubicBezTo>
                <a:cubicBezTo>
                  <a:pt x="1129" y="783"/>
                  <a:pt x="1129" y="783"/>
                  <a:pt x="1129" y="783"/>
                </a:cubicBezTo>
                <a:cubicBezTo>
                  <a:pt x="1129" y="330"/>
                  <a:pt x="1129" y="330"/>
                  <a:pt x="1129" y="330"/>
                </a:cubicBezTo>
                <a:cubicBezTo>
                  <a:pt x="1129" y="240"/>
                  <a:pt x="1056" y="166"/>
                  <a:pt x="965" y="166"/>
                </a:cubicBezTo>
                <a:close/>
                <a:moveTo>
                  <a:pt x="1476" y="1618"/>
                </a:moveTo>
                <a:cubicBezTo>
                  <a:pt x="1476" y="1643"/>
                  <a:pt x="1456" y="1663"/>
                  <a:pt x="1431" y="1663"/>
                </a:cubicBezTo>
                <a:cubicBezTo>
                  <a:pt x="181" y="1663"/>
                  <a:pt x="181" y="1663"/>
                  <a:pt x="181" y="1663"/>
                </a:cubicBezTo>
                <a:cubicBezTo>
                  <a:pt x="156" y="1663"/>
                  <a:pt x="136" y="1643"/>
                  <a:pt x="136" y="1618"/>
                </a:cubicBezTo>
                <a:cubicBezTo>
                  <a:pt x="136" y="857"/>
                  <a:pt x="136" y="857"/>
                  <a:pt x="136" y="857"/>
                </a:cubicBezTo>
                <a:cubicBezTo>
                  <a:pt x="136" y="833"/>
                  <a:pt x="156" y="813"/>
                  <a:pt x="181" y="813"/>
                </a:cubicBezTo>
                <a:cubicBezTo>
                  <a:pt x="1114" y="813"/>
                  <a:pt x="1114" y="813"/>
                  <a:pt x="1114" y="813"/>
                </a:cubicBezTo>
                <a:cubicBezTo>
                  <a:pt x="1114" y="813"/>
                  <a:pt x="1114" y="813"/>
                  <a:pt x="1114" y="813"/>
                </a:cubicBezTo>
                <a:cubicBezTo>
                  <a:pt x="1295" y="813"/>
                  <a:pt x="1295" y="813"/>
                  <a:pt x="1295" y="813"/>
                </a:cubicBezTo>
                <a:cubicBezTo>
                  <a:pt x="1295" y="813"/>
                  <a:pt x="1295" y="813"/>
                  <a:pt x="1295" y="813"/>
                </a:cubicBezTo>
                <a:cubicBezTo>
                  <a:pt x="1431" y="813"/>
                  <a:pt x="1431" y="813"/>
                  <a:pt x="1431" y="813"/>
                </a:cubicBezTo>
                <a:cubicBezTo>
                  <a:pt x="1456" y="813"/>
                  <a:pt x="1476" y="833"/>
                  <a:pt x="1476" y="857"/>
                </a:cubicBezTo>
                <a:lnTo>
                  <a:pt x="1476" y="1618"/>
                </a:lnTo>
                <a:close/>
                <a:moveTo>
                  <a:pt x="170" y="587"/>
                </a:moveTo>
                <a:cubicBezTo>
                  <a:pt x="15" y="587"/>
                  <a:pt x="15" y="587"/>
                  <a:pt x="15" y="587"/>
                </a:cubicBezTo>
                <a:cubicBezTo>
                  <a:pt x="7" y="587"/>
                  <a:pt x="0" y="580"/>
                  <a:pt x="0" y="572"/>
                </a:cubicBezTo>
                <a:cubicBezTo>
                  <a:pt x="0" y="564"/>
                  <a:pt x="7" y="557"/>
                  <a:pt x="15" y="557"/>
                </a:cubicBezTo>
                <a:cubicBezTo>
                  <a:pt x="170" y="557"/>
                  <a:pt x="170" y="557"/>
                  <a:pt x="170" y="557"/>
                </a:cubicBezTo>
                <a:cubicBezTo>
                  <a:pt x="178" y="557"/>
                  <a:pt x="185" y="564"/>
                  <a:pt x="185" y="572"/>
                </a:cubicBezTo>
                <a:cubicBezTo>
                  <a:pt x="185" y="580"/>
                  <a:pt x="178" y="587"/>
                  <a:pt x="170" y="587"/>
                </a:cubicBezTo>
                <a:close/>
                <a:moveTo>
                  <a:pt x="102" y="417"/>
                </a:moveTo>
                <a:cubicBezTo>
                  <a:pt x="97" y="411"/>
                  <a:pt x="97" y="402"/>
                  <a:pt x="102" y="396"/>
                </a:cubicBezTo>
                <a:cubicBezTo>
                  <a:pt x="108" y="390"/>
                  <a:pt x="118" y="390"/>
                  <a:pt x="124" y="396"/>
                </a:cubicBezTo>
                <a:cubicBezTo>
                  <a:pt x="221" y="494"/>
                  <a:pt x="221" y="494"/>
                  <a:pt x="221" y="494"/>
                </a:cubicBezTo>
                <a:cubicBezTo>
                  <a:pt x="227" y="499"/>
                  <a:pt x="227" y="509"/>
                  <a:pt x="221" y="515"/>
                </a:cubicBezTo>
                <a:cubicBezTo>
                  <a:pt x="218" y="518"/>
                  <a:pt x="215" y="519"/>
                  <a:pt x="211" y="519"/>
                </a:cubicBezTo>
                <a:cubicBezTo>
                  <a:pt x="207" y="519"/>
                  <a:pt x="203" y="518"/>
                  <a:pt x="200" y="515"/>
                </a:cubicBezTo>
                <a:lnTo>
                  <a:pt x="102" y="417"/>
                </a:lnTo>
                <a:close/>
                <a:moveTo>
                  <a:pt x="113" y="755"/>
                </a:moveTo>
                <a:cubicBezTo>
                  <a:pt x="109" y="755"/>
                  <a:pt x="105" y="754"/>
                  <a:pt x="102" y="751"/>
                </a:cubicBezTo>
                <a:cubicBezTo>
                  <a:pt x="97" y="745"/>
                  <a:pt x="97" y="736"/>
                  <a:pt x="102" y="730"/>
                </a:cubicBezTo>
                <a:cubicBezTo>
                  <a:pt x="200" y="632"/>
                  <a:pt x="200" y="632"/>
                  <a:pt x="200" y="632"/>
                </a:cubicBezTo>
                <a:cubicBezTo>
                  <a:pt x="206" y="626"/>
                  <a:pt x="215" y="626"/>
                  <a:pt x="221" y="632"/>
                </a:cubicBezTo>
                <a:cubicBezTo>
                  <a:pt x="227" y="638"/>
                  <a:pt x="227" y="647"/>
                  <a:pt x="221" y="653"/>
                </a:cubicBezTo>
                <a:cubicBezTo>
                  <a:pt x="124" y="751"/>
                  <a:pt x="124" y="751"/>
                  <a:pt x="124" y="751"/>
                </a:cubicBezTo>
                <a:cubicBezTo>
                  <a:pt x="121" y="754"/>
                  <a:pt x="117" y="755"/>
                  <a:pt x="113" y="755"/>
                </a:cubicBezTo>
                <a:close/>
                <a:moveTo>
                  <a:pt x="971" y="1355"/>
                </a:moveTo>
                <a:cubicBezTo>
                  <a:pt x="971" y="1422"/>
                  <a:pt x="910" y="1474"/>
                  <a:pt x="833" y="1491"/>
                </a:cubicBezTo>
                <a:cubicBezTo>
                  <a:pt x="834" y="1491"/>
                  <a:pt x="834" y="1491"/>
                  <a:pt x="834" y="1491"/>
                </a:cubicBezTo>
                <a:cubicBezTo>
                  <a:pt x="834" y="1542"/>
                  <a:pt x="834" y="1542"/>
                  <a:pt x="834" y="1542"/>
                </a:cubicBezTo>
                <a:cubicBezTo>
                  <a:pt x="802" y="1542"/>
                  <a:pt x="802" y="1542"/>
                  <a:pt x="802" y="1542"/>
                </a:cubicBezTo>
                <a:cubicBezTo>
                  <a:pt x="802" y="1495"/>
                  <a:pt x="802" y="1495"/>
                  <a:pt x="802" y="1495"/>
                </a:cubicBezTo>
                <a:cubicBezTo>
                  <a:pt x="803" y="1495"/>
                  <a:pt x="803" y="1495"/>
                  <a:pt x="803" y="1495"/>
                </a:cubicBezTo>
                <a:cubicBezTo>
                  <a:pt x="795" y="1496"/>
                  <a:pt x="788" y="1496"/>
                  <a:pt x="781" y="1496"/>
                </a:cubicBezTo>
                <a:cubicBezTo>
                  <a:pt x="705" y="1496"/>
                  <a:pt x="656" y="1470"/>
                  <a:pt x="656" y="1470"/>
                </a:cubicBezTo>
                <a:cubicBezTo>
                  <a:pt x="656" y="1373"/>
                  <a:pt x="656" y="1373"/>
                  <a:pt x="656" y="1373"/>
                </a:cubicBezTo>
                <a:cubicBezTo>
                  <a:pt x="759" y="1440"/>
                  <a:pt x="873" y="1411"/>
                  <a:pt x="873" y="1359"/>
                </a:cubicBezTo>
                <a:cubicBezTo>
                  <a:pt x="873" y="1265"/>
                  <a:pt x="641" y="1281"/>
                  <a:pt x="641" y="1121"/>
                </a:cubicBezTo>
                <a:cubicBezTo>
                  <a:pt x="641" y="1047"/>
                  <a:pt x="715" y="991"/>
                  <a:pt x="802" y="981"/>
                </a:cubicBezTo>
                <a:cubicBezTo>
                  <a:pt x="802" y="981"/>
                  <a:pt x="802" y="981"/>
                  <a:pt x="802" y="981"/>
                </a:cubicBezTo>
                <a:cubicBezTo>
                  <a:pt x="802" y="934"/>
                  <a:pt x="802" y="934"/>
                  <a:pt x="802" y="934"/>
                </a:cubicBezTo>
                <a:cubicBezTo>
                  <a:pt x="834" y="934"/>
                  <a:pt x="834" y="934"/>
                  <a:pt x="834" y="934"/>
                </a:cubicBezTo>
                <a:cubicBezTo>
                  <a:pt x="834" y="979"/>
                  <a:pt x="834" y="979"/>
                  <a:pt x="834" y="979"/>
                </a:cubicBezTo>
                <a:cubicBezTo>
                  <a:pt x="834" y="979"/>
                  <a:pt x="834" y="979"/>
                  <a:pt x="834" y="979"/>
                </a:cubicBezTo>
                <a:cubicBezTo>
                  <a:pt x="908" y="980"/>
                  <a:pt x="955" y="1006"/>
                  <a:pt x="955" y="1006"/>
                </a:cubicBezTo>
                <a:cubicBezTo>
                  <a:pt x="955" y="1102"/>
                  <a:pt x="955" y="1102"/>
                  <a:pt x="955" y="1102"/>
                </a:cubicBezTo>
                <a:cubicBezTo>
                  <a:pt x="853" y="1035"/>
                  <a:pt x="739" y="1065"/>
                  <a:pt x="739" y="1116"/>
                </a:cubicBezTo>
                <a:cubicBezTo>
                  <a:pt x="739" y="1210"/>
                  <a:pt x="971" y="1195"/>
                  <a:pt x="971" y="1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8" name="Freeform 97"/>
          <p:cNvSpPr/>
          <p:nvPr/>
        </p:nvSpPr>
        <p:spPr>
          <a:xfrm flipH="1">
            <a:off x="5604386" y="2162543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9" name="Freeform 98"/>
          <p:cNvSpPr/>
          <p:nvPr/>
        </p:nvSpPr>
        <p:spPr>
          <a:xfrm flipH="1">
            <a:off x="5604386" y="2992938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00" name="Straight Connector 99"/>
          <p:cNvCxnSpPr>
            <a:stCxn id="98" idx="18"/>
          </p:cNvCxnSpPr>
          <p:nvPr/>
        </p:nvCxnSpPr>
        <p:spPr>
          <a:xfrm flipH="1">
            <a:off x="5220762" y="2565181"/>
            <a:ext cx="390096" cy="152173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>
            <a:stCxn id="99" idx="14"/>
          </p:cNvCxnSpPr>
          <p:nvPr/>
        </p:nvCxnSpPr>
        <p:spPr>
          <a:xfrm flipH="1" flipV="1">
            <a:off x="5220762" y="3111948"/>
            <a:ext cx="390096" cy="152172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/>
          <p:cNvSpPr/>
          <p:nvPr/>
        </p:nvSpPr>
        <p:spPr>
          <a:xfrm>
            <a:off x="2865792" y="2162543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2865792" y="2992938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3399043" y="1527441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399043" y="3628040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 flipH="1">
            <a:off x="5059542" y="1527441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Freeform 12"/>
          <p:cNvSpPr/>
          <p:nvPr/>
        </p:nvSpPr>
        <p:spPr>
          <a:xfrm flipH="1">
            <a:off x="5059542" y="3628040"/>
            <a:ext cx="673822" cy="673820"/>
          </a:xfrm>
          <a:custGeom>
            <a:avLst/>
            <a:gdLst>
              <a:gd name="connsiteX0" fmla="*/ 1399542 w 2799083"/>
              <a:gd name="connsiteY0" fmla="*/ 0 h 2799083"/>
              <a:gd name="connsiteX1" fmla="*/ 1536725 w 2799083"/>
              <a:gd name="connsiteY1" fmla="*/ 6746 h 2799083"/>
              <a:gd name="connsiteX2" fmla="*/ 1672578 w 2799083"/>
              <a:gd name="connsiteY2" fmla="*/ 26885 h 2799083"/>
              <a:gd name="connsiteX3" fmla="*/ 1805800 w 2799083"/>
              <a:gd name="connsiteY3" fmla="*/ 60264 h 2799083"/>
              <a:gd name="connsiteX4" fmla="*/ 1935118 w 2799083"/>
              <a:gd name="connsiteY4" fmla="*/ 106533 h 2799083"/>
              <a:gd name="connsiteX5" fmla="*/ 2059285 w 2799083"/>
              <a:gd name="connsiteY5" fmla="*/ 165258 h 2799083"/>
              <a:gd name="connsiteX6" fmla="*/ 2177085 w 2799083"/>
              <a:gd name="connsiteY6" fmla="*/ 235865 h 2799083"/>
              <a:gd name="connsiteX7" fmla="*/ 2287397 w 2799083"/>
              <a:gd name="connsiteY7" fmla="*/ 317682 h 2799083"/>
              <a:gd name="connsiteX8" fmla="*/ 2389167 w 2799083"/>
              <a:gd name="connsiteY8" fmla="*/ 409916 h 2799083"/>
              <a:gd name="connsiteX9" fmla="*/ 2481401 w 2799083"/>
              <a:gd name="connsiteY9" fmla="*/ 511686 h 2799083"/>
              <a:gd name="connsiteX10" fmla="*/ 2563218 w 2799083"/>
              <a:gd name="connsiteY10" fmla="*/ 621998 h 2799083"/>
              <a:gd name="connsiteX11" fmla="*/ 2633825 w 2799083"/>
              <a:gd name="connsiteY11" fmla="*/ 739798 h 2799083"/>
              <a:gd name="connsiteX12" fmla="*/ 2692550 w 2799083"/>
              <a:gd name="connsiteY12" fmla="*/ 863965 h 2799083"/>
              <a:gd name="connsiteX13" fmla="*/ 2738819 w 2799083"/>
              <a:gd name="connsiteY13" fmla="*/ 993283 h 2799083"/>
              <a:gd name="connsiteX14" fmla="*/ 2772198 w 2799083"/>
              <a:gd name="connsiteY14" fmla="*/ 1126505 h 2799083"/>
              <a:gd name="connsiteX15" fmla="*/ 2792337 w 2799083"/>
              <a:gd name="connsiteY15" fmla="*/ 1262358 h 2799083"/>
              <a:gd name="connsiteX16" fmla="*/ 2799083 w 2799083"/>
              <a:gd name="connsiteY16" fmla="*/ 1399542 h 2799083"/>
              <a:gd name="connsiteX17" fmla="*/ 2792337 w 2799083"/>
              <a:gd name="connsiteY17" fmla="*/ 1536725 h 2799083"/>
              <a:gd name="connsiteX18" fmla="*/ 2772198 w 2799083"/>
              <a:gd name="connsiteY18" fmla="*/ 1672578 h 2799083"/>
              <a:gd name="connsiteX19" fmla="*/ 2738819 w 2799083"/>
              <a:gd name="connsiteY19" fmla="*/ 1805800 h 2799083"/>
              <a:gd name="connsiteX20" fmla="*/ 2692550 w 2799083"/>
              <a:gd name="connsiteY20" fmla="*/ 1935118 h 2799083"/>
              <a:gd name="connsiteX21" fmla="*/ 2633825 w 2799083"/>
              <a:gd name="connsiteY21" fmla="*/ 2059285 h 2799083"/>
              <a:gd name="connsiteX22" fmla="*/ 2563218 w 2799083"/>
              <a:gd name="connsiteY22" fmla="*/ 2177085 h 2799083"/>
              <a:gd name="connsiteX23" fmla="*/ 2481401 w 2799083"/>
              <a:gd name="connsiteY23" fmla="*/ 2287397 h 2799083"/>
              <a:gd name="connsiteX24" fmla="*/ 2389167 w 2799083"/>
              <a:gd name="connsiteY24" fmla="*/ 2389167 h 2799083"/>
              <a:gd name="connsiteX25" fmla="*/ 2287397 w 2799083"/>
              <a:gd name="connsiteY25" fmla="*/ 2481401 h 2799083"/>
              <a:gd name="connsiteX26" fmla="*/ 2177085 w 2799083"/>
              <a:gd name="connsiteY26" fmla="*/ 2563218 h 2799083"/>
              <a:gd name="connsiteX27" fmla="*/ 2059285 w 2799083"/>
              <a:gd name="connsiteY27" fmla="*/ 2633825 h 2799083"/>
              <a:gd name="connsiteX28" fmla="*/ 1935118 w 2799083"/>
              <a:gd name="connsiteY28" fmla="*/ 2692550 h 2799083"/>
              <a:gd name="connsiteX29" fmla="*/ 1805800 w 2799083"/>
              <a:gd name="connsiteY29" fmla="*/ 2738819 h 2799083"/>
              <a:gd name="connsiteX30" fmla="*/ 1672578 w 2799083"/>
              <a:gd name="connsiteY30" fmla="*/ 2772198 h 2799083"/>
              <a:gd name="connsiteX31" fmla="*/ 1536725 w 2799083"/>
              <a:gd name="connsiteY31" fmla="*/ 2792337 h 2799083"/>
              <a:gd name="connsiteX32" fmla="*/ 1399542 w 2799083"/>
              <a:gd name="connsiteY32" fmla="*/ 2799083 h 2799083"/>
              <a:gd name="connsiteX33" fmla="*/ 1262358 w 2799083"/>
              <a:gd name="connsiteY33" fmla="*/ 2792337 h 2799083"/>
              <a:gd name="connsiteX34" fmla="*/ 1126505 w 2799083"/>
              <a:gd name="connsiteY34" fmla="*/ 2772198 h 2799083"/>
              <a:gd name="connsiteX35" fmla="*/ 993283 w 2799083"/>
              <a:gd name="connsiteY35" fmla="*/ 2738819 h 2799083"/>
              <a:gd name="connsiteX36" fmla="*/ 863965 w 2799083"/>
              <a:gd name="connsiteY36" fmla="*/ 2692550 h 2799083"/>
              <a:gd name="connsiteX37" fmla="*/ 739798 w 2799083"/>
              <a:gd name="connsiteY37" fmla="*/ 2633825 h 2799083"/>
              <a:gd name="connsiteX38" fmla="*/ 621998 w 2799083"/>
              <a:gd name="connsiteY38" fmla="*/ 2563218 h 2799083"/>
              <a:gd name="connsiteX39" fmla="*/ 511686 w 2799083"/>
              <a:gd name="connsiteY39" fmla="*/ 2481401 h 2799083"/>
              <a:gd name="connsiteX40" fmla="*/ 409916 w 2799083"/>
              <a:gd name="connsiteY40" fmla="*/ 2389167 h 2799083"/>
              <a:gd name="connsiteX41" fmla="*/ 317682 w 2799083"/>
              <a:gd name="connsiteY41" fmla="*/ 2287397 h 2799083"/>
              <a:gd name="connsiteX42" fmla="*/ 235865 w 2799083"/>
              <a:gd name="connsiteY42" fmla="*/ 2177085 h 2799083"/>
              <a:gd name="connsiteX43" fmla="*/ 165258 w 2799083"/>
              <a:gd name="connsiteY43" fmla="*/ 2059285 h 2799083"/>
              <a:gd name="connsiteX44" fmla="*/ 106533 w 2799083"/>
              <a:gd name="connsiteY44" fmla="*/ 1935118 h 2799083"/>
              <a:gd name="connsiteX45" fmla="*/ 60264 w 2799083"/>
              <a:gd name="connsiteY45" fmla="*/ 1805800 h 2799083"/>
              <a:gd name="connsiteX46" fmla="*/ 26885 w 2799083"/>
              <a:gd name="connsiteY46" fmla="*/ 1672578 h 2799083"/>
              <a:gd name="connsiteX47" fmla="*/ 6746 w 2799083"/>
              <a:gd name="connsiteY47" fmla="*/ 1536725 h 2799083"/>
              <a:gd name="connsiteX48" fmla="*/ 0 w 2799083"/>
              <a:gd name="connsiteY48" fmla="*/ 1399542 h 2799083"/>
              <a:gd name="connsiteX49" fmla="*/ 6746 w 2799083"/>
              <a:gd name="connsiteY49" fmla="*/ 1262358 h 2799083"/>
              <a:gd name="connsiteX50" fmla="*/ 26885 w 2799083"/>
              <a:gd name="connsiteY50" fmla="*/ 1126505 h 2799083"/>
              <a:gd name="connsiteX51" fmla="*/ 60264 w 2799083"/>
              <a:gd name="connsiteY51" fmla="*/ 993283 h 2799083"/>
              <a:gd name="connsiteX52" fmla="*/ 106533 w 2799083"/>
              <a:gd name="connsiteY52" fmla="*/ 863965 h 2799083"/>
              <a:gd name="connsiteX53" fmla="*/ 165258 w 2799083"/>
              <a:gd name="connsiteY53" fmla="*/ 739798 h 2799083"/>
              <a:gd name="connsiteX54" fmla="*/ 235865 w 2799083"/>
              <a:gd name="connsiteY54" fmla="*/ 621998 h 2799083"/>
              <a:gd name="connsiteX55" fmla="*/ 317682 w 2799083"/>
              <a:gd name="connsiteY55" fmla="*/ 511686 h 2799083"/>
              <a:gd name="connsiteX56" fmla="*/ 409916 w 2799083"/>
              <a:gd name="connsiteY56" fmla="*/ 409916 h 2799083"/>
              <a:gd name="connsiteX57" fmla="*/ 511686 w 2799083"/>
              <a:gd name="connsiteY57" fmla="*/ 317682 h 2799083"/>
              <a:gd name="connsiteX58" fmla="*/ 621998 w 2799083"/>
              <a:gd name="connsiteY58" fmla="*/ 235865 h 2799083"/>
              <a:gd name="connsiteX59" fmla="*/ 739798 w 2799083"/>
              <a:gd name="connsiteY59" fmla="*/ 165258 h 2799083"/>
              <a:gd name="connsiteX60" fmla="*/ 863965 w 2799083"/>
              <a:gd name="connsiteY60" fmla="*/ 106533 h 2799083"/>
              <a:gd name="connsiteX61" fmla="*/ 993283 w 2799083"/>
              <a:gd name="connsiteY61" fmla="*/ 60264 h 2799083"/>
              <a:gd name="connsiteX62" fmla="*/ 1126505 w 2799083"/>
              <a:gd name="connsiteY62" fmla="*/ 26885 h 2799083"/>
              <a:gd name="connsiteX63" fmla="*/ 1262358 w 2799083"/>
              <a:gd name="connsiteY63" fmla="*/ 6746 h 2799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799083" h="2799083">
                <a:moveTo>
                  <a:pt x="1399542" y="0"/>
                </a:moveTo>
                <a:lnTo>
                  <a:pt x="1536725" y="6746"/>
                </a:lnTo>
                <a:lnTo>
                  <a:pt x="1672578" y="26885"/>
                </a:lnTo>
                <a:lnTo>
                  <a:pt x="1805800" y="60264"/>
                </a:lnTo>
                <a:lnTo>
                  <a:pt x="1935118" y="106533"/>
                </a:lnTo>
                <a:lnTo>
                  <a:pt x="2059285" y="165258"/>
                </a:lnTo>
                <a:lnTo>
                  <a:pt x="2177085" y="235865"/>
                </a:lnTo>
                <a:lnTo>
                  <a:pt x="2287397" y="317682"/>
                </a:lnTo>
                <a:lnTo>
                  <a:pt x="2389167" y="409916"/>
                </a:lnTo>
                <a:lnTo>
                  <a:pt x="2481401" y="511686"/>
                </a:lnTo>
                <a:lnTo>
                  <a:pt x="2563218" y="621998"/>
                </a:lnTo>
                <a:lnTo>
                  <a:pt x="2633825" y="739798"/>
                </a:lnTo>
                <a:lnTo>
                  <a:pt x="2692550" y="863965"/>
                </a:lnTo>
                <a:lnTo>
                  <a:pt x="2738819" y="993283"/>
                </a:lnTo>
                <a:lnTo>
                  <a:pt x="2772198" y="1126505"/>
                </a:lnTo>
                <a:lnTo>
                  <a:pt x="2792337" y="1262358"/>
                </a:lnTo>
                <a:lnTo>
                  <a:pt x="2799083" y="1399542"/>
                </a:lnTo>
                <a:lnTo>
                  <a:pt x="2792337" y="1536725"/>
                </a:lnTo>
                <a:lnTo>
                  <a:pt x="2772198" y="1672578"/>
                </a:lnTo>
                <a:lnTo>
                  <a:pt x="2738819" y="1805800"/>
                </a:lnTo>
                <a:lnTo>
                  <a:pt x="2692550" y="1935118"/>
                </a:lnTo>
                <a:lnTo>
                  <a:pt x="2633825" y="2059285"/>
                </a:lnTo>
                <a:lnTo>
                  <a:pt x="2563218" y="2177085"/>
                </a:lnTo>
                <a:lnTo>
                  <a:pt x="2481401" y="2287397"/>
                </a:lnTo>
                <a:lnTo>
                  <a:pt x="2389167" y="2389167"/>
                </a:lnTo>
                <a:lnTo>
                  <a:pt x="2287397" y="2481401"/>
                </a:lnTo>
                <a:lnTo>
                  <a:pt x="2177085" y="2563218"/>
                </a:lnTo>
                <a:lnTo>
                  <a:pt x="2059285" y="2633825"/>
                </a:lnTo>
                <a:lnTo>
                  <a:pt x="1935118" y="2692550"/>
                </a:lnTo>
                <a:lnTo>
                  <a:pt x="1805800" y="2738819"/>
                </a:lnTo>
                <a:lnTo>
                  <a:pt x="1672578" y="2772198"/>
                </a:lnTo>
                <a:lnTo>
                  <a:pt x="1536725" y="2792337"/>
                </a:lnTo>
                <a:lnTo>
                  <a:pt x="1399542" y="2799083"/>
                </a:lnTo>
                <a:lnTo>
                  <a:pt x="1262358" y="2792337"/>
                </a:lnTo>
                <a:lnTo>
                  <a:pt x="1126505" y="2772198"/>
                </a:lnTo>
                <a:lnTo>
                  <a:pt x="993283" y="2738819"/>
                </a:lnTo>
                <a:lnTo>
                  <a:pt x="863965" y="2692550"/>
                </a:lnTo>
                <a:lnTo>
                  <a:pt x="739798" y="2633825"/>
                </a:lnTo>
                <a:lnTo>
                  <a:pt x="621998" y="2563218"/>
                </a:lnTo>
                <a:lnTo>
                  <a:pt x="511686" y="2481401"/>
                </a:lnTo>
                <a:lnTo>
                  <a:pt x="409916" y="2389167"/>
                </a:lnTo>
                <a:lnTo>
                  <a:pt x="317682" y="2287397"/>
                </a:lnTo>
                <a:lnTo>
                  <a:pt x="235865" y="2177085"/>
                </a:lnTo>
                <a:lnTo>
                  <a:pt x="165258" y="2059285"/>
                </a:lnTo>
                <a:lnTo>
                  <a:pt x="106533" y="1935118"/>
                </a:lnTo>
                <a:lnTo>
                  <a:pt x="60264" y="1805800"/>
                </a:lnTo>
                <a:lnTo>
                  <a:pt x="26885" y="1672578"/>
                </a:lnTo>
                <a:lnTo>
                  <a:pt x="6746" y="1536725"/>
                </a:lnTo>
                <a:lnTo>
                  <a:pt x="0" y="1399542"/>
                </a:lnTo>
                <a:lnTo>
                  <a:pt x="6746" y="1262358"/>
                </a:lnTo>
                <a:lnTo>
                  <a:pt x="26885" y="1126505"/>
                </a:lnTo>
                <a:lnTo>
                  <a:pt x="60264" y="993283"/>
                </a:lnTo>
                <a:lnTo>
                  <a:pt x="106533" y="863965"/>
                </a:lnTo>
                <a:lnTo>
                  <a:pt x="165258" y="739798"/>
                </a:lnTo>
                <a:lnTo>
                  <a:pt x="235865" y="621998"/>
                </a:lnTo>
                <a:lnTo>
                  <a:pt x="317682" y="511686"/>
                </a:lnTo>
                <a:lnTo>
                  <a:pt x="409916" y="409916"/>
                </a:lnTo>
                <a:lnTo>
                  <a:pt x="511686" y="317682"/>
                </a:lnTo>
                <a:lnTo>
                  <a:pt x="621998" y="235865"/>
                </a:lnTo>
                <a:lnTo>
                  <a:pt x="739798" y="165258"/>
                </a:lnTo>
                <a:lnTo>
                  <a:pt x="863965" y="106533"/>
                </a:lnTo>
                <a:lnTo>
                  <a:pt x="993283" y="60264"/>
                </a:lnTo>
                <a:lnTo>
                  <a:pt x="1126505" y="26885"/>
                </a:lnTo>
                <a:lnTo>
                  <a:pt x="1262358" y="674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75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4" name="Straight Connector 13"/>
          <p:cNvCxnSpPr>
            <a:stCxn id="8" idx="24"/>
          </p:cNvCxnSpPr>
          <p:nvPr/>
        </p:nvCxnSpPr>
        <p:spPr>
          <a:xfrm>
            <a:off x="3974186" y="2102582"/>
            <a:ext cx="221855" cy="246938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6" idx="18"/>
          </p:cNvCxnSpPr>
          <p:nvPr/>
        </p:nvCxnSpPr>
        <p:spPr>
          <a:xfrm>
            <a:off x="3533142" y="2565181"/>
            <a:ext cx="390097" cy="152173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7" idx="14"/>
          </p:cNvCxnSpPr>
          <p:nvPr/>
        </p:nvCxnSpPr>
        <p:spPr>
          <a:xfrm flipV="1">
            <a:off x="3533142" y="3111948"/>
            <a:ext cx="390097" cy="152172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9" idx="8"/>
          </p:cNvCxnSpPr>
          <p:nvPr/>
        </p:nvCxnSpPr>
        <p:spPr>
          <a:xfrm flipV="1">
            <a:off x="3974186" y="3514409"/>
            <a:ext cx="244630" cy="212310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8"/>
          </p:cNvCxnSpPr>
          <p:nvPr/>
        </p:nvCxnSpPr>
        <p:spPr>
          <a:xfrm flipH="1" flipV="1">
            <a:off x="4909014" y="3517370"/>
            <a:ext cx="249207" cy="209349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2" idx="24"/>
          </p:cNvCxnSpPr>
          <p:nvPr/>
        </p:nvCxnSpPr>
        <p:spPr>
          <a:xfrm flipH="1">
            <a:off x="4951257" y="2102582"/>
            <a:ext cx="206964" cy="246938"/>
          </a:xfrm>
          <a:prstGeom prst="line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2"/>
          <p:cNvSpPr txBox="1">
            <a:spLocks/>
          </p:cNvSpPr>
          <p:nvPr/>
        </p:nvSpPr>
        <p:spPr>
          <a:xfrm>
            <a:off x="3437755" y="1741240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Definir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  <a:p>
            <a:r>
              <a:rPr lang="en-US" sz="800" spc="0" dirty="0">
                <a:solidFill>
                  <a:schemeClr val="bg1"/>
                </a:solidFill>
                <a:latin typeface="Lato" panose="020F0502020204030203" pitchFamily="34" charset="0"/>
              </a:rPr>
              <a:t> </a:t>
            </a:r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Valores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2" name="Title 2"/>
          <p:cNvSpPr txBox="1">
            <a:spLocks/>
          </p:cNvSpPr>
          <p:nvPr/>
        </p:nvSpPr>
        <p:spPr>
          <a:xfrm>
            <a:off x="2904504" y="2376342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Definir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Metas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3" name="Title 2"/>
          <p:cNvSpPr txBox="1">
            <a:spLocks/>
          </p:cNvSpPr>
          <p:nvPr/>
        </p:nvSpPr>
        <p:spPr>
          <a:xfrm>
            <a:off x="2904504" y="3206737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Qualidade</a:t>
            </a:r>
            <a:r>
              <a:rPr lang="en-US" sz="800" spc="0" dirty="0">
                <a:solidFill>
                  <a:schemeClr val="bg1"/>
                </a:solidFill>
                <a:latin typeface="Lato" panose="020F0502020204030203" pitchFamily="34" charset="0"/>
              </a:rPr>
              <a:t> do </a:t>
            </a:r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Produto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2" name="Title 2"/>
          <p:cNvSpPr txBox="1">
            <a:spLocks/>
          </p:cNvSpPr>
          <p:nvPr/>
        </p:nvSpPr>
        <p:spPr>
          <a:xfrm>
            <a:off x="3437755" y="3841839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r>
              <a:rPr lang="en-US" sz="800" spc="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Vendas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3" name="Title 2"/>
          <p:cNvSpPr txBox="1">
            <a:spLocks/>
          </p:cNvSpPr>
          <p:nvPr/>
        </p:nvSpPr>
        <p:spPr>
          <a:xfrm>
            <a:off x="5098254" y="3841839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r>
              <a:rPr lang="en-US" sz="800" spc="0" dirty="0">
                <a:solidFill>
                  <a:schemeClr val="bg1"/>
                </a:solidFill>
                <a:latin typeface="Lato" panose="020F0502020204030203" pitchFamily="34" charset="0"/>
              </a:rPr>
              <a:t> </a:t>
            </a:r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riativa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4" name="Title 2"/>
          <p:cNvSpPr txBox="1">
            <a:spLocks/>
          </p:cNvSpPr>
          <p:nvPr/>
        </p:nvSpPr>
        <p:spPr>
          <a:xfrm>
            <a:off x="5643098" y="3268293"/>
            <a:ext cx="596398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Experiência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5" name="Title 2"/>
          <p:cNvSpPr txBox="1">
            <a:spLocks/>
          </p:cNvSpPr>
          <p:nvPr/>
        </p:nvSpPr>
        <p:spPr>
          <a:xfrm>
            <a:off x="5643098" y="2437898"/>
            <a:ext cx="596398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Inovação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6" name="Title 2"/>
          <p:cNvSpPr txBox="1">
            <a:spLocks/>
          </p:cNvSpPr>
          <p:nvPr/>
        </p:nvSpPr>
        <p:spPr>
          <a:xfrm>
            <a:off x="5098254" y="1741240"/>
            <a:ext cx="596398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uidados</a:t>
            </a:r>
            <a:r>
              <a:rPr lang="en-US" sz="800" spc="0" dirty="0">
                <a:solidFill>
                  <a:schemeClr val="bg1"/>
                </a:solidFill>
                <a:latin typeface="Lato" panose="020F0502020204030203" pitchFamily="34" charset="0"/>
              </a:rPr>
              <a:t> do </a:t>
            </a:r>
            <a:r>
              <a:rPr lang="en-US" sz="8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liente</a:t>
            </a:r>
            <a:endParaRPr lang="en-US" sz="8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047062" y="1710560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575254" y="2347437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575254" y="3177832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047062" y="3816684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747438" y="2347437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747438" y="3177832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270800" y="1710560"/>
            <a:ext cx="1821308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270800" y="3816684"/>
            <a:ext cx="1821308" cy="2843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Maecena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dolor at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es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vehicu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, vitae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iacul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orci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</a:rPr>
              <a:t>sollicitudin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12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lemento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sucess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32-Point Star 83"/>
          <p:cNvSpPr/>
          <p:nvPr/>
        </p:nvSpPr>
        <p:spPr>
          <a:xfrm>
            <a:off x="3561900" y="1898151"/>
            <a:ext cx="2032797" cy="2032798"/>
          </a:xfrm>
          <a:custGeom>
            <a:avLst/>
            <a:gdLst>
              <a:gd name="connsiteX0" fmla="*/ 0 w 4709902"/>
              <a:gd name="connsiteY0" fmla="*/ 2354951 h 4709902"/>
              <a:gd name="connsiteX1" fmla="*/ 11351 w 4709902"/>
              <a:gd name="connsiteY1" fmla="*/ 2124119 h 4709902"/>
              <a:gd name="connsiteX2" fmla="*/ 45239 w 4709902"/>
              <a:gd name="connsiteY2" fmla="*/ 1895524 h 4709902"/>
              <a:gd name="connsiteX3" fmla="*/ 101404 w 4709902"/>
              <a:gd name="connsiteY3" fmla="*/ 1671356 h 4709902"/>
              <a:gd name="connsiteX4" fmla="*/ 179259 w 4709902"/>
              <a:gd name="connsiteY4" fmla="*/ 1453758 h 4709902"/>
              <a:gd name="connsiteX5" fmla="*/ 278073 w 4709902"/>
              <a:gd name="connsiteY5" fmla="*/ 1244827 h 4709902"/>
              <a:gd name="connsiteX6" fmla="*/ 396880 w 4709902"/>
              <a:gd name="connsiteY6" fmla="*/ 1046611 h 4709902"/>
              <a:gd name="connsiteX7" fmla="*/ 534550 w 4709902"/>
              <a:gd name="connsiteY7" fmla="*/ 860994 h 4709902"/>
              <a:gd name="connsiteX8" fmla="*/ 689749 w 4709902"/>
              <a:gd name="connsiteY8" fmla="*/ 689749 h 4709902"/>
              <a:gd name="connsiteX9" fmla="*/ 860994 w 4709902"/>
              <a:gd name="connsiteY9" fmla="*/ 534550 h 4709902"/>
              <a:gd name="connsiteX10" fmla="*/ 1046611 w 4709902"/>
              <a:gd name="connsiteY10" fmla="*/ 396880 h 4709902"/>
              <a:gd name="connsiteX11" fmla="*/ 1244827 w 4709902"/>
              <a:gd name="connsiteY11" fmla="*/ 278073 h 4709902"/>
              <a:gd name="connsiteX12" fmla="*/ 1453758 w 4709902"/>
              <a:gd name="connsiteY12" fmla="*/ 179259 h 4709902"/>
              <a:gd name="connsiteX13" fmla="*/ 1671356 w 4709902"/>
              <a:gd name="connsiteY13" fmla="*/ 101404 h 4709902"/>
              <a:gd name="connsiteX14" fmla="*/ 1895524 w 4709902"/>
              <a:gd name="connsiteY14" fmla="*/ 45239 h 4709902"/>
              <a:gd name="connsiteX15" fmla="*/ 2124119 w 4709902"/>
              <a:gd name="connsiteY15" fmla="*/ 11351 h 4709902"/>
              <a:gd name="connsiteX16" fmla="*/ 2354951 w 4709902"/>
              <a:gd name="connsiteY16" fmla="*/ 0 h 4709902"/>
              <a:gd name="connsiteX17" fmla="*/ 2585783 w 4709902"/>
              <a:gd name="connsiteY17" fmla="*/ 11351 h 4709902"/>
              <a:gd name="connsiteX18" fmla="*/ 2814378 w 4709902"/>
              <a:gd name="connsiteY18" fmla="*/ 45239 h 4709902"/>
              <a:gd name="connsiteX19" fmla="*/ 3038546 w 4709902"/>
              <a:gd name="connsiteY19" fmla="*/ 101404 h 4709902"/>
              <a:gd name="connsiteX20" fmla="*/ 3256144 w 4709902"/>
              <a:gd name="connsiteY20" fmla="*/ 179259 h 4709902"/>
              <a:gd name="connsiteX21" fmla="*/ 3465075 w 4709902"/>
              <a:gd name="connsiteY21" fmla="*/ 278073 h 4709902"/>
              <a:gd name="connsiteX22" fmla="*/ 3663291 w 4709902"/>
              <a:gd name="connsiteY22" fmla="*/ 396880 h 4709902"/>
              <a:gd name="connsiteX23" fmla="*/ 3848908 w 4709902"/>
              <a:gd name="connsiteY23" fmla="*/ 534550 h 4709902"/>
              <a:gd name="connsiteX24" fmla="*/ 4020153 w 4709902"/>
              <a:gd name="connsiteY24" fmla="*/ 689749 h 4709902"/>
              <a:gd name="connsiteX25" fmla="*/ 4175352 w 4709902"/>
              <a:gd name="connsiteY25" fmla="*/ 860994 h 4709902"/>
              <a:gd name="connsiteX26" fmla="*/ 4313022 w 4709902"/>
              <a:gd name="connsiteY26" fmla="*/ 1046611 h 4709902"/>
              <a:gd name="connsiteX27" fmla="*/ 4431829 w 4709902"/>
              <a:gd name="connsiteY27" fmla="*/ 1244827 h 4709902"/>
              <a:gd name="connsiteX28" fmla="*/ 4530643 w 4709902"/>
              <a:gd name="connsiteY28" fmla="*/ 1453758 h 4709902"/>
              <a:gd name="connsiteX29" fmla="*/ 4608498 w 4709902"/>
              <a:gd name="connsiteY29" fmla="*/ 1671356 h 4709902"/>
              <a:gd name="connsiteX30" fmla="*/ 4664663 w 4709902"/>
              <a:gd name="connsiteY30" fmla="*/ 1895524 h 4709902"/>
              <a:gd name="connsiteX31" fmla="*/ 4698551 w 4709902"/>
              <a:gd name="connsiteY31" fmla="*/ 2124119 h 4709902"/>
              <a:gd name="connsiteX32" fmla="*/ 4709902 w 4709902"/>
              <a:gd name="connsiteY32" fmla="*/ 2354951 h 4709902"/>
              <a:gd name="connsiteX33" fmla="*/ 4698551 w 4709902"/>
              <a:gd name="connsiteY33" fmla="*/ 2585783 h 4709902"/>
              <a:gd name="connsiteX34" fmla="*/ 4664663 w 4709902"/>
              <a:gd name="connsiteY34" fmla="*/ 2814378 h 4709902"/>
              <a:gd name="connsiteX35" fmla="*/ 4608498 w 4709902"/>
              <a:gd name="connsiteY35" fmla="*/ 3038546 h 4709902"/>
              <a:gd name="connsiteX36" fmla="*/ 4530643 w 4709902"/>
              <a:gd name="connsiteY36" fmla="*/ 3256144 h 4709902"/>
              <a:gd name="connsiteX37" fmla="*/ 4431829 w 4709902"/>
              <a:gd name="connsiteY37" fmla="*/ 3465075 h 4709902"/>
              <a:gd name="connsiteX38" fmla="*/ 4313022 w 4709902"/>
              <a:gd name="connsiteY38" fmla="*/ 3663291 h 4709902"/>
              <a:gd name="connsiteX39" fmla="*/ 4175352 w 4709902"/>
              <a:gd name="connsiteY39" fmla="*/ 3848908 h 4709902"/>
              <a:gd name="connsiteX40" fmla="*/ 4020153 w 4709902"/>
              <a:gd name="connsiteY40" fmla="*/ 4020153 h 4709902"/>
              <a:gd name="connsiteX41" fmla="*/ 3848908 w 4709902"/>
              <a:gd name="connsiteY41" fmla="*/ 4175352 h 4709902"/>
              <a:gd name="connsiteX42" fmla="*/ 3663291 w 4709902"/>
              <a:gd name="connsiteY42" fmla="*/ 4313022 h 4709902"/>
              <a:gd name="connsiteX43" fmla="*/ 3465075 w 4709902"/>
              <a:gd name="connsiteY43" fmla="*/ 4431829 h 4709902"/>
              <a:gd name="connsiteX44" fmla="*/ 3256144 w 4709902"/>
              <a:gd name="connsiteY44" fmla="*/ 4530643 h 4709902"/>
              <a:gd name="connsiteX45" fmla="*/ 3038546 w 4709902"/>
              <a:gd name="connsiteY45" fmla="*/ 4608498 h 4709902"/>
              <a:gd name="connsiteX46" fmla="*/ 2814378 w 4709902"/>
              <a:gd name="connsiteY46" fmla="*/ 4664663 h 4709902"/>
              <a:gd name="connsiteX47" fmla="*/ 2585783 w 4709902"/>
              <a:gd name="connsiteY47" fmla="*/ 4698551 h 4709902"/>
              <a:gd name="connsiteX48" fmla="*/ 2354951 w 4709902"/>
              <a:gd name="connsiteY48" fmla="*/ 4709902 h 4709902"/>
              <a:gd name="connsiteX49" fmla="*/ 2124119 w 4709902"/>
              <a:gd name="connsiteY49" fmla="*/ 4698551 h 4709902"/>
              <a:gd name="connsiteX50" fmla="*/ 1895524 w 4709902"/>
              <a:gd name="connsiteY50" fmla="*/ 4664663 h 4709902"/>
              <a:gd name="connsiteX51" fmla="*/ 1671356 w 4709902"/>
              <a:gd name="connsiteY51" fmla="*/ 4608498 h 4709902"/>
              <a:gd name="connsiteX52" fmla="*/ 1453758 w 4709902"/>
              <a:gd name="connsiteY52" fmla="*/ 4530643 h 4709902"/>
              <a:gd name="connsiteX53" fmla="*/ 1244827 w 4709902"/>
              <a:gd name="connsiteY53" fmla="*/ 4431829 h 4709902"/>
              <a:gd name="connsiteX54" fmla="*/ 1046611 w 4709902"/>
              <a:gd name="connsiteY54" fmla="*/ 4313022 h 4709902"/>
              <a:gd name="connsiteX55" fmla="*/ 860994 w 4709902"/>
              <a:gd name="connsiteY55" fmla="*/ 4175352 h 4709902"/>
              <a:gd name="connsiteX56" fmla="*/ 689749 w 4709902"/>
              <a:gd name="connsiteY56" fmla="*/ 4020153 h 4709902"/>
              <a:gd name="connsiteX57" fmla="*/ 534550 w 4709902"/>
              <a:gd name="connsiteY57" fmla="*/ 3848908 h 4709902"/>
              <a:gd name="connsiteX58" fmla="*/ 396880 w 4709902"/>
              <a:gd name="connsiteY58" fmla="*/ 3663291 h 4709902"/>
              <a:gd name="connsiteX59" fmla="*/ 278073 w 4709902"/>
              <a:gd name="connsiteY59" fmla="*/ 3465075 h 4709902"/>
              <a:gd name="connsiteX60" fmla="*/ 179259 w 4709902"/>
              <a:gd name="connsiteY60" fmla="*/ 3256144 h 4709902"/>
              <a:gd name="connsiteX61" fmla="*/ 101404 w 4709902"/>
              <a:gd name="connsiteY61" fmla="*/ 3038546 h 4709902"/>
              <a:gd name="connsiteX62" fmla="*/ 45239 w 4709902"/>
              <a:gd name="connsiteY62" fmla="*/ 2814378 h 4709902"/>
              <a:gd name="connsiteX63" fmla="*/ 11351 w 4709902"/>
              <a:gd name="connsiteY63" fmla="*/ 2585783 h 4709902"/>
              <a:gd name="connsiteX64" fmla="*/ 0 w 4709902"/>
              <a:gd name="connsiteY64" fmla="*/ 2354951 h 4709902"/>
              <a:gd name="connsiteX0" fmla="*/ 0 w 4709902"/>
              <a:gd name="connsiteY0" fmla="*/ 2354951 h 4709902"/>
              <a:gd name="connsiteX1" fmla="*/ 11351 w 4709902"/>
              <a:gd name="connsiteY1" fmla="*/ 2124119 h 4709902"/>
              <a:gd name="connsiteX2" fmla="*/ 45239 w 4709902"/>
              <a:gd name="connsiteY2" fmla="*/ 1895524 h 4709902"/>
              <a:gd name="connsiteX3" fmla="*/ 101404 w 4709902"/>
              <a:gd name="connsiteY3" fmla="*/ 1671356 h 4709902"/>
              <a:gd name="connsiteX4" fmla="*/ 179259 w 4709902"/>
              <a:gd name="connsiteY4" fmla="*/ 1453758 h 4709902"/>
              <a:gd name="connsiteX5" fmla="*/ 278073 w 4709902"/>
              <a:gd name="connsiteY5" fmla="*/ 1244827 h 4709902"/>
              <a:gd name="connsiteX6" fmla="*/ 396880 w 4709902"/>
              <a:gd name="connsiteY6" fmla="*/ 1046611 h 4709902"/>
              <a:gd name="connsiteX7" fmla="*/ 534550 w 4709902"/>
              <a:gd name="connsiteY7" fmla="*/ 860994 h 4709902"/>
              <a:gd name="connsiteX8" fmla="*/ 689749 w 4709902"/>
              <a:gd name="connsiteY8" fmla="*/ 689749 h 4709902"/>
              <a:gd name="connsiteX9" fmla="*/ 860994 w 4709902"/>
              <a:gd name="connsiteY9" fmla="*/ 534550 h 4709902"/>
              <a:gd name="connsiteX10" fmla="*/ 1046611 w 4709902"/>
              <a:gd name="connsiteY10" fmla="*/ 396880 h 4709902"/>
              <a:gd name="connsiteX11" fmla="*/ 1244827 w 4709902"/>
              <a:gd name="connsiteY11" fmla="*/ 278073 h 4709902"/>
              <a:gd name="connsiteX12" fmla="*/ 1453758 w 4709902"/>
              <a:gd name="connsiteY12" fmla="*/ 179259 h 4709902"/>
              <a:gd name="connsiteX13" fmla="*/ 1671356 w 4709902"/>
              <a:gd name="connsiteY13" fmla="*/ 101404 h 4709902"/>
              <a:gd name="connsiteX14" fmla="*/ 1895524 w 4709902"/>
              <a:gd name="connsiteY14" fmla="*/ 45239 h 4709902"/>
              <a:gd name="connsiteX15" fmla="*/ 2124119 w 4709902"/>
              <a:gd name="connsiteY15" fmla="*/ 11351 h 4709902"/>
              <a:gd name="connsiteX16" fmla="*/ 2354951 w 4709902"/>
              <a:gd name="connsiteY16" fmla="*/ 0 h 4709902"/>
              <a:gd name="connsiteX17" fmla="*/ 2585783 w 4709902"/>
              <a:gd name="connsiteY17" fmla="*/ 11351 h 4709902"/>
              <a:gd name="connsiteX18" fmla="*/ 2814378 w 4709902"/>
              <a:gd name="connsiteY18" fmla="*/ 45239 h 4709902"/>
              <a:gd name="connsiteX19" fmla="*/ 3038546 w 4709902"/>
              <a:gd name="connsiteY19" fmla="*/ 101404 h 4709902"/>
              <a:gd name="connsiteX20" fmla="*/ 3256144 w 4709902"/>
              <a:gd name="connsiteY20" fmla="*/ 179259 h 4709902"/>
              <a:gd name="connsiteX21" fmla="*/ 3465075 w 4709902"/>
              <a:gd name="connsiteY21" fmla="*/ 278073 h 4709902"/>
              <a:gd name="connsiteX22" fmla="*/ 3663291 w 4709902"/>
              <a:gd name="connsiteY22" fmla="*/ 396880 h 4709902"/>
              <a:gd name="connsiteX23" fmla="*/ 3848908 w 4709902"/>
              <a:gd name="connsiteY23" fmla="*/ 534550 h 4709902"/>
              <a:gd name="connsiteX24" fmla="*/ 4020153 w 4709902"/>
              <a:gd name="connsiteY24" fmla="*/ 689749 h 4709902"/>
              <a:gd name="connsiteX25" fmla="*/ 4175352 w 4709902"/>
              <a:gd name="connsiteY25" fmla="*/ 860994 h 4709902"/>
              <a:gd name="connsiteX26" fmla="*/ 4313022 w 4709902"/>
              <a:gd name="connsiteY26" fmla="*/ 1046611 h 4709902"/>
              <a:gd name="connsiteX27" fmla="*/ 4447069 w 4709902"/>
              <a:gd name="connsiteY27" fmla="*/ 1239747 h 4709902"/>
              <a:gd name="connsiteX28" fmla="*/ 4530643 w 4709902"/>
              <a:gd name="connsiteY28" fmla="*/ 1453758 h 4709902"/>
              <a:gd name="connsiteX29" fmla="*/ 4608498 w 4709902"/>
              <a:gd name="connsiteY29" fmla="*/ 1671356 h 4709902"/>
              <a:gd name="connsiteX30" fmla="*/ 4664663 w 4709902"/>
              <a:gd name="connsiteY30" fmla="*/ 1895524 h 4709902"/>
              <a:gd name="connsiteX31" fmla="*/ 4698551 w 4709902"/>
              <a:gd name="connsiteY31" fmla="*/ 2124119 h 4709902"/>
              <a:gd name="connsiteX32" fmla="*/ 4709902 w 4709902"/>
              <a:gd name="connsiteY32" fmla="*/ 2354951 h 4709902"/>
              <a:gd name="connsiteX33" fmla="*/ 4698551 w 4709902"/>
              <a:gd name="connsiteY33" fmla="*/ 2585783 h 4709902"/>
              <a:gd name="connsiteX34" fmla="*/ 4664663 w 4709902"/>
              <a:gd name="connsiteY34" fmla="*/ 2814378 h 4709902"/>
              <a:gd name="connsiteX35" fmla="*/ 4608498 w 4709902"/>
              <a:gd name="connsiteY35" fmla="*/ 3038546 h 4709902"/>
              <a:gd name="connsiteX36" fmla="*/ 4530643 w 4709902"/>
              <a:gd name="connsiteY36" fmla="*/ 3256144 h 4709902"/>
              <a:gd name="connsiteX37" fmla="*/ 4431829 w 4709902"/>
              <a:gd name="connsiteY37" fmla="*/ 3465075 h 4709902"/>
              <a:gd name="connsiteX38" fmla="*/ 4313022 w 4709902"/>
              <a:gd name="connsiteY38" fmla="*/ 3663291 h 4709902"/>
              <a:gd name="connsiteX39" fmla="*/ 4175352 w 4709902"/>
              <a:gd name="connsiteY39" fmla="*/ 3848908 h 4709902"/>
              <a:gd name="connsiteX40" fmla="*/ 4020153 w 4709902"/>
              <a:gd name="connsiteY40" fmla="*/ 4020153 h 4709902"/>
              <a:gd name="connsiteX41" fmla="*/ 3848908 w 4709902"/>
              <a:gd name="connsiteY41" fmla="*/ 4175352 h 4709902"/>
              <a:gd name="connsiteX42" fmla="*/ 3663291 w 4709902"/>
              <a:gd name="connsiteY42" fmla="*/ 4313022 h 4709902"/>
              <a:gd name="connsiteX43" fmla="*/ 3465075 w 4709902"/>
              <a:gd name="connsiteY43" fmla="*/ 4431829 h 4709902"/>
              <a:gd name="connsiteX44" fmla="*/ 3256144 w 4709902"/>
              <a:gd name="connsiteY44" fmla="*/ 4530643 h 4709902"/>
              <a:gd name="connsiteX45" fmla="*/ 3038546 w 4709902"/>
              <a:gd name="connsiteY45" fmla="*/ 4608498 h 4709902"/>
              <a:gd name="connsiteX46" fmla="*/ 2814378 w 4709902"/>
              <a:gd name="connsiteY46" fmla="*/ 4664663 h 4709902"/>
              <a:gd name="connsiteX47" fmla="*/ 2585783 w 4709902"/>
              <a:gd name="connsiteY47" fmla="*/ 4698551 h 4709902"/>
              <a:gd name="connsiteX48" fmla="*/ 2354951 w 4709902"/>
              <a:gd name="connsiteY48" fmla="*/ 4709902 h 4709902"/>
              <a:gd name="connsiteX49" fmla="*/ 2124119 w 4709902"/>
              <a:gd name="connsiteY49" fmla="*/ 4698551 h 4709902"/>
              <a:gd name="connsiteX50" fmla="*/ 1895524 w 4709902"/>
              <a:gd name="connsiteY50" fmla="*/ 4664663 h 4709902"/>
              <a:gd name="connsiteX51" fmla="*/ 1671356 w 4709902"/>
              <a:gd name="connsiteY51" fmla="*/ 4608498 h 4709902"/>
              <a:gd name="connsiteX52" fmla="*/ 1453758 w 4709902"/>
              <a:gd name="connsiteY52" fmla="*/ 4530643 h 4709902"/>
              <a:gd name="connsiteX53" fmla="*/ 1244827 w 4709902"/>
              <a:gd name="connsiteY53" fmla="*/ 4431829 h 4709902"/>
              <a:gd name="connsiteX54" fmla="*/ 1046611 w 4709902"/>
              <a:gd name="connsiteY54" fmla="*/ 4313022 h 4709902"/>
              <a:gd name="connsiteX55" fmla="*/ 860994 w 4709902"/>
              <a:gd name="connsiteY55" fmla="*/ 4175352 h 4709902"/>
              <a:gd name="connsiteX56" fmla="*/ 689749 w 4709902"/>
              <a:gd name="connsiteY56" fmla="*/ 4020153 h 4709902"/>
              <a:gd name="connsiteX57" fmla="*/ 534550 w 4709902"/>
              <a:gd name="connsiteY57" fmla="*/ 3848908 h 4709902"/>
              <a:gd name="connsiteX58" fmla="*/ 396880 w 4709902"/>
              <a:gd name="connsiteY58" fmla="*/ 3663291 h 4709902"/>
              <a:gd name="connsiteX59" fmla="*/ 278073 w 4709902"/>
              <a:gd name="connsiteY59" fmla="*/ 3465075 h 4709902"/>
              <a:gd name="connsiteX60" fmla="*/ 179259 w 4709902"/>
              <a:gd name="connsiteY60" fmla="*/ 3256144 h 4709902"/>
              <a:gd name="connsiteX61" fmla="*/ 101404 w 4709902"/>
              <a:gd name="connsiteY61" fmla="*/ 3038546 h 4709902"/>
              <a:gd name="connsiteX62" fmla="*/ 45239 w 4709902"/>
              <a:gd name="connsiteY62" fmla="*/ 2814378 h 4709902"/>
              <a:gd name="connsiteX63" fmla="*/ 11351 w 4709902"/>
              <a:gd name="connsiteY63" fmla="*/ 2585783 h 4709902"/>
              <a:gd name="connsiteX64" fmla="*/ 0 w 4709902"/>
              <a:gd name="connsiteY64" fmla="*/ 2354951 h 4709902"/>
              <a:gd name="connsiteX0" fmla="*/ 0 w 4709902"/>
              <a:gd name="connsiteY0" fmla="*/ 2354951 h 4709902"/>
              <a:gd name="connsiteX1" fmla="*/ 11351 w 4709902"/>
              <a:gd name="connsiteY1" fmla="*/ 2124119 h 4709902"/>
              <a:gd name="connsiteX2" fmla="*/ 45239 w 4709902"/>
              <a:gd name="connsiteY2" fmla="*/ 1895524 h 4709902"/>
              <a:gd name="connsiteX3" fmla="*/ 101404 w 4709902"/>
              <a:gd name="connsiteY3" fmla="*/ 1671356 h 4709902"/>
              <a:gd name="connsiteX4" fmla="*/ 179259 w 4709902"/>
              <a:gd name="connsiteY4" fmla="*/ 1453758 h 4709902"/>
              <a:gd name="connsiteX5" fmla="*/ 278073 w 4709902"/>
              <a:gd name="connsiteY5" fmla="*/ 1244827 h 4709902"/>
              <a:gd name="connsiteX6" fmla="*/ 396880 w 4709902"/>
              <a:gd name="connsiteY6" fmla="*/ 1046611 h 4709902"/>
              <a:gd name="connsiteX7" fmla="*/ 534550 w 4709902"/>
              <a:gd name="connsiteY7" fmla="*/ 860994 h 4709902"/>
              <a:gd name="connsiteX8" fmla="*/ 689749 w 4709902"/>
              <a:gd name="connsiteY8" fmla="*/ 689749 h 4709902"/>
              <a:gd name="connsiteX9" fmla="*/ 860994 w 4709902"/>
              <a:gd name="connsiteY9" fmla="*/ 534550 h 4709902"/>
              <a:gd name="connsiteX10" fmla="*/ 1046611 w 4709902"/>
              <a:gd name="connsiteY10" fmla="*/ 396880 h 4709902"/>
              <a:gd name="connsiteX11" fmla="*/ 1244827 w 4709902"/>
              <a:gd name="connsiteY11" fmla="*/ 278073 h 4709902"/>
              <a:gd name="connsiteX12" fmla="*/ 1453758 w 4709902"/>
              <a:gd name="connsiteY12" fmla="*/ 179259 h 4709902"/>
              <a:gd name="connsiteX13" fmla="*/ 1671356 w 4709902"/>
              <a:gd name="connsiteY13" fmla="*/ 101404 h 4709902"/>
              <a:gd name="connsiteX14" fmla="*/ 1895524 w 4709902"/>
              <a:gd name="connsiteY14" fmla="*/ 45239 h 4709902"/>
              <a:gd name="connsiteX15" fmla="*/ 2124119 w 4709902"/>
              <a:gd name="connsiteY15" fmla="*/ 11351 h 4709902"/>
              <a:gd name="connsiteX16" fmla="*/ 2354951 w 4709902"/>
              <a:gd name="connsiteY16" fmla="*/ 0 h 4709902"/>
              <a:gd name="connsiteX17" fmla="*/ 2585783 w 4709902"/>
              <a:gd name="connsiteY17" fmla="*/ 11351 h 4709902"/>
              <a:gd name="connsiteX18" fmla="*/ 2814378 w 4709902"/>
              <a:gd name="connsiteY18" fmla="*/ 45239 h 4709902"/>
              <a:gd name="connsiteX19" fmla="*/ 3038546 w 4709902"/>
              <a:gd name="connsiteY19" fmla="*/ 101404 h 4709902"/>
              <a:gd name="connsiteX20" fmla="*/ 3256144 w 4709902"/>
              <a:gd name="connsiteY20" fmla="*/ 179259 h 4709902"/>
              <a:gd name="connsiteX21" fmla="*/ 3465075 w 4709902"/>
              <a:gd name="connsiteY21" fmla="*/ 278073 h 4709902"/>
              <a:gd name="connsiteX22" fmla="*/ 3663291 w 4709902"/>
              <a:gd name="connsiteY22" fmla="*/ 396880 h 4709902"/>
              <a:gd name="connsiteX23" fmla="*/ 3848908 w 4709902"/>
              <a:gd name="connsiteY23" fmla="*/ 534550 h 4709902"/>
              <a:gd name="connsiteX24" fmla="*/ 4020153 w 4709902"/>
              <a:gd name="connsiteY24" fmla="*/ 689749 h 4709902"/>
              <a:gd name="connsiteX25" fmla="*/ 4175352 w 4709902"/>
              <a:gd name="connsiteY25" fmla="*/ 860994 h 4709902"/>
              <a:gd name="connsiteX26" fmla="*/ 4313022 w 4709902"/>
              <a:gd name="connsiteY26" fmla="*/ 1046611 h 4709902"/>
              <a:gd name="connsiteX27" fmla="*/ 4431829 w 4709902"/>
              <a:gd name="connsiteY27" fmla="*/ 1239747 h 4709902"/>
              <a:gd name="connsiteX28" fmla="*/ 4530643 w 4709902"/>
              <a:gd name="connsiteY28" fmla="*/ 1453758 h 4709902"/>
              <a:gd name="connsiteX29" fmla="*/ 4608498 w 4709902"/>
              <a:gd name="connsiteY29" fmla="*/ 1671356 h 4709902"/>
              <a:gd name="connsiteX30" fmla="*/ 4664663 w 4709902"/>
              <a:gd name="connsiteY30" fmla="*/ 1895524 h 4709902"/>
              <a:gd name="connsiteX31" fmla="*/ 4698551 w 4709902"/>
              <a:gd name="connsiteY31" fmla="*/ 2124119 h 4709902"/>
              <a:gd name="connsiteX32" fmla="*/ 4709902 w 4709902"/>
              <a:gd name="connsiteY32" fmla="*/ 2354951 h 4709902"/>
              <a:gd name="connsiteX33" fmla="*/ 4698551 w 4709902"/>
              <a:gd name="connsiteY33" fmla="*/ 2585783 h 4709902"/>
              <a:gd name="connsiteX34" fmla="*/ 4664663 w 4709902"/>
              <a:gd name="connsiteY34" fmla="*/ 2814378 h 4709902"/>
              <a:gd name="connsiteX35" fmla="*/ 4608498 w 4709902"/>
              <a:gd name="connsiteY35" fmla="*/ 3038546 h 4709902"/>
              <a:gd name="connsiteX36" fmla="*/ 4530643 w 4709902"/>
              <a:gd name="connsiteY36" fmla="*/ 3256144 h 4709902"/>
              <a:gd name="connsiteX37" fmla="*/ 4431829 w 4709902"/>
              <a:gd name="connsiteY37" fmla="*/ 3465075 h 4709902"/>
              <a:gd name="connsiteX38" fmla="*/ 4313022 w 4709902"/>
              <a:gd name="connsiteY38" fmla="*/ 3663291 h 4709902"/>
              <a:gd name="connsiteX39" fmla="*/ 4175352 w 4709902"/>
              <a:gd name="connsiteY39" fmla="*/ 3848908 h 4709902"/>
              <a:gd name="connsiteX40" fmla="*/ 4020153 w 4709902"/>
              <a:gd name="connsiteY40" fmla="*/ 4020153 h 4709902"/>
              <a:gd name="connsiteX41" fmla="*/ 3848908 w 4709902"/>
              <a:gd name="connsiteY41" fmla="*/ 4175352 h 4709902"/>
              <a:gd name="connsiteX42" fmla="*/ 3663291 w 4709902"/>
              <a:gd name="connsiteY42" fmla="*/ 4313022 h 4709902"/>
              <a:gd name="connsiteX43" fmla="*/ 3465075 w 4709902"/>
              <a:gd name="connsiteY43" fmla="*/ 4431829 h 4709902"/>
              <a:gd name="connsiteX44" fmla="*/ 3256144 w 4709902"/>
              <a:gd name="connsiteY44" fmla="*/ 4530643 h 4709902"/>
              <a:gd name="connsiteX45" fmla="*/ 3038546 w 4709902"/>
              <a:gd name="connsiteY45" fmla="*/ 4608498 h 4709902"/>
              <a:gd name="connsiteX46" fmla="*/ 2814378 w 4709902"/>
              <a:gd name="connsiteY46" fmla="*/ 4664663 h 4709902"/>
              <a:gd name="connsiteX47" fmla="*/ 2585783 w 4709902"/>
              <a:gd name="connsiteY47" fmla="*/ 4698551 h 4709902"/>
              <a:gd name="connsiteX48" fmla="*/ 2354951 w 4709902"/>
              <a:gd name="connsiteY48" fmla="*/ 4709902 h 4709902"/>
              <a:gd name="connsiteX49" fmla="*/ 2124119 w 4709902"/>
              <a:gd name="connsiteY49" fmla="*/ 4698551 h 4709902"/>
              <a:gd name="connsiteX50" fmla="*/ 1895524 w 4709902"/>
              <a:gd name="connsiteY50" fmla="*/ 4664663 h 4709902"/>
              <a:gd name="connsiteX51" fmla="*/ 1671356 w 4709902"/>
              <a:gd name="connsiteY51" fmla="*/ 4608498 h 4709902"/>
              <a:gd name="connsiteX52" fmla="*/ 1453758 w 4709902"/>
              <a:gd name="connsiteY52" fmla="*/ 4530643 h 4709902"/>
              <a:gd name="connsiteX53" fmla="*/ 1244827 w 4709902"/>
              <a:gd name="connsiteY53" fmla="*/ 4431829 h 4709902"/>
              <a:gd name="connsiteX54" fmla="*/ 1046611 w 4709902"/>
              <a:gd name="connsiteY54" fmla="*/ 4313022 h 4709902"/>
              <a:gd name="connsiteX55" fmla="*/ 860994 w 4709902"/>
              <a:gd name="connsiteY55" fmla="*/ 4175352 h 4709902"/>
              <a:gd name="connsiteX56" fmla="*/ 689749 w 4709902"/>
              <a:gd name="connsiteY56" fmla="*/ 4020153 h 4709902"/>
              <a:gd name="connsiteX57" fmla="*/ 534550 w 4709902"/>
              <a:gd name="connsiteY57" fmla="*/ 3848908 h 4709902"/>
              <a:gd name="connsiteX58" fmla="*/ 396880 w 4709902"/>
              <a:gd name="connsiteY58" fmla="*/ 3663291 h 4709902"/>
              <a:gd name="connsiteX59" fmla="*/ 278073 w 4709902"/>
              <a:gd name="connsiteY59" fmla="*/ 3465075 h 4709902"/>
              <a:gd name="connsiteX60" fmla="*/ 179259 w 4709902"/>
              <a:gd name="connsiteY60" fmla="*/ 3256144 h 4709902"/>
              <a:gd name="connsiteX61" fmla="*/ 101404 w 4709902"/>
              <a:gd name="connsiteY61" fmla="*/ 3038546 h 4709902"/>
              <a:gd name="connsiteX62" fmla="*/ 45239 w 4709902"/>
              <a:gd name="connsiteY62" fmla="*/ 2814378 h 4709902"/>
              <a:gd name="connsiteX63" fmla="*/ 11351 w 4709902"/>
              <a:gd name="connsiteY63" fmla="*/ 2585783 h 4709902"/>
              <a:gd name="connsiteX64" fmla="*/ 0 w 4709902"/>
              <a:gd name="connsiteY64" fmla="*/ 2354951 h 4709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4709902" h="4709902">
                <a:moveTo>
                  <a:pt x="0" y="2354951"/>
                </a:moveTo>
                <a:lnTo>
                  <a:pt x="11351" y="2124119"/>
                </a:lnTo>
                <a:lnTo>
                  <a:pt x="45239" y="1895524"/>
                </a:lnTo>
                <a:lnTo>
                  <a:pt x="101404" y="1671356"/>
                </a:lnTo>
                <a:lnTo>
                  <a:pt x="179259" y="1453758"/>
                </a:lnTo>
                <a:lnTo>
                  <a:pt x="278073" y="1244827"/>
                </a:lnTo>
                <a:lnTo>
                  <a:pt x="396880" y="1046611"/>
                </a:lnTo>
                <a:lnTo>
                  <a:pt x="534550" y="860994"/>
                </a:lnTo>
                <a:lnTo>
                  <a:pt x="689749" y="689749"/>
                </a:lnTo>
                <a:lnTo>
                  <a:pt x="860994" y="534550"/>
                </a:lnTo>
                <a:lnTo>
                  <a:pt x="1046611" y="396880"/>
                </a:lnTo>
                <a:lnTo>
                  <a:pt x="1244827" y="278073"/>
                </a:lnTo>
                <a:lnTo>
                  <a:pt x="1453758" y="179259"/>
                </a:lnTo>
                <a:lnTo>
                  <a:pt x="1671356" y="101404"/>
                </a:lnTo>
                <a:lnTo>
                  <a:pt x="1895524" y="45239"/>
                </a:lnTo>
                <a:lnTo>
                  <a:pt x="2124119" y="11351"/>
                </a:lnTo>
                <a:lnTo>
                  <a:pt x="2354951" y="0"/>
                </a:lnTo>
                <a:lnTo>
                  <a:pt x="2585783" y="11351"/>
                </a:lnTo>
                <a:lnTo>
                  <a:pt x="2814378" y="45239"/>
                </a:lnTo>
                <a:lnTo>
                  <a:pt x="3038546" y="101404"/>
                </a:lnTo>
                <a:lnTo>
                  <a:pt x="3256144" y="179259"/>
                </a:lnTo>
                <a:lnTo>
                  <a:pt x="3465075" y="278073"/>
                </a:lnTo>
                <a:lnTo>
                  <a:pt x="3663291" y="396880"/>
                </a:lnTo>
                <a:lnTo>
                  <a:pt x="3848908" y="534550"/>
                </a:lnTo>
                <a:lnTo>
                  <a:pt x="4020153" y="689749"/>
                </a:lnTo>
                <a:lnTo>
                  <a:pt x="4175352" y="860994"/>
                </a:lnTo>
                <a:lnTo>
                  <a:pt x="4313022" y="1046611"/>
                </a:lnTo>
                <a:lnTo>
                  <a:pt x="4431829" y="1239747"/>
                </a:lnTo>
                <a:lnTo>
                  <a:pt x="4530643" y="1453758"/>
                </a:lnTo>
                <a:lnTo>
                  <a:pt x="4608498" y="1671356"/>
                </a:lnTo>
                <a:lnTo>
                  <a:pt x="4664663" y="1895524"/>
                </a:lnTo>
                <a:lnTo>
                  <a:pt x="4698551" y="2124119"/>
                </a:lnTo>
                <a:lnTo>
                  <a:pt x="4709902" y="2354951"/>
                </a:lnTo>
                <a:lnTo>
                  <a:pt x="4698551" y="2585783"/>
                </a:lnTo>
                <a:lnTo>
                  <a:pt x="4664663" y="2814378"/>
                </a:lnTo>
                <a:lnTo>
                  <a:pt x="4608498" y="3038546"/>
                </a:lnTo>
                <a:lnTo>
                  <a:pt x="4530643" y="3256144"/>
                </a:lnTo>
                <a:lnTo>
                  <a:pt x="4431829" y="3465075"/>
                </a:lnTo>
                <a:lnTo>
                  <a:pt x="4313022" y="3663291"/>
                </a:lnTo>
                <a:lnTo>
                  <a:pt x="4175352" y="3848908"/>
                </a:lnTo>
                <a:lnTo>
                  <a:pt x="4020153" y="4020153"/>
                </a:lnTo>
                <a:lnTo>
                  <a:pt x="3848908" y="4175352"/>
                </a:lnTo>
                <a:lnTo>
                  <a:pt x="3663291" y="4313022"/>
                </a:lnTo>
                <a:lnTo>
                  <a:pt x="3465075" y="4431829"/>
                </a:lnTo>
                <a:lnTo>
                  <a:pt x="3256144" y="4530643"/>
                </a:lnTo>
                <a:lnTo>
                  <a:pt x="3038546" y="4608498"/>
                </a:lnTo>
                <a:lnTo>
                  <a:pt x="2814378" y="4664663"/>
                </a:lnTo>
                <a:lnTo>
                  <a:pt x="2585783" y="4698551"/>
                </a:lnTo>
                <a:lnTo>
                  <a:pt x="2354951" y="4709902"/>
                </a:lnTo>
                <a:lnTo>
                  <a:pt x="2124119" y="4698551"/>
                </a:lnTo>
                <a:lnTo>
                  <a:pt x="1895524" y="4664663"/>
                </a:lnTo>
                <a:lnTo>
                  <a:pt x="1671356" y="4608498"/>
                </a:lnTo>
                <a:lnTo>
                  <a:pt x="1453758" y="4530643"/>
                </a:lnTo>
                <a:lnTo>
                  <a:pt x="1244827" y="4431829"/>
                </a:lnTo>
                <a:lnTo>
                  <a:pt x="1046611" y="4313022"/>
                </a:lnTo>
                <a:lnTo>
                  <a:pt x="860994" y="4175352"/>
                </a:lnTo>
                <a:lnTo>
                  <a:pt x="689749" y="4020153"/>
                </a:lnTo>
                <a:lnTo>
                  <a:pt x="534550" y="3848908"/>
                </a:lnTo>
                <a:lnTo>
                  <a:pt x="396880" y="3663291"/>
                </a:lnTo>
                <a:lnTo>
                  <a:pt x="278073" y="3465075"/>
                </a:lnTo>
                <a:lnTo>
                  <a:pt x="179259" y="3256144"/>
                </a:lnTo>
                <a:lnTo>
                  <a:pt x="101404" y="3038546"/>
                </a:lnTo>
                <a:lnTo>
                  <a:pt x="45239" y="2814378"/>
                </a:lnTo>
                <a:lnTo>
                  <a:pt x="11351" y="2585783"/>
                </a:lnTo>
                <a:lnTo>
                  <a:pt x="0" y="2354951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Oval 4"/>
          <p:cNvSpPr/>
          <p:nvPr/>
        </p:nvSpPr>
        <p:spPr>
          <a:xfrm>
            <a:off x="2600251" y="1542850"/>
            <a:ext cx="836083" cy="83608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6" name="Oval 5"/>
          <p:cNvSpPr/>
          <p:nvPr/>
        </p:nvSpPr>
        <p:spPr>
          <a:xfrm>
            <a:off x="1820204" y="2359562"/>
            <a:ext cx="1109975" cy="1109975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7" name="Oval 6"/>
          <p:cNvSpPr/>
          <p:nvPr/>
        </p:nvSpPr>
        <p:spPr>
          <a:xfrm>
            <a:off x="2600251" y="3450167"/>
            <a:ext cx="836083" cy="83608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8" name="Oval 7"/>
          <p:cNvSpPr/>
          <p:nvPr/>
        </p:nvSpPr>
        <p:spPr>
          <a:xfrm>
            <a:off x="5712201" y="1542850"/>
            <a:ext cx="836083" cy="83608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9" name="Oval 8"/>
          <p:cNvSpPr/>
          <p:nvPr/>
        </p:nvSpPr>
        <p:spPr>
          <a:xfrm>
            <a:off x="6213822" y="2359562"/>
            <a:ext cx="1109975" cy="1109975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10" name="Oval 9"/>
          <p:cNvSpPr/>
          <p:nvPr/>
        </p:nvSpPr>
        <p:spPr>
          <a:xfrm>
            <a:off x="5712201" y="3450167"/>
            <a:ext cx="836083" cy="836083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cxnSp>
        <p:nvCxnSpPr>
          <p:cNvPr id="11" name="Straight Connector 10"/>
          <p:cNvCxnSpPr>
            <a:stCxn id="6" idx="6"/>
          </p:cNvCxnSpPr>
          <p:nvPr/>
        </p:nvCxnSpPr>
        <p:spPr>
          <a:xfrm>
            <a:off x="2930179" y="2914550"/>
            <a:ext cx="631721" cy="0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5" idx="5"/>
            <a:endCxn id="4" idx="4"/>
          </p:cNvCxnSpPr>
          <p:nvPr/>
        </p:nvCxnSpPr>
        <p:spPr>
          <a:xfrm>
            <a:off x="3313892" y="2256491"/>
            <a:ext cx="325376" cy="269103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7" idx="7"/>
            <a:endCxn id="4" idx="60"/>
          </p:cNvCxnSpPr>
          <p:nvPr/>
        </p:nvCxnSpPr>
        <p:spPr>
          <a:xfrm flipV="1">
            <a:off x="3313892" y="3303506"/>
            <a:ext cx="325376" cy="269103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8" idx="3"/>
            <a:endCxn id="4" idx="28"/>
          </p:cNvCxnSpPr>
          <p:nvPr/>
        </p:nvCxnSpPr>
        <p:spPr>
          <a:xfrm flipH="1">
            <a:off x="5517329" y="2256491"/>
            <a:ext cx="317314" cy="269103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stCxn id="9" idx="2"/>
            <a:endCxn id="4" idx="32"/>
          </p:cNvCxnSpPr>
          <p:nvPr/>
        </p:nvCxnSpPr>
        <p:spPr>
          <a:xfrm flipH="1">
            <a:off x="5594697" y="2914550"/>
            <a:ext cx="619125" cy="0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stCxn id="10" idx="1"/>
            <a:endCxn id="4" idx="37"/>
          </p:cNvCxnSpPr>
          <p:nvPr/>
        </p:nvCxnSpPr>
        <p:spPr>
          <a:xfrm flipH="1" flipV="1">
            <a:off x="5474680" y="3393681"/>
            <a:ext cx="359963" cy="178928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35"/>
          <p:cNvSpPr>
            <a:spLocks noChangeArrowheads="1"/>
          </p:cNvSpPr>
          <p:nvPr/>
        </p:nvSpPr>
        <p:spPr bwMode="auto">
          <a:xfrm>
            <a:off x="3657127" y="1992885"/>
            <a:ext cx="1842344" cy="1843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4" name="Freeform 5"/>
          <p:cNvSpPr>
            <a:spLocks noEditPoints="1"/>
          </p:cNvSpPr>
          <p:nvPr/>
        </p:nvSpPr>
        <p:spPr bwMode="auto">
          <a:xfrm>
            <a:off x="4222071" y="2466006"/>
            <a:ext cx="699860" cy="741642"/>
          </a:xfrm>
          <a:custGeom>
            <a:avLst/>
            <a:gdLst>
              <a:gd name="T0" fmla="*/ 1975 w 1997"/>
              <a:gd name="T1" fmla="*/ 2119 h 2119"/>
              <a:gd name="T2" fmla="*/ 0 w 1997"/>
              <a:gd name="T3" fmla="*/ 2097 h 2119"/>
              <a:gd name="T4" fmla="*/ 22 w 1997"/>
              <a:gd name="T5" fmla="*/ 122 h 2119"/>
              <a:gd name="T6" fmla="*/ 45 w 1997"/>
              <a:gd name="T7" fmla="*/ 2074 h 2119"/>
              <a:gd name="T8" fmla="*/ 1997 w 1997"/>
              <a:gd name="T9" fmla="*/ 2097 h 2119"/>
              <a:gd name="T10" fmla="*/ 1815 w 1997"/>
              <a:gd name="T11" fmla="*/ 610 h 2119"/>
              <a:gd name="T12" fmla="*/ 1875 w 1997"/>
              <a:gd name="T13" fmla="*/ 1815 h 2119"/>
              <a:gd name="T14" fmla="*/ 1524 w 1997"/>
              <a:gd name="T15" fmla="*/ 1875 h 2119"/>
              <a:gd name="T16" fmla="*/ 1464 w 1997"/>
              <a:gd name="T17" fmla="*/ 670 h 2119"/>
              <a:gd name="T18" fmla="*/ 1815 w 1997"/>
              <a:gd name="T19" fmla="*/ 655 h 2119"/>
              <a:gd name="T20" fmla="*/ 1509 w 1997"/>
              <a:gd name="T21" fmla="*/ 670 h 2119"/>
              <a:gd name="T22" fmla="*/ 1524 w 1997"/>
              <a:gd name="T23" fmla="*/ 1830 h 2119"/>
              <a:gd name="T24" fmla="*/ 1830 w 1997"/>
              <a:gd name="T25" fmla="*/ 1815 h 2119"/>
              <a:gd name="T26" fmla="*/ 1815 w 1997"/>
              <a:gd name="T27" fmla="*/ 655 h 2119"/>
              <a:gd name="T28" fmla="*/ 1265 w 1997"/>
              <a:gd name="T29" fmla="*/ 1036 h 2119"/>
              <a:gd name="T30" fmla="*/ 1205 w 1997"/>
              <a:gd name="T31" fmla="*/ 1875 h 2119"/>
              <a:gd name="T32" fmla="*/ 854 w 1997"/>
              <a:gd name="T33" fmla="*/ 1815 h 2119"/>
              <a:gd name="T34" fmla="*/ 914 w 1997"/>
              <a:gd name="T35" fmla="*/ 976 h 2119"/>
              <a:gd name="T36" fmla="*/ 1205 w 1997"/>
              <a:gd name="T37" fmla="*/ 1021 h 2119"/>
              <a:gd name="T38" fmla="*/ 899 w 1997"/>
              <a:gd name="T39" fmla="*/ 1036 h 2119"/>
              <a:gd name="T40" fmla="*/ 914 w 1997"/>
              <a:gd name="T41" fmla="*/ 1830 h 2119"/>
              <a:gd name="T42" fmla="*/ 1220 w 1997"/>
              <a:gd name="T43" fmla="*/ 1815 h 2119"/>
              <a:gd name="T44" fmla="*/ 1205 w 1997"/>
              <a:gd name="T45" fmla="*/ 1021 h 2119"/>
              <a:gd name="T46" fmla="*/ 244 w 1997"/>
              <a:gd name="T47" fmla="*/ 1280 h 2119"/>
              <a:gd name="T48" fmla="*/ 595 w 1997"/>
              <a:gd name="T49" fmla="*/ 1220 h 2119"/>
              <a:gd name="T50" fmla="*/ 655 w 1997"/>
              <a:gd name="T51" fmla="*/ 1815 h 2119"/>
              <a:gd name="T52" fmla="*/ 304 w 1997"/>
              <a:gd name="T53" fmla="*/ 1875 h 2119"/>
              <a:gd name="T54" fmla="*/ 289 w 1997"/>
              <a:gd name="T55" fmla="*/ 1815 h 2119"/>
              <a:gd name="T56" fmla="*/ 595 w 1997"/>
              <a:gd name="T57" fmla="*/ 1830 h 2119"/>
              <a:gd name="T58" fmla="*/ 610 w 1997"/>
              <a:gd name="T59" fmla="*/ 1280 h 2119"/>
              <a:gd name="T60" fmla="*/ 304 w 1997"/>
              <a:gd name="T61" fmla="*/ 1265 h 2119"/>
              <a:gd name="T62" fmla="*/ 289 w 1997"/>
              <a:gd name="T63" fmla="*/ 1815 h 2119"/>
              <a:gd name="T64" fmla="*/ 457 w 1997"/>
              <a:gd name="T65" fmla="*/ 1020 h 2119"/>
              <a:gd name="T66" fmla="*/ 1239 w 1997"/>
              <a:gd name="T67" fmla="*/ 51 h 2119"/>
              <a:gd name="T68" fmla="*/ 1261 w 1997"/>
              <a:gd name="T69" fmla="*/ 0 h 2119"/>
              <a:gd name="T70" fmla="*/ 1631 w 1997"/>
              <a:gd name="T71" fmla="*/ 30 h 2119"/>
              <a:gd name="T72" fmla="*/ 1613 w 1997"/>
              <a:gd name="T73" fmla="*/ 398 h 2119"/>
              <a:gd name="T74" fmla="*/ 1485 w 1997"/>
              <a:gd name="T75" fmla="*/ 296 h 2119"/>
              <a:gd name="T76" fmla="*/ 478 w 1997"/>
              <a:gd name="T77" fmla="*/ 1071 h 2119"/>
              <a:gd name="T78" fmla="*/ 658 w 1997"/>
              <a:gd name="T79" fmla="*/ 882 h 2119"/>
              <a:gd name="T80" fmla="*/ 1502 w 1997"/>
              <a:gd name="T81" fmla="*/ 250 h 2119"/>
              <a:gd name="T82" fmla="*/ 1586 w 1997"/>
              <a:gd name="T83" fmla="*/ 45 h 2119"/>
              <a:gd name="T84" fmla="*/ 1380 w 1997"/>
              <a:gd name="T85" fmla="*/ 128 h 2119"/>
              <a:gd name="T86" fmla="*/ 1380 w 1997"/>
              <a:gd name="T87" fmla="*/ 160 h 2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997" h="2119">
                <a:moveTo>
                  <a:pt x="1997" y="2097"/>
                </a:moveTo>
                <a:cubicBezTo>
                  <a:pt x="1997" y="2109"/>
                  <a:pt x="1987" y="2119"/>
                  <a:pt x="1975" y="2119"/>
                </a:cubicBezTo>
                <a:cubicBezTo>
                  <a:pt x="22" y="2119"/>
                  <a:pt x="22" y="2119"/>
                  <a:pt x="22" y="2119"/>
                </a:cubicBezTo>
                <a:cubicBezTo>
                  <a:pt x="10" y="2119"/>
                  <a:pt x="0" y="2109"/>
                  <a:pt x="0" y="2097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32"/>
                  <a:pt x="10" y="122"/>
                  <a:pt x="22" y="122"/>
                </a:cubicBezTo>
                <a:cubicBezTo>
                  <a:pt x="35" y="122"/>
                  <a:pt x="45" y="132"/>
                  <a:pt x="45" y="144"/>
                </a:cubicBezTo>
                <a:cubicBezTo>
                  <a:pt x="45" y="2074"/>
                  <a:pt x="45" y="2074"/>
                  <a:pt x="45" y="2074"/>
                </a:cubicBezTo>
                <a:cubicBezTo>
                  <a:pt x="1975" y="2074"/>
                  <a:pt x="1975" y="2074"/>
                  <a:pt x="1975" y="2074"/>
                </a:cubicBezTo>
                <a:cubicBezTo>
                  <a:pt x="1987" y="2074"/>
                  <a:pt x="1997" y="2084"/>
                  <a:pt x="1997" y="2097"/>
                </a:cubicBezTo>
                <a:close/>
                <a:moveTo>
                  <a:pt x="1524" y="610"/>
                </a:moveTo>
                <a:cubicBezTo>
                  <a:pt x="1815" y="610"/>
                  <a:pt x="1815" y="610"/>
                  <a:pt x="1815" y="610"/>
                </a:cubicBezTo>
                <a:cubicBezTo>
                  <a:pt x="1848" y="610"/>
                  <a:pt x="1875" y="637"/>
                  <a:pt x="1875" y="670"/>
                </a:cubicBezTo>
                <a:cubicBezTo>
                  <a:pt x="1875" y="1815"/>
                  <a:pt x="1875" y="1815"/>
                  <a:pt x="1875" y="1815"/>
                </a:cubicBezTo>
                <a:cubicBezTo>
                  <a:pt x="1875" y="1848"/>
                  <a:pt x="1848" y="1875"/>
                  <a:pt x="1815" y="1875"/>
                </a:cubicBezTo>
                <a:cubicBezTo>
                  <a:pt x="1524" y="1875"/>
                  <a:pt x="1524" y="1875"/>
                  <a:pt x="1524" y="1875"/>
                </a:cubicBezTo>
                <a:cubicBezTo>
                  <a:pt x="1491" y="1875"/>
                  <a:pt x="1464" y="1848"/>
                  <a:pt x="1464" y="1815"/>
                </a:cubicBezTo>
                <a:cubicBezTo>
                  <a:pt x="1464" y="670"/>
                  <a:pt x="1464" y="670"/>
                  <a:pt x="1464" y="670"/>
                </a:cubicBezTo>
                <a:cubicBezTo>
                  <a:pt x="1464" y="637"/>
                  <a:pt x="1491" y="610"/>
                  <a:pt x="1524" y="610"/>
                </a:cubicBezTo>
                <a:close/>
                <a:moveTo>
                  <a:pt x="1815" y="655"/>
                </a:moveTo>
                <a:cubicBezTo>
                  <a:pt x="1524" y="655"/>
                  <a:pt x="1524" y="655"/>
                  <a:pt x="1524" y="655"/>
                </a:cubicBezTo>
                <a:cubicBezTo>
                  <a:pt x="1516" y="655"/>
                  <a:pt x="1509" y="661"/>
                  <a:pt x="1509" y="670"/>
                </a:cubicBezTo>
                <a:cubicBezTo>
                  <a:pt x="1509" y="1815"/>
                  <a:pt x="1509" y="1815"/>
                  <a:pt x="1509" y="1815"/>
                </a:cubicBezTo>
                <a:cubicBezTo>
                  <a:pt x="1509" y="1824"/>
                  <a:pt x="1516" y="1830"/>
                  <a:pt x="1524" y="1830"/>
                </a:cubicBezTo>
                <a:cubicBezTo>
                  <a:pt x="1815" y="1830"/>
                  <a:pt x="1815" y="1830"/>
                  <a:pt x="1815" y="1830"/>
                </a:cubicBezTo>
                <a:cubicBezTo>
                  <a:pt x="1824" y="1830"/>
                  <a:pt x="1830" y="1824"/>
                  <a:pt x="1830" y="1815"/>
                </a:cubicBezTo>
                <a:cubicBezTo>
                  <a:pt x="1830" y="670"/>
                  <a:pt x="1830" y="670"/>
                  <a:pt x="1830" y="670"/>
                </a:cubicBezTo>
                <a:cubicBezTo>
                  <a:pt x="1830" y="661"/>
                  <a:pt x="1824" y="655"/>
                  <a:pt x="1815" y="655"/>
                </a:cubicBezTo>
                <a:close/>
                <a:moveTo>
                  <a:pt x="1205" y="976"/>
                </a:moveTo>
                <a:cubicBezTo>
                  <a:pt x="1238" y="976"/>
                  <a:pt x="1265" y="1003"/>
                  <a:pt x="1265" y="1036"/>
                </a:cubicBezTo>
                <a:cubicBezTo>
                  <a:pt x="1265" y="1815"/>
                  <a:pt x="1265" y="1815"/>
                  <a:pt x="1265" y="1815"/>
                </a:cubicBezTo>
                <a:cubicBezTo>
                  <a:pt x="1265" y="1848"/>
                  <a:pt x="1238" y="1875"/>
                  <a:pt x="1205" y="1875"/>
                </a:cubicBezTo>
                <a:cubicBezTo>
                  <a:pt x="914" y="1875"/>
                  <a:pt x="914" y="1875"/>
                  <a:pt x="914" y="1875"/>
                </a:cubicBezTo>
                <a:cubicBezTo>
                  <a:pt x="881" y="1875"/>
                  <a:pt x="854" y="1848"/>
                  <a:pt x="854" y="1815"/>
                </a:cubicBezTo>
                <a:cubicBezTo>
                  <a:pt x="854" y="1036"/>
                  <a:pt x="854" y="1036"/>
                  <a:pt x="854" y="1036"/>
                </a:cubicBezTo>
                <a:cubicBezTo>
                  <a:pt x="854" y="1003"/>
                  <a:pt x="881" y="976"/>
                  <a:pt x="914" y="976"/>
                </a:cubicBezTo>
                <a:lnTo>
                  <a:pt x="1205" y="976"/>
                </a:lnTo>
                <a:close/>
                <a:moveTo>
                  <a:pt x="1205" y="1021"/>
                </a:moveTo>
                <a:cubicBezTo>
                  <a:pt x="914" y="1021"/>
                  <a:pt x="914" y="1021"/>
                  <a:pt x="914" y="1021"/>
                </a:cubicBezTo>
                <a:cubicBezTo>
                  <a:pt x="906" y="1021"/>
                  <a:pt x="899" y="1027"/>
                  <a:pt x="899" y="1036"/>
                </a:cubicBezTo>
                <a:cubicBezTo>
                  <a:pt x="899" y="1815"/>
                  <a:pt x="899" y="1815"/>
                  <a:pt x="899" y="1815"/>
                </a:cubicBezTo>
                <a:cubicBezTo>
                  <a:pt x="899" y="1824"/>
                  <a:pt x="906" y="1830"/>
                  <a:pt x="914" y="1830"/>
                </a:cubicBezTo>
                <a:cubicBezTo>
                  <a:pt x="1205" y="1830"/>
                  <a:pt x="1205" y="1830"/>
                  <a:pt x="1205" y="1830"/>
                </a:cubicBezTo>
                <a:cubicBezTo>
                  <a:pt x="1214" y="1830"/>
                  <a:pt x="1220" y="1824"/>
                  <a:pt x="1220" y="1815"/>
                </a:cubicBezTo>
                <a:cubicBezTo>
                  <a:pt x="1220" y="1036"/>
                  <a:pt x="1220" y="1036"/>
                  <a:pt x="1220" y="1036"/>
                </a:cubicBezTo>
                <a:cubicBezTo>
                  <a:pt x="1220" y="1027"/>
                  <a:pt x="1214" y="1021"/>
                  <a:pt x="1205" y="1021"/>
                </a:cubicBezTo>
                <a:close/>
                <a:moveTo>
                  <a:pt x="244" y="1815"/>
                </a:moveTo>
                <a:cubicBezTo>
                  <a:pt x="244" y="1280"/>
                  <a:pt x="244" y="1280"/>
                  <a:pt x="244" y="1280"/>
                </a:cubicBezTo>
                <a:cubicBezTo>
                  <a:pt x="244" y="1247"/>
                  <a:pt x="271" y="1220"/>
                  <a:pt x="304" y="1220"/>
                </a:cubicBezTo>
                <a:cubicBezTo>
                  <a:pt x="595" y="1220"/>
                  <a:pt x="595" y="1220"/>
                  <a:pt x="595" y="1220"/>
                </a:cubicBezTo>
                <a:cubicBezTo>
                  <a:pt x="628" y="1220"/>
                  <a:pt x="655" y="1247"/>
                  <a:pt x="655" y="1280"/>
                </a:cubicBezTo>
                <a:cubicBezTo>
                  <a:pt x="655" y="1815"/>
                  <a:pt x="655" y="1815"/>
                  <a:pt x="655" y="1815"/>
                </a:cubicBezTo>
                <a:cubicBezTo>
                  <a:pt x="655" y="1848"/>
                  <a:pt x="628" y="1875"/>
                  <a:pt x="595" y="1875"/>
                </a:cubicBezTo>
                <a:cubicBezTo>
                  <a:pt x="304" y="1875"/>
                  <a:pt x="304" y="1875"/>
                  <a:pt x="304" y="1875"/>
                </a:cubicBezTo>
                <a:cubicBezTo>
                  <a:pt x="271" y="1875"/>
                  <a:pt x="244" y="1848"/>
                  <a:pt x="244" y="1815"/>
                </a:cubicBezTo>
                <a:close/>
                <a:moveTo>
                  <a:pt x="289" y="1815"/>
                </a:moveTo>
                <a:cubicBezTo>
                  <a:pt x="289" y="1824"/>
                  <a:pt x="295" y="1830"/>
                  <a:pt x="304" y="1830"/>
                </a:cubicBezTo>
                <a:cubicBezTo>
                  <a:pt x="595" y="1830"/>
                  <a:pt x="595" y="1830"/>
                  <a:pt x="595" y="1830"/>
                </a:cubicBezTo>
                <a:cubicBezTo>
                  <a:pt x="603" y="1830"/>
                  <a:pt x="610" y="1824"/>
                  <a:pt x="610" y="1815"/>
                </a:cubicBezTo>
                <a:cubicBezTo>
                  <a:pt x="610" y="1280"/>
                  <a:pt x="610" y="1280"/>
                  <a:pt x="610" y="1280"/>
                </a:cubicBezTo>
                <a:cubicBezTo>
                  <a:pt x="610" y="1272"/>
                  <a:pt x="603" y="1265"/>
                  <a:pt x="595" y="1265"/>
                </a:cubicBezTo>
                <a:cubicBezTo>
                  <a:pt x="304" y="1265"/>
                  <a:pt x="304" y="1265"/>
                  <a:pt x="304" y="1265"/>
                </a:cubicBezTo>
                <a:cubicBezTo>
                  <a:pt x="295" y="1265"/>
                  <a:pt x="289" y="1272"/>
                  <a:pt x="289" y="1280"/>
                </a:cubicBezTo>
                <a:lnTo>
                  <a:pt x="289" y="1815"/>
                </a:lnTo>
                <a:close/>
                <a:moveTo>
                  <a:pt x="456" y="1061"/>
                </a:moveTo>
                <a:cubicBezTo>
                  <a:pt x="445" y="1049"/>
                  <a:pt x="446" y="1031"/>
                  <a:pt x="457" y="1020"/>
                </a:cubicBezTo>
                <a:cubicBezTo>
                  <a:pt x="1333" y="144"/>
                  <a:pt x="1333" y="144"/>
                  <a:pt x="1333" y="144"/>
                </a:cubicBezTo>
                <a:cubicBezTo>
                  <a:pt x="1239" y="51"/>
                  <a:pt x="1239" y="51"/>
                  <a:pt x="1239" y="51"/>
                </a:cubicBezTo>
                <a:cubicBezTo>
                  <a:pt x="1231" y="42"/>
                  <a:pt x="1228" y="29"/>
                  <a:pt x="1233" y="18"/>
                </a:cubicBezTo>
                <a:cubicBezTo>
                  <a:pt x="1238" y="7"/>
                  <a:pt x="1248" y="0"/>
                  <a:pt x="1261" y="0"/>
                </a:cubicBezTo>
                <a:cubicBezTo>
                  <a:pt x="1601" y="0"/>
                  <a:pt x="1601" y="0"/>
                  <a:pt x="1601" y="0"/>
                </a:cubicBezTo>
                <a:cubicBezTo>
                  <a:pt x="1618" y="0"/>
                  <a:pt x="1631" y="13"/>
                  <a:pt x="1631" y="30"/>
                </a:cubicBezTo>
                <a:cubicBezTo>
                  <a:pt x="1631" y="370"/>
                  <a:pt x="1631" y="370"/>
                  <a:pt x="1631" y="370"/>
                </a:cubicBezTo>
                <a:cubicBezTo>
                  <a:pt x="1631" y="382"/>
                  <a:pt x="1624" y="393"/>
                  <a:pt x="1613" y="398"/>
                </a:cubicBezTo>
                <a:cubicBezTo>
                  <a:pt x="1601" y="402"/>
                  <a:pt x="1589" y="400"/>
                  <a:pt x="1580" y="391"/>
                </a:cubicBezTo>
                <a:cubicBezTo>
                  <a:pt x="1485" y="296"/>
                  <a:pt x="1485" y="296"/>
                  <a:pt x="1485" y="296"/>
                </a:cubicBezTo>
                <a:cubicBezTo>
                  <a:pt x="497" y="1065"/>
                  <a:pt x="497" y="1065"/>
                  <a:pt x="497" y="1065"/>
                </a:cubicBezTo>
                <a:cubicBezTo>
                  <a:pt x="491" y="1069"/>
                  <a:pt x="485" y="1071"/>
                  <a:pt x="478" y="1071"/>
                </a:cubicBezTo>
                <a:cubicBezTo>
                  <a:pt x="470" y="1071"/>
                  <a:pt x="462" y="1068"/>
                  <a:pt x="456" y="1061"/>
                </a:cubicBezTo>
                <a:close/>
                <a:moveTo>
                  <a:pt x="658" y="882"/>
                </a:moveTo>
                <a:cubicBezTo>
                  <a:pt x="1473" y="249"/>
                  <a:pt x="1473" y="249"/>
                  <a:pt x="1473" y="249"/>
                </a:cubicBezTo>
                <a:cubicBezTo>
                  <a:pt x="1482" y="242"/>
                  <a:pt x="1494" y="242"/>
                  <a:pt x="1502" y="250"/>
                </a:cubicBezTo>
                <a:cubicBezTo>
                  <a:pt x="1586" y="334"/>
                  <a:pt x="1586" y="334"/>
                  <a:pt x="1586" y="334"/>
                </a:cubicBezTo>
                <a:cubicBezTo>
                  <a:pt x="1586" y="45"/>
                  <a:pt x="1586" y="45"/>
                  <a:pt x="1586" y="45"/>
                </a:cubicBezTo>
                <a:cubicBezTo>
                  <a:pt x="1297" y="45"/>
                  <a:pt x="1297" y="45"/>
                  <a:pt x="1297" y="45"/>
                </a:cubicBezTo>
                <a:cubicBezTo>
                  <a:pt x="1380" y="128"/>
                  <a:pt x="1380" y="128"/>
                  <a:pt x="1380" y="128"/>
                </a:cubicBezTo>
                <a:cubicBezTo>
                  <a:pt x="1385" y="133"/>
                  <a:pt x="1387" y="138"/>
                  <a:pt x="1387" y="144"/>
                </a:cubicBezTo>
                <a:cubicBezTo>
                  <a:pt x="1387" y="150"/>
                  <a:pt x="1385" y="156"/>
                  <a:pt x="1380" y="160"/>
                </a:cubicBezTo>
                <a:lnTo>
                  <a:pt x="658" y="8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2595717" y="1822392"/>
            <a:ext cx="836083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EQUIPE QUALIFICADA</a:t>
            </a:r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2007624" y="2776050"/>
            <a:ext cx="735135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Visão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e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3" name="Title 2"/>
          <p:cNvSpPr txBox="1">
            <a:spLocks/>
          </p:cNvSpPr>
          <p:nvPr/>
        </p:nvSpPr>
        <p:spPr>
          <a:xfrm>
            <a:off x="2649462" y="3658905"/>
            <a:ext cx="735135" cy="41549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Demanda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mercado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5762675" y="3680068"/>
            <a:ext cx="735135" cy="41549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Qualidade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o</a:t>
            </a:r>
          </a:p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roduto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6213821" y="2754888"/>
            <a:ext cx="1109975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Forte</a:t>
            </a:r>
          </a:p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Gerenciamento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6" name="Title 2"/>
          <p:cNvSpPr txBox="1">
            <a:spLocks/>
          </p:cNvSpPr>
          <p:nvPr/>
        </p:nvSpPr>
        <p:spPr>
          <a:xfrm>
            <a:off x="5762675" y="1896789"/>
            <a:ext cx="735135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iNVESTIDOR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49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0869" y="807498"/>
            <a:ext cx="7576231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3200" cap="all" spc="8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MÁRIO</a:t>
            </a:r>
            <a:r>
              <a:rPr lang="en-US" sz="3200" cap="all" spc="8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ECUTIVO</a:t>
            </a:r>
            <a:endParaRPr lang="en-US" sz="3200" cap="all" spc="80" dirty="0">
              <a:solidFill>
                <a:schemeClr val="accent2"/>
              </a:solidFill>
              <a:latin typeface="Lato Black" panose="020F0A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70869" y="1504968"/>
            <a:ext cx="7576231" cy="80528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ira dados e informações sobre o título principal aqui.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hasellu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li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am in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rpi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li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elerisque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at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oreet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bendum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uismod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lesuada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5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isus</a:t>
            </a:r>
            <a:r>
              <a:rPr lang="en-US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593725" y="912517"/>
            <a:ext cx="0" cy="1423448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970869" y="2921603"/>
            <a:ext cx="2157413" cy="839441"/>
            <a:chOff x="970869" y="2921603"/>
            <a:chExt cx="2157413" cy="839441"/>
          </a:xfrm>
        </p:grpSpPr>
        <p:sp>
          <p:nvSpPr>
            <p:cNvPr id="16" name="TextBox 15"/>
            <p:cNvSpPr txBox="1"/>
            <p:nvPr/>
          </p:nvSpPr>
          <p:spPr>
            <a:xfrm>
              <a:off x="970869" y="3137604"/>
              <a:ext cx="2157413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u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n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psum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Cras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Nun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.</a:t>
              </a:r>
            </a:p>
          </p:txBody>
        </p:sp>
        <p:sp>
          <p:nvSpPr>
            <p:cNvPr id="17" name="Title 2"/>
            <p:cNvSpPr txBox="1">
              <a:spLocks/>
            </p:cNvSpPr>
            <p:nvPr/>
          </p:nvSpPr>
          <p:spPr>
            <a:xfrm>
              <a:off x="970869" y="2921603"/>
              <a:ext cx="215741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MISSÃO &amp; VALORE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389687" y="2921603"/>
            <a:ext cx="2157413" cy="856176"/>
            <a:chOff x="6389687" y="2921603"/>
            <a:chExt cx="2157413" cy="856176"/>
          </a:xfrm>
        </p:grpSpPr>
        <p:sp>
          <p:nvSpPr>
            <p:cNvPr id="27" name="TextBox 26"/>
            <p:cNvSpPr txBox="1"/>
            <p:nvPr/>
          </p:nvSpPr>
          <p:spPr>
            <a:xfrm>
              <a:off x="6389687" y="3137604"/>
              <a:ext cx="2157413" cy="6401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u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n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psum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Cras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Nun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.</a:t>
              </a:r>
            </a:p>
          </p:txBody>
        </p:sp>
        <p:sp>
          <p:nvSpPr>
            <p:cNvPr id="28" name="Title 2"/>
            <p:cNvSpPr txBox="1">
              <a:spLocks/>
            </p:cNvSpPr>
            <p:nvPr/>
          </p:nvSpPr>
          <p:spPr>
            <a:xfrm>
              <a:off x="6389687" y="2921603"/>
              <a:ext cx="215741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MODELOS DE NEGÓCIOS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680277" y="2921603"/>
            <a:ext cx="2157413" cy="856176"/>
            <a:chOff x="3680277" y="2921603"/>
            <a:chExt cx="2157413" cy="856176"/>
          </a:xfrm>
        </p:grpSpPr>
        <p:sp>
          <p:nvSpPr>
            <p:cNvPr id="30" name="TextBox 29"/>
            <p:cNvSpPr txBox="1"/>
            <p:nvPr/>
          </p:nvSpPr>
          <p:spPr>
            <a:xfrm>
              <a:off x="3680277" y="3137604"/>
              <a:ext cx="2157413" cy="6401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u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n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psum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Cras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Nun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.</a:t>
              </a:r>
            </a:p>
          </p:txBody>
        </p:sp>
        <p:sp>
          <p:nvSpPr>
            <p:cNvPr id="31" name="Title 2"/>
            <p:cNvSpPr txBox="1">
              <a:spLocks/>
            </p:cNvSpPr>
            <p:nvPr/>
          </p:nvSpPr>
          <p:spPr>
            <a:xfrm>
              <a:off x="3680277" y="2921603"/>
              <a:ext cx="215741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Marke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17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Mapa</a:t>
            </a:r>
            <a:r>
              <a:rPr lang="en-US" dirty="0"/>
              <a:t> mental de </a:t>
            </a:r>
            <a:r>
              <a:rPr lang="en-US" dirty="0" err="1">
                <a:solidFill>
                  <a:srgbClr val="EC0000"/>
                </a:solidFill>
              </a:rPr>
              <a:t>investimen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3908685" y="1546301"/>
            <a:ext cx="1322232" cy="132223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9" name="Straight Connector 8"/>
          <p:cNvCxnSpPr/>
          <p:nvPr/>
        </p:nvCxnSpPr>
        <p:spPr>
          <a:xfrm>
            <a:off x="3057984" y="2571429"/>
            <a:ext cx="190268" cy="22187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>
            <a:stCxn id="5" idx="2"/>
            <a:endCxn id="6" idx="6"/>
          </p:cNvCxnSpPr>
          <p:nvPr/>
        </p:nvCxnSpPr>
        <p:spPr>
          <a:xfrm flipH="1">
            <a:off x="2759531" y="3116626"/>
            <a:ext cx="335387" cy="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3062457" y="3455705"/>
            <a:ext cx="203779" cy="209408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5895748" y="2571429"/>
            <a:ext cx="190268" cy="22187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stCxn id="13" idx="2"/>
            <a:endCxn id="14" idx="6"/>
          </p:cNvCxnSpPr>
          <p:nvPr/>
        </p:nvCxnSpPr>
        <p:spPr>
          <a:xfrm>
            <a:off x="6049083" y="3116626"/>
            <a:ext cx="335387" cy="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5877765" y="3455705"/>
            <a:ext cx="203779" cy="209408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5057884" y="2659342"/>
            <a:ext cx="242571" cy="19104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3843546" y="2659342"/>
            <a:ext cx="242571" cy="19104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" name="Group 49"/>
          <p:cNvGrpSpPr/>
          <p:nvPr/>
        </p:nvGrpSpPr>
        <p:grpSpPr>
          <a:xfrm>
            <a:off x="3094918" y="2695085"/>
            <a:ext cx="843083" cy="843082"/>
            <a:chOff x="3094918" y="2695085"/>
            <a:chExt cx="843083" cy="843082"/>
          </a:xfrm>
        </p:grpSpPr>
        <p:sp>
          <p:nvSpPr>
            <p:cNvPr id="5" name="Oval 4"/>
            <p:cNvSpPr/>
            <p:nvPr/>
          </p:nvSpPr>
          <p:spPr>
            <a:xfrm>
              <a:off x="3094918" y="2695085"/>
              <a:ext cx="843083" cy="84308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8" name="Freeform 115"/>
            <p:cNvSpPr>
              <a:spLocks noEditPoints="1"/>
            </p:cNvSpPr>
            <p:nvPr/>
          </p:nvSpPr>
          <p:spPr bwMode="auto">
            <a:xfrm>
              <a:off x="3371540" y="2964276"/>
              <a:ext cx="301832" cy="301832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206000" y="2695085"/>
            <a:ext cx="843083" cy="843082"/>
            <a:chOff x="5206000" y="2695085"/>
            <a:chExt cx="843083" cy="843082"/>
          </a:xfrm>
        </p:grpSpPr>
        <p:sp>
          <p:nvSpPr>
            <p:cNvPr id="13" name="Oval 12"/>
            <p:cNvSpPr/>
            <p:nvPr/>
          </p:nvSpPr>
          <p:spPr>
            <a:xfrm flipH="1">
              <a:off x="5206000" y="2695085"/>
              <a:ext cx="843083" cy="84308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9" name="Freeform 117"/>
            <p:cNvSpPr>
              <a:spLocks noEditPoints="1"/>
            </p:cNvSpPr>
            <p:nvPr/>
          </p:nvSpPr>
          <p:spPr bwMode="auto">
            <a:xfrm>
              <a:off x="5476625" y="2964276"/>
              <a:ext cx="301832" cy="301832"/>
            </a:xfrm>
            <a:custGeom>
              <a:avLst/>
              <a:gdLst>
                <a:gd name="T0" fmla="*/ 353 w 353"/>
                <a:gd name="T1" fmla="*/ 136 h 353"/>
                <a:gd name="T2" fmla="*/ 349 w 353"/>
                <a:gd name="T3" fmla="*/ 97 h 353"/>
                <a:gd name="T4" fmla="*/ 180 w 353"/>
                <a:gd name="T5" fmla="*/ 1 h 353"/>
                <a:gd name="T6" fmla="*/ 176 w 353"/>
                <a:gd name="T7" fmla="*/ 0 h 353"/>
                <a:gd name="T8" fmla="*/ 173 w 353"/>
                <a:gd name="T9" fmla="*/ 1 h 353"/>
                <a:gd name="T10" fmla="*/ 4 w 353"/>
                <a:gd name="T11" fmla="*/ 97 h 353"/>
                <a:gd name="T12" fmla="*/ 0 w 353"/>
                <a:gd name="T13" fmla="*/ 136 h 353"/>
                <a:gd name="T14" fmla="*/ 32 w 353"/>
                <a:gd name="T15" fmla="*/ 144 h 353"/>
                <a:gd name="T16" fmla="*/ 24 w 353"/>
                <a:gd name="T17" fmla="*/ 289 h 353"/>
                <a:gd name="T18" fmla="*/ 16 w 353"/>
                <a:gd name="T19" fmla="*/ 294 h 353"/>
                <a:gd name="T20" fmla="*/ 0 w 353"/>
                <a:gd name="T21" fmla="*/ 342 h 353"/>
                <a:gd name="T22" fmla="*/ 8 w 353"/>
                <a:gd name="T23" fmla="*/ 353 h 353"/>
                <a:gd name="T24" fmla="*/ 353 w 353"/>
                <a:gd name="T25" fmla="*/ 345 h 353"/>
                <a:gd name="T26" fmla="*/ 353 w 353"/>
                <a:gd name="T27" fmla="*/ 342 h 353"/>
                <a:gd name="T28" fmla="*/ 337 w 353"/>
                <a:gd name="T29" fmla="*/ 294 h 353"/>
                <a:gd name="T30" fmla="*/ 321 w 353"/>
                <a:gd name="T31" fmla="*/ 289 h 353"/>
                <a:gd name="T32" fmla="*/ 345 w 353"/>
                <a:gd name="T33" fmla="*/ 144 h 353"/>
                <a:gd name="T34" fmla="*/ 315 w 353"/>
                <a:gd name="T35" fmla="*/ 96 h 353"/>
                <a:gd name="T36" fmla="*/ 176 w 353"/>
                <a:gd name="T37" fmla="*/ 17 h 353"/>
                <a:gd name="T38" fmla="*/ 334 w 353"/>
                <a:gd name="T39" fmla="*/ 337 h 353"/>
                <a:gd name="T40" fmla="*/ 30 w 353"/>
                <a:gd name="T41" fmla="*/ 305 h 353"/>
                <a:gd name="T42" fmla="*/ 48 w 353"/>
                <a:gd name="T43" fmla="*/ 144 h 353"/>
                <a:gd name="T44" fmla="*/ 80 w 353"/>
                <a:gd name="T45" fmla="*/ 289 h 353"/>
                <a:gd name="T46" fmla="*/ 48 w 353"/>
                <a:gd name="T47" fmla="*/ 144 h 353"/>
                <a:gd name="T48" fmla="*/ 128 w 353"/>
                <a:gd name="T49" fmla="*/ 144 h 353"/>
                <a:gd name="T50" fmla="*/ 96 w 353"/>
                <a:gd name="T51" fmla="*/ 289 h 353"/>
                <a:gd name="T52" fmla="*/ 144 w 353"/>
                <a:gd name="T53" fmla="*/ 144 h 353"/>
                <a:gd name="T54" fmla="*/ 209 w 353"/>
                <a:gd name="T55" fmla="*/ 289 h 353"/>
                <a:gd name="T56" fmla="*/ 144 w 353"/>
                <a:gd name="T57" fmla="*/ 144 h 353"/>
                <a:gd name="T58" fmla="*/ 257 w 353"/>
                <a:gd name="T59" fmla="*/ 144 h 353"/>
                <a:gd name="T60" fmla="*/ 225 w 353"/>
                <a:gd name="T61" fmla="*/ 289 h 353"/>
                <a:gd name="T62" fmla="*/ 273 w 353"/>
                <a:gd name="T63" fmla="*/ 144 h 353"/>
                <a:gd name="T64" fmla="*/ 305 w 353"/>
                <a:gd name="T65" fmla="*/ 289 h 353"/>
                <a:gd name="T66" fmla="*/ 273 w 353"/>
                <a:gd name="T67" fmla="*/ 144 h 353"/>
                <a:gd name="T68" fmla="*/ 337 w 353"/>
                <a:gd name="T69" fmla="*/ 112 h 353"/>
                <a:gd name="T70" fmla="*/ 16 w 353"/>
                <a:gd name="T71" fmla="*/ 12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53">
                  <a:moveTo>
                    <a:pt x="345" y="144"/>
                  </a:moveTo>
                  <a:cubicBezTo>
                    <a:pt x="350" y="144"/>
                    <a:pt x="353" y="141"/>
                    <a:pt x="353" y="136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1"/>
                    <a:pt x="351" y="99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79" y="0"/>
                    <a:pt x="178" y="0"/>
                    <a:pt x="176" y="0"/>
                  </a:cubicBezTo>
                  <a:cubicBezTo>
                    <a:pt x="175" y="0"/>
                    <a:pt x="174" y="0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2" y="99"/>
                    <a:pt x="0" y="101"/>
                    <a:pt x="0" y="10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1"/>
                    <a:pt x="3" y="144"/>
                    <a:pt x="8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0" y="289"/>
                    <a:pt x="18" y="291"/>
                    <a:pt x="16" y="294"/>
                  </a:cubicBezTo>
                  <a:cubicBezTo>
                    <a:pt x="16" y="294"/>
                    <a:pt x="16" y="294"/>
                    <a:pt x="16" y="294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3"/>
                    <a:pt x="0" y="344"/>
                    <a:pt x="0" y="345"/>
                  </a:cubicBezTo>
                  <a:cubicBezTo>
                    <a:pt x="0" y="349"/>
                    <a:pt x="3" y="353"/>
                    <a:pt x="8" y="353"/>
                  </a:cubicBezTo>
                  <a:cubicBezTo>
                    <a:pt x="345" y="353"/>
                    <a:pt x="345" y="353"/>
                    <a:pt x="345" y="353"/>
                  </a:cubicBezTo>
                  <a:cubicBezTo>
                    <a:pt x="350" y="353"/>
                    <a:pt x="353" y="349"/>
                    <a:pt x="353" y="345"/>
                  </a:cubicBezTo>
                  <a:cubicBezTo>
                    <a:pt x="353" y="344"/>
                    <a:pt x="353" y="343"/>
                    <a:pt x="353" y="342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5" y="291"/>
                    <a:pt x="333" y="289"/>
                    <a:pt x="329" y="289"/>
                  </a:cubicBezTo>
                  <a:cubicBezTo>
                    <a:pt x="321" y="289"/>
                    <a:pt x="321" y="289"/>
                    <a:pt x="321" y="289"/>
                  </a:cubicBezTo>
                  <a:cubicBezTo>
                    <a:pt x="321" y="144"/>
                    <a:pt x="321" y="144"/>
                    <a:pt x="321" y="144"/>
                  </a:cubicBezTo>
                  <a:lnTo>
                    <a:pt x="345" y="144"/>
                  </a:lnTo>
                  <a:close/>
                  <a:moveTo>
                    <a:pt x="176" y="17"/>
                  </a:moveTo>
                  <a:cubicBezTo>
                    <a:pt x="315" y="96"/>
                    <a:pt x="315" y="96"/>
                    <a:pt x="315" y="96"/>
                  </a:cubicBezTo>
                  <a:cubicBezTo>
                    <a:pt x="38" y="96"/>
                    <a:pt x="38" y="96"/>
                    <a:pt x="38" y="96"/>
                  </a:cubicBezTo>
                  <a:lnTo>
                    <a:pt x="176" y="17"/>
                  </a:lnTo>
                  <a:close/>
                  <a:moveTo>
                    <a:pt x="323" y="305"/>
                  </a:moveTo>
                  <a:cubicBezTo>
                    <a:pt x="334" y="337"/>
                    <a:pt x="334" y="337"/>
                    <a:pt x="334" y="337"/>
                  </a:cubicBezTo>
                  <a:cubicBezTo>
                    <a:pt x="19" y="337"/>
                    <a:pt x="19" y="337"/>
                    <a:pt x="19" y="337"/>
                  </a:cubicBezTo>
                  <a:cubicBezTo>
                    <a:pt x="30" y="305"/>
                    <a:pt x="30" y="305"/>
                    <a:pt x="30" y="305"/>
                  </a:cubicBezTo>
                  <a:lnTo>
                    <a:pt x="323" y="305"/>
                  </a:lnTo>
                  <a:close/>
                  <a:moveTo>
                    <a:pt x="48" y="144"/>
                  </a:moveTo>
                  <a:cubicBezTo>
                    <a:pt x="80" y="144"/>
                    <a:pt x="80" y="144"/>
                    <a:pt x="80" y="144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48" y="289"/>
                    <a:pt x="48" y="289"/>
                    <a:pt x="48" y="289"/>
                  </a:cubicBezTo>
                  <a:lnTo>
                    <a:pt x="48" y="144"/>
                  </a:lnTo>
                  <a:close/>
                  <a:moveTo>
                    <a:pt x="96" y="144"/>
                  </a:moveTo>
                  <a:cubicBezTo>
                    <a:pt x="128" y="144"/>
                    <a:pt x="128" y="144"/>
                    <a:pt x="128" y="144"/>
                  </a:cubicBezTo>
                  <a:cubicBezTo>
                    <a:pt x="128" y="289"/>
                    <a:pt x="128" y="289"/>
                    <a:pt x="128" y="289"/>
                  </a:cubicBezTo>
                  <a:cubicBezTo>
                    <a:pt x="96" y="289"/>
                    <a:pt x="96" y="289"/>
                    <a:pt x="96" y="289"/>
                  </a:cubicBezTo>
                  <a:lnTo>
                    <a:pt x="96" y="144"/>
                  </a:lnTo>
                  <a:close/>
                  <a:moveTo>
                    <a:pt x="144" y="144"/>
                  </a:moveTo>
                  <a:cubicBezTo>
                    <a:pt x="209" y="144"/>
                    <a:pt x="209" y="144"/>
                    <a:pt x="209" y="14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144" y="289"/>
                    <a:pt x="144" y="289"/>
                    <a:pt x="144" y="289"/>
                  </a:cubicBezTo>
                  <a:lnTo>
                    <a:pt x="144" y="144"/>
                  </a:lnTo>
                  <a:close/>
                  <a:moveTo>
                    <a:pt x="225" y="144"/>
                  </a:moveTo>
                  <a:cubicBezTo>
                    <a:pt x="257" y="144"/>
                    <a:pt x="257" y="144"/>
                    <a:pt x="257" y="144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25" y="289"/>
                    <a:pt x="225" y="289"/>
                    <a:pt x="225" y="289"/>
                  </a:cubicBezTo>
                  <a:lnTo>
                    <a:pt x="225" y="144"/>
                  </a:lnTo>
                  <a:close/>
                  <a:moveTo>
                    <a:pt x="273" y="144"/>
                  </a:moveTo>
                  <a:cubicBezTo>
                    <a:pt x="305" y="144"/>
                    <a:pt x="305" y="144"/>
                    <a:pt x="305" y="144"/>
                  </a:cubicBezTo>
                  <a:cubicBezTo>
                    <a:pt x="305" y="289"/>
                    <a:pt x="305" y="289"/>
                    <a:pt x="305" y="289"/>
                  </a:cubicBezTo>
                  <a:cubicBezTo>
                    <a:pt x="273" y="289"/>
                    <a:pt x="273" y="289"/>
                    <a:pt x="273" y="289"/>
                  </a:cubicBezTo>
                  <a:lnTo>
                    <a:pt x="273" y="144"/>
                  </a:lnTo>
                  <a:close/>
                  <a:moveTo>
                    <a:pt x="16" y="112"/>
                  </a:moveTo>
                  <a:cubicBezTo>
                    <a:pt x="337" y="112"/>
                    <a:pt x="337" y="112"/>
                    <a:pt x="337" y="112"/>
                  </a:cubicBezTo>
                  <a:cubicBezTo>
                    <a:pt x="337" y="128"/>
                    <a:pt x="337" y="128"/>
                    <a:pt x="337" y="128"/>
                  </a:cubicBezTo>
                  <a:cubicBezTo>
                    <a:pt x="16" y="128"/>
                    <a:pt x="16" y="128"/>
                    <a:pt x="16" y="128"/>
                  </a:cubicBezTo>
                  <a:lnTo>
                    <a:pt x="16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3900166" y="2022751"/>
            <a:ext cx="134476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</a:rPr>
              <a:t> de</a:t>
            </a:r>
          </a:p>
          <a:p>
            <a:pPr algn="ctr"/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</a:rPr>
              <a:t>Investimento</a:t>
            </a:r>
            <a:endParaRPr lang="en-US" sz="12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740250" y="3747451"/>
            <a:ext cx="1663500" cy="4343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pt-BR" sz="750" dirty="0">
                <a:solidFill>
                  <a:schemeClr val="accent4"/>
                </a:solidFill>
                <a:latin typeface="Lato" panose="020F0502020204030203" pitchFamily="34" charset="0"/>
              </a:rPr>
              <a:t>Você pode inserir alguns dados e informações aqui. A explicação deve ser pequena e breve.</a:t>
            </a:r>
            <a:endParaRPr lang="en-US" sz="75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055680" y="2764701"/>
            <a:ext cx="703851" cy="703851"/>
            <a:chOff x="2055680" y="2764701"/>
            <a:chExt cx="703851" cy="703851"/>
          </a:xfrm>
        </p:grpSpPr>
        <p:sp>
          <p:nvSpPr>
            <p:cNvPr id="6" name="Oval 5"/>
            <p:cNvSpPr/>
            <p:nvPr/>
          </p:nvSpPr>
          <p:spPr>
            <a:xfrm>
              <a:off x="2055680" y="2764701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6" name="Freeform 16"/>
            <p:cNvSpPr>
              <a:spLocks noEditPoints="1"/>
            </p:cNvSpPr>
            <p:nvPr/>
          </p:nvSpPr>
          <p:spPr bwMode="auto">
            <a:xfrm>
              <a:off x="2258332" y="2966808"/>
              <a:ext cx="298546" cy="299636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384470" y="2764701"/>
            <a:ext cx="703851" cy="703851"/>
            <a:chOff x="6384470" y="2764701"/>
            <a:chExt cx="703851" cy="703851"/>
          </a:xfrm>
        </p:grpSpPr>
        <p:sp>
          <p:nvSpPr>
            <p:cNvPr id="14" name="Oval 13"/>
            <p:cNvSpPr/>
            <p:nvPr/>
          </p:nvSpPr>
          <p:spPr>
            <a:xfrm flipH="1">
              <a:off x="6384470" y="2764701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7" name="Freeform 24"/>
            <p:cNvSpPr>
              <a:spLocks noEditPoints="1"/>
            </p:cNvSpPr>
            <p:nvPr/>
          </p:nvSpPr>
          <p:spPr bwMode="auto">
            <a:xfrm>
              <a:off x="6587122" y="2966808"/>
              <a:ext cx="298546" cy="299636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944467" y="3589467"/>
            <a:ext cx="703851" cy="703851"/>
            <a:chOff x="5944467" y="3589467"/>
            <a:chExt cx="703851" cy="703851"/>
          </a:xfrm>
        </p:grpSpPr>
        <p:sp>
          <p:nvSpPr>
            <p:cNvPr id="16" name="Oval 15"/>
            <p:cNvSpPr/>
            <p:nvPr/>
          </p:nvSpPr>
          <p:spPr>
            <a:xfrm flipH="1">
              <a:off x="5944467" y="3589467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8" name="Freeform 44"/>
            <p:cNvSpPr>
              <a:spLocks noEditPoints="1"/>
            </p:cNvSpPr>
            <p:nvPr/>
          </p:nvSpPr>
          <p:spPr bwMode="auto">
            <a:xfrm>
              <a:off x="6147119" y="3832434"/>
              <a:ext cx="298546" cy="217916"/>
            </a:xfrm>
            <a:custGeom>
              <a:avLst/>
              <a:gdLst>
                <a:gd name="T0" fmla="*/ 64 w 353"/>
                <a:gd name="T1" fmla="*/ 104 h 257"/>
                <a:gd name="T2" fmla="*/ 96 w 353"/>
                <a:gd name="T3" fmla="*/ 104 h 257"/>
                <a:gd name="T4" fmla="*/ 281 w 353"/>
                <a:gd name="T5" fmla="*/ 16 h 257"/>
                <a:gd name="T6" fmla="*/ 72 w 353"/>
                <a:gd name="T7" fmla="*/ 0 h 257"/>
                <a:gd name="T8" fmla="*/ 40 w 353"/>
                <a:gd name="T9" fmla="*/ 48 h 257"/>
                <a:gd name="T10" fmla="*/ 313 w 353"/>
                <a:gd name="T11" fmla="*/ 32 h 257"/>
                <a:gd name="T12" fmla="*/ 40 w 353"/>
                <a:gd name="T13" fmla="*/ 48 h 257"/>
                <a:gd name="T14" fmla="*/ 0 w 353"/>
                <a:gd name="T15" fmla="*/ 80 h 257"/>
                <a:gd name="T16" fmla="*/ 337 w 353"/>
                <a:gd name="T17" fmla="*/ 257 h 257"/>
                <a:gd name="T18" fmla="*/ 337 w 353"/>
                <a:gd name="T19" fmla="*/ 64 h 257"/>
                <a:gd name="T20" fmla="*/ 24 w 353"/>
                <a:gd name="T21" fmla="*/ 96 h 257"/>
                <a:gd name="T22" fmla="*/ 24 w 353"/>
                <a:gd name="T23" fmla="*/ 241 h 257"/>
                <a:gd name="T24" fmla="*/ 32 w 353"/>
                <a:gd name="T25" fmla="*/ 233 h 257"/>
                <a:gd name="T26" fmla="*/ 321 w 353"/>
                <a:gd name="T27" fmla="*/ 233 h 257"/>
                <a:gd name="T28" fmla="*/ 329 w 353"/>
                <a:gd name="T29" fmla="*/ 241 h 257"/>
                <a:gd name="T30" fmla="*/ 305 w 353"/>
                <a:gd name="T31" fmla="*/ 233 h 257"/>
                <a:gd name="T32" fmla="*/ 48 w 353"/>
                <a:gd name="T33" fmla="*/ 233 h 257"/>
                <a:gd name="T34" fmla="*/ 16 w 353"/>
                <a:gd name="T35" fmla="*/ 111 h 257"/>
                <a:gd name="T36" fmla="*/ 47 w 353"/>
                <a:gd name="T37" fmla="*/ 80 h 257"/>
                <a:gd name="T38" fmla="*/ 329 w 353"/>
                <a:gd name="T39" fmla="*/ 112 h 257"/>
                <a:gd name="T40" fmla="*/ 329 w 353"/>
                <a:gd name="T41" fmla="*/ 96 h 257"/>
                <a:gd name="T42" fmla="*/ 337 w 353"/>
                <a:gd name="T43" fmla="*/ 88 h 257"/>
                <a:gd name="T44" fmla="*/ 265 w 353"/>
                <a:gd name="T45" fmla="*/ 209 h 257"/>
                <a:gd name="T46" fmla="*/ 281 w 353"/>
                <a:gd name="T47" fmla="*/ 225 h 257"/>
                <a:gd name="T48" fmla="*/ 176 w 353"/>
                <a:gd name="T49" fmla="*/ 96 h 257"/>
                <a:gd name="T50" fmla="*/ 241 w 353"/>
                <a:gd name="T51" fmla="*/ 160 h 257"/>
                <a:gd name="T52" fmla="*/ 197 w 353"/>
                <a:gd name="T53" fmla="*/ 195 h 257"/>
                <a:gd name="T54" fmla="*/ 180 w 353"/>
                <a:gd name="T55" fmla="*/ 209 h 257"/>
                <a:gd name="T56" fmla="*/ 164 w 353"/>
                <a:gd name="T57" fmla="*/ 199 h 257"/>
                <a:gd name="T58" fmla="*/ 148 w 353"/>
                <a:gd name="T59" fmla="*/ 176 h 257"/>
                <a:gd name="T60" fmla="*/ 173 w 353"/>
                <a:gd name="T61" fmla="*/ 191 h 257"/>
                <a:gd name="T62" fmla="*/ 158 w 353"/>
                <a:gd name="T63" fmla="*/ 158 h 257"/>
                <a:gd name="T64" fmla="*/ 152 w 353"/>
                <a:gd name="T65" fmla="*/ 132 h 257"/>
                <a:gd name="T66" fmla="*/ 173 w 353"/>
                <a:gd name="T67" fmla="*/ 120 h 257"/>
                <a:gd name="T68" fmla="*/ 180 w 353"/>
                <a:gd name="T69" fmla="*/ 120 h 257"/>
                <a:gd name="T70" fmla="*/ 201 w 353"/>
                <a:gd name="T71" fmla="*/ 131 h 257"/>
                <a:gd name="T72" fmla="*/ 187 w 353"/>
                <a:gd name="T73" fmla="*/ 132 h 257"/>
                <a:gd name="T74" fmla="*/ 188 w 353"/>
                <a:gd name="T75" fmla="*/ 155 h 257"/>
                <a:gd name="T76" fmla="*/ 204 w 353"/>
                <a:gd name="T77" fmla="*/ 177 h 257"/>
                <a:gd name="T78" fmla="*/ 184 w 353"/>
                <a:gd name="T79" fmla="*/ 167 h 257"/>
                <a:gd name="T80" fmla="*/ 188 w 353"/>
                <a:gd name="T81" fmla="*/ 188 h 257"/>
                <a:gd name="T82" fmla="*/ 188 w 353"/>
                <a:gd name="T83" fmla="*/ 170 h 257"/>
                <a:gd name="T84" fmla="*/ 166 w 353"/>
                <a:gd name="T85" fmla="*/ 148 h 257"/>
                <a:gd name="T86" fmla="*/ 173 w 353"/>
                <a:gd name="T8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3" h="257">
                  <a:moveTo>
                    <a:pt x="88" y="96"/>
                  </a:moveTo>
                  <a:cubicBezTo>
                    <a:pt x="72" y="96"/>
                    <a:pt x="72" y="96"/>
                    <a:pt x="72" y="96"/>
                  </a:cubicBezTo>
                  <a:cubicBezTo>
                    <a:pt x="68" y="96"/>
                    <a:pt x="64" y="100"/>
                    <a:pt x="64" y="104"/>
                  </a:cubicBezTo>
                  <a:cubicBezTo>
                    <a:pt x="64" y="109"/>
                    <a:pt x="68" y="112"/>
                    <a:pt x="72" y="112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3" y="112"/>
                    <a:pt x="96" y="109"/>
                    <a:pt x="96" y="104"/>
                  </a:cubicBezTo>
                  <a:cubicBezTo>
                    <a:pt x="96" y="100"/>
                    <a:pt x="93" y="96"/>
                    <a:pt x="88" y="96"/>
                  </a:cubicBezTo>
                  <a:moveTo>
                    <a:pt x="72" y="16"/>
                  </a:moveTo>
                  <a:cubicBezTo>
                    <a:pt x="281" y="16"/>
                    <a:pt x="281" y="16"/>
                    <a:pt x="281" y="16"/>
                  </a:cubicBezTo>
                  <a:cubicBezTo>
                    <a:pt x="285" y="16"/>
                    <a:pt x="289" y="12"/>
                    <a:pt x="289" y="8"/>
                  </a:cubicBezTo>
                  <a:cubicBezTo>
                    <a:pt x="289" y="4"/>
                    <a:pt x="285" y="0"/>
                    <a:pt x="281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8" y="0"/>
                    <a:pt x="64" y="4"/>
                    <a:pt x="64" y="8"/>
                  </a:cubicBezTo>
                  <a:cubicBezTo>
                    <a:pt x="64" y="12"/>
                    <a:pt x="68" y="16"/>
                    <a:pt x="72" y="16"/>
                  </a:cubicBezTo>
                  <a:moveTo>
                    <a:pt x="40" y="48"/>
                  </a:moveTo>
                  <a:cubicBezTo>
                    <a:pt x="313" y="48"/>
                    <a:pt x="313" y="48"/>
                    <a:pt x="313" y="48"/>
                  </a:cubicBezTo>
                  <a:cubicBezTo>
                    <a:pt x="317" y="48"/>
                    <a:pt x="321" y="45"/>
                    <a:pt x="321" y="40"/>
                  </a:cubicBezTo>
                  <a:cubicBezTo>
                    <a:pt x="321" y="36"/>
                    <a:pt x="317" y="32"/>
                    <a:pt x="313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6" y="32"/>
                    <a:pt x="32" y="36"/>
                    <a:pt x="32" y="40"/>
                  </a:cubicBezTo>
                  <a:cubicBezTo>
                    <a:pt x="32" y="45"/>
                    <a:pt x="36" y="48"/>
                    <a:pt x="40" y="48"/>
                  </a:cubicBezTo>
                  <a:moveTo>
                    <a:pt x="337" y="64"/>
                  </a:moveTo>
                  <a:cubicBezTo>
                    <a:pt x="16" y="64"/>
                    <a:pt x="16" y="64"/>
                    <a:pt x="16" y="64"/>
                  </a:cubicBezTo>
                  <a:cubicBezTo>
                    <a:pt x="7" y="64"/>
                    <a:pt x="0" y="71"/>
                    <a:pt x="0" y="80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50"/>
                    <a:pt x="7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46" y="257"/>
                    <a:pt x="353" y="250"/>
                    <a:pt x="353" y="241"/>
                  </a:cubicBezTo>
                  <a:cubicBezTo>
                    <a:pt x="353" y="80"/>
                    <a:pt x="353" y="80"/>
                    <a:pt x="353" y="80"/>
                  </a:cubicBezTo>
                  <a:cubicBezTo>
                    <a:pt x="353" y="71"/>
                    <a:pt x="346" y="64"/>
                    <a:pt x="337" y="64"/>
                  </a:cubicBezTo>
                  <a:moveTo>
                    <a:pt x="24" y="80"/>
                  </a:moveTo>
                  <a:cubicBezTo>
                    <a:pt x="28" y="80"/>
                    <a:pt x="32" y="84"/>
                    <a:pt x="32" y="88"/>
                  </a:cubicBezTo>
                  <a:cubicBezTo>
                    <a:pt x="32" y="93"/>
                    <a:pt x="28" y="96"/>
                    <a:pt x="24" y="96"/>
                  </a:cubicBezTo>
                  <a:cubicBezTo>
                    <a:pt x="20" y="96"/>
                    <a:pt x="16" y="93"/>
                    <a:pt x="16" y="88"/>
                  </a:cubicBezTo>
                  <a:cubicBezTo>
                    <a:pt x="16" y="84"/>
                    <a:pt x="20" y="80"/>
                    <a:pt x="24" y="80"/>
                  </a:cubicBezTo>
                  <a:moveTo>
                    <a:pt x="24" y="241"/>
                  </a:moveTo>
                  <a:cubicBezTo>
                    <a:pt x="20" y="241"/>
                    <a:pt x="16" y="237"/>
                    <a:pt x="16" y="233"/>
                  </a:cubicBezTo>
                  <a:cubicBezTo>
                    <a:pt x="16" y="228"/>
                    <a:pt x="20" y="225"/>
                    <a:pt x="24" y="225"/>
                  </a:cubicBezTo>
                  <a:cubicBezTo>
                    <a:pt x="28" y="225"/>
                    <a:pt x="32" y="228"/>
                    <a:pt x="32" y="233"/>
                  </a:cubicBezTo>
                  <a:cubicBezTo>
                    <a:pt x="32" y="237"/>
                    <a:pt x="28" y="241"/>
                    <a:pt x="24" y="241"/>
                  </a:cubicBezTo>
                  <a:moveTo>
                    <a:pt x="329" y="241"/>
                  </a:moveTo>
                  <a:cubicBezTo>
                    <a:pt x="325" y="241"/>
                    <a:pt x="321" y="237"/>
                    <a:pt x="321" y="233"/>
                  </a:cubicBezTo>
                  <a:cubicBezTo>
                    <a:pt x="321" y="228"/>
                    <a:pt x="325" y="225"/>
                    <a:pt x="329" y="225"/>
                  </a:cubicBezTo>
                  <a:cubicBezTo>
                    <a:pt x="333" y="225"/>
                    <a:pt x="337" y="228"/>
                    <a:pt x="337" y="233"/>
                  </a:cubicBezTo>
                  <a:cubicBezTo>
                    <a:pt x="337" y="237"/>
                    <a:pt x="333" y="241"/>
                    <a:pt x="329" y="241"/>
                  </a:cubicBezTo>
                  <a:moveTo>
                    <a:pt x="337" y="210"/>
                  </a:moveTo>
                  <a:cubicBezTo>
                    <a:pt x="335" y="209"/>
                    <a:pt x="332" y="209"/>
                    <a:pt x="329" y="209"/>
                  </a:cubicBezTo>
                  <a:cubicBezTo>
                    <a:pt x="316" y="209"/>
                    <a:pt x="305" y="219"/>
                    <a:pt x="305" y="233"/>
                  </a:cubicBezTo>
                  <a:cubicBezTo>
                    <a:pt x="305" y="236"/>
                    <a:pt x="306" y="238"/>
                    <a:pt x="306" y="241"/>
                  </a:cubicBezTo>
                  <a:cubicBezTo>
                    <a:pt x="47" y="241"/>
                    <a:pt x="47" y="241"/>
                    <a:pt x="47" y="241"/>
                  </a:cubicBezTo>
                  <a:cubicBezTo>
                    <a:pt x="47" y="238"/>
                    <a:pt x="48" y="236"/>
                    <a:pt x="48" y="233"/>
                  </a:cubicBezTo>
                  <a:cubicBezTo>
                    <a:pt x="48" y="219"/>
                    <a:pt x="37" y="209"/>
                    <a:pt x="24" y="209"/>
                  </a:cubicBezTo>
                  <a:cubicBezTo>
                    <a:pt x="21" y="209"/>
                    <a:pt x="18" y="209"/>
                    <a:pt x="16" y="210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8" y="112"/>
                    <a:pt x="21" y="112"/>
                    <a:pt x="24" y="112"/>
                  </a:cubicBezTo>
                  <a:cubicBezTo>
                    <a:pt x="37" y="112"/>
                    <a:pt x="48" y="102"/>
                    <a:pt x="48" y="88"/>
                  </a:cubicBezTo>
                  <a:cubicBezTo>
                    <a:pt x="48" y="85"/>
                    <a:pt x="47" y="83"/>
                    <a:pt x="47" y="80"/>
                  </a:cubicBezTo>
                  <a:cubicBezTo>
                    <a:pt x="306" y="80"/>
                    <a:pt x="306" y="80"/>
                    <a:pt x="306" y="80"/>
                  </a:cubicBezTo>
                  <a:cubicBezTo>
                    <a:pt x="306" y="83"/>
                    <a:pt x="305" y="85"/>
                    <a:pt x="305" y="88"/>
                  </a:cubicBezTo>
                  <a:cubicBezTo>
                    <a:pt x="305" y="102"/>
                    <a:pt x="316" y="112"/>
                    <a:pt x="329" y="112"/>
                  </a:cubicBezTo>
                  <a:cubicBezTo>
                    <a:pt x="332" y="112"/>
                    <a:pt x="335" y="112"/>
                    <a:pt x="337" y="111"/>
                  </a:cubicBezTo>
                  <a:lnTo>
                    <a:pt x="337" y="210"/>
                  </a:lnTo>
                  <a:close/>
                  <a:moveTo>
                    <a:pt x="329" y="96"/>
                  </a:moveTo>
                  <a:cubicBezTo>
                    <a:pt x="325" y="96"/>
                    <a:pt x="321" y="93"/>
                    <a:pt x="321" y="88"/>
                  </a:cubicBezTo>
                  <a:cubicBezTo>
                    <a:pt x="321" y="84"/>
                    <a:pt x="325" y="80"/>
                    <a:pt x="329" y="80"/>
                  </a:cubicBezTo>
                  <a:cubicBezTo>
                    <a:pt x="333" y="80"/>
                    <a:pt x="337" y="84"/>
                    <a:pt x="337" y="88"/>
                  </a:cubicBezTo>
                  <a:cubicBezTo>
                    <a:pt x="337" y="93"/>
                    <a:pt x="333" y="96"/>
                    <a:pt x="329" y="96"/>
                  </a:cubicBezTo>
                  <a:moveTo>
                    <a:pt x="281" y="209"/>
                  </a:moveTo>
                  <a:cubicBezTo>
                    <a:pt x="265" y="209"/>
                    <a:pt x="265" y="209"/>
                    <a:pt x="265" y="209"/>
                  </a:cubicBezTo>
                  <a:cubicBezTo>
                    <a:pt x="260" y="209"/>
                    <a:pt x="257" y="212"/>
                    <a:pt x="257" y="217"/>
                  </a:cubicBezTo>
                  <a:cubicBezTo>
                    <a:pt x="257" y="221"/>
                    <a:pt x="260" y="225"/>
                    <a:pt x="265" y="225"/>
                  </a:cubicBezTo>
                  <a:cubicBezTo>
                    <a:pt x="281" y="225"/>
                    <a:pt x="281" y="225"/>
                    <a:pt x="281" y="225"/>
                  </a:cubicBezTo>
                  <a:cubicBezTo>
                    <a:pt x="285" y="225"/>
                    <a:pt x="289" y="221"/>
                    <a:pt x="289" y="217"/>
                  </a:cubicBezTo>
                  <a:cubicBezTo>
                    <a:pt x="289" y="212"/>
                    <a:pt x="285" y="209"/>
                    <a:pt x="281" y="209"/>
                  </a:cubicBezTo>
                  <a:moveTo>
                    <a:pt x="176" y="96"/>
                  </a:moveTo>
                  <a:cubicBezTo>
                    <a:pt x="141" y="96"/>
                    <a:pt x="112" y="125"/>
                    <a:pt x="112" y="160"/>
                  </a:cubicBezTo>
                  <a:cubicBezTo>
                    <a:pt x="112" y="196"/>
                    <a:pt x="141" y="225"/>
                    <a:pt x="176" y="225"/>
                  </a:cubicBezTo>
                  <a:cubicBezTo>
                    <a:pt x="212" y="225"/>
                    <a:pt x="241" y="196"/>
                    <a:pt x="241" y="160"/>
                  </a:cubicBezTo>
                  <a:cubicBezTo>
                    <a:pt x="241" y="125"/>
                    <a:pt x="212" y="96"/>
                    <a:pt x="176" y="96"/>
                  </a:cubicBezTo>
                  <a:moveTo>
                    <a:pt x="202" y="187"/>
                  </a:moveTo>
                  <a:cubicBezTo>
                    <a:pt x="201" y="190"/>
                    <a:pt x="199" y="193"/>
                    <a:pt x="197" y="195"/>
                  </a:cubicBezTo>
                  <a:cubicBezTo>
                    <a:pt x="195" y="197"/>
                    <a:pt x="192" y="198"/>
                    <a:pt x="189" y="199"/>
                  </a:cubicBezTo>
                  <a:cubicBezTo>
                    <a:pt x="186" y="200"/>
                    <a:pt x="183" y="201"/>
                    <a:pt x="180" y="201"/>
                  </a:cubicBezTo>
                  <a:cubicBezTo>
                    <a:pt x="180" y="209"/>
                    <a:pt x="180" y="209"/>
                    <a:pt x="180" y="209"/>
                  </a:cubicBezTo>
                  <a:cubicBezTo>
                    <a:pt x="173" y="209"/>
                    <a:pt x="173" y="209"/>
                    <a:pt x="173" y="209"/>
                  </a:cubicBezTo>
                  <a:cubicBezTo>
                    <a:pt x="173" y="201"/>
                    <a:pt x="173" y="201"/>
                    <a:pt x="173" y="201"/>
                  </a:cubicBezTo>
                  <a:cubicBezTo>
                    <a:pt x="169" y="201"/>
                    <a:pt x="167" y="200"/>
                    <a:pt x="164" y="199"/>
                  </a:cubicBezTo>
                  <a:cubicBezTo>
                    <a:pt x="160" y="198"/>
                    <a:pt x="158" y="197"/>
                    <a:pt x="155" y="194"/>
                  </a:cubicBezTo>
                  <a:cubicBezTo>
                    <a:pt x="153" y="192"/>
                    <a:pt x="151" y="190"/>
                    <a:pt x="150" y="186"/>
                  </a:cubicBezTo>
                  <a:cubicBezTo>
                    <a:pt x="149" y="183"/>
                    <a:pt x="148" y="180"/>
                    <a:pt x="148" y="176"/>
                  </a:cubicBezTo>
                  <a:cubicBezTo>
                    <a:pt x="160" y="176"/>
                    <a:pt x="160" y="176"/>
                    <a:pt x="160" y="176"/>
                  </a:cubicBezTo>
                  <a:cubicBezTo>
                    <a:pt x="160" y="180"/>
                    <a:pt x="161" y="184"/>
                    <a:pt x="164" y="187"/>
                  </a:cubicBezTo>
                  <a:cubicBezTo>
                    <a:pt x="166" y="190"/>
                    <a:pt x="168" y="191"/>
                    <a:pt x="173" y="191"/>
                  </a:cubicBezTo>
                  <a:cubicBezTo>
                    <a:pt x="173" y="165"/>
                    <a:pt x="173" y="165"/>
                    <a:pt x="173" y="165"/>
                  </a:cubicBezTo>
                  <a:cubicBezTo>
                    <a:pt x="170" y="164"/>
                    <a:pt x="168" y="163"/>
                    <a:pt x="165" y="162"/>
                  </a:cubicBezTo>
                  <a:cubicBezTo>
                    <a:pt x="163" y="161"/>
                    <a:pt x="160" y="159"/>
                    <a:pt x="158" y="158"/>
                  </a:cubicBezTo>
                  <a:cubicBezTo>
                    <a:pt x="155" y="156"/>
                    <a:pt x="153" y="154"/>
                    <a:pt x="152" y="151"/>
                  </a:cubicBezTo>
                  <a:cubicBezTo>
                    <a:pt x="150" y="148"/>
                    <a:pt x="150" y="145"/>
                    <a:pt x="150" y="141"/>
                  </a:cubicBezTo>
                  <a:cubicBezTo>
                    <a:pt x="150" y="137"/>
                    <a:pt x="150" y="134"/>
                    <a:pt x="152" y="132"/>
                  </a:cubicBezTo>
                  <a:cubicBezTo>
                    <a:pt x="153" y="129"/>
                    <a:pt x="155" y="127"/>
                    <a:pt x="157" y="125"/>
                  </a:cubicBezTo>
                  <a:cubicBezTo>
                    <a:pt x="159" y="123"/>
                    <a:pt x="162" y="122"/>
                    <a:pt x="165" y="121"/>
                  </a:cubicBezTo>
                  <a:cubicBezTo>
                    <a:pt x="168" y="120"/>
                    <a:pt x="170" y="120"/>
                    <a:pt x="173" y="120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80" y="112"/>
                    <a:pt x="180" y="112"/>
                    <a:pt x="180" y="112"/>
                  </a:cubicBezTo>
                  <a:cubicBezTo>
                    <a:pt x="180" y="120"/>
                    <a:pt x="180" y="120"/>
                    <a:pt x="180" y="120"/>
                  </a:cubicBezTo>
                  <a:cubicBezTo>
                    <a:pt x="183" y="120"/>
                    <a:pt x="185" y="120"/>
                    <a:pt x="188" y="121"/>
                  </a:cubicBezTo>
                  <a:cubicBezTo>
                    <a:pt x="191" y="122"/>
                    <a:pt x="193" y="123"/>
                    <a:pt x="196" y="125"/>
                  </a:cubicBezTo>
                  <a:cubicBezTo>
                    <a:pt x="198" y="127"/>
                    <a:pt x="199" y="129"/>
                    <a:pt x="201" y="131"/>
                  </a:cubicBezTo>
                  <a:cubicBezTo>
                    <a:pt x="202" y="134"/>
                    <a:pt x="202" y="137"/>
                    <a:pt x="202" y="141"/>
                  </a:cubicBezTo>
                  <a:cubicBezTo>
                    <a:pt x="190" y="141"/>
                    <a:pt x="190" y="141"/>
                    <a:pt x="190" y="141"/>
                  </a:cubicBezTo>
                  <a:cubicBezTo>
                    <a:pt x="190" y="137"/>
                    <a:pt x="189" y="134"/>
                    <a:pt x="187" y="132"/>
                  </a:cubicBezTo>
                  <a:cubicBezTo>
                    <a:pt x="186" y="130"/>
                    <a:pt x="184" y="129"/>
                    <a:pt x="180" y="129"/>
                  </a:cubicBezTo>
                  <a:cubicBezTo>
                    <a:pt x="180" y="152"/>
                    <a:pt x="180" y="152"/>
                    <a:pt x="180" y="152"/>
                  </a:cubicBezTo>
                  <a:cubicBezTo>
                    <a:pt x="183" y="153"/>
                    <a:pt x="185" y="154"/>
                    <a:pt x="188" y="155"/>
                  </a:cubicBezTo>
                  <a:cubicBezTo>
                    <a:pt x="191" y="157"/>
                    <a:pt x="194" y="158"/>
                    <a:pt x="197" y="160"/>
                  </a:cubicBezTo>
                  <a:cubicBezTo>
                    <a:pt x="199" y="162"/>
                    <a:pt x="201" y="164"/>
                    <a:pt x="202" y="167"/>
                  </a:cubicBezTo>
                  <a:cubicBezTo>
                    <a:pt x="204" y="169"/>
                    <a:pt x="204" y="173"/>
                    <a:pt x="204" y="177"/>
                  </a:cubicBezTo>
                  <a:cubicBezTo>
                    <a:pt x="204" y="181"/>
                    <a:pt x="204" y="184"/>
                    <a:pt x="202" y="187"/>
                  </a:cubicBezTo>
                  <a:moveTo>
                    <a:pt x="188" y="170"/>
                  </a:moveTo>
                  <a:cubicBezTo>
                    <a:pt x="187" y="169"/>
                    <a:pt x="185" y="168"/>
                    <a:pt x="184" y="167"/>
                  </a:cubicBezTo>
                  <a:cubicBezTo>
                    <a:pt x="182" y="167"/>
                    <a:pt x="181" y="166"/>
                    <a:pt x="180" y="166"/>
                  </a:cubicBezTo>
                  <a:cubicBezTo>
                    <a:pt x="180" y="191"/>
                    <a:pt x="180" y="191"/>
                    <a:pt x="180" y="191"/>
                  </a:cubicBezTo>
                  <a:cubicBezTo>
                    <a:pt x="184" y="191"/>
                    <a:pt x="186" y="190"/>
                    <a:pt x="188" y="188"/>
                  </a:cubicBezTo>
                  <a:cubicBezTo>
                    <a:pt x="191" y="186"/>
                    <a:pt x="192" y="183"/>
                    <a:pt x="192" y="178"/>
                  </a:cubicBezTo>
                  <a:cubicBezTo>
                    <a:pt x="192" y="176"/>
                    <a:pt x="192" y="175"/>
                    <a:pt x="191" y="173"/>
                  </a:cubicBezTo>
                  <a:cubicBezTo>
                    <a:pt x="190" y="172"/>
                    <a:pt x="189" y="171"/>
                    <a:pt x="188" y="170"/>
                  </a:cubicBezTo>
                  <a:moveTo>
                    <a:pt x="162" y="140"/>
                  </a:moveTo>
                  <a:cubicBezTo>
                    <a:pt x="162" y="142"/>
                    <a:pt x="162" y="143"/>
                    <a:pt x="163" y="145"/>
                  </a:cubicBezTo>
                  <a:cubicBezTo>
                    <a:pt x="164" y="146"/>
                    <a:pt x="165" y="147"/>
                    <a:pt x="166" y="148"/>
                  </a:cubicBezTo>
                  <a:cubicBezTo>
                    <a:pt x="167" y="149"/>
                    <a:pt x="168" y="149"/>
                    <a:pt x="170" y="150"/>
                  </a:cubicBezTo>
                  <a:cubicBezTo>
                    <a:pt x="171" y="150"/>
                    <a:pt x="172" y="151"/>
                    <a:pt x="173" y="151"/>
                  </a:cubicBezTo>
                  <a:cubicBezTo>
                    <a:pt x="173" y="129"/>
                    <a:pt x="173" y="129"/>
                    <a:pt x="173" y="129"/>
                  </a:cubicBezTo>
                  <a:cubicBezTo>
                    <a:pt x="169" y="129"/>
                    <a:pt x="167" y="130"/>
                    <a:pt x="165" y="132"/>
                  </a:cubicBezTo>
                  <a:cubicBezTo>
                    <a:pt x="163" y="133"/>
                    <a:pt x="162" y="136"/>
                    <a:pt x="162" y="14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495683" y="1939934"/>
            <a:ext cx="703851" cy="703851"/>
            <a:chOff x="2495683" y="1939934"/>
            <a:chExt cx="703851" cy="703851"/>
          </a:xfrm>
        </p:grpSpPr>
        <p:sp>
          <p:nvSpPr>
            <p:cNvPr id="7" name="Oval 6"/>
            <p:cNvSpPr/>
            <p:nvPr/>
          </p:nvSpPr>
          <p:spPr>
            <a:xfrm>
              <a:off x="2495683" y="1939934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506" dirty="0"/>
                <a:t>\</a:t>
              </a:r>
            </a:p>
          </p:txBody>
        </p:sp>
        <p:sp>
          <p:nvSpPr>
            <p:cNvPr id="39" name="Freeform 8"/>
            <p:cNvSpPr>
              <a:spLocks noEditPoints="1"/>
            </p:cNvSpPr>
            <p:nvPr/>
          </p:nvSpPr>
          <p:spPr bwMode="auto">
            <a:xfrm>
              <a:off x="2698335" y="2143131"/>
              <a:ext cx="298546" cy="297456"/>
            </a:xfrm>
            <a:custGeom>
              <a:avLst/>
              <a:gdLst>
                <a:gd name="T0" fmla="*/ 353 w 353"/>
                <a:gd name="T1" fmla="*/ 280 h 353"/>
                <a:gd name="T2" fmla="*/ 342 w 353"/>
                <a:gd name="T3" fmla="*/ 260 h 353"/>
                <a:gd name="T4" fmla="*/ 257 w 353"/>
                <a:gd name="T5" fmla="*/ 200 h 353"/>
                <a:gd name="T6" fmla="*/ 223 w 353"/>
                <a:gd name="T7" fmla="*/ 224 h 353"/>
                <a:gd name="T8" fmla="*/ 211 w 353"/>
                <a:gd name="T9" fmla="*/ 230 h 353"/>
                <a:gd name="T10" fmla="*/ 198 w 353"/>
                <a:gd name="T11" fmla="*/ 223 h 353"/>
                <a:gd name="T12" fmla="*/ 130 w 353"/>
                <a:gd name="T13" fmla="*/ 155 h 353"/>
                <a:gd name="T14" fmla="*/ 129 w 353"/>
                <a:gd name="T15" fmla="*/ 129 h 353"/>
                <a:gd name="T16" fmla="*/ 147 w 353"/>
                <a:gd name="T17" fmla="*/ 110 h 353"/>
                <a:gd name="T18" fmla="*/ 145 w 353"/>
                <a:gd name="T19" fmla="*/ 79 h 353"/>
                <a:gd name="T20" fmla="*/ 89 w 353"/>
                <a:gd name="T21" fmla="*/ 7 h 353"/>
                <a:gd name="T22" fmla="*/ 0 w 353"/>
                <a:gd name="T23" fmla="*/ 84 h 353"/>
                <a:gd name="T24" fmla="*/ 8 w 353"/>
                <a:gd name="T25" fmla="*/ 120 h 353"/>
                <a:gd name="T26" fmla="*/ 233 w 353"/>
                <a:gd name="T27" fmla="*/ 345 h 353"/>
                <a:gd name="T28" fmla="*/ 353 w 353"/>
                <a:gd name="T29" fmla="*/ 281 h 353"/>
                <a:gd name="T30" fmla="*/ 269 w 353"/>
                <a:gd name="T31" fmla="*/ 337 h 353"/>
                <a:gd name="T32" fmla="*/ 237 w 353"/>
                <a:gd name="T33" fmla="*/ 329 h 353"/>
                <a:gd name="T34" fmla="*/ 22 w 353"/>
                <a:gd name="T35" fmla="*/ 113 h 353"/>
                <a:gd name="T36" fmla="*/ 72 w 353"/>
                <a:gd name="T37" fmla="*/ 16 h 353"/>
                <a:gd name="T38" fmla="*/ 79 w 353"/>
                <a:gd name="T39" fmla="*/ 19 h 353"/>
                <a:gd name="T40" fmla="*/ 133 w 353"/>
                <a:gd name="T41" fmla="*/ 89 h 353"/>
                <a:gd name="T42" fmla="*/ 136 w 353"/>
                <a:gd name="T43" fmla="*/ 96 h 353"/>
                <a:gd name="T44" fmla="*/ 117 w 353"/>
                <a:gd name="T45" fmla="*/ 118 h 353"/>
                <a:gd name="T46" fmla="*/ 107 w 353"/>
                <a:gd name="T47" fmla="*/ 141 h 353"/>
                <a:gd name="T48" fmla="*/ 116 w 353"/>
                <a:gd name="T49" fmla="*/ 164 h 353"/>
                <a:gd name="T50" fmla="*/ 189 w 353"/>
                <a:gd name="T51" fmla="*/ 237 h 353"/>
                <a:gd name="T52" fmla="*/ 234 w 353"/>
                <a:gd name="T53" fmla="*/ 236 h 353"/>
                <a:gd name="T54" fmla="*/ 253 w 353"/>
                <a:gd name="T55" fmla="*/ 217 h 353"/>
                <a:gd name="T56" fmla="*/ 262 w 353"/>
                <a:gd name="T57" fmla="*/ 219 h 353"/>
                <a:gd name="T58" fmla="*/ 332 w 353"/>
                <a:gd name="T59" fmla="*/ 273 h 353"/>
                <a:gd name="T60" fmla="*/ 334 w 353"/>
                <a:gd name="T61" fmla="*/ 275 h 353"/>
                <a:gd name="T62" fmla="*/ 337 w 353"/>
                <a:gd name="T63" fmla="*/ 2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3" h="353">
                  <a:moveTo>
                    <a:pt x="353" y="280"/>
                  </a:moveTo>
                  <a:cubicBezTo>
                    <a:pt x="353" y="280"/>
                    <a:pt x="353" y="280"/>
                    <a:pt x="353" y="280"/>
                  </a:cubicBezTo>
                  <a:cubicBezTo>
                    <a:pt x="353" y="274"/>
                    <a:pt x="350" y="268"/>
                    <a:pt x="346" y="263"/>
                  </a:cubicBezTo>
                  <a:cubicBezTo>
                    <a:pt x="345" y="262"/>
                    <a:pt x="343" y="261"/>
                    <a:pt x="342" y="260"/>
                  </a:cubicBezTo>
                  <a:cubicBezTo>
                    <a:pt x="274" y="207"/>
                    <a:pt x="274" y="207"/>
                    <a:pt x="274" y="207"/>
                  </a:cubicBezTo>
                  <a:cubicBezTo>
                    <a:pt x="269" y="203"/>
                    <a:pt x="263" y="200"/>
                    <a:pt x="257" y="200"/>
                  </a:cubicBezTo>
                  <a:cubicBezTo>
                    <a:pt x="251" y="200"/>
                    <a:pt x="246" y="202"/>
                    <a:pt x="242" y="205"/>
                  </a:cubicBezTo>
                  <a:cubicBezTo>
                    <a:pt x="223" y="224"/>
                    <a:pt x="223" y="224"/>
                    <a:pt x="223" y="224"/>
                  </a:cubicBezTo>
                  <a:cubicBezTo>
                    <a:pt x="223" y="224"/>
                    <a:pt x="223" y="224"/>
                    <a:pt x="223" y="224"/>
                  </a:cubicBezTo>
                  <a:cubicBezTo>
                    <a:pt x="220" y="227"/>
                    <a:pt x="216" y="230"/>
                    <a:pt x="211" y="230"/>
                  </a:cubicBezTo>
                  <a:cubicBezTo>
                    <a:pt x="206" y="230"/>
                    <a:pt x="201" y="227"/>
                    <a:pt x="198" y="223"/>
                  </a:cubicBezTo>
                  <a:cubicBezTo>
                    <a:pt x="198" y="223"/>
                    <a:pt x="198" y="223"/>
                    <a:pt x="198" y="223"/>
                  </a:cubicBezTo>
                  <a:cubicBezTo>
                    <a:pt x="172" y="204"/>
                    <a:pt x="148" y="181"/>
                    <a:pt x="129" y="155"/>
                  </a:cubicBezTo>
                  <a:cubicBezTo>
                    <a:pt x="129" y="155"/>
                    <a:pt x="130" y="155"/>
                    <a:pt x="130" y="155"/>
                  </a:cubicBezTo>
                  <a:cubicBezTo>
                    <a:pt x="126" y="152"/>
                    <a:pt x="123" y="147"/>
                    <a:pt x="123" y="141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50" y="106"/>
                    <a:pt x="152" y="101"/>
                    <a:pt x="152" y="96"/>
                  </a:cubicBezTo>
                  <a:cubicBezTo>
                    <a:pt x="152" y="89"/>
                    <a:pt x="150" y="83"/>
                    <a:pt x="145" y="79"/>
                  </a:cubicBezTo>
                  <a:cubicBezTo>
                    <a:pt x="92" y="11"/>
                    <a:pt x="92" y="11"/>
                    <a:pt x="92" y="11"/>
                  </a:cubicBezTo>
                  <a:cubicBezTo>
                    <a:pt x="91" y="9"/>
                    <a:pt x="90" y="8"/>
                    <a:pt x="89" y="7"/>
                  </a:cubicBezTo>
                  <a:cubicBezTo>
                    <a:pt x="85" y="2"/>
                    <a:pt x="79" y="0"/>
                    <a:pt x="72" y="0"/>
                  </a:cubicBezTo>
                  <a:cubicBezTo>
                    <a:pt x="40" y="0"/>
                    <a:pt x="0" y="37"/>
                    <a:pt x="0" y="84"/>
                  </a:cubicBezTo>
                  <a:cubicBezTo>
                    <a:pt x="0" y="97"/>
                    <a:pt x="3" y="109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56" y="216"/>
                    <a:pt x="136" y="297"/>
                    <a:pt x="232" y="345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4" y="350"/>
                    <a:pt x="256" y="353"/>
                    <a:pt x="269" y="353"/>
                  </a:cubicBezTo>
                  <a:cubicBezTo>
                    <a:pt x="315" y="353"/>
                    <a:pt x="353" y="313"/>
                    <a:pt x="353" y="281"/>
                  </a:cubicBezTo>
                  <a:cubicBezTo>
                    <a:pt x="353" y="281"/>
                    <a:pt x="353" y="280"/>
                    <a:pt x="353" y="280"/>
                  </a:cubicBezTo>
                  <a:moveTo>
                    <a:pt x="269" y="337"/>
                  </a:moveTo>
                  <a:cubicBezTo>
                    <a:pt x="259" y="337"/>
                    <a:pt x="249" y="335"/>
                    <a:pt x="240" y="330"/>
                  </a:cubicBezTo>
                  <a:cubicBezTo>
                    <a:pt x="239" y="330"/>
                    <a:pt x="238" y="329"/>
                    <a:pt x="237" y="329"/>
                  </a:cubicBezTo>
                  <a:cubicBezTo>
                    <a:pt x="146" y="283"/>
                    <a:pt x="70" y="207"/>
                    <a:pt x="23" y="116"/>
                  </a:cubicBezTo>
                  <a:cubicBezTo>
                    <a:pt x="23" y="115"/>
                    <a:pt x="23" y="114"/>
                    <a:pt x="22" y="113"/>
                  </a:cubicBezTo>
                  <a:cubicBezTo>
                    <a:pt x="18" y="104"/>
                    <a:pt x="16" y="94"/>
                    <a:pt x="16" y="84"/>
                  </a:cubicBezTo>
                  <a:cubicBezTo>
                    <a:pt x="16" y="45"/>
                    <a:pt x="50" y="16"/>
                    <a:pt x="72" y="16"/>
                  </a:cubicBezTo>
                  <a:cubicBezTo>
                    <a:pt x="75" y="16"/>
                    <a:pt x="77" y="17"/>
                    <a:pt x="78" y="18"/>
                  </a:cubicBezTo>
                  <a:cubicBezTo>
                    <a:pt x="78" y="18"/>
                    <a:pt x="78" y="19"/>
                    <a:pt x="79" y="19"/>
                  </a:cubicBezTo>
                  <a:cubicBezTo>
                    <a:pt x="79" y="20"/>
                    <a:pt x="79" y="20"/>
                    <a:pt x="80" y="21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3" y="90"/>
                    <a:pt x="134" y="90"/>
                  </a:cubicBezTo>
                  <a:cubicBezTo>
                    <a:pt x="135" y="91"/>
                    <a:pt x="136" y="93"/>
                    <a:pt x="136" y="96"/>
                  </a:cubicBezTo>
                  <a:cubicBezTo>
                    <a:pt x="136" y="97"/>
                    <a:pt x="136" y="99"/>
                    <a:pt x="135" y="100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10" y="124"/>
                    <a:pt x="107" y="132"/>
                    <a:pt x="107" y="141"/>
                  </a:cubicBezTo>
                  <a:cubicBezTo>
                    <a:pt x="107" y="150"/>
                    <a:pt x="110" y="158"/>
                    <a:pt x="116" y="163"/>
                  </a:cubicBezTo>
                  <a:cubicBezTo>
                    <a:pt x="116" y="164"/>
                    <a:pt x="116" y="164"/>
                    <a:pt x="116" y="164"/>
                  </a:cubicBezTo>
                  <a:cubicBezTo>
                    <a:pt x="136" y="192"/>
                    <a:pt x="160" y="216"/>
                    <a:pt x="188" y="236"/>
                  </a:cubicBezTo>
                  <a:cubicBezTo>
                    <a:pt x="189" y="236"/>
                    <a:pt x="189" y="236"/>
                    <a:pt x="189" y="237"/>
                  </a:cubicBezTo>
                  <a:cubicBezTo>
                    <a:pt x="195" y="242"/>
                    <a:pt x="203" y="246"/>
                    <a:pt x="211" y="246"/>
                  </a:cubicBezTo>
                  <a:cubicBezTo>
                    <a:pt x="220" y="246"/>
                    <a:pt x="228" y="242"/>
                    <a:pt x="234" y="236"/>
                  </a:cubicBezTo>
                  <a:cubicBezTo>
                    <a:pt x="234" y="236"/>
                    <a:pt x="234" y="236"/>
                    <a:pt x="235" y="236"/>
                  </a:cubicBezTo>
                  <a:cubicBezTo>
                    <a:pt x="253" y="217"/>
                    <a:pt x="253" y="217"/>
                    <a:pt x="253" y="217"/>
                  </a:cubicBezTo>
                  <a:cubicBezTo>
                    <a:pt x="254" y="217"/>
                    <a:pt x="255" y="216"/>
                    <a:pt x="257" y="216"/>
                  </a:cubicBezTo>
                  <a:cubicBezTo>
                    <a:pt x="259" y="216"/>
                    <a:pt x="261" y="218"/>
                    <a:pt x="262" y="219"/>
                  </a:cubicBezTo>
                  <a:cubicBezTo>
                    <a:pt x="263" y="219"/>
                    <a:pt x="263" y="219"/>
                    <a:pt x="264" y="220"/>
                  </a:cubicBezTo>
                  <a:cubicBezTo>
                    <a:pt x="332" y="273"/>
                    <a:pt x="332" y="273"/>
                    <a:pt x="332" y="273"/>
                  </a:cubicBezTo>
                  <a:cubicBezTo>
                    <a:pt x="332" y="273"/>
                    <a:pt x="333" y="273"/>
                    <a:pt x="333" y="274"/>
                  </a:cubicBezTo>
                  <a:cubicBezTo>
                    <a:pt x="334" y="274"/>
                    <a:pt x="334" y="275"/>
                    <a:pt x="334" y="275"/>
                  </a:cubicBezTo>
                  <a:cubicBezTo>
                    <a:pt x="335" y="276"/>
                    <a:pt x="337" y="278"/>
                    <a:pt x="337" y="280"/>
                  </a:cubicBezTo>
                  <a:cubicBezTo>
                    <a:pt x="337" y="281"/>
                    <a:pt x="337" y="281"/>
                    <a:pt x="337" y="282"/>
                  </a:cubicBezTo>
                  <a:cubicBezTo>
                    <a:pt x="336" y="304"/>
                    <a:pt x="307" y="337"/>
                    <a:pt x="269" y="3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944467" y="1939934"/>
            <a:ext cx="703851" cy="703851"/>
            <a:chOff x="5944467" y="1939934"/>
            <a:chExt cx="703851" cy="703851"/>
          </a:xfrm>
        </p:grpSpPr>
        <p:sp>
          <p:nvSpPr>
            <p:cNvPr id="15" name="Oval 14"/>
            <p:cNvSpPr/>
            <p:nvPr/>
          </p:nvSpPr>
          <p:spPr>
            <a:xfrm flipH="1">
              <a:off x="5944467" y="1939934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0" name="Freeform 10"/>
            <p:cNvSpPr>
              <a:spLocks noEditPoints="1"/>
            </p:cNvSpPr>
            <p:nvPr/>
          </p:nvSpPr>
          <p:spPr bwMode="auto">
            <a:xfrm>
              <a:off x="6215218" y="2143131"/>
              <a:ext cx="162348" cy="297456"/>
            </a:xfrm>
            <a:custGeom>
              <a:avLst/>
              <a:gdLst>
                <a:gd name="T0" fmla="*/ 193 w 193"/>
                <a:gd name="T1" fmla="*/ 136 h 353"/>
                <a:gd name="T2" fmla="*/ 184 w 193"/>
                <a:gd name="T3" fmla="*/ 128 h 353"/>
                <a:gd name="T4" fmla="*/ 121 w 193"/>
                <a:gd name="T5" fmla="*/ 128 h 353"/>
                <a:gd name="T6" fmla="*/ 160 w 193"/>
                <a:gd name="T7" fmla="*/ 10 h 353"/>
                <a:gd name="T8" fmla="*/ 160 w 193"/>
                <a:gd name="T9" fmla="*/ 10 h 353"/>
                <a:gd name="T10" fmla="*/ 160 w 193"/>
                <a:gd name="T11" fmla="*/ 8 h 353"/>
                <a:gd name="T12" fmla="*/ 152 w 193"/>
                <a:gd name="T13" fmla="*/ 0 h 353"/>
                <a:gd name="T14" fmla="*/ 72 w 193"/>
                <a:gd name="T15" fmla="*/ 0 h 353"/>
                <a:gd name="T16" fmla="*/ 65 w 193"/>
                <a:gd name="T17" fmla="*/ 5 h 353"/>
                <a:gd name="T18" fmla="*/ 64 w 193"/>
                <a:gd name="T19" fmla="*/ 5 h 353"/>
                <a:gd name="T20" fmla="*/ 0 w 193"/>
                <a:gd name="T21" fmla="*/ 198 h 353"/>
                <a:gd name="T22" fmla="*/ 0 w 193"/>
                <a:gd name="T23" fmla="*/ 198 h 353"/>
                <a:gd name="T24" fmla="*/ 0 w 193"/>
                <a:gd name="T25" fmla="*/ 200 h 353"/>
                <a:gd name="T26" fmla="*/ 8 w 193"/>
                <a:gd name="T27" fmla="*/ 208 h 353"/>
                <a:gd name="T28" fmla="*/ 79 w 193"/>
                <a:gd name="T29" fmla="*/ 208 h 353"/>
                <a:gd name="T30" fmla="*/ 64 w 193"/>
                <a:gd name="T31" fmla="*/ 344 h 353"/>
                <a:gd name="T32" fmla="*/ 64 w 193"/>
                <a:gd name="T33" fmla="*/ 344 h 353"/>
                <a:gd name="T34" fmla="*/ 64 w 193"/>
                <a:gd name="T35" fmla="*/ 345 h 353"/>
                <a:gd name="T36" fmla="*/ 72 w 193"/>
                <a:gd name="T37" fmla="*/ 353 h 353"/>
                <a:gd name="T38" fmla="*/ 79 w 193"/>
                <a:gd name="T39" fmla="*/ 348 h 353"/>
                <a:gd name="T40" fmla="*/ 79 w 193"/>
                <a:gd name="T41" fmla="*/ 348 h 353"/>
                <a:gd name="T42" fmla="*/ 192 w 193"/>
                <a:gd name="T43" fmla="*/ 139 h 353"/>
                <a:gd name="T44" fmla="*/ 192 w 193"/>
                <a:gd name="T45" fmla="*/ 139 h 353"/>
                <a:gd name="T46" fmla="*/ 193 w 193"/>
                <a:gd name="T47" fmla="*/ 136 h 353"/>
                <a:gd name="T48" fmla="*/ 85 w 193"/>
                <a:gd name="T49" fmla="*/ 305 h 353"/>
                <a:gd name="T50" fmla="*/ 96 w 193"/>
                <a:gd name="T51" fmla="*/ 201 h 353"/>
                <a:gd name="T52" fmla="*/ 96 w 193"/>
                <a:gd name="T53" fmla="*/ 201 h 353"/>
                <a:gd name="T54" fmla="*/ 96 w 193"/>
                <a:gd name="T55" fmla="*/ 200 h 353"/>
                <a:gd name="T56" fmla="*/ 88 w 193"/>
                <a:gd name="T57" fmla="*/ 192 h 353"/>
                <a:gd name="T58" fmla="*/ 19 w 193"/>
                <a:gd name="T59" fmla="*/ 192 h 353"/>
                <a:gd name="T60" fmla="*/ 78 w 193"/>
                <a:gd name="T61" fmla="*/ 16 h 353"/>
                <a:gd name="T62" fmla="*/ 141 w 193"/>
                <a:gd name="T63" fmla="*/ 16 h 353"/>
                <a:gd name="T64" fmla="*/ 102 w 193"/>
                <a:gd name="T65" fmla="*/ 134 h 353"/>
                <a:gd name="T66" fmla="*/ 102 w 193"/>
                <a:gd name="T67" fmla="*/ 134 h 353"/>
                <a:gd name="T68" fmla="*/ 101 w 193"/>
                <a:gd name="T69" fmla="*/ 136 h 353"/>
                <a:gd name="T70" fmla="*/ 109 w 193"/>
                <a:gd name="T71" fmla="*/ 144 h 353"/>
                <a:gd name="T72" fmla="*/ 171 w 193"/>
                <a:gd name="T73" fmla="*/ 144 h 353"/>
                <a:gd name="T74" fmla="*/ 85 w 193"/>
                <a:gd name="T75" fmla="*/ 30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53">
                  <a:moveTo>
                    <a:pt x="193" y="136"/>
                  </a:moveTo>
                  <a:cubicBezTo>
                    <a:pt x="193" y="132"/>
                    <a:pt x="189" y="128"/>
                    <a:pt x="184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9"/>
                    <a:pt x="160" y="9"/>
                    <a:pt x="160" y="8"/>
                  </a:cubicBezTo>
                  <a:cubicBezTo>
                    <a:pt x="160" y="3"/>
                    <a:pt x="157" y="0"/>
                    <a:pt x="15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9" y="0"/>
                    <a:pt x="66" y="2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05"/>
                    <a:pt x="3" y="208"/>
                    <a:pt x="8" y="208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5"/>
                  </a:cubicBezTo>
                  <a:cubicBezTo>
                    <a:pt x="64" y="349"/>
                    <a:pt x="68" y="353"/>
                    <a:pt x="72" y="353"/>
                  </a:cubicBezTo>
                  <a:cubicBezTo>
                    <a:pt x="75" y="353"/>
                    <a:pt x="78" y="351"/>
                    <a:pt x="79" y="348"/>
                  </a:cubicBezTo>
                  <a:cubicBezTo>
                    <a:pt x="79" y="348"/>
                    <a:pt x="79" y="348"/>
                    <a:pt x="79" y="348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8"/>
                    <a:pt x="193" y="137"/>
                    <a:pt x="193" y="136"/>
                  </a:cubicBezTo>
                  <a:moveTo>
                    <a:pt x="85" y="305"/>
                  </a:move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0"/>
                  </a:cubicBezTo>
                  <a:cubicBezTo>
                    <a:pt x="96" y="196"/>
                    <a:pt x="93" y="192"/>
                    <a:pt x="8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1" y="135"/>
                    <a:pt x="101" y="136"/>
                  </a:cubicBezTo>
                  <a:cubicBezTo>
                    <a:pt x="101" y="140"/>
                    <a:pt x="105" y="144"/>
                    <a:pt x="109" y="144"/>
                  </a:cubicBezTo>
                  <a:cubicBezTo>
                    <a:pt x="171" y="144"/>
                    <a:pt x="171" y="144"/>
                    <a:pt x="171" y="144"/>
                  </a:cubicBezTo>
                  <a:lnTo>
                    <a:pt x="85" y="3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495683" y="3589467"/>
            <a:ext cx="703851" cy="703851"/>
            <a:chOff x="2495683" y="3589467"/>
            <a:chExt cx="703851" cy="703851"/>
          </a:xfrm>
        </p:grpSpPr>
        <p:sp>
          <p:nvSpPr>
            <p:cNvPr id="8" name="Oval 7"/>
            <p:cNvSpPr/>
            <p:nvPr/>
          </p:nvSpPr>
          <p:spPr>
            <a:xfrm>
              <a:off x="2495683" y="3589467"/>
              <a:ext cx="703851" cy="70385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1" name="Freeform 13"/>
            <p:cNvSpPr>
              <a:spLocks noEditPoints="1"/>
            </p:cNvSpPr>
            <p:nvPr/>
          </p:nvSpPr>
          <p:spPr bwMode="auto">
            <a:xfrm>
              <a:off x="2698880" y="3792664"/>
              <a:ext cx="297456" cy="297456"/>
            </a:xfrm>
            <a:custGeom>
              <a:avLst/>
              <a:gdLst>
                <a:gd name="T0" fmla="*/ 353 w 353"/>
                <a:gd name="T1" fmla="*/ 104 h 353"/>
                <a:gd name="T2" fmla="*/ 351 w 353"/>
                <a:gd name="T3" fmla="*/ 99 h 353"/>
                <a:gd name="T4" fmla="*/ 351 w 353"/>
                <a:gd name="T5" fmla="*/ 99 h 353"/>
                <a:gd name="T6" fmla="*/ 351 w 353"/>
                <a:gd name="T7" fmla="*/ 99 h 353"/>
                <a:gd name="T8" fmla="*/ 350 w 353"/>
                <a:gd name="T9" fmla="*/ 98 h 353"/>
                <a:gd name="T10" fmla="*/ 255 w 353"/>
                <a:gd name="T11" fmla="*/ 3 h 353"/>
                <a:gd name="T12" fmla="*/ 255 w 353"/>
                <a:gd name="T13" fmla="*/ 3 h 353"/>
                <a:gd name="T14" fmla="*/ 248 w 353"/>
                <a:gd name="T15" fmla="*/ 0 h 353"/>
                <a:gd name="T16" fmla="*/ 104 w 353"/>
                <a:gd name="T17" fmla="*/ 0 h 353"/>
                <a:gd name="T18" fmla="*/ 98 w 353"/>
                <a:gd name="T19" fmla="*/ 3 h 353"/>
                <a:gd name="T20" fmla="*/ 97 w 353"/>
                <a:gd name="T21" fmla="*/ 3 h 353"/>
                <a:gd name="T22" fmla="*/ 2 w 353"/>
                <a:gd name="T23" fmla="*/ 98 h 353"/>
                <a:gd name="T24" fmla="*/ 2 w 353"/>
                <a:gd name="T25" fmla="*/ 99 h 353"/>
                <a:gd name="T26" fmla="*/ 1 w 353"/>
                <a:gd name="T27" fmla="*/ 99 h 353"/>
                <a:gd name="T28" fmla="*/ 1 w 353"/>
                <a:gd name="T29" fmla="*/ 99 h 353"/>
                <a:gd name="T30" fmla="*/ 0 w 353"/>
                <a:gd name="T31" fmla="*/ 104 h 353"/>
                <a:gd name="T32" fmla="*/ 1 w 353"/>
                <a:gd name="T33" fmla="*/ 109 h 353"/>
                <a:gd name="T34" fmla="*/ 1 w 353"/>
                <a:gd name="T35" fmla="*/ 109 h 353"/>
                <a:gd name="T36" fmla="*/ 170 w 353"/>
                <a:gd name="T37" fmla="*/ 350 h 353"/>
                <a:gd name="T38" fmla="*/ 170 w 353"/>
                <a:gd name="T39" fmla="*/ 350 h 353"/>
                <a:gd name="T40" fmla="*/ 176 w 353"/>
                <a:gd name="T41" fmla="*/ 353 h 353"/>
                <a:gd name="T42" fmla="*/ 182 w 353"/>
                <a:gd name="T43" fmla="*/ 350 h 353"/>
                <a:gd name="T44" fmla="*/ 182 w 353"/>
                <a:gd name="T45" fmla="*/ 350 h 353"/>
                <a:gd name="T46" fmla="*/ 351 w 353"/>
                <a:gd name="T47" fmla="*/ 109 h 353"/>
                <a:gd name="T48" fmla="*/ 351 w 353"/>
                <a:gd name="T49" fmla="*/ 109 h 353"/>
                <a:gd name="T50" fmla="*/ 353 w 353"/>
                <a:gd name="T51" fmla="*/ 104 h 353"/>
                <a:gd name="T52" fmla="*/ 245 w 353"/>
                <a:gd name="T53" fmla="*/ 16 h 353"/>
                <a:gd name="T54" fmla="*/ 325 w 353"/>
                <a:gd name="T55" fmla="*/ 96 h 353"/>
                <a:gd name="T56" fmla="*/ 253 w 353"/>
                <a:gd name="T57" fmla="*/ 96 h 353"/>
                <a:gd name="T58" fmla="*/ 213 w 353"/>
                <a:gd name="T59" fmla="*/ 16 h 353"/>
                <a:gd name="T60" fmla="*/ 245 w 353"/>
                <a:gd name="T61" fmla="*/ 16 h 353"/>
                <a:gd name="T62" fmla="*/ 195 w 353"/>
                <a:gd name="T63" fmla="*/ 16 h 353"/>
                <a:gd name="T64" fmla="*/ 235 w 353"/>
                <a:gd name="T65" fmla="*/ 96 h 353"/>
                <a:gd name="T66" fmla="*/ 117 w 353"/>
                <a:gd name="T67" fmla="*/ 96 h 353"/>
                <a:gd name="T68" fmla="*/ 157 w 353"/>
                <a:gd name="T69" fmla="*/ 16 h 353"/>
                <a:gd name="T70" fmla="*/ 195 w 353"/>
                <a:gd name="T71" fmla="*/ 16 h 353"/>
                <a:gd name="T72" fmla="*/ 107 w 353"/>
                <a:gd name="T73" fmla="*/ 16 h 353"/>
                <a:gd name="T74" fmla="*/ 139 w 353"/>
                <a:gd name="T75" fmla="*/ 16 h 353"/>
                <a:gd name="T76" fmla="*/ 99 w 353"/>
                <a:gd name="T77" fmla="*/ 96 h 353"/>
                <a:gd name="T78" fmla="*/ 27 w 353"/>
                <a:gd name="T79" fmla="*/ 96 h 353"/>
                <a:gd name="T80" fmla="*/ 107 w 353"/>
                <a:gd name="T81" fmla="*/ 16 h 353"/>
                <a:gd name="T82" fmla="*/ 23 w 353"/>
                <a:gd name="T83" fmla="*/ 112 h 353"/>
                <a:gd name="T84" fmla="*/ 98 w 353"/>
                <a:gd name="T85" fmla="*/ 112 h 353"/>
                <a:gd name="T86" fmla="*/ 154 w 353"/>
                <a:gd name="T87" fmla="*/ 299 h 353"/>
                <a:gd name="T88" fmla="*/ 23 w 353"/>
                <a:gd name="T89" fmla="*/ 112 h 353"/>
                <a:gd name="T90" fmla="*/ 176 w 353"/>
                <a:gd name="T91" fmla="*/ 317 h 353"/>
                <a:gd name="T92" fmla="*/ 115 w 353"/>
                <a:gd name="T93" fmla="*/ 112 h 353"/>
                <a:gd name="T94" fmla="*/ 238 w 353"/>
                <a:gd name="T95" fmla="*/ 112 h 353"/>
                <a:gd name="T96" fmla="*/ 176 w 353"/>
                <a:gd name="T97" fmla="*/ 317 h 353"/>
                <a:gd name="T98" fmla="*/ 198 w 353"/>
                <a:gd name="T99" fmla="*/ 299 h 353"/>
                <a:gd name="T100" fmla="*/ 254 w 353"/>
                <a:gd name="T101" fmla="*/ 112 h 353"/>
                <a:gd name="T102" fmla="*/ 329 w 353"/>
                <a:gd name="T103" fmla="*/ 112 h 353"/>
                <a:gd name="T104" fmla="*/ 198 w 353"/>
                <a:gd name="T105" fmla="*/ 29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353">
                  <a:moveTo>
                    <a:pt x="353" y="104"/>
                  </a:moveTo>
                  <a:cubicBezTo>
                    <a:pt x="353" y="102"/>
                    <a:pt x="352" y="101"/>
                    <a:pt x="351" y="99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0" y="98"/>
                    <a:pt x="350" y="98"/>
                    <a:pt x="350" y="98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3" y="1"/>
                    <a:pt x="251" y="0"/>
                    <a:pt x="248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1" y="0"/>
                    <a:pt x="99" y="1"/>
                    <a:pt x="98" y="3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01"/>
                    <a:pt x="0" y="102"/>
                    <a:pt x="0" y="104"/>
                  </a:cubicBezTo>
                  <a:cubicBezTo>
                    <a:pt x="0" y="106"/>
                    <a:pt x="0" y="108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70" y="350"/>
                    <a:pt x="170" y="350"/>
                    <a:pt x="170" y="350"/>
                  </a:cubicBezTo>
                  <a:cubicBezTo>
                    <a:pt x="170" y="350"/>
                    <a:pt x="170" y="350"/>
                    <a:pt x="170" y="350"/>
                  </a:cubicBezTo>
                  <a:cubicBezTo>
                    <a:pt x="171" y="352"/>
                    <a:pt x="174" y="353"/>
                    <a:pt x="176" y="353"/>
                  </a:cubicBezTo>
                  <a:cubicBezTo>
                    <a:pt x="179" y="353"/>
                    <a:pt x="181" y="352"/>
                    <a:pt x="182" y="350"/>
                  </a:cubicBezTo>
                  <a:cubicBezTo>
                    <a:pt x="182" y="350"/>
                    <a:pt x="182" y="350"/>
                    <a:pt x="182" y="350"/>
                  </a:cubicBezTo>
                  <a:cubicBezTo>
                    <a:pt x="351" y="109"/>
                    <a:pt x="351" y="109"/>
                    <a:pt x="351" y="109"/>
                  </a:cubicBezTo>
                  <a:cubicBezTo>
                    <a:pt x="351" y="109"/>
                    <a:pt x="351" y="109"/>
                    <a:pt x="351" y="109"/>
                  </a:cubicBezTo>
                  <a:cubicBezTo>
                    <a:pt x="352" y="108"/>
                    <a:pt x="353" y="106"/>
                    <a:pt x="353" y="104"/>
                  </a:cubicBezTo>
                  <a:moveTo>
                    <a:pt x="245" y="16"/>
                  </a:moveTo>
                  <a:cubicBezTo>
                    <a:pt x="325" y="96"/>
                    <a:pt x="325" y="96"/>
                    <a:pt x="325" y="96"/>
                  </a:cubicBezTo>
                  <a:cubicBezTo>
                    <a:pt x="253" y="96"/>
                    <a:pt x="253" y="96"/>
                    <a:pt x="253" y="96"/>
                  </a:cubicBezTo>
                  <a:cubicBezTo>
                    <a:pt x="213" y="16"/>
                    <a:pt x="213" y="16"/>
                    <a:pt x="213" y="16"/>
                  </a:cubicBezTo>
                  <a:lnTo>
                    <a:pt x="245" y="16"/>
                  </a:lnTo>
                  <a:close/>
                  <a:moveTo>
                    <a:pt x="195" y="16"/>
                  </a:moveTo>
                  <a:cubicBezTo>
                    <a:pt x="235" y="96"/>
                    <a:pt x="235" y="96"/>
                    <a:pt x="235" y="96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57" y="16"/>
                    <a:pt x="157" y="16"/>
                    <a:pt x="157" y="16"/>
                  </a:cubicBezTo>
                  <a:lnTo>
                    <a:pt x="195" y="16"/>
                  </a:lnTo>
                  <a:close/>
                  <a:moveTo>
                    <a:pt x="107" y="16"/>
                  </a:moveTo>
                  <a:cubicBezTo>
                    <a:pt x="139" y="16"/>
                    <a:pt x="139" y="16"/>
                    <a:pt x="139" y="1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27" y="96"/>
                    <a:pt x="27" y="96"/>
                    <a:pt x="27" y="96"/>
                  </a:cubicBezTo>
                  <a:lnTo>
                    <a:pt x="107" y="16"/>
                  </a:lnTo>
                  <a:close/>
                  <a:moveTo>
                    <a:pt x="23" y="112"/>
                  </a:moveTo>
                  <a:cubicBezTo>
                    <a:pt x="98" y="112"/>
                    <a:pt x="98" y="112"/>
                    <a:pt x="98" y="112"/>
                  </a:cubicBezTo>
                  <a:cubicBezTo>
                    <a:pt x="154" y="299"/>
                    <a:pt x="154" y="299"/>
                    <a:pt x="154" y="299"/>
                  </a:cubicBezTo>
                  <a:lnTo>
                    <a:pt x="23" y="112"/>
                  </a:lnTo>
                  <a:close/>
                  <a:moveTo>
                    <a:pt x="176" y="317"/>
                  </a:moveTo>
                  <a:cubicBezTo>
                    <a:pt x="115" y="112"/>
                    <a:pt x="115" y="112"/>
                    <a:pt x="115" y="112"/>
                  </a:cubicBezTo>
                  <a:cubicBezTo>
                    <a:pt x="238" y="112"/>
                    <a:pt x="238" y="112"/>
                    <a:pt x="238" y="112"/>
                  </a:cubicBezTo>
                  <a:lnTo>
                    <a:pt x="176" y="317"/>
                  </a:lnTo>
                  <a:close/>
                  <a:moveTo>
                    <a:pt x="198" y="299"/>
                  </a:moveTo>
                  <a:cubicBezTo>
                    <a:pt x="254" y="112"/>
                    <a:pt x="254" y="112"/>
                    <a:pt x="254" y="112"/>
                  </a:cubicBezTo>
                  <a:cubicBezTo>
                    <a:pt x="329" y="112"/>
                    <a:pt x="329" y="112"/>
                    <a:pt x="329" y="112"/>
                  </a:cubicBezTo>
                  <a:lnTo>
                    <a:pt x="198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425342" y="2876664"/>
            <a:ext cx="1117391" cy="461282"/>
            <a:chOff x="7425342" y="2876664"/>
            <a:chExt cx="1117391" cy="461282"/>
          </a:xfrm>
        </p:grpSpPr>
        <p:sp>
          <p:nvSpPr>
            <p:cNvPr id="43" name="TextBox 42"/>
            <p:cNvSpPr txBox="1"/>
            <p:nvPr/>
          </p:nvSpPr>
          <p:spPr>
            <a:xfrm>
              <a:off x="7425347" y="2876664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GERENCIA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425342" y="3053637"/>
              <a:ext cx="111739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985395" y="2034669"/>
            <a:ext cx="1117391" cy="461282"/>
            <a:chOff x="6985395" y="2034669"/>
            <a:chExt cx="1117391" cy="461282"/>
          </a:xfrm>
        </p:grpSpPr>
        <p:sp>
          <p:nvSpPr>
            <p:cNvPr id="48" name="TextBox 47"/>
            <p:cNvSpPr txBox="1"/>
            <p:nvPr/>
          </p:nvSpPr>
          <p:spPr>
            <a:xfrm>
              <a:off x="6985400" y="2034669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ÁLCUL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985395" y="2211642"/>
              <a:ext cx="111739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985395" y="3748194"/>
            <a:ext cx="1117391" cy="461282"/>
            <a:chOff x="6985395" y="3748194"/>
            <a:chExt cx="1117391" cy="461282"/>
          </a:xfrm>
        </p:grpSpPr>
        <p:sp>
          <p:nvSpPr>
            <p:cNvPr id="52" name="TextBox 51"/>
            <p:cNvSpPr txBox="1"/>
            <p:nvPr/>
          </p:nvSpPr>
          <p:spPr>
            <a:xfrm>
              <a:off x="6985400" y="3748194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VIS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985395" y="3925167"/>
              <a:ext cx="111739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600347" y="2876664"/>
            <a:ext cx="1117391" cy="460064"/>
            <a:chOff x="600347" y="2876664"/>
            <a:chExt cx="1117391" cy="460064"/>
          </a:xfrm>
        </p:grpSpPr>
        <p:sp>
          <p:nvSpPr>
            <p:cNvPr id="54" name="TextBox 53"/>
            <p:cNvSpPr txBox="1"/>
            <p:nvPr/>
          </p:nvSpPr>
          <p:spPr>
            <a:xfrm>
              <a:off x="600352" y="2876664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pagand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00347" y="3053637"/>
              <a:ext cx="111739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034347" y="2034669"/>
            <a:ext cx="1117391" cy="461282"/>
            <a:chOff x="1034347" y="2034669"/>
            <a:chExt cx="1117391" cy="461282"/>
          </a:xfrm>
        </p:grpSpPr>
        <p:sp>
          <p:nvSpPr>
            <p:cNvPr id="56" name="TextBox 55"/>
            <p:cNvSpPr txBox="1"/>
            <p:nvPr/>
          </p:nvSpPr>
          <p:spPr>
            <a:xfrm>
              <a:off x="1034352" y="2034669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OMUNIC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034347" y="2211642"/>
              <a:ext cx="111739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034347" y="3748194"/>
            <a:ext cx="1117391" cy="461282"/>
            <a:chOff x="1034347" y="3748194"/>
            <a:chExt cx="1117391" cy="461282"/>
          </a:xfrm>
        </p:grpSpPr>
        <p:sp>
          <p:nvSpPr>
            <p:cNvPr id="58" name="TextBox 57"/>
            <p:cNvSpPr txBox="1"/>
            <p:nvPr/>
          </p:nvSpPr>
          <p:spPr>
            <a:xfrm>
              <a:off x="1034352" y="3748194"/>
              <a:ext cx="111734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034347" y="3925167"/>
              <a:ext cx="111739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ia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153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MODELO DIGITAL </a:t>
            </a:r>
            <a:r>
              <a:rPr lang="en-US" dirty="0"/>
              <a:t>DE NEGÓCIO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 noEditPoints="1"/>
          </p:cNvSpPr>
          <p:nvPr/>
        </p:nvSpPr>
        <p:spPr bwMode="auto">
          <a:xfrm>
            <a:off x="4126450" y="2733242"/>
            <a:ext cx="1557275" cy="1555285"/>
          </a:xfrm>
          <a:custGeom>
            <a:avLst/>
            <a:gdLst>
              <a:gd name="T0" fmla="*/ 4435 w 4435"/>
              <a:gd name="T1" fmla="*/ 2217 h 4428"/>
              <a:gd name="T2" fmla="*/ 4179 w 4435"/>
              <a:gd name="T3" fmla="*/ 1899 h 4428"/>
              <a:gd name="T4" fmla="*/ 4339 w 4435"/>
              <a:gd name="T5" fmla="*/ 1568 h 4428"/>
              <a:gd name="T6" fmla="*/ 3998 w 4435"/>
              <a:gd name="T7" fmla="*/ 1334 h 4428"/>
              <a:gd name="T8" fmla="*/ 4051 w 4435"/>
              <a:gd name="T9" fmla="*/ 970 h 4428"/>
              <a:gd name="T10" fmla="*/ 3657 w 4435"/>
              <a:gd name="T11" fmla="*/ 847 h 4428"/>
              <a:gd name="T12" fmla="*/ 3598 w 4435"/>
              <a:gd name="T13" fmla="*/ 482 h 4428"/>
              <a:gd name="T14" fmla="*/ 3187 w 4435"/>
              <a:gd name="T15" fmla="*/ 482 h 4428"/>
              <a:gd name="T16" fmla="*/ 3021 w 4435"/>
              <a:gd name="T17" fmla="*/ 150 h 4428"/>
              <a:gd name="T18" fmla="*/ 2628 w 4435"/>
              <a:gd name="T19" fmla="*/ 273 h 4428"/>
              <a:gd name="T20" fmla="*/ 2370 w 4435"/>
              <a:gd name="T21" fmla="*/ 5 h 4428"/>
              <a:gd name="T22" fmla="*/ 2065 w 4435"/>
              <a:gd name="T23" fmla="*/ 5 h 4428"/>
              <a:gd name="T24" fmla="*/ 1808 w 4435"/>
              <a:gd name="T25" fmla="*/ 273 h 4428"/>
              <a:gd name="T26" fmla="*/ 1415 w 4435"/>
              <a:gd name="T27" fmla="*/ 150 h 4428"/>
              <a:gd name="T28" fmla="*/ 1249 w 4435"/>
              <a:gd name="T29" fmla="*/ 482 h 4428"/>
              <a:gd name="T30" fmla="*/ 837 w 4435"/>
              <a:gd name="T31" fmla="*/ 482 h 4428"/>
              <a:gd name="T32" fmla="*/ 778 w 4435"/>
              <a:gd name="T33" fmla="*/ 847 h 4428"/>
              <a:gd name="T34" fmla="*/ 384 w 4435"/>
              <a:gd name="T35" fmla="*/ 970 h 4428"/>
              <a:gd name="T36" fmla="*/ 437 w 4435"/>
              <a:gd name="T37" fmla="*/ 1334 h 4428"/>
              <a:gd name="T38" fmla="*/ 97 w 4435"/>
              <a:gd name="T39" fmla="*/ 1568 h 4428"/>
              <a:gd name="T40" fmla="*/ 256 w 4435"/>
              <a:gd name="T41" fmla="*/ 1899 h 4428"/>
              <a:gd name="T42" fmla="*/ 0 w 4435"/>
              <a:gd name="T43" fmla="*/ 2217 h 4428"/>
              <a:gd name="T44" fmla="*/ 232 w 4435"/>
              <a:gd name="T45" fmla="*/ 2277 h 4428"/>
              <a:gd name="T46" fmla="*/ 29 w 4435"/>
              <a:gd name="T47" fmla="*/ 2575 h 4428"/>
              <a:gd name="T48" fmla="*/ 337 w 4435"/>
              <a:gd name="T49" fmla="*/ 2860 h 4428"/>
              <a:gd name="T50" fmla="*/ 231 w 4435"/>
              <a:gd name="T51" fmla="*/ 3202 h 4428"/>
              <a:gd name="T52" fmla="*/ 610 w 4435"/>
              <a:gd name="T53" fmla="*/ 3384 h 4428"/>
              <a:gd name="T54" fmla="*/ 607 w 4435"/>
              <a:gd name="T55" fmla="*/ 3741 h 4428"/>
              <a:gd name="T56" fmla="*/ 1023 w 4435"/>
              <a:gd name="T57" fmla="*/ 3805 h 4428"/>
              <a:gd name="T58" fmla="*/ 1123 w 4435"/>
              <a:gd name="T59" fmla="*/ 4146 h 4428"/>
              <a:gd name="T60" fmla="*/ 1540 w 4435"/>
              <a:gd name="T61" fmla="*/ 4085 h 4428"/>
              <a:gd name="T62" fmla="*/ 1735 w 4435"/>
              <a:gd name="T63" fmla="*/ 4382 h 4428"/>
              <a:gd name="T64" fmla="*/ 2116 w 4435"/>
              <a:gd name="T65" fmla="*/ 4201 h 4428"/>
              <a:gd name="T66" fmla="*/ 2320 w 4435"/>
              <a:gd name="T67" fmla="*/ 4201 h 4428"/>
              <a:gd name="T68" fmla="*/ 2701 w 4435"/>
              <a:gd name="T69" fmla="*/ 4382 h 4428"/>
              <a:gd name="T70" fmla="*/ 2896 w 4435"/>
              <a:gd name="T71" fmla="*/ 4085 h 4428"/>
              <a:gd name="T72" fmla="*/ 3312 w 4435"/>
              <a:gd name="T73" fmla="*/ 4146 h 4428"/>
              <a:gd name="T74" fmla="*/ 3412 w 4435"/>
              <a:gd name="T75" fmla="*/ 3805 h 4428"/>
              <a:gd name="T76" fmla="*/ 3829 w 4435"/>
              <a:gd name="T77" fmla="*/ 3741 h 4428"/>
              <a:gd name="T78" fmla="*/ 3826 w 4435"/>
              <a:gd name="T79" fmla="*/ 3384 h 4428"/>
              <a:gd name="T80" fmla="*/ 4205 w 4435"/>
              <a:gd name="T81" fmla="*/ 3202 h 4428"/>
              <a:gd name="T82" fmla="*/ 4098 w 4435"/>
              <a:gd name="T83" fmla="*/ 2860 h 4428"/>
              <a:gd name="T84" fmla="*/ 4406 w 4435"/>
              <a:gd name="T85" fmla="*/ 2575 h 4428"/>
              <a:gd name="T86" fmla="*/ 4204 w 4435"/>
              <a:gd name="T87" fmla="*/ 2277 h 4428"/>
              <a:gd name="T88" fmla="*/ 2218 w 4435"/>
              <a:gd name="T89" fmla="*/ 3857 h 4428"/>
              <a:gd name="T90" fmla="*/ 2218 w 4435"/>
              <a:gd name="T91" fmla="*/ 570 h 4428"/>
              <a:gd name="T92" fmla="*/ 2218 w 4435"/>
              <a:gd name="T93" fmla="*/ 3857 h 4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435" h="4428">
                <a:moveTo>
                  <a:pt x="4435" y="2225"/>
                </a:moveTo>
                <a:cubicBezTo>
                  <a:pt x="4435" y="2222"/>
                  <a:pt x="4435" y="2220"/>
                  <a:pt x="4435" y="2217"/>
                </a:cubicBezTo>
                <a:cubicBezTo>
                  <a:pt x="4435" y="2115"/>
                  <a:pt x="4428" y="2014"/>
                  <a:pt x="4415" y="1916"/>
                </a:cubicBezTo>
                <a:cubicBezTo>
                  <a:pt x="4179" y="1899"/>
                  <a:pt x="4179" y="1899"/>
                  <a:pt x="4179" y="1899"/>
                </a:cubicBezTo>
                <a:cubicBezTo>
                  <a:pt x="4168" y="1827"/>
                  <a:pt x="4152" y="1756"/>
                  <a:pt x="4133" y="1686"/>
                </a:cubicBezTo>
                <a:cubicBezTo>
                  <a:pt x="4339" y="1568"/>
                  <a:pt x="4339" y="1568"/>
                  <a:pt x="4339" y="1568"/>
                </a:cubicBezTo>
                <a:cubicBezTo>
                  <a:pt x="4308" y="1469"/>
                  <a:pt x="4271" y="1374"/>
                  <a:pt x="4228" y="1281"/>
                </a:cubicBezTo>
                <a:cubicBezTo>
                  <a:pt x="3998" y="1334"/>
                  <a:pt x="3998" y="1334"/>
                  <a:pt x="3998" y="1334"/>
                </a:cubicBezTo>
                <a:cubicBezTo>
                  <a:pt x="3965" y="1268"/>
                  <a:pt x="3929" y="1204"/>
                  <a:pt x="3889" y="1143"/>
                </a:cubicBezTo>
                <a:cubicBezTo>
                  <a:pt x="4051" y="970"/>
                  <a:pt x="4051" y="970"/>
                  <a:pt x="4051" y="970"/>
                </a:cubicBezTo>
                <a:cubicBezTo>
                  <a:pt x="3993" y="885"/>
                  <a:pt x="3930" y="804"/>
                  <a:pt x="3861" y="729"/>
                </a:cubicBezTo>
                <a:cubicBezTo>
                  <a:pt x="3657" y="847"/>
                  <a:pt x="3657" y="847"/>
                  <a:pt x="3657" y="847"/>
                </a:cubicBezTo>
                <a:cubicBezTo>
                  <a:pt x="3606" y="794"/>
                  <a:pt x="3552" y="743"/>
                  <a:pt x="3495" y="695"/>
                </a:cubicBezTo>
                <a:cubicBezTo>
                  <a:pt x="3598" y="482"/>
                  <a:pt x="3598" y="482"/>
                  <a:pt x="3598" y="482"/>
                </a:cubicBezTo>
                <a:cubicBezTo>
                  <a:pt x="3519" y="419"/>
                  <a:pt x="3435" y="360"/>
                  <a:pt x="3347" y="308"/>
                </a:cubicBezTo>
                <a:cubicBezTo>
                  <a:pt x="3187" y="482"/>
                  <a:pt x="3187" y="482"/>
                  <a:pt x="3187" y="482"/>
                </a:cubicBezTo>
                <a:cubicBezTo>
                  <a:pt x="3121" y="446"/>
                  <a:pt x="3054" y="413"/>
                  <a:pt x="2985" y="384"/>
                </a:cubicBezTo>
                <a:cubicBezTo>
                  <a:pt x="3021" y="150"/>
                  <a:pt x="3021" y="150"/>
                  <a:pt x="3021" y="150"/>
                </a:cubicBezTo>
                <a:cubicBezTo>
                  <a:pt x="2926" y="113"/>
                  <a:pt x="2829" y="83"/>
                  <a:pt x="2730" y="59"/>
                </a:cubicBezTo>
                <a:cubicBezTo>
                  <a:pt x="2628" y="273"/>
                  <a:pt x="2628" y="273"/>
                  <a:pt x="2628" y="273"/>
                </a:cubicBezTo>
                <a:cubicBezTo>
                  <a:pt x="2555" y="257"/>
                  <a:pt x="2480" y="246"/>
                  <a:pt x="2404" y="239"/>
                </a:cubicBezTo>
                <a:cubicBezTo>
                  <a:pt x="2370" y="5"/>
                  <a:pt x="2370" y="5"/>
                  <a:pt x="2370" y="5"/>
                </a:cubicBezTo>
                <a:cubicBezTo>
                  <a:pt x="2320" y="2"/>
                  <a:pt x="2269" y="0"/>
                  <a:pt x="2218" y="0"/>
                </a:cubicBezTo>
                <a:cubicBezTo>
                  <a:pt x="2166" y="0"/>
                  <a:pt x="2116" y="2"/>
                  <a:pt x="2065" y="5"/>
                </a:cubicBezTo>
                <a:cubicBezTo>
                  <a:pt x="2031" y="239"/>
                  <a:pt x="2031" y="239"/>
                  <a:pt x="2031" y="239"/>
                </a:cubicBezTo>
                <a:cubicBezTo>
                  <a:pt x="1955" y="246"/>
                  <a:pt x="1881" y="257"/>
                  <a:pt x="1808" y="273"/>
                </a:cubicBezTo>
                <a:cubicBezTo>
                  <a:pt x="1706" y="59"/>
                  <a:pt x="1706" y="59"/>
                  <a:pt x="1706" y="59"/>
                </a:cubicBezTo>
                <a:cubicBezTo>
                  <a:pt x="1606" y="83"/>
                  <a:pt x="1509" y="113"/>
                  <a:pt x="1415" y="150"/>
                </a:cubicBezTo>
                <a:cubicBezTo>
                  <a:pt x="1451" y="384"/>
                  <a:pt x="1451" y="384"/>
                  <a:pt x="1451" y="384"/>
                </a:cubicBezTo>
                <a:cubicBezTo>
                  <a:pt x="1381" y="413"/>
                  <a:pt x="1314" y="446"/>
                  <a:pt x="1249" y="482"/>
                </a:cubicBezTo>
                <a:cubicBezTo>
                  <a:pt x="1089" y="308"/>
                  <a:pt x="1089" y="308"/>
                  <a:pt x="1089" y="308"/>
                </a:cubicBezTo>
                <a:cubicBezTo>
                  <a:pt x="1001" y="360"/>
                  <a:pt x="917" y="418"/>
                  <a:pt x="837" y="482"/>
                </a:cubicBezTo>
                <a:cubicBezTo>
                  <a:pt x="941" y="695"/>
                  <a:pt x="941" y="695"/>
                  <a:pt x="941" y="695"/>
                </a:cubicBezTo>
                <a:cubicBezTo>
                  <a:pt x="884" y="743"/>
                  <a:pt x="829" y="794"/>
                  <a:pt x="778" y="847"/>
                </a:cubicBezTo>
                <a:cubicBezTo>
                  <a:pt x="574" y="729"/>
                  <a:pt x="574" y="729"/>
                  <a:pt x="574" y="729"/>
                </a:cubicBezTo>
                <a:cubicBezTo>
                  <a:pt x="505" y="804"/>
                  <a:pt x="442" y="885"/>
                  <a:pt x="384" y="970"/>
                </a:cubicBezTo>
                <a:cubicBezTo>
                  <a:pt x="546" y="1143"/>
                  <a:pt x="546" y="1143"/>
                  <a:pt x="546" y="1143"/>
                </a:cubicBezTo>
                <a:cubicBezTo>
                  <a:pt x="506" y="1204"/>
                  <a:pt x="470" y="1268"/>
                  <a:pt x="437" y="1334"/>
                </a:cubicBezTo>
                <a:cubicBezTo>
                  <a:pt x="207" y="1281"/>
                  <a:pt x="207" y="1281"/>
                  <a:pt x="207" y="1281"/>
                </a:cubicBezTo>
                <a:cubicBezTo>
                  <a:pt x="164" y="1374"/>
                  <a:pt x="127" y="1469"/>
                  <a:pt x="97" y="1568"/>
                </a:cubicBezTo>
                <a:cubicBezTo>
                  <a:pt x="303" y="1686"/>
                  <a:pt x="303" y="1686"/>
                  <a:pt x="303" y="1686"/>
                </a:cubicBezTo>
                <a:cubicBezTo>
                  <a:pt x="283" y="1756"/>
                  <a:pt x="268" y="1827"/>
                  <a:pt x="256" y="1899"/>
                </a:cubicBezTo>
                <a:cubicBezTo>
                  <a:pt x="21" y="1916"/>
                  <a:pt x="21" y="1916"/>
                  <a:pt x="21" y="1916"/>
                </a:cubicBezTo>
                <a:cubicBezTo>
                  <a:pt x="7" y="2014"/>
                  <a:pt x="0" y="2115"/>
                  <a:pt x="0" y="2217"/>
                </a:cubicBezTo>
                <a:cubicBezTo>
                  <a:pt x="0" y="2220"/>
                  <a:pt x="0" y="2222"/>
                  <a:pt x="0" y="2225"/>
                </a:cubicBezTo>
                <a:cubicBezTo>
                  <a:pt x="232" y="2277"/>
                  <a:pt x="232" y="2277"/>
                  <a:pt x="232" y="2277"/>
                </a:cubicBezTo>
                <a:cubicBezTo>
                  <a:pt x="234" y="2349"/>
                  <a:pt x="240" y="2420"/>
                  <a:pt x="249" y="2490"/>
                </a:cubicBezTo>
                <a:cubicBezTo>
                  <a:pt x="29" y="2575"/>
                  <a:pt x="29" y="2575"/>
                  <a:pt x="29" y="2575"/>
                </a:cubicBezTo>
                <a:cubicBezTo>
                  <a:pt x="46" y="2679"/>
                  <a:pt x="70" y="2780"/>
                  <a:pt x="101" y="2878"/>
                </a:cubicBezTo>
                <a:cubicBezTo>
                  <a:pt x="337" y="2860"/>
                  <a:pt x="337" y="2860"/>
                  <a:pt x="337" y="2860"/>
                </a:cubicBezTo>
                <a:cubicBezTo>
                  <a:pt x="360" y="2927"/>
                  <a:pt x="386" y="2992"/>
                  <a:pt x="416" y="3055"/>
                </a:cubicBezTo>
                <a:cubicBezTo>
                  <a:pt x="231" y="3202"/>
                  <a:pt x="231" y="3202"/>
                  <a:pt x="231" y="3202"/>
                </a:cubicBezTo>
                <a:cubicBezTo>
                  <a:pt x="277" y="3296"/>
                  <a:pt x="330" y="3386"/>
                  <a:pt x="389" y="3472"/>
                </a:cubicBezTo>
                <a:cubicBezTo>
                  <a:pt x="610" y="3384"/>
                  <a:pt x="610" y="3384"/>
                  <a:pt x="610" y="3384"/>
                </a:cubicBezTo>
                <a:cubicBezTo>
                  <a:pt x="651" y="3440"/>
                  <a:pt x="694" y="3494"/>
                  <a:pt x="741" y="3546"/>
                </a:cubicBezTo>
                <a:cubicBezTo>
                  <a:pt x="607" y="3741"/>
                  <a:pt x="607" y="3741"/>
                  <a:pt x="607" y="3741"/>
                </a:cubicBezTo>
                <a:cubicBezTo>
                  <a:pt x="679" y="3817"/>
                  <a:pt x="756" y="3888"/>
                  <a:pt x="838" y="3953"/>
                </a:cubicBezTo>
                <a:cubicBezTo>
                  <a:pt x="1023" y="3805"/>
                  <a:pt x="1023" y="3805"/>
                  <a:pt x="1023" y="3805"/>
                </a:cubicBezTo>
                <a:cubicBezTo>
                  <a:pt x="1078" y="3846"/>
                  <a:pt x="1135" y="3884"/>
                  <a:pt x="1194" y="3920"/>
                </a:cubicBezTo>
                <a:cubicBezTo>
                  <a:pt x="1123" y="4146"/>
                  <a:pt x="1123" y="4146"/>
                  <a:pt x="1123" y="4146"/>
                </a:cubicBezTo>
                <a:cubicBezTo>
                  <a:pt x="1214" y="4197"/>
                  <a:pt x="1309" y="4243"/>
                  <a:pt x="1407" y="4282"/>
                </a:cubicBezTo>
                <a:cubicBezTo>
                  <a:pt x="1540" y="4085"/>
                  <a:pt x="1540" y="4085"/>
                  <a:pt x="1540" y="4085"/>
                </a:cubicBezTo>
                <a:cubicBezTo>
                  <a:pt x="1604" y="4109"/>
                  <a:pt x="1669" y="4128"/>
                  <a:pt x="1736" y="4145"/>
                </a:cubicBezTo>
                <a:cubicBezTo>
                  <a:pt x="1735" y="4382"/>
                  <a:pt x="1735" y="4382"/>
                  <a:pt x="1735" y="4382"/>
                </a:cubicBezTo>
                <a:cubicBezTo>
                  <a:pt x="1836" y="4404"/>
                  <a:pt x="1940" y="4420"/>
                  <a:pt x="2047" y="4428"/>
                </a:cubicBezTo>
                <a:cubicBezTo>
                  <a:pt x="2116" y="4201"/>
                  <a:pt x="2116" y="4201"/>
                  <a:pt x="2116" y="4201"/>
                </a:cubicBezTo>
                <a:cubicBezTo>
                  <a:pt x="2150" y="4203"/>
                  <a:pt x="2184" y="4204"/>
                  <a:pt x="2218" y="4204"/>
                </a:cubicBezTo>
                <a:cubicBezTo>
                  <a:pt x="2252" y="4204"/>
                  <a:pt x="2286" y="4203"/>
                  <a:pt x="2320" y="4201"/>
                </a:cubicBezTo>
                <a:cubicBezTo>
                  <a:pt x="2389" y="4428"/>
                  <a:pt x="2389" y="4428"/>
                  <a:pt x="2389" y="4428"/>
                </a:cubicBezTo>
                <a:cubicBezTo>
                  <a:pt x="2495" y="4420"/>
                  <a:pt x="2599" y="4404"/>
                  <a:pt x="2701" y="4382"/>
                </a:cubicBezTo>
                <a:cubicBezTo>
                  <a:pt x="2700" y="4145"/>
                  <a:pt x="2700" y="4145"/>
                  <a:pt x="2700" y="4145"/>
                </a:cubicBezTo>
                <a:cubicBezTo>
                  <a:pt x="2766" y="4128"/>
                  <a:pt x="2832" y="4109"/>
                  <a:pt x="2896" y="4085"/>
                </a:cubicBezTo>
                <a:cubicBezTo>
                  <a:pt x="3028" y="4282"/>
                  <a:pt x="3028" y="4282"/>
                  <a:pt x="3028" y="4282"/>
                </a:cubicBezTo>
                <a:cubicBezTo>
                  <a:pt x="3127" y="4243"/>
                  <a:pt x="3221" y="4197"/>
                  <a:pt x="3312" y="4146"/>
                </a:cubicBezTo>
                <a:cubicBezTo>
                  <a:pt x="3242" y="3920"/>
                  <a:pt x="3242" y="3920"/>
                  <a:pt x="3242" y="3920"/>
                </a:cubicBezTo>
                <a:cubicBezTo>
                  <a:pt x="3301" y="3884"/>
                  <a:pt x="3358" y="3846"/>
                  <a:pt x="3412" y="3805"/>
                </a:cubicBezTo>
                <a:cubicBezTo>
                  <a:pt x="3597" y="3953"/>
                  <a:pt x="3597" y="3953"/>
                  <a:pt x="3597" y="3953"/>
                </a:cubicBezTo>
                <a:cubicBezTo>
                  <a:pt x="3679" y="3888"/>
                  <a:pt x="3757" y="3817"/>
                  <a:pt x="3829" y="3741"/>
                </a:cubicBezTo>
                <a:cubicBezTo>
                  <a:pt x="3695" y="3546"/>
                  <a:pt x="3695" y="3546"/>
                  <a:pt x="3695" y="3546"/>
                </a:cubicBezTo>
                <a:cubicBezTo>
                  <a:pt x="3741" y="3494"/>
                  <a:pt x="3785" y="3440"/>
                  <a:pt x="3826" y="3384"/>
                </a:cubicBezTo>
                <a:cubicBezTo>
                  <a:pt x="4046" y="3472"/>
                  <a:pt x="4046" y="3472"/>
                  <a:pt x="4046" y="3472"/>
                </a:cubicBezTo>
                <a:cubicBezTo>
                  <a:pt x="4105" y="3386"/>
                  <a:pt x="4158" y="3296"/>
                  <a:pt x="4205" y="3202"/>
                </a:cubicBezTo>
                <a:cubicBezTo>
                  <a:pt x="4019" y="3055"/>
                  <a:pt x="4019" y="3055"/>
                  <a:pt x="4019" y="3055"/>
                </a:cubicBezTo>
                <a:cubicBezTo>
                  <a:pt x="4049" y="2992"/>
                  <a:pt x="4076" y="2927"/>
                  <a:pt x="4098" y="2860"/>
                </a:cubicBezTo>
                <a:cubicBezTo>
                  <a:pt x="4335" y="2878"/>
                  <a:pt x="4335" y="2878"/>
                  <a:pt x="4335" y="2878"/>
                </a:cubicBezTo>
                <a:cubicBezTo>
                  <a:pt x="4365" y="2780"/>
                  <a:pt x="4389" y="2679"/>
                  <a:pt x="4406" y="2575"/>
                </a:cubicBezTo>
                <a:cubicBezTo>
                  <a:pt x="4186" y="2490"/>
                  <a:pt x="4186" y="2490"/>
                  <a:pt x="4186" y="2490"/>
                </a:cubicBezTo>
                <a:cubicBezTo>
                  <a:pt x="4196" y="2420"/>
                  <a:pt x="4202" y="2349"/>
                  <a:pt x="4204" y="2277"/>
                </a:cubicBezTo>
                <a:lnTo>
                  <a:pt x="4435" y="2225"/>
                </a:lnTo>
                <a:close/>
                <a:moveTo>
                  <a:pt x="2218" y="3857"/>
                </a:moveTo>
                <a:cubicBezTo>
                  <a:pt x="1310" y="3857"/>
                  <a:pt x="574" y="3122"/>
                  <a:pt x="574" y="2214"/>
                </a:cubicBezTo>
                <a:cubicBezTo>
                  <a:pt x="574" y="1306"/>
                  <a:pt x="1310" y="570"/>
                  <a:pt x="2218" y="570"/>
                </a:cubicBezTo>
                <a:cubicBezTo>
                  <a:pt x="3125" y="570"/>
                  <a:pt x="3861" y="1306"/>
                  <a:pt x="3861" y="2214"/>
                </a:cubicBezTo>
                <a:cubicBezTo>
                  <a:pt x="3861" y="3122"/>
                  <a:pt x="3125" y="3857"/>
                  <a:pt x="2218" y="385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 noEditPoints="1"/>
          </p:cNvSpPr>
          <p:nvPr/>
        </p:nvSpPr>
        <p:spPr bwMode="auto">
          <a:xfrm>
            <a:off x="4520773" y="1535617"/>
            <a:ext cx="1243332" cy="1239850"/>
          </a:xfrm>
          <a:custGeom>
            <a:avLst/>
            <a:gdLst>
              <a:gd name="T0" fmla="*/ 3541 w 3541"/>
              <a:gd name="T1" fmla="*/ 1853 h 3529"/>
              <a:gd name="T2" fmla="*/ 3221 w 3541"/>
              <a:gd name="T3" fmla="*/ 1529 h 3529"/>
              <a:gd name="T4" fmla="*/ 3422 w 3541"/>
              <a:gd name="T5" fmla="*/ 1127 h 3529"/>
              <a:gd name="T6" fmla="*/ 2992 w 3541"/>
              <a:gd name="T7" fmla="*/ 954 h 3529"/>
              <a:gd name="T8" fmla="*/ 3014 w 3541"/>
              <a:gd name="T9" fmla="*/ 509 h 3529"/>
              <a:gd name="T10" fmla="*/ 2545 w 3541"/>
              <a:gd name="T11" fmla="*/ 522 h 3529"/>
              <a:gd name="T12" fmla="*/ 2386 w 3541"/>
              <a:gd name="T13" fmla="*/ 109 h 3529"/>
              <a:gd name="T14" fmla="*/ 1958 w 3541"/>
              <a:gd name="T15" fmla="*/ 313 h 3529"/>
              <a:gd name="T16" fmla="*/ 1771 w 3541"/>
              <a:gd name="T17" fmla="*/ 0 h 3529"/>
              <a:gd name="T18" fmla="*/ 1583 w 3541"/>
              <a:gd name="T19" fmla="*/ 313 h 3529"/>
              <a:gd name="T20" fmla="*/ 1155 w 3541"/>
              <a:gd name="T21" fmla="*/ 109 h 3529"/>
              <a:gd name="T22" fmla="*/ 996 w 3541"/>
              <a:gd name="T23" fmla="*/ 522 h 3529"/>
              <a:gd name="T24" fmla="*/ 527 w 3541"/>
              <a:gd name="T25" fmla="*/ 509 h 3529"/>
              <a:gd name="T26" fmla="*/ 549 w 3541"/>
              <a:gd name="T27" fmla="*/ 954 h 3529"/>
              <a:gd name="T28" fmla="*/ 119 w 3541"/>
              <a:gd name="T29" fmla="*/ 1127 h 3529"/>
              <a:gd name="T30" fmla="*/ 320 w 3541"/>
              <a:gd name="T31" fmla="*/ 1529 h 3529"/>
              <a:gd name="T32" fmla="*/ 0 w 3541"/>
              <a:gd name="T33" fmla="*/ 1853 h 3529"/>
              <a:gd name="T34" fmla="*/ 347 w 3541"/>
              <a:gd name="T35" fmla="*/ 2143 h 3529"/>
              <a:gd name="T36" fmla="*/ 184 w 3541"/>
              <a:gd name="T37" fmla="*/ 2561 h 3529"/>
              <a:gd name="T38" fmla="*/ 621 w 3541"/>
              <a:gd name="T39" fmla="*/ 2689 h 3529"/>
              <a:gd name="T40" fmla="*/ 635 w 3541"/>
              <a:gd name="T41" fmla="*/ 3133 h 3529"/>
              <a:gd name="T42" fmla="*/ 1088 w 3541"/>
              <a:gd name="T43" fmla="*/ 3074 h 3529"/>
              <a:gd name="T44" fmla="*/ 1276 w 3541"/>
              <a:gd name="T45" fmla="*/ 3474 h 3529"/>
              <a:gd name="T46" fmla="*/ 1667 w 3541"/>
              <a:gd name="T47" fmla="*/ 3239 h 3529"/>
              <a:gd name="T48" fmla="*/ 1874 w 3541"/>
              <a:gd name="T49" fmla="*/ 3239 h 3529"/>
              <a:gd name="T50" fmla="*/ 2265 w 3541"/>
              <a:gd name="T51" fmla="*/ 3474 h 3529"/>
              <a:gd name="T52" fmla="*/ 2453 w 3541"/>
              <a:gd name="T53" fmla="*/ 3074 h 3529"/>
              <a:gd name="T54" fmla="*/ 2906 w 3541"/>
              <a:gd name="T55" fmla="*/ 3133 h 3529"/>
              <a:gd name="T56" fmla="*/ 2920 w 3541"/>
              <a:gd name="T57" fmla="*/ 2689 h 3529"/>
              <a:gd name="T58" fmla="*/ 3357 w 3541"/>
              <a:gd name="T59" fmla="*/ 2561 h 3529"/>
              <a:gd name="T60" fmla="*/ 3194 w 3541"/>
              <a:gd name="T61" fmla="*/ 2143 h 3529"/>
              <a:gd name="T62" fmla="*/ 1771 w 3541"/>
              <a:gd name="T63" fmla="*/ 2947 h 3529"/>
              <a:gd name="T64" fmla="*/ 1771 w 3541"/>
              <a:gd name="T65" fmla="*/ 582 h 3529"/>
              <a:gd name="T66" fmla="*/ 1771 w 3541"/>
              <a:gd name="T67" fmla="*/ 2947 h 3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41" h="3529">
                <a:moveTo>
                  <a:pt x="3510" y="2113"/>
                </a:moveTo>
                <a:cubicBezTo>
                  <a:pt x="3526" y="2028"/>
                  <a:pt x="3537" y="1942"/>
                  <a:pt x="3541" y="1853"/>
                </a:cubicBezTo>
                <a:cubicBezTo>
                  <a:pt x="3241" y="1759"/>
                  <a:pt x="3241" y="1759"/>
                  <a:pt x="3241" y="1759"/>
                </a:cubicBezTo>
                <a:cubicBezTo>
                  <a:pt x="3240" y="1680"/>
                  <a:pt x="3233" y="1604"/>
                  <a:pt x="3221" y="1529"/>
                </a:cubicBezTo>
                <a:cubicBezTo>
                  <a:pt x="3498" y="1372"/>
                  <a:pt x="3498" y="1372"/>
                  <a:pt x="3498" y="1372"/>
                </a:cubicBezTo>
                <a:cubicBezTo>
                  <a:pt x="3478" y="1288"/>
                  <a:pt x="3453" y="1206"/>
                  <a:pt x="3422" y="1127"/>
                </a:cubicBezTo>
                <a:cubicBezTo>
                  <a:pt x="3109" y="1163"/>
                  <a:pt x="3109" y="1163"/>
                  <a:pt x="3109" y="1163"/>
                </a:cubicBezTo>
                <a:cubicBezTo>
                  <a:pt x="3076" y="1090"/>
                  <a:pt x="3037" y="1020"/>
                  <a:pt x="2992" y="954"/>
                </a:cubicBezTo>
                <a:cubicBezTo>
                  <a:pt x="3181" y="699"/>
                  <a:pt x="3181" y="699"/>
                  <a:pt x="3181" y="699"/>
                </a:cubicBezTo>
                <a:cubicBezTo>
                  <a:pt x="3130" y="632"/>
                  <a:pt x="3074" y="568"/>
                  <a:pt x="3014" y="509"/>
                </a:cubicBezTo>
                <a:cubicBezTo>
                  <a:pt x="2743" y="669"/>
                  <a:pt x="2743" y="669"/>
                  <a:pt x="2743" y="669"/>
                </a:cubicBezTo>
                <a:cubicBezTo>
                  <a:pt x="2681" y="614"/>
                  <a:pt x="2615" y="565"/>
                  <a:pt x="2545" y="522"/>
                </a:cubicBezTo>
                <a:cubicBezTo>
                  <a:pt x="2614" y="213"/>
                  <a:pt x="2614" y="213"/>
                  <a:pt x="2614" y="213"/>
                </a:cubicBezTo>
                <a:cubicBezTo>
                  <a:pt x="2541" y="173"/>
                  <a:pt x="2464" y="138"/>
                  <a:pt x="2386" y="109"/>
                </a:cubicBezTo>
                <a:cubicBezTo>
                  <a:pt x="2203" y="366"/>
                  <a:pt x="2203" y="366"/>
                  <a:pt x="2203" y="366"/>
                </a:cubicBezTo>
                <a:cubicBezTo>
                  <a:pt x="2124" y="342"/>
                  <a:pt x="2042" y="324"/>
                  <a:pt x="1958" y="313"/>
                </a:cubicBezTo>
                <a:cubicBezTo>
                  <a:pt x="1895" y="4"/>
                  <a:pt x="1895" y="4"/>
                  <a:pt x="1895" y="4"/>
                </a:cubicBezTo>
                <a:cubicBezTo>
                  <a:pt x="1854" y="1"/>
                  <a:pt x="1812" y="0"/>
                  <a:pt x="1771" y="0"/>
                </a:cubicBezTo>
                <a:cubicBezTo>
                  <a:pt x="1729" y="0"/>
                  <a:pt x="1687" y="1"/>
                  <a:pt x="1646" y="4"/>
                </a:cubicBezTo>
                <a:cubicBezTo>
                  <a:pt x="1583" y="313"/>
                  <a:pt x="1583" y="313"/>
                  <a:pt x="1583" y="313"/>
                </a:cubicBezTo>
                <a:cubicBezTo>
                  <a:pt x="1499" y="324"/>
                  <a:pt x="1417" y="342"/>
                  <a:pt x="1338" y="366"/>
                </a:cubicBezTo>
                <a:cubicBezTo>
                  <a:pt x="1155" y="109"/>
                  <a:pt x="1155" y="109"/>
                  <a:pt x="1155" y="109"/>
                </a:cubicBezTo>
                <a:cubicBezTo>
                  <a:pt x="1077" y="138"/>
                  <a:pt x="1001" y="173"/>
                  <a:pt x="927" y="213"/>
                </a:cubicBezTo>
                <a:cubicBezTo>
                  <a:pt x="996" y="522"/>
                  <a:pt x="996" y="522"/>
                  <a:pt x="996" y="522"/>
                </a:cubicBezTo>
                <a:cubicBezTo>
                  <a:pt x="926" y="565"/>
                  <a:pt x="860" y="614"/>
                  <a:pt x="799" y="669"/>
                </a:cubicBezTo>
                <a:cubicBezTo>
                  <a:pt x="527" y="509"/>
                  <a:pt x="527" y="509"/>
                  <a:pt x="527" y="509"/>
                </a:cubicBezTo>
                <a:cubicBezTo>
                  <a:pt x="467" y="568"/>
                  <a:pt x="411" y="632"/>
                  <a:pt x="360" y="699"/>
                </a:cubicBezTo>
                <a:cubicBezTo>
                  <a:pt x="549" y="954"/>
                  <a:pt x="549" y="954"/>
                  <a:pt x="549" y="954"/>
                </a:cubicBezTo>
                <a:cubicBezTo>
                  <a:pt x="504" y="1020"/>
                  <a:pt x="465" y="1090"/>
                  <a:pt x="432" y="1163"/>
                </a:cubicBezTo>
                <a:cubicBezTo>
                  <a:pt x="119" y="1127"/>
                  <a:pt x="119" y="1127"/>
                  <a:pt x="119" y="1127"/>
                </a:cubicBezTo>
                <a:cubicBezTo>
                  <a:pt x="88" y="1206"/>
                  <a:pt x="63" y="1288"/>
                  <a:pt x="43" y="1372"/>
                </a:cubicBezTo>
                <a:cubicBezTo>
                  <a:pt x="320" y="1529"/>
                  <a:pt x="320" y="1529"/>
                  <a:pt x="320" y="1529"/>
                </a:cubicBezTo>
                <a:cubicBezTo>
                  <a:pt x="308" y="1604"/>
                  <a:pt x="301" y="1680"/>
                  <a:pt x="300" y="1759"/>
                </a:cubicBezTo>
                <a:cubicBezTo>
                  <a:pt x="0" y="1853"/>
                  <a:pt x="0" y="1853"/>
                  <a:pt x="0" y="1853"/>
                </a:cubicBezTo>
                <a:cubicBezTo>
                  <a:pt x="4" y="1942"/>
                  <a:pt x="15" y="2028"/>
                  <a:pt x="31" y="2113"/>
                </a:cubicBezTo>
                <a:cubicBezTo>
                  <a:pt x="347" y="2143"/>
                  <a:pt x="347" y="2143"/>
                  <a:pt x="347" y="2143"/>
                </a:cubicBezTo>
                <a:cubicBezTo>
                  <a:pt x="366" y="2215"/>
                  <a:pt x="390" y="2285"/>
                  <a:pt x="419" y="2353"/>
                </a:cubicBezTo>
                <a:cubicBezTo>
                  <a:pt x="184" y="2561"/>
                  <a:pt x="184" y="2561"/>
                  <a:pt x="184" y="2561"/>
                </a:cubicBezTo>
                <a:cubicBezTo>
                  <a:pt x="223" y="2641"/>
                  <a:pt x="269" y="2717"/>
                  <a:pt x="320" y="2790"/>
                </a:cubicBezTo>
                <a:cubicBezTo>
                  <a:pt x="621" y="2689"/>
                  <a:pt x="621" y="2689"/>
                  <a:pt x="621" y="2689"/>
                </a:cubicBezTo>
                <a:cubicBezTo>
                  <a:pt x="666" y="2744"/>
                  <a:pt x="714" y="2797"/>
                  <a:pt x="766" y="2845"/>
                </a:cubicBezTo>
                <a:cubicBezTo>
                  <a:pt x="635" y="3133"/>
                  <a:pt x="635" y="3133"/>
                  <a:pt x="635" y="3133"/>
                </a:cubicBezTo>
                <a:cubicBezTo>
                  <a:pt x="704" y="3190"/>
                  <a:pt x="777" y="3242"/>
                  <a:pt x="854" y="3289"/>
                </a:cubicBezTo>
                <a:cubicBezTo>
                  <a:pt x="1088" y="3074"/>
                  <a:pt x="1088" y="3074"/>
                  <a:pt x="1088" y="3074"/>
                </a:cubicBezTo>
                <a:cubicBezTo>
                  <a:pt x="1149" y="3107"/>
                  <a:pt x="1213" y="3135"/>
                  <a:pt x="1279" y="3158"/>
                </a:cubicBezTo>
                <a:cubicBezTo>
                  <a:pt x="1276" y="3474"/>
                  <a:pt x="1276" y="3474"/>
                  <a:pt x="1276" y="3474"/>
                </a:cubicBezTo>
                <a:cubicBezTo>
                  <a:pt x="1362" y="3499"/>
                  <a:pt x="1450" y="3518"/>
                  <a:pt x="1541" y="3529"/>
                </a:cubicBezTo>
                <a:cubicBezTo>
                  <a:pt x="1667" y="3239"/>
                  <a:pt x="1667" y="3239"/>
                  <a:pt x="1667" y="3239"/>
                </a:cubicBezTo>
                <a:cubicBezTo>
                  <a:pt x="1702" y="3241"/>
                  <a:pt x="1736" y="3242"/>
                  <a:pt x="1771" y="3242"/>
                </a:cubicBezTo>
                <a:cubicBezTo>
                  <a:pt x="1805" y="3242"/>
                  <a:pt x="1840" y="3241"/>
                  <a:pt x="1874" y="3239"/>
                </a:cubicBezTo>
                <a:cubicBezTo>
                  <a:pt x="2000" y="3529"/>
                  <a:pt x="2000" y="3529"/>
                  <a:pt x="2000" y="3529"/>
                </a:cubicBezTo>
                <a:cubicBezTo>
                  <a:pt x="2091" y="3518"/>
                  <a:pt x="2179" y="3499"/>
                  <a:pt x="2265" y="3474"/>
                </a:cubicBezTo>
                <a:cubicBezTo>
                  <a:pt x="2262" y="3158"/>
                  <a:pt x="2262" y="3158"/>
                  <a:pt x="2262" y="3158"/>
                </a:cubicBezTo>
                <a:cubicBezTo>
                  <a:pt x="2328" y="3134"/>
                  <a:pt x="2392" y="3107"/>
                  <a:pt x="2453" y="3074"/>
                </a:cubicBezTo>
                <a:cubicBezTo>
                  <a:pt x="2687" y="3289"/>
                  <a:pt x="2687" y="3289"/>
                  <a:pt x="2687" y="3289"/>
                </a:cubicBezTo>
                <a:cubicBezTo>
                  <a:pt x="2764" y="3242"/>
                  <a:pt x="2837" y="3190"/>
                  <a:pt x="2906" y="3133"/>
                </a:cubicBezTo>
                <a:cubicBezTo>
                  <a:pt x="2775" y="2845"/>
                  <a:pt x="2775" y="2845"/>
                  <a:pt x="2775" y="2845"/>
                </a:cubicBezTo>
                <a:cubicBezTo>
                  <a:pt x="2827" y="2797"/>
                  <a:pt x="2876" y="2744"/>
                  <a:pt x="2920" y="2689"/>
                </a:cubicBezTo>
                <a:cubicBezTo>
                  <a:pt x="3222" y="2790"/>
                  <a:pt x="3222" y="2790"/>
                  <a:pt x="3222" y="2790"/>
                </a:cubicBezTo>
                <a:cubicBezTo>
                  <a:pt x="3272" y="2717"/>
                  <a:pt x="3318" y="2641"/>
                  <a:pt x="3357" y="2561"/>
                </a:cubicBezTo>
                <a:cubicBezTo>
                  <a:pt x="3122" y="2353"/>
                  <a:pt x="3122" y="2353"/>
                  <a:pt x="3122" y="2353"/>
                </a:cubicBezTo>
                <a:cubicBezTo>
                  <a:pt x="3151" y="2285"/>
                  <a:pt x="3175" y="2215"/>
                  <a:pt x="3194" y="2143"/>
                </a:cubicBezTo>
                <a:lnTo>
                  <a:pt x="3510" y="2113"/>
                </a:lnTo>
                <a:close/>
                <a:moveTo>
                  <a:pt x="1771" y="2947"/>
                </a:moveTo>
                <a:cubicBezTo>
                  <a:pt x="1117" y="2947"/>
                  <a:pt x="588" y="2418"/>
                  <a:pt x="588" y="1764"/>
                </a:cubicBezTo>
                <a:cubicBezTo>
                  <a:pt x="588" y="1111"/>
                  <a:pt x="1117" y="582"/>
                  <a:pt x="1771" y="582"/>
                </a:cubicBezTo>
                <a:cubicBezTo>
                  <a:pt x="2424" y="582"/>
                  <a:pt x="2953" y="1111"/>
                  <a:pt x="2953" y="1764"/>
                </a:cubicBezTo>
                <a:cubicBezTo>
                  <a:pt x="2953" y="2418"/>
                  <a:pt x="2424" y="2947"/>
                  <a:pt x="1771" y="29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9"/>
          <p:cNvSpPr>
            <a:spLocks noEditPoints="1"/>
          </p:cNvSpPr>
          <p:nvPr/>
        </p:nvSpPr>
        <p:spPr bwMode="auto">
          <a:xfrm>
            <a:off x="3285867" y="1968566"/>
            <a:ext cx="1225919" cy="1222934"/>
          </a:xfrm>
          <a:custGeom>
            <a:avLst/>
            <a:gdLst>
              <a:gd name="T0" fmla="*/ 3491 w 3491"/>
              <a:gd name="T1" fmla="*/ 1742 h 3482"/>
              <a:gd name="T2" fmla="*/ 3215 w 3491"/>
              <a:gd name="T3" fmla="*/ 1448 h 3482"/>
              <a:gd name="T4" fmla="*/ 3371 w 3491"/>
              <a:gd name="T5" fmla="*/ 1108 h 3482"/>
              <a:gd name="T6" fmla="*/ 3008 w 3491"/>
              <a:gd name="T7" fmla="*/ 937 h 3482"/>
              <a:gd name="T8" fmla="*/ 3027 w 3491"/>
              <a:gd name="T9" fmla="*/ 560 h 3482"/>
              <a:gd name="T10" fmla="*/ 2627 w 3491"/>
              <a:gd name="T11" fmla="*/ 534 h 3482"/>
              <a:gd name="T12" fmla="*/ 2505 w 3491"/>
              <a:gd name="T13" fmla="*/ 174 h 3482"/>
              <a:gd name="T14" fmla="*/ 2124 w 3491"/>
              <a:gd name="T15" fmla="*/ 295 h 3482"/>
              <a:gd name="T16" fmla="*/ 1878 w 3491"/>
              <a:gd name="T17" fmla="*/ 5 h 3482"/>
              <a:gd name="T18" fmla="*/ 1613 w 3491"/>
              <a:gd name="T19" fmla="*/ 5 h 3482"/>
              <a:gd name="T20" fmla="*/ 1367 w 3491"/>
              <a:gd name="T21" fmla="*/ 295 h 3482"/>
              <a:gd name="T22" fmla="*/ 986 w 3491"/>
              <a:gd name="T23" fmla="*/ 174 h 3482"/>
              <a:gd name="T24" fmla="*/ 864 w 3491"/>
              <a:gd name="T25" fmla="*/ 534 h 3482"/>
              <a:gd name="T26" fmla="*/ 465 w 3491"/>
              <a:gd name="T27" fmla="*/ 560 h 3482"/>
              <a:gd name="T28" fmla="*/ 484 w 3491"/>
              <a:gd name="T29" fmla="*/ 937 h 3482"/>
              <a:gd name="T30" fmla="*/ 120 w 3491"/>
              <a:gd name="T31" fmla="*/ 1108 h 3482"/>
              <a:gd name="T32" fmla="*/ 277 w 3491"/>
              <a:gd name="T33" fmla="*/ 1448 h 3482"/>
              <a:gd name="T34" fmla="*/ 0 w 3491"/>
              <a:gd name="T35" fmla="*/ 1742 h 3482"/>
              <a:gd name="T36" fmla="*/ 268 w 3491"/>
              <a:gd name="T37" fmla="*/ 1997 h 3482"/>
              <a:gd name="T38" fmla="*/ 117 w 3491"/>
              <a:gd name="T39" fmla="*/ 2373 h 3482"/>
              <a:gd name="T40" fmla="*/ 456 w 3491"/>
              <a:gd name="T41" fmla="*/ 2509 h 3482"/>
              <a:gd name="T42" fmla="*/ 453 w 3491"/>
              <a:gd name="T43" fmla="*/ 2917 h 3482"/>
              <a:gd name="T44" fmla="*/ 814 w 3491"/>
              <a:gd name="T45" fmla="*/ 2919 h 3482"/>
              <a:gd name="T46" fmla="*/ 959 w 3491"/>
              <a:gd name="T47" fmla="*/ 3303 h 3482"/>
              <a:gd name="T48" fmla="*/ 1293 w 3491"/>
              <a:gd name="T49" fmla="*/ 3174 h 3482"/>
              <a:gd name="T50" fmla="*/ 1568 w 3491"/>
              <a:gd name="T51" fmla="*/ 3482 h 3482"/>
              <a:gd name="T52" fmla="*/ 1746 w 3491"/>
              <a:gd name="T53" fmla="*/ 3244 h 3482"/>
              <a:gd name="T54" fmla="*/ 1923 w 3491"/>
              <a:gd name="T55" fmla="*/ 3482 h 3482"/>
              <a:gd name="T56" fmla="*/ 2198 w 3491"/>
              <a:gd name="T57" fmla="*/ 3174 h 3482"/>
              <a:gd name="T58" fmla="*/ 2533 w 3491"/>
              <a:gd name="T59" fmla="*/ 3303 h 3482"/>
              <a:gd name="T60" fmla="*/ 2677 w 3491"/>
              <a:gd name="T61" fmla="*/ 2919 h 3482"/>
              <a:gd name="T62" fmla="*/ 3039 w 3491"/>
              <a:gd name="T63" fmla="*/ 2917 h 3482"/>
              <a:gd name="T64" fmla="*/ 3035 w 3491"/>
              <a:gd name="T65" fmla="*/ 2509 h 3482"/>
              <a:gd name="T66" fmla="*/ 3374 w 3491"/>
              <a:gd name="T67" fmla="*/ 2373 h 3482"/>
              <a:gd name="T68" fmla="*/ 3223 w 3491"/>
              <a:gd name="T69" fmla="*/ 1997 h 3482"/>
              <a:gd name="T70" fmla="*/ 1746 w 3491"/>
              <a:gd name="T71" fmla="*/ 2959 h 3482"/>
              <a:gd name="T72" fmla="*/ 1746 w 3491"/>
              <a:gd name="T73" fmla="*/ 523 h 3482"/>
              <a:gd name="T74" fmla="*/ 1746 w 3491"/>
              <a:gd name="T75" fmla="*/ 2959 h 3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491" h="3482">
                <a:moveTo>
                  <a:pt x="3243" y="1811"/>
                </a:moveTo>
                <a:cubicBezTo>
                  <a:pt x="3491" y="1742"/>
                  <a:pt x="3491" y="1742"/>
                  <a:pt x="3491" y="1742"/>
                </a:cubicBezTo>
                <a:cubicBezTo>
                  <a:pt x="3491" y="1650"/>
                  <a:pt x="3483" y="1559"/>
                  <a:pt x="3469" y="1470"/>
                </a:cubicBezTo>
                <a:cubicBezTo>
                  <a:pt x="3215" y="1448"/>
                  <a:pt x="3215" y="1448"/>
                  <a:pt x="3215" y="1448"/>
                </a:cubicBezTo>
                <a:cubicBezTo>
                  <a:pt x="3202" y="1385"/>
                  <a:pt x="3185" y="1322"/>
                  <a:pt x="3164" y="1262"/>
                </a:cubicBezTo>
                <a:cubicBezTo>
                  <a:pt x="3371" y="1108"/>
                  <a:pt x="3371" y="1108"/>
                  <a:pt x="3371" y="1108"/>
                </a:cubicBezTo>
                <a:cubicBezTo>
                  <a:pt x="3338" y="1024"/>
                  <a:pt x="3298" y="943"/>
                  <a:pt x="3253" y="866"/>
                </a:cubicBezTo>
                <a:cubicBezTo>
                  <a:pt x="3008" y="937"/>
                  <a:pt x="3008" y="937"/>
                  <a:pt x="3008" y="937"/>
                </a:cubicBezTo>
                <a:cubicBezTo>
                  <a:pt x="2972" y="881"/>
                  <a:pt x="2933" y="828"/>
                  <a:pt x="2890" y="778"/>
                </a:cubicBezTo>
                <a:cubicBezTo>
                  <a:pt x="3027" y="560"/>
                  <a:pt x="3027" y="560"/>
                  <a:pt x="3027" y="560"/>
                </a:cubicBezTo>
                <a:cubicBezTo>
                  <a:pt x="2966" y="495"/>
                  <a:pt x="2901" y="434"/>
                  <a:pt x="2831" y="378"/>
                </a:cubicBezTo>
                <a:cubicBezTo>
                  <a:pt x="2627" y="534"/>
                  <a:pt x="2627" y="534"/>
                  <a:pt x="2627" y="534"/>
                </a:cubicBezTo>
                <a:cubicBezTo>
                  <a:pt x="2573" y="494"/>
                  <a:pt x="2516" y="458"/>
                  <a:pt x="2457" y="426"/>
                </a:cubicBezTo>
                <a:cubicBezTo>
                  <a:pt x="2505" y="174"/>
                  <a:pt x="2505" y="174"/>
                  <a:pt x="2505" y="174"/>
                </a:cubicBezTo>
                <a:cubicBezTo>
                  <a:pt x="2426" y="135"/>
                  <a:pt x="2343" y="103"/>
                  <a:pt x="2258" y="76"/>
                </a:cubicBezTo>
                <a:cubicBezTo>
                  <a:pt x="2124" y="295"/>
                  <a:pt x="2124" y="295"/>
                  <a:pt x="2124" y="295"/>
                </a:cubicBezTo>
                <a:cubicBezTo>
                  <a:pt x="2059" y="278"/>
                  <a:pt x="1992" y="266"/>
                  <a:pt x="1924" y="257"/>
                </a:cubicBezTo>
                <a:cubicBezTo>
                  <a:pt x="1878" y="5"/>
                  <a:pt x="1878" y="5"/>
                  <a:pt x="1878" y="5"/>
                </a:cubicBezTo>
                <a:cubicBezTo>
                  <a:pt x="1835" y="2"/>
                  <a:pt x="1790" y="0"/>
                  <a:pt x="1746" y="0"/>
                </a:cubicBezTo>
                <a:cubicBezTo>
                  <a:pt x="1701" y="0"/>
                  <a:pt x="1657" y="2"/>
                  <a:pt x="1613" y="5"/>
                </a:cubicBezTo>
                <a:cubicBezTo>
                  <a:pt x="1567" y="257"/>
                  <a:pt x="1567" y="257"/>
                  <a:pt x="1567" y="257"/>
                </a:cubicBezTo>
                <a:cubicBezTo>
                  <a:pt x="1499" y="266"/>
                  <a:pt x="1432" y="278"/>
                  <a:pt x="1367" y="295"/>
                </a:cubicBezTo>
                <a:cubicBezTo>
                  <a:pt x="1233" y="76"/>
                  <a:pt x="1233" y="76"/>
                  <a:pt x="1233" y="76"/>
                </a:cubicBezTo>
                <a:cubicBezTo>
                  <a:pt x="1148" y="103"/>
                  <a:pt x="1065" y="135"/>
                  <a:pt x="986" y="174"/>
                </a:cubicBezTo>
                <a:cubicBezTo>
                  <a:pt x="1035" y="426"/>
                  <a:pt x="1035" y="426"/>
                  <a:pt x="1035" y="426"/>
                </a:cubicBezTo>
                <a:cubicBezTo>
                  <a:pt x="975" y="458"/>
                  <a:pt x="918" y="494"/>
                  <a:pt x="864" y="534"/>
                </a:cubicBezTo>
                <a:cubicBezTo>
                  <a:pt x="661" y="378"/>
                  <a:pt x="661" y="378"/>
                  <a:pt x="661" y="378"/>
                </a:cubicBezTo>
                <a:cubicBezTo>
                  <a:pt x="591" y="434"/>
                  <a:pt x="525" y="495"/>
                  <a:pt x="465" y="560"/>
                </a:cubicBezTo>
                <a:cubicBezTo>
                  <a:pt x="601" y="778"/>
                  <a:pt x="601" y="778"/>
                  <a:pt x="601" y="778"/>
                </a:cubicBezTo>
                <a:cubicBezTo>
                  <a:pt x="559" y="828"/>
                  <a:pt x="519" y="881"/>
                  <a:pt x="484" y="937"/>
                </a:cubicBezTo>
                <a:cubicBezTo>
                  <a:pt x="238" y="866"/>
                  <a:pt x="238" y="866"/>
                  <a:pt x="238" y="866"/>
                </a:cubicBezTo>
                <a:cubicBezTo>
                  <a:pt x="193" y="943"/>
                  <a:pt x="153" y="1024"/>
                  <a:pt x="120" y="1108"/>
                </a:cubicBezTo>
                <a:cubicBezTo>
                  <a:pt x="327" y="1262"/>
                  <a:pt x="327" y="1262"/>
                  <a:pt x="327" y="1262"/>
                </a:cubicBezTo>
                <a:cubicBezTo>
                  <a:pt x="306" y="1322"/>
                  <a:pt x="290" y="1385"/>
                  <a:pt x="277" y="1448"/>
                </a:cubicBezTo>
                <a:cubicBezTo>
                  <a:pt x="22" y="1470"/>
                  <a:pt x="22" y="1470"/>
                  <a:pt x="22" y="1470"/>
                </a:cubicBezTo>
                <a:cubicBezTo>
                  <a:pt x="8" y="1559"/>
                  <a:pt x="1" y="1650"/>
                  <a:pt x="0" y="1742"/>
                </a:cubicBezTo>
                <a:cubicBezTo>
                  <a:pt x="249" y="1811"/>
                  <a:pt x="249" y="1811"/>
                  <a:pt x="249" y="1811"/>
                </a:cubicBezTo>
                <a:cubicBezTo>
                  <a:pt x="251" y="1874"/>
                  <a:pt x="258" y="1936"/>
                  <a:pt x="268" y="1997"/>
                </a:cubicBezTo>
                <a:cubicBezTo>
                  <a:pt x="39" y="2109"/>
                  <a:pt x="39" y="2109"/>
                  <a:pt x="39" y="2109"/>
                </a:cubicBezTo>
                <a:cubicBezTo>
                  <a:pt x="58" y="2200"/>
                  <a:pt x="84" y="2288"/>
                  <a:pt x="117" y="2373"/>
                </a:cubicBezTo>
                <a:cubicBezTo>
                  <a:pt x="374" y="2348"/>
                  <a:pt x="374" y="2348"/>
                  <a:pt x="374" y="2348"/>
                </a:cubicBezTo>
                <a:cubicBezTo>
                  <a:pt x="398" y="2404"/>
                  <a:pt x="426" y="2457"/>
                  <a:pt x="456" y="2509"/>
                </a:cubicBezTo>
                <a:cubicBezTo>
                  <a:pt x="283" y="2697"/>
                  <a:pt x="283" y="2697"/>
                  <a:pt x="283" y="2697"/>
                </a:cubicBezTo>
                <a:cubicBezTo>
                  <a:pt x="334" y="2775"/>
                  <a:pt x="390" y="2849"/>
                  <a:pt x="453" y="2917"/>
                </a:cubicBezTo>
                <a:cubicBezTo>
                  <a:pt x="683" y="2801"/>
                  <a:pt x="683" y="2801"/>
                  <a:pt x="683" y="2801"/>
                </a:cubicBezTo>
                <a:cubicBezTo>
                  <a:pt x="724" y="2843"/>
                  <a:pt x="768" y="2882"/>
                  <a:pt x="814" y="2919"/>
                </a:cubicBezTo>
                <a:cubicBezTo>
                  <a:pt x="720" y="3157"/>
                  <a:pt x="720" y="3157"/>
                  <a:pt x="720" y="3157"/>
                </a:cubicBezTo>
                <a:cubicBezTo>
                  <a:pt x="795" y="3212"/>
                  <a:pt x="875" y="3261"/>
                  <a:pt x="959" y="3303"/>
                </a:cubicBezTo>
                <a:cubicBezTo>
                  <a:pt x="1131" y="3112"/>
                  <a:pt x="1131" y="3112"/>
                  <a:pt x="1131" y="3112"/>
                </a:cubicBezTo>
                <a:cubicBezTo>
                  <a:pt x="1184" y="3136"/>
                  <a:pt x="1238" y="3157"/>
                  <a:pt x="1293" y="3174"/>
                </a:cubicBezTo>
                <a:cubicBezTo>
                  <a:pt x="1292" y="3431"/>
                  <a:pt x="1292" y="3431"/>
                  <a:pt x="1292" y="3431"/>
                </a:cubicBezTo>
                <a:cubicBezTo>
                  <a:pt x="1381" y="3455"/>
                  <a:pt x="1473" y="3472"/>
                  <a:pt x="1568" y="3482"/>
                </a:cubicBezTo>
                <a:cubicBezTo>
                  <a:pt x="1659" y="3241"/>
                  <a:pt x="1659" y="3241"/>
                  <a:pt x="1659" y="3241"/>
                </a:cubicBezTo>
                <a:cubicBezTo>
                  <a:pt x="1688" y="3243"/>
                  <a:pt x="1717" y="3244"/>
                  <a:pt x="1746" y="3244"/>
                </a:cubicBezTo>
                <a:cubicBezTo>
                  <a:pt x="1775" y="3244"/>
                  <a:pt x="1803" y="3243"/>
                  <a:pt x="1832" y="3241"/>
                </a:cubicBezTo>
                <a:cubicBezTo>
                  <a:pt x="1923" y="3482"/>
                  <a:pt x="1923" y="3482"/>
                  <a:pt x="1923" y="3482"/>
                </a:cubicBezTo>
                <a:cubicBezTo>
                  <a:pt x="2018" y="3472"/>
                  <a:pt x="2110" y="3455"/>
                  <a:pt x="2200" y="3431"/>
                </a:cubicBezTo>
                <a:cubicBezTo>
                  <a:pt x="2198" y="3174"/>
                  <a:pt x="2198" y="3174"/>
                  <a:pt x="2198" y="3174"/>
                </a:cubicBezTo>
                <a:cubicBezTo>
                  <a:pt x="2254" y="3157"/>
                  <a:pt x="2308" y="3136"/>
                  <a:pt x="2360" y="3112"/>
                </a:cubicBezTo>
                <a:cubicBezTo>
                  <a:pt x="2533" y="3303"/>
                  <a:pt x="2533" y="3303"/>
                  <a:pt x="2533" y="3303"/>
                </a:cubicBezTo>
                <a:cubicBezTo>
                  <a:pt x="2616" y="3261"/>
                  <a:pt x="2696" y="3212"/>
                  <a:pt x="2771" y="3157"/>
                </a:cubicBezTo>
                <a:cubicBezTo>
                  <a:pt x="2677" y="2919"/>
                  <a:pt x="2677" y="2919"/>
                  <a:pt x="2677" y="2919"/>
                </a:cubicBezTo>
                <a:cubicBezTo>
                  <a:pt x="2723" y="2882"/>
                  <a:pt x="2767" y="2843"/>
                  <a:pt x="2809" y="2801"/>
                </a:cubicBezTo>
                <a:cubicBezTo>
                  <a:pt x="3039" y="2917"/>
                  <a:pt x="3039" y="2917"/>
                  <a:pt x="3039" y="2917"/>
                </a:cubicBezTo>
                <a:cubicBezTo>
                  <a:pt x="3101" y="2849"/>
                  <a:pt x="3158" y="2775"/>
                  <a:pt x="3209" y="2697"/>
                </a:cubicBezTo>
                <a:cubicBezTo>
                  <a:pt x="3035" y="2509"/>
                  <a:pt x="3035" y="2509"/>
                  <a:pt x="3035" y="2509"/>
                </a:cubicBezTo>
                <a:cubicBezTo>
                  <a:pt x="3066" y="2457"/>
                  <a:pt x="3093" y="2404"/>
                  <a:pt x="3118" y="2348"/>
                </a:cubicBezTo>
                <a:cubicBezTo>
                  <a:pt x="3374" y="2373"/>
                  <a:pt x="3374" y="2373"/>
                  <a:pt x="3374" y="2373"/>
                </a:cubicBezTo>
                <a:cubicBezTo>
                  <a:pt x="3407" y="2288"/>
                  <a:pt x="3434" y="2200"/>
                  <a:pt x="3453" y="2109"/>
                </a:cubicBezTo>
                <a:cubicBezTo>
                  <a:pt x="3223" y="1997"/>
                  <a:pt x="3223" y="1997"/>
                  <a:pt x="3223" y="1997"/>
                </a:cubicBezTo>
                <a:cubicBezTo>
                  <a:pt x="3233" y="1936"/>
                  <a:pt x="3240" y="1874"/>
                  <a:pt x="3243" y="1811"/>
                </a:cubicBezTo>
                <a:close/>
                <a:moveTo>
                  <a:pt x="1746" y="2959"/>
                </a:moveTo>
                <a:cubicBezTo>
                  <a:pt x="1073" y="2959"/>
                  <a:pt x="527" y="2414"/>
                  <a:pt x="527" y="1741"/>
                </a:cubicBezTo>
                <a:cubicBezTo>
                  <a:pt x="527" y="1068"/>
                  <a:pt x="1073" y="523"/>
                  <a:pt x="1746" y="523"/>
                </a:cubicBezTo>
                <a:cubicBezTo>
                  <a:pt x="2418" y="523"/>
                  <a:pt x="2964" y="1068"/>
                  <a:pt x="2964" y="1741"/>
                </a:cubicBezTo>
                <a:cubicBezTo>
                  <a:pt x="2964" y="2414"/>
                  <a:pt x="2418" y="2959"/>
                  <a:pt x="1746" y="295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0" name="Group 9"/>
          <p:cNvGrpSpPr/>
          <p:nvPr/>
        </p:nvGrpSpPr>
        <p:grpSpPr>
          <a:xfrm>
            <a:off x="4787895" y="1800999"/>
            <a:ext cx="709088" cy="709086"/>
            <a:chOff x="4787895" y="1800999"/>
            <a:chExt cx="709088" cy="709086"/>
          </a:xfrm>
        </p:grpSpPr>
        <p:sp>
          <p:nvSpPr>
            <p:cNvPr id="28" name="Oval 27"/>
            <p:cNvSpPr/>
            <p:nvPr/>
          </p:nvSpPr>
          <p:spPr>
            <a:xfrm>
              <a:off x="4787895" y="1800999"/>
              <a:ext cx="709088" cy="70908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4960994" y="1950922"/>
              <a:ext cx="362890" cy="409240"/>
            </a:xfrm>
            <a:custGeom>
              <a:avLst/>
              <a:gdLst>
                <a:gd name="T0" fmla="*/ 1545 w 1826"/>
                <a:gd name="T1" fmla="*/ 1351 h 2057"/>
                <a:gd name="T2" fmla="*/ 1545 w 1826"/>
                <a:gd name="T3" fmla="*/ 706 h 2057"/>
                <a:gd name="T4" fmla="*/ 1778 w 1826"/>
                <a:gd name="T5" fmla="*/ 710 h 2057"/>
                <a:gd name="T6" fmla="*/ 1664 w 1826"/>
                <a:gd name="T7" fmla="*/ 433 h 2057"/>
                <a:gd name="T8" fmla="*/ 1523 w 1826"/>
                <a:gd name="T9" fmla="*/ 514 h 2057"/>
                <a:gd name="T10" fmla="*/ 950 w 1826"/>
                <a:gd name="T11" fmla="*/ 491 h 2057"/>
                <a:gd name="T12" fmla="*/ 1075 w 1826"/>
                <a:gd name="T13" fmla="*/ 162 h 2057"/>
                <a:gd name="T14" fmla="*/ 772 w 1826"/>
                <a:gd name="T15" fmla="*/ 243 h 2057"/>
                <a:gd name="T16" fmla="*/ 465 w 1826"/>
                <a:gd name="T17" fmla="*/ 728 h 2057"/>
                <a:gd name="T18" fmla="*/ 277 w 1826"/>
                <a:gd name="T19" fmla="*/ 481 h 2057"/>
                <a:gd name="T20" fmla="*/ 48 w 1826"/>
                <a:gd name="T21" fmla="*/ 481 h 2057"/>
                <a:gd name="T22" fmla="*/ 162 w 1826"/>
                <a:gd name="T23" fmla="*/ 758 h 2057"/>
                <a:gd name="T24" fmla="*/ 429 w 1826"/>
                <a:gd name="T25" fmla="*/ 792 h 2057"/>
                <a:gd name="T26" fmla="*/ 277 w 1826"/>
                <a:gd name="T27" fmla="*/ 1347 h 2057"/>
                <a:gd name="T28" fmla="*/ 0 w 1826"/>
                <a:gd name="T29" fmla="*/ 1462 h 2057"/>
                <a:gd name="T30" fmla="*/ 277 w 1826"/>
                <a:gd name="T31" fmla="*/ 1577 h 2057"/>
                <a:gd name="T32" fmla="*/ 466 w 1826"/>
                <a:gd name="T33" fmla="*/ 1329 h 2057"/>
                <a:gd name="T34" fmla="*/ 772 w 1826"/>
                <a:gd name="T35" fmla="*/ 1814 h 2057"/>
                <a:gd name="T36" fmla="*/ 1075 w 1826"/>
                <a:gd name="T37" fmla="*/ 1895 h 2057"/>
                <a:gd name="T38" fmla="*/ 950 w 1826"/>
                <a:gd name="T39" fmla="*/ 1567 h 2057"/>
                <a:gd name="T40" fmla="*/ 1523 w 1826"/>
                <a:gd name="T41" fmla="*/ 1543 h 2057"/>
                <a:gd name="T42" fmla="*/ 1778 w 1826"/>
                <a:gd name="T43" fmla="*/ 1577 h 2057"/>
                <a:gd name="T44" fmla="*/ 1664 w 1826"/>
                <a:gd name="T45" fmla="*/ 1300 h 2057"/>
                <a:gd name="T46" fmla="*/ 1663 w 1826"/>
                <a:gd name="T47" fmla="*/ 507 h 2057"/>
                <a:gd name="T48" fmla="*/ 1752 w 1826"/>
                <a:gd name="T49" fmla="*/ 595 h 2057"/>
                <a:gd name="T50" fmla="*/ 1601 w 1826"/>
                <a:gd name="T51" fmla="*/ 658 h 2057"/>
                <a:gd name="T52" fmla="*/ 836 w 1826"/>
                <a:gd name="T53" fmla="*/ 207 h 2057"/>
                <a:gd name="T54" fmla="*/ 1002 w 1826"/>
                <a:gd name="T55" fmla="*/ 162 h 2057"/>
                <a:gd name="T56" fmla="*/ 836 w 1826"/>
                <a:gd name="T57" fmla="*/ 207 h 2057"/>
                <a:gd name="T58" fmla="*/ 100 w 1826"/>
                <a:gd name="T59" fmla="*/ 658 h 2057"/>
                <a:gd name="T60" fmla="*/ 162 w 1826"/>
                <a:gd name="T61" fmla="*/ 507 h 2057"/>
                <a:gd name="T62" fmla="*/ 240 w 1826"/>
                <a:gd name="T63" fmla="*/ 551 h 2057"/>
                <a:gd name="T64" fmla="*/ 239 w 1826"/>
                <a:gd name="T65" fmla="*/ 1507 h 2057"/>
                <a:gd name="T66" fmla="*/ 74 w 1826"/>
                <a:gd name="T67" fmla="*/ 1462 h 2057"/>
                <a:gd name="T68" fmla="*/ 226 w 1826"/>
                <a:gd name="T69" fmla="*/ 1400 h 2057"/>
                <a:gd name="T70" fmla="*/ 990 w 1826"/>
                <a:gd name="T71" fmla="*/ 1851 h 2057"/>
                <a:gd name="T72" fmla="*/ 824 w 1826"/>
                <a:gd name="T73" fmla="*/ 1895 h 2057"/>
                <a:gd name="T74" fmla="*/ 990 w 1826"/>
                <a:gd name="T75" fmla="*/ 1851 h 2057"/>
                <a:gd name="T76" fmla="*/ 502 w 1826"/>
                <a:gd name="T77" fmla="*/ 1266 h 2057"/>
                <a:gd name="T78" fmla="*/ 1324 w 1826"/>
                <a:gd name="T79" fmla="*/ 792 h 2057"/>
                <a:gd name="T80" fmla="*/ 1601 w 1826"/>
                <a:gd name="T81" fmla="*/ 1525 h 2057"/>
                <a:gd name="T82" fmla="*/ 1601 w 1826"/>
                <a:gd name="T83" fmla="*/ 1399 h 2057"/>
                <a:gd name="T84" fmla="*/ 1752 w 1826"/>
                <a:gd name="T85" fmla="*/ 1462 h 2057"/>
                <a:gd name="T86" fmla="*/ 684 w 1826"/>
                <a:gd name="T87" fmla="*/ 1161 h 2057"/>
                <a:gd name="T88" fmla="*/ 1142 w 1826"/>
                <a:gd name="T89" fmla="*/ 896 h 2057"/>
                <a:gd name="T90" fmla="*/ 1069 w 1826"/>
                <a:gd name="T91" fmla="*/ 1119 h 2057"/>
                <a:gd name="T92" fmla="*/ 757 w 1826"/>
                <a:gd name="T93" fmla="*/ 939 h 2057"/>
                <a:gd name="T94" fmla="*/ 1069 w 1826"/>
                <a:gd name="T95" fmla="*/ 1119 h 2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26" h="2057">
                  <a:moveTo>
                    <a:pt x="1664" y="1300"/>
                  </a:moveTo>
                  <a:cubicBezTo>
                    <a:pt x="1620" y="1300"/>
                    <a:pt x="1579" y="1317"/>
                    <a:pt x="1549" y="1347"/>
                  </a:cubicBezTo>
                  <a:cubicBezTo>
                    <a:pt x="1548" y="1348"/>
                    <a:pt x="1547" y="1350"/>
                    <a:pt x="1545" y="1351"/>
                  </a:cubicBezTo>
                  <a:cubicBezTo>
                    <a:pt x="1397" y="1266"/>
                    <a:pt x="1397" y="1266"/>
                    <a:pt x="1397" y="1266"/>
                  </a:cubicBezTo>
                  <a:cubicBezTo>
                    <a:pt x="1397" y="792"/>
                    <a:pt x="1397" y="792"/>
                    <a:pt x="1397" y="792"/>
                  </a:cubicBezTo>
                  <a:cubicBezTo>
                    <a:pt x="1545" y="706"/>
                    <a:pt x="1545" y="706"/>
                    <a:pt x="1545" y="706"/>
                  </a:cubicBezTo>
                  <a:cubicBezTo>
                    <a:pt x="1546" y="707"/>
                    <a:pt x="1547" y="709"/>
                    <a:pt x="1549" y="710"/>
                  </a:cubicBezTo>
                  <a:cubicBezTo>
                    <a:pt x="1579" y="741"/>
                    <a:pt x="1620" y="758"/>
                    <a:pt x="1664" y="758"/>
                  </a:cubicBezTo>
                  <a:cubicBezTo>
                    <a:pt x="1707" y="758"/>
                    <a:pt x="1748" y="741"/>
                    <a:pt x="1778" y="710"/>
                  </a:cubicBezTo>
                  <a:cubicBezTo>
                    <a:pt x="1809" y="680"/>
                    <a:pt x="1826" y="639"/>
                    <a:pt x="1826" y="595"/>
                  </a:cubicBezTo>
                  <a:cubicBezTo>
                    <a:pt x="1826" y="552"/>
                    <a:pt x="1809" y="511"/>
                    <a:pt x="1778" y="481"/>
                  </a:cubicBezTo>
                  <a:cubicBezTo>
                    <a:pt x="1748" y="450"/>
                    <a:pt x="1707" y="433"/>
                    <a:pt x="1664" y="433"/>
                  </a:cubicBezTo>
                  <a:cubicBezTo>
                    <a:pt x="1664" y="433"/>
                    <a:pt x="1664" y="433"/>
                    <a:pt x="1663" y="433"/>
                  </a:cubicBezTo>
                  <a:cubicBezTo>
                    <a:pt x="1620" y="433"/>
                    <a:pt x="1579" y="450"/>
                    <a:pt x="1549" y="481"/>
                  </a:cubicBezTo>
                  <a:cubicBezTo>
                    <a:pt x="1539" y="490"/>
                    <a:pt x="1531" y="501"/>
                    <a:pt x="1523" y="514"/>
                  </a:cubicBezTo>
                  <a:cubicBezTo>
                    <a:pt x="1500" y="553"/>
                    <a:pt x="1496" y="600"/>
                    <a:pt x="1509" y="642"/>
                  </a:cubicBezTo>
                  <a:cubicBezTo>
                    <a:pt x="1360" y="728"/>
                    <a:pt x="1360" y="728"/>
                    <a:pt x="1360" y="728"/>
                  </a:cubicBezTo>
                  <a:cubicBezTo>
                    <a:pt x="950" y="491"/>
                    <a:pt x="950" y="491"/>
                    <a:pt x="950" y="491"/>
                  </a:cubicBezTo>
                  <a:cubicBezTo>
                    <a:pt x="950" y="320"/>
                    <a:pt x="950" y="320"/>
                    <a:pt x="950" y="320"/>
                  </a:cubicBezTo>
                  <a:cubicBezTo>
                    <a:pt x="993" y="310"/>
                    <a:pt x="1031" y="283"/>
                    <a:pt x="1054" y="243"/>
                  </a:cubicBezTo>
                  <a:cubicBezTo>
                    <a:pt x="1068" y="219"/>
                    <a:pt x="1075" y="191"/>
                    <a:pt x="1075" y="162"/>
                  </a:cubicBezTo>
                  <a:cubicBezTo>
                    <a:pt x="1075" y="73"/>
                    <a:pt x="1003" y="0"/>
                    <a:pt x="913" y="0"/>
                  </a:cubicBezTo>
                  <a:cubicBezTo>
                    <a:pt x="823" y="0"/>
                    <a:pt x="751" y="73"/>
                    <a:pt x="751" y="162"/>
                  </a:cubicBezTo>
                  <a:cubicBezTo>
                    <a:pt x="751" y="191"/>
                    <a:pt x="758" y="219"/>
                    <a:pt x="772" y="243"/>
                  </a:cubicBezTo>
                  <a:cubicBezTo>
                    <a:pt x="795" y="283"/>
                    <a:pt x="833" y="310"/>
                    <a:pt x="876" y="320"/>
                  </a:cubicBezTo>
                  <a:cubicBezTo>
                    <a:pt x="876" y="491"/>
                    <a:pt x="876" y="491"/>
                    <a:pt x="876" y="491"/>
                  </a:cubicBezTo>
                  <a:cubicBezTo>
                    <a:pt x="465" y="728"/>
                    <a:pt x="465" y="728"/>
                    <a:pt x="465" y="728"/>
                  </a:cubicBezTo>
                  <a:cubicBezTo>
                    <a:pt x="317" y="646"/>
                    <a:pt x="317" y="646"/>
                    <a:pt x="317" y="646"/>
                  </a:cubicBezTo>
                  <a:cubicBezTo>
                    <a:pt x="331" y="602"/>
                    <a:pt x="326" y="554"/>
                    <a:pt x="303" y="514"/>
                  </a:cubicBezTo>
                  <a:cubicBezTo>
                    <a:pt x="295" y="501"/>
                    <a:pt x="287" y="490"/>
                    <a:pt x="277" y="481"/>
                  </a:cubicBezTo>
                  <a:cubicBezTo>
                    <a:pt x="247" y="450"/>
                    <a:pt x="206" y="433"/>
                    <a:pt x="163" y="433"/>
                  </a:cubicBezTo>
                  <a:cubicBezTo>
                    <a:pt x="162" y="433"/>
                    <a:pt x="162" y="433"/>
                    <a:pt x="162" y="433"/>
                  </a:cubicBezTo>
                  <a:cubicBezTo>
                    <a:pt x="119" y="433"/>
                    <a:pt x="78" y="450"/>
                    <a:pt x="48" y="481"/>
                  </a:cubicBezTo>
                  <a:cubicBezTo>
                    <a:pt x="17" y="511"/>
                    <a:pt x="0" y="552"/>
                    <a:pt x="0" y="595"/>
                  </a:cubicBezTo>
                  <a:cubicBezTo>
                    <a:pt x="0" y="639"/>
                    <a:pt x="17" y="680"/>
                    <a:pt x="48" y="710"/>
                  </a:cubicBezTo>
                  <a:cubicBezTo>
                    <a:pt x="78" y="741"/>
                    <a:pt x="119" y="758"/>
                    <a:pt x="162" y="758"/>
                  </a:cubicBezTo>
                  <a:cubicBezTo>
                    <a:pt x="206" y="758"/>
                    <a:pt x="247" y="741"/>
                    <a:pt x="277" y="710"/>
                  </a:cubicBezTo>
                  <a:cubicBezTo>
                    <a:pt x="278" y="710"/>
                    <a:pt x="278" y="709"/>
                    <a:pt x="278" y="709"/>
                  </a:cubicBezTo>
                  <a:cubicBezTo>
                    <a:pt x="429" y="792"/>
                    <a:pt x="429" y="792"/>
                    <a:pt x="429" y="792"/>
                  </a:cubicBezTo>
                  <a:cubicBezTo>
                    <a:pt x="429" y="1266"/>
                    <a:pt x="429" y="1266"/>
                    <a:pt x="429" y="1266"/>
                  </a:cubicBezTo>
                  <a:cubicBezTo>
                    <a:pt x="281" y="1351"/>
                    <a:pt x="281" y="1351"/>
                    <a:pt x="281" y="1351"/>
                  </a:cubicBezTo>
                  <a:cubicBezTo>
                    <a:pt x="280" y="1350"/>
                    <a:pt x="279" y="1348"/>
                    <a:pt x="277" y="1347"/>
                  </a:cubicBezTo>
                  <a:cubicBezTo>
                    <a:pt x="247" y="1317"/>
                    <a:pt x="206" y="1300"/>
                    <a:pt x="162" y="1300"/>
                  </a:cubicBezTo>
                  <a:cubicBezTo>
                    <a:pt x="119" y="1300"/>
                    <a:pt x="78" y="1317"/>
                    <a:pt x="48" y="1347"/>
                  </a:cubicBezTo>
                  <a:cubicBezTo>
                    <a:pt x="17" y="1378"/>
                    <a:pt x="0" y="1418"/>
                    <a:pt x="0" y="1462"/>
                  </a:cubicBezTo>
                  <a:cubicBezTo>
                    <a:pt x="0" y="1505"/>
                    <a:pt x="17" y="1546"/>
                    <a:pt x="48" y="1577"/>
                  </a:cubicBezTo>
                  <a:cubicBezTo>
                    <a:pt x="79" y="1608"/>
                    <a:pt x="121" y="1624"/>
                    <a:pt x="162" y="1624"/>
                  </a:cubicBezTo>
                  <a:cubicBezTo>
                    <a:pt x="204" y="1624"/>
                    <a:pt x="246" y="1608"/>
                    <a:pt x="277" y="1577"/>
                  </a:cubicBezTo>
                  <a:cubicBezTo>
                    <a:pt x="288" y="1567"/>
                    <a:pt x="296" y="1555"/>
                    <a:pt x="303" y="1543"/>
                  </a:cubicBezTo>
                  <a:cubicBezTo>
                    <a:pt x="326" y="1504"/>
                    <a:pt x="330" y="1457"/>
                    <a:pt x="318" y="1415"/>
                  </a:cubicBezTo>
                  <a:cubicBezTo>
                    <a:pt x="466" y="1329"/>
                    <a:pt x="466" y="1329"/>
                    <a:pt x="466" y="1329"/>
                  </a:cubicBezTo>
                  <a:cubicBezTo>
                    <a:pt x="876" y="1567"/>
                    <a:pt x="876" y="1567"/>
                    <a:pt x="876" y="1567"/>
                  </a:cubicBezTo>
                  <a:cubicBezTo>
                    <a:pt x="876" y="1738"/>
                    <a:pt x="876" y="1738"/>
                    <a:pt x="876" y="1738"/>
                  </a:cubicBezTo>
                  <a:cubicBezTo>
                    <a:pt x="833" y="1748"/>
                    <a:pt x="795" y="1775"/>
                    <a:pt x="772" y="1814"/>
                  </a:cubicBezTo>
                  <a:cubicBezTo>
                    <a:pt x="758" y="1839"/>
                    <a:pt x="751" y="1867"/>
                    <a:pt x="751" y="1895"/>
                  </a:cubicBezTo>
                  <a:cubicBezTo>
                    <a:pt x="751" y="1985"/>
                    <a:pt x="823" y="2057"/>
                    <a:pt x="913" y="2057"/>
                  </a:cubicBezTo>
                  <a:cubicBezTo>
                    <a:pt x="1003" y="2057"/>
                    <a:pt x="1075" y="1985"/>
                    <a:pt x="1075" y="1895"/>
                  </a:cubicBezTo>
                  <a:cubicBezTo>
                    <a:pt x="1075" y="1867"/>
                    <a:pt x="1068" y="1839"/>
                    <a:pt x="1054" y="1814"/>
                  </a:cubicBezTo>
                  <a:cubicBezTo>
                    <a:pt x="1031" y="1775"/>
                    <a:pt x="993" y="1748"/>
                    <a:pt x="950" y="1738"/>
                  </a:cubicBezTo>
                  <a:cubicBezTo>
                    <a:pt x="950" y="1567"/>
                    <a:pt x="950" y="1567"/>
                    <a:pt x="950" y="1567"/>
                  </a:cubicBezTo>
                  <a:cubicBezTo>
                    <a:pt x="1360" y="1329"/>
                    <a:pt x="1360" y="1329"/>
                    <a:pt x="1360" y="1329"/>
                  </a:cubicBezTo>
                  <a:cubicBezTo>
                    <a:pt x="1509" y="1415"/>
                    <a:pt x="1509" y="1415"/>
                    <a:pt x="1509" y="1415"/>
                  </a:cubicBezTo>
                  <a:cubicBezTo>
                    <a:pt x="1496" y="1457"/>
                    <a:pt x="1500" y="1504"/>
                    <a:pt x="1523" y="1543"/>
                  </a:cubicBezTo>
                  <a:cubicBezTo>
                    <a:pt x="1530" y="1555"/>
                    <a:pt x="1538" y="1567"/>
                    <a:pt x="1549" y="1577"/>
                  </a:cubicBezTo>
                  <a:cubicBezTo>
                    <a:pt x="1580" y="1608"/>
                    <a:pt x="1622" y="1624"/>
                    <a:pt x="1663" y="1624"/>
                  </a:cubicBezTo>
                  <a:cubicBezTo>
                    <a:pt x="1705" y="1624"/>
                    <a:pt x="1746" y="1608"/>
                    <a:pt x="1778" y="1577"/>
                  </a:cubicBezTo>
                  <a:cubicBezTo>
                    <a:pt x="1809" y="1546"/>
                    <a:pt x="1826" y="1505"/>
                    <a:pt x="1826" y="1462"/>
                  </a:cubicBezTo>
                  <a:cubicBezTo>
                    <a:pt x="1826" y="1418"/>
                    <a:pt x="1809" y="1378"/>
                    <a:pt x="1778" y="1348"/>
                  </a:cubicBezTo>
                  <a:cubicBezTo>
                    <a:pt x="1748" y="1317"/>
                    <a:pt x="1707" y="1300"/>
                    <a:pt x="1664" y="1300"/>
                  </a:cubicBezTo>
                  <a:close/>
                  <a:moveTo>
                    <a:pt x="1586" y="551"/>
                  </a:moveTo>
                  <a:cubicBezTo>
                    <a:pt x="1591" y="544"/>
                    <a:pt x="1595" y="538"/>
                    <a:pt x="1601" y="533"/>
                  </a:cubicBezTo>
                  <a:cubicBezTo>
                    <a:pt x="1617" y="516"/>
                    <a:pt x="1640" y="507"/>
                    <a:pt x="1663" y="507"/>
                  </a:cubicBezTo>
                  <a:cubicBezTo>
                    <a:pt x="1664" y="507"/>
                    <a:pt x="1664" y="507"/>
                    <a:pt x="1664" y="507"/>
                  </a:cubicBezTo>
                  <a:cubicBezTo>
                    <a:pt x="1687" y="507"/>
                    <a:pt x="1709" y="516"/>
                    <a:pt x="1726" y="533"/>
                  </a:cubicBezTo>
                  <a:cubicBezTo>
                    <a:pt x="1743" y="549"/>
                    <a:pt x="1752" y="572"/>
                    <a:pt x="1752" y="595"/>
                  </a:cubicBezTo>
                  <a:cubicBezTo>
                    <a:pt x="1752" y="619"/>
                    <a:pt x="1743" y="641"/>
                    <a:pt x="1726" y="658"/>
                  </a:cubicBezTo>
                  <a:cubicBezTo>
                    <a:pt x="1726" y="658"/>
                    <a:pt x="1726" y="658"/>
                    <a:pt x="1726" y="658"/>
                  </a:cubicBezTo>
                  <a:cubicBezTo>
                    <a:pt x="1693" y="692"/>
                    <a:pt x="1634" y="692"/>
                    <a:pt x="1601" y="658"/>
                  </a:cubicBezTo>
                  <a:cubicBezTo>
                    <a:pt x="1595" y="653"/>
                    <a:pt x="1590" y="647"/>
                    <a:pt x="1587" y="640"/>
                  </a:cubicBezTo>
                  <a:cubicBezTo>
                    <a:pt x="1571" y="612"/>
                    <a:pt x="1571" y="578"/>
                    <a:pt x="1586" y="551"/>
                  </a:cubicBezTo>
                  <a:close/>
                  <a:moveTo>
                    <a:pt x="836" y="207"/>
                  </a:moveTo>
                  <a:cubicBezTo>
                    <a:pt x="828" y="193"/>
                    <a:pt x="824" y="178"/>
                    <a:pt x="824" y="162"/>
                  </a:cubicBezTo>
                  <a:cubicBezTo>
                    <a:pt x="824" y="113"/>
                    <a:pt x="864" y="73"/>
                    <a:pt x="913" y="73"/>
                  </a:cubicBezTo>
                  <a:cubicBezTo>
                    <a:pt x="962" y="73"/>
                    <a:pt x="1002" y="113"/>
                    <a:pt x="1002" y="162"/>
                  </a:cubicBezTo>
                  <a:cubicBezTo>
                    <a:pt x="1002" y="178"/>
                    <a:pt x="998" y="193"/>
                    <a:pt x="990" y="207"/>
                  </a:cubicBezTo>
                  <a:cubicBezTo>
                    <a:pt x="974" y="234"/>
                    <a:pt x="945" y="251"/>
                    <a:pt x="913" y="251"/>
                  </a:cubicBezTo>
                  <a:cubicBezTo>
                    <a:pt x="881" y="251"/>
                    <a:pt x="852" y="234"/>
                    <a:pt x="836" y="207"/>
                  </a:cubicBezTo>
                  <a:close/>
                  <a:moveTo>
                    <a:pt x="238" y="642"/>
                  </a:moveTo>
                  <a:cubicBezTo>
                    <a:pt x="235" y="648"/>
                    <a:pt x="230" y="653"/>
                    <a:pt x="225" y="658"/>
                  </a:cubicBezTo>
                  <a:cubicBezTo>
                    <a:pt x="192" y="692"/>
                    <a:pt x="133" y="692"/>
                    <a:pt x="100" y="658"/>
                  </a:cubicBezTo>
                  <a:cubicBezTo>
                    <a:pt x="83" y="641"/>
                    <a:pt x="74" y="619"/>
                    <a:pt x="74" y="595"/>
                  </a:cubicBezTo>
                  <a:cubicBezTo>
                    <a:pt x="74" y="572"/>
                    <a:pt x="83" y="550"/>
                    <a:pt x="100" y="533"/>
                  </a:cubicBezTo>
                  <a:cubicBezTo>
                    <a:pt x="117" y="516"/>
                    <a:pt x="139" y="507"/>
                    <a:pt x="162" y="507"/>
                  </a:cubicBezTo>
                  <a:cubicBezTo>
                    <a:pt x="162" y="507"/>
                    <a:pt x="162" y="507"/>
                    <a:pt x="163" y="507"/>
                  </a:cubicBezTo>
                  <a:cubicBezTo>
                    <a:pt x="186" y="507"/>
                    <a:pt x="209" y="516"/>
                    <a:pt x="225" y="533"/>
                  </a:cubicBezTo>
                  <a:cubicBezTo>
                    <a:pt x="231" y="538"/>
                    <a:pt x="235" y="544"/>
                    <a:pt x="240" y="551"/>
                  </a:cubicBezTo>
                  <a:cubicBezTo>
                    <a:pt x="256" y="579"/>
                    <a:pt x="255" y="614"/>
                    <a:pt x="238" y="642"/>
                  </a:cubicBezTo>
                  <a:close/>
                  <a:moveTo>
                    <a:pt x="239" y="1506"/>
                  </a:moveTo>
                  <a:cubicBezTo>
                    <a:pt x="239" y="1507"/>
                    <a:pt x="239" y="1507"/>
                    <a:pt x="239" y="1507"/>
                  </a:cubicBezTo>
                  <a:cubicBezTo>
                    <a:pt x="236" y="1513"/>
                    <a:pt x="231" y="1519"/>
                    <a:pt x="226" y="1525"/>
                  </a:cubicBezTo>
                  <a:cubicBezTo>
                    <a:pt x="191" y="1559"/>
                    <a:pt x="134" y="1559"/>
                    <a:pt x="100" y="1525"/>
                  </a:cubicBezTo>
                  <a:cubicBezTo>
                    <a:pt x="83" y="1508"/>
                    <a:pt x="74" y="1486"/>
                    <a:pt x="74" y="1462"/>
                  </a:cubicBezTo>
                  <a:cubicBezTo>
                    <a:pt x="74" y="1438"/>
                    <a:pt x="83" y="1416"/>
                    <a:pt x="100" y="1399"/>
                  </a:cubicBezTo>
                  <a:cubicBezTo>
                    <a:pt x="117" y="1382"/>
                    <a:pt x="139" y="1373"/>
                    <a:pt x="162" y="1373"/>
                  </a:cubicBezTo>
                  <a:cubicBezTo>
                    <a:pt x="186" y="1373"/>
                    <a:pt x="209" y="1383"/>
                    <a:pt x="226" y="1400"/>
                  </a:cubicBezTo>
                  <a:cubicBezTo>
                    <a:pt x="231" y="1405"/>
                    <a:pt x="236" y="1411"/>
                    <a:pt x="239" y="1417"/>
                  </a:cubicBezTo>
                  <a:cubicBezTo>
                    <a:pt x="255" y="1445"/>
                    <a:pt x="255" y="1479"/>
                    <a:pt x="239" y="1506"/>
                  </a:cubicBezTo>
                  <a:close/>
                  <a:moveTo>
                    <a:pt x="990" y="1851"/>
                  </a:moveTo>
                  <a:cubicBezTo>
                    <a:pt x="998" y="1865"/>
                    <a:pt x="1002" y="1880"/>
                    <a:pt x="1002" y="1895"/>
                  </a:cubicBezTo>
                  <a:cubicBezTo>
                    <a:pt x="1002" y="1944"/>
                    <a:pt x="962" y="1984"/>
                    <a:pt x="913" y="1984"/>
                  </a:cubicBezTo>
                  <a:cubicBezTo>
                    <a:pt x="864" y="1984"/>
                    <a:pt x="824" y="1944"/>
                    <a:pt x="824" y="1895"/>
                  </a:cubicBezTo>
                  <a:cubicBezTo>
                    <a:pt x="824" y="1880"/>
                    <a:pt x="828" y="1865"/>
                    <a:pt x="836" y="1851"/>
                  </a:cubicBezTo>
                  <a:cubicBezTo>
                    <a:pt x="852" y="1824"/>
                    <a:pt x="881" y="1806"/>
                    <a:pt x="913" y="1806"/>
                  </a:cubicBezTo>
                  <a:cubicBezTo>
                    <a:pt x="945" y="1806"/>
                    <a:pt x="974" y="1824"/>
                    <a:pt x="990" y="1851"/>
                  </a:cubicBezTo>
                  <a:close/>
                  <a:moveTo>
                    <a:pt x="1324" y="1266"/>
                  </a:moveTo>
                  <a:cubicBezTo>
                    <a:pt x="913" y="1503"/>
                    <a:pt x="913" y="1503"/>
                    <a:pt x="913" y="1503"/>
                  </a:cubicBezTo>
                  <a:cubicBezTo>
                    <a:pt x="502" y="1266"/>
                    <a:pt x="502" y="1266"/>
                    <a:pt x="502" y="1266"/>
                  </a:cubicBezTo>
                  <a:cubicBezTo>
                    <a:pt x="502" y="792"/>
                    <a:pt x="502" y="792"/>
                    <a:pt x="502" y="792"/>
                  </a:cubicBezTo>
                  <a:cubicBezTo>
                    <a:pt x="913" y="554"/>
                    <a:pt x="913" y="554"/>
                    <a:pt x="913" y="554"/>
                  </a:cubicBezTo>
                  <a:cubicBezTo>
                    <a:pt x="1324" y="792"/>
                    <a:pt x="1324" y="792"/>
                    <a:pt x="1324" y="792"/>
                  </a:cubicBezTo>
                  <a:lnTo>
                    <a:pt x="1324" y="1266"/>
                  </a:lnTo>
                  <a:close/>
                  <a:moveTo>
                    <a:pt x="1726" y="1525"/>
                  </a:moveTo>
                  <a:cubicBezTo>
                    <a:pt x="1692" y="1559"/>
                    <a:pt x="1635" y="1559"/>
                    <a:pt x="1601" y="1525"/>
                  </a:cubicBezTo>
                  <a:cubicBezTo>
                    <a:pt x="1595" y="1519"/>
                    <a:pt x="1590" y="1513"/>
                    <a:pt x="1587" y="1506"/>
                  </a:cubicBezTo>
                  <a:cubicBezTo>
                    <a:pt x="1571" y="1479"/>
                    <a:pt x="1571" y="1445"/>
                    <a:pt x="1587" y="1417"/>
                  </a:cubicBezTo>
                  <a:cubicBezTo>
                    <a:pt x="1590" y="1411"/>
                    <a:pt x="1595" y="1405"/>
                    <a:pt x="1601" y="1399"/>
                  </a:cubicBezTo>
                  <a:cubicBezTo>
                    <a:pt x="1617" y="1383"/>
                    <a:pt x="1640" y="1373"/>
                    <a:pt x="1664" y="1373"/>
                  </a:cubicBezTo>
                  <a:cubicBezTo>
                    <a:pt x="1687" y="1373"/>
                    <a:pt x="1710" y="1383"/>
                    <a:pt x="1726" y="1399"/>
                  </a:cubicBezTo>
                  <a:cubicBezTo>
                    <a:pt x="1743" y="1416"/>
                    <a:pt x="1752" y="1438"/>
                    <a:pt x="1752" y="1462"/>
                  </a:cubicBezTo>
                  <a:cubicBezTo>
                    <a:pt x="1752" y="1486"/>
                    <a:pt x="1743" y="1508"/>
                    <a:pt x="1726" y="1525"/>
                  </a:cubicBezTo>
                  <a:close/>
                  <a:moveTo>
                    <a:pt x="684" y="896"/>
                  </a:moveTo>
                  <a:cubicBezTo>
                    <a:pt x="684" y="1161"/>
                    <a:pt x="684" y="1161"/>
                    <a:pt x="684" y="1161"/>
                  </a:cubicBezTo>
                  <a:cubicBezTo>
                    <a:pt x="913" y="1293"/>
                    <a:pt x="913" y="1293"/>
                    <a:pt x="913" y="1293"/>
                  </a:cubicBezTo>
                  <a:cubicBezTo>
                    <a:pt x="1142" y="1161"/>
                    <a:pt x="1142" y="1161"/>
                    <a:pt x="1142" y="1161"/>
                  </a:cubicBezTo>
                  <a:cubicBezTo>
                    <a:pt x="1142" y="896"/>
                    <a:pt x="1142" y="896"/>
                    <a:pt x="1142" y="896"/>
                  </a:cubicBezTo>
                  <a:cubicBezTo>
                    <a:pt x="913" y="764"/>
                    <a:pt x="913" y="764"/>
                    <a:pt x="913" y="764"/>
                  </a:cubicBezTo>
                  <a:lnTo>
                    <a:pt x="684" y="896"/>
                  </a:lnTo>
                  <a:close/>
                  <a:moveTo>
                    <a:pt x="1069" y="1119"/>
                  </a:moveTo>
                  <a:cubicBezTo>
                    <a:pt x="913" y="1209"/>
                    <a:pt x="913" y="1209"/>
                    <a:pt x="913" y="1209"/>
                  </a:cubicBezTo>
                  <a:cubicBezTo>
                    <a:pt x="757" y="1119"/>
                    <a:pt x="757" y="1119"/>
                    <a:pt x="757" y="1119"/>
                  </a:cubicBezTo>
                  <a:cubicBezTo>
                    <a:pt x="757" y="939"/>
                    <a:pt x="757" y="939"/>
                    <a:pt x="757" y="939"/>
                  </a:cubicBezTo>
                  <a:cubicBezTo>
                    <a:pt x="913" y="849"/>
                    <a:pt x="913" y="849"/>
                    <a:pt x="913" y="849"/>
                  </a:cubicBezTo>
                  <a:cubicBezTo>
                    <a:pt x="1069" y="939"/>
                    <a:pt x="1069" y="939"/>
                    <a:pt x="1069" y="939"/>
                  </a:cubicBezTo>
                  <a:lnTo>
                    <a:pt x="1069" y="11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532568" y="2213776"/>
            <a:ext cx="732516" cy="732514"/>
            <a:chOff x="3532568" y="2213776"/>
            <a:chExt cx="732516" cy="732514"/>
          </a:xfrm>
        </p:grpSpPr>
        <p:sp>
          <p:nvSpPr>
            <p:cNvPr id="27" name="Oval 26"/>
            <p:cNvSpPr/>
            <p:nvPr/>
          </p:nvSpPr>
          <p:spPr>
            <a:xfrm>
              <a:off x="3532568" y="2213776"/>
              <a:ext cx="732516" cy="73251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737644" y="2398597"/>
              <a:ext cx="322364" cy="362872"/>
            </a:xfrm>
            <a:custGeom>
              <a:avLst/>
              <a:gdLst>
                <a:gd name="T0" fmla="*/ 1642 w 1767"/>
                <a:gd name="T1" fmla="*/ 570 h 1991"/>
                <a:gd name="T2" fmla="*/ 1550 w 1767"/>
                <a:gd name="T3" fmla="*/ 263 h 1991"/>
                <a:gd name="T4" fmla="*/ 1618 w 1767"/>
                <a:gd name="T5" fmla="*/ 226 h 1991"/>
                <a:gd name="T6" fmla="*/ 1581 w 1767"/>
                <a:gd name="T7" fmla="*/ 0 h 1991"/>
                <a:gd name="T8" fmla="*/ 1108 w 1767"/>
                <a:gd name="T9" fmla="*/ 37 h 1991"/>
                <a:gd name="T10" fmla="*/ 1144 w 1767"/>
                <a:gd name="T11" fmla="*/ 263 h 1991"/>
                <a:gd name="T12" fmla="*/ 1176 w 1767"/>
                <a:gd name="T13" fmla="*/ 570 h 1991"/>
                <a:gd name="T14" fmla="*/ 1047 w 1767"/>
                <a:gd name="T15" fmla="*/ 604 h 1991"/>
                <a:gd name="T16" fmla="*/ 729 w 1767"/>
                <a:gd name="T17" fmla="*/ 754 h 1991"/>
                <a:gd name="T18" fmla="*/ 683 w 1767"/>
                <a:gd name="T19" fmla="*/ 570 h 1991"/>
                <a:gd name="T20" fmla="*/ 591 w 1767"/>
                <a:gd name="T21" fmla="*/ 263 h 1991"/>
                <a:gd name="T22" fmla="*/ 659 w 1767"/>
                <a:gd name="T23" fmla="*/ 226 h 1991"/>
                <a:gd name="T24" fmla="*/ 622 w 1767"/>
                <a:gd name="T25" fmla="*/ 0 h 1991"/>
                <a:gd name="T26" fmla="*/ 149 w 1767"/>
                <a:gd name="T27" fmla="*/ 37 h 1991"/>
                <a:gd name="T28" fmla="*/ 185 w 1767"/>
                <a:gd name="T29" fmla="*/ 263 h 1991"/>
                <a:gd name="T30" fmla="*/ 217 w 1767"/>
                <a:gd name="T31" fmla="*/ 570 h 1991"/>
                <a:gd name="T32" fmla="*/ 88 w 1767"/>
                <a:gd name="T33" fmla="*/ 604 h 1991"/>
                <a:gd name="T34" fmla="*/ 10 w 1767"/>
                <a:gd name="T35" fmla="*/ 1979 h 1991"/>
                <a:gd name="T36" fmla="*/ 771 w 1767"/>
                <a:gd name="T37" fmla="*/ 1991 h 1991"/>
                <a:gd name="T38" fmla="*/ 807 w 1767"/>
                <a:gd name="T39" fmla="*/ 1952 h 1991"/>
                <a:gd name="T40" fmla="*/ 1019 w 1767"/>
                <a:gd name="T41" fmla="*/ 1040 h 1991"/>
                <a:gd name="T42" fmla="*/ 969 w 1767"/>
                <a:gd name="T43" fmla="*/ 1979 h 1991"/>
                <a:gd name="T44" fmla="*/ 1730 w 1767"/>
                <a:gd name="T45" fmla="*/ 1991 h 1991"/>
                <a:gd name="T46" fmla="*/ 1766 w 1767"/>
                <a:gd name="T47" fmla="*/ 1952 h 1991"/>
                <a:gd name="T48" fmla="*/ 1076 w 1767"/>
                <a:gd name="T49" fmla="*/ 1283 h 1991"/>
                <a:gd name="T50" fmla="*/ 1660 w 1767"/>
                <a:gd name="T51" fmla="*/ 1434 h 1991"/>
                <a:gd name="T52" fmla="*/ 1076 w 1767"/>
                <a:gd name="T53" fmla="*/ 1283 h 1991"/>
                <a:gd name="T54" fmla="*/ 1545 w 1767"/>
                <a:gd name="T55" fmla="*/ 73 h 1991"/>
                <a:gd name="T56" fmla="*/ 1513 w 1767"/>
                <a:gd name="T57" fmla="*/ 190 h 1991"/>
                <a:gd name="T58" fmla="*/ 1180 w 1767"/>
                <a:gd name="T59" fmla="*/ 190 h 1991"/>
                <a:gd name="T60" fmla="*/ 1248 w 1767"/>
                <a:gd name="T61" fmla="*/ 263 h 1991"/>
                <a:gd name="T62" fmla="*/ 1477 w 1767"/>
                <a:gd name="T63" fmla="*/ 570 h 1991"/>
                <a:gd name="T64" fmla="*/ 1248 w 1767"/>
                <a:gd name="T65" fmla="*/ 263 h 1991"/>
                <a:gd name="T66" fmla="*/ 1513 w 1767"/>
                <a:gd name="T67" fmla="*/ 642 h 1991"/>
                <a:gd name="T68" fmla="*/ 1645 w 1767"/>
                <a:gd name="T69" fmla="*/ 1210 h 1991"/>
                <a:gd name="T70" fmla="*/ 1117 w 1767"/>
                <a:gd name="T71" fmla="*/ 642 h 1991"/>
                <a:gd name="T72" fmla="*/ 221 w 1767"/>
                <a:gd name="T73" fmla="*/ 73 h 1991"/>
                <a:gd name="T74" fmla="*/ 586 w 1767"/>
                <a:gd name="T75" fmla="*/ 190 h 1991"/>
                <a:gd name="T76" fmla="*/ 253 w 1767"/>
                <a:gd name="T77" fmla="*/ 190 h 1991"/>
                <a:gd name="T78" fmla="*/ 221 w 1767"/>
                <a:gd name="T79" fmla="*/ 73 h 1991"/>
                <a:gd name="T80" fmla="*/ 518 w 1767"/>
                <a:gd name="T81" fmla="*/ 263 h 1991"/>
                <a:gd name="T82" fmla="*/ 289 w 1767"/>
                <a:gd name="T83" fmla="*/ 570 h 1991"/>
                <a:gd name="T84" fmla="*/ 158 w 1767"/>
                <a:gd name="T85" fmla="*/ 642 h 1991"/>
                <a:gd name="T86" fmla="*/ 554 w 1767"/>
                <a:gd name="T87" fmla="*/ 642 h 1991"/>
                <a:gd name="T88" fmla="*/ 686 w 1767"/>
                <a:gd name="T89" fmla="*/ 1210 h 1991"/>
                <a:gd name="T90" fmla="*/ 158 w 1767"/>
                <a:gd name="T91" fmla="*/ 642 h 1991"/>
                <a:gd name="T92" fmla="*/ 691 w 1767"/>
                <a:gd name="T93" fmla="*/ 1283 h 1991"/>
                <a:gd name="T94" fmla="*/ 107 w 1767"/>
                <a:gd name="T95" fmla="*/ 1434 h 1991"/>
                <a:gd name="T96" fmla="*/ 75 w 1767"/>
                <a:gd name="T97" fmla="*/ 1918 h 1991"/>
                <a:gd name="T98" fmla="*/ 706 w 1767"/>
                <a:gd name="T99" fmla="*/ 1506 h 1991"/>
                <a:gd name="T100" fmla="*/ 75 w 1767"/>
                <a:gd name="T101" fmla="*/ 1918 h 1991"/>
                <a:gd name="T102" fmla="*/ 734 w 1767"/>
                <a:gd name="T103" fmla="*/ 826 h 1991"/>
                <a:gd name="T104" fmla="*/ 1024 w 1767"/>
                <a:gd name="T105" fmla="*/ 967 h 1991"/>
                <a:gd name="T106" fmla="*/ 1034 w 1767"/>
                <a:gd name="T107" fmla="*/ 1918 h 1991"/>
                <a:gd name="T108" fmla="*/ 1665 w 1767"/>
                <a:gd name="T109" fmla="*/ 1506 h 1991"/>
                <a:gd name="T110" fmla="*/ 1034 w 1767"/>
                <a:gd name="T111" fmla="*/ 1918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67" h="1991">
                  <a:moveTo>
                    <a:pt x="1678" y="604"/>
                  </a:moveTo>
                  <a:cubicBezTo>
                    <a:pt x="1677" y="585"/>
                    <a:pt x="1661" y="570"/>
                    <a:pt x="1642" y="570"/>
                  </a:cubicBezTo>
                  <a:cubicBezTo>
                    <a:pt x="1550" y="570"/>
                    <a:pt x="1550" y="570"/>
                    <a:pt x="1550" y="570"/>
                  </a:cubicBezTo>
                  <a:cubicBezTo>
                    <a:pt x="1550" y="263"/>
                    <a:pt x="1550" y="263"/>
                    <a:pt x="1550" y="263"/>
                  </a:cubicBezTo>
                  <a:cubicBezTo>
                    <a:pt x="1581" y="263"/>
                    <a:pt x="1581" y="263"/>
                    <a:pt x="1581" y="263"/>
                  </a:cubicBezTo>
                  <a:cubicBezTo>
                    <a:pt x="1601" y="263"/>
                    <a:pt x="1618" y="246"/>
                    <a:pt x="1618" y="226"/>
                  </a:cubicBezTo>
                  <a:cubicBezTo>
                    <a:pt x="1618" y="37"/>
                    <a:pt x="1618" y="37"/>
                    <a:pt x="1618" y="37"/>
                  </a:cubicBezTo>
                  <a:cubicBezTo>
                    <a:pt x="1618" y="17"/>
                    <a:pt x="1601" y="0"/>
                    <a:pt x="1581" y="0"/>
                  </a:cubicBezTo>
                  <a:cubicBezTo>
                    <a:pt x="1144" y="0"/>
                    <a:pt x="1144" y="0"/>
                    <a:pt x="1144" y="0"/>
                  </a:cubicBezTo>
                  <a:cubicBezTo>
                    <a:pt x="1124" y="0"/>
                    <a:pt x="1108" y="17"/>
                    <a:pt x="1108" y="37"/>
                  </a:cubicBezTo>
                  <a:cubicBezTo>
                    <a:pt x="1108" y="226"/>
                    <a:pt x="1108" y="226"/>
                    <a:pt x="1108" y="226"/>
                  </a:cubicBezTo>
                  <a:cubicBezTo>
                    <a:pt x="1108" y="246"/>
                    <a:pt x="1124" y="263"/>
                    <a:pt x="1144" y="263"/>
                  </a:cubicBezTo>
                  <a:cubicBezTo>
                    <a:pt x="1176" y="263"/>
                    <a:pt x="1176" y="263"/>
                    <a:pt x="1176" y="263"/>
                  </a:cubicBezTo>
                  <a:cubicBezTo>
                    <a:pt x="1176" y="570"/>
                    <a:pt x="1176" y="570"/>
                    <a:pt x="1176" y="570"/>
                  </a:cubicBezTo>
                  <a:cubicBezTo>
                    <a:pt x="1083" y="570"/>
                    <a:pt x="1083" y="570"/>
                    <a:pt x="1083" y="570"/>
                  </a:cubicBezTo>
                  <a:cubicBezTo>
                    <a:pt x="1064" y="570"/>
                    <a:pt x="1048" y="585"/>
                    <a:pt x="1047" y="604"/>
                  </a:cubicBezTo>
                  <a:cubicBezTo>
                    <a:pt x="1037" y="754"/>
                    <a:pt x="1037" y="754"/>
                    <a:pt x="1037" y="754"/>
                  </a:cubicBezTo>
                  <a:cubicBezTo>
                    <a:pt x="729" y="754"/>
                    <a:pt x="729" y="754"/>
                    <a:pt x="729" y="754"/>
                  </a:cubicBezTo>
                  <a:cubicBezTo>
                    <a:pt x="719" y="604"/>
                    <a:pt x="719" y="604"/>
                    <a:pt x="719" y="604"/>
                  </a:cubicBezTo>
                  <a:cubicBezTo>
                    <a:pt x="718" y="585"/>
                    <a:pt x="702" y="570"/>
                    <a:pt x="683" y="570"/>
                  </a:cubicBezTo>
                  <a:cubicBezTo>
                    <a:pt x="591" y="570"/>
                    <a:pt x="591" y="570"/>
                    <a:pt x="591" y="570"/>
                  </a:cubicBezTo>
                  <a:cubicBezTo>
                    <a:pt x="591" y="263"/>
                    <a:pt x="591" y="263"/>
                    <a:pt x="591" y="263"/>
                  </a:cubicBezTo>
                  <a:cubicBezTo>
                    <a:pt x="622" y="263"/>
                    <a:pt x="622" y="263"/>
                    <a:pt x="622" y="263"/>
                  </a:cubicBezTo>
                  <a:cubicBezTo>
                    <a:pt x="642" y="263"/>
                    <a:pt x="659" y="246"/>
                    <a:pt x="659" y="226"/>
                  </a:cubicBezTo>
                  <a:cubicBezTo>
                    <a:pt x="659" y="37"/>
                    <a:pt x="659" y="37"/>
                    <a:pt x="659" y="37"/>
                  </a:cubicBezTo>
                  <a:cubicBezTo>
                    <a:pt x="659" y="17"/>
                    <a:pt x="642" y="0"/>
                    <a:pt x="62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165" y="0"/>
                    <a:pt x="149" y="17"/>
                    <a:pt x="149" y="37"/>
                  </a:cubicBezTo>
                  <a:cubicBezTo>
                    <a:pt x="149" y="226"/>
                    <a:pt x="149" y="226"/>
                    <a:pt x="149" y="226"/>
                  </a:cubicBezTo>
                  <a:cubicBezTo>
                    <a:pt x="149" y="246"/>
                    <a:pt x="165" y="263"/>
                    <a:pt x="185" y="263"/>
                  </a:cubicBezTo>
                  <a:cubicBezTo>
                    <a:pt x="217" y="263"/>
                    <a:pt x="217" y="263"/>
                    <a:pt x="217" y="263"/>
                  </a:cubicBezTo>
                  <a:cubicBezTo>
                    <a:pt x="217" y="570"/>
                    <a:pt x="217" y="570"/>
                    <a:pt x="217" y="570"/>
                  </a:cubicBezTo>
                  <a:cubicBezTo>
                    <a:pt x="124" y="570"/>
                    <a:pt x="124" y="570"/>
                    <a:pt x="124" y="570"/>
                  </a:cubicBezTo>
                  <a:cubicBezTo>
                    <a:pt x="105" y="570"/>
                    <a:pt x="89" y="585"/>
                    <a:pt x="88" y="604"/>
                  </a:cubicBezTo>
                  <a:cubicBezTo>
                    <a:pt x="1" y="1952"/>
                    <a:pt x="1" y="1952"/>
                    <a:pt x="1" y="1952"/>
                  </a:cubicBezTo>
                  <a:cubicBezTo>
                    <a:pt x="0" y="1962"/>
                    <a:pt x="3" y="1972"/>
                    <a:pt x="10" y="1979"/>
                  </a:cubicBezTo>
                  <a:cubicBezTo>
                    <a:pt x="17" y="1986"/>
                    <a:pt x="27" y="1991"/>
                    <a:pt x="37" y="1991"/>
                  </a:cubicBezTo>
                  <a:cubicBezTo>
                    <a:pt x="771" y="1991"/>
                    <a:pt x="771" y="1991"/>
                    <a:pt x="771" y="1991"/>
                  </a:cubicBezTo>
                  <a:cubicBezTo>
                    <a:pt x="781" y="1991"/>
                    <a:pt x="790" y="1986"/>
                    <a:pt x="797" y="1979"/>
                  </a:cubicBezTo>
                  <a:cubicBezTo>
                    <a:pt x="804" y="1972"/>
                    <a:pt x="808" y="1962"/>
                    <a:pt x="807" y="1952"/>
                  </a:cubicBezTo>
                  <a:cubicBezTo>
                    <a:pt x="748" y="1040"/>
                    <a:pt x="748" y="1040"/>
                    <a:pt x="748" y="1040"/>
                  </a:cubicBezTo>
                  <a:cubicBezTo>
                    <a:pt x="1019" y="1040"/>
                    <a:pt x="1019" y="1040"/>
                    <a:pt x="1019" y="1040"/>
                  </a:cubicBezTo>
                  <a:cubicBezTo>
                    <a:pt x="960" y="1952"/>
                    <a:pt x="960" y="1952"/>
                    <a:pt x="960" y="1952"/>
                  </a:cubicBezTo>
                  <a:cubicBezTo>
                    <a:pt x="959" y="1962"/>
                    <a:pt x="962" y="1972"/>
                    <a:pt x="969" y="1979"/>
                  </a:cubicBezTo>
                  <a:cubicBezTo>
                    <a:pt x="976" y="1986"/>
                    <a:pt x="986" y="1991"/>
                    <a:pt x="996" y="1991"/>
                  </a:cubicBezTo>
                  <a:cubicBezTo>
                    <a:pt x="1730" y="1991"/>
                    <a:pt x="1730" y="1991"/>
                    <a:pt x="1730" y="1991"/>
                  </a:cubicBezTo>
                  <a:cubicBezTo>
                    <a:pt x="1740" y="1991"/>
                    <a:pt x="1749" y="1986"/>
                    <a:pt x="1756" y="1979"/>
                  </a:cubicBezTo>
                  <a:cubicBezTo>
                    <a:pt x="1763" y="1972"/>
                    <a:pt x="1767" y="1962"/>
                    <a:pt x="1766" y="1952"/>
                  </a:cubicBezTo>
                  <a:lnTo>
                    <a:pt x="1678" y="604"/>
                  </a:lnTo>
                  <a:close/>
                  <a:moveTo>
                    <a:pt x="1076" y="1283"/>
                  </a:moveTo>
                  <a:cubicBezTo>
                    <a:pt x="1650" y="1283"/>
                    <a:pt x="1650" y="1283"/>
                    <a:pt x="1650" y="1283"/>
                  </a:cubicBezTo>
                  <a:cubicBezTo>
                    <a:pt x="1660" y="1434"/>
                    <a:pt x="1660" y="1434"/>
                    <a:pt x="1660" y="1434"/>
                  </a:cubicBezTo>
                  <a:cubicBezTo>
                    <a:pt x="1066" y="1434"/>
                    <a:pt x="1066" y="1434"/>
                    <a:pt x="1066" y="1434"/>
                  </a:cubicBezTo>
                  <a:lnTo>
                    <a:pt x="1076" y="1283"/>
                  </a:lnTo>
                  <a:close/>
                  <a:moveTo>
                    <a:pt x="1180" y="73"/>
                  </a:moveTo>
                  <a:cubicBezTo>
                    <a:pt x="1545" y="73"/>
                    <a:pt x="1545" y="73"/>
                    <a:pt x="1545" y="73"/>
                  </a:cubicBezTo>
                  <a:cubicBezTo>
                    <a:pt x="1545" y="190"/>
                    <a:pt x="1545" y="190"/>
                    <a:pt x="1545" y="190"/>
                  </a:cubicBezTo>
                  <a:cubicBezTo>
                    <a:pt x="1513" y="190"/>
                    <a:pt x="1513" y="190"/>
                    <a:pt x="1513" y="190"/>
                  </a:cubicBezTo>
                  <a:cubicBezTo>
                    <a:pt x="1212" y="190"/>
                    <a:pt x="1212" y="190"/>
                    <a:pt x="1212" y="190"/>
                  </a:cubicBezTo>
                  <a:cubicBezTo>
                    <a:pt x="1180" y="190"/>
                    <a:pt x="1180" y="190"/>
                    <a:pt x="1180" y="190"/>
                  </a:cubicBezTo>
                  <a:lnTo>
                    <a:pt x="1180" y="73"/>
                  </a:lnTo>
                  <a:close/>
                  <a:moveTo>
                    <a:pt x="1248" y="263"/>
                  </a:moveTo>
                  <a:cubicBezTo>
                    <a:pt x="1477" y="263"/>
                    <a:pt x="1477" y="263"/>
                    <a:pt x="1477" y="263"/>
                  </a:cubicBezTo>
                  <a:cubicBezTo>
                    <a:pt x="1477" y="570"/>
                    <a:pt x="1477" y="570"/>
                    <a:pt x="1477" y="570"/>
                  </a:cubicBezTo>
                  <a:cubicBezTo>
                    <a:pt x="1248" y="570"/>
                    <a:pt x="1248" y="570"/>
                    <a:pt x="1248" y="570"/>
                  </a:cubicBezTo>
                  <a:lnTo>
                    <a:pt x="1248" y="263"/>
                  </a:lnTo>
                  <a:close/>
                  <a:moveTo>
                    <a:pt x="1212" y="642"/>
                  </a:moveTo>
                  <a:cubicBezTo>
                    <a:pt x="1513" y="642"/>
                    <a:pt x="1513" y="642"/>
                    <a:pt x="1513" y="642"/>
                  </a:cubicBezTo>
                  <a:cubicBezTo>
                    <a:pt x="1608" y="642"/>
                    <a:pt x="1608" y="642"/>
                    <a:pt x="1608" y="642"/>
                  </a:cubicBezTo>
                  <a:cubicBezTo>
                    <a:pt x="1645" y="1210"/>
                    <a:pt x="1645" y="1210"/>
                    <a:pt x="1645" y="1210"/>
                  </a:cubicBezTo>
                  <a:cubicBezTo>
                    <a:pt x="1080" y="1210"/>
                    <a:pt x="1080" y="1210"/>
                    <a:pt x="1080" y="1210"/>
                  </a:cubicBezTo>
                  <a:cubicBezTo>
                    <a:pt x="1117" y="642"/>
                    <a:pt x="1117" y="642"/>
                    <a:pt x="1117" y="642"/>
                  </a:cubicBezTo>
                  <a:lnTo>
                    <a:pt x="1212" y="642"/>
                  </a:lnTo>
                  <a:close/>
                  <a:moveTo>
                    <a:pt x="221" y="73"/>
                  </a:moveTo>
                  <a:cubicBezTo>
                    <a:pt x="586" y="73"/>
                    <a:pt x="586" y="73"/>
                    <a:pt x="586" y="73"/>
                  </a:cubicBezTo>
                  <a:cubicBezTo>
                    <a:pt x="586" y="190"/>
                    <a:pt x="586" y="190"/>
                    <a:pt x="586" y="190"/>
                  </a:cubicBezTo>
                  <a:cubicBezTo>
                    <a:pt x="554" y="190"/>
                    <a:pt x="554" y="190"/>
                    <a:pt x="554" y="190"/>
                  </a:cubicBezTo>
                  <a:cubicBezTo>
                    <a:pt x="253" y="190"/>
                    <a:pt x="253" y="190"/>
                    <a:pt x="253" y="190"/>
                  </a:cubicBezTo>
                  <a:cubicBezTo>
                    <a:pt x="221" y="190"/>
                    <a:pt x="221" y="190"/>
                    <a:pt x="221" y="190"/>
                  </a:cubicBezTo>
                  <a:lnTo>
                    <a:pt x="221" y="73"/>
                  </a:lnTo>
                  <a:close/>
                  <a:moveTo>
                    <a:pt x="289" y="263"/>
                  </a:moveTo>
                  <a:cubicBezTo>
                    <a:pt x="518" y="263"/>
                    <a:pt x="518" y="263"/>
                    <a:pt x="518" y="263"/>
                  </a:cubicBezTo>
                  <a:cubicBezTo>
                    <a:pt x="518" y="570"/>
                    <a:pt x="518" y="570"/>
                    <a:pt x="518" y="570"/>
                  </a:cubicBezTo>
                  <a:cubicBezTo>
                    <a:pt x="289" y="570"/>
                    <a:pt x="289" y="570"/>
                    <a:pt x="289" y="570"/>
                  </a:cubicBezTo>
                  <a:lnTo>
                    <a:pt x="289" y="263"/>
                  </a:lnTo>
                  <a:close/>
                  <a:moveTo>
                    <a:pt x="158" y="642"/>
                  </a:moveTo>
                  <a:cubicBezTo>
                    <a:pt x="253" y="642"/>
                    <a:pt x="253" y="642"/>
                    <a:pt x="253" y="642"/>
                  </a:cubicBezTo>
                  <a:cubicBezTo>
                    <a:pt x="554" y="642"/>
                    <a:pt x="554" y="642"/>
                    <a:pt x="554" y="642"/>
                  </a:cubicBezTo>
                  <a:cubicBezTo>
                    <a:pt x="649" y="642"/>
                    <a:pt x="649" y="642"/>
                    <a:pt x="649" y="642"/>
                  </a:cubicBezTo>
                  <a:cubicBezTo>
                    <a:pt x="686" y="1210"/>
                    <a:pt x="686" y="1210"/>
                    <a:pt x="686" y="1210"/>
                  </a:cubicBezTo>
                  <a:cubicBezTo>
                    <a:pt x="121" y="1210"/>
                    <a:pt x="121" y="1210"/>
                    <a:pt x="121" y="1210"/>
                  </a:cubicBezTo>
                  <a:lnTo>
                    <a:pt x="158" y="642"/>
                  </a:lnTo>
                  <a:close/>
                  <a:moveTo>
                    <a:pt x="117" y="1283"/>
                  </a:moveTo>
                  <a:cubicBezTo>
                    <a:pt x="691" y="1283"/>
                    <a:pt x="691" y="1283"/>
                    <a:pt x="691" y="1283"/>
                  </a:cubicBezTo>
                  <a:cubicBezTo>
                    <a:pt x="701" y="1434"/>
                    <a:pt x="701" y="1434"/>
                    <a:pt x="701" y="1434"/>
                  </a:cubicBezTo>
                  <a:cubicBezTo>
                    <a:pt x="107" y="1434"/>
                    <a:pt x="107" y="1434"/>
                    <a:pt x="107" y="1434"/>
                  </a:cubicBezTo>
                  <a:lnTo>
                    <a:pt x="117" y="1283"/>
                  </a:lnTo>
                  <a:close/>
                  <a:moveTo>
                    <a:pt x="75" y="1918"/>
                  </a:moveTo>
                  <a:cubicBezTo>
                    <a:pt x="102" y="1506"/>
                    <a:pt x="102" y="1506"/>
                    <a:pt x="102" y="1506"/>
                  </a:cubicBezTo>
                  <a:cubicBezTo>
                    <a:pt x="706" y="1506"/>
                    <a:pt x="706" y="1506"/>
                    <a:pt x="706" y="1506"/>
                  </a:cubicBezTo>
                  <a:cubicBezTo>
                    <a:pt x="732" y="1918"/>
                    <a:pt x="732" y="1918"/>
                    <a:pt x="732" y="1918"/>
                  </a:cubicBezTo>
                  <a:lnTo>
                    <a:pt x="75" y="1918"/>
                  </a:lnTo>
                  <a:close/>
                  <a:moveTo>
                    <a:pt x="743" y="967"/>
                  </a:moveTo>
                  <a:cubicBezTo>
                    <a:pt x="734" y="826"/>
                    <a:pt x="734" y="826"/>
                    <a:pt x="734" y="826"/>
                  </a:cubicBezTo>
                  <a:cubicBezTo>
                    <a:pt x="1033" y="826"/>
                    <a:pt x="1033" y="826"/>
                    <a:pt x="1033" y="826"/>
                  </a:cubicBezTo>
                  <a:cubicBezTo>
                    <a:pt x="1024" y="967"/>
                    <a:pt x="1024" y="967"/>
                    <a:pt x="1024" y="967"/>
                  </a:cubicBezTo>
                  <a:lnTo>
                    <a:pt x="743" y="967"/>
                  </a:lnTo>
                  <a:close/>
                  <a:moveTo>
                    <a:pt x="1034" y="1918"/>
                  </a:moveTo>
                  <a:cubicBezTo>
                    <a:pt x="1061" y="1506"/>
                    <a:pt x="1061" y="1506"/>
                    <a:pt x="1061" y="1506"/>
                  </a:cubicBezTo>
                  <a:cubicBezTo>
                    <a:pt x="1665" y="1506"/>
                    <a:pt x="1665" y="1506"/>
                    <a:pt x="1665" y="1506"/>
                  </a:cubicBezTo>
                  <a:cubicBezTo>
                    <a:pt x="1691" y="1918"/>
                    <a:pt x="1691" y="1918"/>
                    <a:pt x="1691" y="1918"/>
                  </a:cubicBezTo>
                  <a:lnTo>
                    <a:pt x="1034" y="19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403149" y="3008947"/>
            <a:ext cx="1003876" cy="1003874"/>
            <a:chOff x="4403149" y="3008947"/>
            <a:chExt cx="1003876" cy="1003874"/>
          </a:xfrm>
        </p:grpSpPr>
        <p:sp>
          <p:nvSpPr>
            <p:cNvPr id="29" name="Oval 28"/>
            <p:cNvSpPr/>
            <p:nvPr/>
          </p:nvSpPr>
          <p:spPr>
            <a:xfrm>
              <a:off x="4403149" y="3008947"/>
              <a:ext cx="1003876" cy="100387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4662536" y="3203460"/>
              <a:ext cx="483212" cy="645876"/>
            </a:xfrm>
            <a:custGeom>
              <a:avLst/>
              <a:gdLst>
                <a:gd name="T0" fmla="*/ 110 w 751"/>
                <a:gd name="T1" fmla="*/ 307 h 1004"/>
                <a:gd name="T2" fmla="*/ 31 w 751"/>
                <a:gd name="T3" fmla="*/ 209 h 1004"/>
                <a:gd name="T4" fmla="*/ 130 w 751"/>
                <a:gd name="T5" fmla="*/ 287 h 1004"/>
                <a:gd name="T6" fmla="*/ 229 w 751"/>
                <a:gd name="T7" fmla="*/ 209 h 1004"/>
                <a:gd name="T8" fmla="*/ 150 w 751"/>
                <a:gd name="T9" fmla="*/ 307 h 1004"/>
                <a:gd name="T10" fmla="*/ 229 w 751"/>
                <a:gd name="T11" fmla="*/ 406 h 1004"/>
                <a:gd name="T12" fmla="*/ 209 w 751"/>
                <a:gd name="T13" fmla="*/ 406 h 1004"/>
                <a:gd name="T14" fmla="*/ 52 w 751"/>
                <a:gd name="T15" fmla="*/ 406 h 1004"/>
                <a:gd name="T16" fmla="*/ 31 w 751"/>
                <a:gd name="T17" fmla="*/ 406 h 1004"/>
                <a:gd name="T18" fmla="*/ 707 w 751"/>
                <a:gd name="T19" fmla="*/ 652 h 1004"/>
                <a:gd name="T20" fmla="*/ 608 w 751"/>
                <a:gd name="T21" fmla="*/ 731 h 1004"/>
                <a:gd name="T22" fmla="*/ 509 w 751"/>
                <a:gd name="T23" fmla="*/ 652 h 1004"/>
                <a:gd name="T24" fmla="*/ 588 w 751"/>
                <a:gd name="T25" fmla="*/ 751 h 1004"/>
                <a:gd name="T26" fmla="*/ 509 w 751"/>
                <a:gd name="T27" fmla="*/ 850 h 1004"/>
                <a:gd name="T28" fmla="*/ 529 w 751"/>
                <a:gd name="T29" fmla="*/ 850 h 1004"/>
                <a:gd name="T30" fmla="*/ 687 w 751"/>
                <a:gd name="T31" fmla="*/ 850 h 1004"/>
                <a:gd name="T32" fmla="*/ 707 w 751"/>
                <a:gd name="T33" fmla="*/ 850 h 1004"/>
                <a:gd name="T34" fmla="*/ 628 w 751"/>
                <a:gd name="T35" fmla="*/ 751 h 1004"/>
                <a:gd name="T36" fmla="*/ 707 w 751"/>
                <a:gd name="T37" fmla="*/ 652 h 1004"/>
                <a:gd name="T38" fmla="*/ 103 w 751"/>
                <a:gd name="T39" fmla="*/ 1004 h 1004"/>
                <a:gd name="T40" fmla="*/ 103 w 751"/>
                <a:gd name="T41" fmla="*/ 798 h 1004"/>
                <a:gd name="T42" fmla="*/ 177 w 751"/>
                <a:gd name="T43" fmla="*/ 901 h 1004"/>
                <a:gd name="T44" fmla="*/ 29 w 751"/>
                <a:gd name="T45" fmla="*/ 901 h 1004"/>
                <a:gd name="T46" fmla="*/ 177 w 751"/>
                <a:gd name="T47" fmla="*/ 901 h 1004"/>
                <a:gd name="T48" fmla="*/ 635 w 751"/>
                <a:gd name="T49" fmla="*/ 0 h 1004"/>
                <a:gd name="T50" fmla="*/ 635 w 751"/>
                <a:gd name="T51" fmla="*/ 206 h 1004"/>
                <a:gd name="T52" fmla="*/ 561 w 751"/>
                <a:gd name="T53" fmla="*/ 103 h 1004"/>
                <a:gd name="T54" fmla="*/ 710 w 751"/>
                <a:gd name="T55" fmla="*/ 103 h 1004"/>
                <a:gd name="T56" fmla="*/ 561 w 751"/>
                <a:gd name="T57" fmla="*/ 103 h 1004"/>
                <a:gd name="T58" fmla="*/ 518 w 751"/>
                <a:gd name="T59" fmla="*/ 378 h 1004"/>
                <a:gd name="T60" fmla="*/ 621 w 751"/>
                <a:gd name="T61" fmla="*/ 310 h 1004"/>
                <a:gd name="T62" fmla="*/ 499 w 751"/>
                <a:gd name="T63" fmla="*/ 493 h 1004"/>
                <a:gd name="T64" fmla="*/ 89 w 751"/>
                <a:gd name="T65" fmla="*/ 751 h 1004"/>
                <a:gd name="T66" fmla="*/ 117 w 751"/>
                <a:gd name="T67" fmla="*/ 751 h 1004"/>
                <a:gd name="T68" fmla="*/ 503 w 751"/>
                <a:gd name="T69" fmla="*/ 521 h 1004"/>
                <a:gd name="T70" fmla="*/ 649 w 751"/>
                <a:gd name="T71" fmla="*/ 311 h 1004"/>
                <a:gd name="T72" fmla="*/ 751 w 751"/>
                <a:gd name="T73" fmla="*/ 379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1004">
                  <a:moveTo>
                    <a:pt x="31" y="386"/>
                  </a:moveTo>
                  <a:cubicBezTo>
                    <a:pt x="110" y="307"/>
                    <a:pt x="110" y="307"/>
                    <a:pt x="110" y="307"/>
                  </a:cubicBezTo>
                  <a:cubicBezTo>
                    <a:pt x="31" y="229"/>
                    <a:pt x="31" y="229"/>
                    <a:pt x="31" y="229"/>
                  </a:cubicBezTo>
                  <a:cubicBezTo>
                    <a:pt x="26" y="223"/>
                    <a:pt x="26" y="214"/>
                    <a:pt x="31" y="209"/>
                  </a:cubicBezTo>
                  <a:cubicBezTo>
                    <a:pt x="37" y="203"/>
                    <a:pt x="46" y="203"/>
                    <a:pt x="52" y="209"/>
                  </a:cubicBezTo>
                  <a:cubicBezTo>
                    <a:pt x="130" y="287"/>
                    <a:pt x="130" y="287"/>
                    <a:pt x="130" y="287"/>
                  </a:cubicBezTo>
                  <a:cubicBezTo>
                    <a:pt x="209" y="209"/>
                    <a:pt x="209" y="209"/>
                    <a:pt x="209" y="209"/>
                  </a:cubicBezTo>
                  <a:cubicBezTo>
                    <a:pt x="214" y="203"/>
                    <a:pt x="223" y="203"/>
                    <a:pt x="229" y="209"/>
                  </a:cubicBezTo>
                  <a:cubicBezTo>
                    <a:pt x="234" y="214"/>
                    <a:pt x="234" y="223"/>
                    <a:pt x="229" y="229"/>
                  </a:cubicBezTo>
                  <a:cubicBezTo>
                    <a:pt x="150" y="307"/>
                    <a:pt x="150" y="307"/>
                    <a:pt x="150" y="307"/>
                  </a:cubicBezTo>
                  <a:cubicBezTo>
                    <a:pt x="229" y="386"/>
                    <a:pt x="229" y="386"/>
                    <a:pt x="229" y="386"/>
                  </a:cubicBezTo>
                  <a:cubicBezTo>
                    <a:pt x="234" y="392"/>
                    <a:pt x="234" y="401"/>
                    <a:pt x="229" y="406"/>
                  </a:cubicBezTo>
                  <a:cubicBezTo>
                    <a:pt x="226" y="409"/>
                    <a:pt x="222" y="410"/>
                    <a:pt x="219" y="410"/>
                  </a:cubicBezTo>
                  <a:cubicBezTo>
                    <a:pt x="215" y="410"/>
                    <a:pt x="211" y="409"/>
                    <a:pt x="209" y="406"/>
                  </a:cubicBezTo>
                  <a:cubicBezTo>
                    <a:pt x="130" y="328"/>
                    <a:pt x="130" y="328"/>
                    <a:pt x="130" y="328"/>
                  </a:cubicBezTo>
                  <a:cubicBezTo>
                    <a:pt x="52" y="406"/>
                    <a:pt x="52" y="406"/>
                    <a:pt x="52" y="406"/>
                  </a:cubicBezTo>
                  <a:cubicBezTo>
                    <a:pt x="49" y="409"/>
                    <a:pt x="45" y="410"/>
                    <a:pt x="41" y="410"/>
                  </a:cubicBezTo>
                  <a:cubicBezTo>
                    <a:pt x="38" y="410"/>
                    <a:pt x="34" y="409"/>
                    <a:pt x="31" y="406"/>
                  </a:cubicBezTo>
                  <a:cubicBezTo>
                    <a:pt x="26" y="401"/>
                    <a:pt x="26" y="392"/>
                    <a:pt x="31" y="386"/>
                  </a:cubicBezTo>
                  <a:close/>
                  <a:moveTo>
                    <a:pt x="707" y="652"/>
                  </a:moveTo>
                  <a:cubicBezTo>
                    <a:pt x="701" y="646"/>
                    <a:pt x="692" y="646"/>
                    <a:pt x="687" y="652"/>
                  </a:cubicBezTo>
                  <a:cubicBezTo>
                    <a:pt x="608" y="731"/>
                    <a:pt x="608" y="731"/>
                    <a:pt x="608" y="731"/>
                  </a:cubicBezTo>
                  <a:cubicBezTo>
                    <a:pt x="529" y="652"/>
                    <a:pt x="529" y="652"/>
                    <a:pt x="529" y="652"/>
                  </a:cubicBezTo>
                  <a:cubicBezTo>
                    <a:pt x="524" y="646"/>
                    <a:pt x="515" y="646"/>
                    <a:pt x="509" y="652"/>
                  </a:cubicBezTo>
                  <a:cubicBezTo>
                    <a:pt x="504" y="658"/>
                    <a:pt x="504" y="667"/>
                    <a:pt x="509" y="672"/>
                  </a:cubicBezTo>
                  <a:cubicBezTo>
                    <a:pt x="588" y="751"/>
                    <a:pt x="588" y="751"/>
                    <a:pt x="588" y="751"/>
                  </a:cubicBezTo>
                  <a:cubicBezTo>
                    <a:pt x="509" y="829"/>
                    <a:pt x="509" y="829"/>
                    <a:pt x="509" y="829"/>
                  </a:cubicBezTo>
                  <a:cubicBezTo>
                    <a:pt x="504" y="835"/>
                    <a:pt x="504" y="844"/>
                    <a:pt x="509" y="850"/>
                  </a:cubicBezTo>
                  <a:cubicBezTo>
                    <a:pt x="512" y="852"/>
                    <a:pt x="516" y="854"/>
                    <a:pt x="519" y="854"/>
                  </a:cubicBezTo>
                  <a:cubicBezTo>
                    <a:pt x="523" y="854"/>
                    <a:pt x="527" y="852"/>
                    <a:pt x="529" y="850"/>
                  </a:cubicBezTo>
                  <a:cubicBezTo>
                    <a:pt x="608" y="771"/>
                    <a:pt x="608" y="771"/>
                    <a:pt x="608" y="771"/>
                  </a:cubicBezTo>
                  <a:cubicBezTo>
                    <a:pt x="687" y="850"/>
                    <a:pt x="687" y="850"/>
                    <a:pt x="687" y="850"/>
                  </a:cubicBezTo>
                  <a:cubicBezTo>
                    <a:pt x="689" y="852"/>
                    <a:pt x="693" y="854"/>
                    <a:pt x="697" y="854"/>
                  </a:cubicBezTo>
                  <a:cubicBezTo>
                    <a:pt x="700" y="854"/>
                    <a:pt x="704" y="852"/>
                    <a:pt x="707" y="850"/>
                  </a:cubicBezTo>
                  <a:cubicBezTo>
                    <a:pt x="712" y="844"/>
                    <a:pt x="712" y="835"/>
                    <a:pt x="707" y="829"/>
                  </a:cubicBezTo>
                  <a:cubicBezTo>
                    <a:pt x="628" y="751"/>
                    <a:pt x="628" y="751"/>
                    <a:pt x="628" y="751"/>
                  </a:cubicBezTo>
                  <a:cubicBezTo>
                    <a:pt x="707" y="672"/>
                    <a:pt x="707" y="672"/>
                    <a:pt x="707" y="672"/>
                  </a:cubicBezTo>
                  <a:cubicBezTo>
                    <a:pt x="712" y="667"/>
                    <a:pt x="712" y="658"/>
                    <a:pt x="707" y="652"/>
                  </a:cubicBezTo>
                  <a:close/>
                  <a:moveTo>
                    <a:pt x="206" y="901"/>
                  </a:moveTo>
                  <a:cubicBezTo>
                    <a:pt x="206" y="958"/>
                    <a:pt x="160" y="1004"/>
                    <a:pt x="103" y="1004"/>
                  </a:cubicBezTo>
                  <a:cubicBezTo>
                    <a:pt x="46" y="1004"/>
                    <a:pt x="0" y="958"/>
                    <a:pt x="0" y="901"/>
                  </a:cubicBezTo>
                  <a:cubicBezTo>
                    <a:pt x="0" y="844"/>
                    <a:pt x="46" y="798"/>
                    <a:pt x="103" y="798"/>
                  </a:cubicBezTo>
                  <a:cubicBezTo>
                    <a:pt x="160" y="798"/>
                    <a:pt x="206" y="844"/>
                    <a:pt x="206" y="901"/>
                  </a:cubicBezTo>
                  <a:close/>
                  <a:moveTo>
                    <a:pt x="177" y="901"/>
                  </a:moveTo>
                  <a:cubicBezTo>
                    <a:pt x="177" y="860"/>
                    <a:pt x="144" y="827"/>
                    <a:pt x="103" y="827"/>
                  </a:cubicBezTo>
                  <a:cubicBezTo>
                    <a:pt x="62" y="827"/>
                    <a:pt x="29" y="860"/>
                    <a:pt x="29" y="901"/>
                  </a:cubicBezTo>
                  <a:cubicBezTo>
                    <a:pt x="29" y="942"/>
                    <a:pt x="62" y="975"/>
                    <a:pt x="103" y="975"/>
                  </a:cubicBezTo>
                  <a:cubicBezTo>
                    <a:pt x="144" y="975"/>
                    <a:pt x="177" y="942"/>
                    <a:pt x="177" y="901"/>
                  </a:cubicBezTo>
                  <a:close/>
                  <a:moveTo>
                    <a:pt x="532" y="103"/>
                  </a:moveTo>
                  <a:cubicBezTo>
                    <a:pt x="532" y="46"/>
                    <a:pt x="578" y="0"/>
                    <a:pt x="635" y="0"/>
                  </a:cubicBezTo>
                  <a:cubicBezTo>
                    <a:pt x="692" y="0"/>
                    <a:pt x="738" y="46"/>
                    <a:pt x="738" y="103"/>
                  </a:cubicBezTo>
                  <a:cubicBezTo>
                    <a:pt x="738" y="160"/>
                    <a:pt x="692" y="206"/>
                    <a:pt x="635" y="206"/>
                  </a:cubicBezTo>
                  <a:cubicBezTo>
                    <a:pt x="578" y="206"/>
                    <a:pt x="532" y="160"/>
                    <a:pt x="532" y="103"/>
                  </a:cubicBezTo>
                  <a:close/>
                  <a:moveTo>
                    <a:pt x="561" y="103"/>
                  </a:moveTo>
                  <a:cubicBezTo>
                    <a:pt x="561" y="144"/>
                    <a:pt x="594" y="177"/>
                    <a:pt x="635" y="177"/>
                  </a:cubicBezTo>
                  <a:cubicBezTo>
                    <a:pt x="676" y="177"/>
                    <a:pt x="710" y="144"/>
                    <a:pt x="710" y="103"/>
                  </a:cubicBezTo>
                  <a:cubicBezTo>
                    <a:pt x="710" y="62"/>
                    <a:pt x="676" y="28"/>
                    <a:pt x="635" y="28"/>
                  </a:cubicBezTo>
                  <a:cubicBezTo>
                    <a:pt x="594" y="28"/>
                    <a:pt x="561" y="62"/>
                    <a:pt x="561" y="103"/>
                  </a:cubicBezTo>
                  <a:close/>
                  <a:moveTo>
                    <a:pt x="635" y="253"/>
                  </a:moveTo>
                  <a:cubicBezTo>
                    <a:pt x="518" y="378"/>
                    <a:pt x="518" y="378"/>
                    <a:pt x="518" y="378"/>
                  </a:cubicBezTo>
                  <a:cubicBezTo>
                    <a:pt x="538" y="397"/>
                    <a:pt x="538" y="397"/>
                    <a:pt x="538" y="397"/>
                  </a:cubicBezTo>
                  <a:cubicBezTo>
                    <a:pt x="621" y="310"/>
                    <a:pt x="621" y="310"/>
                    <a:pt x="621" y="310"/>
                  </a:cubicBezTo>
                  <a:cubicBezTo>
                    <a:pt x="621" y="349"/>
                    <a:pt x="621" y="349"/>
                    <a:pt x="621" y="349"/>
                  </a:cubicBezTo>
                  <a:cubicBezTo>
                    <a:pt x="621" y="417"/>
                    <a:pt x="566" y="482"/>
                    <a:pt x="499" y="493"/>
                  </a:cubicBezTo>
                  <a:cubicBezTo>
                    <a:pt x="276" y="530"/>
                    <a:pt x="276" y="530"/>
                    <a:pt x="276" y="530"/>
                  </a:cubicBezTo>
                  <a:cubicBezTo>
                    <a:pt x="167" y="548"/>
                    <a:pt x="89" y="641"/>
                    <a:pt x="89" y="751"/>
                  </a:cubicBezTo>
                  <a:cubicBezTo>
                    <a:pt x="89" y="759"/>
                    <a:pt x="95" y="765"/>
                    <a:pt x="103" y="765"/>
                  </a:cubicBezTo>
                  <a:cubicBezTo>
                    <a:pt x="111" y="765"/>
                    <a:pt x="117" y="759"/>
                    <a:pt x="117" y="751"/>
                  </a:cubicBezTo>
                  <a:cubicBezTo>
                    <a:pt x="117" y="655"/>
                    <a:pt x="186" y="574"/>
                    <a:pt x="280" y="558"/>
                  </a:cubicBezTo>
                  <a:cubicBezTo>
                    <a:pt x="503" y="521"/>
                    <a:pt x="503" y="521"/>
                    <a:pt x="503" y="521"/>
                  </a:cubicBezTo>
                  <a:cubicBezTo>
                    <a:pt x="584" y="508"/>
                    <a:pt x="649" y="430"/>
                    <a:pt x="649" y="349"/>
                  </a:cubicBezTo>
                  <a:cubicBezTo>
                    <a:pt x="649" y="311"/>
                    <a:pt x="649" y="311"/>
                    <a:pt x="649" y="311"/>
                  </a:cubicBezTo>
                  <a:cubicBezTo>
                    <a:pt x="730" y="399"/>
                    <a:pt x="730" y="399"/>
                    <a:pt x="730" y="399"/>
                  </a:cubicBezTo>
                  <a:cubicBezTo>
                    <a:pt x="751" y="379"/>
                    <a:pt x="751" y="379"/>
                    <a:pt x="751" y="379"/>
                  </a:cubicBezTo>
                  <a:lnTo>
                    <a:pt x="635" y="2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3" name="Freeform 5"/>
          <p:cNvSpPr>
            <a:spLocks/>
          </p:cNvSpPr>
          <p:nvPr/>
        </p:nvSpPr>
        <p:spPr bwMode="auto">
          <a:xfrm>
            <a:off x="3156774" y="1891420"/>
            <a:ext cx="572308" cy="636301"/>
          </a:xfrm>
          <a:custGeom>
            <a:avLst/>
            <a:gdLst>
              <a:gd name="T0" fmla="*/ 1724 w 2505"/>
              <a:gd name="T1" fmla="*/ 18 h 2784"/>
              <a:gd name="T2" fmla="*/ 1519 w 2505"/>
              <a:gd name="T3" fmla="*/ 2 h 2784"/>
              <a:gd name="T4" fmla="*/ 1307 w 2505"/>
              <a:gd name="T5" fmla="*/ 4 h 2784"/>
              <a:gd name="T6" fmla="*/ 1140 w 2505"/>
              <a:gd name="T7" fmla="*/ 18 h 2784"/>
              <a:gd name="T8" fmla="*/ 1027 w 2505"/>
              <a:gd name="T9" fmla="*/ 36 h 2784"/>
              <a:gd name="T10" fmla="*/ 969 w 2505"/>
              <a:gd name="T11" fmla="*/ 49 h 2784"/>
              <a:gd name="T12" fmla="*/ 1097 w 2505"/>
              <a:gd name="T13" fmla="*/ 49 h 2784"/>
              <a:gd name="T14" fmla="*/ 1218 w 2505"/>
              <a:gd name="T15" fmla="*/ 59 h 2784"/>
              <a:gd name="T16" fmla="*/ 1311 w 2505"/>
              <a:gd name="T17" fmla="*/ 76 h 2784"/>
              <a:gd name="T18" fmla="*/ 1380 w 2505"/>
              <a:gd name="T19" fmla="*/ 97 h 2784"/>
              <a:gd name="T20" fmla="*/ 1472 w 2505"/>
              <a:gd name="T21" fmla="*/ 140 h 2784"/>
              <a:gd name="T22" fmla="*/ 1526 w 2505"/>
              <a:gd name="T23" fmla="*/ 181 h 2784"/>
              <a:gd name="T24" fmla="*/ 1552 w 2505"/>
              <a:gd name="T25" fmla="*/ 217 h 2784"/>
              <a:gd name="T26" fmla="*/ 1561 w 2505"/>
              <a:gd name="T27" fmla="*/ 241 h 2784"/>
              <a:gd name="T28" fmla="*/ 1561 w 2505"/>
              <a:gd name="T29" fmla="*/ 253 h 2784"/>
              <a:gd name="T30" fmla="*/ 1416 w 2505"/>
              <a:gd name="T31" fmla="*/ 333 h 2784"/>
              <a:gd name="T32" fmla="*/ 1210 w 2505"/>
              <a:gd name="T33" fmla="*/ 468 h 2784"/>
              <a:gd name="T34" fmla="*/ 1016 w 2505"/>
              <a:gd name="T35" fmla="*/ 619 h 2784"/>
              <a:gd name="T36" fmla="*/ 834 w 2505"/>
              <a:gd name="T37" fmla="*/ 785 h 2784"/>
              <a:gd name="T38" fmla="*/ 666 w 2505"/>
              <a:gd name="T39" fmla="*/ 964 h 2784"/>
              <a:gd name="T40" fmla="*/ 512 w 2505"/>
              <a:gd name="T41" fmla="*/ 1157 h 2784"/>
              <a:gd name="T42" fmla="*/ 375 w 2505"/>
              <a:gd name="T43" fmla="*/ 1362 h 2784"/>
              <a:gd name="T44" fmla="*/ 255 w 2505"/>
              <a:gd name="T45" fmla="*/ 1578 h 2784"/>
              <a:gd name="T46" fmla="*/ 151 w 2505"/>
              <a:gd name="T47" fmla="*/ 1804 h 2784"/>
              <a:gd name="T48" fmla="*/ 67 w 2505"/>
              <a:gd name="T49" fmla="*/ 2040 h 2784"/>
              <a:gd name="T50" fmla="*/ 0 w 2505"/>
              <a:gd name="T51" fmla="*/ 2285 h 2784"/>
              <a:gd name="T52" fmla="*/ 229 w 2505"/>
              <a:gd name="T53" fmla="*/ 2724 h 2784"/>
              <a:gd name="T54" fmla="*/ 250 w 2505"/>
              <a:gd name="T55" fmla="*/ 2546 h 2784"/>
              <a:gd name="T56" fmla="*/ 281 w 2505"/>
              <a:gd name="T57" fmla="*/ 2371 h 2784"/>
              <a:gd name="T58" fmla="*/ 323 w 2505"/>
              <a:gd name="T59" fmla="*/ 2201 h 2784"/>
              <a:gd name="T60" fmla="*/ 376 w 2505"/>
              <a:gd name="T61" fmla="*/ 2035 h 2784"/>
              <a:gd name="T62" fmla="*/ 439 w 2505"/>
              <a:gd name="T63" fmla="*/ 1874 h 2784"/>
              <a:gd name="T64" fmla="*/ 512 w 2505"/>
              <a:gd name="T65" fmla="*/ 1718 h 2784"/>
              <a:gd name="T66" fmla="*/ 594 w 2505"/>
              <a:gd name="T67" fmla="*/ 1567 h 2784"/>
              <a:gd name="T68" fmla="*/ 684 w 2505"/>
              <a:gd name="T69" fmla="*/ 1421 h 2784"/>
              <a:gd name="T70" fmla="*/ 783 w 2505"/>
              <a:gd name="T71" fmla="*/ 1283 h 2784"/>
              <a:gd name="T72" fmla="*/ 891 w 2505"/>
              <a:gd name="T73" fmla="*/ 1151 h 2784"/>
              <a:gd name="T74" fmla="*/ 1006 w 2505"/>
              <a:gd name="T75" fmla="*/ 1026 h 2784"/>
              <a:gd name="T76" fmla="*/ 1128 w 2505"/>
              <a:gd name="T77" fmla="*/ 907 h 2784"/>
              <a:gd name="T78" fmla="*/ 1258 w 2505"/>
              <a:gd name="T79" fmla="*/ 797 h 2784"/>
              <a:gd name="T80" fmla="*/ 1395 w 2505"/>
              <a:gd name="T81" fmla="*/ 695 h 2784"/>
              <a:gd name="T82" fmla="*/ 1537 w 2505"/>
              <a:gd name="T83" fmla="*/ 601 h 2784"/>
              <a:gd name="T84" fmla="*/ 1686 w 2505"/>
              <a:gd name="T85" fmla="*/ 516 h 2784"/>
              <a:gd name="T86" fmla="*/ 1840 w 2505"/>
              <a:gd name="T87" fmla="*/ 440 h 2784"/>
              <a:gd name="T88" fmla="*/ 2000 w 2505"/>
              <a:gd name="T89" fmla="*/ 374 h 2784"/>
              <a:gd name="T90" fmla="*/ 2164 w 2505"/>
              <a:gd name="T91" fmla="*/ 317 h 2784"/>
              <a:gd name="T92" fmla="*/ 2333 w 2505"/>
              <a:gd name="T93" fmla="*/ 271 h 2784"/>
              <a:gd name="T94" fmla="*/ 2505 w 2505"/>
              <a:gd name="T95" fmla="*/ 235 h 2784"/>
              <a:gd name="T96" fmla="*/ 2450 w 2505"/>
              <a:gd name="T97" fmla="*/ 209 h 2784"/>
              <a:gd name="T98" fmla="*/ 2294 w 2505"/>
              <a:gd name="T99" fmla="*/ 149 h 2784"/>
              <a:gd name="T100" fmla="*/ 2125 w 2505"/>
              <a:gd name="T101" fmla="*/ 96 h 2784"/>
              <a:gd name="T102" fmla="*/ 1919 w 2505"/>
              <a:gd name="T103" fmla="*/ 47 h 2784"/>
              <a:gd name="T104" fmla="*/ 1768 w 2505"/>
              <a:gd name="T105" fmla="*/ 23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05" h="2784">
                <a:moveTo>
                  <a:pt x="1768" y="23"/>
                </a:moveTo>
                <a:lnTo>
                  <a:pt x="1768" y="23"/>
                </a:lnTo>
                <a:lnTo>
                  <a:pt x="1724" y="18"/>
                </a:lnTo>
                <a:lnTo>
                  <a:pt x="1682" y="13"/>
                </a:lnTo>
                <a:lnTo>
                  <a:pt x="1598" y="7"/>
                </a:lnTo>
                <a:lnTo>
                  <a:pt x="1519" y="2"/>
                </a:lnTo>
                <a:lnTo>
                  <a:pt x="1445" y="0"/>
                </a:lnTo>
                <a:lnTo>
                  <a:pt x="1373" y="2"/>
                </a:lnTo>
                <a:lnTo>
                  <a:pt x="1307" y="4"/>
                </a:lnTo>
                <a:lnTo>
                  <a:pt x="1247" y="8"/>
                </a:lnTo>
                <a:lnTo>
                  <a:pt x="1191" y="13"/>
                </a:lnTo>
                <a:lnTo>
                  <a:pt x="1140" y="18"/>
                </a:lnTo>
                <a:lnTo>
                  <a:pt x="1097" y="24"/>
                </a:lnTo>
                <a:lnTo>
                  <a:pt x="1059" y="30"/>
                </a:lnTo>
                <a:lnTo>
                  <a:pt x="1027" y="36"/>
                </a:lnTo>
                <a:lnTo>
                  <a:pt x="983" y="45"/>
                </a:lnTo>
                <a:lnTo>
                  <a:pt x="969" y="49"/>
                </a:lnTo>
                <a:lnTo>
                  <a:pt x="969" y="49"/>
                </a:lnTo>
                <a:lnTo>
                  <a:pt x="1004" y="47"/>
                </a:lnTo>
                <a:lnTo>
                  <a:pt x="1045" y="47"/>
                </a:lnTo>
                <a:lnTo>
                  <a:pt x="1097" y="49"/>
                </a:lnTo>
                <a:lnTo>
                  <a:pt x="1155" y="52"/>
                </a:lnTo>
                <a:lnTo>
                  <a:pt x="1186" y="55"/>
                </a:lnTo>
                <a:lnTo>
                  <a:pt x="1218" y="59"/>
                </a:lnTo>
                <a:lnTo>
                  <a:pt x="1249" y="63"/>
                </a:lnTo>
                <a:lnTo>
                  <a:pt x="1280" y="68"/>
                </a:lnTo>
                <a:lnTo>
                  <a:pt x="1311" y="76"/>
                </a:lnTo>
                <a:lnTo>
                  <a:pt x="1341" y="83"/>
                </a:lnTo>
                <a:lnTo>
                  <a:pt x="1341" y="83"/>
                </a:lnTo>
                <a:lnTo>
                  <a:pt x="1380" y="97"/>
                </a:lnTo>
                <a:lnTo>
                  <a:pt x="1416" y="112"/>
                </a:lnTo>
                <a:lnTo>
                  <a:pt x="1446" y="125"/>
                </a:lnTo>
                <a:lnTo>
                  <a:pt x="1472" y="140"/>
                </a:lnTo>
                <a:lnTo>
                  <a:pt x="1494" y="154"/>
                </a:lnTo>
                <a:lnTo>
                  <a:pt x="1511" y="167"/>
                </a:lnTo>
                <a:lnTo>
                  <a:pt x="1526" y="181"/>
                </a:lnTo>
                <a:lnTo>
                  <a:pt x="1537" y="193"/>
                </a:lnTo>
                <a:lnTo>
                  <a:pt x="1546" y="206"/>
                </a:lnTo>
                <a:lnTo>
                  <a:pt x="1552" y="217"/>
                </a:lnTo>
                <a:lnTo>
                  <a:pt x="1557" y="227"/>
                </a:lnTo>
                <a:lnTo>
                  <a:pt x="1560" y="235"/>
                </a:lnTo>
                <a:lnTo>
                  <a:pt x="1561" y="241"/>
                </a:lnTo>
                <a:lnTo>
                  <a:pt x="1562" y="248"/>
                </a:lnTo>
                <a:lnTo>
                  <a:pt x="1561" y="251"/>
                </a:lnTo>
                <a:lnTo>
                  <a:pt x="1561" y="253"/>
                </a:lnTo>
                <a:lnTo>
                  <a:pt x="1561" y="253"/>
                </a:lnTo>
                <a:lnTo>
                  <a:pt x="1488" y="292"/>
                </a:lnTo>
                <a:lnTo>
                  <a:pt x="1416" y="333"/>
                </a:lnTo>
                <a:lnTo>
                  <a:pt x="1347" y="376"/>
                </a:lnTo>
                <a:lnTo>
                  <a:pt x="1278" y="422"/>
                </a:lnTo>
                <a:lnTo>
                  <a:pt x="1210" y="468"/>
                </a:lnTo>
                <a:lnTo>
                  <a:pt x="1144" y="517"/>
                </a:lnTo>
                <a:lnTo>
                  <a:pt x="1079" y="566"/>
                </a:lnTo>
                <a:lnTo>
                  <a:pt x="1016" y="619"/>
                </a:lnTo>
                <a:lnTo>
                  <a:pt x="954" y="673"/>
                </a:lnTo>
                <a:lnTo>
                  <a:pt x="893" y="728"/>
                </a:lnTo>
                <a:lnTo>
                  <a:pt x="834" y="785"/>
                </a:lnTo>
                <a:lnTo>
                  <a:pt x="776" y="843"/>
                </a:lnTo>
                <a:lnTo>
                  <a:pt x="720" y="902"/>
                </a:lnTo>
                <a:lnTo>
                  <a:pt x="666" y="964"/>
                </a:lnTo>
                <a:lnTo>
                  <a:pt x="614" y="1027"/>
                </a:lnTo>
                <a:lnTo>
                  <a:pt x="562" y="1091"/>
                </a:lnTo>
                <a:lnTo>
                  <a:pt x="512" y="1157"/>
                </a:lnTo>
                <a:lnTo>
                  <a:pt x="465" y="1224"/>
                </a:lnTo>
                <a:lnTo>
                  <a:pt x="420" y="1293"/>
                </a:lnTo>
                <a:lnTo>
                  <a:pt x="375" y="1362"/>
                </a:lnTo>
                <a:lnTo>
                  <a:pt x="333" y="1432"/>
                </a:lnTo>
                <a:lnTo>
                  <a:pt x="293" y="1505"/>
                </a:lnTo>
                <a:lnTo>
                  <a:pt x="255" y="1578"/>
                </a:lnTo>
                <a:lnTo>
                  <a:pt x="218" y="1652"/>
                </a:lnTo>
                <a:lnTo>
                  <a:pt x="183" y="1728"/>
                </a:lnTo>
                <a:lnTo>
                  <a:pt x="151" y="1804"/>
                </a:lnTo>
                <a:lnTo>
                  <a:pt x="122" y="1882"/>
                </a:lnTo>
                <a:lnTo>
                  <a:pt x="93" y="1961"/>
                </a:lnTo>
                <a:lnTo>
                  <a:pt x="67" y="2040"/>
                </a:lnTo>
                <a:lnTo>
                  <a:pt x="43" y="2122"/>
                </a:lnTo>
                <a:lnTo>
                  <a:pt x="20" y="2203"/>
                </a:lnTo>
                <a:lnTo>
                  <a:pt x="0" y="2285"/>
                </a:lnTo>
                <a:lnTo>
                  <a:pt x="224" y="2784"/>
                </a:lnTo>
                <a:lnTo>
                  <a:pt x="224" y="2784"/>
                </a:lnTo>
                <a:lnTo>
                  <a:pt x="229" y="2724"/>
                </a:lnTo>
                <a:lnTo>
                  <a:pt x="234" y="2664"/>
                </a:lnTo>
                <a:lnTo>
                  <a:pt x="242" y="2605"/>
                </a:lnTo>
                <a:lnTo>
                  <a:pt x="250" y="2546"/>
                </a:lnTo>
                <a:lnTo>
                  <a:pt x="259" y="2488"/>
                </a:lnTo>
                <a:lnTo>
                  <a:pt x="270" y="2430"/>
                </a:lnTo>
                <a:lnTo>
                  <a:pt x="281" y="2371"/>
                </a:lnTo>
                <a:lnTo>
                  <a:pt x="295" y="2315"/>
                </a:lnTo>
                <a:lnTo>
                  <a:pt x="308" y="2258"/>
                </a:lnTo>
                <a:lnTo>
                  <a:pt x="323" y="2201"/>
                </a:lnTo>
                <a:lnTo>
                  <a:pt x="340" y="2145"/>
                </a:lnTo>
                <a:lnTo>
                  <a:pt x="358" y="2090"/>
                </a:lnTo>
                <a:lnTo>
                  <a:pt x="376" y="2035"/>
                </a:lnTo>
                <a:lnTo>
                  <a:pt x="396" y="1981"/>
                </a:lnTo>
                <a:lnTo>
                  <a:pt x="417" y="1927"/>
                </a:lnTo>
                <a:lnTo>
                  <a:pt x="439" y="1874"/>
                </a:lnTo>
                <a:lnTo>
                  <a:pt x="463" y="1820"/>
                </a:lnTo>
                <a:lnTo>
                  <a:pt x="486" y="1769"/>
                </a:lnTo>
                <a:lnTo>
                  <a:pt x="512" y="1718"/>
                </a:lnTo>
                <a:lnTo>
                  <a:pt x="538" y="1666"/>
                </a:lnTo>
                <a:lnTo>
                  <a:pt x="565" y="1617"/>
                </a:lnTo>
                <a:lnTo>
                  <a:pt x="594" y="1567"/>
                </a:lnTo>
                <a:lnTo>
                  <a:pt x="622" y="1518"/>
                </a:lnTo>
                <a:lnTo>
                  <a:pt x="653" y="1470"/>
                </a:lnTo>
                <a:lnTo>
                  <a:pt x="684" y="1421"/>
                </a:lnTo>
                <a:lnTo>
                  <a:pt x="716" y="1374"/>
                </a:lnTo>
                <a:lnTo>
                  <a:pt x="750" y="1329"/>
                </a:lnTo>
                <a:lnTo>
                  <a:pt x="783" y="1283"/>
                </a:lnTo>
                <a:lnTo>
                  <a:pt x="818" y="1238"/>
                </a:lnTo>
                <a:lnTo>
                  <a:pt x="854" y="1194"/>
                </a:lnTo>
                <a:lnTo>
                  <a:pt x="891" y="1151"/>
                </a:lnTo>
                <a:lnTo>
                  <a:pt x="928" y="1109"/>
                </a:lnTo>
                <a:lnTo>
                  <a:pt x="966" y="1067"/>
                </a:lnTo>
                <a:lnTo>
                  <a:pt x="1006" y="1026"/>
                </a:lnTo>
                <a:lnTo>
                  <a:pt x="1046" y="985"/>
                </a:lnTo>
                <a:lnTo>
                  <a:pt x="1087" y="946"/>
                </a:lnTo>
                <a:lnTo>
                  <a:pt x="1128" y="907"/>
                </a:lnTo>
                <a:lnTo>
                  <a:pt x="1171" y="870"/>
                </a:lnTo>
                <a:lnTo>
                  <a:pt x="1215" y="833"/>
                </a:lnTo>
                <a:lnTo>
                  <a:pt x="1258" y="797"/>
                </a:lnTo>
                <a:lnTo>
                  <a:pt x="1302" y="763"/>
                </a:lnTo>
                <a:lnTo>
                  <a:pt x="1348" y="728"/>
                </a:lnTo>
                <a:lnTo>
                  <a:pt x="1395" y="695"/>
                </a:lnTo>
                <a:lnTo>
                  <a:pt x="1441" y="663"/>
                </a:lnTo>
                <a:lnTo>
                  <a:pt x="1489" y="632"/>
                </a:lnTo>
                <a:lnTo>
                  <a:pt x="1537" y="601"/>
                </a:lnTo>
                <a:lnTo>
                  <a:pt x="1587" y="571"/>
                </a:lnTo>
                <a:lnTo>
                  <a:pt x="1636" y="544"/>
                </a:lnTo>
                <a:lnTo>
                  <a:pt x="1686" y="516"/>
                </a:lnTo>
                <a:lnTo>
                  <a:pt x="1736" y="490"/>
                </a:lnTo>
                <a:lnTo>
                  <a:pt x="1788" y="465"/>
                </a:lnTo>
                <a:lnTo>
                  <a:pt x="1840" y="440"/>
                </a:lnTo>
                <a:lnTo>
                  <a:pt x="1893" y="417"/>
                </a:lnTo>
                <a:lnTo>
                  <a:pt x="1947" y="395"/>
                </a:lnTo>
                <a:lnTo>
                  <a:pt x="2000" y="374"/>
                </a:lnTo>
                <a:lnTo>
                  <a:pt x="2054" y="354"/>
                </a:lnTo>
                <a:lnTo>
                  <a:pt x="2108" y="335"/>
                </a:lnTo>
                <a:lnTo>
                  <a:pt x="2164" y="317"/>
                </a:lnTo>
                <a:lnTo>
                  <a:pt x="2220" y="301"/>
                </a:lnTo>
                <a:lnTo>
                  <a:pt x="2277" y="285"/>
                </a:lnTo>
                <a:lnTo>
                  <a:pt x="2333" y="271"/>
                </a:lnTo>
                <a:lnTo>
                  <a:pt x="2390" y="257"/>
                </a:lnTo>
                <a:lnTo>
                  <a:pt x="2447" y="245"/>
                </a:lnTo>
                <a:lnTo>
                  <a:pt x="2505" y="235"/>
                </a:lnTo>
                <a:lnTo>
                  <a:pt x="2505" y="235"/>
                </a:lnTo>
                <a:lnTo>
                  <a:pt x="2492" y="228"/>
                </a:lnTo>
                <a:lnTo>
                  <a:pt x="2450" y="209"/>
                </a:lnTo>
                <a:lnTo>
                  <a:pt x="2383" y="182"/>
                </a:lnTo>
                <a:lnTo>
                  <a:pt x="2341" y="166"/>
                </a:lnTo>
                <a:lnTo>
                  <a:pt x="2294" y="149"/>
                </a:lnTo>
                <a:lnTo>
                  <a:pt x="2242" y="131"/>
                </a:lnTo>
                <a:lnTo>
                  <a:pt x="2185" y="114"/>
                </a:lnTo>
                <a:lnTo>
                  <a:pt x="2125" y="96"/>
                </a:lnTo>
                <a:lnTo>
                  <a:pt x="2059" y="78"/>
                </a:lnTo>
                <a:lnTo>
                  <a:pt x="1991" y="62"/>
                </a:lnTo>
                <a:lnTo>
                  <a:pt x="1919" y="47"/>
                </a:lnTo>
                <a:lnTo>
                  <a:pt x="1845" y="34"/>
                </a:lnTo>
                <a:lnTo>
                  <a:pt x="1768" y="23"/>
                </a:lnTo>
                <a:lnTo>
                  <a:pt x="1768" y="23"/>
                </a:lnTo>
                <a:close/>
              </a:path>
            </a:pathLst>
          </a:custGeom>
          <a:solidFill>
            <a:schemeClr val="accent5"/>
          </a:solidFill>
          <a:ln w="1588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5"/>
          <p:cNvSpPr>
            <a:spLocks/>
          </p:cNvSpPr>
          <p:nvPr/>
        </p:nvSpPr>
        <p:spPr bwMode="auto">
          <a:xfrm rot="17371128">
            <a:off x="3910341" y="3564752"/>
            <a:ext cx="590960" cy="657040"/>
          </a:xfrm>
          <a:custGeom>
            <a:avLst/>
            <a:gdLst>
              <a:gd name="T0" fmla="*/ 1724 w 2505"/>
              <a:gd name="T1" fmla="*/ 18 h 2784"/>
              <a:gd name="T2" fmla="*/ 1519 w 2505"/>
              <a:gd name="T3" fmla="*/ 2 h 2784"/>
              <a:gd name="T4" fmla="*/ 1307 w 2505"/>
              <a:gd name="T5" fmla="*/ 4 h 2784"/>
              <a:gd name="T6" fmla="*/ 1140 w 2505"/>
              <a:gd name="T7" fmla="*/ 18 h 2784"/>
              <a:gd name="T8" fmla="*/ 1027 w 2505"/>
              <a:gd name="T9" fmla="*/ 36 h 2784"/>
              <a:gd name="T10" fmla="*/ 969 w 2505"/>
              <a:gd name="T11" fmla="*/ 49 h 2784"/>
              <a:gd name="T12" fmla="*/ 1097 w 2505"/>
              <a:gd name="T13" fmla="*/ 49 h 2784"/>
              <a:gd name="T14" fmla="*/ 1218 w 2505"/>
              <a:gd name="T15" fmla="*/ 59 h 2784"/>
              <a:gd name="T16" fmla="*/ 1311 w 2505"/>
              <a:gd name="T17" fmla="*/ 76 h 2784"/>
              <a:gd name="T18" fmla="*/ 1380 w 2505"/>
              <a:gd name="T19" fmla="*/ 97 h 2784"/>
              <a:gd name="T20" fmla="*/ 1472 w 2505"/>
              <a:gd name="T21" fmla="*/ 140 h 2784"/>
              <a:gd name="T22" fmla="*/ 1526 w 2505"/>
              <a:gd name="T23" fmla="*/ 181 h 2784"/>
              <a:gd name="T24" fmla="*/ 1552 w 2505"/>
              <a:gd name="T25" fmla="*/ 217 h 2784"/>
              <a:gd name="T26" fmla="*/ 1561 w 2505"/>
              <a:gd name="T27" fmla="*/ 241 h 2784"/>
              <a:gd name="T28" fmla="*/ 1561 w 2505"/>
              <a:gd name="T29" fmla="*/ 253 h 2784"/>
              <a:gd name="T30" fmla="*/ 1416 w 2505"/>
              <a:gd name="T31" fmla="*/ 333 h 2784"/>
              <a:gd name="T32" fmla="*/ 1210 w 2505"/>
              <a:gd name="T33" fmla="*/ 468 h 2784"/>
              <a:gd name="T34" fmla="*/ 1016 w 2505"/>
              <a:gd name="T35" fmla="*/ 619 h 2784"/>
              <a:gd name="T36" fmla="*/ 834 w 2505"/>
              <a:gd name="T37" fmla="*/ 785 h 2784"/>
              <a:gd name="T38" fmla="*/ 666 w 2505"/>
              <a:gd name="T39" fmla="*/ 964 h 2784"/>
              <a:gd name="T40" fmla="*/ 512 w 2505"/>
              <a:gd name="T41" fmla="*/ 1157 h 2784"/>
              <a:gd name="T42" fmla="*/ 375 w 2505"/>
              <a:gd name="T43" fmla="*/ 1362 h 2784"/>
              <a:gd name="T44" fmla="*/ 255 w 2505"/>
              <a:gd name="T45" fmla="*/ 1578 h 2784"/>
              <a:gd name="T46" fmla="*/ 151 w 2505"/>
              <a:gd name="T47" fmla="*/ 1804 h 2784"/>
              <a:gd name="T48" fmla="*/ 67 w 2505"/>
              <a:gd name="T49" fmla="*/ 2040 h 2784"/>
              <a:gd name="T50" fmla="*/ 0 w 2505"/>
              <a:gd name="T51" fmla="*/ 2285 h 2784"/>
              <a:gd name="T52" fmla="*/ 229 w 2505"/>
              <a:gd name="T53" fmla="*/ 2724 h 2784"/>
              <a:gd name="T54" fmla="*/ 250 w 2505"/>
              <a:gd name="T55" fmla="*/ 2546 h 2784"/>
              <a:gd name="T56" fmla="*/ 281 w 2505"/>
              <a:gd name="T57" fmla="*/ 2371 h 2784"/>
              <a:gd name="T58" fmla="*/ 323 w 2505"/>
              <a:gd name="T59" fmla="*/ 2201 h 2784"/>
              <a:gd name="T60" fmla="*/ 376 w 2505"/>
              <a:gd name="T61" fmla="*/ 2035 h 2784"/>
              <a:gd name="T62" fmla="*/ 439 w 2505"/>
              <a:gd name="T63" fmla="*/ 1874 h 2784"/>
              <a:gd name="T64" fmla="*/ 512 w 2505"/>
              <a:gd name="T65" fmla="*/ 1718 h 2784"/>
              <a:gd name="T66" fmla="*/ 594 w 2505"/>
              <a:gd name="T67" fmla="*/ 1567 h 2784"/>
              <a:gd name="T68" fmla="*/ 684 w 2505"/>
              <a:gd name="T69" fmla="*/ 1421 h 2784"/>
              <a:gd name="T70" fmla="*/ 783 w 2505"/>
              <a:gd name="T71" fmla="*/ 1283 h 2784"/>
              <a:gd name="T72" fmla="*/ 891 w 2505"/>
              <a:gd name="T73" fmla="*/ 1151 h 2784"/>
              <a:gd name="T74" fmla="*/ 1006 w 2505"/>
              <a:gd name="T75" fmla="*/ 1026 h 2784"/>
              <a:gd name="T76" fmla="*/ 1128 w 2505"/>
              <a:gd name="T77" fmla="*/ 907 h 2784"/>
              <a:gd name="T78" fmla="*/ 1258 w 2505"/>
              <a:gd name="T79" fmla="*/ 797 h 2784"/>
              <a:gd name="T80" fmla="*/ 1395 w 2505"/>
              <a:gd name="T81" fmla="*/ 695 h 2784"/>
              <a:gd name="T82" fmla="*/ 1537 w 2505"/>
              <a:gd name="T83" fmla="*/ 601 h 2784"/>
              <a:gd name="T84" fmla="*/ 1686 w 2505"/>
              <a:gd name="T85" fmla="*/ 516 h 2784"/>
              <a:gd name="T86" fmla="*/ 1840 w 2505"/>
              <a:gd name="T87" fmla="*/ 440 h 2784"/>
              <a:gd name="T88" fmla="*/ 2000 w 2505"/>
              <a:gd name="T89" fmla="*/ 374 h 2784"/>
              <a:gd name="T90" fmla="*/ 2164 w 2505"/>
              <a:gd name="T91" fmla="*/ 317 h 2784"/>
              <a:gd name="T92" fmla="*/ 2333 w 2505"/>
              <a:gd name="T93" fmla="*/ 271 h 2784"/>
              <a:gd name="T94" fmla="*/ 2505 w 2505"/>
              <a:gd name="T95" fmla="*/ 235 h 2784"/>
              <a:gd name="T96" fmla="*/ 2450 w 2505"/>
              <a:gd name="T97" fmla="*/ 209 h 2784"/>
              <a:gd name="T98" fmla="*/ 2294 w 2505"/>
              <a:gd name="T99" fmla="*/ 149 h 2784"/>
              <a:gd name="T100" fmla="*/ 2125 w 2505"/>
              <a:gd name="T101" fmla="*/ 96 h 2784"/>
              <a:gd name="T102" fmla="*/ 1919 w 2505"/>
              <a:gd name="T103" fmla="*/ 47 h 2784"/>
              <a:gd name="T104" fmla="*/ 1768 w 2505"/>
              <a:gd name="T105" fmla="*/ 23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05" h="2784">
                <a:moveTo>
                  <a:pt x="1768" y="23"/>
                </a:moveTo>
                <a:lnTo>
                  <a:pt x="1768" y="23"/>
                </a:lnTo>
                <a:lnTo>
                  <a:pt x="1724" y="18"/>
                </a:lnTo>
                <a:lnTo>
                  <a:pt x="1682" y="13"/>
                </a:lnTo>
                <a:lnTo>
                  <a:pt x="1598" y="7"/>
                </a:lnTo>
                <a:lnTo>
                  <a:pt x="1519" y="2"/>
                </a:lnTo>
                <a:lnTo>
                  <a:pt x="1445" y="0"/>
                </a:lnTo>
                <a:lnTo>
                  <a:pt x="1373" y="2"/>
                </a:lnTo>
                <a:lnTo>
                  <a:pt x="1307" y="4"/>
                </a:lnTo>
                <a:lnTo>
                  <a:pt x="1247" y="8"/>
                </a:lnTo>
                <a:lnTo>
                  <a:pt x="1191" y="13"/>
                </a:lnTo>
                <a:lnTo>
                  <a:pt x="1140" y="18"/>
                </a:lnTo>
                <a:lnTo>
                  <a:pt x="1097" y="24"/>
                </a:lnTo>
                <a:lnTo>
                  <a:pt x="1059" y="30"/>
                </a:lnTo>
                <a:lnTo>
                  <a:pt x="1027" y="36"/>
                </a:lnTo>
                <a:lnTo>
                  <a:pt x="983" y="45"/>
                </a:lnTo>
                <a:lnTo>
                  <a:pt x="969" y="49"/>
                </a:lnTo>
                <a:lnTo>
                  <a:pt x="969" y="49"/>
                </a:lnTo>
                <a:lnTo>
                  <a:pt x="1004" y="47"/>
                </a:lnTo>
                <a:lnTo>
                  <a:pt x="1045" y="47"/>
                </a:lnTo>
                <a:lnTo>
                  <a:pt x="1097" y="49"/>
                </a:lnTo>
                <a:lnTo>
                  <a:pt x="1155" y="52"/>
                </a:lnTo>
                <a:lnTo>
                  <a:pt x="1186" y="55"/>
                </a:lnTo>
                <a:lnTo>
                  <a:pt x="1218" y="59"/>
                </a:lnTo>
                <a:lnTo>
                  <a:pt x="1249" y="63"/>
                </a:lnTo>
                <a:lnTo>
                  <a:pt x="1280" y="68"/>
                </a:lnTo>
                <a:lnTo>
                  <a:pt x="1311" y="76"/>
                </a:lnTo>
                <a:lnTo>
                  <a:pt x="1341" y="83"/>
                </a:lnTo>
                <a:lnTo>
                  <a:pt x="1341" y="83"/>
                </a:lnTo>
                <a:lnTo>
                  <a:pt x="1380" y="97"/>
                </a:lnTo>
                <a:lnTo>
                  <a:pt x="1416" y="112"/>
                </a:lnTo>
                <a:lnTo>
                  <a:pt x="1446" y="125"/>
                </a:lnTo>
                <a:lnTo>
                  <a:pt x="1472" y="140"/>
                </a:lnTo>
                <a:lnTo>
                  <a:pt x="1494" y="154"/>
                </a:lnTo>
                <a:lnTo>
                  <a:pt x="1511" y="167"/>
                </a:lnTo>
                <a:lnTo>
                  <a:pt x="1526" y="181"/>
                </a:lnTo>
                <a:lnTo>
                  <a:pt x="1537" y="193"/>
                </a:lnTo>
                <a:lnTo>
                  <a:pt x="1546" y="206"/>
                </a:lnTo>
                <a:lnTo>
                  <a:pt x="1552" y="217"/>
                </a:lnTo>
                <a:lnTo>
                  <a:pt x="1557" y="227"/>
                </a:lnTo>
                <a:lnTo>
                  <a:pt x="1560" y="235"/>
                </a:lnTo>
                <a:lnTo>
                  <a:pt x="1561" y="241"/>
                </a:lnTo>
                <a:lnTo>
                  <a:pt x="1562" y="248"/>
                </a:lnTo>
                <a:lnTo>
                  <a:pt x="1561" y="251"/>
                </a:lnTo>
                <a:lnTo>
                  <a:pt x="1561" y="253"/>
                </a:lnTo>
                <a:lnTo>
                  <a:pt x="1561" y="253"/>
                </a:lnTo>
                <a:lnTo>
                  <a:pt x="1488" y="292"/>
                </a:lnTo>
                <a:lnTo>
                  <a:pt x="1416" y="333"/>
                </a:lnTo>
                <a:lnTo>
                  <a:pt x="1347" y="376"/>
                </a:lnTo>
                <a:lnTo>
                  <a:pt x="1278" y="422"/>
                </a:lnTo>
                <a:lnTo>
                  <a:pt x="1210" y="468"/>
                </a:lnTo>
                <a:lnTo>
                  <a:pt x="1144" y="517"/>
                </a:lnTo>
                <a:lnTo>
                  <a:pt x="1079" y="566"/>
                </a:lnTo>
                <a:lnTo>
                  <a:pt x="1016" y="619"/>
                </a:lnTo>
                <a:lnTo>
                  <a:pt x="954" y="673"/>
                </a:lnTo>
                <a:lnTo>
                  <a:pt x="893" y="728"/>
                </a:lnTo>
                <a:lnTo>
                  <a:pt x="834" y="785"/>
                </a:lnTo>
                <a:lnTo>
                  <a:pt x="776" y="843"/>
                </a:lnTo>
                <a:lnTo>
                  <a:pt x="720" y="902"/>
                </a:lnTo>
                <a:lnTo>
                  <a:pt x="666" y="964"/>
                </a:lnTo>
                <a:lnTo>
                  <a:pt x="614" y="1027"/>
                </a:lnTo>
                <a:lnTo>
                  <a:pt x="562" y="1091"/>
                </a:lnTo>
                <a:lnTo>
                  <a:pt x="512" y="1157"/>
                </a:lnTo>
                <a:lnTo>
                  <a:pt x="465" y="1224"/>
                </a:lnTo>
                <a:lnTo>
                  <a:pt x="420" y="1293"/>
                </a:lnTo>
                <a:lnTo>
                  <a:pt x="375" y="1362"/>
                </a:lnTo>
                <a:lnTo>
                  <a:pt x="333" y="1432"/>
                </a:lnTo>
                <a:lnTo>
                  <a:pt x="293" y="1505"/>
                </a:lnTo>
                <a:lnTo>
                  <a:pt x="255" y="1578"/>
                </a:lnTo>
                <a:lnTo>
                  <a:pt x="218" y="1652"/>
                </a:lnTo>
                <a:lnTo>
                  <a:pt x="183" y="1728"/>
                </a:lnTo>
                <a:lnTo>
                  <a:pt x="151" y="1804"/>
                </a:lnTo>
                <a:lnTo>
                  <a:pt x="122" y="1882"/>
                </a:lnTo>
                <a:lnTo>
                  <a:pt x="93" y="1961"/>
                </a:lnTo>
                <a:lnTo>
                  <a:pt x="67" y="2040"/>
                </a:lnTo>
                <a:lnTo>
                  <a:pt x="43" y="2122"/>
                </a:lnTo>
                <a:lnTo>
                  <a:pt x="20" y="2203"/>
                </a:lnTo>
                <a:lnTo>
                  <a:pt x="0" y="2285"/>
                </a:lnTo>
                <a:lnTo>
                  <a:pt x="224" y="2784"/>
                </a:lnTo>
                <a:lnTo>
                  <a:pt x="224" y="2784"/>
                </a:lnTo>
                <a:lnTo>
                  <a:pt x="229" y="2724"/>
                </a:lnTo>
                <a:lnTo>
                  <a:pt x="234" y="2664"/>
                </a:lnTo>
                <a:lnTo>
                  <a:pt x="242" y="2605"/>
                </a:lnTo>
                <a:lnTo>
                  <a:pt x="250" y="2546"/>
                </a:lnTo>
                <a:lnTo>
                  <a:pt x="259" y="2488"/>
                </a:lnTo>
                <a:lnTo>
                  <a:pt x="270" y="2430"/>
                </a:lnTo>
                <a:lnTo>
                  <a:pt x="281" y="2371"/>
                </a:lnTo>
                <a:lnTo>
                  <a:pt x="295" y="2315"/>
                </a:lnTo>
                <a:lnTo>
                  <a:pt x="308" y="2258"/>
                </a:lnTo>
                <a:lnTo>
                  <a:pt x="323" y="2201"/>
                </a:lnTo>
                <a:lnTo>
                  <a:pt x="340" y="2145"/>
                </a:lnTo>
                <a:lnTo>
                  <a:pt x="358" y="2090"/>
                </a:lnTo>
                <a:lnTo>
                  <a:pt x="376" y="2035"/>
                </a:lnTo>
                <a:lnTo>
                  <a:pt x="396" y="1981"/>
                </a:lnTo>
                <a:lnTo>
                  <a:pt x="417" y="1927"/>
                </a:lnTo>
                <a:lnTo>
                  <a:pt x="439" y="1874"/>
                </a:lnTo>
                <a:lnTo>
                  <a:pt x="463" y="1820"/>
                </a:lnTo>
                <a:lnTo>
                  <a:pt x="486" y="1769"/>
                </a:lnTo>
                <a:lnTo>
                  <a:pt x="512" y="1718"/>
                </a:lnTo>
                <a:lnTo>
                  <a:pt x="538" y="1666"/>
                </a:lnTo>
                <a:lnTo>
                  <a:pt x="565" y="1617"/>
                </a:lnTo>
                <a:lnTo>
                  <a:pt x="594" y="1567"/>
                </a:lnTo>
                <a:lnTo>
                  <a:pt x="622" y="1518"/>
                </a:lnTo>
                <a:lnTo>
                  <a:pt x="653" y="1470"/>
                </a:lnTo>
                <a:lnTo>
                  <a:pt x="684" y="1421"/>
                </a:lnTo>
                <a:lnTo>
                  <a:pt x="716" y="1374"/>
                </a:lnTo>
                <a:lnTo>
                  <a:pt x="750" y="1329"/>
                </a:lnTo>
                <a:lnTo>
                  <a:pt x="783" y="1283"/>
                </a:lnTo>
                <a:lnTo>
                  <a:pt x="818" y="1238"/>
                </a:lnTo>
                <a:lnTo>
                  <a:pt x="854" y="1194"/>
                </a:lnTo>
                <a:lnTo>
                  <a:pt x="891" y="1151"/>
                </a:lnTo>
                <a:lnTo>
                  <a:pt x="928" y="1109"/>
                </a:lnTo>
                <a:lnTo>
                  <a:pt x="966" y="1067"/>
                </a:lnTo>
                <a:lnTo>
                  <a:pt x="1006" y="1026"/>
                </a:lnTo>
                <a:lnTo>
                  <a:pt x="1046" y="985"/>
                </a:lnTo>
                <a:lnTo>
                  <a:pt x="1087" y="946"/>
                </a:lnTo>
                <a:lnTo>
                  <a:pt x="1128" y="907"/>
                </a:lnTo>
                <a:lnTo>
                  <a:pt x="1171" y="870"/>
                </a:lnTo>
                <a:lnTo>
                  <a:pt x="1215" y="833"/>
                </a:lnTo>
                <a:lnTo>
                  <a:pt x="1258" y="797"/>
                </a:lnTo>
                <a:lnTo>
                  <a:pt x="1302" y="763"/>
                </a:lnTo>
                <a:lnTo>
                  <a:pt x="1348" y="728"/>
                </a:lnTo>
                <a:lnTo>
                  <a:pt x="1395" y="695"/>
                </a:lnTo>
                <a:lnTo>
                  <a:pt x="1441" y="663"/>
                </a:lnTo>
                <a:lnTo>
                  <a:pt x="1489" y="632"/>
                </a:lnTo>
                <a:lnTo>
                  <a:pt x="1537" y="601"/>
                </a:lnTo>
                <a:lnTo>
                  <a:pt x="1587" y="571"/>
                </a:lnTo>
                <a:lnTo>
                  <a:pt x="1636" y="544"/>
                </a:lnTo>
                <a:lnTo>
                  <a:pt x="1686" y="516"/>
                </a:lnTo>
                <a:lnTo>
                  <a:pt x="1736" y="490"/>
                </a:lnTo>
                <a:lnTo>
                  <a:pt x="1788" y="465"/>
                </a:lnTo>
                <a:lnTo>
                  <a:pt x="1840" y="440"/>
                </a:lnTo>
                <a:lnTo>
                  <a:pt x="1893" y="417"/>
                </a:lnTo>
                <a:lnTo>
                  <a:pt x="1947" y="395"/>
                </a:lnTo>
                <a:lnTo>
                  <a:pt x="2000" y="374"/>
                </a:lnTo>
                <a:lnTo>
                  <a:pt x="2054" y="354"/>
                </a:lnTo>
                <a:lnTo>
                  <a:pt x="2108" y="335"/>
                </a:lnTo>
                <a:lnTo>
                  <a:pt x="2164" y="317"/>
                </a:lnTo>
                <a:lnTo>
                  <a:pt x="2220" y="301"/>
                </a:lnTo>
                <a:lnTo>
                  <a:pt x="2277" y="285"/>
                </a:lnTo>
                <a:lnTo>
                  <a:pt x="2333" y="271"/>
                </a:lnTo>
                <a:lnTo>
                  <a:pt x="2390" y="257"/>
                </a:lnTo>
                <a:lnTo>
                  <a:pt x="2447" y="245"/>
                </a:lnTo>
                <a:lnTo>
                  <a:pt x="2505" y="235"/>
                </a:lnTo>
                <a:lnTo>
                  <a:pt x="2505" y="235"/>
                </a:lnTo>
                <a:lnTo>
                  <a:pt x="2492" y="228"/>
                </a:lnTo>
                <a:lnTo>
                  <a:pt x="2450" y="209"/>
                </a:lnTo>
                <a:lnTo>
                  <a:pt x="2383" y="182"/>
                </a:lnTo>
                <a:lnTo>
                  <a:pt x="2341" y="166"/>
                </a:lnTo>
                <a:lnTo>
                  <a:pt x="2294" y="149"/>
                </a:lnTo>
                <a:lnTo>
                  <a:pt x="2242" y="131"/>
                </a:lnTo>
                <a:lnTo>
                  <a:pt x="2185" y="114"/>
                </a:lnTo>
                <a:lnTo>
                  <a:pt x="2125" y="96"/>
                </a:lnTo>
                <a:lnTo>
                  <a:pt x="2059" y="78"/>
                </a:lnTo>
                <a:lnTo>
                  <a:pt x="1991" y="62"/>
                </a:lnTo>
                <a:lnTo>
                  <a:pt x="1919" y="47"/>
                </a:lnTo>
                <a:lnTo>
                  <a:pt x="1845" y="34"/>
                </a:lnTo>
                <a:lnTo>
                  <a:pt x="1768" y="23"/>
                </a:lnTo>
                <a:lnTo>
                  <a:pt x="1768" y="23"/>
                </a:lnTo>
                <a:close/>
              </a:path>
            </a:pathLst>
          </a:custGeom>
          <a:solidFill>
            <a:schemeClr val="accent5"/>
          </a:solidFill>
          <a:ln w="1588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5" name="Freeform 5"/>
          <p:cNvSpPr>
            <a:spLocks/>
          </p:cNvSpPr>
          <p:nvPr/>
        </p:nvSpPr>
        <p:spPr bwMode="auto">
          <a:xfrm rot="10050568">
            <a:off x="5383928" y="2135370"/>
            <a:ext cx="572308" cy="636301"/>
          </a:xfrm>
          <a:custGeom>
            <a:avLst/>
            <a:gdLst>
              <a:gd name="T0" fmla="*/ 1724 w 2505"/>
              <a:gd name="T1" fmla="*/ 18 h 2784"/>
              <a:gd name="T2" fmla="*/ 1519 w 2505"/>
              <a:gd name="T3" fmla="*/ 2 h 2784"/>
              <a:gd name="T4" fmla="*/ 1307 w 2505"/>
              <a:gd name="T5" fmla="*/ 4 h 2784"/>
              <a:gd name="T6" fmla="*/ 1140 w 2505"/>
              <a:gd name="T7" fmla="*/ 18 h 2784"/>
              <a:gd name="T8" fmla="*/ 1027 w 2505"/>
              <a:gd name="T9" fmla="*/ 36 h 2784"/>
              <a:gd name="T10" fmla="*/ 969 w 2505"/>
              <a:gd name="T11" fmla="*/ 49 h 2784"/>
              <a:gd name="T12" fmla="*/ 1097 w 2505"/>
              <a:gd name="T13" fmla="*/ 49 h 2784"/>
              <a:gd name="T14" fmla="*/ 1218 w 2505"/>
              <a:gd name="T15" fmla="*/ 59 h 2784"/>
              <a:gd name="T16" fmla="*/ 1311 w 2505"/>
              <a:gd name="T17" fmla="*/ 76 h 2784"/>
              <a:gd name="T18" fmla="*/ 1380 w 2505"/>
              <a:gd name="T19" fmla="*/ 97 h 2784"/>
              <a:gd name="T20" fmla="*/ 1472 w 2505"/>
              <a:gd name="T21" fmla="*/ 140 h 2784"/>
              <a:gd name="T22" fmla="*/ 1526 w 2505"/>
              <a:gd name="T23" fmla="*/ 181 h 2784"/>
              <a:gd name="T24" fmla="*/ 1552 w 2505"/>
              <a:gd name="T25" fmla="*/ 217 h 2784"/>
              <a:gd name="T26" fmla="*/ 1561 w 2505"/>
              <a:gd name="T27" fmla="*/ 241 h 2784"/>
              <a:gd name="T28" fmla="*/ 1561 w 2505"/>
              <a:gd name="T29" fmla="*/ 253 h 2784"/>
              <a:gd name="T30" fmla="*/ 1416 w 2505"/>
              <a:gd name="T31" fmla="*/ 333 h 2784"/>
              <a:gd name="T32" fmla="*/ 1210 w 2505"/>
              <a:gd name="T33" fmla="*/ 468 h 2784"/>
              <a:gd name="T34" fmla="*/ 1016 w 2505"/>
              <a:gd name="T35" fmla="*/ 619 h 2784"/>
              <a:gd name="T36" fmla="*/ 834 w 2505"/>
              <a:gd name="T37" fmla="*/ 785 h 2784"/>
              <a:gd name="T38" fmla="*/ 666 w 2505"/>
              <a:gd name="T39" fmla="*/ 964 h 2784"/>
              <a:gd name="T40" fmla="*/ 512 w 2505"/>
              <a:gd name="T41" fmla="*/ 1157 h 2784"/>
              <a:gd name="T42" fmla="*/ 375 w 2505"/>
              <a:gd name="T43" fmla="*/ 1362 h 2784"/>
              <a:gd name="T44" fmla="*/ 255 w 2505"/>
              <a:gd name="T45" fmla="*/ 1578 h 2784"/>
              <a:gd name="T46" fmla="*/ 151 w 2505"/>
              <a:gd name="T47" fmla="*/ 1804 h 2784"/>
              <a:gd name="T48" fmla="*/ 67 w 2505"/>
              <a:gd name="T49" fmla="*/ 2040 h 2784"/>
              <a:gd name="T50" fmla="*/ 0 w 2505"/>
              <a:gd name="T51" fmla="*/ 2285 h 2784"/>
              <a:gd name="T52" fmla="*/ 229 w 2505"/>
              <a:gd name="T53" fmla="*/ 2724 h 2784"/>
              <a:gd name="T54" fmla="*/ 250 w 2505"/>
              <a:gd name="T55" fmla="*/ 2546 h 2784"/>
              <a:gd name="T56" fmla="*/ 281 w 2505"/>
              <a:gd name="T57" fmla="*/ 2371 h 2784"/>
              <a:gd name="T58" fmla="*/ 323 w 2505"/>
              <a:gd name="T59" fmla="*/ 2201 h 2784"/>
              <a:gd name="T60" fmla="*/ 376 w 2505"/>
              <a:gd name="T61" fmla="*/ 2035 h 2784"/>
              <a:gd name="T62" fmla="*/ 439 w 2505"/>
              <a:gd name="T63" fmla="*/ 1874 h 2784"/>
              <a:gd name="T64" fmla="*/ 512 w 2505"/>
              <a:gd name="T65" fmla="*/ 1718 h 2784"/>
              <a:gd name="T66" fmla="*/ 594 w 2505"/>
              <a:gd name="T67" fmla="*/ 1567 h 2784"/>
              <a:gd name="T68" fmla="*/ 684 w 2505"/>
              <a:gd name="T69" fmla="*/ 1421 h 2784"/>
              <a:gd name="T70" fmla="*/ 783 w 2505"/>
              <a:gd name="T71" fmla="*/ 1283 h 2784"/>
              <a:gd name="T72" fmla="*/ 891 w 2505"/>
              <a:gd name="T73" fmla="*/ 1151 h 2784"/>
              <a:gd name="T74" fmla="*/ 1006 w 2505"/>
              <a:gd name="T75" fmla="*/ 1026 h 2784"/>
              <a:gd name="T76" fmla="*/ 1128 w 2505"/>
              <a:gd name="T77" fmla="*/ 907 h 2784"/>
              <a:gd name="T78" fmla="*/ 1258 w 2505"/>
              <a:gd name="T79" fmla="*/ 797 h 2784"/>
              <a:gd name="T80" fmla="*/ 1395 w 2505"/>
              <a:gd name="T81" fmla="*/ 695 h 2784"/>
              <a:gd name="T82" fmla="*/ 1537 w 2505"/>
              <a:gd name="T83" fmla="*/ 601 h 2784"/>
              <a:gd name="T84" fmla="*/ 1686 w 2505"/>
              <a:gd name="T85" fmla="*/ 516 h 2784"/>
              <a:gd name="T86" fmla="*/ 1840 w 2505"/>
              <a:gd name="T87" fmla="*/ 440 h 2784"/>
              <a:gd name="T88" fmla="*/ 2000 w 2505"/>
              <a:gd name="T89" fmla="*/ 374 h 2784"/>
              <a:gd name="T90" fmla="*/ 2164 w 2505"/>
              <a:gd name="T91" fmla="*/ 317 h 2784"/>
              <a:gd name="T92" fmla="*/ 2333 w 2505"/>
              <a:gd name="T93" fmla="*/ 271 h 2784"/>
              <a:gd name="T94" fmla="*/ 2505 w 2505"/>
              <a:gd name="T95" fmla="*/ 235 h 2784"/>
              <a:gd name="T96" fmla="*/ 2450 w 2505"/>
              <a:gd name="T97" fmla="*/ 209 h 2784"/>
              <a:gd name="T98" fmla="*/ 2294 w 2505"/>
              <a:gd name="T99" fmla="*/ 149 h 2784"/>
              <a:gd name="T100" fmla="*/ 2125 w 2505"/>
              <a:gd name="T101" fmla="*/ 96 h 2784"/>
              <a:gd name="T102" fmla="*/ 1919 w 2505"/>
              <a:gd name="T103" fmla="*/ 47 h 2784"/>
              <a:gd name="T104" fmla="*/ 1768 w 2505"/>
              <a:gd name="T105" fmla="*/ 23 h 2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505" h="2784">
                <a:moveTo>
                  <a:pt x="1768" y="23"/>
                </a:moveTo>
                <a:lnTo>
                  <a:pt x="1768" y="23"/>
                </a:lnTo>
                <a:lnTo>
                  <a:pt x="1724" y="18"/>
                </a:lnTo>
                <a:lnTo>
                  <a:pt x="1682" y="13"/>
                </a:lnTo>
                <a:lnTo>
                  <a:pt x="1598" y="7"/>
                </a:lnTo>
                <a:lnTo>
                  <a:pt x="1519" y="2"/>
                </a:lnTo>
                <a:lnTo>
                  <a:pt x="1445" y="0"/>
                </a:lnTo>
                <a:lnTo>
                  <a:pt x="1373" y="2"/>
                </a:lnTo>
                <a:lnTo>
                  <a:pt x="1307" y="4"/>
                </a:lnTo>
                <a:lnTo>
                  <a:pt x="1247" y="8"/>
                </a:lnTo>
                <a:lnTo>
                  <a:pt x="1191" y="13"/>
                </a:lnTo>
                <a:lnTo>
                  <a:pt x="1140" y="18"/>
                </a:lnTo>
                <a:lnTo>
                  <a:pt x="1097" y="24"/>
                </a:lnTo>
                <a:lnTo>
                  <a:pt x="1059" y="30"/>
                </a:lnTo>
                <a:lnTo>
                  <a:pt x="1027" y="36"/>
                </a:lnTo>
                <a:lnTo>
                  <a:pt x="983" y="45"/>
                </a:lnTo>
                <a:lnTo>
                  <a:pt x="969" y="49"/>
                </a:lnTo>
                <a:lnTo>
                  <a:pt x="969" y="49"/>
                </a:lnTo>
                <a:lnTo>
                  <a:pt x="1004" y="47"/>
                </a:lnTo>
                <a:lnTo>
                  <a:pt x="1045" y="47"/>
                </a:lnTo>
                <a:lnTo>
                  <a:pt x="1097" y="49"/>
                </a:lnTo>
                <a:lnTo>
                  <a:pt x="1155" y="52"/>
                </a:lnTo>
                <a:lnTo>
                  <a:pt x="1186" y="55"/>
                </a:lnTo>
                <a:lnTo>
                  <a:pt x="1218" y="59"/>
                </a:lnTo>
                <a:lnTo>
                  <a:pt x="1249" y="63"/>
                </a:lnTo>
                <a:lnTo>
                  <a:pt x="1280" y="68"/>
                </a:lnTo>
                <a:lnTo>
                  <a:pt x="1311" y="76"/>
                </a:lnTo>
                <a:lnTo>
                  <a:pt x="1341" y="83"/>
                </a:lnTo>
                <a:lnTo>
                  <a:pt x="1341" y="83"/>
                </a:lnTo>
                <a:lnTo>
                  <a:pt x="1380" y="97"/>
                </a:lnTo>
                <a:lnTo>
                  <a:pt x="1416" y="112"/>
                </a:lnTo>
                <a:lnTo>
                  <a:pt x="1446" y="125"/>
                </a:lnTo>
                <a:lnTo>
                  <a:pt x="1472" y="140"/>
                </a:lnTo>
                <a:lnTo>
                  <a:pt x="1494" y="154"/>
                </a:lnTo>
                <a:lnTo>
                  <a:pt x="1511" y="167"/>
                </a:lnTo>
                <a:lnTo>
                  <a:pt x="1526" y="181"/>
                </a:lnTo>
                <a:lnTo>
                  <a:pt x="1537" y="193"/>
                </a:lnTo>
                <a:lnTo>
                  <a:pt x="1546" y="206"/>
                </a:lnTo>
                <a:lnTo>
                  <a:pt x="1552" y="217"/>
                </a:lnTo>
                <a:lnTo>
                  <a:pt x="1557" y="227"/>
                </a:lnTo>
                <a:lnTo>
                  <a:pt x="1560" y="235"/>
                </a:lnTo>
                <a:lnTo>
                  <a:pt x="1561" y="241"/>
                </a:lnTo>
                <a:lnTo>
                  <a:pt x="1562" y="248"/>
                </a:lnTo>
                <a:lnTo>
                  <a:pt x="1561" y="251"/>
                </a:lnTo>
                <a:lnTo>
                  <a:pt x="1561" y="253"/>
                </a:lnTo>
                <a:lnTo>
                  <a:pt x="1561" y="253"/>
                </a:lnTo>
                <a:lnTo>
                  <a:pt x="1488" y="292"/>
                </a:lnTo>
                <a:lnTo>
                  <a:pt x="1416" y="333"/>
                </a:lnTo>
                <a:lnTo>
                  <a:pt x="1347" y="376"/>
                </a:lnTo>
                <a:lnTo>
                  <a:pt x="1278" y="422"/>
                </a:lnTo>
                <a:lnTo>
                  <a:pt x="1210" y="468"/>
                </a:lnTo>
                <a:lnTo>
                  <a:pt x="1144" y="517"/>
                </a:lnTo>
                <a:lnTo>
                  <a:pt x="1079" y="566"/>
                </a:lnTo>
                <a:lnTo>
                  <a:pt x="1016" y="619"/>
                </a:lnTo>
                <a:lnTo>
                  <a:pt x="954" y="673"/>
                </a:lnTo>
                <a:lnTo>
                  <a:pt x="893" y="728"/>
                </a:lnTo>
                <a:lnTo>
                  <a:pt x="834" y="785"/>
                </a:lnTo>
                <a:lnTo>
                  <a:pt x="776" y="843"/>
                </a:lnTo>
                <a:lnTo>
                  <a:pt x="720" y="902"/>
                </a:lnTo>
                <a:lnTo>
                  <a:pt x="666" y="964"/>
                </a:lnTo>
                <a:lnTo>
                  <a:pt x="614" y="1027"/>
                </a:lnTo>
                <a:lnTo>
                  <a:pt x="562" y="1091"/>
                </a:lnTo>
                <a:lnTo>
                  <a:pt x="512" y="1157"/>
                </a:lnTo>
                <a:lnTo>
                  <a:pt x="465" y="1224"/>
                </a:lnTo>
                <a:lnTo>
                  <a:pt x="420" y="1293"/>
                </a:lnTo>
                <a:lnTo>
                  <a:pt x="375" y="1362"/>
                </a:lnTo>
                <a:lnTo>
                  <a:pt x="333" y="1432"/>
                </a:lnTo>
                <a:lnTo>
                  <a:pt x="293" y="1505"/>
                </a:lnTo>
                <a:lnTo>
                  <a:pt x="255" y="1578"/>
                </a:lnTo>
                <a:lnTo>
                  <a:pt x="218" y="1652"/>
                </a:lnTo>
                <a:lnTo>
                  <a:pt x="183" y="1728"/>
                </a:lnTo>
                <a:lnTo>
                  <a:pt x="151" y="1804"/>
                </a:lnTo>
                <a:lnTo>
                  <a:pt x="122" y="1882"/>
                </a:lnTo>
                <a:lnTo>
                  <a:pt x="93" y="1961"/>
                </a:lnTo>
                <a:lnTo>
                  <a:pt x="67" y="2040"/>
                </a:lnTo>
                <a:lnTo>
                  <a:pt x="43" y="2122"/>
                </a:lnTo>
                <a:lnTo>
                  <a:pt x="20" y="2203"/>
                </a:lnTo>
                <a:lnTo>
                  <a:pt x="0" y="2285"/>
                </a:lnTo>
                <a:lnTo>
                  <a:pt x="224" y="2784"/>
                </a:lnTo>
                <a:lnTo>
                  <a:pt x="224" y="2784"/>
                </a:lnTo>
                <a:lnTo>
                  <a:pt x="229" y="2724"/>
                </a:lnTo>
                <a:lnTo>
                  <a:pt x="234" y="2664"/>
                </a:lnTo>
                <a:lnTo>
                  <a:pt x="242" y="2605"/>
                </a:lnTo>
                <a:lnTo>
                  <a:pt x="250" y="2546"/>
                </a:lnTo>
                <a:lnTo>
                  <a:pt x="259" y="2488"/>
                </a:lnTo>
                <a:lnTo>
                  <a:pt x="270" y="2430"/>
                </a:lnTo>
                <a:lnTo>
                  <a:pt x="281" y="2371"/>
                </a:lnTo>
                <a:lnTo>
                  <a:pt x="295" y="2315"/>
                </a:lnTo>
                <a:lnTo>
                  <a:pt x="308" y="2258"/>
                </a:lnTo>
                <a:lnTo>
                  <a:pt x="323" y="2201"/>
                </a:lnTo>
                <a:lnTo>
                  <a:pt x="340" y="2145"/>
                </a:lnTo>
                <a:lnTo>
                  <a:pt x="358" y="2090"/>
                </a:lnTo>
                <a:lnTo>
                  <a:pt x="376" y="2035"/>
                </a:lnTo>
                <a:lnTo>
                  <a:pt x="396" y="1981"/>
                </a:lnTo>
                <a:lnTo>
                  <a:pt x="417" y="1927"/>
                </a:lnTo>
                <a:lnTo>
                  <a:pt x="439" y="1874"/>
                </a:lnTo>
                <a:lnTo>
                  <a:pt x="463" y="1820"/>
                </a:lnTo>
                <a:lnTo>
                  <a:pt x="486" y="1769"/>
                </a:lnTo>
                <a:lnTo>
                  <a:pt x="512" y="1718"/>
                </a:lnTo>
                <a:lnTo>
                  <a:pt x="538" y="1666"/>
                </a:lnTo>
                <a:lnTo>
                  <a:pt x="565" y="1617"/>
                </a:lnTo>
                <a:lnTo>
                  <a:pt x="594" y="1567"/>
                </a:lnTo>
                <a:lnTo>
                  <a:pt x="622" y="1518"/>
                </a:lnTo>
                <a:lnTo>
                  <a:pt x="653" y="1470"/>
                </a:lnTo>
                <a:lnTo>
                  <a:pt x="684" y="1421"/>
                </a:lnTo>
                <a:lnTo>
                  <a:pt x="716" y="1374"/>
                </a:lnTo>
                <a:lnTo>
                  <a:pt x="750" y="1329"/>
                </a:lnTo>
                <a:lnTo>
                  <a:pt x="783" y="1283"/>
                </a:lnTo>
                <a:lnTo>
                  <a:pt x="818" y="1238"/>
                </a:lnTo>
                <a:lnTo>
                  <a:pt x="854" y="1194"/>
                </a:lnTo>
                <a:lnTo>
                  <a:pt x="891" y="1151"/>
                </a:lnTo>
                <a:lnTo>
                  <a:pt x="928" y="1109"/>
                </a:lnTo>
                <a:lnTo>
                  <a:pt x="966" y="1067"/>
                </a:lnTo>
                <a:lnTo>
                  <a:pt x="1006" y="1026"/>
                </a:lnTo>
                <a:lnTo>
                  <a:pt x="1046" y="985"/>
                </a:lnTo>
                <a:lnTo>
                  <a:pt x="1087" y="946"/>
                </a:lnTo>
                <a:lnTo>
                  <a:pt x="1128" y="907"/>
                </a:lnTo>
                <a:lnTo>
                  <a:pt x="1171" y="870"/>
                </a:lnTo>
                <a:lnTo>
                  <a:pt x="1215" y="833"/>
                </a:lnTo>
                <a:lnTo>
                  <a:pt x="1258" y="797"/>
                </a:lnTo>
                <a:lnTo>
                  <a:pt x="1302" y="763"/>
                </a:lnTo>
                <a:lnTo>
                  <a:pt x="1348" y="728"/>
                </a:lnTo>
                <a:lnTo>
                  <a:pt x="1395" y="695"/>
                </a:lnTo>
                <a:lnTo>
                  <a:pt x="1441" y="663"/>
                </a:lnTo>
                <a:lnTo>
                  <a:pt x="1489" y="632"/>
                </a:lnTo>
                <a:lnTo>
                  <a:pt x="1537" y="601"/>
                </a:lnTo>
                <a:lnTo>
                  <a:pt x="1587" y="571"/>
                </a:lnTo>
                <a:lnTo>
                  <a:pt x="1636" y="544"/>
                </a:lnTo>
                <a:lnTo>
                  <a:pt x="1686" y="516"/>
                </a:lnTo>
                <a:lnTo>
                  <a:pt x="1736" y="490"/>
                </a:lnTo>
                <a:lnTo>
                  <a:pt x="1788" y="465"/>
                </a:lnTo>
                <a:lnTo>
                  <a:pt x="1840" y="440"/>
                </a:lnTo>
                <a:lnTo>
                  <a:pt x="1893" y="417"/>
                </a:lnTo>
                <a:lnTo>
                  <a:pt x="1947" y="395"/>
                </a:lnTo>
                <a:lnTo>
                  <a:pt x="2000" y="374"/>
                </a:lnTo>
                <a:lnTo>
                  <a:pt x="2054" y="354"/>
                </a:lnTo>
                <a:lnTo>
                  <a:pt x="2108" y="335"/>
                </a:lnTo>
                <a:lnTo>
                  <a:pt x="2164" y="317"/>
                </a:lnTo>
                <a:lnTo>
                  <a:pt x="2220" y="301"/>
                </a:lnTo>
                <a:lnTo>
                  <a:pt x="2277" y="285"/>
                </a:lnTo>
                <a:lnTo>
                  <a:pt x="2333" y="271"/>
                </a:lnTo>
                <a:lnTo>
                  <a:pt x="2390" y="257"/>
                </a:lnTo>
                <a:lnTo>
                  <a:pt x="2447" y="245"/>
                </a:lnTo>
                <a:lnTo>
                  <a:pt x="2505" y="235"/>
                </a:lnTo>
                <a:lnTo>
                  <a:pt x="2505" y="235"/>
                </a:lnTo>
                <a:lnTo>
                  <a:pt x="2492" y="228"/>
                </a:lnTo>
                <a:lnTo>
                  <a:pt x="2450" y="209"/>
                </a:lnTo>
                <a:lnTo>
                  <a:pt x="2383" y="182"/>
                </a:lnTo>
                <a:lnTo>
                  <a:pt x="2341" y="166"/>
                </a:lnTo>
                <a:lnTo>
                  <a:pt x="2294" y="149"/>
                </a:lnTo>
                <a:lnTo>
                  <a:pt x="2242" y="131"/>
                </a:lnTo>
                <a:lnTo>
                  <a:pt x="2185" y="114"/>
                </a:lnTo>
                <a:lnTo>
                  <a:pt x="2125" y="96"/>
                </a:lnTo>
                <a:lnTo>
                  <a:pt x="2059" y="78"/>
                </a:lnTo>
                <a:lnTo>
                  <a:pt x="1991" y="62"/>
                </a:lnTo>
                <a:lnTo>
                  <a:pt x="1919" y="47"/>
                </a:lnTo>
                <a:lnTo>
                  <a:pt x="1845" y="34"/>
                </a:lnTo>
                <a:lnTo>
                  <a:pt x="1768" y="23"/>
                </a:lnTo>
                <a:lnTo>
                  <a:pt x="1768" y="23"/>
                </a:lnTo>
                <a:close/>
              </a:path>
            </a:pathLst>
          </a:custGeom>
          <a:solidFill>
            <a:schemeClr val="accent5"/>
          </a:solidFill>
          <a:ln w="1588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1317340" y="2249553"/>
            <a:ext cx="1491126" cy="660960"/>
            <a:chOff x="1317340" y="2249553"/>
            <a:chExt cx="1491126" cy="660960"/>
          </a:xfrm>
        </p:grpSpPr>
        <p:sp>
          <p:nvSpPr>
            <p:cNvPr id="30" name="TextBox 29"/>
            <p:cNvSpPr txBox="1"/>
            <p:nvPr/>
          </p:nvSpPr>
          <p:spPr>
            <a:xfrm>
              <a:off x="1317371" y="2249553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a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i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317340" y="2460390"/>
              <a:ext cx="1491126" cy="4501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gravida libero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celer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 convalli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298101" y="1833558"/>
            <a:ext cx="1491126" cy="643969"/>
            <a:chOff x="6298101" y="1833558"/>
            <a:chExt cx="1491126" cy="643969"/>
          </a:xfrm>
        </p:grpSpPr>
        <p:sp>
          <p:nvSpPr>
            <p:cNvPr id="32" name="TextBox 31"/>
            <p:cNvSpPr txBox="1"/>
            <p:nvPr/>
          </p:nvSpPr>
          <p:spPr>
            <a:xfrm>
              <a:off x="6298132" y="1833558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opçõ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298101" y="2044395"/>
              <a:ext cx="1491126" cy="433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gravida libero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celer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 convallis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31305" y="3188900"/>
            <a:ext cx="1491126" cy="643969"/>
            <a:chOff x="6031305" y="3188900"/>
            <a:chExt cx="1491126" cy="643969"/>
          </a:xfrm>
        </p:grpSpPr>
        <p:sp>
          <p:nvSpPr>
            <p:cNvPr id="34" name="TextBox 33"/>
            <p:cNvSpPr txBox="1"/>
            <p:nvPr/>
          </p:nvSpPr>
          <p:spPr>
            <a:xfrm>
              <a:off x="6031336" y="3188900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laneja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031305" y="3399737"/>
              <a:ext cx="1491126" cy="433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gravida libero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celeri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 convall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7674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ARAÇÃO ENTRE </a:t>
            </a:r>
            <a:r>
              <a:rPr lang="en-US" dirty="0">
                <a:solidFill>
                  <a:srgbClr val="EC0000"/>
                </a:solidFill>
              </a:rPr>
              <a:t>DISPOSITIV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</p:spPr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3547534" y="1926819"/>
            <a:ext cx="2048934" cy="2048932"/>
          </a:xfrm>
          <a:prstGeom prst="ellipse">
            <a:avLst/>
          </a:prstGeom>
          <a:solidFill>
            <a:srgbClr val="EC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9" name="Freeform 6"/>
          <p:cNvSpPr>
            <a:spLocks/>
          </p:cNvSpPr>
          <p:nvPr/>
        </p:nvSpPr>
        <p:spPr bwMode="auto">
          <a:xfrm>
            <a:off x="1254577" y="3592817"/>
            <a:ext cx="706702" cy="314090"/>
          </a:xfrm>
          <a:custGeom>
            <a:avLst/>
            <a:gdLst>
              <a:gd name="T0" fmla="*/ 1305 w 1449"/>
              <a:gd name="T1" fmla="*/ 644 h 644"/>
              <a:gd name="T2" fmla="*/ 1449 w 1449"/>
              <a:gd name="T3" fmla="*/ 644 h 644"/>
              <a:gd name="T4" fmla="*/ 792 w 1449"/>
              <a:gd name="T5" fmla="*/ 0 h 644"/>
              <a:gd name="T6" fmla="*/ 0 w 1449"/>
              <a:gd name="T7" fmla="*/ 0 h 644"/>
              <a:gd name="T8" fmla="*/ 1305 w 1449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9" h="644">
                <a:moveTo>
                  <a:pt x="1305" y="644"/>
                </a:moveTo>
                <a:lnTo>
                  <a:pt x="1449" y="644"/>
                </a:lnTo>
                <a:lnTo>
                  <a:pt x="792" y="0"/>
                </a:lnTo>
                <a:lnTo>
                  <a:pt x="0" y="0"/>
                </a:lnTo>
                <a:lnTo>
                  <a:pt x="1305" y="64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8"/>
          <p:cNvSpPr>
            <a:spLocks/>
          </p:cNvSpPr>
          <p:nvPr/>
        </p:nvSpPr>
        <p:spPr bwMode="auto">
          <a:xfrm>
            <a:off x="1640849" y="3592817"/>
            <a:ext cx="386272" cy="314090"/>
          </a:xfrm>
          <a:custGeom>
            <a:avLst/>
            <a:gdLst>
              <a:gd name="T0" fmla="*/ 648 w 792"/>
              <a:gd name="T1" fmla="*/ 644 h 644"/>
              <a:gd name="T2" fmla="*/ 792 w 792"/>
              <a:gd name="T3" fmla="*/ 644 h 644"/>
              <a:gd name="T4" fmla="*/ 792 w 792"/>
              <a:gd name="T5" fmla="*/ 0 h 644"/>
              <a:gd name="T6" fmla="*/ 0 w 792"/>
              <a:gd name="T7" fmla="*/ 0 h 644"/>
              <a:gd name="T8" fmla="*/ 648 w 792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2" h="644">
                <a:moveTo>
                  <a:pt x="648" y="644"/>
                </a:moveTo>
                <a:lnTo>
                  <a:pt x="792" y="644"/>
                </a:lnTo>
                <a:lnTo>
                  <a:pt x="792" y="0"/>
                </a:lnTo>
                <a:lnTo>
                  <a:pt x="0" y="0"/>
                </a:lnTo>
                <a:lnTo>
                  <a:pt x="648" y="644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2025170" y="3592817"/>
            <a:ext cx="390662" cy="314090"/>
          </a:xfrm>
          <a:custGeom>
            <a:avLst/>
            <a:gdLst>
              <a:gd name="T0" fmla="*/ 144 w 801"/>
              <a:gd name="T1" fmla="*/ 644 h 644"/>
              <a:gd name="T2" fmla="*/ 0 w 801"/>
              <a:gd name="T3" fmla="*/ 644 h 644"/>
              <a:gd name="T4" fmla="*/ 0 w 801"/>
              <a:gd name="T5" fmla="*/ 0 h 644"/>
              <a:gd name="T6" fmla="*/ 801 w 801"/>
              <a:gd name="T7" fmla="*/ 0 h 644"/>
              <a:gd name="T8" fmla="*/ 144 w 801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1" h="644">
                <a:moveTo>
                  <a:pt x="144" y="644"/>
                </a:moveTo>
                <a:lnTo>
                  <a:pt x="0" y="644"/>
                </a:lnTo>
                <a:lnTo>
                  <a:pt x="0" y="0"/>
                </a:lnTo>
                <a:lnTo>
                  <a:pt x="801" y="0"/>
                </a:lnTo>
                <a:lnTo>
                  <a:pt x="144" y="64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12"/>
          <p:cNvSpPr>
            <a:spLocks/>
          </p:cNvSpPr>
          <p:nvPr/>
        </p:nvSpPr>
        <p:spPr bwMode="auto">
          <a:xfrm>
            <a:off x="2092963" y="3592817"/>
            <a:ext cx="706702" cy="314090"/>
          </a:xfrm>
          <a:custGeom>
            <a:avLst/>
            <a:gdLst>
              <a:gd name="T0" fmla="*/ 145 w 1449"/>
              <a:gd name="T1" fmla="*/ 644 h 644"/>
              <a:gd name="T2" fmla="*/ 0 w 1449"/>
              <a:gd name="T3" fmla="*/ 644 h 644"/>
              <a:gd name="T4" fmla="*/ 657 w 1449"/>
              <a:gd name="T5" fmla="*/ 0 h 644"/>
              <a:gd name="T6" fmla="*/ 1449 w 1449"/>
              <a:gd name="T7" fmla="*/ 0 h 644"/>
              <a:gd name="T8" fmla="*/ 145 w 1449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9" h="644">
                <a:moveTo>
                  <a:pt x="145" y="644"/>
                </a:moveTo>
                <a:lnTo>
                  <a:pt x="0" y="644"/>
                </a:lnTo>
                <a:lnTo>
                  <a:pt x="657" y="0"/>
                </a:lnTo>
                <a:lnTo>
                  <a:pt x="1449" y="0"/>
                </a:lnTo>
                <a:lnTo>
                  <a:pt x="145" y="644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Pentagon 12"/>
          <p:cNvSpPr/>
          <p:nvPr/>
        </p:nvSpPr>
        <p:spPr>
          <a:xfrm rot="16200000">
            <a:off x="945609" y="2897576"/>
            <a:ext cx="1004210" cy="38627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Pentagon 13"/>
          <p:cNvSpPr/>
          <p:nvPr/>
        </p:nvSpPr>
        <p:spPr>
          <a:xfrm rot="16200000">
            <a:off x="1198341" y="2765255"/>
            <a:ext cx="1268852" cy="386272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15" name="Pentagon 14"/>
          <p:cNvSpPr/>
          <p:nvPr/>
        </p:nvSpPr>
        <p:spPr>
          <a:xfrm rot="16200000">
            <a:off x="1224105" y="2405967"/>
            <a:ext cx="1987429" cy="38627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Pentagon 15"/>
          <p:cNvSpPr/>
          <p:nvPr/>
        </p:nvSpPr>
        <p:spPr>
          <a:xfrm rot="16200000">
            <a:off x="2060531" y="2859859"/>
            <a:ext cx="1079643" cy="38627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8" name="TextBox 17"/>
          <p:cNvSpPr txBox="1"/>
          <p:nvPr/>
        </p:nvSpPr>
        <p:spPr>
          <a:xfrm>
            <a:off x="1447714" y="3937367"/>
            <a:ext cx="1097352" cy="3116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spc="20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7</a:t>
            </a:r>
          </a:p>
          <a:p>
            <a:pPr algn="ctr"/>
            <a:r>
              <a:rPr lang="en-US" sz="825" b="1" cap="all" spc="20" dirty="0" err="1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Vendas</a:t>
            </a:r>
            <a:r>
              <a:rPr lang="en-US" sz="825" b="1" cap="all" spc="20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825" b="1" cap="all" spc="20" dirty="0" err="1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diretas</a:t>
            </a:r>
            <a:endParaRPr lang="en-US" sz="825" b="1" cap="all" spc="20" dirty="0">
              <a:solidFill>
                <a:schemeClr val="accent3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19" name="Freeform 21"/>
          <p:cNvSpPr>
            <a:spLocks noEditPoints="1"/>
          </p:cNvSpPr>
          <p:nvPr/>
        </p:nvSpPr>
        <p:spPr bwMode="auto">
          <a:xfrm>
            <a:off x="1401437" y="3236846"/>
            <a:ext cx="94512" cy="173166"/>
          </a:xfrm>
          <a:custGeom>
            <a:avLst/>
            <a:gdLst>
              <a:gd name="T0" fmla="*/ 96 w 193"/>
              <a:gd name="T1" fmla="*/ 329 h 353"/>
              <a:gd name="T2" fmla="*/ 105 w 193"/>
              <a:gd name="T3" fmla="*/ 321 h 353"/>
              <a:gd name="T4" fmla="*/ 96 w 193"/>
              <a:gd name="T5" fmla="*/ 313 h 353"/>
              <a:gd name="T6" fmla="*/ 88 w 193"/>
              <a:gd name="T7" fmla="*/ 321 h 353"/>
              <a:gd name="T8" fmla="*/ 96 w 193"/>
              <a:gd name="T9" fmla="*/ 329 h 353"/>
              <a:gd name="T10" fmla="*/ 161 w 193"/>
              <a:gd name="T11" fmla="*/ 0 h 353"/>
              <a:gd name="T12" fmla="*/ 32 w 193"/>
              <a:gd name="T13" fmla="*/ 0 h 353"/>
              <a:gd name="T14" fmla="*/ 0 w 193"/>
              <a:gd name="T15" fmla="*/ 32 h 353"/>
              <a:gd name="T16" fmla="*/ 0 w 193"/>
              <a:gd name="T17" fmla="*/ 321 h 353"/>
              <a:gd name="T18" fmla="*/ 32 w 193"/>
              <a:gd name="T19" fmla="*/ 353 h 353"/>
              <a:gd name="T20" fmla="*/ 161 w 193"/>
              <a:gd name="T21" fmla="*/ 353 h 353"/>
              <a:gd name="T22" fmla="*/ 193 w 193"/>
              <a:gd name="T23" fmla="*/ 321 h 353"/>
              <a:gd name="T24" fmla="*/ 193 w 193"/>
              <a:gd name="T25" fmla="*/ 32 h 353"/>
              <a:gd name="T26" fmla="*/ 161 w 193"/>
              <a:gd name="T27" fmla="*/ 0 h 353"/>
              <a:gd name="T28" fmla="*/ 177 w 193"/>
              <a:gd name="T29" fmla="*/ 321 h 353"/>
              <a:gd name="T30" fmla="*/ 161 w 193"/>
              <a:gd name="T31" fmla="*/ 337 h 353"/>
              <a:gd name="T32" fmla="*/ 32 w 193"/>
              <a:gd name="T33" fmla="*/ 337 h 353"/>
              <a:gd name="T34" fmla="*/ 16 w 193"/>
              <a:gd name="T35" fmla="*/ 321 h 353"/>
              <a:gd name="T36" fmla="*/ 16 w 193"/>
              <a:gd name="T37" fmla="*/ 305 h 353"/>
              <a:gd name="T38" fmla="*/ 177 w 193"/>
              <a:gd name="T39" fmla="*/ 305 h 353"/>
              <a:gd name="T40" fmla="*/ 177 w 193"/>
              <a:gd name="T41" fmla="*/ 321 h 353"/>
              <a:gd name="T42" fmla="*/ 177 w 193"/>
              <a:gd name="T43" fmla="*/ 289 h 353"/>
              <a:gd name="T44" fmla="*/ 16 w 193"/>
              <a:gd name="T45" fmla="*/ 289 h 353"/>
              <a:gd name="T46" fmla="*/ 16 w 193"/>
              <a:gd name="T47" fmla="*/ 64 h 353"/>
              <a:gd name="T48" fmla="*/ 177 w 193"/>
              <a:gd name="T49" fmla="*/ 64 h 353"/>
              <a:gd name="T50" fmla="*/ 177 w 193"/>
              <a:gd name="T51" fmla="*/ 289 h 353"/>
              <a:gd name="T52" fmla="*/ 177 w 193"/>
              <a:gd name="T53" fmla="*/ 48 h 353"/>
              <a:gd name="T54" fmla="*/ 16 w 193"/>
              <a:gd name="T55" fmla="*/ 48 h 353"/>
              <a:gd name="T56" fmla="*/ 16 w 193"/>
              <a:gd name="T57" fmla="*/ 32 h 353"/>
              <a:gd name="T58" fmla="*/ 32 w 193"/>
              <a:gd name="T59" fmla="*/ 16 h 353"/>
              <a:gd name="T60" fmla="*/ 161 w 193"/>
              <a:gd name="T61" fmla="*/ 16 h 353"/>
              <a:gd name="T62" fmla="*/ 177 w 193"/>
              <a:gd name="T63" fmla="*/ 32 h 353"/>
              <a:gd name="T64" fmla="*/ 177 w 193"/>
              <a:gd name="T65" fmla="*/ 48 h 353"/>
              <a:gd name="T66" fmla="*/ 105 w 193"/>
              <a:gd name="T67" fmla="*/ 24 h 353"/>
              <a:gd name="T68" fmla="*/ 88 w 193"/>
              <a:gd name="T69" fmla="*/ 24 h 353"/>
              <a:gd name="T70" fmla="*/ 80 w 193"/>
              <a:gd name="T71" fmla="*/ 32 h 353"/>
              <a:gd name="T72" fmla="*/ 88 w 193"/>
              <a:gd name="T73" fmla="*/ 40 h 353"/>
              <a:gd name="T74" fmla="*/ 105 w 193"/>
              <a:gd name="T75" fmla="*/ 40 h 353"/>
              <a:gd name="T76" fmla="*/ 113 w 193"/>
              <a:gd name="T77" fmla="*/ 32 h 353"/>
              <a:gd name="T78" fmla="*/ 105 w 193"/>
              <a:gd name="T79" fmla="*/ 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3" h="353">
                <a:moveTo>
                  <a:pt x="96" y="329"/>
                </a:moveTo>
                <a:cubicBezTo>
                  <a:pt x="101" y="329"/>
                  <a:pt x="105" y="326"/>
                  <a:pt x="105" y="321"/>
                </a:cubicBezTo>
                <a:cubicBezTo>
                  <a:pt x="105" y="317"/>
                  <a:pt x="101" y="313"/>
                  <a:pt x="96" y="313"/>
                </a:cubicBezTo>
                <a:cubicBezTo>
                  <a:pt x="92" y="313"/>
                  <a:pt x="88" y="317"/>
                  <a:pt x="88" y="321"/>
                </a:cubicBezTo>
                <a:cubicBezTo>
                  <a:pt x="88" y="326"/>
                  <a:pt x="92" y="329"/>
                  <a:pt x="96" y="329"/>
                </a:cubicBezTo>
                <a:moveTo>
                  <a:pt x="161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161" y="353"/>
                  <a:pt x="161" y="353"/>
                  <a:pt x="161" y="353"/>
                </a:cubicBezTo>
                <a:cubicBezTo>
                  <a:pt x="178" y="353"/>
                  <a:pt x="193" y="339"/>
                  <a:pt x="193" y="321"/>
                </a:cubicBezTo>
                <a:cubicBezTo>
                  <a:pt x="193" y="32"/>
                  <a:pt x="193" y="32"/>
                  <a:pt x="193" y="32"/>
                </a:cubicBezTo>
                <a:cubicBezTo>
                  <a:pt x="193" y="14"/>
                  <a:pt x="178" y="0"/>
                  <a:pt x="161" y="0"/>
                </a:cubicBezTo>
                <a:moveTo>
                  <a:pt x="177" y="321"/>
                </a:moveTo>
                <a:cubicBezTo>
                  <a:pt x="177" y="330"/>
                  <a:pt x="170" y="337"/>
                  <a:pt x="16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305"/>
                  <a:pt x="16" y="305"/>
                  <a:pt x="16" y="305"/>
                </a:cubicBezTo>
                <a:cubicBezTo>
                  <a:pt x="177" y="305"/>
                  <a:pt x="177" y="305"/>
                  <a:pt x="177" y="305"/>
                </a:cubicBezTo>
                <a:lnTo>
                  <a:pt x="177" y="321"/>
                </a:lnTo>
                <a:close/>
                <a:moveTo>
                  <a:pt x="177" y="289"/>
                </a:moveTo>
                <a:cubicBezTo>
                  <a:pt x="16" y="289"/>
                  <a:pt x="16" y="289"/>
                  <a:pt x="16" y="289"/>
                </a:cubicBezTo>
                <a:cubicBezTo>
                  <a:pt x="16" y="64"/>
                  <a:pt x="16" y="64"/>
                  <a:pt x="16" y="64"/>
                </a:cubicBezTo>
                <a:cubicBezTo>
                  <a:pt x="177" y="64"/>
                  <a:pt x="177" y="64"/>
                  <a:pt x="177" y="64"/>
                </a:cubicBezTo>
                <a:lnTo>
                  <a:pt x="177" y="289"/>
                </a:lnTo>
                <a:close/>
                <a:moveTo>
                  <a:pt x="177" y="48"/>
                </a:moveTo>
                <a:cubicBezTo>
                  <a:pt x="16" y="48"/>
                  <a:pt x="16" y="48"/>
                  <a:pt x="16" y="48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161" y="16"/>
                  <a:pt x="161" y="16"/>
                  <a:pt x="161" y="16"/>
                </a:cubicBezTo>
                <a:cubicBezTo>
                  <a:pt x="170" y="16"/>
                  <a:pt x="177" y="23"/>
                  <a:pt x="177" y="32"/>
                </a:cubicBezTo>
                <a:lnTo>
                  <a:pt x="177" y="48"/>
                </a:lnTo>
                <a:close/>
                <a:moveTo>
                  <a:pt x="105" y="24"/>
                </a:moveTo>
                <a:cubicBezTo>
                  <a:pt x="88" y="24"/>
                  <a:pt x="88" y="24"/>
                  <a:pt x="88" y="24"/>
                </a:cubicBezTo>
                <a:cubicBezTo>
                  <a:pt x="84" y="24"/>
                  <a:pt x="80" y="28"/>
                  <a:pt x="80" y="32"/>
                </a:cubicBezTo>
                <a:cubicBezTo>
                  <a:pt x="80" y="37"/>
                  <a:pt x="84" y="40"/>
                  <a:pt x="88" y="40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109" y="40"/>
                  <a:pt x="113" y="37"/>
                  <a:pt x="113" y="32"/>
                </a:cubicBezTo>
                <a:cubicBezTo>
                  <a:pt x="113" y="28"/>
                  <a:pt x="109" y="24"/>
                  <a:pt x="105" y="2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Freeform 22"/>
          <p:cNvSpPr>
            <a:spLocks noEditPoints="1"/>
          </p:cNvSpPr>
          <p:nvPr/>
        </p:nvSpPr>
        <p:spPr bwMode="auto">
          <a:xfrm>
            <a:off x="1748443" y="3236845"/>
            <a:ext cx="125594" cy="173168"/>
          </a:xfrm>
          <a:custGeom>
            <a:avLst/>
            <a:gdLst>
              <a:gd name="T0" fmla="*/ 129 w 257"/>
              <a:gd name="T1" fmla="*/ 313 h 353"/>
              <a:gd name="T2" fmla="*/ 121 w 257"/>
              <a:gd name="T3" fmla="*/ 321 h 353"/>
              <a:gd name="T4" fmla="*/ 129 w 257"/>
              <a:gd name="T5" fmla="*/ 329 h 353"/>
              <a:gd name="T6" fmla="*/ 137 w 257"/>
              <a:gd name="T7" fmla="*/ 321 h 353"/>
              <a:gd name="T8" fmla="*/ 129 w 257"/>
              <a:gd name="T9" fmla="*/ 313 h 353"/>
              <a:gd name="T10" fmla="*/ 121 w 257"/>
              <a:gd name="T11" fmla="*/ 40 h 353"/>
              <a:gd name="T12" fmla="*/ 137 w 257"/>
              <a:gd name="T13" fmla="*/ 40 h 353"/>
              <a:gd name="T14" fmla="*/ 145 w 257"/>
              <a:gd name="T15" fmla="*/ 32 h 353"/>
              <a:gd name="T16" fmla="*/ 137 w 257"/>
              <a:gd name="T17" fmla="*/ 24 h 353"/>
              <a:gd name="T18" fmla="*/ 121 w 257"/>
              <a:gd name="T19" fmla="*/ 24 h 353"/>
              <a:gd name="T20" fmla="*/ 113 w 257"/>
              <a:gd name="T21" fmla="*/ 32 h 353"/>
              <a:gd name="T22" fmla="*/ 121 w 257"/>
              <a:gd name="T23" fmla="*/ 40 h 353"/>
              <a:gd name="T24" fmla="*/ 32 w 257"/>
              <a:gd name="T25" fmla="*/ 305 h 353"/>
              <a:gd name="T26" fmla="*/ 225 w 257"/>
              <a:gd name="T27" fmla="*/ 305 h 353"/>
              <a:gd name="T28" fmla="*/ 225 w 257"/>
              <a:gd name="T29" fmla="*/ 48 h 353"/>
              <a:gd name="T30" fmla="*/ 32 w 257"/>
              <a:gd name="T31" fmla="*/ 48 h 353"/>
              <a:gd name="T32" fmla="*/ 32 w 257"/>
              <a:gd name="T33" fmla="*/ 305 h 353"/>
              <a:gd name="T34" fmla="*/ 49 w 257"/>
              <a:gd name="T35" fmla="*/ 64 h 353"/>
              <a:gd name="T36" fmla="*/ 209 w 257"/>
              <a:gd name="T37" fmla="*/ 64 h 353"/>
              <a:gd name="T38" fmla="*/ 209 w 257"/>
              <a:gd name="T39" fmla="*/ 289 h 353"/>
              <a:gd name="T40" fmla="*/ 49 w 257"/>
              <a:gd name="T41" fmla="*/ 289 h 353"/>
              <a:gd name="T42" fmla="*/ 49 w 257"/>
              <a:gd name="T43" fmla="*/ 64 h 353"/>
              <a:gd name="T44" fmla="*/ 225 w 257"/>
              <a:gd name="T45" fmla="*/ 0 h 353"/>
              <a:gd name="T46" fmla="*/ 32 w 257"/>
              <a:gd name="T47" fmla="*/ 0 h 353"/>
              <a:gd name="T48" fmla="*/ 0 w 257"/>
              <a:gd name="T49" fmla="*/ 32 h 353"/>
              <a:gd name="T50" fmla="*/ 0 w 257"/>
              <a:gd name="T51" fmla="*/ 321 h 353"/>
              <a:gd name="T52" fmla="*/ 32 w 257"/>
              <a:gd name="T53" fmla="*/ 353 h 353"/>
              <a:gd name="T54" fmla="*/ 225 w 257"/>
              <a:gd name="T55" fmla="*/ 353 h 353"/>
              <a:gd name="T56" fmla="*/ 257 w 257"/>
              <a:gd name="T57" fmla="*/ 321 h 353"/>
              <a:gd name="T58" fmla="*/ 257 w 257"/>
              <a:gd name="T59" fmla="*/ 32 h 353"/>
              <a:gd name="T60" fmla="*/ 225 w 257"/>
              <a:gd name="T61" fmla="*/ 0 h 353"/>
              <a:gd name="T62" fmla="*/ 241 w 257"/>
              <a:gd name="T63" fmla="*/ 321 h 353"/>
              <a:gd name="T64" fmla="*/ 225 w 257"/>
              <a:gd name="T65" fmla="*/ 337 h 353"/>
              <a:gd name="T66" fmla="*/ 32 w 257"/>
              <a:gd name="T67" fmla="*/ 337 h 353"/>
              <a:gd name="T68" fmla="*/ 16 w 257"/>
              <a:gd name="T69" fmla="*/ 321 h 353"/>
              <a:gd name="T70" fmla="*/ 16 w 257"/>
              <a:gd name="T71" fmla="*/ 32 h 353"/>
              <a:gd name="T72" fmla="*/ 32 w 257"/>
              <a:gd name="T73" fmla="*/ 16 h 353"/>
              <a:gd name="T74" fmla="*/ 225 w 257"/>
              <a:gd name="T75" fmla="*/ 16 h 353"/>
              <a:gd name="T76" fmla="*/ 241 w 257"/>
              <a:gd name="T77" fmla="*/ 32 h 353"/>
              <a:gd name="T78" fmla="*/ 241 w 257"/>
              <a:gd name="T79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7" h="353">
                <a:moveTo>
                  <a:pt x="129" y="313"/>
                </a:moveTo>
                <a:cubicBezTo>
                  <a:pt x="124" y="313"/>
                  <a:pt x="121" y="317"/>
                  <a:pt x="121" y="321"/>
                </a:cubicBezTo>
                <a:cubicBezTo>
                  <a:pt x="121" y="326"/>
                  <a:pt x="124" y="329"/>
                  <a:pt x="129" y="329"/>
                </a:cubicBezTo>
                <a:cubicBezTo>
                  <a:pt x="133" y="329"/>
                  <a:pt x="137" y="326"/>
                  <a:pt x="137" y="321"/>
                </a:cubicBezTo>
                <a:cubicBezTo>
                  <a:pt x="137" y="317"/>
                  <a:pt x="133" y="313"/>
                  <a:pt x="129" y="313"/>
                </a:cubicBezTo>
                <a:moveTo>
                  <a:pt x="121" y="40"/>
                </a:moveTo>
                <a:cubicBezTo>
                  <a:pt x="137" y="40"/>
                  <a:pt x="137" y="40"/>
                  <a:pt x="137" y="40"/>
                </a:cubicBezTo>
                <a:cubicBezTo>
                  <a:pt x="141" y="40"/>
                  <a:pt x="145" y="37"/>
                  <a:pt x="145" y="32"/>
                </a:cubicBezTo>
                <a:cubicBezTo>
                  <a:pt x="145" y="28"/>
                  <a:pt x="141" y="24"/>
                  <a:pt x="137" y="24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16" y="24"/>
                  <a:pt x="113" y="28"/>
                  <a:pt x="113" y="32"/>
                </a:cubicBezTo>
                <a:cubicBezTo>
                  <a:pt x="113" y="37"/>
                  <a:pt x="116" y="40"/>
                  <a:pt x="121" y="40"/>
                </a:cubicBezTo>
                <a:moveTo>
                  <a:pt x="32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48"/>
                  <a:pt x="225" y="48"/>
                  <a:pt x="225" y="48"/>
                </a:cubicBezTo>
                <a:cubicBezTo>
                  <a:pt x="32" y="48"/>
                  <a:pt x="32" y="48"/>
                  <a:pt x="32" y="48"/>
                </a:cubicBezTo>
                <a:lnTo>
                  <a:pt x="32" y="305"/>
                </a:lnTo>
                <a:close/>
                <a:moveTo>
                  <a:pt x="49" y="64"/>
                </a:moveTo>
                <a:cubicBezTo>
                  <a:pt x="209" y="64"/>
                  <a:pt x="209" y="64"/>
                  <a:pt x="209" y="6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49" y="289"/>
                  <a:pt x="49" y="289"/>
                  <a:pt x="49" y="289"/>
                </a:cubicBezTo>
                <a:lnTo>
                  <a:pt x="49" y="64"/>
                </a:lnTo>
                <a:close/>
                <a:moveTo>
                  <a:pt x="225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32"/>
                  <a:pt x="257" y="32"/>
                  <a:pt x="257" y="32"/>
                </a:cubicBezTo>
                <a:cubicBezTo>
                  <a:pt x="257" y="14"/>
                  <a:pt x="243" y="0"/>
                  <a:pt x="225" y="0"/>
                </a:cubicBezTo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4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4" y="16"/>
                  <a:pt x="32" y="1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4" y="16"/>
                  <a:pt x="241" y="23"/>
                  <a:pt x="241" y="32"/>
                </a:cubicBezTo>
                <a:lnTo>
                  <a:pt x="241" y="3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1" name="Freeform 23"/>
          <p:cNvSpPr>
            <a:spLocks noEditPoints="1"/>
          </p:cNvSpPr>
          <p:nvPr/>
        </p:nvSpPr>
        <p:spPr bwMode="auto">
          <a:xfrm>
            <a:off x="2121876" y="3272722"/>
            <a:ext cx="173166" cy="126226"/>
          </a:xfrm>
          <a:custGeom>
            <a:avLst/>
            <a:gdLst>
              <a:gd name="T0" fmla="*/ 351 w 353"/>
              <a:gd name="T1" fmla="*/ 245 h 257"/>
              <a:gd name="T2" fmla="*/ 351 w 353"/>
              <a:gd name="T3" fmla="*/ 245 h 257"/>
              <a:gd name="T4" fmla="*/ 320 w 353"/>
              <a:gd name="T5" fmla="*/ 197 h 257"/>
              <a:gd name="T6" fmla="*/ 321 w 353"/>
              <a:gd name="T7" fmla="*/ 193 h 257"/>
              <a:gd name="T8" fmla="*/ 321 w 353"/>
              <a:gd name="T9" fmla="*/ 16 h 257"/>
              <a:gd name="T10" fmla="*/ 305 w 353"/>
              <a:gd name="T11" fmla="*/ 0 h 257"/>
              <a:gd name="T12" fmla="*/ 48 w 353"/>
              <a:gd name="T13" fmla="*/ 0 h 257"/>
              <a:gd name="T14" fmla="*/ 32 w 353"/>
              <a:gd name="T15" fmla="*/ 16 h 257"/>
              <a:gd name="T16" fmla="*/ 32 w 353"/>
              <a:gd name="T17" fmla="*/ 193 h 257"/>
              <a:gd name="T18" fmla="*/ 32 w 353"/>
              <a:gd name="T19" fmla="*/ 197 h 257"/>
              <a:gd name="T20" fmla="*/ 1 w 353"/>
              <a:gd name="T21" fmla="*/ 245 h 257"/>
              <a:gd name="T22" fmla="*/ 1 w 353"/>
              <a:gd name="T23" fmla="*/ 245 h 257"/>
              <a:gd name="T24" fmla="*/ 0 w 353"/>
              <a:gd name="T25" fmla="*/ 249 h 257"/>
              <a:gd name="T26" fmla="*/ 8 w 353"/>
              <a:gd name="T27" fmla="*/ 257 h 257"/>
              <a:gd name="T28" fmla="*/ 345 w 353"/>
              <a:gd name="T29" fmla="*/ 257 h 257"/>
              <a:gd name="T30" fmla="*/ 353 w 353"/>
              <a:gd name="T31" fmla="*/ 249 h 257"/>
              <a:gd name="T32" fmla="*/ 351 w 353"/>
              <a:gd name="T33" fmla="*/ 245 h 257"/>
              <a:gd name="T34" fmla="*/ 48 w 353"/>
              <a:gd name="T35" fmla="*/ 16 h 257"/>
              <a:gd name="T36" fmla="*/ 305 w 353"/>
              <a:gd name="T37" fmla="*/ 16 h 257"/>
              <a:gd name="T38" fmla="*/ 305 w 353"/>
              <a:gd name="T39" fmla="*/ 193 h 257"/>
              <a:gd name="T40" fmla="*/ 48 w 353"/>
              <a:gd name="T41" fmla="*/ 193 h 257"/>
              <a:gd name="T42" fmla="*/ 48 w 353"/>
              <a:gd name="T43" fmla="*/ 16 h 257"/>
              <a:gd name="T44" fmla="*/ 23 w 353"/>
              <a:gd name="T45" fmla="*/ 241 h 257"/>
              <a:gd name="T46" fmla="*/ 44 w 353"/>
              <a:gd name="T47" fmla="*/ 208 h 257"/>
              <a:gd name="T48" fmla="*/ 48 w 353"/>
              <a:gd name="T49" fmla="*/ 209 h 257"/>
              <a:gd name="T50" fmla="*/ 305 w 353"/>
              <a:gd name="T51" fmla="*/ 209 h 257"/>
              <a:gd name="T52" fmla="*/ 308 w 353"/>
              <a:gd name="T53" fmla="*/ 208 h 257"/>
              <a:gd name="T54" fmla="*/ 330 w 353"/>
              <a:gd name="T55" fmla="*/ 241 h 257"/>
              <a:gd name="T56" fmla="*/ 23 w 353"/>
              <a:gd name="T57" fmla="*/ 241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257">
                <a:moveTo>
                  <a:pt x="351" y="245"/>
                </a:moveTo>
                <a:cubicBezTo>
                  <a:pt x="351" y="245"/>
                  <a:pt x="351" y="245"/>
                  <a:pt x="351" y="245"/>
                </a:cubicBezTo>
                <a:cubicBezTo>
                  <a:pt x="320" y="197"/>
                  <a:pt x="320" y="197"/>
                  <a:pt x="320" y="197"/>
                </a:cubicBezTo>
                <a:cubicBezTo>
                  <a:pt x="320" y="196"/>
                  <a:pt x="321" y="194"/>
                  <a:pt x="321" y="193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21" y="7"/>
                  <a:pt x="313" y="0"/>
                  <a:pt x="30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39" y="0"/>
                  <a:pt x="32" y="7"/>
                  <a:pt x="32" y="16"/>
                </a:cubicBezTo>
                <a:cubicBezTo>
                  <a:pt x="32" y="193"/>
                  <a:pt x="32" y="193"/>
                  <a:pt x="32" y="193"/>
                </a:cubicBezTo>
                <a:cubicBezTo>
                  <a:pt x="32" y="194"/>
                  <a:pt x="32" y="196"/>
                  <a:pt x="32" y="197"/>
                </a:cubicBezTo>
                <a:cubicBezTo>
                  <a:pt x="1" y="245"/>
                  <a:pt x="1" y="245"/>
                  <a:pt x="1" y="245"/>
                </a:cubicBezTo>
                <a:cubicBezTo>
                  <a:pt x="1" y="245"/>
                  <a:pt x="1" y="245"/>
                  <a:pt x="1" y="245"/>
                </a:cubicBezTo>
                <a:cubicBezTo>
                  <a:pt x="0" y="246"/>
                  <a:pt x="0" y="247"/>
                  <a:pt x="0" y="249"/>
                </a:cubicBezTo>
                <a:cubicBezTo>
                  <a:pt x="0" y="254"/>
                  <a:pt x="3" y="257"/>
                  <a:pt x="8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49" y="257"/>
                  <a:pt x="353" y="254"/>
                  <a:pt x="353" y="249"/>
                </a:cubicBezTo>
                <a:cubicBezTo>
                  <a:pt x="353" y="247"/>
                  <a:pt x="352" y="246"/>
                  <a:pt x="351" y="245"/>
                </a:cubicBezTo>
                <a:moveTo>
                  <a:pt x="48" y="16"/>
                </a:moveTo>
                <a:cubicBezTo>
                  <a:pt x="305" y="16"/>
                  <a:pt x="305" y="16"/>
                  <a:pt x="305" y="16"/>
                </a:cubicBezTo>
                <a:cubicBezTo>
                  <a:pt x="305" y="193"/>
                  <a:pt x="305" y="193"/>
                  <a:pt x="305" y="193"/>
                </a:cubicBezTo>
                <a:cubicBezTo>
                  <a:pt x="48" y="193"/>
                  <a:pt x="48" y="193"/>
                  <a:pt x="48" y="193"/>
                </a:cubicBezTo>
                <a:lnTo>
                  <a:pt x="48" y="16"/>
                </a:lnTo>
                <a:close/>
                <a:moveTo>
                  <a:pt x="23" y="241"/>
                </a:moveTo>
                <a:cubicBezTo>
                  <a:pt x="44" y="208"/>
                  <a:pt x="44" y="208"/>
                  <a:pt x="44" y="208"/>
                </a:cubicBezTo>
                <a:cubicBezTo>
                  <a:pt x="45" y="209"/>
                  <a:pt x="47" y="209"/>
                  <a:pt x="48" y="209"/>
                </a:cubicBezTo>
                <a:cubicBezTo>
                  <a:pt x="305" y="209"/>
                  <a:pt x="305" y="209"/>
                  <a:pt x="305" y="209"/>
                </a:cubicBezTo>
                <a:cubicBezTo>
                  <a:pt x="306" y="209"/>
                  <a:pt x="307" y="209"/>
                  <a:pt x="308" y="208"/>
                </a:cubicBezTo>
                <a:cubicBezTo>
                  <a:pt x="330" y="241"/>
                  <a:pt x="330" y="241"/>
                  <a:pt x="330" y="241"/>
                </a:cubicBezTo>
                <a:lnTo>
                  <a:pt x="23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Freeform 24"/>
          <p:cNvSpPr>
            <a:spLocks noEditPoints="1"/>
          </p:cNvSpPr>
          <p:nvPr/>
        </p:nvSpPr>
        <p:spPr bwMode="auto">
          <a:xfrm>
            <a:off x="2509709" y="3236846"/>
            <a:ext cx="173166" cy="173166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3" name="TextBox 22"/>
          <p:cNvSpPr txBox="1"/>
          <p:nvPr/>
        </p:nvSpPr>
        <p:spPr>
          <a:xfrm>
            <a:off x="1316141" y="2754825"/>
            <a:ext cx="266885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3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698675" y="2514897"/>
            <a:ext cx="266885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8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084377" y="1777834"/>
            <a:ext cx="266885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47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62850" y="2691524"/>
            <a:ext cx="266885" cy="16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6%</a:t>
            </a:r>
          </a:p>
        </p:txBody>
      </p:sp>
      <p:sp>
        <p:nvSpPr>
          <p:cNvPr id="27" name="Freeform 6"/>
          <p:cNvSpPr>
            <a:spLocks/>
          </p:cNvSpPr>
          <p:nvPr/>
        </p:nvSpPr>
        <p:spPr bwMode="auto">
          <a:xfrm>
            <a:off x="6344334" y="3586625"/>
            <a:ext cx="706703" cy="314090"/>
          </a:xfrm>
          <a:custGeom>
            <a:avLst/>
            <a:gdLst>
              <a:gd name="T0" fmla="*/ 1305 w 1449"/>
              <a:gd name="T1" fmla="*/ 644 h 644"/>
              <a:gd name="T2" fmla="*/ 1449 w 1449"/>
              <a:gd name="T3" fmla="*/ 644 h 644"/>
              <a:gd name="T4" fmla="*/ 792 w 1449"/>
              <a:gd name="T5" fmla="*/ 0 h 644"/>
              <a:gd name="T6" fmla="*/ 0 w 1449"/>
              <a:gd name="T7" fmla="*/ 0 h 644"/>
              <a:gd name="T8" fmla="*/ 1305 w 1449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9" h="644">
                <a:moveTo>
                  <a:pt x="1305" y="644"/>
                </a:moveTo>
                <a:lnTo>
                  <a:pt x="1449" y="644"/>
                </a:lnTo>
                <a:lnTo>
                  <a:pt x="792" y="0"/>
                </a:lnTo>
                <a:lnTo>
                  <a:pt x="0" y="0"/>
                </a:lnTo>
                <a:lnTo>
                  <a:pt x="1305" y="64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8" name="Freeform 8"/>
          <p:cNvSpPr>
            <a:spLocks/>
          </p:cNvSpPr>
          <p:nvPr/>
        </p:nvSpPr>
        <p:spPr bwMode="auto">
          <a:xfrm>
            <a:off x="6730607" y="3586625"/>
            <a:ext cx="386273" cy="314090"/>
          </a:xfrm>
          <a:custGeom>
            <a:avLst/>
            <a:gdLst>
              <a:gd name="T0" fmla="*/ 648 w 792"/>
              <a:gd name="T1" fmla="*/ 644 h 644"/>
              <a:gd name="T2" fmla="*/ 792 w 792"/>
              <a:gd name="T3" fmla="*/ 644 h 644"/>
              <a:gd name="T4" fmla="*/ 792 w 792"/>
              <a:gd name="T5" fmla="*/ 0 h 644"/>
              <a:gd name="T6" fmla="*/ 0 w 792"/>
              <a:gd name="T7" fmla="*/ 0 h 644"/>
              <a:gd name="T8" fmla="*/ 648 w 792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2" h="644">
                <a:moveTo>
                  <a:pt x="648" y="644"/>
                </a:moveTo>
                <a:lnTo>
                  <a:pt x="792" y="644"/>
                </a:lnTo>
                <a:lnTo>
                  <a:pt x="792" y="0"/>
                </a:lnTo>
                <a:lnTo>
                  <a:pt x="0" y="0"/>
                </a:lnTo>
                <a:lnTo>
                  <a:pt x="648" y="644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reeform 10"/>
          <p:cNvSpPr>
            <a:spLocks/>
          </p:cNvSpPr>
          <p:nvPr/>
        </p:nvSpPr>
        <p:spPr bwMode="auto">
          <a:xfrm>
            <a:off x="7114928" y="3586625"/>
            <a:ext cx="390662" cy="314090"/>
          </a:xfrm>
          <a:custGeom>
            <a:avLst/>
            <a:gdLst>
              <a:gd name="T0" fmla="*/ 144 w 801"/>
              <a:gd name="T1" fmla="*/ 644 h 644"/>
              <a:gd name="T2" fmla="*/ 0 w 801"/>
              <a:gd name="T3" fmla="*/ 644 h 644"/>
              <a:gd name="T4" fmla="*/ 0 w 801"/>
              <a:gd name="T5" fmla="*/ 0 h 644"/>
              <a:gd name="T6" fmla="*/ 801 w 801"/>
              <a:gd name="T7" fmla="*/ 0 h 644"/>
              <a:gd name="T8" fmla="*/ 144 w 801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01" h="644">
                <a:moveTo>
                  <a:pt x="144" y="644"/>
                </a:moveTo>
                <a:lnTo>
                  <a:pt x="0" y="644"/>
                </a:lnTo>
                <a:lnTo>
                  <a:pt x="0" y="0"/>
                </a:lnTo>
                <a:lnTo>
                  <a:pt x="801" y="0"/>
                </a:lnTo>
                <a:lnTo>
                  <a:pt x="144" y="64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0" name="Freeform 12"/>
          <p:cNvSpPr>
            <a:spLocks/>
          </p:cNvSpPr>
          <p:nvPr/>
        </p:nvSpPr>
        <p:spPr bwMode="auto">
          <a:xfrm>
            <a:off x="7182721" y="3586625"/>
            <a:ext cx="706703" cy="314090"/>
          </a:xfrm>
          <a:custGeom>
            <a:avLst/>
            <a:gdLst>
              <a:gd name="T0" fmla="*/ 145 w 1449"/>
              <a:gd name="T1" fmla="*/ 644 h 644"/>
              <a:gd name="T2" fmla="*/ 0 w 1449"/>
              <a:gd name="T3" fmla="*/ 644 h 644"/>
              <a:gd name="T4" fmla="*/ 657 w 1449"/>
              <a:gd name="T5" fmla="*/ 0 h 644"/>
              <a:gd name="T6" fmla="*/ 1449 w 1449"/>
              <a:gd name="T7" fmla="*/ 0 h 644"/>
              <a:gd name="T8" fmla="*/ 145 w 1449"/>
              <a:gd name="T9" fmla="*/ 644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9" h="644">
                <a:moveTo>
                  <a:pt x="145" y="644"/>
                </a:moveTo>
                <a:lnTo>
                  <a:pt x="0" y="644"/>
                </a:lnTo>
                <a:lnTo>
                  <a:pt x="657" y="0"/>
                </a:lnTo>
                <a:lnTo>
                  <a:pt x="1449" y="0"/>
                </a:lnTo>
                <a:lnTo>
                  <a:pt x="145" y="644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1" name="Pentagon 30"/>
          <p:cNvSpPr/>
          <p:nvPr/>
        </p:nvSpPr>
        <p:spPr>
          <a:xfrm rot="16200000">
            <a:off x="5515685" y="2371701"/>
            <a:ext cx="2043574" cy="38627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2" name="Pentagon 31"/>
          <p:cNvSpPr/>
          <p:nvPr/>
        </p:nvSpPr>
        <p:spPr>
          <a:xfrm rot="16200000">
            <a:off x="6139987" y="2610950"/>
            <a:ext cx="1565075" cy="3862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33" name="Pentagon 32"/>
          <p:cNvSpPr/>
          <p:nvPr/>
        </p:nvSpPr>
        <p:spPr>
          <a:xfrm rot="16200000">
            <a:off x="6585238" y="2671149"/>
            <a:ext cx="1444679" cy="386273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4" name="Pentagon 33"/>
          <p:cNvSpPr/>
          <p:nvPr/>
        </p:nvSpPr>
        <p:spPr>
          <a:xfrm rot="16200000">
            <a:off x="7150289" y="2853666"/>
            <a:ext cx="1079645" cy="386273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6" name="TextBox 35"/>
          <p:cNvSpPr txBox="1"/>
          <p:nvPr/>
        </p:nvSpPr>
        <p:spPr>
          <a:xfrm>
            <a:off x="6591406" y="3937367"/>
            <a:ext cx="1021006" cy="3116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spc="20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8</a:t>
            </a:r>
          </a:p>
          <a:p>
            <a:pPr algn="ctr"/>
            <a:r>
              <a:rPr lang="en-US" sz="825" b="1" cap="all" spc="20" dirty="0" err="1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Vendas</a:t>
            </a:r>
            <a:r>
              <a:rPr lang="en-US" sz="825" b="1" cap="all" spc="20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825" b="1" cap="all" spc="20" dirty="0" err="1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diretas</a:t>
            </a:r>
            <a:endParaRPr lang="en-US" sz="825" b="1" cap="all" spc="20" dirty="0">
              <a:solidFill>
                <a:schemeClr val="accent3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37" name="Freeform 21"/>
          <p:cNvSpPr>
            <a:spLocks noEditPoints="1"/>
          </p:cNvSpPr>
          <p:nvPr/>
        </p:nvSpPr>
        <p:spPr bwMode="auto">
          <a:xfrm>
            <a:off x="6491194" y="3230653"/>
            <a:ext cx="94512" cy="173166"/>
          </a:xfrm>
          <a:custGeom>
            <a:avLst/>
            <a:gdLst>
              <a:gd name="T0" fmla="*/ 96 w 193"/>
              <a:gd name="T1" fmla="*/ 329 h 353"/>
              <a:gd name="T2" fmla="*/ 105 w 193"/>
              <a:gd name="T3" fmla="*/ 321 h 353"/>
              <a:gd name="T4" fmla="*/ 96 w 193"/>
              <a:gd name="T5" fmla="*/ 313 h 353"/>
              <a:gd name="T6" fmla="*/ 88 w 193"/>
              <a:gd name="T7" fmla="*/ 321 h 353"/>
              <a:gd name="T8" fmla="*/ 96 w 193"/>
              <a:gd name="T9" fmla="*/ 329 h 353"/>
              <a:gd name="T10" fmla="*/ 161 w 193"/>
              <a:gd name="T11" fmla="*/ 0 h 353"/>
              <a:gd name="T12" fmla="*/ 32 w 193"/>
              <a:gd name="T13" fmla="*/ 0 h 353"/>
              <a:gd name="T14" fmla="*/ 0 w 193"/>
              <a:gd name="T15" fmla="*/ 32 h 353"/>
              <a:gd name="T16" fmla="*/ 0 w 193"/>
              <a:gd name="T17" fmla="*/ 321 h 353"/>
              <a:gd name="T18" fmla="*/ 32 w 193"/>
              <a:gd name="T19" fmla="*/ 353 h 353"/>
              <a:gd name="T20" fmla="*/ 161 w 193"/>
              <a:gd name="T21" fmla="*/ 353 h 353"/>
              <a:gd name="T22" fmla="*/ 193 w 193"/>
              <a:gd name="T23" fmla="*/ 321 h 353"/>
              <a:gd name="T24" fmla="*/ 193 w 193"/>
              <a:gd name="T25" fmla="*/ 32 h 353"/>
              <a:gd name="T26" fmla="*/ 161 w 193"/>
              <a:gd name="T27" fmla="*/ 0 h 353"/>
              <a:gd name="T28" fmla="*/ 177 w 193"/>
              <a:gd name="T29" fmla="*/ 321 h 353"/>
              <a:gd name="T30" fmla="*/ 161 w 193"/>
              <a:gd name="T31" fmla="*/ 337 h 353"/>
              <a:gd name="T32" fmla="*/ 32 w 193"/>
              <a:gd name="T33" fmla="*/ 337 h 353"/>
              <a:gd name="T34" fmla="*/ 16 w 193"/>
              <a:gd name="T35" fmla="*/ 321 h 353"/>
              <a:gd name="T36" fmla="*/ 16 w 193"/>
              <a:gd name="T37" fmla="*/ 305 h 353"/>
              <a:gd name="T38" fmla="*/ 177 w 193"/>
              <a:gd name="T39" fmla="*/ 305 h 353"/>
              <a:gd name="T40" fmla="*/ 177 w 193"/>
              <a:gd name="T41" fmla="*/ 321 h 353"/>
              <a:gd name="T42" fmla="*/ 177 w 193"/>
              <a:gd name="T43" fmla="*/ 289 h 353"/>
              <a:gd name="T44" fmla="*/ 16 w 193"/>
              <a:gd name="T45" fmla="*/ 289 h 353"/>
              <a:gd name="T46" fmla="*/ 16 w 193"/>
              <a:gd name="T47" fmla="*/ 64 h 353"/>
              <a:gd name="T48" fmla="*/ 177 w 193"/>
              <a:gd name="T49" fmla="*/ 64 h 353"/>
              <a:gd name="T50" fmla="*/ 177 w 193"/>
              <a:gd name="T51" fmla="*/ 289 h 353"/>
              <a:gd name="T52" fmla="*/ 177 w 193"/>
              <a:gd name="T53" fmla="*/ 48 h 353"/>
              <a:gd name="T54" fmla="*/ 16 w 193"/>
              <a:gd name="T55" fmla="*/ 48 h 353"/>
              <a:gd name="T56" fmla="*/ 16 w 193"/>
              <a:gd name="T57" fmla="*/ 32 h 353"/>
              <a:gd name="T58" fmla="*/ 32 w 193"/>
              <a:gd name="T59" fmla="*/ 16 h 353"/>
              <a:gd name="T60" fmla="*/ 161 w 193"/>
              <a:gd name="T61" fmla="*/ 16 h 353"/>
              <a:gd name="T62" fmla="*/ 177 w 193"/>
              <a:gd name="T63" fmla="*/ 32 h 353"/>
              <a:gd name="T64" fmla="*/ 177 w 193"/>
              <a:gd name="T65" fmla="*/ 48 h 353"/>
              <a:gd name="T66" fmla="*/ 105 w 193"/>
              <a:gd name="T67" fmla="*/ 24 h 353"/>
              <a:gd name="T68" fmla="*/ 88 w 193"/>
              <a:gd name="T69" fmla="*/ 24 h 353"/>
              <a:gd name="T70" fmla="*/ 80 w 193"/>
              <a:gd name="T71" fmla="*/ 32 h 353"/>
              <a:gd name="T72" fmla="*/ 88 w 193"/>
              <a:gd name="T73" fmla="*/ 40 h 353"/>
              <a:gd name="T74" fmla="*/ 105 w 193"/>
              <a:gd name="T75" fmla="*/ 40 h 353"/>
              <a:gd name="T76" fmla="*/ 113 w 193"/>
              <a:gd name="T77" fmla="*/ 32 h 353"/>
              <a:gd name="T78" fmla="*/ 105 w 193"/>
              <a:gd name="T79" fmla="*/ 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3" h="353">
                <a:moveTo>
                  <a:pt x="96" y="329"/>
                </a:moveTo>
                <a:cubicBezTo>
                  <a:pt x="101" y="329"/>
                  <a:pt x="105" y="326"/>
                  <a:pt x="105" y="321"/>
                </a:cubicBezTo>
                <a:cubicBezTo>
                  <a:pt x="105" y="317"/>
                  <a:pt x="101" y="313"/>
                  <a:pt x="96" y="313"/>
                </a:cubicBezTo>
                <a:cubicBezTo>
                  <a:pt x="92" y="313"/>
                  <a:pt x="88" y="317"/>
                  <a:pt x="88" y="321"/>
                </a:cubicBezTo>
                <a:cubicBezTo>
                  <a:pt x="88" y="326"/>
                  <a:pt x="92" y="329"/>
                  <a:pt x="96" y="329"/>
                </a:cubicBezTo>
                <a:moveTo>
                  <a:pt x="161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161" y="353"/>
                  <a:pt x="161" y="353"/>
                  <a:pt x="161" y="353"/>
                </a:cubicBezTo>
                <a:cubicBezTo>
                  <a:pt x="178" y="353"/>
                  <a:pt x="193" y="339"/>
                  <a:pt x="193" y="321"/>
                </a:cubicBezTo>
                <a:cubicBezTo>
                  <a:pt x="193" y="32"/>
                  <a:pt x="193" y="32"/>
                  <a:pt x="193" y="32"/>
                </a:cubicBezTo>
                <a:cubicBezTo>
                  <a:pt x="193" y="14"/>
                  <a:pt x="178" y="0"/>
                  <a:pt x="161" y="0"/>
                </a:cubicBezTo>
                <a:moveTo>
                  <a:pt x="177" y="321"/>
                </a:moveTo>
                <a:cubicBezTo>
                  <a:pt x="177" y="330"/>
                  <a:pt x="170" y="337"/>
                  <a:pt x="16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305"/>
                  <a:pt x="16" y="305"/>
                  <a:pt x="16" y="305"/>
                </a:cubicBezTo>
                <a:cubicBezTo>
                  <a:pt x="177" y="305"/>
                  <a:pt x="177" y="305"/>
                  <a:pt x="177" y="305"/>
                </a:cubicBezTo>
                <a:lnTo>
                  <a:pt x="177" y="321"/>
                </a:lnTo>
                <a:close/>
                <a:moveTo>
                  <a:pt x="177" y="289"/>
                </a:moveTo>
                <a:cubicBezTo>
                  <a:pt x="16" y="289"/>
                  <a:pt x="16" y="289"/>
                  <a:pt x="16" y="289"/>
                </a:cubicBezTo>
                <a:cubicBezTo>
                  <a:pt x="16" y="64"/>
                  <a:pt x="16" y="64"/>
                  <a:pt x="16" y="64"/>
                </a:cubicBezTo>
                <a:cubicBezTo>
                  <a:pt x="177" y="64"/>
                  <a:pt x="177" y="64"/>
                  <a:pt x="177" y="64"/>
                </a:cubicBezTo>
                <a:lnTo>
                  <a:pt x="177" y="289"/>
                </a:lnTo>
                <a:close/>
                <a:moveTo>
                  <a:pt x="177" y="48"/>
                </a:moveTo>
                <a:cubicBezTo>
                  <a:pt x="16" y="48"/>
                  <a:pt x="16" y="48"/>
                  <a:pt x="16" y="48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161" y="16"/>
                  <a:pt x="161" y="16"/>
                  <a:pt x="161" y="16"/>
                </a:cubicBezTo>
                <a:cubicBezTo>
                  <a:pt x="170" y="16"/>
                  <a:pt x="177" y="23"/>
                  <a:pt x="177" y="32"/>
                </a:cubicBezTo>
                <a:lnTo>
                  <a:pt x="177" y="48"/>
                </a:lnTo>
                <a:close/>
                <a:moveTo>
                  <a:pt x="105" y="24"/>
                </a:moveTo>
                <a:cubicBezTo>
                  <a:pt x="88" y="24"/>
                  <a:pt x="88" y="24"/>
                  <a:pt x="88" y="24"/>
                </a:cubicBezTo>
                <a:cubicBezTo>
                  <a:pt x="84" y="24"/>
                  <a:pt x="80" y="28"/>
                  <a:pt x="80" y="32"/>
                </a:cubicBezTo>
                <a:cubicBezTo>
                  <a:pt x="80" y="37"/>
                  <a:pt x="84" y="40"/>
                  <a:pt x="88" y="40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109" y="40"/>
                  <a:pt x="113" y="37"/>
                  <a:pt x="113" y="32"/>
                </a:cubicBezTo>
                <a:cubicBezTo>
                  <a:pt x="113" y="28"/>
                  <a:pt x="109" y="24"/>
                  <a:pt x="105" y="2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8" name="Freeform 22"/>
          <p:cNvSpPr>
            <a:spLocks noEditPoints="1"/>
          </p:cNvSpPr>
          <p:nvPr/>
        </p:nvSpPr>
        <p:spPr bwMode="auto">
          <a:xfrm>
            <a:off x="6838202" y="3230654"/>
            <a:ext cx="125594" cy="173164"/>
          </a:xfrm>
          <a:custGeom>
            <a:avLst/>
            <a:gdLst>
              <a:gd name="T0" fmla="*/ 129 w 257"/>
              <a:gd name="T1" fmla="*/ 313 h 353"/>
              <a:gd name="T2" fmla="*/ 121 w 257"/>
              <a:gd name="T3" fmla="*/ 321 h 353"/>
              <a:gd name="T4" fmla="*/ 129 w 257"/>
              <a:gd name="T5" fmla="*/ 329 h 353"/>
              <a:gd name="T6" fmla="*/ 137 w 257"/>
              <a:gd name="T7" fmla="*/ 321 h 353"/>
              <a:gd name="T8" fmla="*/ 129 w 257"/>
              <a:gd name="T9" fmla="*/ 313 h 353"/>
              <a:gd name="T10" fmla="*/ 121 w 257"/>
              <a:gd name="T11" fmla="*/ 40 h 353"/>
              <a:gd name="T12" fmla="*/ 137 w 257"/>
              <a:gd name="T13" fmla="*/ 40 h 353"/>
              <a:gd name="T14" fmla="*/ 145 w 257"/>
              <a:gd name="T15" fmla="*/ 32 h 353"/>
              <a:gd name="T16" fmla="*/ 137 w 257"/>
              <a:gd name="T17" fmla="*/ 24 h 353"/>
              <a:gd name="T18" fmla="*/ 121 w 257"/>
              <a:gd name="T19" fmla="*/ 24 h 353"/>
              <a:gd name="T20" fmla="*/ 113 w 257"/>
              <a:gd name="T21" fmla="*/ 32 h 353"/>
              <a:gd name="T22" fmla="*/ 121 w 257"/>
              <a:gd name="T23" fmla="*/ 40 h 353"/>
              <a:gd name="T24" fmla="*/ 32 w 257"/>
              <a:gd name="T25" fmla="*/ 305 h 353"/>
              <a:gd name="T26" fmla="*/ 225 w 257"/>
              <a:gd name="T27" fmla="*/ 305 h 353"/>
              <a:gd name="T28" fmla="*/ 225 w 257"/>
              <a:gd name="T29" fmla="*/ 48 h 353"/>
              <a:gd name="T30" fmla="*/ 32 w 257"/>
              <a:gd name="T31" fmla="*/ 48 h 353"/>
              <a:gd name="T32" fmla="*/ 32 w 257"/>
              <a:gd name="T33" fmla="*/ 305 h 353"/>
              <a:gd name="T34" fmla="*/ 49 w 257"/>
              <a:gd name="T35" fmla="*/ 64 h 353"/>
              <a:gd name="T36" fmla="*/ 209 w 257"/>
              <a:gd name="T37" fmla="*/ 64 h 353"/>
              <a:gd name="T38" fmla="*/ 209 w 257"/>
              <a:gd name="T39" fmla="*/ 289 h 353"/>
              <a:gd name="T40" fmla="*/ 49 w 257"/>
              <a:gd name="T41" fmla="*/ 289 h 353"/>
              <a:gd name="T42" fmla="*/ 49 w 257"/>
              <a:gd name="T43" fmla="*/ 64 h 353"/>
              <a:gd name="T44" fmla="*/ 225 w 257"/>
              <a:gd name="T45" fmla="*/ 0 h 353"/>
              <a:gd name="T46" fmla="*/ 32 w 257"/>
              <a:gd name="T47" fmla="*/ 0 h 353"/>
              <a:gd name="T48" fmla="*/ 0 w 257"/>
              <a:gd name="T49" fmla="*/ 32 h 353"/>
              <a:gd name="T50" fmla="*/ 0 w 257"/>
              <a:gd name="T51" fmla="*/ 321 h 353"/>
              <a:gd name="T52" fmla="*/ 32 w 257"/>
              <a:gd name="T53" fmla="*/ 353 h 353"/>
              <a:gd name="T54" fmla="*/ 225 w 257"/>
              <a:gd name="T55" fmla="*/ 353 h 353"/>
              <a:gd name="T56" fmla="*/ 257 w 257"/>
              <a:gd name="T57" fmla="*/ 321 h 353"/>
              <a:gd name="T58" fmla="*/ 257 w 257"/>
              <a:gd name="T59" fmla="*/ 32 h 353"/>
              <a:gd name="T60" fmla="*/ 225 w 257"/>
              <a:gd name="T61" fmla="*/ 0 h 353"/>
              <a:gd name="T62" fmla="*/ 241 w 257"/>
              <a:gd name="T63" fmla="*/ 321 h 353"/>
              <a:gd name="T64" fmla="*/ 225 w 257"/>
              <a:gd name="T65" fmla="*/ 337 h 353"/>
              <a:gd name="T66" fmla="*/ 32 w 257"/>
              <a:gd name="T67" fmla="*/ 337 h 353"/>
              <a:gd name="T68" fmla="*/ 16 w 257"/>
              <a:gd name="T69" fmla="*/ 321 h 353"/>
              <a:gd name="T70" fmla="*/ 16 w 257"/>
              <a:gd name="T71" fmla="*/ 32 h 353"/>
              <a:gd name="T72" fmla="*/ 32 w 257"/>
              <a:gd name="T73" fmla="*/ 16 h 353"/>
              <a:gd name="T74" fmla="*/ 225 w 257"/>
              <a:gd name="T75" fmla="*/ 16 h 353"/>
              <a:gd name="T76" fmla="*/ 241 w 257"/>
              <a:gd name="T77" fmla="*/ 32 h 353"/>
              <a:gd name="T78" fmla="*/ 241 w 257"/>
              <a:gd name="T79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7" h="353">
                <a:moveTo>
                  <a:pt x="129" y="313"/>
                </a:moveTo>
                <a:cubicBezTo>
                  <a:pt x="124" y="313"/>
                  <a:pt x="121" y="317"/>
                  <a:pt x="121" y="321"/>
                </a:cubicBezTo>
                <a:cubicBezTo>
                  <a:pt x="121" y="326"/>
                  <a:pt x="124" y="329"/>
                  <a:pt x="129" y="329"/>
                </a:cubicBezTo>
                <a:cubicBezTo>
                  <a:pt x="133" y="329"/>
                  <a:pt x="137" y="326"/>
                  <a:pt x="137" y="321"/>
                </a:cubicBezTo>
                <a:cubicBezTo>
                  <a:pt x="137" y="317"/>
                  <a:pt x="133" y="313"/>
                  <a:pt x="129" y="313"/>
                </a:cubicBezTo>
                <a:moveTo>
                  <a:pt x="121" y="40"/>
                </a:moveTo>
                <a:cubicBezTo>
                  <a:pt x="137" y="40"/>
                  <a:pt x="137" y="40"/>
                  <a:pt x="137" y="40"/>
                </a:cubicBezTo>
                <a:cubicBezTo>
                  <a:pt x="141" y="40"/>
                  <a:pt x="145" y="37"/>
                  <a:pt x="145" y="32"/>
                </a:cubicBezTo>
                <a:cubicBezTo>
                  <a:pt x="145" y="28"/>
                  <a:pt x="141" y="24"/>
                  <a:pt x="137" y="24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16" y="24"/>
                  <a:pt x="113" y="28"/>
                  <a:pt x="113" y="32"/>
                </a:cubicBezTo>
                <a:cubicBezTo>
                  <a:pt x="113" y="37"/>
                  <a:pt x="116" y="40"/>
                  <a:pt x="121" y="40"/>
                </a:cubicBezTo>
                <a:moveTo>
                  <a:pt x="32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48"/>
                  <a:pt x="225" y="48"/>
                  <a:pt x="225" y="48"/>
                </a:cubicBezTo>
                <a:cubicBezTo>
                  <a:pt x="32" y="48"/>
                  <a:pt x="32" y="48"/>
                  <a:pt x="32" y="48"/>
                </a:cubicBezTo>
                <a:lnTo>
                  <a:pt x="32" y="305"/>
                </a:lnTo>
                <a:close/>
                <a:moveTo>
                  <a:pt x="49" y="64"/>
                </a:moveTo>
                <a:cubicBezTo>
                  <a:pt x="209" y="64"/>
                  <a:pt x="209" y="64"/>
                  <a:pt x="209" y="6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49" y="289"/>
                  <a:pt x="49" y="289"/>
                  <a:pt x="49" y="289"/>
                </a:cubicBezTo>
                <a:lnTo>
                  <a:pt x="49" y="64"/>
                </a:lnTo>
                <a:close/>
                <a:moveTo>
                  <a:pt x="225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32"/>
                  <a:pt x="257" y="32"/>
                  <a:pt x="257" y="32"/>
                </a:cubicBezTo>
                <a:cubicBezTo>
                  <a:pt x="257" y="14"/>
                  <a:pt x="243" y="0"/>
                  <a:pt x="225" y="0"/>
                </a:cubicBezTo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4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4" y="16"/>
                  <a:pt x="32" y="1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4" y="16"/>
                  <a:pt x="241" y="23"/>
                  <a:pt x="241" y="32"/>
                </a:cubicBezTo>
                <a:lnTo>
                  <a:pt x="241" y="32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9" name="Freeform 23"/>
          <p:cNvSpPr>
            <a:spLocks noEditPoints="1"/>
          </p:cNvSpPr>
          <p:nvPr/>
        </p:nvSpPr>
        <p:spPr bwMode="auto">
          <a:xfrm>
            <a:off x="7211634" y="3266530"/>
            <a:ext cx="173166" cy="126226"/>
          </a:xfrm>
          <a:custGeom>
            <a:avLst/>
            <a:gdLst>
              <a:gd name="T0" fmla="*/ 351 w 353"/>
              <a:gd name="T1" fmla="*/ 245 h 257"/>
              <a:gd name="T2" fmla="*/ 351 w 353"/>
              <a:gd name="T3" fmla="*/ 245 h 257"/>
              <a:gd name="T4" fmla="*/ 320 w 353"/>
              <a:gd name="T5" fmla="*/ 197 h 257"/>
              <a:gd name="T6" fmla="*/ 321 w 353"/>
              <a:gd name="T7" fmla="*/ 193 h 257"/>
              <a:gd name="T8" fmla="*/ 321 w 353"/>
              <a:gd name="T9" fmla="*/ 16 h 257"/>
              <a:gd name="T10" fmla="*/ 305 w 353"/>
              <a:gd name="T11" fmla="*/ 0 h 257"/>
              <a:gd name="T12" fmla="*/ 48 w 353"/>
              <a:gd name="T13" fmla="*/ 0 h 257"/>
              <a:gd name="T14" fmla="*/ 32 w 353"/>
              <a:gd name="T15" fmla="*/ 16 h 257"/>
              <a:gd name="T16" fmla="*/ 32 w 353"/>
              <a:gd name="T17" fmla="*/ 193 h 257"/>
              <a:gd name="T18" fmla="*/ 32 w 353"/>
              <a:gd name="T19" fmla="*/ 197 h 257"/>
              <a:gd name="T20" fmla="*/ 1 w 353"/>
              <a:gd name="T21" fmla="*/ 245 h 257"/>
              <a:gd name="T22" fmla="*/ 1 w 353"/>
              <a:gd name="T23" fmla="*/ 245 h 257"/>
              <a:gd name="T24" fmla="*/ 0 w 353"/>
              <a:gd name="T25" fmla="*/ 249 h 257"/>
              <a:gd name="T26" fmla="*/ 8 w 353"/>
              <a:gd name="T27" fmla="*/ 257 h 257"/>
              <a:gd name="T28" fmla="*/ 345 w 353"/>
              <a:gd name="T29" fmla="*/ 257 h 257"/>
              <a:gd name="T30" fmla="*/ 353 w 353"/>
              <a:gd name="T31" fmla="*/ 249 h 257"/>
              <a:gd name="T32" fmla="*/ 351 w 353"/>
              <a:gd name="T33" fmla="*/ 245 h 257"/>
              <a:gd name="T34" fmla="*/ 48 w 353"/>
              <a:gd name="T35" fmla="*/ 16 h 257"/>
              <a:gd name="T36" fmla="*/ 305 w 353"/>
              <a:gd name="T37" fmla="*/ 16 h 257"/>
              <a:gd name="T38" fmla="*/ 305 w 353"/>
              <a:gd name="T39" fmla="*/ 193 h 257"/>
              <a:gd name="T40" fmla="*/ 48 w 353"/>
              <a:gd name="T41" fmla="*/ 193 h 257"/>
              <a:gd name="T42" fmla="*/ 48 w 353"/>
              <a:gd name="T43" fmla="*/ 16 h 257"/>
              <a:gd name="T44" fmla="*/ 23 w 353"/>
              <a:gd name="T45" fmla="*/ 241 h 257"/>
              <a:gd name="T46" fmla="*/ 44 w 353"/>
              <a:gd name="T47" fmla="*/ 208 h 257"/>
              <a:gd name="T48" fmla="*/ 48 w 353"/>
              <a:gd name="T49" fmla="*/ 209 h 257"/>
              <a:gd name="T50" fmla="*/ 305 w 353"/>
              <a:gd name="T51" fmla="*/ 209 h 257"/>
              <a:gd name="T52" fmla="*/ 308 w 353"/>
              <a:gd name="T53" fmla="*/ 208 h 257"/>
              <a:gd name="T54" fmla="*/ 330 w 353"/>
              <a:gd name="T55" fmla="*/ 241 h 257"/>
              <a:gd name="T56" fmla="*/ 23 w 353"/>
              <a:gd name="T57" fmla="*/ 241 h 2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257">
                <a:moveTo>
                  <a:pt x="351" y="245"/>
                </a:moveTo>
                <a:cubicBezTo>
                  <a:pt x="351" y="245"/>
                  <a:pt x="351" y="245"/>
                  <a:pt x="351" y="245"/>
                </a:cubicBezTo>
                <a:cubicBezTo>
                  <a:pt x="320" y="197"/>
                  <a:pt x="320" y="197"/>
                  <a:pt x="320" y="197"/>
                </a:cubicBezTo>
                <a:cubicBezTo>
                  <a:pt x="320" y="196"/>
                  <a:pt x="321" y="194"/>
                  <a:pt x="321" y="193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21" y="7"/>
                  <a:pt x="313" y="0"/>
                  <a:pt x="305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39" y="0"/>
                  <a:pt x="32" y="7"/>
                  <a:pt x="32" y="16"/>
                </a:cubicBezTo>
                <a:cubicBezTo>
                  <a:pt x="32" y="193"/>
                  <a:pt x="32" y="193"/>
                  <a:pt x="32" y="193"/>
                </a:cubicBezTo>
                <a:cubicBezTo>
                  <a:pt x="32" y="194"/>
                  <a:pt x="32" y="196"/>
                  <a:pt x="32" y="197"/>
                </a:cubicBezTo>
                <a:cubicBezTo>
                  <a:pt x="1" y="245"/>
                  <a:pt x="1" y="245"/>
                  <a:pt x="1" y="245"/>
                </a:cubicBezTo>
                <a:cubicBezTo>
                  <a:pt x="1" y="245"/>
                  <a:pt x="1" y="245"/>
                  <a:pt x="1" y="245"/>
                </a:cubicBezTo>
                <a:cubicBezTo>
                  <a:pt x="0" y="246"/>
                  <a:pt x="0" y="247"/>
                  <a:pt x="0" y="249"/>
                </a:cubicBezTo>
                <a:cubicBezTo>
                  <a:pt x="0" y="254"/>
                  <a:pt x="3" y="257"/>
                  <a:pt x="8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49" y="257"/>
                  <a:pt x="353" y="254"/>
                  <a:pt x="353" y="249"/>
                </a:cubicBezTo>
                <a:cubicBezTo>
                  <a:pt x="353" y="247"/>
                  <a:pt x="352" y="246"/>
                  <a:pt x="351" y="245"/>
                </a:cubicBezTo>
                <a:moveTo>
                  <a:pt x="48" y="16"/>
                </a:moveTo>
                <a:cubicBezTo>
                  <a:pt x="305" y="16"/>
                  <a:pt x="305" y="16"/>
                  <a:pt x="305" y="16"/>
                </a:cubicBezTo>
                <a:cubicBezTo>
                  <a:pt x="305" y="193"/>
                  <a:pt x="305" y="193"/>
                  <a:pt x="305" y="193"/>
                </a:cubicBezTo>
                <a:cubicBezTo>
                  <a:pt x="48" y="193"/>
                  <a:pt x="48" y="193"/>
                  <a:pt x="48" y="193"/>
                </a:cubicBezTo>
                <a:lnTo>
                  <a:pt x="48" y="16"/>
                </a:lnTo>
                <a:close/>
                <a:moveTo>
                  <a:pt x="23" y="241"/>
                </a:moveTo>
                <a:cubicBezTo>
                  <a:pt x="44" y="208"/>
                  <a:pt x="44" y="208"/>
                  <a:pt x="44" y="208"/>
                </a:cubicBezTo>
                <a:cubicBezTo>
                  <a:pt x="45" y="209"/>
                  <a:pt x="47" y="209"/>
                  <a:pt x="48" y="209"/>
                </a:cubicBezTo>
                <a:cubicBezTo>
                  <a:pt x="305" y="209"/>
                  <a:pt x="305" y="209"/>
                  <a:pt x="305" y="209"/>
                </a:cubicBezTo>
                <a:cubicBezTo>
                  <a:pt x="306" y="209"/>
                  <a:pt x="307" y="209"/>
                  <a:pt x="308" y="208"/>
                </a:cubicBezTo>
                <a:cubicBezTo>
                  <a:pt x="330" y="241"/>
                  <a:pt x="330" y="241"/>
                  <a:pt x="330" y="241"/>
                </a:cubicBezTo>
                <a:lnTo>
                  <a:pt x="23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0" name="Freeform 24"/>
          <p:cNvSpPr>
            <a:spLocks noEditPoints="1"/>
          </p:cNvSpPr>
          <p:nvPr/>
        </p:nvSpPr>
        <p:spPr bwMode="auto">
          <a:xfrm>
            <a:off x="7599468" y="3230653"/>
            <a:ext cx="173166" cy="173166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1" name="TextBox 40"/>
          <p:cNvSpPr txBox="1"/>
          <p:nvPr/>
        </p:nvSpPr>
        <p:spPr>
          <a:xfrm>
            <a:off x="6405898" y="1729108"/>
            <a:ext cx="266885" cy="1492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58%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788432" y="2219795"/>
            <a:ext cx="266885" cy="1492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43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174135" y="2311246"/>
            <a:ext cx="266885" cy="1492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9%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7552609" y="2689179"/>
            <a:ext cx="266885" cy="1492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4%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3707670" y="2607656"/>
            <a:ext cx="1725483" cy="677617"/>
            <a:chOff x="3707670" y="2683572"/>
            <a:chExt cx="1725483" cy="677617"/>
          </a:xfrm>
        </p:grpSpPr>
        <p:sp>
          <p:nvSpPr>
            <p:cNvPr id="48" name="TextBox 47"/>
            <p:cNvSpPr txBox="1"/>
            <p:nvPr/>
          </p:nvSpPr>
          <p:spPr>
            <a:xfrm>
              <a:off x="3831167" y="2928057"/>
              <a:ext cx="1481666" cy="433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turpis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707670" y="2683572"/>
              <a:ext cx="172548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mparação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ndas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040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ARAÇÃO EM </a:t>
            </a:r>
            <a:r>
              <a:rPr lang="en-US" dirty="0">
                <a:solidFill>
                  <a:srgbClr val="EC0000"/>
                </a:solidFill>
              </a:rPr>
              <a:t>FLECH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Rectangle 35"/>
          <p:cNvSpPr>
            <a:spLocks noChangeArrowheads="1"/>
          </p:cNvSpPr>
          <p:nvPr/>
        </p:nvSpPr>
        <p:spPr bwMode="auto">
          <a:xfrm>
            <a:off x="3737843" y="4493789"/>
            <a:ext cx="1072967" cy="655341"/>
          </a:xfrm>
          <a:prstGeom prst="rect">
            <a:avLst/>
          </a:prstGeom>
          <a:solidFill>
            <a:schemeClr val="accent1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Rectangle 40"/>
          <p:cNvSpPr>
            <a:spLocks noChangeArrowheads="1"/>
          </p:cNvSpPr>
          <p:nvPr/>
        </p:nvSpPr>
        <p:spPr bwMode="auto">
          <a:xfrm>
            <a:off x="4806241" y="4493789"/>
            <a:ext cx="1072436" cy="655341"/>
          </a:xfrm>
          <a:prstGeom prst="rect">
            <a:avLst/>
          </a:prstGeom>
          <a:solidFill>
            <a:srgbClr val="EC0000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Rectangle 41"/>
          <p:cNvSpPr>
            <a:spLocks noChangeArrowheads="1"/>
          </p:cNvSpPr>
          <p:nvPr/>
        </p:nvSpPr>
        <p:spPr bwMode="auto">
          <a:xfrm>
            <a:off x="5874107" y="4493789"/>
            <a:ext cx="1072967" cy="655341"/>
          </a:xfrm>
          <a:prstGeom prst="rect">
            <a:avLst/>
          </a:prstGeom>
          <a:solidFill>
            <a:schemeClr val="accent3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Rectangle 42"/>
          <p:cNvSpPr>
            <a:spLocks noChangeArrowheads="1"/>
          </p:cNvSpPr>
          <p:nvPr/>
        </p:nvSpPr>
        <p:spPr bwMode="auto">
          <a:xfrm>
            <a:off x="6942505" y="4493789"/>
            <a:ext cx="1072967" cy="655341"/>
          </a:xfrm>
          <a:prstGeom prst="rect">
            <a:avLst/>
          </a:prstGeom>
          <a:solidFill>
            <a:schemeClr val="accent4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43"/>
          <p:cNvSpPr>
            <a:spLocks/>
          </p:cNvSpPr>
          <p:nvPr/>
        </p:nvSpPr>
        <p:spPr bwMode="auto">
          <a:xfrm>
            <a:off x="3737842" y="4180165"/>
            <a:ext cx="1533569" cy="317858"/>
          </a:xfrm>
          <a:custGeom>
            <a:avLst/>
            <a:gdLst>
              <a:gd name="T0" fmla="*/ 2022 w 2890"/>
              <a:gd name="T1" fmla="*/ 599 h 599"/>
              <a:gd name="T2" fmla="*/ 0 w 2890"/>
              <a:gd name="T3" fmla="*/ 599 h 599"/>
              <a:gd name="T4" fmla="*/ 1736 w 2890"/>
              <a:gd name="T5" fmla="*/ 0 h 599"/>
              <a:gd name="T6" fmla="*/ 2890 w 2890"/>
              <a:gd name="T7" fmla="*/ 0 h 599"/>
              <a:gd name="T8" fmla="*/ 2022 w 2890"/>
              <a:gd name="T9" fmla="*/ 599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90" h="599">
                <a:moveTo>
                  <a:pt x="2022" y="599"/>
                </a:moveTo>
                <a:lnTo>
                  <a:pt x="0" y="599"/>
                </a:lnTo>
                <a:lnTo>
                  <a:pt x="1736" y="0"/>
                </a:lnTo>
                <a:lnTo>
                  <a:pt x="2890" y="0"/>
                </a:lnTo>
                <a:lnTo>
                  <a:pt x="2022" y="59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44"/>
          <p:cNvSpPr>
            <a:spLocks/>
          </p:cNvSpPr>
          <p:nvPr/>
        </p:nvSpPr>
        <p:spPr bwMode="auto">
          <a:xfrm>
            <a:off x="4806241" y="4180165"/>
            <a:ext cx="1072436" cy="317858"/>
          </a:xfrm>
          <a:custGeom>
            <a:avLst/>
            <a:gdLst>
              <a:gd name="T0" fmla="*/ 2021 w 2021"/>
              <a:gd name="T1" fmla="*/ 599 h 599"/>
              <a:gd name="T2" fmla="*/ 0 w 2021"/>
              <a:gd name="T3" fmla="*/ 599 h 599"/>
              <a:gd name="T4" fmla="*/ 868 w 2021"/>
              <a:gd name="T5" fmla="*/ 0 h 599"/>
              <a:gd name="T6" fmla="*/ 2021 w 2021"/>
              <a:gd name="T7" fmla="*/ 0 h 599"/>
              <a:gd name="T8" fmla="*/ 2021 w 2021"/>
              <a:gd name="T9" fmla="*/ 599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1" h="599">
                <a:moveTo>
                  <a:pt x="2021" y="599"/>
                </a:moveTo>
                <a:lnTo>
                  <a:pt x="0" y="599"/>
                </a:lnTo>
                <a:lnTo>
                  <a:pt x="868" y="0"/>
                </a:lnTo>
                <a:lnTo>
                  <a:pt x="2021" y="0"/>
                </a:lnTo>
                <a:lnTo>
                  <a:pt x="2021" y="599"/>
                </a:lnTo>
                <a:close/>
              </a:path>
            </a:pathLst>
          </a:custGeom>
          <a:solidFill>
            <a:srgbClr val="EC0000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45"/>
          <p:cNvSpPr>
            <a:spLocks/>
          </p:cNvSpPr>
          <p:nvPr/>
        </p:nvSpPr>
        <p:spPr bwMode="auto">
          <a:xfrm>
            <a:off x="5874107" y="4180165"/>
            <a:ext cx="1072967" cy="317858"/>
          </a:xfrm>
          <a:custGeom>
            <a:avLst/>
            <a:gdLst>
              <a:gd name="T0" fmla="*/ 2022 w 2022"/>
              <a:gd name="T1" fmla="*/ 599 h 599"/>
              <a:gd name="T2" fmla="*/ 0 w 2022"/>
              <a:gd name="T3" fmla="*/ 599 h 599"/>
              <a:gd name="T4" fmla="*/ 0 w 2022"/>
              <a:gd name="T5" fmla="*/ 0 h 599"/>
              <a:gd name="T6" fmla="*/ 1153 w 2022"/>
              <a:gd name="T7" fmla="*/ 0 h 599"/>
              <a:gd name="T8" fmla="*/ 2022 w 2022"/>
              <a:gd name="T9" fmla="*/ 599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2" h="599">
                <a:moveTo>
                  <a:pt x="2022" y="599"/>
                </a:moveTo>
                <a:lnTo>
                  <a:pt x="0" y="599"/>
                </a:lnTo>
                <a:lnTo>
                  <a:pt x="0" y="0"/>
                </a:lnTo>
                <a:lnTo>
                  <a:pt x="1153" y="0"/>
                </a:lnTo>
                <a:lnTo>
                  <a:pt x="2022" y="59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Freeform 46"/>
          <p:cNvSpPr>
            <a:spLocks/>
          </p:cNvSpPr>
          <p:nvPr/>
        </p:nvSpPr>
        <p:spPr bwMode="auto">
          <a:xfrm>
            <a:off x="6481373" y="4180165"/>
            <a:ext cx="1534099" cy="317858"/>
          </a:xfrm>
          <a:custGeom>
            <a:avLst/>
            <a:gdLst>
              <a:gd name="T0" fmla="*/ 2891 w 2891"/>
              <a:gd name="T1" fmla="*/ 599 h 599"/>
              <a:gd name="T2" fmla="*/ 869 w 2891"/>
              <a:gd name="T3" fmla="*/ 599 h 599"/>
              <a:gd name="T4" fmla="*/ 0 w 2891"/>
              <a:gd name="T5" fmla="*/ 0 h 599"/>
              <a:gd name="T6" fmla="*/ 1155 w 2891"/>
              <a:gd name="T7" fmla="*/ 0 h 599"/>
              <a:gd name="T8" fmla="*/ 2891 w 2891"/>
              <a:gd name="T9" fmla="*/ 599 h 5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91" h="599">
                <a:moveTo>
                  <a:pt x="2891" y="599"/>
                </a:moveTo>
                <a:lnTo>
                  <a:pt x="869" y="599"/>
                </a:lnTo>
                <a:lnTo>
                  <a:pt x="0" y="0"/>
                </a:lnTo>
                <a:lnTo>
                  <a:pt x="1155" y="0"/>
                </a:lnTo>
                <a:lnTo>
                  <a:pt x="2891" y="599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TextBox 11"/>
          <p:cNvSpPr txBox="1"/>
          <p:nvPr/>
        </p:nvSpPr>
        <p:spPr>
          <a:xfrm>
            <a:off x="3826964" y="4653921"/>
            <a:ext cx="914174" cy="3279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5</a:t>
            </a:r>
          </a:p>
          <a:p>
            <a:pPr algn="ctr">
              <a:lnSpc>
                <a:spcPct val="110000"/>
              </a:lnSpc>
            </a:pPr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VESTIMENTO</a:t>
            </a:r>
          </a:p>
        </p:txBody>
      </p:sp>
      <p:sp>
        <p:nvSpPr>
          <p:cNvPr id="13" name="Pentagon 12"/>
          <p:cNvSpPr/>
          <p:nvPr/>
        </p:nvSpPr>
        <p:spPr>
          <a:xfrm rot="16200000">
            <a:off x="5859120" y="2948226"/>
            <a:ext cx="1858427" cy="613919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Pentagon 13"/>
          <p:cNvSpPr/>
          <p:nvPr/>
        </p:nvSpPr>
        <p:spPr>
          <a:xfrm rot="16200000">
            <a:off x="4113602" y="3026590"/>
            <a:ext cx="1703218" cy="612401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5" name="Pentagon 14"/>
          <p:cNvSpPr/>
          <p:nvPr/>
        </p:nvSpPr>
        <p:spPr>
          <a:xfrm rot="16200000">
            <a:off x="4469884" y="2780176"/>
            <a:ext cx="2204937" cy="603511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Pentagon 15"/>
          <p:cNvSpPr/>
          <p:nvPr/>
        </p:nvSpPr>
        <p:spPr>
          <a:xfrm rot="16200000">
            <a:off x="4814319" y="2508263"/>
            <a:ext cx="2735529" cy="616744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7" name="TextBox 16"/>
          <p:cNvSpPr txBox="1"/>
          <p:nvPr/>
        </p:nvSpPr>
        <p:spPr>
          <a:xfrm>
            <a:off x="4906998" y="4653920"/>
            <a:ext cx="902007" cy="3279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6</a:t>
            </a:r>
          </a:p>
          <a:p>
            <a:pPr algn="ctr">
              <a:lnSpc>
                <a:spcPct val="110000"/>
              </a:lnSpc>
            </a:pPr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VESTIMENTO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64933" y="4652182"/>
            <a:ext cx="891313" cy="3279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7</a:t>
            </a:r>
          </a:p>
          <a:p>
            <a:pPr algn="ctr">
              <a:lnSpc>
                <a:spcPct val="110000"/>
              </a:lnSpc>
            </a:pPr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VESTIMENTO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044584" y="4652182"/>
            <a:ext cx="915562" cy="3279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2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8</a:t>
            </a:r>
          </a:p>
          <a:p>
            <a:pPr algn="ctr">
              <a:lnSpc>
                <a:spcPct val="110000"/>
              </a:lnSpc>
            </a:pPr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VESTIMENTO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708553" y="2775013"/>
            <a:ext cx="51250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25m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316102" y="2265689"/>
            <a:ext cx="51250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36m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925833" y="1746560"/>
            <a:ext cx="51250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57m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32083" y="2629176"/>
            <a:ext cx="51250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29m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32381" y="1512585"/>
            <a:ext cx="1964301" cy="481229"/>
            <a:chOff x="1232381" y="1512585"/>
            <a:chExt cx="1964301" cy="481229"/>
          </a:xfrm>
        </p:grpSpPr>
        <p:sp>
          <p:nvSpPr>
            <p:cNvPr id="48" name="TextBox 47"/>
            <p:cNvSpPr txBox="1"/>
            <p:nvPr/>
          </p:nvSpPr>
          <p:spPr>
            <a:xfrm>
              <a:off x="1232410" y="1512585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 digita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232381" y="1710723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232381" y="2301561"/>
            <a:ext cx="1964301" cy="481229"/>
            <a:chOff x="1232381" y="2301561"/>
            <a:chExt cx="1964301" cy="481229"/>
          </a:xfrm>
        </p:grpSpPr>
        <p:sp>
          <p:nvSpPr>
            <p:cNvPr id="50" name="TextBox 49"/>
            <p:cNvSpPr txBox="1"/>
            <p:nvPr/>
          </p:nvSpPr>
          <p:spPr>
            <a:xfrm>
              <a:off x="1232410" y="2301561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íde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232381" y="2499699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232381" y="3070334"/>
            <a:ext cx="1964301" cy="481229"/>
            <a:chOff x="1232381" y="3070334"/>
            <a:chExt cx="1964301" cy="481229"/>
          </a:xfrm>
        </p:grpSpPr>
        <p:sp>
          <p:nvSpPr>
            <p:cNvPr id="52" name="TextBox 51"/>
            <p:cNvSpPr txBox="1"/>
            <p:nvPr/>
          </p:nvSpPr>
          <p:spPr>
            <a:xfrm>
              <a:off x="1232410" y="307033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quipament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mpres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232381" y="326847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232381" y="3828994"/>
            <a:ext cx="1964301" cy="481229"/>
            <a:chOff x="1232381" y="3828994"/>
            <a:chExt cx="1964301" cy="481229"/>
          </a:xfrm>
        </p:grpSpPr>
        <p:sp>
          <p:nvSpPr>
            <p:cNvPr id="54" name="TextBox 53"/>
            <p:cNvSpPr txBox="1"/>
            <p:nvPr/>
          </p:nvSpPr>
          <p:spPr>
            <a:xfrm>
              <a:off x="1232410" y="382899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ursos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human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232381" y="402713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95187" y="2310027"/>
            <a:ext cx="448790" cy="448790"/>
            <a:chOff x="595187" y="2310027"/>
            <a:chExt cx="448790" cy="448790"/>
          </a:xfrm>
        </p:grpSpPr>
        <p:sp>
          <p:nvSpPr>
            <p:cNvPr id="42" name="Oval 41"/>
            <p:cNvSpPr/>
            <p:nvPr/>
          </p:nvSpPr>
          <p:spPr>
            <a:xfrm>
              <a:off x="595187" y="2310027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Freeform 17"/>
            <p:cNvSpPr>
              <a:spLocks noEditPoints="1"/>
            </p:cNvSpPr>
            <p:nvPr/>
          </p:nvSpPr>
          <p:spPr bwMode="auto">
            <a:xfrm>
              <a:off x="714094" y="2463801"/>
              <a:ext cx="220428" cy="140490"/>
            </a:xfrm>
            <a:custGeom>
              <a:avLst/>
              <a:gdLst>
                <a:gd name="T0" fmla="*/ 168 w 353"/>
                <a:gd name="T1" fmla="*/ 32 h 225"/>
                <a:gd name="T2" fmla="*/ 144 w 353"/>
                <a:gd name="T3" fmla="*/ 56 h 225"/>
                <a:gd name="T4" fmla="*/ 168 w 353"/>
                <a:gd name="T5" fmla="*/ 81 h 225"/>
                <a:gd name="T6" fmla="*/ 192 w 353"/>
                <a:gd name="T7" fmla="*/ 56 h 225"/>
                <a:gd name="T8" fmla="*/ 168 w 353"/>
                <a:gd name="T9" fmla="*/ 32 h 225"/>
                <a:gd name="T10" fmla="*/ 168 w 353"/>
                <a:gd name="T11" fmla="*/ 65 h 225"/>
                <a:gd name="T12" fmla="*/ 160 w 353"/>
                <a:gd name="T13" fmla="*/ 56 h 225"/>
                <a:gd name="T14" fmla="*/ 168 w 353"/>
                <a:gd name="T15" fmla="*/ 48 h 225"/>
                <a:gd name="T16" fmla="*/ 176 w 353"/>
                <a:gd name="T17" fmla="*/ 56 h 225"/>
                <a:gd name="T18" fmla="*/ 168 w 353"/>
                <a:gd name="T19" fmla="*/ 65 h 225"/>
                <a:gd name="T20" fmla="*/ 345 w 353"/>
                <a:gd name="T21" fmla="*/ 32 h 225"/>
                <a:gd name="T22" fmla="*/ 341 w 353"/>
                <a:gd name="T23" fmla="*/ 33 h 225"/>
                <a:gd name="T24" fmla="*/ 341 w 353"/>
                <a:gd name="T25" fmla="*/ 33 h 225"/>
                <a:gd name="T26" fmla="*/ 256 w 353"/>
                <a:gd name="T27" fmla="*/ 76 h 225"/>
                <a:gd name="T28" fmla="*/ 256 w 353"/>
                <a:gd name="T29" fmla="*/ 32 h 225"/>
                <a:gd name="T30" fmla="*/ 224 w 353"/>
                <a:gd name="T31" fmla="*/ 0 h 225"/>
                <a:gd name="T32" fmla="*/ 32 w 353"/>
                <a:gd name="T33" fmla="*/ 0 h 225"/>
                <a:gd name="T34" fmla="*/ 0 w 353"/>
                <a:gd name="T35" fmla="*/ 32 h 225"/>
                <a:gd name="T36" fmla="*/ 0 w 353"/>
                <a:gd name="T37" fmla="*/ 193 h 225"/>
                <a:gd name="T38" fmla="*/ 32 w 353"/>
                <a:gd name="T39" fmla="*/ 225 h 225"/>
                <a:gd name="T40" fmla="*/ 224 w 353"/>
                <a:gd name="T41" fmla="*/ 225 h 225"/>
                <a:gd name="T42" fmla="*/ 256 w 353"/>
                <a:gd name="T43" fmla="*/ 193 h 225"/>
                <a:gd name="T44" fmla="*/ 256 w 353"/>
                <a:gd name="T45" fmla="*/ 150 h 225"/>
                <a:gd name="T46" fmla="*/ 341 w 353"/>
                <a:gd name="T47" fmla="*/ 192 h 225"/>
                <a:gd name="T48" fmla="*/ 341 w 353"/>
                <a:gd name="T49" fmla="*/ 192 h 225"/>
                <a:gd name="T50" fmla="*/ 345 w 353"/>
                <a:gd name="T51" fmla="*/ 193 h 225"/>
                <a:gd name="T52" fmla="*/ 353 w 353"/>
                <a:gd name="T53" fmla="*/ 185 h 225"/>
                <a:gd name="T54" fmla="*/ 353 w 353"/>
                <a:gd name="T55" fmla="*/ 40 h 225"/>
                <a:gd name="T56" fmla="*/ 345 w 353"/>
                <a:gd name="T57" fmla="*/ 32 h 225"/>
                <a:gd name="T58" fmla="*/ 224 w 353"/>
                <a:gd name="T59" fmla="*/ 209 h 225"/>
                <a:gd name="T60" fmla="*/ 32 w 353"/>
                <a:gd name="T61" fmla="*/ 209 h 225"/>
                <a:gd name="T62" fmla="*/ 16 w 353"/>
                <a:gd name="T63" fmla="*/ 193 h 225"/>
                <a:gd name="T64" fmla="*/ 240 w 353"/>
                <a:gd name="T65" fmla="*/ 193 h 225"/>
                <a:gd name="T66" fmla="*/ 224 w 353"/>
                <a:gd name="T67" fmla="*/ 209 h 225"/>
                <a:gd name="T68" fmla="*/ 240 w 353"/>
                <a:gd name="T69" fmla="*/ 177 h 225"/>
                <a:gd name="T70" fmla="*/ 16 w 353"/>
                <a:gd name="T71" fmla="*/ 177 h 225"/>
                <a:gd name="T72" fmla="*/ 16 w 353"/>
                <a:gd name="T73" fmla="*/ 32 h 225"/>
                <a:gd name="T74" fmla="*/ 32 w 353"/>
                <a:gd name="T75" fmla="*/ 16 h 225"/>
                <a:gd name="T76" fmla="*/ 224 w 353"/>
                <a:gd name="T77" fmla="*/ 16 h 225"/>
                <a:gd name="T78" fmla="*/ 240 w 353"/>
                <a:gd name="T79" fmla="*/ 32 h 225"/>
                <a:gd name="T80" fmla="*/ 240 w 353"/>
                <a:gd name="T81" fmla="*/ 177 h 225"/>
                <a:gd name="T82" fmla="*/ 337 w 353"/>
                <a:gd name="T83" fmla="*/ 172 h 225"/>
                <a:gd name="T84" fmla="*/ 256 w 353"/>
                <a:gd name="T85" fmla="*/ 132 h 225"/>
                <a:gd name="T86" fmla="*/ 256 w 353"/>
                <a:gd name="T87" fmla="*/ 94 h 225"/>
                <a:gd name="T88" fmla="*/ 337 w 353"/>
                <a:gd name="T89" fmla="*/ 53 h 225"/>
                <a:gd name="T90" fmla="*/ 337 w 353"/>
                <a:gd name="T91" fmla="*/ 172 h 225"/>
                <a:gd name="T92" fmla="*/ 216 w 353"/>
                <a:gd name="T93" fmla="*/ 32 h 225"/>
                <a:gd name="T94" fmla="*/ 208 w 353"/>
                <a:gd name="T95" fmla="*/ 40 h 225"/>
                <a:gd name="T96" fmla="*/ 216 w 353"/>
                <a:gd name="T97" fmla="*/ 48 h 225"/>
                <a:gd name="T98" fmla="*/ 224 w 353"/>
                <a:gd name="T99" fmla="*/ 40 h 225"/>
                <a:gd name="T100" fmla="*/ 216 w 353"/>
                <a:gd name="T101" fmla="*/ 3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225">
                  <a:moveTo>
                    <a:pt x="168" y="32"/>
                  </a:moveTo>
                  <a:cubicBezTo>
                    <a:pt x="155" y="32"/>
                    <a:pt x="144" y="43"/>
                    <a:pt x="144" y="56"/>
                  </a:cubicBezTo>
                  <a:cubicBezTo>
                    <a:pt x="144" y="70"/>
                    <a:pt x="155" y="81"/>
                    <a:pt x="168" y="81"/>
                  </a:cubicBezTo>
                  <a:cubicBezTo>
                    <a:pt x="181" y="81"/>
                    <a:pt x="192" y="70"/>
                    <a:pt x="192" y="56"/>
                  </a:cubicBezTo>
                  <a:cubicBezTo>
                    <a:pt x="192" y="43"/>
                    <a:pt x="181" y="32"/>
                    <a:pt x="168" y="32"/>
                  </a:cubicBezTo>
                  <a:moveTo>
                    <a:pt x="168" y="65"/>
                  </a:moveTo>
                  <a:cubicBezTo>
                    <a:pt x="164" y="65"/>
                    <a:pt x="160" y="61"/>
                    <a:pt x="160" y="56"/>
                  </a:cubicBezTo>
                  <a:cubicBezTo>
                    <a:pt x="160" y="52"/>
                    <a:pt x="164" y="48"/>
                    <a:pt x="168" y="48"/>
                  </a:cubicBezTo>
                  <a:cubicBezTo>
                    <a:pt x="173" y="48"/>
                    <a:pt x="176" y="52"/>
                    <a:pt x="176" y="56"/>
                  </a:cubicBezTo>
                  <a:cubicBezTo>
                    <a:pt x="176" y="61"/>
                    <a:pt x="173" y="65"/>
                    <a:pt x="168" y="65"/>
                  </a:cubicBezTo>
                  <a:moveTo>
                    <a:pt x="345" y="32"/>
                  </a:moveTo>
                  <a:cubicBezTo>
                    <a:pt x="343" y="32"/>
                    <a:pt x="342" y="33"/>
                    <a:pt x="341" y="33"/>
                  </a:cubicBezTo>
                  <a:cubicBezTo>
                    <a:pt x="341" y="33"/>
                    <a:pt x="341" y="33"/>
                    <a:pt x="341" y="33"/>
                  </a:cubicBezTo>
                  <a:cubicBezTo>
                    <a:pt x="256" y="76"/>
                    <a:pt x="256" y="76"/>
                    <a:pt x="256" y="76"/>
                  </a:cubicBezTo>
                  <a:cubicBezTo>
                    <a:pt x="256" y="32"/>
                    <a:pt x="256" y="32"/>
                    <a:pt x="256" y="32"/>
                  </a:cubicBezTo>
                  <a:cubicBezTo>
                    <a:pt x="256" y="15"/>
                    <a:pt x="242" y="0"/>
                    <a:pt x="22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11"/>
                    <a:pt x="14" y="225"/>
                    <a:pt x="32" y="225"/>
                  </a:cubicBezTo>
                  <a:cubicBezTo>
                    <a:pt x="224" y="225"/>
                    <a:pt x="224" y="225"/>
                    <a:pt x="224" y="225"/>
                  </a:cubicBezTo>
                  <a:cubicBezTo>
                    <a:pt x="242" y="225"/>
                    <a:pt x="256" y="211"/>
                    <a:pt x="256" y="193"/>
                  </a:cubicBezTo>
                  <a:cubicBezTo>
                    <a:pt x="256" y="150"/>
                    <a:pt x="256" y="150"/>
                    <a:pt x="256" y="150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2" y="193"/>
                    <a:pt x="343" y="193"/>
                    <a:pt x="345" y="193"/>
                  </a:cubicBezTo>
                  <a:cubicBezTo>
                    <a:pt x="349" y="193"/>
                    <a:pt x="353" y="189"/>
                    <a:pt x="353" y="185"/>
                  </a:cubicBezTo>
                  <a:cubicBezTo>
                    <a:pt x="353" y="40"/>
                    <a:pt x="353" y="40"/>
                    <a:pt x="353" y="40"/>
                  </a:cubicBezTo>
                  <a:cubicBezTo>
                    <a:pt x="353" y="36"/>
                    <a:pt x="349" y="32"/>
                    <a:pt x="345" y="32"/>
                  </a:cubicBezTo>
                  <a:moveTo>
                    <a:pt x="224" y="209"/>
                  </a:moveTo>
                  <a:cubicBezTo>
                    <a:pt x="32" y="209"/>
                    <a:pt x="32" y="209"/>
                    <a:pt x="32" y="209"/>
                  </a:cubicBezTo>
                  <a:cubicBezTo>
                    <a:pt x="23" y="209"/>
                    <a:pt x="16" y="202"/>
                    <a:pt x="16" y="193"/>
                  </a:cubicBezTo>
                  <a:cubicBezTo>
                    <a:pt x="240" y="193"/>
                    <a:pt x="240" y="193"/>
                    <a:pt x="240" y="193"/>
                  </a:cubicBezTo>
                  <a:cubicBezTo>
                    <a:pt x="240" y="202"/>
                    <a:pt x="233" y="209"/>
                    <a:pt x="224" y="209"/>
                  </a:cubicBezTo>
                  <a:moveTo>
                    <a:pt x="24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4"/>
                    <a:pt x="23" y="16"/>
                    <a:pt x="32" y="16"/>
                  </a:cubicBezTo>
                  <a:cubicBezTo>
                    <a:pt x="224" y="16"/>
                    <a:pt x="224" y="16"/>
                    <a:pt x="224" y="16"/>
                  </a:cubicBezTo>
                  <a:cubicBezTo>
                    <a:pt x="233" y="16"/>
                    <a:pt x="240" y="24"/>
                    <a:pt x="240" y="32"/>
                  </a:cubicBezTo>
                  <a:lnTo>
                    <a:pt x="240" y="177"/>
                  </a:lnTo>
                  <a:close/>
                  <a:moveTo>
                    <a:pt x="337" y="172"/>
                  </a:moveTo>
                  <a:cubicBezTo>
                    <a:pt x="256" y="132"/>
                    <a:pt x="256" y="132"/>
                    <a:pt x="256" y="132"/>
                  </a:cubicBezTo>
                  <a:cubicBezTo>
                    <a:pt x="256" y="94"/>
                    <a:pt x="256" y="94"/>
                    <a:pt x="256" y="94"/>
                  </a:cubicBezTo>
                  <a:cubicBezTo>
                    <a:pt x="337" y="53"/>
                    <a:pt x="337" y="53"/>
                    <a:pt x="337" y="53"/>
                  </a:cubicBezTo>
                  <a:lnTo>
                    <a:pt x="337" y="172"/>
                  </a:lnTo>
                  <a:close/>
                  <a:moveTo>
                    <a:pt x="216" y="32"/>
                  </a:moveTo>
                  <a:cubicBezTo>
                    <a:pt x="212" y="32"/>
                    <a:pt x="208" y="36"/>
                    <a:pt x="208" y="40"/>
                  </a:cubicBezTo>
                  <a:cubicBezTo>
                    <a:pt x="208" y="45"/>
                    <a:pt x="212" y="48"/>
                    <a:pt x="216" y="48"/>
                  </a:cubicBezTo>
                  <a:cubicBezTo>
                    <a:pt x="221" y="48"/>
                    <a:pt x="224" y="45"/>
                    <a:pt x="224" y="40"/>
                  </a:cubicBezTo>
                  <a:cubicBezTo>
                    <a:pt x="224" y="36"/>
                    <a:pt x="221" y="32"/>
                    <a:pt x="216" y="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95187" y="3073744"/>
            <a:ext cx="448790" cy="448790"/>
            <a:chOff x="595187" y="3073744"/>
            <a:chExt cx="448790" cy="448790"/>
          </a:xfrm>
        </p:grpSpPr>
        <p:sp>
          <p:nvSpPr>
            <p:cNvPr id="46" name="Oval 45"/>
            <p:cNvSpPr/>
            <p:nvPr/>
          </p:nvSpPr>
          <p:spPr>
            <a:xfrm>
              <a:off x="595187" y="3073744"/>
              <a:ext cx="448790" cy="44879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Freeform 10"/>
            <p:cNvSpPr>
              <a:spLocks noEditPoints="1"/>
            </p:cNvSpPr>
            <p:nvPr/>
          </p:nvSpPr>
          <p:spPr bwMode="auto">
            <a:xfrm>
              <a:off x="715806" y="3189289"/>
              <a:ext cx="216124" cy="217700"/>
            </a:xfrm>
            <a:custGeom>
              <a:avLst/>
              <a:gdLst>
                <a:gd name="T0" fmla="*/ 232 w 353"/>
                <a:gd name="T1" fmla="*/ 305 h 354"/>
                <a:gd name="T2" fmla="*/ 232 w 353"/>
                <a:gd name="T3" fmla="*/ 289 h 354"/>
                <a:gd name="T4" fmla="*/ 112 w 353"/>
                <a:gd name="T5" fmla="*/ 297 h 354"/>
                <a:gd name="T6" fmla="*/ 120 w 353"/>
                <a:gd name="T7" fmla="*/ 273 h 354"/>
                <a:gd name="T8" fmla="*/ 208 w 353"/>
                <a:gd name="T9" fmla="*/ 265 h 354"/>
                <a:gd name="T10" fmla="*/ 120 w 353"/>
                <a:gd name="T11" fmla="*/ 257 h 354"/>
                <a:gd name="T12" fmla="*/ 120 w 353"/>
                <a:gd name="T13" fmla="*/ 273 h 354"/>
                <a:gd name="T14" fmla="*/ 224 w 353"/>
                <a:gd name="T15" fmla="*/ 161 h 354"/>
                <a:gd name="T16" fmla="*/ 256 w 353"/>
                <a:gd name="T17" fmla="*/ 161 h 354"/>
                <a:gd name="T18" fmla="*/ 289 w 353"/>
                <a:gd name="T19" fmla="*/ 145 h 354"/>
                <a:gd name="T20" fmla="*/ 289 w 353"/>
                <a:gd name="T21" fmla="*/ 177 h 354"/>
                <a:gd name="T22" fmla="*/ 289 w 353"/>
                <a:gd name="T23" fmla="*/ 145 h 354"/>
                <a:gd name="T24" fmla="*/ 289 w 353"/>
                <a:gd name="T25" fmla="*/ 97 h 354"/>
                <a:gd name="T26" fmla="*/ 273 w 353"/>
                <a:gd name="T27" fmla="*/ 0 h 354"/>
                <a:gd name="T28" fmla="*/ 64 w 353"/>
                <a:gd name="T29" fmla="*/ 16 h 354"/>
                <a:gd name="T30" fmla="*/ 48 w 353"/>
                <a:gd name="T31" fmla="*/ 97 h 354"/>
                <a:gd name="T32" fmla="*/ 0 w 353"/>
                <a:gd name="T33" fmla="*/ 273 h 354"/>
                <a:gd name="T34" fmla="*/ 64 w 353"/>
                <a:gd name="T35" fmla="*/ 322 h 354"/>
                <a:gd name="T36" fmla="*/ 80 w 353"/>
                <a:gd name="T37" fmla="*/ 354 h 354"/>
                <a:gd name="T38" fmla="*/ 289 w 353"/>
                <a:gd name="T39" fmla="*/ 338 h 354"/>
                <a:gd name="T40" fmla="*/ 305 w 353"/>
                <a:gd name="T41" fmla="*/ 322 h 354"/>
                <a:gd name="T42" fmla="*/ 353 w 353"/>
                <a:gd name="T43" fmla="*/ 145 h 354"/>
                <a:gd name="T44" fmla="*/ 80 w 353"/>
                <a:gd name="T45" fmla="*/ 16 h 354"/>
                <a:gd name="T46" fmla="*/ 273 w 353"/>
                <a:gd name="T47" fmla="*/ 97 h 354"/>
                <a:gd name="T48" fmla="*/ 80 w 353"/>
                <a:gd name="T49" fmla="*/ 16 h 354"/>
                <a:gd name="T50" fmla="*/ 80 w 353"/>
                <a:gd name="T51" fmla="*/ 338 h 354"/>
                <a:gd name="T52" fmla="*/ 273 w 353"/>
                <a:gd name="T53" fmla="*/ 241 h 354"/>
                <a:gd name="T54" fmla="*/ 337 w 353"/>
                <a:gd name="T55" fmla="*/ 273 h 354"/>
                <a:gd name="T56" fmla="*/ 289 w 353"/>
                <a:gd name="T57" fmla="*/ 305 h 354"/>
                <a:gd name="T58" fmla="*/ 273 w 353"/>
                <a:gd name="T59" fmla="*/ 225 h 354"/>
                <a:gd name="T60" fmla="*/ 64 w 353"/>
                <a:gd name="T61" fmla="*/ 241 h 354"/>
                <a:gd name="T62" fmla="*/ 48 w 353"/>
                <a:gd name="T63" fmla="*/ 305 h 354"/>
                <a:gd name="T64" fmla="*/ 16 w 353"/>
                <a:gd name="T65" fmla="*/ 145 h 354"/>
                <a:gd name="T66" fmla="*/ 305 w 353"/>
                <a:gd name="T67" fmla="*/ 113 h 354"/>
                <a:gd name="T68" fmla="*/ 337 w 353"/>
                <a:gd name="T69" fmla="*/ 27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54">
                  <a:moveTo>
                    <a:pt x="120" y="305"/>
                  </a:moveTo>
                  <a:cubicBezTo>
                    <a:pt x="232" y="305"/>
                    <a:pt x="232" y="305"/>
                    <a:pt x="232" y="305"/>
                  </a:cubicBezTo>
                  <a:cubicBezTo>
                    <a:pt x="237" y="305"/>
                    <a:pt x="240" y="302"/>
                    <a:pt x="240" y="297"/>
                  </a:cubicBezTo>
                  <a:cubicBezTo>
                    <a:pt x="240" y="293"/>
                    <a:pt x="237" y="289"/>
                    <a:pt x="232" y="289"/>
                  </a:cubicBezTo>
                  <a:cubicBezTo>
                    <a:pt x="120" y="289"/>
                    <a:pt x="120" y="289"/>
                    <a:pt x="120" y="289"/>
                  </a:cubicBezTo>
                  <a:cubicBezTo>
                    <a:pt x="116" y="289"/>
                    <a:pt x="112" y="293"/>
                    <a:pt x="112" y="297"/>
                  </a:cubicBezTo>
                  <a:cubicBezTo>
                    <a:pt x="112" y="302"/>
                    <a:pt x="116" y="305"/>
                    <a:pt x="120" y="305"/>
                  </a:cubicBezTo>
                  <a:moveTo>
                    <a:pt x="120" y="273"/>
                  </a:moveTo>
                  <a:cubicBezTo>
                    <a:pt x="200" y="273"/>
                    <a:pt x="200" y="273"/>
                    <a:pt x="200" y="273"/>
                  </a:cubicBezTo>
                  <a:cubicBezTo>
                    <a:pt x="205" y="273"/>
                    <a:pt x="208" y="270"/>
                    <a:pt x="208" y="265"/>
                  </a:cubicBezTo>
                  <a:cubicBezTo>
                    <a:pt x="208" y="261"/>
                    <a:pt x="205" y="257"/>
                    <a:pt x="200" y="257"/>
                  </a:cubicBezTo>
                  <a:cubicBezTo>
                    <a:pt x="120" y="257"/>
                    <a:pt x="120" y="257"/>
                    <a:pt x="120" y="257"/>
                  </a:cubicBezTo>
                  <a:cubicBezTo>
                    <a:pt x="116" y="257"/>
                    <a:pt x="112" y="261"/>
                    <a:pt x="112" y="265"/>
                  </a:cubicBezTo>
                  <a:cubicBezTo>
                    <a:pt x="112" y="270"/>
                    <a:pt x="116" y="273"/>
                    <a:pt x="120" y="273"/>
                  </a:cubicBezTo>
                  <a:moveTo>
                    <a:pt x="240" y="145"/>
                  </a:moveTo>
                  <a:cubicBezTo>
                    <a:pt x="232" y="145"/>
                    <a:pt x="224" y="152"/>
                    <a:pt x="224" y="161"/>
                  </a:cubicBezTo>
                  <a:cubicBezTo>
                    <a:pt x="224" y="170"/>
                    <a:pt x="232" y="177"/>
                    <a:pt x="240" y="177"/>
                  </a:cubicBezTo>
                  <a:cubicBezTo>
                    <a:pt x="249" y="177"/>
                    <a:pt x="256" y="170"/>
                    <a:pt x="256" y="161"/>
                  </a:cubicBezTo>
                  <a:cubicBezTo>
                    <a:pt x="256" y="152"/>
                    <a:pt x="249" y="145"/>
                    <a:pt x="240" y="145"/>
                  </a:cubicBezTo>
                  <a:moveTo>
                    <a:pt x="289" y="145"/>
                  </a:moveTo>
                  <a:cubicBezTo>
                    <a:pt x="280" y="145"/>
                    <a:pt x="273" y="152"/>
                    <a:pt x="273" y="161"/>
                  </a:cubicBezTo>
                  <a:cubicBezTo>
                    <a:pt x="273" y="170"/>
                    <a:pt x="280" y="177"/>
                    <a:pt x="289" y="177"/>
                  </a:cubicBezTo>
                  <a:cubicBezTo>
                    <a:pt x="297" y="177"/>
                    <a:pt x="305" y="170"/>
                    <a:pt x="305" y="161"/>
                  </a:cubicBezTo>
                  <a:cubicBezTo>
                    <a:pt x="305" y="152"/>
                    <a:pt x="297" y="145"/>
                    <a:pt x="289" y="145"/>
                  </a:cubicBezTo>
                  <a:moveTo>
                    <a:pt x="305" y="97"/>
                  </a:moveTo>
                  <a:cubicBezTo>
                    <a:pt x="289" y="97"/>
                    <a:pt x="289" y="97"/>
                    <a:pt x="289" y="97"/>
                  </a:cubicBezTo>
                  <a:cubicBezTo>
                    <a:pt x="289" y="16"/>
                    <a:pt x="289" y="16"/>
                    <a:pt x="289" y="16"/>
                  </a:cubicBezTo>
                  <a:cubicBezTo>
                    <a:pt x="289" y="8"/>
                    <a:pt x="281" y="0"/>
                    <a:pt x="27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1" y="0"/>
                    <a:pt x="64" y="8"/>
                    <a:pt x="64" y="16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21" y="97"/>
                    <a:pt x="0" y="118"/>
                    <a:pt x="0" y="145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300"/>
                    <a:pt x="21" y="322"/>
                    <a:pt x="48" y="322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64" y="338"/>
                    <a:pt x="64" y="338"/>
                    <a:pt x="64" y="338"/>
                  </a:cubicBezTo>
                  <a:cubicBezTo>
                    <a:pt x="64" y="346"/>
                    <a:pt x="71" y="354"/>
                    <a:pt x="80" y="354"/>
                  </a:cubicBezTo>
                  <a:cubicBezTo>
                    <a:pt x="273" y="354"/>
                    <a:pt x="273" y="354"/>
                    <a:pt x="273" y="354"/>
                  </a:cubicBezTo>
                  <a:cubicBezTo>
                    <a:pt x="281" y="354"/>
                    <a:pt x="289" y="346"/>
                    <a:pt x="289" y="338"/>
                  </a:cubicBezTo>
                  <a:cubicBezTo>
                    <a:pt x="289" y="322"/>
                    <a:pt x="289" y="322"/>
                    <a:pt x="289" y="322"/>
                  </a:cubicBezTo>
                  <a:cubicBezTo>
                    <a:pt x="305" y="322"/>
                    <a:pt x="305" y="322"/>
                    <a:pt x="305" y="322"/>
                  </a:cubicBezTo>
                  <a:cubicBezTo>
                    <a:pt x="331" y="322"/>
                    <a:pt x="353" y="300"/>
                    <a:pt x="353" y="273"/>
                  </a:cubicBezTo>
                  <a:cubicBezTo>
                    <a:pt x="353" y="145"/>
                    <a:pt x="353" y="145"/>
                    <a:pt x="353" y="145"/>
                  </a:cubicBezTo>
                  <a:cubicBezTo>
                    <a:pt x="353" y="118"/>
                    <a:pt x="331" y="97"/>
                    <a:pt x="305" y="97"/>
                  </a:cubicBezTo>
                  <a:moveTo>
                    <a:pt x="80" y="16"/>
                  </a:moveTo>
                  <a:cubicBezTo>
                    <a:pt x="273" y="16"/>
                    <a:pt x="273" y="16"/>
                    <a:pt x="273" y="1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80" y="97"/>
                    <a:pt x="80" y="97"/>
                    <a:pt x="80" y="97"/>
                  </a:cubicBezTo>
                  <a:lnTo>
                    <a:pt x="80" y="16"/>
                  </a:lnTo>
                  <a:close/>
                  <a:moveTo>
                    <a:pt x="273" y="338"/>
                  </a:moveTo>
                  <a:cubicBezTo>
                    <a:pt x="80" y="338"/>
                    <a:pt x="80" y="338"/>
                    <a:pt x="80" y="338"/>
                  </a:cubicBezTo>
                  <a:cubicBezTo>
                    <a:pt x="80" y="241"/>
                    <a:pt x="80" y="241"/>
                    <a:pt x="80" y="241"/>
                  </a:cubicBezTo>
                  <a:cubicBezTo>
                    <a:pt x="273" y="241"/>
                    <a:pt x="273" y="241"/>
                    <a:pt x="273" y="241"/>
                  </a:cubicBezTo>
                  <a:lnTo>
                    <a:pt x="273" y="338"/>
                  </a:lnTo>
                  <a:close/>
                  <a:moveTo>
                    <a:pt x="337" y="273"/>
                  </a:moveTo>
                  <a:cubicBezTo>
                    <a:pt x="337" y="291"/>
                    <a:pt x="322" y="305"/>
                    <a:pt x="305" y="305"/>
                  </a:cubicBezTo>
                  <a:cubicBezTo>
                    <a:pt x="289" y="305"/>
                    <a:pt x="289" y="305"/>
                    <a:pt x="289" y="305"/>
                  </a:cubicBezTo>
                  <a:cubicBezTo>
                    <a:pt x="289" y="241"/>
                    <a:pt x="289" y="241"/>
                    <a:pt x="289" y="241"/>
                  </a:cubicBezTo>
                  <a:cubicBezTo>
                    <a:pt x="289" y="232"/>
                    <a:pt x="281" y="225"/>
                    <a:pt x="273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1" y="225"/>
                    <a:pt x="64" y="232"/>
                    <a:pt x="64" y="241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30" y="305"/>
                    <a:pt x="16" y="291"/>
                    <a:pt x="16" y="273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27"/>
                    <a:pt x="30" y="113"/>
                    <a:pt x="48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22" y="113"/>
                    <a:pt x="337" y="127"/>
                    <a:pt x="337" y="145"/>
                  </a:cubicBezTo>
                  <a:lnTo>
                    <a:pt x="337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95187" y="1546310"/>
            <a:ext cx="448790" cy="448790"/>
            <a:chOff x="595187" y="1546310"/>
            <a:chExt cx="448790" cy="448790"/>
          </a:xfrm>
        </p:grpSpPr>
        <p:sp>
          <p:nvSpPr>
            <p:cNvPr id="40" name="Oval 39"/>
            <p:cNvSpPr/>
            <p:nvPr/>
          </p:nvSpPr>
          <p:spPr>
            <a:xfrm>
              <a:off x="595187" y="1546310"/>
              <a:ext cx="448790" cy="44879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16"/>
            <p:cNvSpPr>
              <a:spLocks noEditPoints="1"/>
            </p:cNvSpPr>
            <p:nvPr/>
          </p:nvSpPr>
          <p:spPr bwMode="auto">
            <a:xfrm>
              <a:off x="718833" y="1665288"/>
              <a:ext cx="210070" cy="210834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95187" y="3837460"/>
            <a:ext cx="448790" cy="448790"/>
            <a:chOff x="595187" y="3837460"/>
            <a:chExt cx="448790" cy="448790"/>
          </a:xfrm>
        </p:grpSpPr>
        <p:sp>
          <p:nvSpPr>
            <p:cNvPr id="44" name="Oval 43"/>
            <p:cNvSpPr/>
            <p:nvPr/>
          </p:nvSpPr>
          <p:spPr>
            <a:xfrm>
              <a:off x="595187" y="3837460"/>
              <a:ext cx="448790" cy="44879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Freeform 24"/>
            <p:cNvSpPr>
              <a:spLocks noEditPoints="1"/>
            </p:cNvSpPr>
            <p:nvPr/>
          </p:nvSpPr>
          <p:spPr bwMode="auto">
            <a:xfrm>
              <a:off x="715571" y="3952876"/>
              <a:ext cx="217168" cy="217958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240462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ALVOS</a:t>
            </a:r>
            <a:r>
              <a:rPr lang="en-US" dirty="0"/>
              <a:t> DO NEGÓCI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1786266" y="3942005"/>
            <a:ext cx="849931" cy="351419"/>
          </a:xfrm>
          <a:custGeom>
            <a:avLst/>
            <a:gdLst>
              <a:gd name="T0" fmla="*/ 2285 w 2356"/>
              <a:gd name="T1" fmla="*/ 55 h 974"/>
              <a:gd name="T2" fmla="*/ 76 w 2356"/>
              <a:gd name="T3" fmla="*/ 823 h 974"/>
              <a:gd name="T4" fmla="*/ 0 w 2356"/>
              <a:gd name="T5" fmla="*/ 898 h 974"/>
              <a:gd name="T6" fmla="*/ 23 w 2356"/>
              <a:gd name="T7" fmla="*/ 952 h 974"/>
              <a:gd name="T8" fmla="*/ 76 w 2356"/>
              <a:gd name="T9" fmla="*/ 974 h 974"/>
              <a:gd name="T10" fmla="*/ 77 w 2356"/>
              <a:gd name="T11" fmla="*/ 974 h 974"/>
              <a:gd name="T12" fmla="*/ 2339 w 2356"/>
              <a:gd name="T13" fmla="*/ 205 h 974"/>
              <a:gd name="T14" fmla="*/ 2356 w 2356"/>
              <a:gd name="T15" fmla="*/ 192 h 974"/>
              <a:gd name="T16" fmla="*/ 2356 w 2356"/>
              <a:gd name="T17" fmla="*/ 0 h 974"/>
              <a:gd name="T18" fmla="*/ 2285 w 2356"/>
              <a:gd name="T19" fmla="*/ 55 h 9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356" h="974">
                <a:moveTo>
                  <a:pt x="2285" y="55"/>
                </a:moveTo>
                <a:cubicBezTo>
                  <a:pt x="1647" y="550"/>
                  <a:pt x="883" y="816"/>
                  <a:pt x="76" y="823"/>
                </a:cubicBezTo>
                <a:cubicBezTo>
                  <a:pt x="34" y="823"/>
                  <a:pt x="0" y="857"/>
                  <a:pt x="0" y="898"/>
                </a:cubicBezTo>
                <a:cubicBezTo>
                  <a:pt x="0" y="919"/>
                  <a:pt x="8" y="938"/>
                  <a:pt x="23" y="952"/>
                </a:cubicBezTo>
                <a:cubicBezTo>
                  <a:pt x="37" y="966"/>
                  <a:pt x="56" y="974"/>
                  <a:pt x="76" y="974"/>
                </a:cubicBezTo>
                <a:cubicBezTo>
                  <a:pt x="76" y="974"/>
                  <a:pt x="77" y="974"/>
                  <a:pt x="77" y="974"/>
                </a:cubicBezTo>
                <a:cubicBezTo>
                  <a:pt x="900" y="967"/>
                  <a:pt x="1682" y="701"/>
                  <a:pt x="2339" y="205"/>
                </a:cubicBezTo>
                <a:cubicBezTo>
                  <a:pt x="2356" y="192"/>
                  <a:pt x="2356" y="192"/>
                  <a:pt x="2356" y="192"/>
                </a:cubicBezTo>
                <a:cubicBezTo>
                  <a:pt x="2356" y="0"/>
                  <a:pt x="2356" y="0"/>
                  <a:pt x="2356" y="0"/>
                </a:cubicBezTo>
                <a:lnTo>
                  <a:pt x="2285" y="5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2604638" y="2902191"/>
            <a:ext cx="573395" cy="1132884"/>
          </a:xfrm>
          <a:custGeom>
            <a:avLst/>
            <a:gdLst>
              <a:gd name="T0" fmla="*/ 1439 w 1590"/>
              <a:gd name="T1" fmla="*/ 0 h 3142"/>
              <a:gd name="T2" fmla="*/ 1439 w 1590"/>
              <a:gd name="T3" fmla="*/ 44 h 3142"/>
              <a:gd name="T4" fmla="*/ 17 w 1590"/>
              <a:gd name="T5" fmla="*/ 2939 h 3142"/>
              <a:gd name="T6" fmla="*/ 0 w 1590"/>
              <a:gd name="T7" fmla="*/ 2952 h 3142"/>
              <a:gd name="T8" fmla="*/ 0 w 1590"/>
              <a:gd name="T9" fmla="*/ 3142 h 3142"/>
              <a:gd name="T10" fmla="*/ 71 w 1590"/>
              <a:gd name="T11" fmla="*/ 3089 h 3142"/>
              <a:gd name="T12" fmla="*/ 1176 w 1590"/>
              <a:gd name="T13" fmla="*/ 1771 h 3142"/>
              <a:gd name="T14" fmla="*/ 1590 w 1590"/>
              <a:gd name="T15" fmla="*/ 44 h 3142"/>
              <a:gd name="T16" fmla="*/ 1590 w 1590"/>
              <a:gd name="T17" fmla="*/ 0 h 3142"/>
              <a:gd name="T18" fmla="*/ 1439 w 1590"/>
              <a:gd name="T19" fmla="*/ 0 h 3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90" h="3142">
                <a:moveTo>
                  <a:pt x="1439" y="0"/>
                </a:moveTo>
                <a:cubicBezTo>
                  <a:pt x="1439" y="44"/>
                  <a:pt x="1439" y="44"/>
                  <a:pt x="1439" y="44"/>
                </a:cubicBezTo>
                <a:cubicBezTo>
                  <a:pt x="1439" y="1183"/>
                  <a:pt x="921" y="2238"/>
                  <a:pt x="17" y="2939"/>
                </a:cubicBezTo>
                <a:cubicBezTo>
                  <a:pt x="0" y="2952"/>
                  <a:pt x="0" y="2952"/>
                  <a:pt x="0" y="2952"/>
                </a:cubicBezTo>
                <a:cubicBezTo>
                  <a:pt x="0" y="3142"/>
                  <a:pt x="0" y="3142"/>
                  <a:pt x="0" y="3142"/>
                </a:cubicBezTo>
                <a:cubicBezTo>
                  <a:pt x="71" y="3089"/>
                  <a:pt x="71" y="3089"/>
                  <a:pt x="71" y="3089"/>
                </a:cubicBezTo>
                <a:cubicBezTo>
                  <a:pt x="532" y="2740"/>
                  <a:pt x="915" y="2285"/>
                  <a:pt x="1176" y="1771"/>
                </a:cubicBezTo>
                <a:cubicBezTo>
                  <a:pt x="1451" y="1233"/>
                  <a:pt x="1590" y="652"/>
                  <a:pt x="1590" y="44"/>
                </a:cubicBezTo>
                <a:cubicBezTo>
                  <a:pt x="1590" y="0"/>
                  <a:pt x="1590" y="0"/>
                  <a:pt x="1590" y="0"/>
                </a:cubicBezTo>
                <a:lnTo>
                  <a:pt x="1439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9"/>
          <p:cNvSpPr>
            <a:spLocks/>
          </p:cNvSpPr>
          <p:nvPr/>
        </p:nvSpPr>
        <p:spPr bwMode="auto">
          <a:xfrm>
            <a:off x="2604638" y="1801400"/>
            <a:ext cx="573395" cy="1132884"/>
          </a:xfrm>
          <a:custGeom>
            <a:avLst/>
            <a:gdLst>
              <a:gd name="T0" fmla="*/ 1176 w 1590"/>
              <a:gd name="T1" fmla="*/ 1371 h 3142"/>
              <a:gd name="T2" fmla="*/ 71 w 1590"/>
              <a:gd name="T3" fmla="*/ 54 h 3142"/>
              <a:gd name="T4" fmla="*/ 0 w 1590"/>
              <a:gd name="T5" fmla="*/ 0 h 3142"/>
              <a:gd name="T6" fmla="*/ 0 w 1590"/>
              <a:gd name="T7" fmla="*/ 190 h 3142"/>
              <a:gd name="T8" fmla="*/ 17 w 1590"/>
              <a:gd name="T9" fmla="*/ 204 h 3142"/>
              <a:gd name="T10" fmla="*/ 1439 w 1590"/>
              <a:gd name="T11" fmla="*/ 3098 h 3142"/>
              <a:gd name="T12" fmla="*/ 1439 w 1590"/>
              <a:gd name="T13" fmla="*/ 3142 h 3142"/>
              <a:gd name="T14" fmla="*/ 1590 w 1590"/>
              <a:gd name="T15" fmla="*/ 3142 h 3142"/>
              <a:gd name="T16" fmla="*/ 1590 w 1590"/>
              <a:gd name="T17" fmla="*/ 3098 h 3142"/>
              <a:gd name="T18" fmla="*/ 1176 w 1590"/>
              <a:gd name="T19" fmla="*/ 1371 h 3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90" h="3142">
                <a:moveTo>
                  <a:pt x="1176" y="1371"/>
                </a:moveTo>
                <a:cubicBezTo>
                  <a:pt x="915" y="858"/>
                  <a:pt x="532" y="402"/>
                  <a:pt x="71" y="54"/>
                </a:cubicBezTo>
                <a:cubicBezTo>
                  <a:pt x="0" y="0"/>
                  <a:pt x="0" y="0"/>
                  <a:pt x="0" y="0"/>
                </a:cubicBezTo>
                <a:cubicBezTo>
                  <a:pt x="0" y="190"/>
                  <a:pt x="0" y="190"/>
                  <a:pt x="0" y="190"/>
                </a:cubicBezTo>
                <a:cubicBezTo>
                  <a:pt x="17" y="204"/>
                  <a:pt x="17" y="204"/>
                  <a:pt x="17" y="204"/>
                </a:cubicBezTo>
                <a:cubicBezTo>
                  <a:pt x="921" y="904"/>
                  <a:pt x="1439" y="1960"/>
                  <a:pt x="1439" y="3098"/>
                </a:cubicBezTo>
                <a:cubicBezTo>
                  <a:pt x="1439" y="3142"/>
                  <a:pt x="1439" y="3142"/>
                  <a:pt x="1439" y="3142"/>
                </a:cubicBezTo>
                <a:cubicBezTo>
                  <a:pt x="1590" y="3142"/>
                  <a:pt x="1590" y="3142"/>
                  <a:pt x="1590" y="3142"/>
                </a:cubicBezTo>
                <a:cubicBezTo>
                  <a:pt x="1590" y="3098"/>
                  <a:pt x="1590" y="3098"/>
                  <a:pt x="1590" y="3098"/>
                </a:cubicBezTo>
                <a:cubicBezTo>
                  <a:pt x="1590" y="2491"/>
                  <a:pt x="1451" y="1910"/>
                  <a:pt x="1176" y="137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12"/>
          <p:cNvSpPr>
            <a:spLocks/>
          </p:cNvSpPr>
          <p:nvPr/>
        </p:nvSpPr>
        <p:spPr bwMode="auto">
          <a:xfrm>
            <a:off x="1786266" y="1543051"/>
            <a:ext cx="849931" cy="351419"/>
          </a:xfrm>
          <a:custGeom>
            <a:avLst/>
            <a:gdLst>
              <a:gd name="T0" fmla="*/ 2339 w 2356"/>
              <a:gd name="T1" fmla="*/ 770 h 975"/>
              <a:gd name="T2" fmla="*/ 77 w 2356"/>
              <a:gd name="T3" fmla="*/ 0 h 975"/>
              <a:gd name="T4" fmla="*/ 23 w 2356"/>
              <a:gd name="T5" fmla="*/ 22 h 975"/>
              <a:gd name="T6" fmla="*/ 0 w 2356"/>
              <a:gd name="T7" fmla="*/ 76 h 975"/>
              <a:gd name="T8" fmla="*/ 76 w 2356"/>
              <a:gd name="T9" fmla="*/ 152 h 975"/>
              <a:gd name="T10" fmla="*/ 2285 w 2356"/>
              <a:gd name="T11" fmla="*/ 920 h 975"/>
              <a:gd name="T12" fmla="*/ 2356 w 2356"/>
              <a:gd name="T13" fmla="*/ 975 h 975"/>
              <a:gd name="T14" fmla="*/ 2356 w 2356"/>
              <a:gd name="T15" fmla="*/ 783 h 975"/>
              <a:gd name="T16" fmla="*/ 2339 w 2356"/>
              <a:gd name="T17" fmla="*/ 770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356" h="975">
                <a:moveTo>
                  <a:pt x="2339" y="770"/>
                </a:moveTo>
                <a:cubicBezTo>
                  <a:pt x="1682" y="273"/>
                  <a:pt x="900" y="7"/>
                  <a:pt x="77" y="0"/>
                </a:cubicBezTo>
                <a:cubicBezTo>
                  <a:pt x="57" y="0"/>
                  <a:pt x="37" y="8"/>
                  <a:pt x="23" y="22"/>
                </a:cubicBezTo>
                <a:cubicBezTo>
                  <a:pt x="8" y="37"/>
                  <a:pt x="0" y="56"/>
                  <a:pt x="0" y="76"/>
                </a:cubicBezTo>
                <a:cubicBezTo>
                  <a:pt x="0" y="118"/>
                  <a:pt x="34" y="151"/>
                  <a:pt x="76" y="152"/>
                </a:cubicBezTo>
                <a:cubicBezTo>
                  <a:pt x="883" y="159"/>
                  <a:pt x="1647" y="424"/>
                  <a:pt x="2285" y="920"/>
                </a:cubicBezTo>
                <a:cubicBezTo>
                  <a:pt x="2356" y="975"/>
                  <a:pt x="2356" y="975"/>
                  <a:pt x="2356" y="975"/>
                </a:cubicBezTo>
                <a:cubicBezTo>
                  <a:pt x="2356" y="783"/>
                  <a:pt x="2356" y="783"/>
                  <a:pt x="2356" y="783"/>
                </a:cubicBezTo>
                <a:lnTo>
                  <a:pt x="2339" y="77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20" name="Group 19"/>
          <p:cNvGrpSpPr/>
          <p:nvPr/>
        </p:nvGrpSpPr>
        <p:grpSpPr>
          <a:xfrm>
            <a:off x="783005" y="1995632"/>
            <a:ext cx="1817176" cy="1816734"/>
            <a:chOff x="783005" y="1995632"/>
            <a:chExt cx="1817176" cy="1816734"/>
          </a:xfrm>
        </p:grpSpPr>
        <p:sp>
          <p:nvSpPr>
            <p:cNvPr id="9" name="Freeform 18"/>
            <p:cNvSpPr>
              <a:spLocks noEditPoints="1"/>
            </p:cNvSpPr>
            <p:nvPr/>
          </p:nvSpPr>
          <p:spPr bwMode="auto">
            <a:xfrm>
              <a:off x="783005" y="1995632"/>
              <a:ext cx="1817176" cy="1816734"/>
            </a:xfrm>
            <a:custGeom>
              <a:avLst/>
              <a:gdLst>
                <a:gd name="T0" fmla="*/ 3082 w 6165"/>
                <a:gd name="T1" fmla="*/ 0 h 6165"/>
                <a:gd name="T2" fmla="*/ 0 w 6165"/>
                <a:gd name="T3" fmla="*/ 3083 h 6165"/>
                <a:gd name="T4" fmla="*/ 3082 w 6165"/>
                <a:gd name="T5" fmla="*/ 6165 h 6165"/>
                <a:gd name="T6" fmla="*/ 6165 w 6165"/>
                <a:gd name="T7" fmla="*/ 3083 h 6165"/>
                <a:gd name="T8" fmla="*/ 3082 w 6165"/>
                <a:gd name="T9" fmla="*/ 0 h 6165"/>
                <a:gd name="T10" fmla="*/ 3082 w 6165"/>
                <a:gd name="T11" fmla="*/ 5725 h 6165"/>
                <a:gd name="T12" fmla="*/ 439 w 6165"/>
                <a:gd name="T13" fmla="*/ 3083 h 6165"/>
                <a:gd name="T14" fmla="*/ 3082 w 6165"/>
                <a:gd name="T15" fmla="*/ 440 h 6165"/>
                <a:gd name="T16" fmla="*/ 5725 w 6165"/>
                <a:gd name="T17" fmla="*/ 3083 h 6165"/>
                <a:gd name="T18" fmla="*/ 3082 w 6165"/>
                <a:gd name="T19" fmla="*/ 5725 h 6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65" h="6165">
                  <a:moveTo>
                    <a:pt x="3082" y="0"/>
                  </a:moveTo>
                  <a:cubicBezTo>
                    <a:pt x="1382" y="0"/>
                    <a:pt x="0" y="1383"/>
                    <a:pt x="0" y="3083"/>
                  </a:cubicBezTo>
                  <a:cubicBezTo>
                    <a:pt x="0" y="4782"/>
                    <a:pt x="1382" y="6165"/>
                    <a:pt x="3082" y="6165"/>
                  </a:cubicBezTo>
                  <a:cubicBezTo>
                    <a:pt x="4782" y="6165"/>
                    <a:pt x="6165" y="4782"/>
                    <a:pt x="6165" y="3083"/>
                  </a:cubicBezTo>
                  <a:cubicBezTo>
                    <a:pt x="6165" y="1383"/>
                    <a:pt x="4782" y="0"/>
                    <a:pt x="3082" y="0"/>
                  </a:cubicBezTo>
                  <a:moveTo>
                    <a:pt x="3082" y="5725"/>
                  </a:moveTo>
                  <a:cubicBezTo>
                    <a:pt x="1625" y="5725"/>
                    <a:pt x="439" y="4540"/>
                    <a:pt x="439" y="3083"/>
                  </a:cubicBezTo>
                  <a:cubicBezTo>
                    <a:pt x="439" y="1625"/>
                    <a:pt x="1625" y="440"/>
                    <a:pt x="3082" y="440"/>
                  </a:cubicBezTo>
                  <a:cubicBezTo>
                    <a:pt x="4539" y="440"/>
                    <a:pt x="5725" y="1625"/>
                    <a:pt x="5725" y="3083"/>
                  </a:cubicBezTo>
                  <a:cubicBezTo>
                    <a:pt x="5725" y="4540"/>
                    <a:pt x="4539" y="5725"/>
                    <a:pt x="3082" y="572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1042159" y="2254786"/>
              <a:ext cx="1298425" cy="1298868"/>
            </a:xfrm>
            <a:custGeom>
              <a:avLst/>
              <a:gdLst>
                <a:gd name="T0" fmla="*/ 2203 w 4406"/>
                <a:gd name="T1" fmla="*/ 0 h 4407"/>
                <a:gd name="T2" fmla="*/ 0 w 4406"/>
                <a:gd name="T3" fmla="*/ 2204 h 4407"/>
                <a:gd name="T4" fmla="*/ 2203 w 4406"/>
                <a:gd name="T5" fmla="*/ 4407 h 4407"/>
                <a:gd name="T6" fmla="*/ 4406 w 4406"/>
                <a:gd name="T7" fmla="*/ 2204 h 4407"/>
                <a:gd name="T8" fmla="*/ 2203 w 4406"/>
                <a:gd name="T9" fmla="*/ 0 h 4407"/>
                <a:gd name="T10" fmla="*/ 2203 w 4406"/>
                <a:gd name="T11" fmla="*/ 3967 h 4407"/>
                <a:gd name="T12" fmla="*/ 439 w 4406"/>
                <a:gd name="T13" fmla="*/ 2204 h 4407"/>
                <a:gd name="T14" fmla="*/ 2203 w 4406"/>
                <a:gd name="T15" fmla="*/ 440 h 4407"/>
                <a:gd name="T16" fmla="*/ 3967 w 4406"/>
                <a:gd name="T17" fmla="*/ 2204 h 4407"/>
                <a:gd name="T18" fmla="*/ 2203 w 4406"/>
                <a:gd name="T19" fmla="*/ 3967 h 4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06" h="4407">
                  <a:moveTo>
                    <a:pt x="2203" y="0"/>
                  </a:moveTo>
                  <a:cubicBezTo>
                    <a:pt x="988" y="0"/>
                    <a:pt x="0" y="989"/>
                    <a:pt x="0" y="2204"/>
                  </a:cubicBezTo>
                  <a:cubicBezTo>
                    <a:pt x="0" y="3418"/>
                    <a:pt x="988" y="4407"/>
                    <a:pt x="2203" y="4407"/>
                  </a:cubicBezTo>
                  <a:cubicBezTo>
                    <a:pt x="3418" y="4407"/>
                    <a:pt x="4406" y="3418"/>
                    <a:pt x="4406" y="2204"/>
                  </a:cubicBezTo>
                  <a:cubicBezTo>
                    <a:pt x="4406" y="989"/>
                    <a:pt x="3418" y="0"/>
                    <a:pt x="2203" y="0"/>
                  </a:cubicBezTo>
                  <a:moveTo>
                    <a:pt x="2203" y="3967"/>
                  </a:moveTo>
                  <a:cubicBezTo>
                    <a:pt x="1231" y="3967"/>
                    <a:pt x="439" y="3176"/>
                    <a:pt x="439" y="2204"/>
                  </a:cubicBezTo>
                  <a:cubicBezTo>
                    <a:pt x="439" y="1231"/>
                    <a:pt x="1231" y="440"/>
                    <a:pt x="2203" y="440"/>
                  </a:cubicBezTo>
                  <a:cubicBezTo>
                    <a:pt x="3176" y="440"/>
                    <a:pt x="3967" y="1231"/>
                    <a:pt x="3967" y="2204"/>
                  </a:cubicBezTo>
                  <a:cubicBezTo>
                    <a:pt x="3967" y="3176"/>
                    <a:pt x="3176" y="3967"/>
                    <a:pt x="2203" y="3967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Freeform 33"/>
            <p:cNvSpPr>
              <a:spLocks noEditPoints="1"/>
            </p:cNvSpPr>
            <p:nvPr/>
          </p:nvSpPr>
          <p:spPr bwMode="auto">
            <a:xfrm>
              <a:off x="1301314" y="2513941"/>
              <a:ext cx="780559" cy="780559"/>
            </a:xfrm>
            <a:custGeom>
              <a:avLst/>
              <a:gdLst>
                <a:gd name="T0" fmla="*/ 1324 w 2648"/>
                <a:gd name="T1" fmla="*/ 0 h 2649"/>
                <a:gd name="T2" fmla="*/ 0 w 2648"/>
                <a:gd name="T3" fmla="*/ 1325 h 2649"/>
                <a:gd name="T4" fmla="*/ 1324 w 2648"/>
                <a:gd name="T5" fmla="*/ 2649 h 2649"/>
                <a:gd name="T6" fmla="*/ 2648 w 2648"/>
                <a:gd name="T7" fmla="*/ 1325 h 2649"/>
                <a:gd name="T8" fmla="*/ 1324 w 2648"/>
                <a:gd name="T9" fmla="*/ 0 h 2649"/>
                <a:gd name="T10" fmla="*/ 1324 w 2648"/>
                <a:gd name="T11" fmla="*/ 2209 h 2649"/>
                <a:gd name="T12" fmla="*/ 439 w 2648"/>
                <a:gd name="T13" fmla="*/ 1325 h 2649"/>
                <a:gd name="T14" fmla="*/ 1324 w 2648"/>
                <a:gd name="T15" fmla="*/ 440 h 2649"/>
                <a:gd name="T16" fmla="*/ 2209 w 2648"/>
                <a:gd name="T17" fmla="*/ 1325 h 2649"/>
                <a:gd name="T18" fmla="*/ 1324 w 2648"/>
                <a:gd name="T19" fmla="*/ 2209 h 2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8" h="2649">
                  <a:moveTo>
                    <a:pt x="1324" y="0"/>
                  </a:moveTo>
                  <a:cubicBezTo>
                    <a:pt x="594" y="0"/>
                    <a:pt x="0" y="594"/>
                    <a:pt x="0" y="1325"/>
                  </a:cubicBezTo>
                  <a:cubicBezTo>
                    <a:pt x="0" y="2055"/>
                    <a:pt x="594" y="2649"/>
                    <a:pt x="1324" y="2649"/>
                  </a:cubicBezTo>
                  <a:cubicBezTo>
                    <a:pt x="2054" y="2649"/>
                    <a:pt x="2648" y="2055"/>
                    <a:pt x="2648" y="1325"/>
                  </a:cubicBezTo>
                  <a:cubicBezTo>
                    <a:pt x="2648" y="594"/>
                    <a:pt x="2054" y="0"/>
                    <a:pt x="1324" y="0"/>
                  </a:cubicBezTo>
                  <a:moveTo>
                    <a:pt x="1324" y="2209"/>
                  </a:moveTo>
                  <a:cubicBezTo>
                    <a:pt x="836" y="2209"/>
                    <a:pt x="439" y="1812"/>
                    <a:pt x="439" y="1325"/>
                  </a:cubicBezTo>
                  <a:cubicBezTo>
                    <a:pt x="439" y="837"/>
                    <a:pt x="836" y="440"/>
                    <a:pt x="1324" y="440"/>
                  </a:cubicBezTo>
                  <a:cubicBezTo>
                    <a:pt x="1812" y="440"/>
                    <a:pt x="2209" y="837"/>
                    <a:pt x="2209" y="1325"/>
                  </a:cubicBezTo>
                  <a:cubicBezTo>
                    <a:pt x="2209" y="1812"/>
                    <a:pt x="1812" y="2209"/>
                    <a:pt x="1324" y="2209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2" name="Oval 36"/>
            <p:cNvSpPr>
              <a:spLocks noChangeArrowheads="1"/>
            </p:cNvSpPr>
            <p:nvPr/>
          </p:nvSpPr>
          <p:spPr bwMode="auto">
            <a:xfrm>
              <a:off x="1560468" y="2772653"/>
              <a:ext cx="262250" cy="26269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93725" y="1959409"/>
            <a:ext cx="1117548" cy="964049"/>
            <a:chOff x="593725" y="1959409"/>
            <a:chExt cx="1117548" cy="964049"/>
          </a:xfrm>
        </p:grpSpPr>
        <p:sp>
          <p:nvSpPr>
            <p:cNvPr id="13" name="Freeform 38"/>
            <p:cNvSpPr>
              <a:spLocks/>
            </p:cNvSpPr>
            <p:nvPr/>
          </p:nvSpPr>
          <p:spPr bwMode="auto">
            <a:xfrm>
              <a:off x="802685" y="1959409"/>
              <a:ext cx="261365" cy="377234"/>
            </a:xfrm>
            <a:custGeom>
              <a:avLst/>
              <a:gdLst>
                <a:gd name="T0" fmla="*/ 0 w 591"/>
                <a:gd name="T1" fmla="*/ 0 h 853"/>
                <a:gd name="T2" fmla="*/ 72 w 591"/>
                <a:gd name="T3" fmla="*/ 468 h 853"/>
                <a:gd name="T4" fmla="*/ 544 w 591"/>
                <a:gd name="T5" fmla="*/ 853 h 853"/>
                <a:gd name="T6" fmla="*/ 591 w 591"/>
                <a:gd name="T7" fmla="*/ 623 h 853"/>
                <a:gd name="T8" fmla="*/ 0 w 591"/>
                <a:gd name="T9" fmla="*/ 0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1" h="853">
                  <a:moveTo>
                    <a:pt x="0" y="0"/>
                  </a:moveTo>
                  <a:lnTo>
                    <a:pt x="72" y="468"/>
                  </a:lnTo>
                  <a:lnTo>
                    <a:pt x="544" y="853"/>
                  </a:lnTo>
                  <a:lnTo>
                    <a:pt x="591" y="6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39"/>
            <p:cNvSpPr>
              <a:spLocks/>
            </p:cNvSpPr>
            <p:nvPr/>
          </p:nvSpPr>
          <p:spPr bwMode="auto">
            <a:xfrm>
              <a:off x="593725" y="2201558"/>
              <a:ext cx="417919" cy="210950"/>
            </a:xfrm>
            <a:custGeom>
              <a:avLst/>
              <a:gdLst>
                <a:gd name="T0" fmla="*/ 473 w 945"/>
                <a:gd name="T1" fmla="*/ 0 h 477"/>
                <a:gd name="T2" fmla="*/ 0 w 945"/>
                <a:gd name="T3" fmla="*/ 23 h 477"/>
                <a:gd name="T4" fmla="*/ 729 w 945"/>
                <a:gd name="T5" fmla="*/ 477 h 477"/>
                <a:gd name="T6" fmla="*/ 945 w 945"/>
                <a:gd name="T7" fmla="*/ 386 h 477"/>
                <a:gd name="T8" fmla="*/ 473 w 945"/>
                <a:gd name="T9" fmla="*/ 0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5" h="477">
                  <a:moveTo>
                    <a:pt x="473" y="0"/>
                  </a:moveTo>
                  <a:lnTo>
                    <a:pt x="0" y="23"/>
                  </a:lnTo>
                  <a:lnTo>
                    <a:pt x="729" y="477"/>
                  </a:lnTo>
                  <a:lnTo>
                    <a:pt x="945" y="386"/>
                  </a:lnTo>
                  <a:lnTo>
                    <a:pt x="473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Freeform 37"/>
            <p:cNvSpPr>
              <a:spLocks/>
            </p:cNvSpPr>
            <p:nvPr/>
          </p:nvSpPr>
          <p:spPr bwMode="auto">
            <a:xfrm>
              <a:off x="785216" y="2152186"/>
              <a:ext cx="926057" cy="771272"/>
            </a:xfrm>
            <a:custGeom>
              <a:avLst/>
              <a:gdLst>
                <a:gd name="T0" fmla="*/ 3129 w 3143"/>
                <a:gd name="T1" fmla="*/ 2480 h 2617"/>
                <a:gd name="T2" fmla="*/ 155 w 3143"/>
                <a:gd name="T3" fmla="*/ 31 h 2617"/>
                <a:gd name="T4" fmla="*/ 31 w 3143"/>
                <a:gd name="T5" fmla="*/ 43 h 2617"/>
                <a:gd name="T6" fmla="*/ 44 w 3143"/>
                <a:gd name="T7" fmla="*/ 167 h 2617"/>
                <a:gd name="T8" fmla="*/ 3017 w 3143"/>
                <a:gd name="T9" fmla="*/ 2617 h 2617"/>
                <a:gd name="T10" fmla="*/ 3105 w 3143"/>
                <a:gd name="T11" fmla="*/ 2568 h 2617"/>
                <a:gd name="T12" fmla="*/ 3129 w 3143"/>
                <a:gd name="T13" fmla="*/ 2480 h 2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43" h="2617">
                  <a:moveTo>
                    <a:pt x="3129" y="2480"/>
                  </a:moveTo>
                  <a:cubicBezTo>
                    <a:pt x="155" y="31"/>
                    <a:pt x="155" y="31"/>
                    <a:pt x="155" y="31"/>
                  </a:cubicBezTo>
                  <a:cubicBezTo>
                    <a:pt x="117" y="0"/>
                    <a:pt x="62" y="5"/>
                    <a:pt x="31" y="43"/>
                  </a:cubicBezTo>
                  <a:cubicBezTo>
                    <a:pt x="0" y="81"/>
                    <a:pt x="6" y="136"/>
                    <a:pt x="44" y="167"/>
                  </a:cubicBezTo>
                  <a:cubicBezTo>
                    <a:pt x="3017" y="2617"/>
                    <a:pt x="3017" y="2617"/>
                    <a:pt x="3017" y="2617"/>
                  </a:cubicBezTo>
                  <a:cubicBezTo>
                    <a:pt x="3017" y="2617"/>
                    <a:pt x="3067" y="2614"/>
                    <a:pt x="3105" y="2568"/>
                  </a:cubicBezTo>
                  <a:cubicBezTo>
                    <a:pt x="3143" y="2521"/>
                    <a:pt x="3129" y="2480"/>
                    <a:pt x="3129" y="2480"/>
                  </a:cubicBezTo>
                  <a:close/>
                </a:path>
              </a:pathLst>
            </a:custGeom>
            <a:solidFill>
              <a:srgbClr val="EC1C2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cxnSp>
        <p:nvCxnSpPr>
          <p:cNvPr id="22" name="Straight Connector 21"/>
          <p:cNvCxnSpPr/>
          <p:nvPr/>
        </p:nvCxnSpPr>
        <p:spPr>
          <a:xfrm>
            <a:off x="3602567" y="2913659"/>
            <a:ext cx="373184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3055743" y="1815846"/>
            <a:ext cx="920008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055743" y="4008639"/>
            <a:ext cx="920008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2325429" y="1560067"/>
            <a:ext cx="584830" cy="584830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6" name="Oval 25"/>
          <p:cNvSpPr/>
          <p:nvPr/>
        </p:nvSpPr>
        <p:spPr>
          <a:xfrm>
            <a:off x="2854779" y="2629742"/>
            <a:ext cx="584830" cy="584830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7" name="Oval 26"/>
          <p:cNvSpPr/>
          <p:nvPr/>
        </p:nvSpPr>
        <p:spPr>
          <a:xfrm>
            <a:off x="2330576" y="3693810"/>
            <a:ext cx="584830" cy="584830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5" name="TextBox 44"/>
          <p:cNvSpPr txBox="1"/>
          <p:nvPr/>
        </p:nvSpPr>
        <p:spPr>
          <a:xfrm>
            <a:off x="2414378" y="1768615"/>
            <a:ext cx="4274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Lato Black" panose="020F0A02020204030203" pitchFamily="34" charset="0"/>
              </a:rPr>
              <a:t>2016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930935" y="2838290"/>
            <a:ext cx="4274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Lato Black" panose="020F0A02020204030203" pitchFamily="34" charset="0"/>
              </a:rPr>
              <a:t>2017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404143" y="3902358"/>
            <a:ext cx="42740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  <a:latin typeface="Lato Black" panose="020F0A02020204030203" pitchFamily="34" charset="0"/>
              </a:rPr>
              <a:t>2018</a:t>
            </a:r>
          </a:p>
        </p:txBody>
      </p:sp>
      <p:sp>
        <p:nvSpPr>
          <p:cNvPr id="33" name="Freeform 32"/>
          <p:cNvSpPr>
            <a:spLocks noChangeArrowheads="1"/>
          </p:cNvSpPr>
          <p:nvPr/>
        </p:nvSpPr>
        <p:spPr bwMode="auto">
          <a:xfrm>
            <a:off x="4210446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4" name="Freeform 33"/>
          <p:cNvSpPr>
            <a:spLocks noChangeArrowheads="1"/>
          </p:cNvSpPr>
          <p:nvPr/>
        </p:nvSpPr>
        <p:spPr bwMode="auto">
          <a:xfrm>
            <a:off x="4429886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5" name="Freeform 34"/>
          <p:cNvSpPr>
            <a:spLocks noChangeArrowheads="1"/>
          </p:cNvSpPr>
          <p:nvPr/>
        </p:nvSpPr>
        <p:spPr bwMode="auto">
          <a:xfrm>
            <a:off x="4649327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6" name="Freeform 35"/>
          <p:cNvSpPr>
            <a:spLocks noChangeArrowheads="1"/>
          </p:cNvSpPr>
          <p:nvPr/>
        </p:nvSpPr>
        <p:spPr bwMode="auto">
          <a:xfrm>
            <a:off x="4868767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7" name="Freeform 36"/>
          <p:cNvSpPr>
            <a:spLocks noChangeArrowheads="1"/>
          </p:cNvSpPr>
          <p:nvPr/>
        </p:nvSpPr>
        <p:spPr bwMode="auto">
          <a:xfrm>
            <a:off x="5088208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8" name="Freeform 37"/>
          <p:cNvSpPr>
            <a:spLocks noChangeArrowheads="1"/>
          </p:cNvSpPr>
          <p:nvPr/>
        </p:nvSpPr>
        <p:spPr bwMode="auto">
          <a:xfrm>
            <a:off x="5307648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9" name="Freeform 38"/>
          <p:cNvSpPr>
            <a:spLocks noChangeArrowheads="1"/>
          </p:cNvSpPr>
          <p:nvPr/>
        </p:nvSpPr>
        <p:spPr bwMode="auto">
          <a:xfrm>
            <a:off x="5527088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0" name="Freeform 39"/>
          <p:cNvSpPr>
            <a:spLocks noChangeArrowheads="1"/>
          </p:cNvSpPr>
          <p:nvPr/>
        </p:nvSpPr>
        <p:spPr bwMode="auto">
          <a:xfrm>
            <a:off x="5746529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1" name="Freeform 40"/>
          <p:cNvSpPr>
            <a:spLocks noChangeArrowheads="1"/>
          </p:cNvSpPr>
          <p:nvPr/>
        </p:nvSpPr>
        <p:spPr bwMode="auto">
          <a:xfrm>
            <a:off x="5965969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42" name="Freeform 41"/>
          <p:cNvSpPr>
            <a:spLocks noChangeArrowheads="1"/>
          </p:cNvSpPr>
          <p:nvPr/>
        </p:nvSpPr>
        <p:spPr bwMode="auto">
          <a:xfrm>
            <a:off x="6185410" y="157935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2" name="Freeform 91"/>
          <p:cNvSpPr>
            <a:spLocks noChangeArrowheads="1"/>
          </p:cNvSpPr>
          <p:nvPr/>
        </p:nvSpPr>
        <p:spPr bwMode="auto">
          <a:xfrm>
            <a:off x="4210446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3" name="Freeform 92"/>
          <p:cNvSpPr>
            <a:spLocks noChangeArrowheads="1"/>
          </p:cNvSpPr>
          <p:nvPr/>
        </p:nvSpPr>
        <p:spPr bwMode="auto">
          <a:xfrm>
            <a:off x="4429886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4" name="Freeform 93"/>
          <p:cNvSpPr>
            <a:spLocks noChangeArrowheads="1"/>
          </p:cNvSpPr>
          <p:nvPr/>
        </p:nvSpPr>
        <p:spPr bwMode="auto">
          <a:xfrm>
            <a:off x="4649327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5" name="Freeform 94"/>
          <p:cNvSpPr>
            <a:spLocks noChangeArrowheads="1"/>
          </p:cNvSpPr>
          <p:nvPr/>
        </p:nvSpPr>
        <p:spPr bwMode="auto">
          <a:xfrm>
            <a:off x="4868767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6" name="Freeform 95"/>
          <p:cNvSpPr>
            <a:spLocks noChangeArrowheads="1"/>
          </p:cNvSpPr>
          <p:nvPr/>
        </p:nvSpPr>
        <p:spPr bwMode="auto">
          <a:xfrm>
            <a:off x="5088208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7" name="Freeform 96"/>
          <p:cNvSpPr>
            <a:spLocks noChangeArrowheads="1"/>
          </p:cNvSpPr>
          <p:nvPr/>
        </p:nvSpPr>
        <p:spPr bwMode="auto">
          <a:xfrm>
            <a:off x="5307648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8" name="Freeform 97"/>
          <p:cNvSpPr>
            <a:spLocks noChangeArrowheads="1"/>
          </p:cNvSpPr>
          <p:nvPr/>
        </p:nvSpPr>
        <p:spPr bwMode="auto">
          <a:xfrm>
            <a:off x="5527088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99" name="Freeform 98"/>
          <p:cNvSpPr>
            <a:spLocks noChangeArrowheads="1"/>
          </p:cNvSpPr>
          <p:nvPr/>
        </p:nvSpPr>
        <p:spPr bwMode="auto">
          <a:xfrm>
            <a:off x="5746529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0" name="Freeform 99"/>
          <p:cNvSpPr>
            <a:spLocks noChangeArrowheads="1"/>
          </p:cNvSpPr>
          <p:nvPr/>
        </p:nvSpPr>
        <p:spPr bwMode="auto">
          <a:xfrm>
            <a:off x="5965969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6185410" y="2673779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5" name="Freeform 104"/>
          <p:cNvSpPr>
            <a:spLocks noChangeArrowheads="1"/>
          </p:cNvSpPr>
          <p:nvPr/>
        </p:nvSpPr>
        <p:spPr bwMode="auto">
          <a:xfrm>
            <a:off x="4210446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6" name="Freeform 105"/>
          <p:cNvSpPr>
            <a:spLocks noChangeArrowheads="1"/>
          </p:cNvSpPr>
          <p:nvPr/>
        </p:nvSpPr>
        <p:spPr bwMode="auto">
          <a:xfrm>
            <a:off x="4429886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7" name="Freeform 106"/>
          <p:cNvSpPr>
            <a:spLocks noChangeArrowheads="1"/>
          </p:cNvSpPr>
          <p:nvPr/>
        </p:nvSpPr>
        <p:spPr bwMode="auto">
          <a:xfrm>
            <a:off x="4649327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8" name="Freeform 107"/>
          <p:cNvSpPr>
            <a:spLocks noChangeArrowheads="1"/>
          </p:cNvSpPr>
          <p:nvPr/>
        </p:nvSpPr>
        <p:spPr bwMode="auto">
          <a:xfrm>
            <a:off x="4868767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09" name="Freeform 108"/>
          <p:cNvSpPr>
            <a:spLocks noChangeArrowheads="1"/>
          </p:cNvSpPr>
          <p:nvPr/>
        </p:nvSpPr>
        <p:spPr bwMode="auto">
          <a:xfrm>
            <a:off x="5088208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0" name="Freeform 109"/>
          <p:cNvSpPr>
            <a:spLocks noChangeArrowheads="1"/>
          </p:cNvSpPr>
          <p:nvPr/>
        </p:nvSpPr>
        <p:spPr bwMode="auto">
          <a:xfrm>
            <a:off x="5307648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1" name="Freeform 110"/>
          <p:cNvSpPr>
            <a:spLocks noChangeArrowheads="1"/>
          </p:cNvSpPr>
          <p:nvPr/>
        </p:nvSpPr>
        <p:spPr bwMode="auto">
          <a:xfrm>
            <a:off x="5527088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2" name="Freeform 111"/>
          <p:cNvSpPr>
            <a:spLocks noChangeArrowheads="1"/>
          </p:cNvSpPr>
          <p:nvPr/>
        </p:nvSpPr>
        <p:spPr bwMode="auto">
          <a:xfrm>
            <a:off x="5746529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3" name="Freeform 112"/>
          <p:cNvSpPr>
            <a:spLocks noChangeArrowheads="1"/>
          </p:cNvSpPr>
          <p:nvPr/>
        </p:nvSpPr>
        <p:spPr bwMode="auto">
          <a:xfrm>
            <a:off x="5965969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14" name="Freeform 113"/>
          <p:cNvSpPr>
            <a:spLocks noChangeArrowheads="1"/>
          </p:cNvSpPr>
          <p:nvPr/>
        </p:nvSpPr>
        <p:spPr bwMode="auto">
          <a:xfrm>
            <a:off x="6185410" y="3774155"/>
            <a:ext cx="183763" cy="468967"/>
          </a:xfrm>
          <a:custGeom>
            <a:avLst/>
            <a:gdLst>
              <a:gd name="connsiteX0" fmla="*/ 30128 w 147257"/>
              <a:gd name="connsiteY0" fmla="*/ 63258 h 371254"/>
              <a:gd name="connsiteX1" fmla="*/ 117129 w 147257"/>
              <a:gd name="connsiteY1" fmla="*/ 63258 h 371254"/>
              <a:gd name="connsiteX2" fmla="*/ 147257 w 147257"/>
              <a:gd name="connsiteY2" fmla="*/ 93282 h 371254"/>
              <a:gd name="connsiteX3" fmla="*/ 147257 w 147257"/>
              <a:gd name="connsiteY3" fmla="*/ 106101 h 371254"/>
              <a:gd name="connsiteX4" fmla="*/ 147257 w 147257"/>
              <a:gd name="connsiteY4" fmla="*/ 157377 h 371254"/>
              <a:gd name="connsiteX5" fmla="*/ 147257 w 147257"/>
              <a:gd name="connsiteY5" fmla="*/ 201232 h 371254"/>
              <a:gd name="connsiteX6" fmla="*/ 135070 w 147257"/>
              <a:gd name="connsiteY6" fmla="*/ 213377 h 371254"/>
              <a:gd name="connsiteX7" fmla="*/ 123222 w 147257"/>
              <a:gd name="connsiteY7" fmla="*/ 201232 h 371254"/>
              <a:gd name="connsiteX8" fmla="*/ 123222 w 147257"/>
              <a:gd name="connsiteY8" fmla="*/ 191112 h 371254"/>
              <a:gd name="connsiteX9" fmla="*/ 123222 w 147257"/>
              <a:gd name="connsiteY9" fmla="*/ 186726 h 371254"/>
              <a:gd name="connsiteX10" fmla="*/ 123222 w 147257"/>
              <a:gd name="connsiteY10" fmla="*/ 111161 h 371254"/>
              <a:gd name="connsiteX11" fmla="*/ 111374 w 147257"/>
              <a:gd name="connsiteY11" fmla="*/ 111161 h 371254"/>
              <a:gd name="connsiteX12" fmla="*/ 111374 w 147257"/>
              <a:gd name="connsiteY12" fmla="*/ 187401 h 371254"/>
              <a:gd name="connsiteX13" fmla="*/ 111374 w 147257"/>
              <a:gd name="connsiteY13" fmla="*/ 191112 h 371254"/>
              <a:gd name="connsiteX14" fmla="*/ 111374 w 147257"/>
              <a:gd name="connsiteY14" fmla="*/ 355062 h 371254"/>
              <a:gd name="connsiteX15" fmla="*/ 95125 w 147257"/>
              <a:gd name="connsiteY15" fmla="*/ 371254 h 371254"/>
              <a:gd name="connsiteX16" fmla="*/ 78876 w 147257"/>
              <a:gd name="connsiteY16" fmla="*/ 355062 h 371254"/>
              <a:gd name="connsiteX17" fmla="*/ 78876 w 147257"/>
              <a:gd name="connsiteY17" fmla="*/ 211353 h 371254"/>
              <a:gd name="connsiteX18" fmla="*/ 68720 w 147257"/>
              <a:gd name="connsiteY18" fmla="*/ 211353 h 371254"/>
              <a:gd name="connsiteX19" fmla="*/ 68720 w 147257"/>
              <a:gd name="connsiteY19" fmla="*/ 355062 h 371254"/>
              <a:gd name="connsiteX20" fmla="*/ 52471 w 147257"/>
              <a:gd name="connsiteY20" fmla="*/ 371254 h 371254"/>
              <a:gd name="connsiteX21" fmla="*/ 35883 w 147257"/>
              <a:gd name="connsiteY21" fmla="*/ 355062 h 371254"/>
              <a:gd name="connsiteX22" fmla="*/ 35883 w 147257"/>
              <a:gd name="connsiteY22" fmla="*/ 191112 h 371254"/>
              <a:gd name="connsiteX23" fmla="*/ 35883 w 147257"/>
              <a:gd name="connsiteY23" fmla="*/ 187401 h 371254"/>
              <a:gd name="connsiteX24" fmla="*/ 35883 w 147257"/>
              <a:gd name="connsiteY24" fmla="*/ 111161 h 371254"/>
              <a:gd name="connsiteX25" fmla="*/ 24035 w 147257"/>
              <a:gd name="connsiteY25" fmla="*/ 111161 h 371254"/>
              <a:gd name="connsiteX26" fmla="*/ 24035 w 147257"/>
              <a:gd name="connsiteY26" fmla="*/ 186726 h 371254"/>
              <a:gd name="connsiteX27" fmla="*/ 24035 w 147257"/>
              <a:gd name="connsiteY27" fmla="*/ 191112 h 371254"/>
              <a:gd name="connsiteX28" fmla="*/ 24035 w 147257"/>
              <a:gd name="connsiteY28" fmla="*/ 201232 h 371254"/>
              <a:gd name="connsiteX29" fmla="*/ 12187 w 147257"/>
              <a:gd name="connsiteY29" fmla="*/ 213377 h 371254"/>
              <a:gd name="connsiteX30" fmla="*/ 0 w 147257"/>
              <a:gd name="connsiteY30" fmla="*/ 201232 h 371254"/>
              <a:gd name="connsiteX31" fmla="*/ 0 w 147257"/>
              <a:gd name="connsiteY31" fmla="*/ 157377 h 371254"/>
              <a:gd name="connsiteX32" fmla="*/ 0 w 147257"/>
              <a:gd name="connsiteY32" fmla="*/ 106101 h 371254"/>
              <a:gd name="connsiteX33" fmla="*/ 0 w 147257"/>
              <a:gd name="connsiteY33" fmla="*/ 93282 h 371254"/>
              <a:gd name="connsiteX34" fmla="*/ 30128 w 147257"/>
              <a:gd name="connsiteY34" fmla="*/ 63258 h 371254"/>
              <a:gd name="connsiteX35" fmla="*/ 73370 w 147257"/>
              <a:gd name="connsiteY35" fmla="*/ 0 h 371254"/>
              <a:gd name="connsiteX36" fmla="*/ 102148 w 147257"/>
              <a:gd name="connsiteY36" fmla="*/ 28778 h 371254"/>
              <a:gd name="connsiteX37" fmla="*/ 73370 w 147257"/>
              <a:gd name="connsiteY37" fmla="*/ 57556 h 371254"/>
              <a:gd name="connsiteX38" fmla="*/ 44592 w 147257"/>
              <a:gd name="connsiteY38" fmla="*/ 28778 h 371254"/>
              <a:gd name="connsiteX39" fmla="*/ 73370 w 147257"/>
              <a:gd name="connsiteY39" fmla="*/ 0 h 371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7257" h="371254">
                <a:moveTo>
                  <a:pt x="30128" y="63258"/>
                </a:moveTo>
                <a:cubicBezTo>
                  <a:pt x="30128" y="63258"/>
                  <a:pt x="30128" y="63258"/>
                  <a:pt x="117129" y="63258"/>
                </a:cubicBezTo>
                <a:cubicBezTo>
                  <a:pt x="133716" y="63258"/>
                  <a:pt x="147257" y="76752"/>
                  <a:pt x="147257" y="93282"/>
                </a:cubicBezTo>
                <a:cubicBezTo>
                  <a:pt x="147257" y="93282"/>
                  <a:pt x="147257" y="93282"/>
                  <a:pt x="147257" y="106101"/>
                </a:cubicBezTo>
                <a:cubicBezTo>
                  <a:pt x="147257" y="106101"/>
                  <a:pt x="147257" y="106101"/>
                  <a:pt x="147257" y="157377"/>
                </a:cubicBezTo>
                <a:cubicBezTo>
                  <a:pt x="147257" y="157377"/>
                  <a:pt x="147257" y="157377"/>
                  <a:pt x="147257" y="201232"/>
                </a:cubicBezTo>
                <a:cubicBezTo>
                  <a:pt x="147257" y="207979"/>
                  <a:pt x="141841" y="213377"/>
                  <a:pt x="135070" y="213377"/>
                </a:cubicBezTo>
                <a:cubicBezTo>
                  <a:pt x="128639" y="213377"/>
                  <a:pt x="123222" y="207979"/>
                  <a:pt x="123222" y="201232"/>
                </a:cubicBezTo>
                <a:cubicBezTo>
                  <a:pt x="123222" y="201232"/>
                  <a:pt x="123222" y="201232"/>
                  <a:pt x="123222" y="191112"/>
                </a:cubicBezTo>
                <a:cubicBezTo>
                  <a:pt x="123222" y="191112"/>
                  <a:pt x="123222" y="191112"/>
                  <a:pt x="123222" y="186726"/>
                </a:cubicBezTo>
                <a:cubicBezTo>
                  <a:pt x="123222" y="186726"/>
                  <a:pt x="123222" y="186726"/>
                  <a:pt x="123222" y="111161"/>
                </a:cubicBezTo>
                <a:cubicBezTo>
                  <a:pt x="123222" y="111161"/>
                  <a:pt x="123222" y="111161"/>
                  <a:pt x="111374" y="111161"/>
                </a:cubicBezTo>
                <a:cubicBezTo>
                  <a:pt x="111374" y="111161"/>
                  <a:pt x="111374" y="111161"/>
                  <a:pt x="111374" y="187401"/>
                </a:cubicBezTo>
                <a:cubicBezTo>
                  <a:pt x="111374" y="187401"/>
                  <a:pt x="111374" y="187401"/>
                  <a:pt x="111374" y="191112"/>
                </a:cubicBezTo>
                <a:cubicBezTo>
                  <a:pt x="111374" y="191112"/>
                  <a:pt x="111374" y="191112"/>
                  <a:pt x="111374" y="355062"/>
                </a:cubicBezTo>
                <a:cubicBezTo>
                  <a:pt x="111374" y="364170"/>
                  <a:pt x="103926" y="371254"/>
                  <a:pt x="95125" y="371254"/>
                </a:cubicBezTo>
                <a:cubicBezTo>
                  <a:pt x="85985" y="371254"/>
                  <a:pt x="78876" y="364170"/>
                  <a:pt x="78876" y="355062"/>
                </a:cubicBezTo>
                <a:cubicBezTo>
                  <a:pt x="78876" y="355062"/>
                  <a:pt x="78876" y="355062"/>
                  <a:pt x="78876" y="211353"/>
                </a:cubicBezTo>
                <a:cubicBezTo>
                  <a:pt x="78876" y="211353"/>
                  <a:pt x="78876" y="211353"/>
                  <a:pt x="68720" y="211353"/>
                </a:cubicBezTo>
                <a:cubicBezTo>
                  <a:pt x="68720" y="211353"/>
                  <a:pt x="68720" y="211353"/>
                  <a:pt x="68720" y="355062"/>
                </a:cubicBezTo>
                <a:cubicBezTo>
                  <a:pt x="68720" y="364170"/>
                  <a:pt x="61273" y="371254"/>
                  <a:pt x="52471" y="371254"/>
                </a:cubicBezTo>
                <a:cubicBezTo>
                  <a:pt x="43331" y="371254"/>
                  <a:pt x="35883" y="364170"/>
                  <a:pt x="35883" y="355062"/>
                </a:cubicBezTo>
                <a:cubicBezTo>
                  <a:pt x="35883" y="355062"/>
                  <a:pt x="35883" y="355062"/>
                  <a:pt x="35883" y="191112"/>
                </a:cubicBezTo>
                <a:cubicBezTo>
                  <a:pt x="35883" y="191112"/>
                  <a:pt x="35883" y="191112"/>
                  <a:pt x="35883" y="187401"/>
                </a:cubicBezTo>
                <a:cubicBezTo>
                  <a:pt x="35883" y="187401"/>
                  <a:pt x="35883" y="187401"/>
                  <a:pt x="35883" y="111161"/>
                </a:cubicBezTo>
                <a:cubicBezTo>
                  <a:pt x="35883" y="111161"/>
                  <a:pt x="35883" y="111161"/>
                  <a:pt x="24035" y="111161"/>
                </a:cubicBezTo>
                <a:cubicBezTo>
                  <a:pt x="24035" y="111161"/>
                  <a:pt x="24035" y="111161"/>
                  <a:pt x="24035" y="186726"/>
                </a:cubicBezTo>
                <a:cubicBezTo>
                  <a:pt x="24035" y="186726"/>
                  <a:pt x="24035" y="186726"/>
                  <a:pt x="24035" y="191112"/>
                </a:cubicBezTo>
                <a:cubicBezTo>
                  <a:pt x="24035" y="191112"/>
                  <a:pt x="24035" y="191112"/>
                  <a:pt x="24035" y="201232"/>
                </a:cubicBezTo>
                <a:cubicBezTo>
                  <a:pt x="24035" y="207979"/>
                  <a:pt x="18618" y="213377"/>
                  <a:pt x="12187" y="213377"/>
                </a:cubicBezTo>
                <a:cubicBezTo>
                  <a:pt x="5416" y="213377"/>
                  <a:pt x="0" y="207979"/>
                  <a:pt x="0" y="201232"/>
                </a:cubicBezTo>
                <a:cubicBezTo>
                  <a:pt x="0" y="201232"/>
                  <a:pt x="0" y="201232"/>
                  <a:pt x="0" y="157377"/>
                </a:cubicBezTo>
                <a:cubicBezTo>
                  <a:pt x="0" y="157377"/>
                  <a:pt x="0" y="157377"/>
                  <a:pt x="0" y="106101"/>
                </a:cubicBezTo>
                <a:cubicBezTo>
                  <a:pt x="0" y="106101"/>
                  <a:pt x="0" y="106101"/>
                  <a:pt x="0" y="93282"/>
                </a:cubicBezTo>
                <a:cubicBezTo>
                  <a:pt x="0" y="76752"/>
                  <a:pt x="13541" y="63258"/>
                  <a:pt x="30128" y="63258"/>
                </a:cubicBezTo>
                <a:close/>
                <a:moveTo>
                  <a:pt x="73370" y="0"/>
                </a:moveTo>
                <a:cubicBezTo>
                  <a:pt x="89264" y="0"/>
                  <a:pt x="102148" y="12884"/>
                  <a:pt x="102148" y="28778"/>
                </a:cubicBezTo>
                <a:cubicBezTo>
                  <a:pt x="102148" y="44672"/>
                  <a:pt x="89264" y="57556"/>
                  <a:pt x="73370" y="57556"/>
                </a:cubicBezTo>
                <a:cubicBezTo>
                  <a:pt x="57476" y="57556"/>
                  <a:pt x="44592" y="44672"/>
                  <a:pt x="44592" y="28778"/>
                </a:cubicBezTo>
                <a:cubicBezTo>
                  <a:pt x="44592" y="12884"/>
                  <a:pt x="57476" y="0"/>
                  <a:pt x="7337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6598077" y="1609528"/>
            <a:ext cx="838719" cy="408628"/>
            <a:chOff x="6598077" y="1609528"/>
            <a:chExt cx="838719" cy="408628"/>
          </a:xfrm>
        </p:grpSpPr>
        <p:sp>
          <p:nvSpPr>
            <p:cNvPr id="43" name="TextBox 42"/>
            <p:cNvSpPr txBox="1"/>
            <p:nvPr/>
          </p:nvSpPr>
          <p:spPr>
            <a:xfrm>
              <a:off x="6598078" y="1609528"/>
              <a:ext cx="83871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rgbClr val="EC0000"/>
                  </a:solidFill>
                  <a:latin typeface="Lato Black" panose="020F0A02020204030203" pitchFamily="34" charset="0"/>
                </a:rPr>
                <a:t>25%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6598077" y="1895045"/>
              <a:ext cx="83871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io de </a:t>
              </a:r>
              <a:r>
                <a:rPr lang="en-US" sz="8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janeiro</a:t>
              </a:r>
              <a:endParaRPr lang="en-US" sz="8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123" name="TextBox 122"/>
          <p:cNvSpPr txBox="1"/>
          <p:nvPr/>
        </p:nvSpPr>
        <p:spPr>
          <a:xfrm>
            <a:off x="8177214" y="1622957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54%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8177214" y="1870566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43%</a:t>
            </a:r>
          </a:p>
        </p:txBody>
      </p:sp>
      <p:cxnSp>
        <p:nvCxnSpPr>
          <p:cNvPr id="128" name="Straight Connector 127"/>
          <p:cNvCxnSpPr/>
          <p:nvPr/>
        </p:nvCxnSpPr>
        <p:spPr>
          <a:xfrm>
            <a:off x="7581845" y="1584460"/>
            <a:ext cx="0" cy="45876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/>
          <p:cNvGrpSpPr/>
          <p:nvPr/>
        </p:nvGrpSpPr>
        <p:grpSpPr>
          <a:xfrm>
            <a:off x="6598077" y="2703948"/>
            <a:ext cx="838719" cy="408628"/>
            <a:chOff x="6598077" y="2703948"/>
            <a:chExt cx="838719" cy="408628"/>
          </a:xfrm>
        </p:grpSpPr>
        <p:sp>
          <p:nvSpPr>
            <p:cNvPr id="141" name="TextBox 140"/>
            <p:cNvSpPr txBox="1"/>
            <p:nvPr/>
          </p:nvSpPr>
          <p:spPr>
            <a:xfrm>
              <a:off x="6598078" y="2703948"/>
              <a:ext cx="83871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rgbClr val="EC0000"/>
                  </a:solidFill>
                  <a:latin typeface="Lato Black" panose="020F0A02020204030203" pitchFamily="34" charset="0"/>
                </a:rPr>
                <a:t>38%</a:t>
              </a: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6598077" y="2989465"/>
              <a:ext cx="83871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rto </a:t>
              </a:r>
              <a:r>
                <a:rPr lang="en-US" sz="8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legre</a:t>
              </a:r>
              <a:endParaRPr lang="en-US" sz="8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137" name="Freeform 24"/>
          <p:cNvSpPr>
            <a:spLocks noEditPoints="1"/>
          </p:cNvSpPr>
          <p:nvPr/>
        </p:nvSpPr>
        <p:spPr bwMode="auto">
          <a:xfrm>
            <a:off x="7957773" y="2954073"/>
            <a:ext cx="83169" cy="160325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27"/>
          <p:cNvSpPr>
            <a:spLocks noEditPoints="1"/>
          </p:cNvSpPr>
          <p:nvPr/>
        </p:nvSpPr>
        <p:spPr bwMode="auto">
          <a:xfrm>
            <a:off x="7871944" y="2702127"/>
            <a:ext cx="168998" cy="168998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9" name="TextBox 138"/>
          <p:cNvSpPr txBox="1"/>
          <p:nvPr/>
        </p:nvSpPr>
        <p:spPr>
          <a:xfrm>
            <a:off x="8177214" y="2717377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18%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8177214" y="2964986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67%</a:t>
            </a:r>
          </a:p>
        </p:txBody>
      </p:sp>
      <p:cxnSp>
        <p:nvCxnSpPr>
          <p:cNvPr id="136" name="Straight Connector 135"/>
          <p:cNvCxnSpPr/>
          <p:nvPr/>
        </p:nvCxnSpPr>
        <p:spPr>
          <a:xfrm>
            <a:off x="7581845" y="2678880"/>
            <a:ext cx="0" cy="45876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/>
          <p:cNvGrpSpPr/>
          <p:nvPr/>
        </p:nvGrpSpPr>
        <p:grpSpPr>
          <a:xfrm>
            <a:off x="6598077" y="3781910"/>
            <a:ext cx="838719" cy="408628"/>
            <a:chOff x="6598077" y="3781910"/>
            <a:chExt cx="838719" cy="408628"/>
          </a:xfrm>
        </p:grpSpPr>
        <p:sp>
          <p:nvSpPr>
            <p:cNvPr id="151" name="TextBox 150"/>
            <p:cNvSpPr txBox="1"/>
            <p:nvPr/>
          </p:nvSpPr>
          <p:spPr>
            <a:xfrm>
              <a:off x="6598078" y="3781910"/>
              <a:ext cx="83871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rgbClr val="EC0000"/>
                  </a:solidFill>
                  <a:latin typeface="Lato Black" panose="020F0A02020204030203" pitchFamily="34" charset="0"/>
                </a:rPr>
                <a:t>43%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6598077" y="4067427"/>
              <a:ext cx="838719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anadá</a:t>
              </a:r>
              <a:endParaRPr lang="en-US" sz="8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147" name="Freeform 24"/>
          <p:cNvSpPr>
            <a:spLocks noEditPoints="1"/>
          </p:cNvSpPr>
          <p:nvPr/>
        </p:nvSpPr>
        <p:spPr bwMode="auto">
          <a:xfrm>
            <a:off x="7957773" y="4032035"/>
            <a:ext cx="83169" cy="160325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Freeform 27"/>
          <p:cNvSpPr>
            <a:spLocks noEditPoints="1"/>
          </p:cNvSpPr>
          <p:nvPr/>
        </p:nvSpPr>
        <p:spPr bwMode="auto">
          <a:xfrm>
            <a:off x="7871944" y="3780089"/>
            <a:ext cx="168998" cy="168998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TextBox 148"/>
          <p:cNvSpPr txBox="1"/>
          <p:nvPr/>
        </p:nvSpPr>
        <p:spPr>
          <a:xfrm>
            <a:off x="8177214" y="3795339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15%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8177214" y="4042948"/>
            <a:ext cx="36988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83%</a:t>
            </a:r>
          </a:p>
        </p:txBody>
      </p:sp>
      <p:cxnSp>
        <p:nvCxnSpPr>
          <p:cNvPr id="146" name="Straight Connector 145"/>
          <p:cNvCxnSpPr/>
          <p:nvPr/>
        </p:nvCxnSpPr>
        <p:spPr>
          <a:xfrm>
            <a:off x="7581845" y="3756842"/>
            <a:ext cx="0" cy="458765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Freeform 24"/>
          <p:cNvSpPr>
            <a:spLocks noEditPoints="1"/>
          </p:cNvSpPr>
          <p:nvPr/>
        </p:nvSpPr>
        <p:spPr bwMode="auto">
          <a:xfrm>
            <a:off x="7957773" y="1857831"/>
            <a:ext cx="83169" cy="160325"/>
          </a:xfrm>
          <a:custGeom>
            <a:avLst/>
            <a:gdLst>
              <a:gd name="T0" fmla="*/ 0 w 125"/>
              <a:gd name="T1" fmla="*/ 21 h 243"/>
              <a:gd name="T2" fmla="*/ 2 w 125"/>
              <a:gd name="T3" fmla="*/ 13 h 243"/>
              <a:gd name="T4" fmla="*/ 6 w 125"/>
              <a:gd name="T5" fmla="*/ 6 h 243"/>
              <a:gd name="T6" fmla="*/ 21 w 125"/>
              <a:gd name="T7" fmla="*/ 0 h 243"/>
              <a:gd name="T8" fmla="*/ 22 w 125"/>
              <a:gd name="T9" fmla="*/ 0 h 243"/>
              <a:gd name="T10" fmla="*/ 22 w 125"/>
              <a:gd name="T11" fmla="*/ 0 h 243"/>
              <a:gd name="T12" fmla="*/ 103 w 125"/>
              <a:gd name="T13" fmla="*/ 0 h 243"/>
              <a:gd name="T14" fmla="*/ 104 w 125"/>
              <a:gd name="T15" fmla="*/ 0 h 243"/>
              <a:gd name="T16" fmla="*/ 104 w 125"/>
              <a:gd name="T17" fmla="*/ 0 h 243"/>
              <a:gd name="T18" fmla="*/ 119 w 125"/>
              <a:gd name="T19" fmla="*/ 6 h 243"/>
              <a:gd name="T20" fmla="*/ 124 w 125"/>
              <a:gd name="T21" fmla="*/ 13 h 243"/>
              <a:gd name="T22" fmla="*/ 125 w 125"/>
              <a:gd name="T23" fmla="*/ 21 h 243"/>
              <a:gd name="T24" fmla="*/ 125 w 125"/>
              <a:gd name="T25" fmla="*/ 222 h 243"/>
              <a:gd name="T26" fmla="*/ 119 w 125"/>
              <a:gd name="T27" fmla="*/ 237 h 243"/>
              <a:gd name="T28" fmla="*/ 113 w 125"/>
              <a:gd name="T29" fmla="*/ 241 h 243"/>
              <a:gd name="T30" fmla="*/ 106 w 125"/>
              <a:gd name="T31" fmla="*/ 243 h 243"/>
              <a:gd name="T32" fmla="*/ 20 w 125"/>
              <a:gd name="T33" fmla="*/ 243 h 243"/>
              <a:gd name="T34" fmla="*/ 12 w 125"/>
              <a:gd name="T35" fmla="*/ 241 h 243"/>
              <a:gd name="T36" fmla="*/ 6 w 125"/>
              <a:gd name="T37" fmla="*/ 237 h 243"/>
              <a:gd name="T38" fmla="*/ 0 w 125"/>
              <a:gd name="T39" fmla="*/ 222 h 243"/>
              <a:gd name="T40" fmla="*/ 0 w 125"/>
              <a:gd name="T41" fmla="*/ 21 h 243"/>
              <a:gd name="T42" fmla="*/ 11 w 125"/>
              <a:gd name="T43" fmla="*/ 201 h 243"/>
              <a:gd name="T44" fmla="*/ 115 w 125"/>
              <a:gd name="T45" fmla="*/ 201 h 243"/>
              <a:gd name="T46" fmla="*/ 115 w 125"/>
              <a:gd name="T47" fmla="*/ 42 h 243"/>
              <a:gd name="T48" fmla="*/ 11 w 125"/>
              <a:gd name="T49" fmla="*/ 42 h 243"/>
              <a:gd name="T50" fmla="*/ 11 w 125"/>
              <a:gd name="T51" fmla="*/ 201 h 243"/>
              <a:gd name="T52" fmla="*/ 54 w 125"/>
              <a:gd name="T53" fmla="*/ 214 h 243"/>
              <a:gd name="T54" fmla="*/ 51 w 125"/>
              <a:gd name="T55" fmla="*/ 218 h 243"/>
              <a:gd name="T56" fmla="*/ 50 w 125"/>
              <a:gd name="T57" fmla="*/ 222 h 243"/>
              <a:gd name="T58" fmla="*/ 51 w 125"/>
              <a:gd name="T59" fmla="*/ 227 h 243"/>
              <a:gd name="T60" fmla="*/ 54 w 125"/>
              <a:gd name="T61" fmla="*/ 231 h 243"/>
              <a:gd name="T62" fmla="*/ 58 w 125"/>
              <a:gd name="T63" fmla="*/ 234 h 243"/>
              <a:gd name="T64" fmla="*/ 63 w 125"/>
              <a:gd name="T65" fmla="*/ 234 h 243"/>
              <a:gd name="T66" fmla="*/ 67 w 125"/>
              <a:gd name="T67" fmla="*/ 234 h 243"/>
              <a:gd name="T68" fmla="*/ 71 w 125"/>
              <a:gd name="T69" fmla="*/ 231 h 243"/>
              <a:gd name="T70" fmla="*/ 74 w 125"/>
              <a:gd name="T71" fmla="*/ 227 h 243"/>
              <a:gd name="T72" fmla="*/ 75 w 125"/>
              <a:gd name="T73" fmla="*/ 222 h 243"/>
              <a:gd name="T74" fmla="*/ 74 w 125"/>
              <a:gd name="T75" fmla="*/ 218 h 243"/>
              <a:gd name="T76" fmla="*/ 71 w 125"/>
              <a:gd name="T77" fmla="*/ 214 h 243"/>
              <a:gd name="T78" fmla="*/ 67 w 125"/>
              <a:gd name="T79" fmla="*/ 211 h 243"/>
              <a:gd name="T80" fmla="*/ 63 w 125"/>
              <a:gd name="T81" fmla="*/ 210 h 243"/>
              <a:gd name="T82" fmla="*/ 58 w 125"/>
              <a:gd name="T83" fmla="*/ 211 h 243"/>
              <a:gd name="T84" fmla="*/ 54 w 125"/>
              <a:gd name="T85" fmla="*/ 214 h 243"/>
              <a:gd name="T86" fmla="*/ 51 w 125"/>
              <a:gd name="T87" fmla="*/ 21 h 243"/>
              <a:gd name="T88" fmla="*/ 53 w 125"/>
              <a:gd name="T89" fmla="*/ 23 h 243"/>
              <a:gd name="T90" fmla="*/ 72 w 125"/>
              <a:gd name="T91" fmla="*/ 23 h 243"/>
              <a:gd name="T92" fmla="*/ 74 w 125"/>
              <a:gd name="T93" fmla="*/ 21 h 243"/>
              <a:gd name="T94" fmla="*/ 72 w 125"/>
              <a:gd name="T95" fmla="*/ 19 h 243"/>
              <a:gd name="T96" fmla="*/ 53 w 125"/>
              <a:gd name="T97" fmla="*/ 19 h 243"/>
              <a:gd name="T98" fmla="*/ 51 w 125"/>
              <a:gd name="T99" fmla="*/ 21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5" h="243">
                <a:moveTo>
                  <a:pt x="0" y="21"/>
                </a:moveTo>
                <a:cubicBezTo>
                  <a:pt x="0" y="18"/>
                  <a:pt x="1" y="15"/>
                  <a:pt x="2" y="13"/>
                </a:cubicBezTo>
                <a:cubicBezTo>
                  <a:pt x="3" y="10"/>
                  <a:pt x="4" y="8"/>
                  <a:pt x="6" y="6"/>
                </a:cubicBezTo>
                <a:cubicBezTo>
                  <a:pt x="10" y="2"/>
                  <a:pt x="15" y="0"/>
                  <a:pt x="21" y="0"/>
                </a:cubicBezTo>
                <a:cubicBezTo>
                  <a:pt x="21" y="0"/>
                  <a:pt x="21" y="0"/>
                  <a:pt x="22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03" y="0"/>
                  <a:pt x="103" y="0"/>
                  <a:pt x="103" y="0"/>
                </a:cubicBezTo>
                <a:cubicBezTo>
                  <a:pt x="103" y="0"/>
                  <a:pt x="104" y="0"/>
                  <a:pt x="104" y="0"/>
                </a:cubicBezTo>
                <a:cubicBezTo>
                  <a:pt x="104" y="0"/>
                  <a:pt x="104" y="0"/>
                  <a:pt x="104" y="0"/>
                </a:cubicBezTo>
                <a:cubicBezTo>
                  <a:pt x="110" y="0"/>
                  <a:pt x="115" y="2"/>
                  <a:pt x="119" y="6"/>
                </a:cubicBezTo>
                <a:cubicBezTo>
                  <a:pt x="121" y="8"/>
                  <a:pt x="123" y="10"/>
                  <a:pt x="124" y="13"/>
                </a:cubicBezTo>
                <a:cubicBezTo>
                  <a:pt x="125" y="15"/>
                  <a:pt x="125" y="18"/>
                  <a:pt x="125" y="21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8"/>
                  <a:pt x="123" y="232"/>
                  <a:pt x="119" y="237"/>
                </a:cubicBezTo>
                <a:cubicBezTo>
                  <a:pt x="117" y="239"/>
                  <a:pt x="115" y="240"/>
                  <a:pt x="113" y="241"/>
                </a:cubicBezTo>
                <a:cubicBezTo>
                  <a:pt x="111" y="243"/>
                  <a:pt x="108" y="243"/>
                  <a:pt x="106" y="243"/>
                </a:cubicBezTo>
                <a:cubicBezTo>
                  <a:pt x="20" y="243"/>
                  <a:pt x="20" y="243"/>
                  <a:pt x="20" y="243"/>
                </a:cubicBezTo>
                <a:cubicBezTo>
                  <a:pt x="17" y="243"/>
                  <a:pt x="15" y="243"/>
                  <a:pt x="12" y="241"/>
                </a:cubicBezTo>
                <a:cubicBezTo>
                  <a:pt x="10" y="240"/>
                  <a:pt x="8" y="239"/>
                  <a:pt x="6" y="237"/>
                </a:cubicBezTo>
                <a:cubicBezTo>
                  <a:pt x="2" y="232"/>
                  <a:pt x="0" y="228"/>
                  <a:pt x="0" y="222"/>
                </a:cubicBezTo>
                <a:lnTo>
                  <a:pt x="0" y="21"/>
                </a:lnTo>
                <a:close/>
                <a:moveTo>
                  <a:pt x="11" y="201"/>
                </a:moveTo>
                <a:cubicBezTo>
                  <a:pt x="115" y="201"/>
                  <a:pt x="115" y="201"/>
                  <a:pt x="115" y="201"/>
                </a:cubicBezTo>
                <a:cubicBezTo>
                  <a:pt x="115" y="42"/>
                  <a:pt x="115" y="42"/>
                  <a:pt x="115" y="42"/>
                </a:cubicBezTo>
                <a:cubicBezTo>
                  <a:pt x="11" y="42"/>
                  <a:pt x="11" y="42"/>
                  <a:pt x="11" y="42"/>
                </a:cubicBezTo>
                <a:lnTo>
                  <a:pt x="11" y="201"/>
                </a:lnTo>
                <a:close/>
                <a:moveTo>
                  <a:pt x="54" y="214"/>
                </a:moveTo>
                <a:cubicBezTo>
                  <a:pt x="53" y="215"/>
                  <a:pt x="52" y="216"/>
                  <a:pt x="51" y="218"/>
                </a:cubicBezTo>
                <a:cubicBezTo>
                  <a:pt x="51" y="219"/>
                  <a:pt x="50" y="221"/>
                  <a:pt x="50" y="222"/>
                </a:cubicBezTo>
                <a:cubicBezTo>
                  <a:pt x="50" y="224"/>
                  <a:pt x="51" y="225"/>
                  <a:pt x="51" y="227"/>
                </a:cubicBezTo>
                <a:cubicBezTo>
                  <a:pt x="52" y="228"/>
                  <a:pt x="53" y="230"/>
                  <a:pt x="54" y="231"/>
                </a:cubicBezTo>
                <a:cubicBezTo>
                  <a:pt x="55" y="232"/>
                  <a:pt x="57" y="233"/>
                  <a:pt x="58" y="234"/>
                </a:cubicBezTo>
                <a:cubicBezTo>
                  <a:pt x="60" y="234"/>
                  <a:pt x="61" y="234"/>
                  <a:pt x="63" y="234"/>
                </a:cubicBezTo>
                <a:cubicBezTo>
                  <a:pt x="64" y="234"/>
                  <a:pt x="66" y="234"/>
                  <a:pt x="67" y="234"/>
                </a:cubicBezTo>
                <a:cubicBezTo>
                  <a:pt x="69" y="233"/>
                  <a:pt x="70" y="232"/>
                  <a:pt x="71" y="231"/>
                </a:cubicBezTo>
                <a:cubicBezTo>
                  <a:pt x="72" y="230"/>
                  <a:pt x="73" y="228"/>
                  <a:pt x="74" y="227"/>
                </a:cubicBezTo>
                <a:cubicBezTo>
                  <a:pt x="75" y="225"/>
                  <a:pt x="75" y="224"/>
                  <a:pt x="75" y="222"/>
                </a:cubicBezTo>
                <a:cubicBezTo>
                  <a:pt x="75" y="221"/>
                  <a:pt x="75" y="219"/>
                  <a:pt x="74" y="218"/>
                </a:cubicBezTo>
                <a:cubicBezTo>
                  <a:pt x="73" y="216"/>
                  <a:pt x="72" y="215"/>
                  <a:pt x="71" y="214"/>
                </a:cubicBezTo>
                <a:cubicBezTo>
                  <a:pt x="70" y="213"/>
                  <a:pt x="69" y="212"/>
                  <a:pt x="67" y="211"/>
                </a:cubicBezTo>
                <a:cubicBezTo>
                  <a:pt x="66" y="210"/>
                  <a:pt x="64" y="210"/>
                  <a:pt x="63" y="210"/>
                </a:cubicBezTo>
                <a:cubicBezTo>
                  <a:pt x="61" y="210"/>
                  <a:pt x="60" y="210"/>
                  <a:pt x="58" y="211"/>
                </a:cubicBezTo>
                <a:cubicBezTo>
                  <a:pt x="57" y="212"/>
                  <a:pt x="55" y="213"/>
                  <a:pt x="54" y="214"/>
                </a:cubicBezTo>
                <a:close/>
                <a:moveTo>
                  <a:pt x="51" y="21"/>
                </a:moveTo>
                <a:cubicBezTo>
                  <a:pt x="51" y="22"/>
                  <a:pt x="52" y="23"/>
                  <a:pt x="53" y="23"/>
                </a:cubicBezTo>
                <a:cubicBezTo>
                  <a:pt x="72" y="23"/>
                  <a:pt x="72" y="23"/>
                  <a:pt x="72" y="23"/>
                </a:cubicBezTo>
                <a:cubicBezTo>
                  <a:pt x="74" y="23"/>
                  <a:pt x="74" y="22"/>
                  <a:pt x="74" y="21"/>
                </a:cubicBezTo>
                <a:cubicBezTo>
                  <a:pt x="74" y="19"/>
                  <a:pt x="74" y="19"/>
                  <a:pt x="72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2" y="19"/>
                  <a:pt x="51" y="19"/>
                  <a:pt x="51" y="21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27"/>
          <p:cNvSpPr>
            <a:spLocks noEditPoints="1"/>
          </p:cNvSpPr>
          <p:nvPr/>
        </p:nvSpPr>
        <p:spPr bwMode="auto">
          <a:xfrm>
            <a:off x="7871944" y="1605885"/>
            <a:ext cx="168998" cy="168998"/>
          </a:xfrm>
          <a:custGeom>
            <a:avLst/>
            <a:gdLst>
              <a:gd name="T0" fmla="*/ 0 w 188"/>
              <a:gd name="T1" fmla="*/ 8 h 187"/>
              <a:gd name="T2" fmla="*/ 3 w 188"/>
              <a:gd name="T3" fmla="*/ 3 h 187"/>
              <a:gd name="T4" fmla="*/ 9 w 188"/>
              <a:gd name="T5" fmla="*/ 0 h 187"/>
              <a:gd name="T6" fmla="*/ 180 w 188"/>
              <a:gd name="T7" fmla="*/ 0 h 187"/>
              <a:gd name="T8" fmla="*/ 185 w 188"/>
              <a:gd name="T9" fmla="*/ 3 h 187"/>
              <a:gd name="T10" fmla="*/ 188 w 188"/>
              <a:gd name="T11" fmla="*/ 8 h 187"/>
              <a:gd name="T12" fmla="*/ 188 w 188"/>
              <a:gd name="T13" fmla="*/ 147 h 187"/>
              <a:gd name="T14" fmla="*/ 185 w 188"/>
              <a:gd name="T15" fmla="*/ 153 h 187"/>
              <a:gd name="T16" fmla="*/ 180 w 188"/>
              <a:gd name="T17" fmla="*/ 156 h 187"/>
              <a:gd name="T18" fmla="*/ 113 w 188"/>
              <a:gd name="T19" fmla="*/ 156 h 187"/>
              <a:gd name="T20" fmla="*/ 116 w 188"/>
              <a:gd name="T21" fmla="*/ 180 h 187"/>
              <a:gd name="T22" fmla="*/ 121 w 188"/>
              <a:gd name="T23" fmla="*/ 186 h 187"/>
              <a:gd name="T24" fmla="*/ 121 w 188"/>
              <a:gd name="T25" fmla="*/ 186 h 187"/>
              <a:gd name="T26" fmla="*/ 120 w 188"/>
              <a:gd name="T27" fmla="*/ 187 h 187"/>
              <a:gd name="T28" fmla="*/ 117 w 188"/>
              <a:gd name="T29" fmla="*/ 187 h 187"/>
              <a:gd name="T30" fmla="*/ 116 w 188"/>
              <a:gd name="T31" fmla="*/ 187 h 187"/>
              <a:gd name="T32" fmla="*/ 73 w 188"/>
              <a:gd name="T33" fmla="*/ 187 h 187"/>
              <a:gd name="T34" fmla="*/ 67 w 188"/>
              <a:gd name="T35" fmla="*/ 186 h 187"/>
              <a:gd name="T36" fmla="*/ 67 w 188"/>
              <a:gd name="T37" fmla="*/ 186 h 187"/>
              <a:gd name="T38" fmla="*/ 72 w 188"/>
              <a:gd name="T39" fmla="*/ 180 h 187"/>
              <a:gd name="T40" fmla="*/ 75 w 188"/>
              <a:gd name="T41" fmla="*/ 156 h 187"/>
              <a:gd name="T42" fmla="*/ 9 w 188"/>
              <a:gd name="T43" fmla="*/ 156 h 187"/>
              <a:gd name="T44" fmla="*/ 3 w 188"/>
              <a:gd name="T45" fmla="*/ 153 h 187"/>
              <a:gd name="T46" fmla="*/ 0 w 188"/>
              <a:gd name="T47" fmla="*/ 147 h 187"/>
              <a:gd name="T48" fmla="*/ 0 w 188"/>
              <a:gd name="T49" fmla="*/ 8 h 187"/>
              <a:gd name="T50" fmla="*/ 11 w 188"/>
              <a:gd name="T51" fmla="*/ 117 h 187"/>
              <a:gd name="T52" fmla="*/ 177 w 188"/>
              <a:gd name="T53" fmla="*/ 117 h 187"/>
              <a:gd name="T54" fmla="*/ 177 w 188"/>
              <a:gd name="T55" fmla="*/ 11 h 187"/>
              <a:gd name="T56" fmla="*/ 11 w 188"/>
              <a:gd name="T57" fmla="*/ 11 h 187"/>
              <a:gd name="T58" fmla="*/ 11 w 188"/>
              <a:gd name="T59" fmla="*/ 117 h 187"/>
              <a:gd name="T60" fmla="*/ 90 w 188"/>
              <a:gd name="T61" fmla="*/ 130 h 187"/>
              <a:gd name="T62" fmla="*/ 89 w 188"/>
              <a:gd name="T63" fmla="*/ 134 h 187"/>
              <a:gd name="T64" fmla="*/ 90 w 188"/>
              <a:gd name="T65" fmla="*/ 138 h 187"/>
              <a:gd name="T66" fmla="*/ 94 w 188"/>
              <a:gd name="T67" fmla="*/ 139 h 187"/>
              <a:gd name="T68" fmla="*/ 98 w 188"/>
              <a:gd name="T69" fmla="*/ 138 h 187"/>
              <a:gd name="T70" fmla="*/ 99 w 188"/>
              <a:gd name="T71" fmla="*/ 134 h 187"/>
              <a:gd name="T72" fmla="*/ 98 w 188"/>
              <a:gd name="T73" fmla="*/ 130 h 187"/>
              <a:gd name="T74" fmla="*/ 94 w 188"/>
              <a:gd name="T75" fmla="*/ 129 h 187"/>
              <a:gd name="T76" fmla="*/ 90 w 188"/>
              <a:gd name="T77" fmla="*/ 13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8" h="187">
                <a:moveTo>
                  <a:pt x="0" y="8"/>
                </a:moveTo>
                <a:cubicBezTo>
                  <a:pt x="0" y="6"/>
                  <a:pt x="1" y="4"/>
                  <a:pt x="3" y="3"/>
                </a:cubicBezTo>
                <a:cubicBezTo>
                  <a:pt x="4" y="1"/>
                  <a:pt x="6" y="0"/>
                  <a:pt x="9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2" y="0"/>
                  <a:pt x="184" y="1"/>
                  <a:pt x="185" y="3"/>
                </a:cubicBezTo>
                <a:cubicBezTo>
                  <a:pt x="187" y="4"/>
                  <a:pt x="188" y="6"/>
                  <a:pt x="188" y="8"/>
                </a:cubicBezTo>
                <a:cubicBezTo>
                  <a:pt x="188" y="147"/>
                  <a:pt x="188" y="147"/>
                  <a:pt x="188" y="147"/>
                </a:cubicBezTo>
                <a:cubicBezTo>
                  <a:pt x="188" y="150"/>
                  <a:pt x="187" y="152"/>
                  <a:pt x="185" y="153"/>
                </a:cubicBezTo>
                <a:cubicBezTo>
                  <a:pt x="184" y="155"/>
                  <a:pt x="182" y="156"/>
                  <a:pt x="180" y="156"/>
                </a:cubicBezTo>
                <a:cubicBezTo>
                  <a:pt x="113" y="156"/>
                  <a:pt x="113" y="156"/>
                  <a:pt x="113" y="156"/>
                </a:cubicBezTo>
                <a:cubicBezTo>
                  <a:pt x="116" y="180"/>
                  <a:pt x="116" y="180"/>
                  <a:pt x="116" y="180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6"/>
                  <a:pt x="121" y="186"/>
                  <a:pt x="121" y="186"/>
                </a:cubicBezTo>
                <a:cubicBezTo>
                  <a:pt x="121" y="187"/>
                  <a:pt x="121" y="187"/>
                  <a:pt x="120" y="187"/>
                </a:cubicBezTo>
                <a:cubicBezTo>
                  <a:pt x="119" y="187"/>
                  <a:pt x="118" y="187"/>
                  <a:pt x="117" y="187"/>
                </a:cubicBezTo>
                <a:cubicBezTo>
                  <a:pt x="116" y="187"/>
                  <a:pt x="116" y="187"/>
                  <a:pt x="116" y="187"/>
                </a:cubicBezTo>
                <a:cubicBezTo>
                  <a:pt x="73" y="187"/>
                  <a:pt x="73" y="187"/>
                  <a:pt x="73" y="187"/>
                </a:cubicBezTo>
                <a:cubicBezTo>
                  <a:pt x="69" y="187"/>
                  <a:pt x="67" y="187"/>
                  <a:pt x="67" y="186"/>
                </a:cubicBezTo>
                <a:cubicBezTo>
                  <a:pt x="67" y="186"/>
                  <a:pt x="67" y="186"/>
                  <a:pt x="67" y="186"/>
                </a:cubicBezTo>
                <a:cubicBezTo>
                  <a:pt x="72" y="180"/>
                  <a:pt x="72" y="180"/>
                  <a:pt x="72" y="180"/>
                </a:cubicBezTo>
                <a:cubicBezTo>
                  <a:pt x="75" y="156"/>
                  <a:pt x="75" y="156"/>
                  <a:pt x="75" y="156"/>
                </a:cubicBezTo>
                <a:cubicBezTo>
                  <a:pt x="9" y="156"/>
                  <a:pt x="9" y="156"/>
                  <a:pt x="9" y="156"/>
                </a:cubicBezTo>
                <a:cubicBezTo>
                  <a:pt x="6" y="156"/>
                  <a:pt x="4" y="155"/>
                  <a:pt x="3" y="153"/>
                </a:cubicBezTo>
                <a:cubicBezTo>
                  <a:pt x="1" y="152"/>
                  <a:pt x="0" y="150"/>
                  <a:pt x="0" y="147"/>
                </a:cubicBezTo>
                <a:lnTo>
                  <a:pt x="0" y="8"/>
                </a:lnTo>
                <a:close/>
                <a:moveTo>
                  <a:pt x="11" y="117"/>
                </a:moveTo>
                <a:cubicBezTo>
                  <a:pt x="177" y="117"/>
                  <a:pt x="177" y="117"/>
                  <a:pt x="177" y="117"/>
                </a:cubicBezTo>
                <a:cubicBezTo>
                  <a:pt x="177" y="11"/>
                  <a:pt x="177" y="11"/>
                  <a:pt x="177" y="11"/>
                </a:cubicBezTo>
                <a:cubicBezTo>
                  <a:pt x="11" y="11"/>
                  <a:pt x="11" y="11"/>
                  <a:pt x="11" y="11"/>
                </a:cubicBezTo>
                <a:lnTo>
                  <a:pt x="11" y="117"/>
                </a:lnTo>
                <a:close/>
                <a:moveTo>
                  <a:pt x="90" y="130"/>
                </a:moveTo>
                <a:cubicBezTo>
                  <a:pt x="89" y="131"/>
                  <a:pt x="89" y="133"/>
                  <a:pt x="89" y="134"/>
                </a:cubicBezTo>
                <a:cubicBezTo>
                  <a:pt x="89" y="136"/>
                  <a:pt x="89" y="137"/>
                  <a:pt x="90" y="138"/>
                </a:cubicBezTo>
                <a:cubicBezTo>
                  <a:pt x="91" y="139"/>
                  <a:pt x="93" y="139"/>
                  <a:pt x="94" y="139"/>
                </a:cubicBezTo>
                <a:cubicBezTo>
                  <a:pt x="96" y="139"/>
                  <a:pt x="97" y="139"/>
                  <a:pt x="98" y="138"/>
                </a:cubicBezTo>
                <a:cubicBezTo>
                  <a:pt x="99" y="137"/>
                  <a:pt x="99" y="136"/>
                  <a:pt x="99" y="134"/>
                </a:cubicBezTo>
                <a:cubicBezTo>
                  <a:pt x="99" y="133"/>
                  <a:pt x="99" y="131"/>
                  <a:pt x="98" y="130"/>
                </a:cubicBezTo>
                <a:cubicBezTo>
                  <a:pt x="97" y="129"/>
                  <a:pt x="96" y="129"/>
                  <a:pt x="94" y="129"/>
                </a:cubicBezTo>
                <a:cubicBezTo>
                  <a:pt x="93" y="129"/>
                  <a:pt x="91" y="129"/>
                  <a:pt x="90" y="13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45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rincipais</a:t>
            </a:r>
            <a:r>
              <a:rPr lang="en-US" dirty="0"/>
              <a:t> </a:t>
            </a:r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crescimen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3205233" y="1552720"/>
            <a:ext cx="2733533" cy="273353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Oval 5"/>
          <p:cNvSpPr/>
          <p:nvPr/>
        </p:nvSpPr>
        <p:spPr>
          <a:xfrm>
            <a:off x="3484224" y="2110702"/>
            <a:ext cx="2175550" cy="217554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7" name="Oval 6"/>
          <p:cNvSpPr/>
          <p:nvPr/>
        </p:nvSpPr>
        <p:spPr>
          <a:xfrm>
            <a:off x="3759328" y="2660908"/>
            <a:ext cx="1625344" cy="162534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3" name="Straight Connector 12"/>
          <p:cNvCxnSpPr>
            <a:endCxn id="17" idx="6"/>
          </p:cNvCxnSpPr>
          <p:nvPr/>
        </p:nvCxnSpPr>
        <p:spPr>
          <a:xfrm flipH="1">
            <a:off x="3072052" y="1929493"/>
            <a:ext cx="560698" cy="4749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endCxn id="18" idx="6"/>
          </p:cNvCxnSpPr>
          <p:nvPr/>
        </p:nvCxnSpPr>
        <p:spPr>
          <a:xfrm flipH="1">
            <a:off x="3072052" y="3193615"/>
            <a:ext cx="733764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>
            <a:endCxn id="20" idx="2"/>
          </p:cNvCxnSpPr>
          <p:nvPr/>
        </p:nvCxnSpPr>
        <p:spPr>
          <a:xfrm>
            <a:off x="5341172" y="2435439"/>
            <a:ext cx="730777" cy="5706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endCxn id="19" idx="2"/>
          </p:cNvCxnSpPr>
          <p:nvPr/>
        </p:nvCxnSpPr>
        <p:spPr>
          <a:xfrm>
            <a:off x="5023004" y="3442821"/>
            <a:ext cx="1044822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/>
        </p:nvGrpSpPr>
        <p:grpSpPr>
          <a:xfrm>
            <a:off x="2502542" y="1649488"/>
            <a:ext cx="569510" cy="569508"/>
            <a:chOff x="2502542" y="1649488"/>
            <a:chExt cx="569510" cy="569508"/>
          </a:xfrm>
        </p:grpSpPr>
        <p:sp>
          <p:nvSpPr>
            <p:cNvPr id="17" name="Oval 16"/>
            <p:cNvSpPr/>
            <p:nvPr/>
          </p:nvSpPr>
          <p:spPr>
            <a:xfrm>
              <a:off x="2502542" y="1649488"/>
              <a:ext cx="569510" cy="569508"/>
            </a:xfrm>
            <a:prstGeom prst="ellipse">
              <a:avLst/>
            </a:prstGeom>
            <a:noFill/>
            <a:ln w="12700">
              <a:solidFill>
                <a:srgbClr val="E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5" name="Freeform 13"/>
            <p:cNvSpPr>
              <a:spLocks noEditPoints="1"/>
            </p:cNvSpPr>
            <p:nvPr/>
          </p:nvSpPr>
          <p:spPr bwMode="auto">
            <a:xfrm>
              <a:off x="2641919" y="1842053"/>
              <a:ext cx="283998" cy="258360"/>
            </a:xfrm>
            <a:custGeom>
              <a:avLst/>
              <a:gdLst>
                <a:gd name="T0" fmla="*/ 170 w 265"/>
                <a:gd name="T1" fmla="*/ 149 h 239"/>
                <a:gd name="T2" fmla="*/ 172 w 265"/>
                <a:gd name="T3" fmla="*/ 149 h 239"/>
                <a:gd name="T4" fmla="*/ 172 w 265"/>
                <a:gd name="T5" fmla="*/ 173 h 239"/>
                <a:gd name="T6" fmla="*/ 146 w 265"/>
                <a:gd name="T7" fmla="*/ 199 h 239"/>
                <a:gd name="T8" fmla="*/ 79 w 265"/>
                <a:gd name="T9" fmla="*/ 199 h 239"/>
                <a:gd name="T10" fmla="*/ 39 w 265"/>
                <a:gd name="T11" fmla="*/ 239 h 239"/>
                <a:gd name="T12" fmla="*/ 39 w 265"/>
                <a:gd name="T13" fmla="*/ 199 h 239"/>
                <a:gd name="T14" fmla="*/ 26 w 265"/>
                <a:gd name="T15" fmla="*/ 199 h 239"/>
                <a:gd name="T16" fmla="*/ 0 w 265"/>
                <a:gd name="T17" fmla="*/ 173 h 239"/>
                <a:gd name="T18" fmla="*/ 0 w 265"/>
                <a:gd name="T19" fmla="*/ 93 h 239"/>
                <a:gd name="T20" fmla="*/ 26 w 265"/>
                <a:gd name="T21" fmla="*/ 66 h 239"/>
                <a:gd name="T22" fmla="*/ 77 w 265"/>
                <a:gd name="T23" fmla="*/ 66 h 239"/>
                <a:gd name="T24" fmla="*/ 77 w 265"/>
                <a:gd name="T25" fmla="*/ 149 h 239"/>
                <a:gd name="T26" fmla="*/ 170 w 265"/>
                <a:gd name="T27" fmla="*/ 149 h 239"/>
                <a:gd name="T28" fmla="*/ 265 w 265"/>
                <a:gd name="T29" fmla="*/ 27 h 239"/>
                <a:gd name="T30" fmla="*/ 265 w 265"/>
                <a:gd name="T31" fmla="*/ 106 h 239"/>
                <a:gd name="T32" fmla="*/ 239 w 265"/>
                <a:gd name="T33" fmla="*/ 133 h 239"/>
                <a:gd name="T34" fmla="*/ 225 w 265"/>
                <a:gd name="T35" fmla="*/ 133 h 239"/>
                <a:gd name="T36" fmla="*/ 225 w 265"/>
                <a:gd name="T37" fmla="*/ 173 h 239"/>
                <a:gd name="T38" fmla="*/ 186 w 265"/>
                <a:gd name="T39" fmla="*/ 133 h 239"/>
                <a:gd name="T40" fmla="*/ 93 w 265"/>
                <a:gd name="T41" fmla="*/ 133 h 239"/>
                <a:gd name="T42" fmla="*/ 93 w 265"/>
                <a:gd name="T43" fmla="*/ 27 h 239"/>
                <a:gd name="T44" fmla="*/ 119 w 265"/>
                <a:gd name="T45" fmla="*/ 0 h 239"/>
                <a:gd name="T46" fmla="*/ 239 w 265"/>
                <a:gd name="T47" fmla="*/ 0 h 239"/>
                <a:gd name="T48" fmla="*/ 265 w 265"/>
                <a:gd name="T49" fmla="*/ 27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5" h="239">
                  <a:moveTo>
                    <a:pt x="170" y="149"/>
                  </a:moveTo>
                  <a:cubicBezTo>
                    <a:pt x="171" y="149"/>
                    <a:pt x="172" y="149"/>
                    <a:pt x="172" y="149"/>
                  </a:cubicBezTo>
                  <a:cubicBezTo>
                    <a:pt x="172" y="173"/>
                    <a:pt x="172" y="173"/>
                    <a:pt x="172" y="173"/>
                  </a:cubicBezTo>
                  <a:cubicBezTo>
                    <a:pt x="172" y="188"/>
                    <a:pt x="161" y="199"/>
                    <a:pt x="146" y="199"/>
                  </a:cubicBezTo>
                  <a:cubicBezTo>
                    <a:pt x="79" y="199"/>
                    <a:pt x="79" y="199"/>
                    <a:pt x="79" y="199"/>
                  </a:cubicBezTo>
                  <a:cubicBezTo>
                    <a:pt x="39" y="239"/>
                    <a:pt x="39" y="239"/>
                    <a:pt x="39" y="239"/>
                  </a:cubicBezTo>
                  <a:cubicBezTo>
                    <a:pt x="39" y="199"/>
                    <a:pt x="39" y="199"/>
                    <a:pt x="39" y="199"/>
                  </a:cubicBezTo>
                  <a:cubicBezTo>
                    <a:pt x="26" y="199"/>
                    <a:pt x="26" y="199"/>
                    <a:pt x="26" y="199"/>
                  </a:cubicBezTo>
                  <a:cubicBezTo>
                    <a:pt x="12" y="199"/>
                    <a:pt x="0" y="188"/>
                    <a:pt x="0" y="17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79"/>
                    <a:pt x="12" y="66"/>
                    <a:pt x="26" y="66"/>
                  </a:cubicBezTo>
                  <a:cubicBezTo>
                    <a:pt x="77" y="66"/>
                    <a:pt x="77" y="66"/>
                    <a:pt x="77" y="66"/>
                  </a:cubicBezTo>
                  <a:cubicBezTo>
                    <a:pt x="77" y="149"/>
                    <a:pt x="77" y="149"/>
                    <a:pt x="77" y="149"/>
                  </a:cubicBezTo>
                  <a:lnTo>
                    <a:pt x="170" y="149"/>
                  </a:lnTo>
                  <a:close/>
                  <a:moveTo>
                    <a:pt x="265" y="27"/>
                  </a:moveTo>
                  <a:cubicBezTo>
                    <a:pt x="265" y="106"/>
                    <a:pt x="265" y="106"/>
                    <a:pt x="265" y="106"/>
                  </a:cubicBezTo>
                  <a:cubicBezTo>
                    <a:pt x="265" y="121"/>
                    <a:pt x="253" y="133"/>
                    <a:pt x="239" y="133"/>
                  </a:cubicBezTo>
                  <a:cubicBezTo>
                    <a:pt x="225" y="133"/>
                    <a:pt x="225" y="133"/>
                    <a:pt x="225" y="133"/>
                  </a:cubicBezTo>
                  <a:cubicBezTo>
                    <a:pt x="225" y="173"/>
                    <a:pt x="225" y="173"/>
                    <a:pt x="225" y="173"/>
                  </a:cubicBezTo>
                  <a:cubicBezTo>
                    <a:pt x="186" y="133"/>
                    <a:pt x="186" y="133"/>
                    <a:pt x="186" y="133"/>
                  </a:cubicBezTo>
                  <a:cubicBezTo>
                    <a:pt x="93" y="133"/>
                    <a:pt x="93" y="133"/>
                    <a:pt x="93" y="133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12"/>
                    <a:pt x="105" y="0"/>
                    <a:pt x="119" y="0"/>
                  </a:cubicBezTo>
                  <a:cubicBezTo>
                    <a:pt x="239" y="0"/>
                    <a:pt x="239" y="0"/>
                    <a:pt x="239" y="0"/>
                  </a:cubicBezTo>
                  <a:cubicBezTo>
                    <a:pt x="253" y="0"/>
                    <a:pt x="265" y="12"/>
                    <a:pt x="265" y="27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71949" y="2156391"/>
            <a:ext cx="569510" cy="569508"/>
            <a:chOff x="6071949" y="2156391"/>
            <a:chExt cx="569510" cy="569508"/>
          </a:xfrm>
        </p:grpSpPr>
        <p:sp>
          <p:nvSpPr>
            <p:cNvPr id="20" name="Oval 19"/>
            <p:cNvSpPr/>
            <p:nvPr/>
          </p:nvSpPr>
          <p:spPr>
            <a:xfrm>
              <a:off x="6071949" y="2156391"/>
              <a:ext cx="569510" cy="569508"/>
            </a:xfrm>
            <a:prstGeom prst="ellipse">
              <a:avLst/>
            </a:prstGeom>
            <a:noFill/>
            <a:ln w="12700">
              <a:solidFill>
                <a:srgbClr val="E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6" name="Freeform 15"/>
            <p:cNvSpPr>
              <a:spLocks noEditPoints="1"/>
            </p:cNvSpPr>
            <p:nvPr/>
          </p:nvSpPr>
          <p:spPr bwMode="auto">
            <a:xfrm>
              <a:off x="6213717" y="2306259"/>
              <a:ext cx="285974" cy="258360"/>
            </a:xfrm>
            <a:custGeom>
              <a:avLst/>
              <a:gdLst>
                <a:gd name="T0" fmla="*/ 213 w 266"/>
                <a:gd name="T1" fmla="*/ 211 h 239"/>
                <a:gd name="T2" fmla="*/ 213 w 266"/>
                <a:gd name="T3" fmla="*/ 239 h 239"/>
                <a:gd name="T4" fmla="*/ 0 w 266"/>
                <a:gd name="T5" fmla="*/ 239 h 239"/>
                <a:gd name="T6" fmla="*/ 0 w 266"/>
                <a:gd name="T7" fmla="*/ 186 h 239"/>
                <a:gd name="T8" fmla="*/ 21 w 266"/>
                <a:gd name="T9" fmla="*/ 179 h 239"/>
                <a:gd name="T10" fmla="*/ 65 w 266"/>
                <a:gd name="T11" fmla="*/ 135 h 239"/>
                <a:gd name="T12" fmla="*/ 51 w 266"/>
                <a:gd name="T13" fmla="*/ 103 h 239"/>
                <a:gd name="T14" fmla="*/ 38 w 266"/>
                <a:gd name="T15" fmla="*/ 80 h 239"/>
                <a:gd name="T16" fmla="*/ 43 w 266"/>
                <a:gd name="T17" fmla="*/ 69 h 239"/>
                <a:gd name="T18" fmla="*/ 39 w 266"/>
                <a:gd name="T19" fmla="*/ 46 h 239"/>
                <a:gd name="T20" fmla="*/ 93 w 266"/>
                <a:gd name="T21" fmla="*/ 0 h 239"/>
                <a:gd name="T22" fmla="*/ 146 w 266"/>
                <a:gd name="T23" fmla="*/ 46 h 239"/>
                <a:gd name="T24" fmla="*/ 142 w 266"/>
                <a:gd name="T25" fmla="*/ 69 h 239"/>
                <a:gd name="T26" fmla="*/ 148 w 266"/>
                <a:gd name="T27" fmla="*/ 80 h 239"/>
                <a:gd name="T28" fmla="*/ 135 w 266"/>
                <a:gd name="T29" fmla="*/ 103 h 239"/>
                <a:gd name="T30" fmla="*/ 121 w 266"/>
                <a:gd name="T31" fmla="*/ 135 h 239"/>
                <a:gd name="T32" fmla="*/ 164 w 266"/>
                <a:gd name="T33" fmla="*/ 179 h 239"/>
                <a:gd name="T34" fmla="*/ 213 w 266"/>
                <a:gd name="T35" fmla="*/ 211 h 239"/>
                <a:gd name="T36" fmla="*/ 266 w 266"/>
                <a:gd name="T37" fmla="*/ 106 h 239"/>
                <a:gd name="T38" fmla="*/ 266 w 266"/>
                <a:gd name="T39" fmla="*/ 133 h 239"/>
                <a:gd name="T40" fmla="*/ 226 w 266"/>
                <a:gd name="T41" fmla="*/ 133 h 239"/>
                <a:gd name="T42" fmla="*/ 226 w 266"/>
                <a:gd name="T43" fmla="*/ 173 h 239"/>
                <a:gd name="T44" fmla="*/ 199 w 266"/>
                <a:gd name="T45" fmla="*/ 173 h 239"/>
                <a:gd name="T46" fmla="*/ 199 w 266"/>
                <a:gd name="T47" fmla="*/ 133 h 239"/>
                <a:gd name="T48" fmla="*/ 159 w 266"/>
                <a:gd name="T49" fmla="*/ 133 h 239"/>
                <a:gd name="T50" fmla="*/ 159 w 266"/>
                <a:gd name="T51" fmla="*/ 106 h 239"/>
                <a:gd name="T52" fmla="*/ 199 w 266"/>
                <a:gd name="T53" fmla="*/ 106 h 239"/>
                <a:gd name="T54" fmla="*/ 199 w 266"/>
                <a:gd name="T55" fmla="*/ 66 h 239"/>
                <a:gd name="T56" fmla="*/ 226 w 266"/>
                <a:gd name="T57" fmla="*/ 66 h 239"/>
                <a:gd name="T58" fmla="*/ 226 w 266"/>
                <a:gd name="T59" fmla="*/ 106 h 239"/>
                <a:gd name="T60" fmla="*/ 266 w 266"/>
                <a:gd name="T61" fmla="*/ 10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6" h="239">
                  <a:moveTo>
                    <a:pt x="213" y="211"/>
                  </a:moveTo>
                  <a:cubicBezTo>
                    <a:pt x="213" y="219"/>
                    <a:pt x="213" y="239"/>
                    <a:pt x="213" y="23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186"/>
                    <a:pt x="0" y="186"/>
                    <a:pt x="0" y="186"/>
                  </a:cubicBezTo>
                  <a:cubicBezTo>
                    <a:pt x="8" y="182"/>
                    <a:pt x="18" y="180"/>
                    <a:pt x="21" y="179"/>
                  </a:cubicBezTo>
                  <a:cubicBezTo>
                    <a:pt x="54" y="167"/>
                    <a:pt x="65" y="157"/>
                    <a:pt x="65" y="135"/>
                  </a:cubicBezTo>
                  <a:cubicBezTo>
                    <a:pt x="65" y="122"/>
                    <a:pt x="55" y="126"/>
                    <a:pt x="51" y="103"/>
                  </a:cubicBezTo>
                  <a:cubicBezTo>
                    <a:pt x="48" y="93"/>
                    <a:pt x="40" y="103"/>
                    <a:pt x="38" y="80"/>
                  </a:cubicBezTo>
                  <a:cubicBezTo>
                    <a:pt x="38" y="71"/>
                    <a:pt x="43" y="69"/>
                    <a:pt x="43" y="69"/>
                  </a:cubicBezTo>
                  <a:cubicBezTo>
                    <a:pt x="43" y="69"/>
                    <a:pt x="41" y="56"/>
                    <a:pt x="39" y="46"/>
                  </a:cubicBezTo>
                  <a:cubicBezTo>
                    <a:pt x="38" y="33"/>
                    <a:pt x="47" y="0"/>
                    <a:pt x="93" y="0"/>
                  </a:cubicBezTo>
                  <a:cubicBezTo>
                    <a:pt x="139" y="0"/>
                    <a:pt x="147" y="33"/>
                    <a:pt x="146" y="46"/>
                  </a:cubicBezTo>
                  <a:cubicBezTo>
                    <a:pt x="145" y="56"/>
                    <a:pt x="142" y="69"/>
                    <a:pt x="142" y="69"/>
                  </a:cubicBezTo>
                  <a:cubicBezTo>
                    <a:pt x="142" y="69"/>
                    <a:pt x="148" y="71"/>
                    <a:pt x="148" y="80"/>
                  </a:cubicBezTo>
                  <a:cubicBezTo>
                    <a:pt x="146" y="103"/>
                    <a:pt x="137" y="93"/>
                    <a:pt x="135" y="103"/>
                  </a:cubicBezTo>
                  <a:cubicBezTo>
                    <a:pt x="131" y="126"/>
                    <a:pt x="121" y="122"/>
                    <a:pt x="121" y="135"/>
                  </a:cubicBezTo>
                  <a:cubicBezTo>
                    <a:pt x="121" y="157"/>
                    <a:pt x="131" y="167"/>
                    <a:pt x="164" y="179"/>
                  </a:cubicBezTo>
                  <a:cubicBezTo>
                    <a:pt x="197" y="191"/>
                    <a:pt x="213" y="203"/>
                    <a:pt x="213" y="211"/>
                  </a:cubicBezTo>
                  <a:close/>
                  <a:moveTo>
                    <a:pt x="266" y="106"/>
                  </a:moveTo>
                  <a:cubicBezTo>
                    <a:pt x="266" y="133"/>
                    <a:pt x="266" y="133"/>
                    <a:pt x="266" y="133"/>
                  </a:cubicBezTo>
                  <a:cubicBezTo>
                    <a:pt x="226" y="133"/>
                    <a:pt x="226" y="133"/>
                    <a:pt x="226" y="133"/>
                  </a:cubicBezTo>
                  <a:cubicBezTo>
                    <a:pt x="226" y="173"/>
                    <a:pt x="226" y="173"/>
                    <a:pt x="226" y="173"/>
                  </a:cubicBezTo>
                  <a:cubicBezTo>
                    <a:pt x="199" y="173"/>
                    <a:pt x="199" y="173"/>
                    <a:pt x="199" y="17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9" y="106"/>
                    <a:pt x="159" y="106"/>
                    <a:pt x="159" y="106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9" y="66"/>
                    <a:pt x="199" y="66"/>
                    <a:pt x="199" y="66"/>
                  </a:cubicBezTo>
                  <a:cubicBezTo>
                    <a:pt x="226" y="66"/>
                    <a:pt x="226" y="66"/>
                    <a:pt x="226" y="66"/>
                  </a:cubicBezTo>
                  <a:cubicBezTo>
                    <a:pt x="226" y="106"/>
                    <a:pt x="226" y="106"/>
                    <a:pt x="226" y="106"/>
                  </a:cubicBezTo>
                  <a:lnTo>
                    <a:pt x="266" y="106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2502542" y="2908861"/>
            <a:ext cx="569510" cy="569508"/>
            <a:chOff x="2502542" y="2908861"/>
            <a:chExt cx="569510" cy="569508"/>
          </a:xfrm>
        </p:grpSpPr>
        <p:sp>
          <p:nvSpPr>
            <p:cNvPr id="18" name="Oval 17"/>
            <p:cNvSpPr/>
            <p:nvPr/>
          </p:nvSpPr>
          <p:spPr>
            <a:xfrm>
              <a:off x="2502542" y="2908861"/>
              <a:ext cx="569510" cy="569508"/>
            </a:xfrm>
            <a:prstGeom prst="ellipse">
              <a:avLst/>
            </a:prstGeom>
            <a:noFill/>
            <a:ln w="12700">
              <a:solidFill>
                <a:srgbClr val="E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8" name="Freeform 55"/>
            <p:cNvSpPr>
              <a:spLocks noEditPoints="1"/>
            </p:cNvSpPr>
            <p:nvPr/>
          </p:nvSpPr>
          <p:spPr bwMode="auto">
            <a:xfrm>
              <a:off x="2693361" y="3028950"/>
              <a:ext cx="187872" cy="323918"/>
            </a:xfrm>
            <a:custGeom>
              <a:avLst/>
              <a:gdLst>
                <a:gd name="T0" fmla="*/ 109 w 160"/>
                <a:gd name="T1" fmla="*/ 264 h 274"/>
                <a:gd name="T2" fmla="*/ 35 w 160"/>
                <a:gd name="T3" fmla="*/ 231 h 274"/>
                <a:gd name="T4" fmla="*/ 6 w 160"/>
                <a:gd name="T5" fmla="*/ 128 h 274"/>
                <a:gd name="T6" fmla="*/ 31 w 160"/>
                <a:gd name="T7" fmla="*/ 65 h 274"/>
                <a:gd name="T8" fmla="*/ 5 w 160"/>
                <a:gd name="T9" fmla="*/ 15 h 274"/>
                <a:gd name="T10" fmla="*/ 9 w 160"/>
                <a:gd name="T11" fmla="*/ 2 h 274"/>
                <a:gd name="T12" fmla="*/ 21 w 160"/>
                <a:gd name="T13" fmla="*/ 7 h 274"/>
                <a:gd name="T14" fmla="*/ 48 w 160"/>
                <a:gd name="T15" fmla="*/ 58 h 274"/>
                <a:gd name="T16" fmla="*/ 115 w 160"/>
                <a:gd name="T17" fmla="*/ 93 h 274"/>
                <a:gd name="T18" fmla="*/ 150 w 160"/>
                <a:gd name="T19" fmla="*/ 193 h 274"/>
                <a:gd name="T20" fmla="*/ 109 w 160"/>
                <a:gd name="T21" fmla="*/ 264 h 274"/>
                <a:gd name="T22" fmla="*/ 75 w 160"/>
                <a:gd name="T23" fmla="*/ 96 h 274"/>
                <a:gd name="T24" fmla="*/ 53 w 160"/>
                <a:gd name="T25" fmla="*/ 84 h 274"/>
                <a:gd name="T26" fmla="*/ 40 w 160"/>
                <a:gd name="T27" fmla="*/ 108 h 274"/>
                <a:gd name="T28" fmla="*/ 64 w 160"/>
                <a:gd name="T29" fmla="*/ 120 h 274"/>
                <a:gd name="T30" fmla="*/ 75 w 160"/>
                <a:gd name="T31" fmla="*/ 9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" h="274">
                  <a:moveTo>
                    <a:pt x="109" y="264"/>
                  </a:moveTo>
                  <a:cubicBezTo>
                    <a:pt x="76" y="274"/>
                    <a:pt x="43" y="259"/>
                    <a:pt x="35" y="231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0" y="104"/>
                    <a:pt x="10" y="78"/>
                    <a:pt x="31" y="6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3" y="11"/>
                    <a:pt x="4" y="5"/>
                    <a:pt x="9" y="2"/>
                  </a:cubicBezTo>
                  <a:cubicBezTo>
                    <a:pt x="13" y="0"/>
                    <a:pt x="19" y="2"/>
                    <a:pt x="21" y="7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76" y="50"/>
                    <a:pt x="106" y="65"/>
                    <a:pt x="115" y="93"/>
                  </a:cubicBezTo>
                  <a:cubicBezTo>
                    <a:pt x="150" y="193"/>
                    <a:pt x="150" y="193"/>
                    <a:pt x="150" y="193"/>
                  </a:cubicBezTo>
                  <a:cubicBezTo>
                    <a:pt x="160" y="221"/>
                    <a:pt x="141" y="253"/>
                    <a:pt x="109" y="264"/>
                  </a:cubicBezTo>
                  <a:close/>
                  <a:moveTo>
                    <a:pt x="75" y="96"/>
                  </a:moveTo>
                  <a:cubicBezTo>
                    <a:pt x="73" y="86"/>
                    <a:pt x="62" y="81"/>
                    <a:pt x="53" y="84"/>
                  </a:cubicBezTo>
                  <a:cubicBezTo>
                    <a:pt x="43" y="87"/>
                    <a:pt x="38" y="98"/>
                    <a:pt x="40" y="108"/>
                  </a:cubicBezTo>
                  <a:cubicBezTo>
                    <a:pt x="44" y="118"/>
                    <a:pt x="54" y="123"/>
                    <a:pt x="64" y="120"/>
                  </a:cubicBezTo>
                  <a:cubicBezTo>
                    <a:pt x="73" y="117"/>
                    <a:pt x="79" y="106"/>
                    <a:pt x="75" y="96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067826" y="3158067"/>
            <a:ext cx="569510" cy="569508"/>
            <a:chOff x="6067826" y="3158067"/>
            <a:chExt cx="569510" cy="569508"/>
          </a:xfrm>
        </p:grpSpPr>
        <p:sp>
          <p:nvSpPr>
            <p:cNvPr id="19" name="Oval 18"/>
            <p:cNvSpPr/>
            <p:nvPr/>
          </p:nvSpPr>
          <p:spPr>
            <a:xfrm>
              <a:off x="6067826" y="3158067"/>
              <a:ext cx="569510" cy="569508"/>
            </a:xfrm>
            <a:prstGeom prst="ellipse">
              <a:avLst/>
            </a:prstGeom>
            <a:noFill/>
            <a:ln w="12700">
              <a:solidFill>
                <a:srgbClr val="E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1" name="Freeform 9"/>
            <p:cNvSpPr>
              <a:spLocks noEditPoints="1"/>
            </p:cNvSpPr>
            <p:nvPr/>
          </p:nvSpPr>
          <p:spPr bwMode="auto">
            <a:xfrm>
              <a:off x="6196886" y="3309789"/>
              <a:ext cx="299424" cy="266064"/>
            </a:xfrm>
            <a:custGeom>
              <a:avLst/>
              <a:gdLst>
                <a:gd name="T0" fmla="*/ 374 w 2388"/>
                <a:gd name="T1" fmla="*/ 687 h 2123"/>
                <a:gd name="T2" fmla="*/ 700 w 2388"/>
                <a:gd name="T3" fmla="*/ 802 h 2123"/>
                <a:gd name="T4" fmla="*/ 743 w 2388"/>
                <a:gd name="T5" fmla="*/ 790 h 2123"/>
                <a:gd name="T6" fmla="*/ 924 w 2388"/>
                <a:gd name="T7" fmla="*/ 628 h 2123"/>
                <a:gd name="T8" fmla="*/ 928 w 2388"/>
                <a:gd name="T9" fmla="*/ 594 h 2123"/>
                <a:gd name="T10" fmla="*/ 840 w 2388"/>
                <a:gd name="T11" fmla="*/ 480 h 2123"/>
                <a:gd name="T12" fmla="*/ 1305 w 2388"/>
                <a:gd name="T13" fmla="*/ 5 h 2123"/>
                <a:gd name="T14" fmla="*/ 953 w 2388"/>
                <a:gd name="T15" fmla="*/ 4 h 2123"/>
                <a:gd name="T16" fmla="*/ 512 w 2388"/>
                <a:gd name="T17" fmla="*/ 230 h 2123"/>
                <a:gd name="T18" fmla="*/ 330 w 2388"/>
                <a:gd name="T19" fmla="*/ 374 h 2123"/>
                <a:gd name="T20" fmla="*/ 260 w 2388"/>
                <a:gd name="T21" fmla="*/ 534 h 2123"/>
                <a:gd name="T22" fmla="*/ 109 w 2388"/>
                <a:gd name="T23" fmla="*/ 583 h 2123"/>
                <a:gd name="T24" fmla="*/ 19 w 2388"/>
                <a:gd name="T25" fmla="*/ 656 h 2123"/>
                <a:gd name="T26" fmla="*/ 16 w 2388"/>
                <a:gd name="T27" fmla="*/ 712 h 2123"/>
                <a:gd name="T28" fmla="*/ 179 w 2388"/>
                <a:gd name="T29" fmla="*/ 893 h 2123"/>
                <a:gd name="T30" fmla="*/ 247 w 2388"/>
                <a:gd name="T31" fmla="*/ 901 h 2123"/>
                <a:gd name="T32" fmla="*/ 331 w 2388"/>
                <a:gd name="T33" fmla="*/ 827 h 2123"/>
                <a:gd name="T34" fmla="*/ 374 w 2388"/>
                <a:gd name="T35" fmla="*/ 687 h 2123"/>
                <a:gd name="T36" fmla="*/ 1053 w 2388"/>
                <a:gd name="T37" fmla="*/ 748 h 2123"/>
                <a:gd name="T38" fmla="*/ 1006 w 2388"/>
                <a:gd name="T39" fmla="*/ 745 h 2123"/>
                <a:gd name="T40" fmla="*/ 835 w 2388"/>
                <a:gd name="T41" fmla="*/ 894 h 2123"/>
                <a:gd name="T42" fmla="*/ 832 w 2388"/>
                <a:gd name="T43" fmla="*/ 942 h 2123"/>
                <a:gd name="T44" fmla="*/ 1819 w 2388"/>
                <a:gd name="T45" fmla="*/ 2065 h 2123"/>
                <a:gd name="T46" fmla="*/ 1909 w 2388"/>
                <a:gd name="T47" fmla="*/ 2072 h 2123"/>
                <a:gd name="T48" fmla="*/ 2024 w 2388"/>
                <a:gd name="T49" fmla="*/ 1975 h 2123"/>
                <a:gd name="T50" fmla="*/ 2031 w 2388"/>
                <a:gd name="T51" fmla="*/ 1885 h 2123"/>
                <a:gd name="T52" fmla="*/ 1053 w 2388"/>
                <a:gd name="T53" fmla="*/ 748 h 2123"/>
                <a:gd name="T54" fmla="*/ 2370 w 2388"/>
                <a:gd name="T55" fmla="*/ 270 h 2123"/>
                <a:gd name="T56" fmla="*/ 2315 w 2388"/>
                <a:gd name="T57" fmla="*/ 248 h 2123"/>
                <a:gd name="T58" fmla="*/ 2200 w 2388"/>
                <a:gd name="T59" fmla="*/ 428 h 2123"/>
                <a:gd name="T60" fmla="*/ 1970 w 2388"/>
                <a:gd name="T61" fmla="*/ 476 h 2123"/>
                <a:gd name="T62" fmla="*/ 1905 w 2388"/>
                <a:gd name="T63" fmla="*/ 267 h 2123"/>
                <a:gd name="T64" fmla="*/ 2012 w 2388"/>
                <a:gd name="T65" fmla="*/ 78 h 2123"/>
                <a:gd name="T66" fmla="*/ 1968 w 2388"/>
                <a:gd name="T67" fmla="*/ 35 h 2123"/>
                <a:gd name="T68" fmla="*/ 1632 w 2388"/>
                <a:gd name="T69" fmla="*/ 304 h 2123"/>
                <a:gd name="T70" fmla="*/ 1531 w 2388"/>
                <a:gd name="T71" fmla="*/ 720 h 2123"/>
                <a:gd name="T72" fmla="*/ 1371 w 2388"/>
                <a:gd name="T73" fmla="*/ 886 h 2123"/>
                <a:gd name="T74" fmla="*/ 1532 w 2388"/>
                <a:gd name="T75" fmla="*/ 1073 h 2123"/>
                <a:gd name="T76" fmla="*/ 1729 w 2388"/>
                <a:gd name="T77" fmla="*/ 886 h 2123"/>
                <a:gd name="T78" fmla="*/ 1967 w 2388"/>
                <a:gd name="T79" fmla="*/ 814 h 2123"/>
                <a:gd name="T80" fmla="*/ 2331 w 2388"/>
                <a:gd name="T81" fmla="*/ 664 h 2123"/>
                <a:gd name="T82" fmla="*/ 2370 w 2388"/>
                <a:gd name="T83" fmla="*/ 270 h 2123"/>
                <a:gd name="T84" fmla="*/ 327 w 2388"/>
                <a:gd name="T85" fmla="*/ 1897 h 2123"/>
                <a:gd name="T86" fmla="*/ 327 w 2388"/>
                <a:gd name="T87" fmla="*/ 1987 h 2123"/>
                <a:gd name="T88" fmla="*/ 440 w 2388"/>
                <a:gd name="T89" fmla="*/ 2098 h 2123"/>
                <a:gd name="T90" fmla="*/ 529 w 2388"/>
                <a:gd name="T91" fmla="*/ 2087 h 2123"/>
                <a:gd name="T92" fmla="*/ 1113 w 2388"/>
                <a:gd name="T93" fmla="*/ 1513 h 2123"/>
                <a:gd name="T94" fmla="*/ 934 w 2388"/>
                <a:gd name="T95" fmla="*/ 1309 h 2123"/>
                <a:gd name="T96" fmla="*/ 327 w 2388"/>
                <a:gd name="T97" fmla="*/ 1897 h 2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88" h="2123">
                  <a:moveTo>
                    <a:pt x="374" y="687"/>
                  </a:moveTo>
                  <a:cubicBezTo>
                    <a:pt x="485" y="600"/>
                    <a:pt x="577" y="660"/>
                    <a:pt x="700" y="802"/>
                  </a:cubicBezTo>
                  <a:cubicBezTo>
                    <a:pt x="714" y="818"/>
                    <a:pt x="732" y="800"/>
                    <a:pt x="743" y="790"/>
                  </a:cubicBezTo>
                  <a:cubicBezTo>
                    <a:pt x="753" y="781"/>
                    <a:pt x="916" y="635"/>
                    <a:pt x="924" y="628"/>
                  </a:cubicBezTo>
                  <a:cubicBezTo>
                    <a:pt x="931" y="621"/>
                    <a:pt x="941" y="608"/>
                    <a:pt x="928" y="594"/>
                  </a:cubicBezTo>
                  <a:cubicBezTo>
                    <a:pt x="916" y="579"/>
                    <a:pt x="870" y="519"/>
                    <a:pt x="840" y="480"/>
                  </a:cubicBezTo>
                  <a:cubicBezTo>
                    <a:pt x="625" y="199"/>
                    <a:pt x="1429" y="8"/>
                    <a:pt x="1305" y="5"/>
                  </a:cubicBezTo>
                  <a:cubicBezTo>
                    <a:pt x="1243" y="3"/>
                    <a:pt x="990" y="0"/>
                    <a:pt x="953" y="4"/>
                  </a:cubicBezTo>
                  <a:cubicBezTo>
                    <a:pt x="800" y="20"/>
                    <a:pt x="608" y="163"/>
                    <a:pt x="512" y="230"/>
                  </a:cubicBezTo>
                  <a:cubicBezTo>
                    <a:pt x="385" y="316"/>
                    <a:pt x="338" y="367"/>
                    <a:pt x="330" y="374"/>
                  </a:cubicBezTo>
                  <a:cubicBezTo>
                    <a:pt x="295" y="405"/>
                    <a:pt x="325" y="477"/>
                    <a:pt x="260" y="534"/>
                  </a:cubicBezTo>
                  <a:cubicBezTo>
                    <a:pt x="191" y="594"/>
                    <a:pt x="149" y="549"/>
                    <a:pt x="109" y="583"/>
                  </a:cubicBezTo>
                  <a:cubicBezTo>
                    <a:pt x="89" y="601"/>
                    <a:pt x="34" y="642"/>
                    <a:pt x="19" y="656"/>
                  </a:cubicBezTo>
                  <a:cubicBezTo>
                    <a:pt x="3" y="669"/>
                    <a:pt x="0" y="693"/>
                    <a:pt x="16" y="712"/>
                  </a:cubicBezTo>
                  <a:cubicBezTo>
                    <a:pt x="16" y="712"/>
                    <a:pt x="167" y="878"/>
                    <a:pt x="179" y="893"/>
                  </a:cubicBezTo>
                  <a:cubicBezTo>
                    <a:pt x="192" y="907"/>
                    <a:pt x="226" y="920"/>
                    <a:pt x="247" y="901"/>
                  </a:cubicBezTo>
                  <a:cubicBezTo>
                    <a:pt x="268" y="882"/>
                    <a:pt x="322" y="835"/>
                    <a:pt x="331" y="827"/>
                  </a:cubicBezTo>
                  <a:cubicBezTo>
                    <a:pt x="340" y="819"/>
                    <a:pt x="325" y="724"/>
                    <a:pt x="374" y="687"/>
                  </a:cubicBezTo>
                  <a:close/>
                  <a:moveTo>
                    <a:pt x="1053" y="748"/>
                  </a:moveTo>
                  <a:cubicBezTo>
                    <a:pt x="1039" y="732"/>
                    <a:pt x="1021" y="731"/>
                    <a:pt x="1006" y="745"/>
                  </a:cubicBezTo>
                  <a:cubicBezTo>
                    <a:pt x="835" y="894"/>
                    <a:pt x="835" y="894"/>
                    <a:pt x="835" y="894"/>
                  </a:cubicBezTo>
                  <a:cubicBezTo>
                    <a:pt x="822" y="906"/>
                    <a:pt x="820" y="928"/>
                    <a:pt x="832" y="942"/>
                  </a:cubicBezTo>
                  <a:cubicBezTo>
                    <a:pt x="1819" y="2065"/>
                    <a:pt x="1819" y="2065"/>
                    <a:pt x="1819" y="2065"/>
                  </a:cubicBezTo>
                  <a:cubicBezTo>
                    <a:pt x="1843" y="2092"/>
                    <a:pt x="1883" y="2095"/>
                    <a:pt x="1909" y="2072"/>
                  </a:cubicBezTo>
                  <a:cubicBezTo>
                    <a:pt x="2024" y="1975"/>
                    <a:pt x="2024" y="1975"/>
                    <a:pt x="2024" y="1975"/>
                  </a:cubicBezTo>
                  <a:cubicBezTo>
                    <a:pt x="2051" y="1952"/>
                    <a:pt x="2054" y="1911"/>
                    <a:pt x="2031" y="1885"/>
                  </a:cubicBezTo>
                  <a:lnTo>
                    <a:pt x="1053" y="748"/>
                  </a:lnTo>
                  <a:close/>
                  <a:moveTo>
                    <a:pt x="2370" y="270"/>
                  </a:moveTo>
                  <a:cubicBezTo>
                    <a:pt x="2361" y="211"/>
                    <a:pt x="2331" y="223"/>
                    <a:pt x="2315" y="248"/>
                  </a:cubicBezTo>
                  <a:cubicBezTo>
                    <a:pt x="2299" y="273"/>
                    <a:pt x="2229" y="380"/>
                    <a:pt x="2200" y="428"/>
                  </a:cubicBezTo>
                  <a:cubicBezTo>
                    <a:pt x="2172" y="475"/>
                    <a:pt x="2101" y="569"/>
                    <a:pt x="1970" y="476"/>
                  </a:cubicBezTo>
                  <a:cubicBezTo>
                    <a:pt x="1833" y="380"/>
                    <a:pt x="1881" y="313"/>
                    <a:pt x="1905" y="267"/>
                  </a:cubicBezTo>
                  <a:cubicBezTo>
                    <a:pt x="1928" y="222"/>
                    <a:pt x="2002" y="94"/>
                    <a:pt x="2012" y="78"/>
                  </a:cubicBezTo>
                  <a:cubicBezTo>
                    <a:pt x="2023" y="62"/>
                    <a:pt x="2011" y="15"/>
                    <a:pt x="1968" y="35"/>
                  </a:cubicBezTo>
                  <a:cubicBezTo>
                    <a:pt x="1926" y="54"/>
                    <a:pt x="1668" y="157"/>
                    <a:pt x="1632" y="304"/>
                  </a:cubicBezTo>
                  <a:cubicBezTo>
                    <a:pt x="1596" y="453"/>
                    <a:pt x="1663" y="587"/>
                    <a:pt x="1531" y="720"/>
                  </a:cubicBezTo>
                  <a:cubicBezTo>
                    <a:pt x="1371" y="886"/>
                    <a:pt x="1371" y="886"/>
                    <a:pt x="1371" y="886"/>
                  </a:cubicBezTo>
                  <a:cubicBezTo>
                    <a:pt x="1532" y="1073"/>
                    <a:pt x="1532" y="1073"/>
                    <a:pt x="1532" y="1073"/>
                  </a:cubicBezTo>
                  <a:cubicBezTo>
                    <a:pt x="1729" y="886"/>
                    <a:pt x="1729" y="886"/>
                    <a:pt x="1729" y="886"/>
                  </a:cubicBezTo>
                  <a:cubicBezTo>
                    <a:pt x="1776" y="839"/>
                    <a:pt x="1876" y="793"/>
                    <a:pt x="1967" y="814"/>
                  </a:cubicBezTo>
                  <a:cubicBezTo>
                    <a:pt x="2161" y="858"/>
                    <a:pt x="2267" y="785"/>
                    <a:pt x="2331" y="664"/>
                  </a:cubicBezTo>
                  <a:cubicBezTo>
                    <a:pt x="2388" y="556"/>
                    <a:pt x="2379" y="329"/>
                    <a:pt x="2370" y="270"/>
                  </a:cubicBezTo>
                  <a:close/>
                  <a:moveTo>
                    <a:pt x="327" y="1897"/>
                  </a:moveTo>
                  <a:cubicBezTo>
                    <a:pt x="302" y="1922"/>
                    <a:pt x="302" y="1962"/>
                    <a:pt x="327" y="1987"/>
                  </a:cubicBezTo>
                  <a:cubicBezTo>
                    <a:pt x="440" y="2098"/>
                    <a:pt x="440" y="2098"/>
                    <a:pt x="440" y="2098"/>
                  </a:cubicBezTo>
                  <a:cubicBezTo>
                    <a:pt x="465" y="2123"/>
                    <a:pt x="504" y="2112"/>
                    <a:pt x="529" y="2087"/>
                  </a:cubicBezTo>
                  <a:cubicBezTo>
                    <a:pt x="1113" y="1513"/>
                    <a:pt x="1113" y="1513"/>
                    <a:pt x="1113" y="1513"/>
                  </a:cubicBezTo>
                  <a:cubicBezTo>
                    <a:pt x="934" y="1309"/>
                    <a:pt x="934" y="1309"/>
                    <a:pt x="934" y="1309"/>
                  </a:cubicBezTo>
                  <a:lnTo>
                    <a:pt x="327" y="1897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9060" tIns="49530" rIns="99060" bIns="49530" numCol="1" anchor="t" anchorCtr="0" compatLnSpc="1">
              <a:prstTxWarp prst="textNoShape">
                <a:avLst/>
              </a:prstTxWarp>
            </a:bodyPr>
            <a:lstStyle/>
            <a:p>
              <a:endParaRPr lang="en-US" sz="1716" dirty="0">
                <a:latin typeface="PT Sans" panose="020B0503020203020204" pitchFamily="34" charset="0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4111628" y="2890535"/>
            <a:ext cx="898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Marca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111628" y="2359940"/>
            <a:ext cx="898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</a:rPr>
              <a:t>Incritos</a:t>
            </a:r>
            <a:endParaRPr lang="en-US" sz="10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111628" y="1823468"/>
            <a:ext cx="8985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Redes </a:t>
            </a: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</a:rPr>
              <a:t>Sociais</a:t>
            </a:r>
            <a:endParaRPr lang="en-US" sz="10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959043" y="2199764"/>
            <a:ext cx="1588055" cy="461282"/>
            <a:chOff x="6959043" y="2199764"/>
            <a:chExt cx="1588055" cy="461282"/>
          </a:xfrm>
        </p:grpSpPr>
        <p:sp>
          <p:nvSpPr>
            <p:cNvPr id="53" name="TextBox 52"/>
            <p:cNvSpPr txBox="1"/>
            <p:nvPr/>
          </p:nvSpPr>
          <p:spPr>
            <a:xfrm>
              <a:off x="6959058" y="2199764"/>
              <a:ext cx="15879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959043" y="2376737"/>
              <a:ext cx="158805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959043" y="3232179"/>
            <a:ext cx="1588055" cy="461282"/>
            <a:chOff x="6959043" y="3232179"/>
            <a:chExt cx="1588055" cy="461282"/>
          </a:xfrm>
        </p:grpSpPr>
        <p:sp>
          <p:nvSpPr>
            <p:cNvPr id="57" name="TextBox 56"/>
            <p:cNvSpPr txBox="1"/>
            <p:nvPr/>
          </p:nvSpPr>
          <p:spPr>
            <a:xfrm>
              <a:off x="6959058" y="3232179"/>
              <a:ext cx="15879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959043" y="3409152"/>
              <a:ext cx="158805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92765" y="2959784"/>
            <a:ext cx="1588055" cy="460064"/>
            <a:chOff x="592765" y="2959784"/>
            <a:chExt cx="1588055" cy="460064"/>
          </a:xfrm>
        </p:grpSpPr>
        <p:sp>
          <p:nvSpPr>
            <p:cNvPr id="60" name="TextBox 59"/>
            <p:cNvSpPr txBox="1"/>
            <p:nvPr/>
          </p:nvSpPr>
          <p:spPr>
            <a:xfrm>
              <a:off x="592780" y="2959784"/>
              <a:ext cx="15879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92765" y="3136757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92765" y="1706248"/>
            <a:ext cx="1588055" cy="460064"/>
            <a:chOff x="592765" y="1706248"/>
            <a:chExt cx="1588055" cy="460064"/>
          </a:xfrm>
        </p:grpSpPr>
        <p:sp>
          <p:nvSpPr>
            <p:cNvPr id="64" name="TextBox 63"/>
            <p:cNvSpPr txBox="1"/>
            <p:nvPr/>
          </p:nvSpPr>
          <p:spPr>
            <a:xfrm>
              <a:off x="592780" y="1706248"/>
              <a:ext cx="15879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92765" y="1883221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sp>
        <p:nvSpPr>
          <p:cNvPr id="8" name="Oval 7"/>
          <p:cNvSpPr/>
          <p:nvPr/>
        </p:nvSpPr>
        <p:spPr>
          <a:xfrm>
            <a:off x="4025682" y="3193616"/>
            <a:ext cx="1092636" cy="109263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2" name="TextBox 41"/>
          <p:cNvSpPr txBox="1"/>
          <p:nvPr/>
        </p:nvSpPr>
        <p:spPr>
          <a:xfrm>
            <a:off x="4111628" y="3586044"/>
            <a:ext cx="8985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</a:rPr>
              <a:t>Valores</a:t>
            </a: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 de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Marca</a:t>
            </a:r>
          </a:p>
        </p:txBody>
      </p:sp>
    </p:spTree>
    <p:extLst>
      <p:ext uri="{BB962C8B-B14F-4D97-AF65-F5344CB8AC3E}">
        <p14:creationId xmlns:p14="http://schemas.microsoft.com/office/powerpoint/2010/main" val="126767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IDENTIDADE</a:t>
            </a:r>
            <a:r>
              <a:rPr lang="en-US" dirty="0"/>
              <a:t> DO CLIENT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68" name="Group 67"/>
          <p:cNvGrpSpPr/>
          <p:nvPr/>
        </p:nvGrpSpPr>
        <p:grpSpPr>
          <a:xfrm>
            <a:off x="4889855" y="1458094"/>
            <a:ext cx="3280478" cy="2933260"/>
            <a:chOff x="5004156" y="1530015"/>
            <a:chExt cx="3119610" cy="2789418"/>
          </a:xfrm>
        </p:grpSpPr>
        <p:cxnSp>
          <p:nvCxnSpPr>
            <p:cNvPr id="43" name="Straight Connector 42"/>
            <p:cNvCxnSpPr/>
            <p:nvPr/>
          </p:nvCxnSpPr>
          <p:spPr>
            <a:xfrm>
              <a:off x="6108148" y="2153867"/>
              <a:ext cx="130553" cy="2169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H="1">
              <a:off x="6895480" y="2153867"/>
              <a:ext cx="130553" cy="2169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H="1">
              <a:off x="6108148" y="3482031"/>
              <a:ext cx="130553" cy="2169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6895480" y="3482031"/>
              <a:ext cx="130553" cy="216974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8" idx="6"/>
            </p:cNvCxnSpPr>
            <p:nvPr/>
          </p:nvCxnSpPr>
          <p:spPr>
            <a:xfrm>
              <a:off x="5674346" y="2924724"/>
              <a:ext cx="243512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>
              <a:stCxn id="47" idx="2"/>
            </p:cNvCxnSpPr>
            <p:nvPr/>
          </p:nvCxnSpPr>
          <p:spPr>
            <a:xfrm flipH="1">
              <a:off x="7211920" y="2924724"/>
              <a:ext cx="241656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Freeform 15"/>
            <p:cNvSpPr>
              <a:spLocks/>
            </p:cNvSpPr>
            <p:nvPr/>
          </p:nvSpPr>
          <p:spPr bwMode="auto">
            <a:xfrm>
              <a:off x="5929994" y="2176242"/>
              <a:ext cx="1294062" cy="1494275"/>
            </a:xfrm>
            <a:custGeom>
              <a:avLst/>
              <a:gdLst>
                <a:gd name="T0" fmla="*/ 3180 w 3180"/>
                <a:gd name="T1" fmla="*/ 2754 h 3672"/>
                <a:gd name="T2" fmla="*/ 3180 w 3180"/>
                <a:gd name="T3" fmla="*/ 918 h 3672"/>
                <a:gd name="T4" fmla="*/ 1590 w 3180"/>
                <a:gd name="T5" fmla="*/ 0 h 3672"/>
                <a:gd name="T6" fmla="*/ 0 w 3180"/>
                <a:gd name="T7" fmla="*/ 918 h 3672"/>
                <a:gd name="T8" fmla="*/ 0 w 3180"/>
                <a:gd name="T9" fmla="*/ 2754 h 3672"/>
                <a:gd name="T10" fmla="*/ 1590 w 3180"/>
                <a:gd name="T11" fmla="*/ 3672 h 3672"/>
                <a:gd name="T12" fmla="*/ 3180 w 3180"/>
                <a:gd name="T13" fmla="*/ 2754 h 3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80" h="3672">
                  <a:moveTo>
                    <a:pt x="3180" y="2754"/>
                  </a:moveTo>
                  <a:lnTo>
                    <a:pt x="3180" y="918"/>
                  </a:lnTo>
                  <a:lnTo>
                    <a:pt x="1590" y="0"/>
                  </a:lnTo>
                  <a:lnTo>
                    <a:pt x="0" y="918"/>
                  </a:lnTo>
                  <a:lnTo>
                    <a:pt x="0" y="2754"/>
                  </a:lnTo>
                  <a:lnTo>
                    <a:pt x="1590" y="3672"/>
                  </a:lnTo>
                  <a:lnTo>
                    <a:pt x="3180" y="2754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0" name="Oval 29"/>
            <p:cNvSpPr/>
            <p:nvPr/>
          </p:nvSpPr>
          <p:spPr>
            <a:xfrm>
              <a:off x="5621920" y="1530015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1" name="Oval 30"/>
            <p:cNvSpPr/>
            <p:nvPr/>
          </p:nvSpPr>
          <p:spPr>
            <a:xfrm>
              <a:off x="6835812" y="1530015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2" name="Oval 31"/>
            <p:cNvSpPr/>
            <p:nvPr/>
          </p:nvSpPr>
          <p:spPr>
            <a:xfrm>
              <a:off x="5621920" y="3649243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3" name="Oval 32"/>
            <p:cNvSpPr/>
            <p:nvPr/>
          </p:nvSpPr>
          <p:spPr>
            <a:xfrm>
              <a:off x="6835812" y="3649243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4" name="Freeform 110"/>
            <p:cNvSpPr>
              <a:spLocks noEditPoints="1"/>
            </p:cNvSpPr>
            <p:nvPr/>
          </p:nvSpPr>
          <p:spPr bwMode="auto">
            <a:xfrm>
              <a:off x="6277679" y="2690966"/>
              <a:ext cx="574418" cy="470939"/>
            </a:xfrm>
            <a:custGeom>
              <a:avLst/>
              <a:gdLst>
                <a:gd name="T0" fmla="*/ 68 w 353"/>
                <a:gd name="T1" fmla="*/ 173 h 289"/>
                <a:gd name="T2" fmla="*/ 55 w 353"/>
                <a:gd name="T3" fmla="*/ 131 h 289"/>
                <a:gd name="T4" fmla="*/ 55 w 353"/>
                <a:gd name="T5" fmla="*/ 117 h 289"/>
                <a:gd name="T6" fmla="*/ 49 w 353"/>
                <a:gd name="T7" fmla="*/ 75 h 289"/>
                <a:gd name="T8" fmla="*/ 69 w 353"/>
                <a:gd name="T9" fmla="*/ 52 h 289"/>
                <a:gd name="T10" fmla="*/ 98 w 353"/>
                <a:gd name="T11" fmla="*/ 50 h 289"/>
                <a:gd name="T12" fmla="*/ 103 w 353"/>
                <a:gd name="T13" fmla="*/ 35 h 289"/>
                <a:gd name="T14" fmla="*/ 61 w 353"/>
                <a:gd name="T15" fmla="*/ 39 h 289"/>
                <a:gd name="T16" fmla="*/ 40 w 353"/>
                <a:gd name="T17" fmla="*/ 113 h 289"/>
                <a:gd name="T18" fmla="*/ 52 w 353"/>
                <a:gd name="T19" fmla="*/ 173 h 289"/>
                <a:gd name="T20" fmla="*/ 0 w 353"/>
                <a:gd name="T21" fmla="*/ 249 h 289"/>
                <a:gd name="T22" fmla="*/ 43 w 353"/>
                <a:gd name="T23" fmla="*/ 257 h 289"/>
                <a:gd name="T24" fmla="*/ 16 w 353"/>
                <a:gd name="T25" fmla="*/ 241 h 289"/>
                <a:gd name="T26" fmla="*/ 319 w 353"/>
                <a:gd name="T27" fmla="*/ 201 h 289"/>
                <a:gd name="T28" fmla="*/ 311 w 353"/>
                <a:gd name="T29" fmla="*/ 140 h 289"/>
                <a:gd name="T30" fmla="*/ 318 w 353"/>
                <a:gd name="T31" fmla="*/ 69 h 289"/>
                <a:gd name="T32" fmla="*/ 265 w 353"/>
                <a:gd name="T33" fmla="*/ 32 h 289"/>
                <a:gd name="T34" fmla="*/ 253 w 353"/>
                <a:gd name="T35" fmla="*/ 51 h 289"/>
                <a:gd name="T36" fmla="*/ 265 w 353"/>
                <a:gd name="T37" fmla="*/ 48 h 289"/>
                <a:gd name="T38" fmla="*/ 285 w 353"/>
                <a:gd name="T39" fmla="*/ 53 h 289"/>
                <a:gd name="T40" fmla="*/ 298 w 353"/>
                <a:gd name="T41" fmla="*/ 106 h 289"/>
                <a:gd name="T42" fmla="*/ 298 w 353"/>
                <a:gd name="T43" fmla="*/ 131 h 289"/>
                <a:gd name="T44" fmla="*/ 297 w 353"/>
                <a:gd name="T45" fmla="*/ 132 h 289"/>
                <a:gd name="T46" fmla="*/ 314 w 353"/>
                <a:gd name="T47" fmla="*/ 216 h 289"/>
                <a:gd name="T48" fmla="*/ 301 w 353"/>
                <a:gd name="T49" fmla="*/ 241 h 289"/>
                <a:gd name="T50" fmla="*/ 345 w 353"/>
                <a:gd name="T51" fmla="*/ 257 h 289"/>
                <a:gd name="T52" fmla="*/ 319 w 353"/>
                <a:gd name="T53" fmla="*/ 201 h 289"/>
                <a:gd name="T54" fmla="*/ 211 w 353"/>
                <a:gd name="T55" fmla="*/ 181 h 289"/>
                <a:gd name="T56" fmla="*/ 231 w 353"/>
                <a:gd name="T57" fmla="*/ 105 h 289"/>
                <a:gd name="T58" fmla="*/ 209 w 353"/>
                <a:gd name="T59" fmla="*/ 5 h 289"/>
                <a:gd name="T60" fmla="*/ 152 w 353"/>
                <a:gd name="T61" fmla="*/ 9 h 289"/>
                <a:gd name="T62" fmla="*/ 122 w 353"/>
                <a:gd name="T63" fmla="*/ 104 h 289"/>
                <a:gd name="T64" fmla="*/ 141 w 353"/>
                <a:gd name="T65" fmla="*/ 181 h 289"/>
                <a:gd name="T66" fmla="*/ 56 w 353"/>
                <a:gd name="T67" fmla="*/ 281 h 289"/>
                <a:gd name="T68" fmla="*/ 289 w 353"/>
                <a:gd name="T69" fmla="*/ 289 h 289"/>
                <a:gd name="T70" fmla="*/ 240 w 353"/>
                <a:gd name="T71" fmla="*/ 218 h 289"/>
                <a:gd name="T72" fmla="*/ 116 w 353"/>
                <a:gd name="T73" fmla="*/ 234 h 289"/>
                <a:gd name="T74" fmla="*/ 157 w 353"/>
                <a:gd name="T75" fmla="*/ 181 h 289"/>
                <a:gd name="T76" fmla="*/ 137 w 353"/>
                <a:gd name="T77" fmla="*/ 129 h 289"/>
                <a:gd name="T78" fmla="*/ 137 w 353"/>
                <a:gd name="T79" fmla="*/ 97 h 289"/>
                <a:gd name="T80" fmla="*/ 159 w 353"/>
                <a:gd name="T81" fmla="*/ 23 h 289"/>
                <a:gd name="T82" fmla="*/ 186 w 353"/>
                <a:gd name="T83" fmla="*/ 16 h 289"/>
                <a:gd name="T84" fmla="*/ 217 w 353"/>
                <a:gd name="T85" fmla="*/ 44 h 289"/>
                <a:gd name="T86" fmla="*/ 215 w 353"/>
                <a:gd name="T87" fmla="*/ 108 h 289"/>
                <a:gd name="T88" fmla="*/ 213 w 353"/>
                <a:gd name="T89" fmla="*/ 132 h 289"/>
                <a:gd name="T90" fmla="*/ 235 w 353"/>
                <a:gd name="T91" fmla="*/ 234 h 289"/>
                <a:gd name="T92" fmla="*/ 280 w 353"/>
                <a:gd name="T93" fmla="*/ 27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289">
                  <a:moveTo>
                    <a:pt x="38" y="216"/>
                  </a:moveTo>
                  <a:cubicBezTo>
                    <a:pt x="49" y="213"/>
                    <a:pt x="68" y="201"/>
                    <a:pt x="68" y="173"/>
                  </a:cubicBezTo>
                  <a:cubicBezTo>
                    <a:pt x="68" y="148"/>
                    <a:pt x="60" y="138"/>
                    <a:pt x="55" y="132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4" y="130"/>
                    <a:pt x="53" y="126"/>
                    <a:pt x="55" y="117"/>
                  </a:cubicBezTo>
                  <a:cubicBezTo>
                    <a:pt x="56" y="113"/>
                    <a:pt x="56" y="109"/>
                    <a:pt x="54" y="106"/>
                  </a:cubicBezTo>
                  <a:cubicBezTo>
                    <a:pt x="51" y="99"/>
                    <a:pt x="45" y="85"/>
                    <a:pt x="49" y="75"/>
                  </a:cubicBezTo>
                  <a:cubicBezTo>
                    <a:pt x="56" y="58"/>
                    <a:pt x="59" y="57"/>
                    <a:pt x="67" y="53"/>
                  </a:cubicBezTo>
                  <a:cubicBezTo>
                    <a:pt x="68" y="53"/>
                    <a:pt x="69" y="53"/>
                    <a:pt x="69" y="52"/>
                  </a:cubicBezTo>
                  <a:cubicBezTo>
                    <a:pt x="71" y="51"/>
                    <a:pt x="79" y="48"/>
                    <a:pt x="88" y="48"/>
                  </a:cubicBezTo>
                  <a:cubicBezTo>
                    <a:pt x="92" y="48"/>
                    <a:pt x="95" y="49"/>
                    <a:pt x="98" y="50"/>
                  </a:cubicBezTo>
                  <a:cubicBezTo>
                    <a:pt x="98" y="47"/>
                    <a:pt x="99" y="45"/>
                    <a:pt x="100" y="42"/>
                  </a:cubicBezTo>
                  <a:cubicBezTo>
                    <a:pt x="101" y="39"/>
                    <a:pt x="102" y="37"/>
                    <a:pt x="103" y="35"/>
                  </a:cubicBezTo>
                  <a:cubicBezTo>
                    <a:pt x="98" y="33"/>
                    <a:pt x="93" y="32"/>
                    <a:pt x="88" y="32"/>
                  </a:cubicBezTo>
                  <a:cubicBezTo>
                    <a:pt x="76" y="32"/>
                    <a:pt x="65" y="36"/>
                    <a:pt x="61" y="39"/>
                  </a:cubicBezTo>
                  <a:cubicBezTo>
                    <a:pt x="48" y="44"/>
                    <a:pt x="42" y="50"/>
                    <a:pt x="34" y="69"/>
                  </a:cubicBezTo>
                  <a:cubicBezTo>
                    <a:pt x="27" y="86"/>
                    <a:pt x="36" y="104"/>
                    <a:pt x="40" y="113"/>
                  </a:cubicBezTo>
                  <a:cubicBezTo>
                    <a:pt x="35" y="133"/>
                    <a:pt x="42" y="140"/>
                    <a:pt x="42" y="140"/>
                  </a:cubicBezTo>
                  <a:cubicBezTo>
                    <a:pt x="45" y="145"/>
                    <a:pt x="52" y="153"/>
                    <a:pt x="52" y="173"/>
                  </a:cubicBezTo>
                  <a:cubicBezTo>
                    <a:pt x="52" y="197"/>
                    <a:pt x="34" y="201"/>
                    <a:pt x="34" y="201"/>
                  </a:cubicBezTo>
                  <a:cubicBezTo>
                    <a:pt x="19" y="206"/>
                    <a:pt x="0" y="217"/>
                    <a:pt x="0" y="249"/>
                  </a:cubicBezTo>
                  <a:cubicBezTo>
                    <a:pt x="0" y="249"/>
                    <a:pt x="0" y="257"/>
                    <a:pt x="8" y="257"/>
                  </a:cubicBezTo>
                  <a:cubicBezTo>
                    <a:pt x="43" y="257"/>
                    <a:pt x="43" y="257"/>
                    <a:pt x="43" y="257"/>
                  </a:cubicBezTo>
                  <a:cubicBezTo>
                    <a:pt x="45" y="251"/>
                    <a:pt x="48" y="245"/>
                    <a:pt x="51" y="24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9" y="225"/>
                    <a:pt x="28" y="220"/>
                    <a:pt x="38" y="216"/>
                  </a:cubicBezTo>
                  <a:moveTo>
                    <a:pt x="319" y="201"/>
                  </a:moveTo>
                  <a:cubicBezTo>
                    <a:pt x="319" y="201"/>
                    <a:pt x="301" y="197"/>
                    <a:pt x="301" y="173"/>
                  </a:cubicBezTo>
                  <a:cubicBezTo>
                    <a:pt x="301" y="153"/>
                    <a:pt x="307" y="145"/>
                    <a:pt x="311" y="140"/>
                  </a:cubicBezTo>
                  <a:cubicBezTo>
                    <a:pt x="311" y="140"/>
                    <a:pt x="318" y="133"/>
                    <a:pt x="312" y="113"/>
                  </a:cubicBezTo>
                  <a:cubicBezTo>
                    <a:pt x="317" y="104"/>
                    <a:pt x="325" y="86"/>
                    <a:pt x="318" y="69"/>
                  </a:cubicBezTo>
                  <a:cubicBezTo>
                    <a:pt x="310" y="50"/>
                    <a:pt x="304" y="44"/>
                    <a:pt x="292" y="39"/>
                  </a:cubicBezTo>
                  <a:cubicBezTo>
                    <a:pt x="287" y="36"/>
                    <a:pt x="276" y="32"/>
                    <a:pt x="265" y="32"/>
                  </a:cubicBezTo>
                  <a:cubicBezTo>
                    <a:pt x="259" y="32"/>
                    <a:pt x="254" y="33"/>
                    <a:pt x="248" y="35"/>
                  </a:cubicBezTo>
                  <a:cubicBezTo>
                    <a:pt x="250" y="40"/>
                    <a:pt x="252" y="46"/>
                    <a:pt x="253" y="51"/>
                  </a:cubicBezTo>
                  <a:cubicBezTo>
                    <a:pt x="254" y="51"/>
                    <a:pt x="254" y="50"/>
                    <a:pt x="254" y="50"/>
                  </a:cubicBezTo>
                  <a:cubicBezTo>
                    <a:pt x="257" y="49"/>
                    <a:pt x="260" y="48"/>
                    <a:pt x="265" y="48"/>
                  </a:cubicBezTo>
                  <a:cubicBezTo>
                    <a:pt x="273" y="48"/>
                    <a:pt x="281" y="51"/>
                    <a:pt x="283" y="52"/>
                  </a:cubicBezTo>
                  <a:cubicBezTo>
                    <a:pt x="284" y="53"/>
                    <a:pt x="284" y="53"/>
                    <a:pt x="285" y="53"/>
                  </a:cubicBezTo>
                  <a:cubicBezTo>
                    <a:pt x="293" y="57"/>
                    <a:pt x="296" y="58"/>
                    <a:pt x="303" y="75"/>
                  </a:cubicBezTo>
                  <a:cubicBezTo>
                    <a:pt x="307" y="85"/>
                    <a:pt x="301" y="99"/>
                    <a:pt x="298" y="106"/>
                  </a:cubicBezTo>
                  <a:cubicBezTo>
                    <a:pt x="297" y="109"/>
                    <a:pt x="296" y="113"/>
                    <a:pt x="297" y="117"/>
                  </a:cubicBezTo>
                  <a:cubicBezTo>
                    <a:pt x="299" y="126"/>
                    <a:pt x="298" y="130"/>
                    <a:pt x="298" y="131"/>
                  </a:cubicBezTo>
                  <a:cubicBezTo>
                    <a:pt x="298" y="131"/>
                    <a:pt x="298" y="131"/>
                    <a:pt x="298" y="131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3" y="138"/>
                    <a:pt x="285" y="148"/>
                    <a:pt x="285" y="173"/>
                  </a:cubicBezTo>
                  <a:cubicBezTo>
                    <a:pt x="285" y="201"/>
                    <a:pt x="303" y="213"/>
                    <a:pt x="314" y="216"/>
                  </a:cubicBezTo>
                  <a:cubicBezTo>
                    <a:pt x="324" y="220"/>
                    <a:pt x="334" y="225"/>
                    <a:pt x="336" y="241"/>
                  </a:cubicBezTo>
                  <a:cubicBezTo>
                    <a:pt x="301" y="241"/>
                    <a:pt x="301" y="241"/>
                    <a:pt x="301" y="241"/>
                  </a:cubicBezTo>
                  <a:cubicBezTo>
                    <a:pt x="304" y="245"/>
                    <a:pt x="307" y="251"/>
                    <a:pt x="309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53" y="257"/>
                    <a:pt x="353" y="249"/>
                    <a:pt x="353" y="249"/>
                  </a:cubicBezTo>
                  <a:cubicBezTo>
                    <a:pt x="353" y="217"/>
                    <a:pt x="333" y="206"/>
                    <a:pt x="319" y="201"/>
                  </a:cubicBezTo>
                  <a:moveTo>
                    <a:pt x="240" y="218"/>
                  </a:moveTo>
                  <a:cubicBezTo>
                    <a:pt x="240" y="218"/>
                    <a:pt x="211" y="211"/>
                    <a:pt x="211" y="181"/>
                  </a:cubicBezTo>
                  <a:cubicBezTo>
                    <a:pt x="211" y="155"/>
                    <a:pt x="223" y="146"/>
                    <a:pt x="228" y="139"/>
                  </a:cubicBezTo>
                  <a:cubicBezTo>
                    <a:pt x="228" y="139"/>
                    <a:pt x="237" y="131"/>
                    <a:pt x="231" y="105"/>
                  </a:cubicBezTo>
                  <a:cubicBezTo>
                    <a:pt x="241" y="90"/>
                    <a:pt x="245" y="66"/>
                    <a:pt x="232" y="37"/>
                  </a:cubicBezTo>
                  <a:cubicBezTo>
                    <a:pt x="225" y="20"/>
                    <a:pt x="219" y="11"/>
                    <a:pt x="209" y="5"/>
                  </a:cubicBezTo>
                  <a:cubicBezTo>
                    <a:pt x="202" y="1"/>
                    <a:pt x="194" y="0"/>
                    <a:pt x="186" y="0"/>
                  </a:cubicBezTo>
                  <a:cubicBezTo>
                    <a:pt x="172" y="0"/>
                    <a:pt x="158" y="5"/>
                    <a:pt x="152" y="9"/>
                  </a:cubicBezTo>
                  <a:cubicBezTo>
                    <a:pt x="136" y="16"/>
                    <a:pt x="125" y="22"/>
                    <a:pt x="115" y="48"/>
                  </a:cubicBezTo>
                  <a:cubicBezTo>
                    <a:pt x="107" y="69"/>
                    <a:pt x="117" y="92"/>
                    <a:pt x="122" y="104"/>
                  </a:cubicBezTo>
                  <a:cubicBezTo>
                    <a:pt x="116" y="130"/>
                    <a:pt x="125" y="139"/>
                    <a:pt x="125" y="139"/>
                  </a:cubicBezTo>
                  <a:cubicBezTo>
                    <a:pt x="129" y="146"/>
                    <a:pt x="141" y="155"/>
                    <a:pt x="141" y="181"/>
                  </a:cubicBezTo>
                  <a:cubicBezTo>
                    <a:pt x="141" y="211"/>
                    <a:pt x="112" y="218"/>
                    <a:pt x="112" y="218"/>
                  </a:cubicBezTo>
                  <a:cubicBezTo>
                    <a:pt x="94" y="225"/>
                    <a:pt x="56" y="238"/>
                    <a:pt x="56" y="281"/>
                  </a:cubicBezTo>
                  <a:cubicBezTo>
                    <a:pt x="56" y="281"/>
                    <a:pt x="56" y="289"/>
                    <a:pt x="64" y="289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97" y="289"/>
                    <a:pt x="297" y="281"/>
                    <a:pt x="297" y="281"/>
                  </a:cubicBezTo>
                  <a:cubicBezTo>
                    <a:pt x="297" y="238"/>
                    <a:pt x="258" y="225"/>
                    <a:pt x="240" y="218"/>
                  </a:cubicBezTo>
                  <a:moveTo>
                    <a:pt x="72" y="273"/>
                  </a:moveTo>
                  <a:cubicBezTo>
                    <a:pt x="76" y="250"/>
                    <a:pt x="96" y="241"/>
                    <a:pt x="116" y="234"/>
                  </a:cubicBezTo>
                  <a:cubicBezTo>
                    <a:pt x="117" y="234"/>
                    <a:pt x="117" y="234"/>
                    <a:pt x="117" y="234"/>
                  </a:cubicBezTo>
                  <a:cubicBezTo>
                    <a:pt x="131" y="230"/>
                    <a:pt x="157" y="214"/>
                    <a:pt x="157" y="181"/>
                  </a:cubicBezTo>
                  <a:cubicBezTo>
                    <a:pt x="157" y="153"/>
                    <a:pt x="146" y="140"/>
                    <a:pt x="140" y="132"/>
                  </a:cubicBezTo>
                  <a:cubicBezTo>
                    <a:pt x="138" y="131"/>
                    <a:pt x="137" y="129"/>
                    <a:pt x="137" y="129"/>
                  </a:cubicBezTo>
                  <a:cubicBezTo>
                    <a:pt x="137" y="128"/>
                    <a:pt x="134" y="122"/>
                    <a:pt x="138" y="107"/>
                  </a:cubicBezTo>
                  <a:cubicBezTo>
                    <a:pt x="139" y="100"/>
                    <a:pt x="137" y="97"/>
                    <a:pt x="137" y="97"/>
                  </a:cubicBezTo>
                  <a:cubicBezTo>
                    <a:pt x="132" y="87"/>
                    <a:pt x="124" y="69"/>
                    <a:pt x="130" y="54"/>
                  </a:cubicBezTo>
                  <a:cubicBezTo>
                    <a:pt x="138" y="33"/>
                    <a:pt x="146" y="29"/>
                    <a:pt x="159" y="23"/>
                  </a:cubicBezTo>
                  <a:cubicBezTo>
                    <a:pt x="160" y="23"/>
                    <a:pt x="160" y="22"/>
                    <a:pt x="161" y="22"/>
                  </a:cubicBezTo>
                  <a:cubicBezTo>
                    <a:pt x="164" y="20"/>
                    <a:pt x="174" y="16"/>
                    <a:pt x="186" y="16"/>
                  </a:cubicBezTo>
                  <a:cubicBezTo>
                    <a:pt x="192" y="16"/>
                    <a:pt x="197" y="17"/>
                    <a:pt x="201" y="19"/>
                  </a:cubicBezTo>
                  <a:cubicBezTo>
                    <a:pt x="206" y="22"/>
                    <a:pt x="210" y="27"/>
                    <a:pt x="217" y="44"/>
                  </a:cubicBezTo>
                  <a:cubicBezTo>
                    <a:pt x="230" y="73"/>
                    <a:pt x="222" y="89"/>
                    <a:pt x="218" y="95"/>
                  </a:cubicBezTo>
                  <a:cubicBezTo>
                    <a:pt x="215" y="99"/>
                    <a:pt x="214" y="104"/>
                    <a:pt x="215" y="108"/>
                  </a:cubicBezTo>
                  <a:cubicBezTo>
                    <a:pt x="218" y="122"/>
                    <a:pt x="216" y="127"/>
                    <a:pt x="216" y="129"/>
                  </a:cubicBezTo>
                  <a:cubicBezTo>
                    <a:pt x="216" y="129"/>
                    <a:pt x="214" y="131"/>
                    <a:pt x="213" y="132"/>
                  </a:cubicBezTo>
                  <a:cubicBezTo>
                    <a:pt x="207" y="140"/>
                    <a:pt x="195" y="153"/>
                    <a:pt x="195" y="181"/>
                  </a:cubicBezTo>
                  <a:cubicBezTo>
                    <a:pt x="195" y="214"/>
                    <a:pt x="221" y="230"/>
                    <a:pt x="235" y="234"/>
                  </a:cubicBezTo>
                  <a:cubicBezTo>
                    <a:pt x="236" y="234"/>
                    <a:pt x="236" y="234"/>
                    <a:pt x="236" y="234"/>
                  </a:cubicBezTo>
                  <a:cubicBezTo>
                    <a:pt x="256" y="241"/>
                    <a:pt x="276" y="250"/>
                    <a:pt x="280" y="273"/>
                  </a:cubicBezTo>
                  <a:lnTo>
                    <a:pt x="72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5" name="Oval 34"/>
            <p:cNvSpPr/>
            <p:nvPr/>
          </p:nvSpPr>
          <p:spPr>
            <a:xfrm>
              <a:off x="5668258" y="1576353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6" name="Oval 35"/>
            <p:cNvSpPr/>
            <p:nvPr/>
          </p:nvSpPr>
          <p:spPr>
            <a:xfrm>
              <a:off x="6882150" y="1576353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7" name="Oval 36"/>
            <p:cNvSpPr/>
            <p:nvPr/>
          </p:nvSpPr>
          <p:spPr>
            <a:xfrm>
              <a:off x="5668258" y="3695581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8" name="Oval 37"/>
            <p:cNvSpPr/>
            <p:nvPr/>
          </p:nvSpPr>
          <p:spPr>
            <a:xfrm>
              <a:off x="6882150" y="3695581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5812141" y="1708685"/>
              <a:ext cx="289748" cy="289748"/>
            </a:xfrm>
            <a:custGeom>
              <a:avLst/>
              <a:gdLst>
                <a:gd name="T0" fmla="*/ 351 w 353"/>
                <a:gd name="T1" fmla="*/ 171 h 353"/>
                <a:gd name="T2" fmla="*/ 289 w 353"/>
                <a:gd name="T3" fmla="*/ 109 h 353"/>
                <a:gd name="T4" fmla="*/ 289 w 353"/>
                <a:gd name="T5" fmla="*/ 24 h 353"/>
                <a:gd name="T6" fmla="*/ 281 w 353"/>
                <a:gd name="T7" fmla="*/ 16 h 353"/>
                <a:gd name="T8" fmla="*/ 233 w 353"/>
                <a:gd name="T9" fmla="*/ 16 h 353"/>
                <a:gd name="T10" fmla="*/ 225 w 353"/>
                <a:gd name="T11" fmla="*/ 24 h 353"/>
                <a:gd name="T12" fmla="*/ 225 w 353"/>
                <a:gd name="T13" fmla="*/ 45 h 353"/>
                <a:gd name="T14" fmla="*/ 182 w 353"/>
                <a:gd name="T15" fmla="*/ 2 h 353"/>
                <a:gd name="T16" fmla="*/ 177 w 353"/>
                <a:gd name="T17" fmla="*/ 0 h 353"/>
                <a:gd name="T18" fmla="*/ 171 w 353"/>
                <a:gd name="T19" fmla="*/ 2 h 353"/>
                <a:gd name="T20" fmla="*/ 2 w 353"/>
                <a:gd name="T21" fmla="*/ 171 h 353"/>
                <a:gd name="T22" fmla="*/ 0 w 353"/>
                <a:gd name="T23" fmla="*/ 176 h 353"/>
                <a:gd name="T24" fmla="*/ 8 w 353"/>
                <a:gd name="T25" fmla="*/ 184 h 353"/>
                <a:gd name="T26" fmla="*/ 14 w 353"/>
                <a:gd name="T27" fmla="*/ 182 h 353"/>
                <a:gd name="T28" fmla="*/ 48 w 353"/>
                <a:gd name="T29" fmla="*/ 148 h 353"/>
                <a:gd name="T30" fmla="*/ 48 w 353"/>
                <a:gd name="T31" fmla="*/ 345 h 353"/>
                <a:gd name="T32" fmla="*/ 56 w 353"/>
                <a:gd name="T33" fmla="*/ 353 h 353"/>
                <a:gd name="T34" fmla="*/ 297 w 353"/>
                <a:gd name="T35" fmla="*/ 353 h 353"/>
                <a:gd name="T36" fmla="*/ 305 w 353"/>
                <a:gd name="T37" fmla="*/ 345 h 353"/>
                <a:gd name="T38" fmla="*/ 305 w 353"/>
                <a:gd name="T39" fmla="*/ 148 h 353"/>
                <a:gd name="T40" fmla="*/ 339 w 353"/>
                <a:gd name="T41" fmla="*/ 182 h 353"/>
                <a:gd name="T42" fmla="*/ 345 w 353"/>
                <a:gd name="T43" fmla="*/ 184 h 353"/>
                <a:gd name="T44" fmla="*/ 353 w 353"/>
                <a:gd name="T45" fmla="*/ 176 h 353"/>
                <a:gd name="T46" fmla="*/ 351 w 353"/>
                <a:gd name="T47" fmla="*/ 171 h 353"/>
                <a:gd name="T48" fmla="*/ 241 w 353"/>
                <a:gd name="T49" fmla="*/ 32 h 353"/>
                <a:gd name="T50" fmla="*/ 273 w 353"/>
                <a:gd name="T51" fmla="*/ 32 h 353"/>
                <a:gd name="T52" fmla="*/ 273 w 353"/>
                <a:gd name="T53" fmla="*/ 93 h 353"/>
                <a:gd name="T54" fmla="*/ 241 w 353"/>
                <a:gd name="T55" fmla="*/ 61 h 353"/>
                <a:gd name="T56" fmla="*/ 241 w 353"/>
                <a:gd name="T57" fmla="*/ 32 h 353"/>
                <a:gd name="T58" fmla="*/ 128 w 353"/>
                <a:gd name="T59" fmla="*/ 337 h 353"/>
                <a:gd name="T60" fmla="*/ 64 w 353"/>
                <a:gd name="T61" fmla="*/ 337 h 353"/>
                <a:gd name="T62" fmla="*/ 64 w 353"/>
                <a:gd name="T63" fmla="*/ 321 h 353"/>
                <a:gd name="T64" fmla="*/ 128 w 353"/>
                <a:gd name="T65" fmla="*/ 321 h 353"/>
                <a:gd name="T66" fmla="*/ 128 w 353"/>
                <a:gd name="T67" fmla="*/ 337 h 353"/>
                <a:gd name="T68" fmla="*/ 209 w 353"/>
                <a:gd name="T69" fmla="*/ 337 h 353"/>
                <a:gd name="T70" fmla="*/ 144 w 353"/>
                <a:gd name="T71" fmla="*/ 337 h 353"/>
                <a:gd name="T72" fmla="*/ 144 w 353"/>
                <a:gd name="T73" fmla="*/ 208 h 353"/>
                <a:gd name="T74" fmla="*/ 209 w 353"/>
                <a:gd name="T75" fmla="*/ 208 h 353"/>
                <a:gd name="T76" fmla="*/ 209 w 353"/>
                <a:gd name="T77" fmla="*/ 337 h 353"/>
                <a:gd name="T78" fmla="*/ 289 w 353"/>
                <a:gd name="T79" fmla="*/ 337 h 353"/>
                <a:gd name="T80" fmla="*/ 225 w 353"/>
                <a:gd name="T81" fmla="*/ 337 h 353"/>
                <a:gd name="T82" fmla="*/ 225 w 353"/>
                <a:gd name="T83" fmla="*/ 321 h 353"/>
                <a:gd name="T84" fmla="*/ 289 w 353"/>
                <a:gd name="T85" fmla="*/ 321 h 353"/>
                <a:gd name="T86" fmla="*/ 289 w 353"/>
                <a:gd name="T87" fmla="*/ 337 h 353"/>
                <a:gd name="T88" fmla="*/ 289 w 353"/>
                <a:gd name="T89" fmla="*/ 305 h 353"/>
                <a:gd name="T90" fmla="*/ 225 w 353"/>
                <a:gd name="T91" fmla="*/ 305 h 353"/>
                <a:gd name="T92" fmla="*/ 225 w 353"/>
                <a:gd name="T93" fmla="*/ 200 h 353"/>
                <a:gd name="T94" fmla="*/ 217 w 353"/>
                <a:gd name="T95" fmla="*/ 192 h 353"/>
                <a:gd name="T96" fmla="*/ 136 w 353"/>
                <a:gd name="T97" fmla="*/ 192 h 353"/>
                <a:gd name="T98" fmla="*/ 128 w 353"/>
                <a:gd name="T99" fmla="*/ 200 h 353"/>
                <a:gd name="T100" fmla="*/ 128 w 353"/>
                <a:gd name="T101" fmla="*/ 305 h 353"/>
                <a:gd name="T102" fmla="*/ 64 w 353"/>
                <a:gd name="T103" fmla="*/ 305 h 353"/>
                <a:gd name="T104" fmla="*/ 64 w 353"/>
                <a:gd name="T105" fmla="*/ 132 h 353"/>
                <a:gd name="T106" fmla="*/ 177 w 353"/>
                <a:gd name="T107" fmla="*/ 19 h 353"/>
                <a:gd name="T108" fmla="*/ 289 w 353"/>
                <a:gd name="T109" fmla="*/ 132 h 353"/>
                <a:gd name="T110" fmla="*/ 289 w 353"/>
                <a:gd name="T111" fmla="*/ 305 h 353"/>
                <a:gd name="T112" fmla="*/ 185 w 353"/>
                <a:gd name="T113" fmla="*/ 289 h 353"/>
                <a:gd name="T114" fmla="*/ 193 w 353"/>
                <a:gd name="T115" fmla="*/ 281 h 353"/>
                <a:gd name="T116" fmla="*/ 185 w 353"/>
                <a:gd name="T117" fmla="*/ 273 h 353"/>
                <a:gd name="T118" fmla="*/ 177 w 353"/>
                <a:gd name="T119" fmla="*/ 281 h 353"/>
                <a:gd name="T120" fmla="*/ 185 w 353"/>
                <a:gd name="T121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53">
                  <a:moveTo>
                    <a:pt x="351" y="171"/>
                  </a:moveTo>
                  <a:cubicBezTo>
                    <a:pt x="289" y="109"/>
                    <a:pt x="289" y="109"/>
                    <a:pt x="289" y="109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85" y="16"/>
                    <a:pt x="281" y="16"/>
                  </a:cubicBezTo>
                  <a:cubicBezTo>
                    <a:pt x="233" y="16"/>
                    <a:pt x="233" y="16"/>
                    <a:pt x="233" y="16"/>
                  </a:cubicBezTo>
                  <a:cubicBezTo>
                    <a:pt x="228" y="16"/>
                    <a:pt x="225" y="19"/>
                    <a:pt x="225" y="24"/>
                  </a:cubicBezTo>
                  <a:cubicBezTo>
                    <a:pt x="225" y="45"/>
                    <a:pt x="225" y="45"/>
                    <a:pt x="225" y="45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1" y="1"/>
                    <a:pt x="179" y="0"/>
                    <a:pt x="177" y="0"/>
                  </a:cubicBezTo>
                  <a:cubicBezTo>
                    <a:pt x="174" y="0"/>
                    <a:pt x="172" y="1"/>
                    <a:pt x="171" y="2"/>
                  </a:cubicBezTo>
                  <a:cubicBezTo>
                    <a:pt x="2" y="171"/>
                    <a:pt x="2" y="171"/>
                    <a:pt x="2" y="171"/>
                  </a:cubicBezTo>
                  <a:cubicBezTo>
                    <a:pt x="1" y="172"/>
                    <a:pt x="0" y="174"/>
                    <a:pt x="0" y="176"/>
                  </a:cubicBezTo>
                  <a:cubicBezTo>
                    <a:pt x="0" y="181"/>
                    <a:pt x="3" y="184"/>
                    <a:pt x="8" y="184"/>
                  </a:cubicBezTo>
                  <a:cubicBezTo>
                    <a:pt x="10" y="184"/>
                    <a:pt x="12" y="184"/>
                    <a:pt x="14" y="18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8" y="345"/>
                    <a:pt x="48" y="345"/>
                    <a:pt x="48" y="345"/>
                  </a:cubicBezTo>
                  <a:cubicBezTo>
                    <a:pt x="48" y="349"/>
                    <a:pt x="52" y="353"/>
                    <a:pt x="56" y="353"/>
                  </a:cubicBezTo>
                  <a:cubicBezTo>
                    <a:pt x="297" y="353"/>
                    <a:pt x="297" y="353"/>
                    <a:pt x="297" y="353"/>
                  </a:cubicBezTo>
                  <a:cubicBezTo>
                    <a:pt x="301" y="353"/>
                    <a:pt x="305" y="349"/>
                    <a:pt x="305" y="345"/>
                  </a:cubicBezTo>
                  <a:cubicBezTo>
                    <a:pt x="305" y="148"/>
                    <a:pt x="305" y="148"/>
                    <a:pt x="305" y="148"/>
                  </a:cubicBezTo>
                  <a:cubicBezTo>
                    <a:pt x="339" y="182"/>
                    <a:pt x="339" y="182"/>
                    <a:pt x="339" y="182"/>
                  </a:cubicBezTo>
                  <a:cubicBezTo>
                    <a:pt x="341" y="184"/>
                    <a:pt x="343" y="184"/>
                    <a:pt x="345" y="184"/>
                  </a:cubicBezTo>
                  <a:cubicBezTo>
                    <a:pt x="350" y="184"/>
                    <a:pt x="353" y="181"/>
                    <a:pt x="353" y="176"/>
                  </a:cubicBezTo>
                  <a:cubicBezTo>
                    <a:pt x="353" y="174"/>
                    <a:pt x="352" y="172"/>
                    <a:pt x="351" y="171"/>
                  </a:cubicBezTo>
                  <a:moveTo>
                    <a:pt x="241" y="32"/>
                  </a:moveTo>
                  <a:cubicBezTo>
                    <a:pt x="273" y="32"/>
                    <a:pt x="273" y="32"/>
                    <a:pt x="273" y="32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41" y="61"/>
                    <a:pt x="241" y="61"/>
                    <a:pt x="241" y="61"/>
                  </a:cubicBezTo>
                  <a:lnTo>
                    <a:pt x="241" y="32"/>
                  </a:lnTo>
                  <a:close/>
                  <a:moveTo>
                    <a:pt x="128" y="337"/>
                  </a:moveTo>
                  <a:cubicBezTo>
                    <a:pt x="64" y="337"/>
                    <a:pt x="64" y="337"/>
                    <a:pt x="64" y="337"/>
                  </a:cubicBezTo>
                  <a:cubicBezTo>
                    <a:pt x="64" y="321"/>
                    <a:pt x="64" y="321"/>
                    <a:pt x="64" y="321"/>
                  </a:cubicBezTo>
                  <a:cubicBezTo>
                    <a:pt x="128" y="321"/>
                    <a:pt x="128" y="321"/>
                    <a:pt x="128" y="321"/>
                  </a:cubicBezTo>
                  <a:lnTo>
                    <a:pt x="128" y="337"/>
                  </a:lnTo>
                  <a:close/>
                  <a:moveTo>
                    <a:pt x="209" y="337"/>
                  </a:moveTo>
                  <a:cubicBezTo>
                    <a:pt x="144" y="337"/>
                    <a:pt x="144" y="337"/>
                    <a:pt x="144" y="337"/>
                  </a:cubicBezTo>
                  <a:cubicBezTo>
                    <a:pt x="144" y="208"/>
                    <a:pt x="144" y="208"/>
                    <a:pt x="144" y="208"/>
                  </a:cubicBezTo>
                  <a:cubicBezTo>
                    <a:pt x="209" y="208"/>
                    <a:pt x="209" y="208"/>
                    <a:pt x="209" y="208"/>
                  </a:cubicBezTo>
                  <a:lnTo>
                    <a:pt x="209" y="337"/>
                  </a:lnTo>
                  <a:close/>
                  <a:moveTo>
                    <a:pt x="289" y="337"/>
                  </a:moveTo>
                  <a:cubicBezTo>
                    <a:pt x="225" y="337"/>
                    <a:pt x="225" y="337"/>
                    <a:pt x="225" y="337"/>
                  </a:cubicBezTo>
                  <a:cubicBezTo>
                    <a:pt x="225" y="321"/>
                    <a:pt x="225" y="321"/>
                    <a:pt x="225" y="321"/>
                  </a:cubicBezTo>
                  <a:cubicBezTo>
                    <a:pt x="289" y="321"/>
                    <a:pt x="289" y="321"/>
                    <a:pt x="289" y="321"/>
                  </a:cubicBezTo>
                  <a:lnTo>
                    <a:pt x="289" y="337"/>
                  </a:lnTo>
                  <a:close/>
                  <a:moveTo>
                    <a:pt x="289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200"/>
                    <a:pt x="225" y="200"/>
                    <a:pt x="225" y="200"/>
                  </a:cubicBezTo>
                  <a:cubicBezTo>
                    <a:pt x="225" y="196"/>
                    <a:pt x="221" y="192"/>
                    <a:pt x="217" y="192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2" y="192"/>
                    <a:pt x="128" y="196"/>
                    <a:pt x="128" y="200"/>
                  </a:cubicBezTo>
                  <a:cubicBezTo>
                    <a:pt x="128" y="305"/>
                    <a:pt x="128" y="305"/>
                    <a:pt x="128" y="305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64" y="132"/>
                    <a:pt x="64" y="132"/>
                    <a:pt x="64" y="132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289" y="132"/>
                    <a:pt x="289" y="132"/>
                    <a:pt x="289" y="132"/>
                  </a:cubicBezTo>
                  <a:lnTo>
                    <a:pt x="289" y="305"/>
                  </a:lnTo>
                  <a:close/>
                  <a:moveTo>
                    <a:pt x="185" y="289"/>
                  </a:moveTo>
                  <a:cubicBezTo>
                    <a:pt x="189" y="289"/>
                    <a:pt x="193" y="285"/>
                    <a:pt x="193" y="281"/>
                  </a:cubicBezTo>
                  <a:cubicBezTo>
                    <a:pt x="193" y="276"/>
                    <a:pt x="189" y="273"/>
                    <a:pt x="185" y="273"/>
                  </a:cubicBezTo>
                  <a:cubicBezTo>
                    <a:pt x="180" y="273"/>
                    <a:pt x="177" y="276"/>
                    <a:pt x="177" y="281"/>
                  </a:cubicBezTo>
                  <a:cubicBezTo>
                    <a:pt x="177" y="285"/>
                    <a:pt x="180" y="289"/>
                    <a:pt x="185" y="2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0" name="Freeform 21"/>
            <p:cNvSpPr>
              <a:spLocks noEditPoints="1"/>
            </p:cNvSpPr>
            <p:nvPr/>
          </p:nvSpPr>
          <p:spPr bwMode="auto">
            <a:xfrm>
              <a:off x="5877945" y="3857052"/>
              <a:ext cx="158140" cy="289747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1" name="Freeform 22"/>
            <p:cNvSpPr>
              <a:spLocks noEditPoints="1"/>
            </p:cNvSpPr>
            <p:nvPr/>
          </p:nvSpPr>
          <p:spPr bwMode="auto">
            <a:xfrm>
              <a:off x="7065834" y="3846649"/>
              <a:ext cx="210147" cy="289747"/>
            </a:xfrm>
            <a:custGeom>
              <a:avLst/>
              <a:gdLst>
                <a:gd name="T0" fmla="*/ 129 w 257"/>
                <a:gd name="T1" fmla="*/ 313 h 353"/>
                <a:gd name="T2" fmla="*/ 121 w 257"/>
                <a:gd name="T3" fmla="*/ 321 h 353"/>
                <a:gd name="T4" fmla="*/ 129 w 257"/>
                <a:gd name="T5" fmla="*/ 329 h 353"/>
                <a:gd name="T6" fmla="*/ 137 w 257"/>
                <a:gd name="T7" fmla="*/ 321 h 353"/>
                <a:gd name="T8" fmla="*/ 129 w 257"/>
                <a:gd name="T9" fmla="*/ 313 h 353"/>
                <a:gd name="T10" fmla="*/ 121 w 257"/>
                <a:gd name="T11" fmla="*/ 40 h 353"/>
                <a:gd name="T12" fmla="*/ 137 w 257"/>
                <a:gd name="T13" fmla="*/ 40 h 353"/>
                <a:gd name="T14" fmla="*/ 145 w 257"/>
                <a:gd name="T15" fmla="*/ 32 h 353"/>
                <a:gd name="T16" fmla="*/ 137 w 257"/>
                <a:gd name="T17" fmla="*/ 24 h 353"/>
                <a:gd name="T18" fmla="*/ 121 w 257"/>
                <a:gd name="T19" fmla="*/ 24 h 353"/>
                <a:gd name="T20" fmla="*/ 113 w 257"/>
                <a:gd name="T21" fmla="*/ 32 h 353"/>
                <a:gd name="T22" fmla="*/ 121 w 257"/>
                <a:gd name="T23" fmla="*/ 40 h 353"/>
                <a:gd name="T24" fmla="*/ 32 w 257"/>
                <a:gd name="T25" fmla="*/ 305 h 353"/>
                <a:gd name="T26" fmla="*/ 225 w 257"/>
                <a:gd name="T27" fmla="*/ 305 h 353"/>
                <a:gd name="T28" fmla="*/ 225 w 257"/>
                <a:gd name="T29" fmla="*/ 48 h 353"/>
                <a:gd name="T30" fmla="*/ 32 w 257"/>
                <a:gd name="T31" fmla="*/ 48 h 353"/>
                <a:gd name="T32" fmla="*/ 32 w 257"/>
                <a:gd name="T33" fmla="*/ 305 h 353"/>
                <a:gd name="T34" fmla="*/ 49 w 257"/>
                <a:gd name="T35" fmla="*/ 64 h 353"/>
                <a:gd name="T36" fmla="*/ 209 w 257"/>
                <a:gd name="T37" fmla="*/ 64 h 353"/>
                <a:gd name="T38" fmla="*/ 209 w 257"/>
                <a:gd name="T39" fmla="*/ 289 h 353"/>
                <a:gd name="T40" fmla="*/ 49 w 257"/>
                <a:gd name="T41" fmla="*/ 289 h 353"/>
                <a:gd name="T42" fmla="*/ 49 w 257"/>
                <a:gd name="T43" fmla="*/ 64 h 353"/>
                <a:gd name="T44" fmla="*/ 225 w 257"/>
                <a:gd name="T45" fmla="*/ 0 h 353"/>
                <a:gd name="T46" fmla="*/ 32 w 257"/>
                <a:gd name="T47" fmla="*/ 0 h 353"/>
                <a:gd name="T48" fmla="*/ 0 w 257"/>
                <a:gd name="T49" fmla="*/ 32 h 353"/>
                <a:gd name="T50" fmla="*/ 0 w 257"/>
                <a:gd name="T51" fmla="*/ 321 h 353"/>
                <a:gd name="T52" fmla="*/ 32 w 257"/>
                <a:gd name="T53" fmla="*/ 353 h 353"/>
                <a:gd name="T54" fmla="*/ 225 w 257"/>
                <a:gd name="T55" fmla="*/ 353 h 353"/>
                <a:gd name="T56" fmla="*/ 257 w 257"/>
                <a:gd name="T57" fmla="*/ 321 h 353"/>
                <a:gd name="T58" fmla="*/ 257 w 257"/>
                <a:gd name="T59" fmla="*/ 32 h 353"/>
                <a:gd name="T60" fmla="*/ 225 w 257"/>
                <a:gd name="T61" fmla="*/ 0 h 353"/>
                <a:gd name="T62" fmla="*/ 241 w 257"/>
                <a:gd name="T63" fmla="*/ 321 h 353"/>
                <a:gd name="T64" fmla="*/ 225 w 257"/>
                <a:gd name="T65" fmla="*/ 337 h 353"/>
                <a:gd name="T66" fmla="*/ 32 w 257"/>
                <a:gd name="T67" fmla="*/ 337 h 353"/>
                <a:gd name="T68" fmla="*/ 16 w 257"/>
                <a:gd name="T69" fmla="*/ 321 h 353"/>
                <a:gd name="T70" fmla="*/ 16 w 257"/>
                <a:gd name="T71" fmla="*/ 32 h 353"/>
                <a:gd name="T72" fmla="*/ 32 w 257"/>
                <a:gd name="T73" fmla="*/ 16 h 353"/>
                <a:gd name="T74" fmla="*/ 225 w 257"/>
                <a:gd name="T75" fmla="*/ 16 h 353"/>
                <a:gd name="T76" fmla="*/ 241 w 257"/>
                <a:gd name="T77" fmla="*/ 32 h 353"/>
                <a:gd name="T78" fmla="*/ 241 w 257"/>
                <a:gd name="T79" fmla="*/ 3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7" h="353">
                  <a:moveTo>
                    <a:pt x="129" y="313"/>
                  </a:moveTo>
                  <a:cubicBezTo>
                    <a:pt x="124" y="313"/>
                    <a:pt x="121" y="317"/>
                    <a:pt x="121" y="321"/>
                  </a:cubicBezTo>
                  <a:cubicBezTo>
                    <a:pt x="121" y="326"/>
                    <a:pt x="124" y="329"/>
                    <a:pt x="129" y="329"/>
                  </a:cubicBezTo>
                  <a:cubicBezTo>
                    <a:pt x="133" y="329"/>
                    <a:pt x="137" y="326"/>
                    <a:pt x="137" y="321"/>
                  </a:cubicBezTo>
                  <a:cubicBezTo>
                    <a:pt x="137" y="317"/>
                    <a:pt x="133" y="313"/>
                    <a:pt x="129" y="313"/>
                  </a:cubicBezTo>
                  <a:moveTo>
                    <a:pt x="121" y="40"/>
                  </a:moveTo>
                  <a:cubicBezTo>
                    <a:pt x="137" y="40"/>
                    <a:pt x="137" y="40"/>
                    <a:pt x="137" y="40"/>
                  </a:cubicBezTo>
                  <a:cubicBezTo>
                    <a:pt x="141" y="40"/>
                    <a:pt x="145" y="37"/>
                    <a:pt x="145" y="32"/>
                  </a:cubicBezTo>
                  <a:cubicBezTo>
                    <a:pt x="145" y="28"/>
                    <a:pt x="141" y="24"/>
                    <a:pt x="137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16" y="24"/>
                    <a:pt x="113" y="28"/>
                    <a:pt x="113" y="32"/>
                  </a:cubicBezTo>
                  <a:cubicBezTo>
                    <a:pt x="113" y="37"/>
                    <a:pt x="116" y="40"/>
                    <a:pt x="121" y="40"/>
                  </a:cubicBezTo>
                  <a:moveTo>
                    <a:pt x="32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48"/>
                    <a:pt x="225" y="48"/>
                    <a:pt x="225" y="48"/>
                  </a:cubicBezTo>
                  <a:cubicBezTo>
                    <a:pt x="32" y="48"/>
                    <a:pt x="32" y="48"/>
                    <a:pt x="32" y="48"/>
                  </a:cubicBezTo>
                  <a:lnTo>
                    <a:pt x="32" y="305"/>
                  </a:lnTo>
                  <a:close/>
                  <a:moveTo>
                    <a:pt x="49" y="64"/>
                  </a:moveTo>
                  <a:cubicBezTo>
                    <a:pt x="209" y="64"/>
                    <a:pt x="209" y="64"/>
                    <a:pt x="209" y="6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49" y="289"/>
                    <a:pt x="49" y="289"/>
                    <a:pt x="49" y="289"/>
                  </a:cubicBezTo>
                  <a:lnTo>
                    <a:pt x="49" y="64"/>
                  </a:lnTo>
                  <a:close/>
                  <a:moveTo>
                    <a:pt x="225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225" y="353"/>
                    <a:pt x="225" y="353"/>
                    <a:pt x="225" y="353"/>
                  </a:cubicBezTo>
                  <a:cubicBezTo>
                    <a:pt x="243" y="353"/>
                    <a:pt x="257" y="339"/>
                    <a:pt x="257" y="321"/>
                  </a:cubicBezTo>
                  <a:cubicBezTo>
                    <a:pt x="257" y="32"/>
                    <a:pt x="257" y="32"/>
                    <a:pt x="257" y="32"/>
                  </a:cubicBezTo>
                  <a:cubicBezTo>
                    <a:pt x="257" y="14"/>
                    <a:pt x="243" y="0"/>
                    <a:pt x="225" y="0"/>
                  </a:cubicBezTo>
                  <a:moveTo>
                    <a:pt x="241" y="321"/>
                  </a:moveTo>
                  <a:cubicBezTo>
                    <a:pt x="241" y="330"/>
                    <a:pt x="234" y="337"/>
                    <a:pt x="225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4" y="337"/>
                    <a:pt x="16" y="330"/>
                    <a:pt x="16" y="32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4" y="16"/>
                    <a:pt x="32" y="16"/>
                  </a:cubicBezTo>
                  <a:cubicBezTo>
                    <a:pt x="225" y="16"/>
                    <a:pt x="225" y="16"/>
                    <a:pt x="225" y="16"/>
                  </a:cubicBezTo>
                  <a:cubicBezTo>
                    <a:pt x="234" y="16"/>
                    <a:pt x="241" y="23"/>
                    <a:pt x="241" y="32"/>
                  </a:cubicBezTo>
                  <a:lnTo>
                    <a:pt x="241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2" name="Freeform 40"/>
            <p:cNvSpPr>
              <a:spLocks noEditPoints="1"/>
            </p:cNvSpPr>
            <p:nvPr/>
          </p:nvSpPr>
          <p:spPr bwMode="auto">
            <a:xfrm>
              <a:off x="7026033" y="1708685"/>
              <a:ext cx="289748" cy="289748"/>
            </a:xfrm>
            <a:custGeom>
              <a:avLst/>
              <a:gdLst>
                <a:gd name="T0" fmla="*/ 289 w 353"/>
                <a:gd name="T1" fmla="*/ 160 h 353"/>
                <a:gd name="T2" fmla="*/ 321 w 353"/>
                <a:gd name="T3" fmla="*/ 160 h 353"/>
                <a:gd name="T4" fmla="*/ 224 w 353"/>
                <a:gd name="T5" fmla="*/ 144 h 353"/>
                <a:gd name="T6" fmla="*/ 48 w 353"/>
                <a:gd name="T7" fmla="*/ 305 h 353"/>
                <a:gd name="T8" fmla="*/ 224 w 353"/>
                <a:gd name="T9" fmla="*/ 144 h 353"/>
                <a:gd name="T10" fmla="*/ 64 w 353"/>
                <a:gd name="T11" fmla="*/ 289 h 353"/>
                <a:gd name="T12" fmla="*/ 208 w 353"/>
                <a:gd name="T13" fmla="*/ 160 h 353"/>
                <a:gd name="T14" fmla="*/ 321 w 353"/>
                <a:gd name="T15" fmla="*/ 96 h 353"/>
                <a:gd name="T16" fmla="*/ 197 w 353"/>
                <a:gd name="T17" fmla="*/ 70 h 353"/>
                <a:gd name="T18" fmla="*/ 240 w 353"/>
                <a:gd name="T19" fmla="*/ 32 h 353"/>
                <a:gd name="T20" fmla="*/ 240 w 353"/>
                <a:gd name="T21" fmla="*/ 0 h 353"/>
                <a:gd name="T22" fmla="*/ 225 w 353"/>
                <a:gd name="T23" fmla="*/ 20 h 353"/>
                <a:gd name="T24" fmla="*/ 176 w 353"/>
                <a:gd name="T25" fmla="*/ 64 h 353"/>
                <a:gd name="T26" fmla="*/ 127 w 353"/>
                <a:gd name="T27" fmla="*/ 20 h 353"/>
                <a:gd name="T28" fmla="*/ 112 w 353"/>
                <a:gd name="T29" fmla="*/ 0 h 353"/>
                <a:gd name="T30" fmla="*/ 112 w 353"/>
                <a:gd name="T31" fmla="*/ 32 h 353"/>
                <a:gd name="T32" fmla="*/ 155 w 353"/>
                <a:gd name="T33" fmla="*/ 70 h 353"/>
                <a:gd name="T34" fmla="*/ 32 w 353"/>
                <a:gd name="T35" fmla="*/ 96 h 353"/>
                <a:gd name="T36" fmla="*/ 0 w 353"/>
                <a:gd name="T37" fmla="*/ 321 h 353"/>
                <a:gd name="T38" fmla="*/ 321 w 353"/>
                <a:gd name="T39" fmla="*/ 353 h 353"/>
                <a:gd name="T40" fmla="*/ 353 w 353"/>
                <a:gd name="T41" fmla="*/ 128 h 353"/>
                <a:gd name="T42" fmla="*/ 256 w 353"/>
                <a:gd name="T43" fmla="*/ 337 h 353"/>
                <a:gd name="T44" fmla="*/ 16 w 353"/>
                <a:gd name="T45" fmla="*/ 321 h 353"/>
                <a:gd name="T46" fmla="*/ 32 w 353"/>
                <a:gd name="T47" fmla="*/ 112 h 353"/>
                <a:gd name="T48" fmla="*/ 256 w 353"/>
                <a:gd name="T49" fmla="*/ 337 h 353"/>
                <a:gd name="T50" fmla="*/ 321 w 353"/>
                <a:gd name="T51" fmla="*/ 337 h 353"/>
                <a:gd name="T52" fmla="*/ 273 w 353"/>
                <a:gd name="T53" fmla="*/ 112 h 353"/>
                <a:gd name="T54" fmla="*/ 337 w 353"/>
                <a:gd name="T55" fmla="*/ 128 h 353"/>
                <a:gd name="T56" fmla="*/ 305 w 353"/>
                <a:gd name="T57" fmla="*/ 225 h 353"/>
                <a:gd name="T58" fmla="*/ 305 w 353"/>
                <a:gd name="T59" fmla="*/ 241 h 353"/>
                <a:gd name="T60" fmla="*/ 305 w 353"/>
                <a:gd name="T61" fmla="*/ 225 h 353"/>
                <a:gd name="T62" fmla="*/ 297 w 353"/>
                <a:gd name="T63" fmla="*/ 200 h 353"/>
                <a:gd name="T64" fmla="*/ 313 w 353"/>
                <a:gd name="T65" fmla="*/ 20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3" h="353">
                  <a:moveTo>
                    <a:pt x="305" y="144"/>
                  </a:moveTo>
                  <a:cubicBezTo>
                    <a:pt x="296" y="144"/>
                    <a:pt x="289" y="151"/>
                    <a:pt x="289" y="160"/>
                  </a:cubicBezTo>
                  <a:cubicBezTo>
                    <a:pt x="289" y="169"/>
                    <a:pt x="296" y="176"/>
                    <a:pt x="305" y="176"/>
                  </a:cubicBezTo>
                  <a:cubicBezTo>
                    <a:pt x="313" y="176"/>
                    <a:pt x="321" y="169"/>
                    <a:pt x="321" y="160"/>
                  </a:cubicBezTo>
                  <a:cubicBezTo>
                    <a:pt x="321" y="151"/>
                    <a:pt x="313" y="144"/>
                    <a:pt x="305" y="144"/>
                  </a:cubicBezTo>
                  <a:moveTo>
                    <a:pt x="224" y="144"/>
                  </a:moveTo>
                  <a:cubicBezTo>
                    <a:pt x="48" y="144"/>
                    <a:pt x="48" y="144"/>
                    <a:pt x="48" y="144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224" y="305"/>
                    <a:pt x="224" y="305"/>
                    <a:pt x="224" y="305"/>
                  </a:cubicBezTo>
                  <a:lnTo>
                    <a:pt x="224" y="144"/>
                  </a:lnTo>
                  <a:close/>
                  <a:moveTo>
                    <a:pt x="208" y="289"/>
                  </a:moveTo>
                  <a:cubicBezTo>
                    <a:pt x="64" y="289"/>
                    <a:pt x="64" y="289"/>
                    <a:pt x="64" y="289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208" y="160"/>
                    <a:pt x="208" y="160"/>
                    <a:pt x="208" y="160"/>
                  </a:cubicBezTo>
                  <a:lnTo>
                    <a:pt x="208" y="289"/>
                  </a:lnTo>
                  <a:close/>
                  <a:moveTo>
                    <a:pt x="321" y="96"/>
                  </a:moveTo>
                  <a:cubicBezTo>
                    <a:pt x="215" y="96"/>
                    <a:pt x="215" y="96"/>
                    <a:pt x="215" y="96"/>
                  </a:cubicBezTo>
                  <a:cubicBezTo>
                    <a:pt x="213" y="85"/>
                    <a:pt x="207" y="76"/>
                    <a:pt x="197" y="70"/>
                  </a:cubicBezTo>
                  <a:cubicBezTo>
                    <a:pt x="236" y="31"/>
                    <a:pt x="236" y="31"/>
                    <a:pt x="236" y="31"/>
                  </a:cubicBezTo>
                  <a:cubicBezTo>
                    <a:pt x="238" y="32"/>
                    <a:pt x="239" y="32"/>
                    <a:pt x="240" y="32"/>
                  </a:cubicBezTo>
                  <a:cubicBezTo>
                    <a:pt x="249" y="32"/>
                    <a:pt x="256" y="25"/>
                    <a:pt x="256" y="16"/>
                  </a:cubicBezTo>
                  <a:cubicBezTo>
                    <a:pt x="256" y="7"/>
                    <a:pt x="249" y="0"/>
                    <a:pt x="240" y="0"/>
                  </a:cubicBezTo>
                  <a:cubicBezTo>
                    <a:pt x="232" y="0"/>
                    <a:pt x="224" y="7"/>
                    <a:pt x="224" y="16"/>
                  </a:cubicBezTo>
                  <a:cubicBezTo>
                    <a:pt x="224" y="17"/>
                    <a:pt x="225" y="19"/>
                    <a:pt x="225" y="20"/>
                  </a:cubicBezTo>
                  <a:cubicBezTo>
                    <a:pt x="180" y="64"/>
                    <a:pt x="180" y="64"/>
                    <a:pt x="180" y="64"/>
                  </a:cubicBezTo>
                  <a:cubicBezTo>
                    <a:pt x="179" y="64"/>
                    <a:pt x="178" y="64"/>
                    <a:pt x="176" y="64"/>
                  </a:cubicBezTo>
                  <a:cubicBezTo>
                    <a:pt x="175" y="64"/>
                    <a:pt x="173" y="64"/>
                    <a:pt x="172" y="64"/>
                  </a:cubicBezTo>
                  <a:cubicBezTo>
                    <a:pt x="127" y="20"/>
                    <a:pt x="127" y="20"/>
                    <a:pt x="127" y="20"/>
                  </a:cubicBezTo>
                  <a:cubicBezTo>
                    <a:pt x="128" y="19"/>
                    <a:pt x="128" y="17"/>
                    <a:pt x="128" y="16"/>
                  </a:cubicBezTo>
                  <a:cubicBezTo>
                    <a:pt x="128" y="7"/>
                    <a:pt x="121" y="0"/>
                    <a:pt x="112" y="0"/>
                  </a:cubicBezTo>
                  <a:cubicBezTo>
                    <a:pt x="103" y="0"/>
                    <a:pt x="96" y="7"/>
                    <a:pt x="96" y="16"/>
                  </a:cubicBezTo>
                  <a:cubicBezTo>
                    <a:pt x="96" y="25"/>
                    <a:pt x="103" y="32"/>
                    <a:pt x="112" y="32"/>
                  </a:cubicBezTo>
                  <a:cubicBezTo>
                    <a:pt x="113" y="32"/>
                    <a:pt x="115" y="32"/>
                    <a:pt x="116" y="31"/>
                  </a:cubicBezTo>
                  <a:cubicBezTo>
                    <a:pt x="155" y="70"/>
                    <a:pt x="155" y="70"/>
                    <a:pt x="155" y="70"/>
                  </a:cubicBezTo>
                  <a:cubicBezTo>
                    <a:pt x="146" y="76"/>
                    <a:pt x="139" y="85"/>
                    <a:pt x="137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14" y="96"/>
                    <a:pt x="0" y="110"/>
                    <a:pt x="0" y="128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8" y="353"/>
                    <a:pt x="353" y="339"/>
                    <a:pt x="353" y="321"/>
                  </a:cubicBezTo>
                  <a:cubicBezTo>
                    <a:pt x="353" y="128"/>
                    <a:pt x="353" y="128"/>
                    <a:pt x="353" y="128"/>
                  </a:cubicBezTo>
                  <a:cubicBezTo>
                    <a:pt x="353" y="110"/>
                    <a:pt x="338" y="96"/>
                    <a:pt x="321" y="96"/>
                  </a:cubicBezTo>
                  <a:moveTo>
                    <a:pt x="256" y="337"/>
                  </a:move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19"/>
                    <a:pt x="23" y="112"/>
                    <a:pt x="32" y="112"/>
                  </a:cubicBezTo>
                  <a:cubicBezTo>
                    <a:pt x="256" y="112"/>
                    <a:pt x="256" y="112"/>
                    <a:pt x="256" y="112"/>
                  </a:cubicBezTo>
                  <a:lnTo>
                    <a:pt x="256" y="337"/>
                  </a:lnTo>
                  <a:close/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73" y="337"/>
                    <a:pt x="273" y="337"/>
                    <a:pt x="273" y="337"/>
                  </a:cubicBezTo>
                  <a:cubicBezTo>
                    <a:pt x="273" y="112"/>
                    <a:pt x="273" y="112"/>
                    <a:pt x="273" y="112"/>
                  </a:cubicBezTo>
                  <a:cubicBezTo>
                    <a:pt x="321" y="112"/>
                    <a:pt x="321" y="112"/>
                    <a:pt x="321" y="112"/>
                  </a:cubicBezTo>
                  <a:cubicBezTo>
                    <a:pt x="330" y="112"/>
                    <a:pt x="337" y="119"/>
                    <a:pt x="337" y="128"/>
                  </a:cubicBezTo>
                  <a:lnTo>
                    <a:pt x="337" y="321"/>
                  </a:lnTo>
                  <a:close/>
                  <a:moveTo>
                    <a:pt x="305" y="225"/>
                  </a:moveTo>
                  <a:cubicBezTo>
                    <a:pt x="300" y="225"/>
                    <a:pt x="297" y="228"/>
                    <a:pt x="297" y="233"/>
                  </a:cubicBezTo>
                  <a:cubicBezTo>
                    <a:pt x="297" y="237"/>
                    <a:pt x="300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228"/>
                    <a:pt x="309" y="225"/>
                    <a:pt x="305" y="225"/>
                  </a:cubicBezTo>
                  <a:moveTo>
                    <a:pt x="305" y="192"/>
                  </a:moveTo>
                  <a:cubicBezTo>
                    <a:pt x="300" y="192"/>
                    <a:pt x="297" y="196"/>
                    <a:pt x="297" y="200"/>
                  </a:cubicBezTo>
                  <a:cubicBezTo>
                    <a:pt x="297" y="205"/>
                    <a:pt x="300" y="208"/>
                    <a:pt x="305" y="208"/>
                  </a:cubicBezTo>
                  <a:cubicBezTo>
                    <a:pt x="309" y="208"/>
                    <a:pt x="313" y="205"/>
                    <a:pt x="313" y="200"/>
                  </a:cubicBezTo>
                  <a:cubicBezTo>
                    <a:pt x="313" y="196"/>
                    <a:pt x="309" y="192"/>
                    <a:pt x="305" y="19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" name="Oval 46"/>
            <p:cNvSpPr/>
            <p:nvPr/>
          </p:nvSpPr>
          <p:spPr>
            <a:xfrm>
              <a:off x="7453576" y="2589629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8" name="Oval 47"/>
            <p:cNvSpPr/>
            <p:nvPr/>
          </p:nvSpPr>
          <p:spPr>
            <a:xfrm>
              <a:off x="5004156" y="2589629"/>
              <a:ext cx="670190" cy="670190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9" name="Oval 48"/>
            <p:cNvSpPr/>
            <p:nvPr/>
          </p:nvSpPr>
          <p:spPr>
            <a:xfrm>
              <a:off x="7499914" y="2635967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0" name="Oval 49"/>
            <p:cNvSpPr/>
            <p:nvPr/>
          </p:nvSpPr>
          <p:spPr>
            <a:xfrm>
              <a:off x="5050494" y="2635967"/>
              <a:ext cx="577514" cy="577514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1" name="Freeform 23"/>
            <p:cNvSpPr>
              <a:spLocks noEditPoints="1"/>
            </p:cNvSpPr>
            <p:nvPr/>
          </p:nvSpPr>
          <p:spPr bwMode="auto">
            <a:xfrm>
              <a:off x="7643797" y="2819120"/>
              <a:ext cx="289748" cy="211207"/>
            </a:xfrm>
            <a:custGeom>
              <a:avLst/>
              <a:gdLst>
                <a:gd name="T0" fmla="*/ 351 w 353"/>
                <a:gd name="T1" fmla="*/ 245 h 257"/>
                <a:gd name="T2" fmla="*/ 351 w 353"/>
                <a:gd name="T3" fmla="*/ 245 h 257"/>
                <a:gd name="T4" fmla="*/ 320 w 353"/>
                <a:gd name="T5" fmla="*/ 197 h 257"/>
                <a:gd name="T6" fmla="*/ 321 w 353"/>
                <a:gd name="T7" fmla="*/ 193 h 257"/>
                <a:gd name="T8" fmla="*/ 321 w 353"/>
                <a:gd name="T9" fmla="*/ 16 h 257"/>
                <a:gd name="T10" fmla="*/ 305 w 353"/>
                <a:gd name="T11" fmla="*/ 0 h 257"/>
                <a:gd name="T12" fmla="*/ 48 w 353"/>
                <a:gd name="T13" fmla="*/ 0 h 257"/>
                <a:gd name="T14" fmla="*/ 32 w 353"/>
                <a:gd name="T15" fmla="*/ 16 h 257"/>
                <a:gd name="T16" fmla="*/ 32 w 353"/>
                <a:gd name="T17" fmla="*/ 193 h 257"/>
                <a:gd name="T18" fmla="*/ 32 w 353"/>
                <a:gd name="T19" fmla="*/ 197 h 257"/>
                <a:gd name="T20" fmla="*/ 1 w 353"/>
                <a:gd name="T21" fmla="*/ 245 h 257"/>
                <a:gd name="T22" fmla="*/ 1 w 353"/>
                <a:gd name="T23" fmla="*/ 245 h 257"/>
                <a:gd name="T24" fmla="*/ 0 w 353"/>
                <a:gd name="T25" fmla="*/ 249 h 257"/>
                <a:gd name="T26" fmla="*/ 8 w 353"/>
                <a:gd name="T27" fmla="*/ 257 h 257"/>
                <a:gd name="T28" fmla="*/ 345 w 353"/>
                <a:gd name="T29" fmla="*/ 257 h 257"/>
                <a:gd name="T30" fmla="*/ 353 w 353"/>
                <a:gd name="T31" fmla="*/ 249 h 257"/>
                <a:gd name="T32" fmla="*/ 351 w 353"/>
                <a:gd name="T33" fmla="*/ 245 h 257"/>
                <a:gd name="T34" fmla="*/ 48 w 353"/>
                <a:gd name="T35" fmla="*/ 16 h 257"/>
                <a:gd name="T36" fmla="*/ 305 w 353"/>
                <a:gd name="T37" fmla="*/ 16 h 257"/>
                <a:gd name="T38" fmla="*/ 305 w 353"/>
                <a:gd name="T39" fmla="*/ 193 h 257"/>
                <a:gd name="T40" fmla="*/ 48 w 353"/>
                <a:gd name="T41" fmla="*/ 193 h 257"/>
                <a:gd name="T42" fmla="*/ 48 w 353"/>
                <a:gd name="T43" fmla="*/ 16 h 257"/>
                <a:gd name="T44" fmla="*/ 23 w 353"/>
                <a:gd name="T45" fmla="*/ 241 h 257"/>
                <a:gd name="T46" fmla="*/ 44 w 353"/>
                <a:gd name="T47" fmla="*/ 208 h 257"/>
                <a:gd name="T48" fmla="*/ 48 w 353"/>
                <a:gd name="T49" fmla="*/ 209 h 257"/>
                <a:gd name="T50" fmla="*/ 305 w 353"/>
                <a:gd name="T51" fmla="*/ 209 h 257"/>
                <a:gd name="T52" fmla="*/ 308 w 353"/>
                <a:gd name="T53" fmla="*/ 208 h 257"/>
                <a:gd name="T54" fmla="*/ 330 w 353"/>
                <a:gd name="T55" fmla="*/ 241 h 257"/>
                <a:gd name="T56" fmla="*/ 23 w 353"/>
                <a:gd name="T57" fmla="*/ 24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3" h="257">
                  <a:moveTo>
                    <a:pt x="351" y="245"/>
                  </a:moveTo>
                  <a:cubicBezTo>
                    <a:pt x="351" y="245"/>
                    <a:pt x="351" y="245"/>
                    <a:pt x="351" y="245"/>
                  </a:cubicBezTo>
                  <a:cubicBezTo>
                    <a:pt x="320" y="197"/>
                    <a:pt x="320" y="197"/>
                    <a:pt x="320" y="197"/>
                  </a:cubicBezTo>
                  <a:cubicBezTo>
                    <a:pt x="320" y="196"/>
                    <a:pt x="321" y="194"/>
                    <a:pt x="321" y="193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7"/>
                    <a:pt x="313" y="0"/>
                    <a:pt x="30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9" y="0"/>
                    <a:pt x="32" y="7"/>
                    <a:pt x="32" y="16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32" y="194"/>
                    <a:pt x="32" y="196"/>
                    <a:pt x="32" y="197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54"/>
                    <a:pt x="3" y="257"/>
                    <a:pt x="8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49" y="257"/>
                    <a:pt x="353" y="254"/>
                    <a:pt x="353" y="249"/>
                  </a:cubicBezTo>
                  <a:cubicBezTo>
                    <a:pt x="353" y="247"/>
                    <a:pt x="352" y="246"/>
                    <a:pt x="351" y="245"/>
                  </a:cubicBezTo>
                  <a:moveTo>
                    <a:pt x="48" y="16"/>
                  </a:moveTo>
                  <a:cubicBezTo>
                    <a:pt x="305" y="16"/>
                    <a:pt x="305" y="16"/>
                    <a:pt x="305" y="16"/>
                  </a:cubicBezTo>
                  <a:cubicBezTo>
                    <a:pt x="305" y="193"/>
                    <a:pt x="305" y="193"/>
                    <a:pt x="305" y="193"/>
                  </a:cubicBezTo>
                  <a:cubicBezTo>
                    <a:pt x="48" y="193"/>
                    <a:pt x="48" y="193"/>
                    <a:pt x="48" y="193"/>
                  </a:cubicBezTo>
                  <a:lnTo>
                    <a:pt x="48" y="16"/>
                  </a:lnTo>
                  <a:close/>
                  <a:moveTo>
                    <a:pt x="23" y="241"/>
                  </a:moveTo>
                  <a:cubicBezTo>
                    <a:pt x="44" y="208"/>
                    <a:pt x="44" y="208"/>
                    <a:pt x="44" y="208"/>
                  </a:cubicBezTo>
                  <a:cubicBezTo>
                    <a:pt x="45" y="209"/>
                    <a:pt x="47" y="209"/>
                    <a:pt x="48" y="209"/>
                  </a:cubicBezTo>
                  <a:cubicBezTo>
                    <a:pt x="305" y="209"/>
                    <a:pt x="305" y="209"/>
                    <a:pt x="305" y="209"/>
                  </a:cubicBezTo>
                  <a:cubicBezTo>
                    <a:pt x="306" y="209"/>
                    <a:pt x="307" y="209"/>
                    <a:pt x="308" y="208"/>
                  </a:cubicBezTo>
                  <a:cubicBezTo>
                    <a:pt x="330" y="241"/>
                    <a:pt x="330" y="241"/>
                    <a:pt x="330" y="241"/>
                  </a:cubicBezTo>
                  <a:lnTo>
                    <a:pt x="23" y="2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2" name="Freeform 24"/>
            <p:cNvSpPr>
              <a:spLocks noEditPoints="1"/>
            </p:cNvSpPr>
            <p:nvPr/>
          </p:nvSpPr>
          <p:spPr bwMode="auto">
            <a:xfrm>
              <a:off x="5198100" y="2794554"/>
              <a:ext cx="289748" cy="289748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967844" y="152931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91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93725" y="153465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Website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593725" y="1703374"/>
            <a:ext cx="2749550" cy="112506"/>
            <a:chOff x="593725" y="1703374"/>
            <a:chExt cx="2749550" cy="112506"/>
          </a:xfrm>
        </p:grpSpPr>
        <p:sp>
          <p:nvSpPr>
            <p:cNvPr id="66" name="Rectangle 65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593725" y="1703573"/>
              <a:ext cx="2306108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7" name="TextBox 106"/>
          <p:cNvSpPr txBox="1"/>
          <p:nvPr/>
        </p:nvSpPr>
        <p:spPr>
          <a:xfrm>
            <a:off x="2967844" y="202298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14%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593725" y="202832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TV</a:t>
            </a:r>
          </a:p>
        </p:txBody>
      </p:sp>
      <p:grpSp>
        <p:nvGrpSpPr>
          <p:cNvPr id="109" name="Group 108"/>
          <p:cNvGrpSpPr/>
          <p:nvPr/>
        </p:nvGrpSpPr>
        <p:grpSpPr>
          <a:xfrm>
            <a:off x="593725" y="2197044"/>
            <a:ext cx="2749550" cy="112506"/>
            <a:chOff x="593725" y="1703374"/>
            <a:chExt cx="2749550" cy="112506"/>
          </a:xfrm>
        </p:grpSpPr>
        <p:sp>
          <p:nvSpPr>
            <p:cNvPr id="110" name="Rectangle 109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593726" y="1703573"/>
              <a:ext cx="748242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2967844" y="251665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52%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93725" y="252199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NOTEBOOK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593725" y="2690714"/>
            <a:ext cx="2749550" cy="112506"/>
            <a:chOff x="593725" y="1703374"/>
            <a:chExt cx="2749550" cy="112506"/>
          </a:xfrm>
        </p:grpSpPr>
        <p:sp>
          <p:nvSpPr>
            <p:cNvPr id="116" name="Rectangle 115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593725" y="1703573"/>
              <a:ext cx="1412875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9" name="TextBox 118"/>
          <p:cNvSpPr txBox="1"/>
          <p:nvPr/>
        </p:nvSpPr>
        <p:spPr>
          <a:xfrm>
            <a:off x="2967844" y="301032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18%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93725" y="301566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PAD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593725" y="3184384"/>
            <a:ext cx="2749550" cy="112506"/>
            <a:chOff x="593725" y="1703374"/>
            <a:chExt cx="2749550" cy="112506"/>
          </a:xfrm>
        </p:grpSpPr>
        <p:sp>
          <p:nvSpPr>
            <p:cNvPr id="122" name="Rectangle 121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593726" y="1703573"/>
              <a:ext cx="597958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5" name="TextBox 124"/>
          <p:cNvSpPr txBox="1"/>
          <p:nvPr/>
        </p:nvSpPr>
        <p:spPr>
          <a:xfrm>
            <a:off x="2967844" y="350399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79%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93725" y="350933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Smartphone</a:t>
            </a:r>
          </a:p>
        </p:txBody>
      </p:sp>
      <p:grpSp>
        <p:nvGrpSpPr>
          <p:cNvPr id="127" name="Group 126"/>
          <p:cNvGrpSpPr/>
          <p:nvPr/>
        </p:nvGrpSpPr>
        <p:grpSpPr>
          <a:xfrm>
            <a:off x="593725" y="3678054"/>
            <a:ext cx="2749550" cy="112506"/>
            <a:chOff x="593725" y="1703374"/>
            <a:chExt cx="2749550" cy="112506"/>
          </a:xfrm>
        </p:grpSpPr>
        <p:sp>
          <p:nvSpPr>
            <p:cNvPr id="128" name="Rectangle 127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593725" y="1703573"/>
              <a:ext cx="2037292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1" name="TextBox 130"/>
          <p:cNvSpPr txBox="1"/>
          <p:nvPr/>
        </p:nvSpPr>
        <p:spPr>
          <a:xfrm>
            <a:off x="2967844" y="3997664"/>
            <a:ext cx="375431" cy="1523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825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62%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593725" y="4003004"/>
            <a:ext cx="1285674" cy="1269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dirty="0">
                <a:solidFill>
                  <a:schemeClr val="accent3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OMPUTADOR PESSOAL</a:t>
            </a:r>
          </a:p>
        </p:txBody>
      </p:sp>
      <p:grpSp>
        <p:nvGrpSpPr>
          <p:cNvPr id="133" name="Group 132"/>
          <p:cNvGrpSpPr/>
          <p:nvPr/>
        </p:nvGrpSpPr>
        <p:grpSpPr>
          <a:xfrm>
            <a:off x="593725" y="4171724"/>
            <a:ext cx="2749550" cy="112506"/>
            <a:chOff x="593725" y="1703374"/>
            <a:chExt cx="2749550" cy="112506"/>
          </a:xfrm>
        </p:grpSpPr>
        <p:sp>
          <p:nvSpPr>
            <p:cNvPr id="134" name="Rectangle 133"/>
            <p:cNvSpPr/>
            <p:nvPr/>
          </p:nvSpPr>
          <p:spPr>
            <a:xfrm>
              <a:off x="593725" y="1703374"/>
              <a:ext cx="2749550" cy="11230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Rectangle 134"/>
            <p:cNvSpPr/>
            <p:nvPr/>
          </p:nvSpPr>
          <p:spPr>
            <a:xfrm>
              <a:off x="593726" y="1703573"/>
              <a:ext cx="1745192" cy="11230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5121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NÁLISE DE </a:t>
            </a:r>
            <a:r>
              <a:rPr lang="en-US" dirty="0">
                <a:solidFill>
                  <a:srgbClr val="EC0000"/>
                </a:solidFill>
              </a:rPr>
              <a:t>PESQUIS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1268449" y="1583837"/>
            <a:ext cx="520500" cy="1665930"/>
            <a:chOff x="3287461" y="4290926"/>
            <a:chExt cx="1696196" cy="5428902"/>
          </a:xfrm>
        </p:grpSpPr>
        <p:sp>
          <p:nvSpPr>
            <p:cNvPr id="29" name="Rectangle 28"/>
            <p:cNvSpPr/>
            <p:nvPr/>
          </p:nvSpPr>
          <p:spPr>
            <a:xfrm>
              <a:off x="3549311" y="8289890"/>
              <a:ext cx="1190880" cy="124162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3770136" y="7063553"/>
              <a:ext cx="738468" cy="1424481"/>
              <a:chOff x="3117853" y="4810127"/>
              <a:chExt cx="871535" cy="1681162"/>
            </a:xfrm>
          </p:grpSpPr>
          <p:sp>
            <p:nvSpPr>
              <p:cNvPr id="34" name="Oval 44"/>
              <p:cNvSpPr>
                <a:spLocks noChangeArrowheads="1"/>
              </p:cNvSpPr>
              <p:nvPr/>
            </p:nvSpPr>
            <p:spPr bwMode="auto">
              <a:xfrm>
                <a:off x="3132137" y="4822826"/>
                <a:ext cx="539750" cy="541338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5" name="Oval 48"/>
              <p:cNvSpPr>
                <a:spLocks noChangeArrowheads="1"/>
              </p:cNvSpPr>
              <p:nvPr/>
            </p:nvSpPr>
            <p:spPr bwMode="auto">
              <a:xfrm>
                <a:off x="3463925" y="5516565"/>
                <a:ext cx="511174" cy="511175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6" name="Oval 52"/>
              <p:cNvSpPr>
                <a:spLocks noChangeArrowheads="1"/>
              </p:cNvSpPr>
              <p:nvPr/>
            </p:nvSpPr>
            <p:spPr bwMode="auto">
              <a:xfrm>
                <a:off x="3151188" y="6157912"/>
                <a:ext cx="320675" cy="320675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7" name="Freeform 45"/>
              <p:cNvSpPr>
                <a:spLocks noEditPoints="1"/>
              </p:cNvSpPr>
              <p:nvPr/>
            </p:nvSpPr>
            <p:spPr bwMode="auto">
              <a:xfrm>
                <a:off x="3117853" y="4810127"/>
                <a:ext cx="568325" cy="568326"/>
              </a:xfrm>
              <a:custGeom>
                <a:avLst/>
                <a:gdLst>
                  <a:gd name="T0" fmla="*/ 212 w 424"/>
                  <a:gd name="T1" fmla="*/ 424 h 424"/>
                  <a:gd name="T2" fmla="*/ 0 w 424"/>
                  <a:gd name="T3" fmla="*/ 212 h 424"/>
                  <a:gd name="T4" fmla="*/ 212 w 424"/>
                  <a:gd name="T5" fmla="*/ 0 h 424"/>
                  <a:gd name="T6" fmla="*/ 424 w 424"/>
                  <a:gd name="T7" fmla="*/ 212 h 424"/>
                  <a:gd name="T8" fmla="*/ 212 w 424"/>
                  <a:gd name="T9" fmla="*/ 424 h 424"/>
                  <a:gd name="T10" fmla="*/ 212 w 424"/>
                  <a:gd name="T11" fmla="*/ 19 h 424"/>
                  <a:gd name="T12" fmla="*/ 19 w 424"/>
                  <a:gd name="T13" fmla="*/ 212 h 424"/>
                  <a:gd name="T14" fmla="*/ 212 w 424"/>
                  <a:gd name="T15" fmla="*/ 404 h 424"/>
                  <a:gd name="T16" fmla="*/ 404 w 424"/>
                  <a:gd name="T17" fmla="*/ 212 h 424"/>
                  <a:gd name="T18" fmla="*/ 212 w 424"/>
                  <a:gd name="T19" fmla="*/ 19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4" h="424">
                    <a:moveTo>
                      <a:pt x="212" y="424"/>
                    </a:moveTo>
                    <a:cubicBezTo>
                      <a:pt x="95" y="424"/>
                      <a:pt x="0" y="329"/>
                      <a:pt x="0" y="212"/>
                    </a:cubicBezTo>
                    <a:cubicBezTo>
                      <a:pt x="0" y="95"/>
                      <a:pt x="95" y="0"/>
                      <a:pt x="212" y="0"/>
                    </a:cubicBezTo>
                    <a:cubicBezTo>
                      <a:pt x="329" y="0"/>
                      <a:pt x="424" y="95"/>
                      <a:pt x="424" y="212"/>
                    </a:cubicBezTo>
                    <a:cubicBezTo>
                      <a:pt x="424" y="329"/>
                      <a:pt x="329" y="424"/>
                      <a:pt x="212" y="424"/>
                    </a:cubicBezTo>
                    <a:close/>
                    <a:moveTo>
                      <a:pt x="212" y="19"/>
                    </a:moveTo>
                    <a:cubicBezTo>
                      <a:pt x="106" y="19"/>
                      <a:pt x="19" y="106"/>
                      <a:pt x="19" y="212"/>
                    </a:cubicBezTo>
                    <a:cubicBezTo>
                      <a:pt x="19" y="318"/>
                      <a:pt x="106" y="404"/>
                      <a:pt x="212" y="404"/>
                    </a:cubicBezTo>
                    <a:cubicBezTo>
                      <a:pt x="318" y="404"/>
                      <a:pt x="404" y="318"/>
                      <a:pt x="404" y="212"/>
                    </a:cubicBezTo>
                    <a:cubicBezTo>
                      <a:pt x="404" y="106"/>
                      <a:pt x="318" y="19"/>
                      <a:pt x="212" y="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8" name="Freeform 47"/>
              <p:cNvSpPr>
                <a:spLocks/>
              </p:cNvSpPr>
              <p:nvPr/>
            </p:nvSpPr>
            <p:spPr bwMode="auto">
              <a:xfrm>
                <a:off x="3389313" y="4897438"/>
                <a:ext cx="207963" cy="209550"/>
              </a:xfrm>
              <a:custGeom>
                <a:avLst/>
                <a:gdLst>
                  <a:gd name="T0" fmla="*/ 146 w 156"/>
                  <a:gd name="T1" fmla="*/ 156 h 156"/>
                  <a:gd name="T2" fmla="*/ 137 w 156"/>
                  <a:gd name="T3" fmla="*/ 146 h 156"/>
                  <a:gd name="T4" fmla="*/ 10 w 156"/>
                  <a:gd name="T5" fmla="*/ 19 h 156"/>
                  <a:gd name="T6" fmla="*/ 0 w 156"/>
                  <a:gd name="T7" fmla="*/ 9 h 156"/>
                  <a:gd name="T8" fmla="*/ 10 w 156"/>
                  <a:gd name="T9" fmla="*/ 0 h 156"/>
                  <a:gd name="T10" fmla="*/ 156 w 156"/>
                  <a:gd name="T11" fmla="*/ 146 h 156"/>
                  <a:gd name="T12" fmla="*/ 146 w 156"/>
                  <a:gd name="T13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6" h="156">
                    <a:moveTo>
                      <a:pt x="146" y="156"/>
                    </a:moveTo>
                    <a:cubicBezTo>
                      <a:pt x="141" y="156"/>
                      <a:pt x="137" y="151"/>
                      <a:pt x="137" y="146"/>
                    </a:cubicBezTo>
                    <a:cubicBezTo>
                      <a:pt x="137" y="76"/>
                      <a:pt x="80" y="19"/>
                      <a:pt x="10" y="19"/>
                    </a:cubicBezTo>
                    <a:cubicBezTo>
                      <a:pt x="4" y="19"/>
                      <a:pt x="0" y="15"/>
                      <a:pt x="0" y="9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91" y="0"/>
                      <a:pt x="156" y="65"/>
                      <a:pt x="156" y="146"/>
                    </a:cubicBezTo>
                    <a:cubicBezTo>
                      <a:pt x="156" y="151"/>
                      <a:pt x="152" y="156"/>
                      <a:pt x="146" y="15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9" name="Freeform 49"/>
              <p:cNvSpPr>
                <a:spLocks noEditPoints="1"/>
              </p:cNvSpPr>
              <p:nvPr/>
            </p:nvSpPr>
            <p:spPr bwMode="auto">
              <a:xfrm>
                <a:off x="3451225" y="5502276"/>
                <a:ext cx="538163" cy="538163"/>
              </a:xfrm>
              <a:custGeom>
                <a:avLst/>
                <a:gdLst>
                  <a:gd name="T0" fmla="*/ 200 w 401"/>
                  <a:gd name="T1" fmla="*/ 402 h 402"/>
                  <a:gd name="T2" fmla="*/ 0 w 401"/>
                  <a:gd name="T3" fmla="*/ 201 h 402"/>
                  <a:gd name="T4" fmla="*/ 200 w 401"/>
                  <a:gd name="T5" fmla="*/ 0 h 402"/>
                  <a:gd name="T6" fmla="*/ 401 w 401"/>
                  <a:gd name="T7" fmla="*/ 201 h 402"/>
                  <a:gd name="T8" fmla="*/ 200 w 401"/>
                  <a:gd name="T9" fmla="*/ 402 h 402"/>
                  <a:gd name="T10" fmla="*/ 200 w 401"/>
                  <a:gd name="T11" fmla="*/ 20 h 402"/>
                  <a:gd name="T12" fmla="*/ 19 w 401"/>
                  <a:gd name="T13" fmla="*/ 201 h 402"/>
                  <a:gd name="T14" fmla="*/ 200 w 401"/>
                  <a:gd name="T15" fmla="*/ 382 h 402"/>
                  <a:gd name="T16" fmla="*/ 381 w 401"/>
                  <a:gd name="T17" fmla="*/ 201 h 402"/>
                  <a:gd name="T18" fmla="*/ 200 w 401"/>
                  <a:gd name="T19" fmla="*/ 2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1" h="402">
                    <a:moveTo>
                      <a:pt x="200" y="402"/>
                    </a:moveTo>
                    <a:cubicBezTo>
                      <a:pt x="90" y="402"/>
                      <a:pt x="0" y="312"/>
                      <a:pt x="0" y="201"/>
                    </a:cubicBezTo>
                    <a:cubicBezTo>
                      <a:pt x="0" y="90"/>
                      <a:pt x="90" y="0"/>
                      <a:pt x="200" y="0"/>
                    </a:cubicBezTo>
                    <a:cubicBezTo>
                      <a:pt x="311" y="0"/>
                      <a:pt x="401" y="90"/>
                      <a:pt x="401" y="201"/>
                    </a:cubicBezTo>
                    <a:cubicBezTo>
                      <a:pt x="401" y="312"/>
                      <a:pt x="311" y="402"/>
                      <a:pt x="200" y="402"/>
                    </a:cubicBezTo>
                    <a:close/>
                    <a:moveTo>
                      <a:pt x="200" y="20"/>
                    </a:moveTo>
                    <a:cubicBezTo>
                      <a:pt x="100" y="20"/>
                      <a:pt x="19" y="101"/>
                      <a:pt x="19" y="201"/>
                    </a:cubicBezTo>
                    <a:cubicBezTo>
                      <a:pt x="19" y="301"/>
                      <a:pt x="100" y="382"/>
                      <a:pt x="200" y="382"/>
                    </a:cubicBezTo>
                    <a:cubicBezTo>
                      <a:pt x="300" y="382"/>
                      <a:pt x="381" y="301"/>
                      <a:pt x="381" y="201"/>
                    </a:cubicBezTo>
                    <a:cubicBezTo>
                      <a:pt x="381" y="101"/>
                      <a:pt x="300" y="20"/>
                      <a:pt x="200" y="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0" name="Freeform 51"/>
              <p:cNvSpPr>
                <a:spLocks/>
              </p:cNvSpPr>
              <p:nvPr/>
            </p:nvSpPr>
            <p:spPr bwMode="auto">
              <a:xfrm>
                <a:off x="3706813" y="5584826"/>
                <a:ext cx="198438" cy="200025"/>
              </a:xfrm>
              <a:custGeom>
                <a:avLst/>
                <a:gdLst>
                  <a:gd name="T0" fmla="*/ 139 w 149"/>
                  <a:gd name="T1" fmla="*/ 149 h 149"/>
                  <a:gd name="T2" fmla="*/ 129 w 149"/>
                  <a:gd name="T3" fmla="*/ 139 h 149"/>
                  <a:gd name="T4" fmla="*/ 10 w 149"/>
                  <a:gd name="T5" fmla="*/ 20 h 149"/>
                  <a:gd name="T6" fmla="*/ 0 w 149"/>
                  <a:gd name="T7" fmla="*/ 10 h 149"/>
                  <a:gd name="T8" fmla="*/ 10 w 149"/>
                  <a:gd name="T9" fmla="*/ 0 h 149"/>
                  <a:gd name="T10" fmla="*/ 149 w 149"/>
                  <a:gd name="T11" fmla="*/ 139 h 149"/>
                  <a:gd name="T12" fmla="*/ 139 w 149"/>
                  <a:gd name="T13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9" h="149">
                    <a:moveTo>
                      <a:pt x="139" y="149"/>
                    </a:moveTo>
                    <a:cubicBezTo>
                      <a:pt x="134" y="149"/>
                      <a:pt x="129" y="144"/>
                      <a:pt x="129" y="139"/>
                    </a:cubicBezTo>
                    <a:cubicBezTo>
                      <a:pt x="129" y="73"/>
                      <a:pt x="76" y="20"/>
                      <a:pt x="10" y="20"/>
                    </a:cubicBezTo>
                    <a:cubicBezTo>
                      <a:pt x="5" y="20"/>
                      <a:pt x="0" y="16"/>
                      <a:pt x="0" y="10"/>
                    </a:cubicBezTo>
                    <a:cubicBezTo>
                      <a:pt x="0" y="5"/>
                      <a:pt x="5" y="0"/>
                      <a:pt x="10" y="0"/>
                    </a:cubicBezTo>
                    <a:cubicBezTo>
                      <a:pt x="87" y="0"/>
                      <a:pt x="149" y="63"/>
                      <a:pt x="149" y="139"/>
                    </a:cubicBezTo>
                    <a:cubicBezTo>
                      <a:pt x="149" y="144"/>
                      <a:pt x="145" y="149"/>
                      <a:pt x="139" y="14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1" name="Freeform 53"/>
              <p:cNvSpPr>
                <a:spLocks noEditPoints="1"/>
              </p:cNvSpPr>
              <p:nvPr/>
            </p:nvSpPr>
            <p:spPr bwMode="auto">
              <a:xfrm>
                <a:off x="3138488" y="6143626"/>
                <a:ext cx="346075" cy="347663"/>
              </a:xfrm>
              <a:custGeom>
                <a:avLst/>
                <a:gdLst>
                  <a:gd name="T0" fmla="*/ 130 w 259"/>
                  <a:gd name="T1" fmla="*/ 259 h 259"/>
                  <a:gd name="T2" fmla="*/ 0 w 259"/>
                  <a:gd name="T3" fmla="*/ 130 h 259"/>
                  <a:gd name="T4" fmla="*/ 130 w 259"/>
                  <a:gd name="T5" fmla="*/ 0 h 259"/>
                  <a:gd name="T6" fmla="*/ 259 w 259"/>
                  <a:gd name="T7" fmla="*/ 130 h 259"/>
                  <a:gd name="T8" fmla="*/ 130 w 259"/>
                  <a:gd name="T9" fmla="*/ 259 h 259"/>
                  <a:gd name="T10" fmla="*/ 130 w 259"/>
                  <a:gd name="T11" fmla="*/ 20 h 259"/>
                  <a:gd name="T12" fmla="*/ 20 w 259"/>
                  <a:gd name="T13" fmla="*/ 130 h 259"/>
                  <a:gd name="T14" fmla="*/ 130 w 259"/>
                  <a:gd name="T15" fmla="*/ 239 h 259"/>
                  <a:gd name="T16" fmla="*/ 240 w 259"/>
                  <a:gd name="T17" fmla="*/ 130 h 259"/>
                  <a:gd name="T18" fmla="*/ 130 w 259"/>
                  <a:gd name="T19" fmla="*/ 2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9" h="259">
                    <a:moveTo>
                      <a:pt x="130" y="259"/>
                    </a:moveTo>
                    <a:cubicBezTo>
                      <a:pt x="59" y="259"/>
                      <a:pt x="0" y="201"/>
                      <a:pt x="0" y="130"/>
                    </a:cubicBezTo>
                    <a:cubicBezTo>
                      <a:pt x="0" y="58"/>
                      <a:pt x="59" y="0"/>
                      <a:pt x="130" y="0"/>
                    </a:cubicBezTo>
                    <a:cubicBezTo>
                      <a:pt x="201" y="0"/>
                      <a:pt x="259" y="58"/>
                      <a:pt x="259" y="130"/>
                    </a:cubicBezTo>
                    <a:cubicBezTo>
                      <a:pt x="259" y="201"/>
                      <a:pt x="201" y="259"/>
                      <a:pt x="130" y="259"/>
                    </a:cubicBezTo>
                    <a:close/>
                    <a:moveTo>
                      <a:pt x="130" y="20"/>
                    </a:moveTo>
                    <a:cubicBezTo>
                      <a:pt x="69" y="20"/>
                      <a:pt x="20" y="69"/>
                      <a:pt x="20" y="130"/>
                    </a:cubicBezTo>
                    <a:cubicBezTo>
                      <a:pt x="20" y="190"/>
                      <a:pt x="69" y="239"/>
                      <a:pt x="130" y="239"/>
                    </a:cubicBezTo>
                    <a:cubicBezTo>
                      <a:pt x="190" y="239"/>
                      <a:pt x="240" y="190"/>
                      <a:pt x="240" y="130"/>
                    </a:cubicBezTo>
                    <a:cubicBezTo>
                      <a:pt x="240" y="69"/>
                      <a:pt x="190" y="20"/>
                      <a:pt x="130" y="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2" name="Freeform 55"/>
              <p:cNvSpPr>
                <a:spLocks/>
              </p:cNvSpPr>
              <p:nvPr/>
            </p:nvSpPr>
            <p:spPr bwMode="auto">
              <a:xfrm>
                <a:off x="3298825" y="6196013"/>
                <a:ext cx="133350" cy="134938"/>
              </a:xfrm>
              <a:custGeom>
                <a:avLst/>
                <a:gdLst>
                  <a:gd name="T0" fmla="*/ 91 w 100"/>
                  <a:gd name="T1" fmla="*/ 100 h 100"/>
                  <a:gd name="T2" fmla="*/ 81 w 100"/>
                  <a:gd name="T3" fmla="*/ 91 h 100"/>
                  <a:gd name="T4" fmla="*/ 10 w 100"/>
                  <a:gd name="T5" fmla="*/ 20 h 100"/>
                  <a:gd name="T6" fmla="*/ 0 w 100"/>
                  <a:gd name="T7" fmla="*/ 10 h 100"/>
                  <a:gd name="T8" fmla="*/ 10 w 100"/>
                  <a:gd name="T9" fmla="*/ 0 h 100"/>
                  <a:gd name="T10" fmla="*/ 100 w 100"/>
                  <a:gd name="T11" fmla="*/ 91 h 100"/>
                  <a:gd name="T12" fmla="*/ 91 w 100"/>
                  <a:gd name="T13" fmla="*/ 10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" h="100">
                    <a:moveTo>
                      <a:pt x="91" y="100"/>
                    </a:moveTo>
                    <a:cubicBezTo>
                      <a:pt x="85" y="100"/>
                      <a:pt x="81" y="96"/>
                      <a:pt x="81" y="91"/>
                    </a:cubicBezTo>
                    <a:cubicBezTo>
                      <a:pt x="81" y="52"/>
                      <a:pt x="49" y="20"/>
                      <a:pt x="10" y="20"/>
                    </a:cubicBezTo>
                    <a:cubicBezTo>
                      <a:pt x="4" y="20"/>
                      <a:pt x="0" y="15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60" y="0"/>
                      <a:pt x="100" y="41"/>
                      <a:pt x="100" y="91"/>
                    </a:cubicBezTo>
                    <a:cubicBezTo>
                      <a:pt x="100" y="96"/>
                      <a:pt x="96" y="100"/>
                      <a:pt x="91" y="1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287461" y="4290926"/>
              <a:ext cx="1696196" cy="5428902"/>
              <a:chOff x="2552700" y="4264026"/>
              <a:chExt cx="2001838" cy="6407150"/>
            </a:xfrm>
          </p:grpSpPr>
          <p:sp>
            <p:nvSpPr>
              <p:cNvPr id="32" name="Freeform 6"/>
              <p:cNvSpPr>
                <a:spLocks noEditPoints="1"/>
              </p:cNvSpPr>
              <p:nvPr/>
            </p:nvSpPr>
            <p:spPr bwMode="auto">
              <a:xfrm>
                <a:off x="2552700" y="4264026"/>
                <a:ext cx="2001838" cy="6407150"/>
              </a:xfrm>
              <a:custGeom>
                <a:avLst/>
                <a:gdLst>
                  <a:gd name="T0" fmla="*/ 0 w 1494"/>
                  <a:gd name="T1" fmla="*/ 0 h 4781"/>
                  <a:gd name="T2" fmla="*/ 0 w 1494"/>
                  <a:gd name="T3" fmla="*/ 4781 h 4781"/>
                  <a:gd name="T4" fmla="*/ 1494 w 1494"/>
                  <a:gd name="T5" fmla="*/ 4781 h 4781"/>
                  <a:gd name="T6" fmla="*/ 1494 w 1494"/>
                  <a:gd name="T7" fmla="*/ 0 h 4781"/>
                  <a:gd name="T8" fmla="*/ 0 w 1494"/>
                  <a:gd name="T9" fmla="*/ 0 h 4781"/>
                  <a:gd name="T10" fmla="*/ 739 w 1494"/>
                  <a:gd name="T11" fmla="*/ 4575 h 4781"/>
                  <a:gd name="T12" fmla="*/ 368 w 1494"/>
                  <a:gd name="T13" fmla="*/ 4199 h 4781"/>
                  <a:gd name="T14" fmla="*/ 357 w 1494"/>
                  <a:gd name="T15" fmla="*/ 357 h 4781"/>
                  <a:gd name="T16" fmla="*/ 1121 w 1494"/>
                  <a:gd name="T17" fmla="*/ 359 h 4781"/>
                  <a:gd name="T18" fmla="*/ 1121 w 1494"/>
                  <a:gd name="T19" fmla="*/ 2839 h 4781"/>
                  <a:gd name="T20" fmla="*/ 1124 w 1494"/>
                  <a:gd name="T21" fmla="*/ 4203 h 4781"/>
                  <a:gd name="T22" fmla="*/ 739 w 1494"/>
                  <a:gd name="T23" fmla="*/ 4575 h 47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94" h="4781">
                    <a:moveTo>
                      <a:pt x="0" y="0"/>
                    </a:moveTo>
                    <a:cubicBezTo>
                      <a:pt x="0" y="4781"/>
                      <a:pt x="0" y="4781"/>
                      <a:pt x="0" y="4781"/>
                    </a:cubicBezTo>
                    <a:cubicBezTo>
                      <a:pt x="1494" y="4781"/>
                      <a:pt x="1494" y="4781"/>
                      <a:pt x="1494" y="4781"/>
                    </a:cubicBezTo>
                    <a:cubicBezTo>
                      <a:pt x="1494" y="0"/>
                      <a:pt x="1494" y="0"/>
                      <a:pt x="1494" y="0"/>
                    </a:cubicBezTo>
                    <a:lnTo>
                      <a:pt x="0" y="0"/>
                    </a:lnTo>
                    <a:close/>
                    <a:moveTo>
                      <a:pt x="739" y="4575"/>
                    </a:moveTo>
                    <a:cubicBezTo>
                      <a:pt x="535" y="4575"/>
                      <a:pt x="368" y="4406"/>
                      <a:pt x="368" y="4199"/>
                    </a:cubicBezTo>
                    <a:cubicBezTo>
                      <a:pt x="357" y="357"/>
                      <a:pt x="357" y="357"/>
                      <a:pt x="357" y="357"/>
                    </a:cubicBezTo>
                    <a:cubicBezTo>
                      <a:pt x="1121" y="359"/>
                      <a:pt x="1121" y="359"/>
                      <a:pt x="1121" y="359"/>
                    </a:cubicBezTo>
                    <a:cubicBezTo>
                      <a:pt x="1121" y="2839"/>
                      <a:pt x="1121" y="2839"/>
                      <a:pt x="1121" y="2839"/>
                    </a:cubicBezTo>
                    <a:cubicBezTo>
                      <a:pt x="1124" y="4203"/>
                      <a:pt x="1124" y="4203"/>
                      <a:pt x="1124" y="4203"/>
                    </a:cubicBezTo>
                    <a:cubicBezTo>
                      <a:pt x="1124" y="4405"/>
                      <a:pt x="948" y="4575"/>
                      <a:pt x="739" y="4575"/>
                    </a:cubicBezTo>
                    <a:close/>
                  </a:path>
                </a:pathLst>
              </a:cu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 dirty="0"/>
              </a:p>
            </p:txBody>
          </p:sp>
          <p:sp>
            <p:nvSpPr>
              <p:cNvPr id="33" name="Freeform 72"/>
              <p:cNvSpPr>
                <a:spLocks noEditPoints="1"/>
              </p:cNvSpPr>
              <p:nvPr/>
            </p:nvSpPr>
            <p:spPr bwMode="auto">
              <a:xfrm>
                <a:off x="2740025" y="4367213"/>
                <a:ext cx="1627188" cy="6194425"/>
              </a:xfrm>
              <a:custGeom>
                <a:avLst/>
                <a:gdLst>
                  <a:gd name="T0" fmla="*/ 599 w 1214"/>
                  <a:gd name="T1" fmla="*/ 4623 h 4623"/>
                  <a:gd name="T2" fmla="*/ 103 w 1214"/>
                  <a:gd name="T3" fmla="*/ 4122 h 4623"/>
                  <a:gd name="T4" fmla="*/ 108 w 1214"/>
                  <a:gd name="T5" fmla="*/ 359 h 4623"/>
                  <a:gd name="T6" fmla="*/ 3 w 1214"/>
                  <a:gd name="T7" fmla="*/ 83 h 4623"/>
                  <a:gd name="T8" fmla="*/ 48 w 1214"/>
                  <a:gd name="T9" fmla="*/ 3 h 4623"/>
                  <a:gd name="T10" fmla="*/ 56 w 1214"/>
                  <a:gd name="T11" fmla="*/ 0 h 4623"/>
                  <a:gd name="T12" fmla="*/ 1158 w 1214"/>
                  <a:gd name="T13" fmla="*/ 0 h 4623"/>
                  <a:gd name="T14" fmla="*/ 1166 w 1214"/>
                  <a:gd name="T15" fmla="*/ 3 h 4623"/>
                  <a:gd name="T16" fmla="*/ 1211 w 1214"/>
                  <a:gd name="T17" fmla="*/ 87 h 4623"/>
                  <a:gd name="T18" fmla="*/ 1106 w 1214"/>
                  <a:gd name="T19" fmla="*/ 359 h 4623"/>
                  <a:gd name="T20" fmla="*/ 1106 w 1214"/>
                  <a:gd name="T21" fmla="*/ 2762 h 4623"/>
                  <a:gd name="T22" fmla="*/ 1109 w 1214"/>
                  <a:gd name="T23" fmla="*/ 4126 h 4623"/>
                  <a:gd name="T24" fmla="*/ 599 w 1214"/>
                  <a:gd name="T25" fmla="*/ 4623 h 4623"/>
                  <a:gd name="T26" fmla="*/ 82 w 1214"/>
                  <a:gd name="T27" fmla="*/ 78 h 4623"/>
                  <a:gd name="T28" fmla="*/ 82 w 1214"/>
                  <a:gd name="T29" fmla="*/ 83 h 4623"/>
                  <a:gd name="T30" fmla="*/ 181 w 1214"/>
                  <a:gd name="T31" fmla="*/ 328 h 4623"/>
                  <a:gd name="T32" fmla="*/ 187 w 1214"/>
                  <a:gd name="T33" fmla="*/ 337 h 4623"/>
                  <a:gd name="T34" fmla="*/ 181 w 1214"/>
                  <a:gd name="T35" fmla="*/ 4122 h 4623"/>
                  <a:gd name="T36" fmla="*/ 599 w 1214"/>
                  <a:gd name="T37" fmla="*/ 4545 h 4623"/>
                  <a:gd name="T38" fmla="*/ 902 w 1214"/>
                  <a:gd name="T39" fmla="*/ 4422 h 4623"/>
                  <a:gd name="T40" fmla="*/ 1030 w 1214"/>
                  <a:gd name="T41" fmla="*/ 4126 h 4623"/>
                  <a:gd name="T42" fmla="*/ 1027 w 1214"/>
                  <a:gd name="T43" fmla="*/ 2762 h 4623"/>
                  <a:gd name="T44" fmla="*/ 1027 w 1214"/>
                  <a:gd name="T45" fmla="*/ 337 h 4623"/>
                  <a:gd name="T46" fmla="*/ 1033 w 1214"/>
                  <a:gd name="T47" fmla="*/ 328 h 4623"/>
                  <a:gd name="T48" fmla="*/ 1132 w 1214"/>
                  <a:gd name="T49" fmla="*/ 87 h 4623"/>
                  <a:gd name="T50" fmla="*/ 1132 w 1214"/>
                  <a:gd name="T51" fmla="*/ 78 h 4623"/>
                  <a:gd name="T52" fmla="*/ 82 w 1214"/>
                  <a:gd name="T53" fmla="*/ 78 h 4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14" h="4623">
                    <a:moveTo>
                      <a:pt x="599" y="4623"/>
                    </a:moveTo>
                    <a:cubicBezTo>
                      <a:pt x="326" y="4623"/>
                      <a:pt x="103" y="4398"/>
                      <a:pt x="103" y="4122"/>
                    </a:cubicBezTo>
                    <a:cubicBezTo>
                      <a:pt x="108" y="359"/>
                      <a:pt x="108" y="359"/>
                      <a:pt x="108" y="359"/>
                    </a:cubicBezTo>
                    <a:cubicBezTo>
                      <a:pt x="83" y="317"/>
                      <a:pt x="0" y="170"/>
                      <a:pt x="3" y="83"/>
                    </a:cubicBezTo>
                    <a:cubicBezTo>
                      <a:pt x="1" y="38"/>
                      <a:pt x="31" y="12"/>
                      <a:pt x="48" y="3"/>
                    </a:cubicBezTo>
                    <a:cubicBezTo>
                      <a:pt x="56" y="0"/>
                      <a:pt x="56" y="0"/>
                      <a:pt x="56" y="0"/>
                    </a:cubicBezTo>
                    <a:cubicBezTo>
                      <a:pt x="1158" y="0"/>
                      <a:pt x="1158" y="0"/>
                      <a:pt x="1158" y="0"/>
                    </a:cubicBezTo>
                    <a:cubicBezTo>
                      <a:pt x="1166" y="3"/>
                      <a:pt x="1166" y="3"/>
                      <a:pt x="1166" y="3"/>
                    </a:cubicBezTo>
                    <a:cubicBezTo>
                      <a:pt x="1183" y="12"/>
                      <a:pt x="1213" y="38"/>
                      <a:pt x="1211" y="87"/>
                    </a:cubicBezTo>
                    <a:cubicBezTo>
                      <a:pt x="1214" y="170"/>
                      <a:pt x="1131" y="317"/>
                      <a:pt x="1106" y="359"/>
                    </a:cubicBezTo>
                    <a:cubicBezTo>
                      <a:pt x="1106" y="2762"/>
                      <a:pt x="1106" y="2762"/>
                      <a:pt x="1106" y="2762"/>
                    </a:cubicBezTo>
                    <a:cubicBezTo>
                      <a:pt x="1109" y="4126"/>
                      <a:pt x="1109" y="4126"/>
                      <a:pt x="1109" y="4126"/>
                    </a:cubicBezTo>
                    <a:cubicBezTo>
                      <a:pt x="1109" y="4400"/>
                      <a:pt x="880" y="4623"/>
                      <a:pt x="599" y="4623"/>
                    </a:cubicBezTo>
                    <a:close/>
                    <a:moveTo>
                      <a:pt x="82" y="78"/>
                    </a:moveTo>
                    <a:cubicBezTo>
                      <a:pt x="82" y="80"/>
                      <a:pt x="82" y="81"/>
                      <a:pt x="82" y="83"/>
                    </a:cubicBezTo>
                    <a:cubicBezTo>
                      <a:pt x="79" y="141"/>
                      <a:pt x="141" y="263"/>
                      <a:pt x="181" y="328"/>
                    </a:cubicBezTo>
                    <a:cubicBezTo>
                      <a:pt x="187" y="337"/>
                      <a:pt x="187" y="337"/>
                      <a:pt x="187" y="337"/>
                    </a:cubicBezTo>
                    <a:cubicBezTo>
                      <a:pt x="181" y="4122"/>
                      <a:pt x="181" y="4122"/>
                      <a:pt x="181" y="4122"/>
                    </a:cubicBezTo>
                    <a:cubicBezTo>
                      <a:pt x="181" y="4355"/>
                      <a:pt x="369" y="4545"/>
                      <a:pt x="599" y="4545"/>
                    </a:cubicBezTo>
                    <a:cubicBezTo>
                      <a:pt x="712" y="4545"/>
                      <a:pt x="820" y="4501"/>
                      <a:pt x="902" y="4422"/>
                    </a:cubicBezTo>
                    <a:cubicBezTo>
                      <a:pt x="985" y="4343"/>
                      <a:pt x="1030" y="4237"/>
                      <a:pt x="1030" y="4126"/>
                    </a:cubicBezTo>
                    <a:cubicBezTo>
                      <a:pt x="1027" y="2762"/>
                      <a:pt x="1027" y="2762"/>
                      <a:pt x="1027" y="2762"/>
                    </a:cubicBezTo>
                    <a:cubicBezTo>
                      <a:pt x="1027" y="337"/>
                      <a:pt x="1027" y="337"/>
                      <a:pt x="1027" y="337"/>
                    </a:cubicBezTo>
                    <a:cubicBezTo>
                      <a:pt x="1033" y="328"/>
                      <a:pt x="1033" y="328"/>
                      <a:pt x="1033" y="328"/>
                    </a:cubicBezTo>
                    <a:cubicBezTo>
                      <a:pt x="1073" y="263"/>
                      <a:pt x="1135" y="141"/>
                      <a:pt x="1132" y="87"/>
                    </a:cubicBezTo>
                    <a:cubicBezTo>
                      <a:pt x="1132" y="83"/>
                      <a:pt x="1132" y="80"/>
                      <a:pt x="1132" y="78"/>
                    </a:cubicBezTo>
                    <a:lnTo>
                      <a:pt x="82" y="78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2927607" y="1584251"/>
            <a:ext cx="1219314" cy="1665516"/>
            <a:chOff x="6744145" y="4753150"/>
            <a:chExt cx="3973483" cy="5427557"/>
          </a:xfrm>
        </p:grpSpPr>
        <p:sp>
          <p:nvSpPr>
            <p:cNvPr id="44" name="Rectangle 43"/>
            <p:cNvSpPr/>
            <p:nvPr/>
          </p:nvSpPr>
          <p:spPr>
            <a:xfrm>
              <a:off x="6982792" y="8312336"/>
              <a:ext cx="3496188" cy="1776901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6744145" y="4753150"/>
              <a:ext cx="3973483" cy="5427557"/>
              <a:chOff x="5762625" y="4264026"/>
              <a:chExt cx="4689475" cy="6405563"/>
            </a:xfrm>
          </p:grpSpPr>
          <p:sp>
            <p:nvSpPr>
              <p:cNvPr id="67" name="Freeform 8"/>
              <p:cNvSpPr>
                <a:spLocks noEditPoints="1"/>
              </p:cNvSpPr>
              <p:nvPr/>
            </p:nvSpPr>
            <p:spPr bwMode="auto">
              <a:xfrm>
                <a:off x="5762625" y="4264026"/>
                <a:ext cx="4689475" cy="6405563"/>
              </a:xfrm>
              <a:custGeom>
                <a:avLst/>
                <a:gdLst>
                  <a:gd name="T0" fmla="*/ 0 w 3501"/>
                  <a:gd name="T1" fmla="*/ 0 h 4780"/>
                  <a:gd name="T2" fmla="*/ 0 w 3501"/>
                  <a:gd name="T3" fmla="*/ 4780 h 4780"/>
                  <a:gd name="T4" fmla="*/ 3501 w 3501"/>
                  <a:gd name="T5" fmla="*/ 4780 h 4780"/>
                  <a:gd name="T6" fmla="*/ 3501 w 3501"/>
                  <a:gd name="T7" fmla="*/ 0 h 4780"/>
                  <a:gd name="T8" fmla="*/ 0 w 3501"/>
                  <a:gd name="T9" fmla="*/ 0 h 4780"/>
                  <a:gd name="T10" fmla="*/ 2380 w 3501"/>
                  <a:gd name="T11" fmla="*/ 4519 h 4780"/>
                  <a:gd name="T12" fmla="*/ 1120 w 3501"/>
                  <a:gd name="T13" fmla="*/ 4519 h 4780"/>
                  <a:gd name="T14" fmla="*/ 313 w 3501"/>
                  <a:gd name="T15" fmla="*/ 3227 h 4780"/>
                  <a:gd name="T16" fmla="*/ 1315 w 3501"/>
                  <a:gd name="T17" fmla="*/ 2102 h 4780"/>
                  <a:gd name="T18" fmla="*/ 1342 w 3501"/>
                  <a:gd name="T19" fmla="*/ 2095 h 4780"/>
                  <a:gd name="T20" fmla="*/ 1342 w 3501"/>
                  <a:gd name="T21" fmla="*/ 386 h 4780"/>
                  <a:gd name="T22" fmla="*/ 1337 w 3501"/>
                  <a:gd name="T23" fmla="*/ 377 h 4780"/>
                  <a:gd name="T24" fmla="*/ 1274 w 3501"/>
                  <a:gd name="T25" fmla="*/ 226 h 4780"/>
                  <a:gd name="T26" fmla="*/ 2215 w 3501"/>
                  <a:gd name="T27" fmla="*/ 226 h 4780"/>
                  <a:gd name="T28" fmla="*/ 2227 w 3501"/>
                  <a:gd name="T29" fmla="*/ 226 h 4780"/>
                  <a:gd name="T30" fmla="*/ 2164 w 3501"/>
                  <a:gd name="T31" fmla="*/ 377 h 4780"/>
                  <a:gd name="T32" fmla="*/ 2158 w 3501"/>
                  <a:gd name="T33" fmla="*/ 386 h 4780"/>
                  <a:gd name="T34" fmla="*/ 2158 w 3501"/>
                  <a:gd name="T35" fmla="*/ 2095 h 4780"/>
                  <a:gd name="T36" fmla="*/ 2185 w 3501"/>
                  <a:gd name="T37" fmla="*/ 2102 h 4780"/>
                  <a:gd name="T38" fmla="*/ 3187 w 3501"/>
                  <a:gd name="T39" fmla="*/ 3227 h 4780"/>
                  <a:gd name="T40" fmla="*/ 2380 w 3501"/>
                  <a:gd name="T41" fmla="*/ 4519 h 4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501" h="4780">
                    <a:moveTo>
                      <a:pt x="0" y="0"/>
                    </a:moveTo>
                    <a:cubicBezTo>
                      <a:pt x="0" y="4780"/>
                      <a:pt x="0" y="4780"/>
                      <a:pt x="0" y="4780"/>
                    </a:cubicBezTo>
                    <a:cubicBezTo>
                      <a:pt x="3501" y="4780"/>
                      <a:pt x="3501" y="4780"/>
                      <a:pt x="3501" y="4780"/>
                    </a:cubicBezTo>
                    <a:cubicBezTo>
                      <a:pt x="3501" y="0"/>
                      <a:pt x="3501" y="0"/>
                      <a:pt x="3501" y="0"/>
                    </a:cubicBezTo>
                    <a:lnTo>
                      <a:pt x="0" y="0"/>
                    </a:lnTo>
                    <a:close/>
                    <a:moveTo>
                      <a:pt x="2380" y="4519"/>
                    </a:moveTo>
                    <a:cubicBezTo>
                      <a:pt x="1120" y="4519"/>
                      <a:pt x="1120" y="4519"/>
                      <a:pt x="1120" y="4519"/>
                    </a:cubicBezTo>
                    <a:cubicBezTo>
                      <a:pt x="881" y="4458"/>
                      <a:pt x="234" y="4113"/>
                      <a:pt x="313" y="3227"/>
                    </a:cubicBezTo>
                    <a:cubicBezTo>
                      <a:pt x="394" y="2323"/>
                      <a:pt x="1306" y="2105"/>
                      <a:pt x="1315" y="2102"/>
                    </a:cubicBezTo>
                    <a:cubicBezTo>
                      <a:pt x="1342" y="2095"/>
                      <a:pt x="1342" y="2095"/>
                      <a:pt x="1342" y="2095"/>
                    </a:cubicBezTo>
                    <a:cubicBezTo>
                      <a:pt x="1342" y="386"/>
                      <a:pt x="1342" y="386"/>
                      <a:pt x="1342" y="386"/>
                    </a:cubicBezTo>
                    <a:cubicBezTo>
                      <a:pt x="1337" y="377"/>
                      <a:pt x="1337" y="377"/>
                      <a:pt x="1337" y="377"/>
                    </a:cubicBezTo>
                    <a:cubicBezTo>
                      <a:pt x="1303" y="320"/>
                      <a:pt x="1276" y="254"/>
                      <a:pt x="1274" y="226"/>
                    </a:cubicBezTo>
                    <a:cubicBezTo>
                      <a:pt x="2215" y="226"/>
                      <a:pt x="2215" y="226"/>
                      <a:pt x="2215" y="226"/>
                    </a:cubicBezTo>
                    <a:cubicBezTo>
                      <a:pt x="2227" y="226"/>
                      <a:pt x="2227" y="226"/>
                      <a:pt x="2227" y="226"/>
                    </a:cubicBezTo>
                    <a:cubicBezTo>
                      <a:pt x="2225" y="254"/>
                      <a:pt x="2197" y="320"/>
                      <a:pt x="2164" y="377"/>
                    </a:cubicBezTo>
                    <a:cubicBezTo>
                      <a:pt x="2158" y="386"/>
                      <a:pt x="2158" y="386"/>
                      <a:pt x="2158" y="386"/>
                    </a:cubicBezTo>
                    <a:cubicBezTo>
                      <a:pt x="2158" y="2095"/>
                      <a:pt x="2158" y="2095"/>
                      <a:pt x="2158" y="2095"/>
                    </a:cubicBezTo>
                    <a:cubicBezTo>
                      <a:pt x="2185" y="2102"/>
                      <a:pt x="2185" y="2102"/>
                      <a:pt x="2185" y="2102"/>
                    </a:cubicBezTo>
                    <a:cubicBezTo>
                      <a:pt x="2194" y="2105"/>
                      <a:pt x="3106" y="2323"/>
                      <a:pt x="3187" y="3227"/>
                    </a:cubicBezTo>
                    <a:cubicBezTo>
                      <a:pt x="3267" y="4113"/>
                      <a:pt x="2619" y="4458"/>
                      <a:pt x="2380" y="4519"/>
                    </a:cubicBezTo>
                    <a:close/>
                  </a:path>
                </a:pathLst>
              </a:cu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68" name="Freeform 73"/>
              <p:cNvSpPr>
                <a:spLocks noEditPoints="1"/>
              </p:cNvSpPr>
              <p:nvPr/>
            </p:nvSpPr>
            <p:spPr bwMode="auto">
              <a:xfrm>
                <a:off x="5838826" y="4387852"/>
                <a:ext cx="4537074" cy="6138863"/>
              </a:xfrm>
              <a:custGeom>
                <a:avLst/>
                <a:gdLst>
                  <a:gd name="T0" fmla="*/ 2371 w 3387"/>
                  <a:gd name="T1" fmla="*/ 4581 h 4581"/>
                  <a:gd name="T2" fmla="*/ 1011 w 3387"/>
                  <a:gd name="T3" fmla="*/ 4580 h 4581"/>
                  <a:gd name="T4" fmla="*/ 90 w 3387"/>
                  <a:gd name="T5" fmla="*/ 3150 h 4581"/>
                  <a:gd name="T6" fmla="*/ 1140 w 3387"/>
                  <a:gd name="T7" fmla="*/ 1896 h 4581"/>
                  <a:gd name="T8" fmla="*/ 1140 w 3387"/>
                  <a:gd name="T9" fmla="*/ 264 h 4581"/>
                  <a:gd name="T10" fmla="*/ 1076 w 3387"/>
                  <a:gd name="T11" fmla="*/ 33 h 4581"/>
                  <a:gd name="T12" fmla="*/ 1137 w 3387"/>
                  <a:gd name="T13" fmla="*/ 0 h 4581"/>
                  <a:gd name="T14" fmla="*/ 2249 w 3387"/>
                  <a:gd name="T15" fmla="*/ 0 h 4581"/>
                  <a:gd name="T16" fmla="*/ 2310 w 3387"/>
                  <a:gd name="T17" fmla="*/ 33 h 4581"/>
                  <a:gd name="T18" fmla="*/ 2247 w 3387"/>
                  <a:gd name="T19" fmla="*/ 264 h 4581"/>
                  <a:gd name="T20" fmla="*/ 2247 w 3387"/>
                  <a:gd name="T21" fmla="*/ 1896 h 4581"/>
                  <a:gd name="T22" fmla="*/ 3297 w 3387"/>
                  <a:gd name="T23" fmla="*/ 3150 h 4581"/>
                  <a:gd name="T24" fmla="*/ 2376 w 3387"/>
                  <a:gd name="T25" fmla="*/ 4580 h 4581"/>
                  <a:gd name="T26" fmla="*/ 2371 w 3387"/>
                  <a:gd name="T27" fmla="*/ 4581 h 4581"/>
                  <a:gd name="T28" fmla="*/ 1025 w 3387"/>
                  <a:gd name="T29" fmla="*/ 4503 h 4581"/>
                  <a:gd name="T30" fmla="*/ 2362 w 3387"/>
                  <a:gd name="T31" fmla="*/ 4503 h 4581"/>
                  <a:gd name="T32" fmla="*/ 3219 w 3387"/>
                  <a:gd name="T33" fmla="*/ 3157 h 4581"/>
                  <a:gd name="T34" fmla="*/ 2197 w 3387"/>
                  <a:gd name="T35" fmla="*/ 1962 h 4581"/>
                  <a:gd name="T36" fmla="*/ 2168 w 3387"/>
                  <a:gd name="T37" fmla="*/ 1954 h 4581"/>
                  <a:gd name="T38" fmla="*/ 2168 w 3387"/>
                  <a:gd name="T39" fmla="*/ 242 h 4581"/>
                  <a:gd name="T40" fmla="*/ 2174 w 3387"/>
                  <a:gd name="T41" fmla="*/ 232 h 4581"/>
                  <a:gd name="T42" fmla="*/ 2241 w 3387"/>
                  <a:gd name="T43" fmla="*/ 78 h 4581"/>
                  <a:gd name="T44" fmla="*/ 2229 w 3387"/>
                  <a:gd name="T45" fmla="*/ 78 h 4581"/>
                  <a:gd name="T46" fmla="*/ 1145 w 3387"/>
                  <a:gd name="T47" fmla="*/ 78 h 4581"/>
                  <a:gd name="T48" fmla="*/ 1212 w 3387"/>
                  <a:gd name="T49" fmla="*/ 232 h 4581"/>
                  <a:gd name="T50" fmla="*/ 1218 w 3387"/>
                  <a:gd name="T51" fmla="*/ 242 h 4581"/>
                  <a:gd name="T52" fmla="*/ 1218 w 3387"/>
                  <a:gd name="T53" fmla="*/ 1954 h 4581"/>
                  <a:gd name="T54" fmla="*/ 1189 w 3387"/>
                  <a:gd name="T55" fmla="*/ 1962 h 4581"/>
                  <a:gd name="T56" fmla="*/ 168 w 3387"/>
                  <a:gd name="T57" fmla="*/ 3157 h 4581"/>
                  <a:gd name="T58" fmla="*/ 1025 w 3387"/>
                  <a:gd name="T59" fmla="*/ 4503 h 45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387" h="4581">
                    <a:moveTo>
                      <a:pt x="2371" y="4581"/>
                    </a:moveTo>
                    <a:cubicBezTo>
                      <a:pt x="1011" y="4580"/>
                      <a:pt x="1011" y="4580"/>
                      <a:pt x="1011" y="4580"/>
                    </a:cubicBezTo>
                    <a:cubicBezTo>
                      <a:pt x="743" y="4517"/>
                      <a:pt x="0" y="4119"/>
                      <a:pt x="90" y="3150"/>
                    </a:cubicBezTo>
                    <a:cubicBezTo>
                      <a:pt x="172" y="2264"/>
                      <a:pt x="976" y="1950"/>
                      <a:pt x="1140" y="1896"/>
                    </a:cubicBezTo>
                    <a:cubicBezTo>
                      <a:pt x="1140" y="264"/>
                      <a:pt x="1140" y="264"/>
                      <a:pt x="1140" y="264"/>
                    </a:cubicBezTo>
                    <a:cubicBezTo>
                      <a:pt x="1100" y="198"/>
                      <a:pt x="1045" y="88"/>
                      <a:pt x="1076" y="33"/>
                    </a:cubicBezTo>
                    <a:cubicBezTo>
                      <a:pt x="1083" y="20"/>
                      <a:pt x="1100" y="0"/>
                      <a:pt x="1137" y="0"/>
                    </a:cubicBezTo>
                    <a:cubicBezTo>
                      <a:pt x="2249" y="0"/>
                      <a:pt x="2249" y="0"/>
                      <a:pt x="2249" y="0"/>
                    </a:cubicBezTo>
                    <a:cubicBezTo>
                      <a:pt x="2286" y="0"/>
                      <a:pt x="2303" y="20"/>
                      <a:pt x="2310" y="33"/>
                    </a:cubicBezTo>
                    <a:cubicBezTo>
                      <a:pt x="2341" y="88"/>
                      <a:pt x="2287" y="198"/>
                      <a:pt x="2247" y="264"/>
                    </a:cubicBezTo>
                    <a:cubicBezTo>
                      <a:pt x="2247" y="1896"/>
                      <a:pt x="2247" y="1896"/>
                      <a:pt x="2247" y="1896"/>
                    </a:cubicBezTo>
                    <a:cubicBezTo>
                      <a:pt x="2410" y="1950"/>
                      <a:pt x="3214" y="2264"/>
                      <a:pt x="3297" y="3150"/>
                    </a:cubicBezTo>
                    <a:cubicBezTo>
                      <a:pt x="3387" y="4119"/>
                      <a:pt x="2643" y="4517"/>
                      <a:pt x="2376" y="4580"/>
                    </a:cubicBezTo>
                    <a:lnTo>
                      <a:pt x="2371" y="4581"/>
                    </a:lnTo>
                    <a:close/>
                    <a:moveTo>
                      <a:pt x="1025" y="4503"/>
                    </a:moveTo>
                    <a:cubicBezTo>
                      <a:pt x="2362" y="4503"/>
                      <a:pt x="2362" y="4503"/>
                      <a:pt x="2362" y="4503"/>
                    </a:cubicBezTo>
                    <a:cubicBezTo>
                      <a:pt x="2616" y="4441"/>
                      <a:pt x="3303" y="4066"/>
                      <a:pt x="3219" y="3157"/>
                    </a:cubicBezTo>
                    <a:cubicBezTo>
                      <a:pt x="3132" y="2230"/>
                      <a:pt x="2207" y="1965"/>
                      <a:pt x="2197" y="1962"/>
                    </a:cubicBezTo>
                    <a:cubicBezTo>
                      <a:pt x="2168" y="1954"/>
                      <a:pt x="2168" y="1954"/>
                      <a:pt x="2168" y="1954"/>
                    </a:cubicBezTo>
                    <a:cubicBezTo>
                      <a:pt x="2168" y="242"/>
                      <a:pt x="2168" y="242"/>
                      <a:pt x="2168" y="242"/>
                    </a:cubicBezTo>
                    <a:cubicBezTo>
                      <a:pt x="2174" y="232"/>
                      <a:pt x="2174" y="232"/>
                      <a:pt x="2174" y="232"/>
                    </a:cubicBezTo>
                    <a:cubicBezTo>
                      <a:pt x="2210" y="174"/>
                      <a:pt x="2239" y="106"/>
                      <a:pt x="2241" y="78"/>
                    </a:cubicBezTo>
                    <a:cubicBezTo>
                      <a:pt x="2229" y="78"/>
                      <a:pt x="2229" y="78"/>
                      <a:pt x="2229" y="78"/>
                    </a:cubicBezTo>
                    <a:cubicBezTo>
                      <a:pt x="1145" y="78"/>
                      <a:pt x="1145" y="78"/>
                      <a:pt x="1145" y="78"/>
                    </a:cubicBezTo>
                    <a:cubicBezTo>
                      <a:pt x="1147" y="106"/>
                      <a:pt x="1176" y="174"/>
                      <a:pt x="1212" y="232"/>
                    </a:cubicBezTo>
                    <a:cubicBezTo>
                      <a:pt x="1218" y="242"/>
                      <a:pt x="1218" y="242"/>
                      <a:pt x="1218" y="242"/>
                    </a:cubicBezTo>
                    <a:cubicBezTo>
                      <a:pt x="1218" y="1954"/>
                      <a:pt x="1218" y="1954"/>
                      <a:pt x="1218" y="1954"/>
                    </a:cubicBezTo>
                    <a:cubicBezTo>
                      <a:pt x="1189" y="1962"/>
                      <a:pt x="1189" y="1962"/>
                      <a:pt x="1189" y="1962"/>
                    </a:cubicBezTo>
                    <a:cubicBezTo>
                      <a:pt x="1180" y="1965"/>
                      <a:pt x="254" y="2230"/>
                      <a:pt x="168" y="3157"/>
                    </a:cubicBezTo>
                    <a:cubicBezTo>
                      <a:pt x="84" y="4066"/>
                      <a:pt x="771" y="4441"/>
                      <a:pt x="1025" y="450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8309192" y="7127285"/>
              <a:ext cx="905266" cy="1429862"/>
              <a:chOff x="7659688" y="6468270"/>
              <a:chExt cx="1068388" cy="1687513"/>
            </a:xfrm>
          </p:grpSpPr>
          <p:grpSp>
            <p:nvGrpSpPr>
              <p:cNvPr id="47" name="Group 46"/>
              <p:cNvGrpSpPr/>
              <p:nvPr/>
            </p:nvGrpSpPr>
            <p:grpSpPr>
              <a:xfrm>
                <a:off x="7856538" y="7473157"/>
                <a:ext cx="479425" cy="477838"/>
                <a:chOff x="7970838" y="9304338"/>
                <a:chExt cx="479425" cy="477838"/>
              </a:xfrm>
            </p:grpSpPr>
            <p:sp>
              <p:nvSpPr>
                <p:cNvPr id="63" name="Oval 64"/>
                <p:cNvSpPr>
                  <a:spLocks noChangeArrowheads="1"/>
                </p:cNvSpPr>
                <p:nvPr/>
              </p:nvSpPr>
              <p:spPr bwMode="auto">
                <a:xfrm>
                  <a:off x="7985125" y="9317038"/>
                  <a:ext cx="450850" cy="4540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64" name="Group 63"/>
                <p:cNvGrpSpPr/>
                <p:nvPr/>
              </p:nvGrpSpPr>
              <p:grpSpPr>
                <a:xfrm>
                  <a:off x="7970838" y="9304338"/>
                  <a:ext cx="479425" cy="477838"/>
                  <a:chOff x="7970838" y="9304338"/>
                  <a:chExt cx="479425" cy="477838"/>
                </a:xfrm>
              </p:grpSpPr>
              <p:sp>
                <p:nvSpPr>
                  <p:cNvPr id="65" name="Freeform 65"/>
                  <p:cNvSpPr>
                    <a:spLocks noEditPoints="1"/>
                  </p:cNvSpPr>
                  <p:nvPr/>
                </p:nvSpPr>
                <p:spPr bwMode="auto">
                  <a:xfrm>
                    <a:off x="7970838" y="9304338"/>
                    <a:ext cx="479425" cy="477838"/>
                  </a:xfrm>
                  <a:custGeom>
                    <a:avLst/>
                    <a:gdLst>
                      <a:gd name="T0" fmla="*/ 178 w 357"/>
                      <a:gd name="T1" fmla="*/ 357 h 357"/>
                      <a:gd name="T2" fmla="*/ 0 w 357"/>
                      <a:gd name="T3" fmla="*/ 179 h 357"/>
                      <a:gd name="T4" fmla="*/ 178 w 357"/>
                      <a:gd name="T5" fmla="*/ 0 h 357"/>
                      <a:gd name="T6" fmla="*/ 357 w 357"/>
                      <a:gd name="T7" fmla="*/ 179 h 357"/>
                      <a:gd name="T8" fmla="*/ 178 w 357"/>
                      <a:gd name="T9" fmla="*/ 357 h 357"/>
                      <a:gd name="T10" fmla="*/ 178 w 357"/>
                      <a:gd name="T11" fmla="*/ 20 h 357"/>
                      <a:gd name="T12" fmla="*/ 19 w 357"/>
                      <a:gd name="T13" fmla="*/ 179 h 357"/>
                      <a:gd name="T14" fmla="*/ 178 w 357"/>
                      <a:gd name="T15" fmla="*/ 338 h 357"/>
                      <a:gd name="T16" fmla="*/ 338 w 357"/>
                      <a:gd name="T17" fmla="*/ 179 h 357"/>
                      <a:gd name="T18" fmla="*/ 178 w 357"/>
                      <a:gd name="T19" fmla="*/ 20 h 3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57" h="357">
                        <a:moveTo>
                          <a:pt x="178" y="357"/>
                        </a:moveTo>
                        <a:cubicBezTo>
                          <a:pt x="80" y="357"/>
                          <a:pt x="0" y="277"/>
                          <a:pt x="0" y="179"/>
                        </a:cubicBezTo>
                        <a:cubicBezTo>
                          <a:pt x="0" y="80"/>
                          <a:pt x="80" y="0"/>
                          <a:pt x="178" y="0"/>
                        </a:cubicBezTo>
                        <a:cubicBezTo>
                          <a:pt x="277" y="0"/>
                          <a:pt x="357" y="80"/>
                          <a:pt x="357" y="179"/>
                        </a:cubicBezTo>
                        <a:cubicBezTo>
                          <a:pt x="357" y="277"/>
                          <a:pt x="277" y="357"/>
                          <a:pt x="178" y="357"/>
                        </a:cubicBezTo>
                        <a:close/>
                        <a:moveTo>
                          <a:pt x="178" y="20"/>
                        </a:moveTo>
                        <a:cubicBezTo>
                          <a:pt x="91" y="20"/>
                          <a:pt x="19" y="91"/>
                          <a:pt x="19" y="179"/>
                        </a:cubicBezTo>
                        <a:cubicBezTo>
                          <a:pt x="19" y="266"/>
                          <a:pt x="91" y="338"/>
                          <a:pt x="178" y="338"/>
                        </a:cubicBezTo>
                        <a:cubicBezTo>
                          <a:pt x="266" y="338"/>
                          <a:pt x="338" y="266"/>
                          <a:pt x="338" y="179"/>
                        </a:cubicBezTo>
                        <a:cubicBezTo>
                          <a:pt x="338" y="91"/>
                          <a:pt x="266" y="20"/>
                          <a:pt x="17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66" name="Freeform 67"/>
                  <p:cNvSpPr>
                    <a:spLocks/>
                  </p:cNvSpPr>
                  <p:nvPr/>
                </p:nvSpPr>
                <p:spPr bwMode="auto">
                  <a:xfrm>
                    <a:off x="8045450" y="9377363"/>
                    <a:ext cx="177800" cy="179388"/>
                  </a:xfrm>
                  <a:custGeom>
                    <a:avLst/>
                    <a:gdLst>
                      <a:gd name="T0" fmla="*/ 9 w 133"/>
                      <a:gd name="T1" fmla="*/ 133 h 133"/>
                      <a:gd name="T2" fmla="*/ 0 w 133"/>
                      <a:gd name="T3" fmla="*/ 124 h 133"/>
                      <a:gd name="T4" fmla="*/ 123 w 133"/>
                      <a:gd name="T5" fmla="*/ 0 h 133"/>
                      <a:gd name="T6" fmla="*/ 133 w 133"/>
                      <a:gd name="T7" fmla="*/ 10 h 133"/>
                      <a:gd name="T8" fmla="*/ 123 w 133"/>
                      <a:gd name="T9" fmla="*/ 19 h 133"/>
                      <a:gd name="T10" fmla="*/ 19 w 133"/>
                      <a:gd name="T11" fmla="*/ 124 h 133"/>
                      <a:gd name="T12" fmla="*/ 9 w 133"/>
                      <a:gd name="T13" fmla="*/ 133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3" h="133">
                        <a:moveTo>
                          <a:pt x="9" y="133"/>
                        </a:moveTo>
                        <a:cubicBezTo>
                          <a:pt x="4" y="133"/>
                          <a:pt x="0" y="129"/>
                          <a:pt x="0" y="124"/>
                        </a:cubicBezTo>
                        <a:cubicBezTo>
                          <a:pt x="0" y="55"/>
                          <a:pt x="55" y="0"/>
                          <a:pt x="123" y="0"/>
                        </a:cubicBezTo>
                        <a:cubicBezTo>
                          <a:pt x="129" y="0"/>
                          <a:pt x="133" y="4"/>
                          <a:pt x="133" y="10"/>
                        </a:cubicBezTo>
                        <a:cubicBezTo>
                          <a:pt x="133" y="15"/>
                          <a:pt x="129" y="19"/>
                          <a:pt x="123" y="19"/>
                        </a:cubicBezTo>
                        <a:cubicBezTo>
                          <a:pt x="66" y="19"/>
                          <a:pt x="19" y="66"/>
                          <a:pt x="19" y="124"/>
                        </a:cubicBezTo>
                        <a:cubicBezTo>
                          <a:pt x="19" y="129"/>
                          <a:pt x="15" y="133"/>
                          <a:pt x="9" y="13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48" name="Group 47"/>
              <p:cNvGrpSpPr/>
              <p:nvPr/>
            </p:nvGrpSpPr>
            <p:grpSpPr>
              <a:xfrm>
                <a:off x="8399463" y="7846220"/>
                <a:ext cx="309563" cy="309563"/>
                <a:chOff x="8513763" y="9677401"/>
                <a:chExt cx="309563" cy="309563"/>
              </a:xfrm>
            </p:grpSpPr>
            <p:sp>
              <p:nvSpPr>
                <p:cNvPr id="59" name="Oval 68"/>
                <p:cNvSpPr>
                  <a:spLocks noChangeArrowheads="1"/>
                </p:cNvSpPr>
                <p:nvPr/>
              </p:nvSpPr>
              <p:spPr bwMode="auto">
                <a:xfrm>
                  <a:off x="8528050" y="9691688"/>
                  <a:ext cx="282575" cy="28257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60" name="Group 59"/>
                <p:cNvGrpSpPr/>
                <p:nvPr/>
              </p:nvGrpSpPr>
              <p:grpSpPr>
                <a:xfrm>
                  <a:off x="8513763" y="9677401"/>
                  <a:ext cx="309563" cy="309563"/>
                  <a:chOff x="8513763" y="9677401"/>
                  <a:chExt cx="309563" cy="309563"/>
                </a:xfrm>
                <a:solidFill>
                  <a:schemeClr val="accent2"/>
                </a:solidFill>
              </p:grpSpPr>
              <p:sp>
                <p:nvSpPr>
                  <p:cNvPr id="61" name="Freeform 69"/>
                  <p:cNvSpPr>
                    <a:spLocks noEditPoints="1"/>
                  </p:cNvSpPr>
                  <p:nvPr/>
                </p:nvSpPr>
                <p:spPr bwMode="auto">
                  <a:xfrm>
                    <a:off x="8513763" y="9677401"/>
                    <a:ext cx="309563" cy="309563"/>
                  </a:xfrm>
                  <a:custGeom>
                    <a:avLst/>
                    <a:gdLst>
                      <a:gd name="T0" fmla="*/ 116 w 231"/>
                      <a:gd name="T1" fmla="*/ 231 h 231"/>
                      <a:gd name="T2" fmla="*/ 0 w 231"/>
                      <a:gd name="T3" fmla="*/ 116 h 231"/>
                      <a:gd name="T4" fmla="*/ 116 w 231"/>
                      <a:gd name="T5" fmla="*/ 0 h 231"/>
                      <a:gd name="T6" fmla="*/ 231 w 231"/>
                      <a:gd name="T7" fmla="*/ 116 h 231"/>
                      <a:gd name="T8" fmla="*/ 116 w 231"/>
                      <a:gd name="T9" fmla="*/ 231 h 231"/>
                      <a:gd name="T10" fmla="*/ 116 w 231"/>
                      <a:gd name="T11" fmla="*/ 20 h 231"/>
                      <a:gd name="T12" fmla="*/ 20 w 231"/>
                      <a:gd name="T13" fmla="*/ 116 h 231"/>
                      <a:gd name="T14" fmla="*/ 116 w 231"/>
                      <a:gd name="T15" fmla="*/ 212 h 231"/>
                      <a:gd name="T16" fmla="*/ 212 w 231"/>
                      <a:gd name="T17" fmla="*/ 116 h 231"/>
                      <a:gd name="T18" fmla="*/ 116 w 231"/>
                      <a:gd name="T19" fmla="*/ 20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1" h="231">
                        <a:moveTo>
                          <a:pt x="116" y="231"/>
                        </a:moveTo>
                        <a:cubicBezTo>
                          <a:pt x="52" y="231"/>
                          <a:pt x="0" y="179"/>
                          <a:pt x="0" y="116"/>
                        </a:cubicBezTo>
                        <a:cubicBezTo>
                          <a:pt x="0" y="52"/>
                          <a:pt x="52" y="0"/>
                          <a:pt x="116" y="0"/>
                        </a:cubicBezTo>
                        <a:cubicBezTo>
                          <a:pt x="179" y="0"/>
                          <a:pt x="231" y="52"/>
                          <a:pt x="231" y="116"/>
                        </a:cubicBezTo>
                        <a:cubicBezTo>
                          <a:pt x="231" y="179"/>
                          <a:pt x="179" y="231"/>
                          <a:pt x="116" y="231"/>
                        </a:cubicBezTo>
                        <a:close/>
                        <a:moveTo>
                          <a:pt x="116" y="20"/>
                        </a:moveTo>
                        <a:cubicBezTo>
                          <a:pt x="63" y="20"/>
                          <a:pt x="20" y="63"/>
                          <a:pt x="20" y="116"/>
                        </a:cubicBezTo>
                        <a:cubicBezTo>
                          <a:pt x="20" y="168"/>
                          <a:pt x="63" y="212"/>
                          <a:pt x="116" y="212"/>
                        </a:cubicBezTo>
                        <a:cubicBezTo>
                          <a:pt x="169" y="212"/>
                          <a:pt x="212" y="168"/>
                          <a:pt x="212" y="116"/>
                        </a:cubicBezTo>
                        <a:cubicBezTo>
                          <a:pt x="212" y="63"/>
                          <a:pt x="169" y="20"/>
                          <a:pt x="116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62" name="Freeform 71"/>
                  <p:cNvSpPr>
                    <a:spLocks/>
                  </p:cNvSpPr>
                  <p:nvPr/>
                </p:nvSpPr>
                <p:spPr bwMode="auto">
                  <a:xfrm>
                    <a:off x="8559800" y="9723438"/>
                    <a:ext cx="122238" cy="122238"/>
                  </a:xfrm>
                  <a:custGeom>
                    <a:avLst/>
                    <a:gdLst>
                      <a:gd name="T0" fmla="*/ 10 w 91"/>
                      <a:gd name="T1" fmla="*/ 91 h 91"/>
                      <a:gd name="T2" fmla="*/ 0 w 91"/>
                      <a:gd name="T3" fmla="*/ 82 h 91"/>
                      <a:gd name="T4" fmla="*/ 82 w 91"/>
                      <a:gd name="T5" fmla="*/ 0 h 91"/>
                      <a:gd name="T6" fmla="*/ 91 w 91"/>
                      <a:gd name="T7" fmla="*/ 10 h 91"/>
                      <a:gd name="T8" fmla="*/ 82 w 91"/>
                      <a:gd name="T9" fmla="*/ 20 h 91"/>
                      <a:gd name="T10" fmla="*/ 20 w 91"/>
                      <a:gd name="T11" fmla="*/ 82 h 91"/>
                      <a:gd name="T12" fmla="*/ 10 w 91"/>
                      <a:gd name="T13" fmla="*/ 91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1" h="91">
                        <a:moveTo>
                          <a:pt x="10" y="91"/>
                        </a:moveTo>
                        <a:cubicBezTo>
                          <a:pt x="5" y="91"/>
                          <a:pt x="0" y="87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87" y="0"/>
                          <a:pt x="91" y="5"/>
                          <a:pt x="91" y="10"/>
                        </a:cubicBezTo>
                        <a:cubicBezTo>
                          <a:pt x="91" y="15"/>
                          <a:pt x="87" y="20"/>
                          <a:pt x="82" y="20"/>
                        </a:cubicBezTo>
                        <a:cubicBezTo>
                          <a:pt x="48" y="20"/>
                          <a:pt x="20" y="48"/>
                          <a:pt x="20" y="82"/>
                        </a:cubicBezTo>
                        <a:cubicBezTo>
                          <a:pt x="20" y="87"/>
                          <a:pt x="16" y="91"/>
                          <a:pt x="10" y="9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49" name="Group 48"/>
              <p:cNvGrpSpPr/>
              <p:nvPr/>
            </p:nvGrpSpPr>
            <p:grpSpPr>
              <a:xfrm>
                <a:off x="7659688" y="6468270"/>
                <a:ext cx="690563" cy="692150"/>
                <a:chOff x="7773988" y="8299451"/>
                <a:chExt cx="690563" cy="692150"/>
              </a:xfrm>
            </p:grpSpPr>
            <p:sp>
              <p:nvSpPr>
                <p:cNvPr id="55" name="Oval 56"/>
                <p:cNvSpPr>
                  <a:spLocks noChangeArrowheads="1"/>
                </p:cNvSpPr>
                <p:nvPr/>
              </p:nvSpPr>
              <p:spPr bwMode="auto">
                <a:xfrm>
                  <a:off x="7786688" y="8312151"/>
                  <a:ext cx="665163" cy="666750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56" name="Group 55"/>
                <p:cNvGrpSpPr/>
                <p:nvPr/>
              </p:nvGrpSpPr>
              <p:grpSpPr>
                <a:xfrm>
                  <a:off x="7773988" y="8299451"/>
                  <a:ext cx="690563" cy="692150"/>
                  <a:chOff x="7773988" y="8299451"/>
                  <a:chExt cx="690563" cy="692150"/>
                </a:xfrm>
              </p:grpSpPr>
              <p:sp>
                <p:nvSpPr>
                  <p:cNvPr id="57" name="Freeform 57"/>
                  <p:cNvSpPr>
                    <a:spLocks noEditPoints="1"/>
                  </p:cNvSpPr>
                  <p:nvPr/>
                </p:nvSpPr>
                <p:spPr bwMode="auto">
                  <a:xfrm>
                    <a:off x="7773988" y="8299451"/>
                    <a:ext cx="690563" cy="692150"/>
                  </a:xfrm>
                  <a:custGeom>
                    <a:avLst/>
                    <a:gdLst>
                      <a:gd name="T0" fmla="*/ 258 w 516"/>
                      <a:gd name="T1" fmla="*/ 517 h 517"/>
                      <a:gd name="T2" fmla="*/ 0 w 516"/>
                      <a:gd name="T3" fmla="*/ 258 h 517"/>
                      <a:gd name="T4" fmla="*/ 258 w 516"/>
                      <a:gd name="T5" fmla="*/ 0 h 517"/>
                      <a:gd name="T6" fmla="*/ 516 w 516"/>
                      <a:gd name="T7" fmla="*/ 258 h 517"/>
                      <a:gd name="T8" fmla="*/ 258 w 516"/>
                      <a:gd name="T9" fmla="*/ 517 h 517"/>
                      <a:gd name="T10" fmla="*/ 258 w 516"/>
                      <a:gd name="T11" fmla="*/ 20 h 517"/>
                      <a:gd name="T12" fmla="*/ 20 w 516"/>
                      <a:gd name="T13" fmla="*/ 258 h 517"/>
                      <a:gd name="T14" fmla="*/ 258 w 516"/>
                      <a:gd name="T15" fmla="*/ 497 h 517"/>
                      <a:gd name="T16" fmla="*/ 497 w 516"/>
                      <a:gd name="T17" fmla="*/ 258 h 517"/>
                      <a:gd name="T18" fmla="*/ 258 w 516"/>
                      <a:gd name="T19" fmla="*/ 20 h 5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6" h="517">
                        <a:moveTo>
                          <a:pt x="258" y="517"/>
                        </a:moveTo>
                        <a:cubicBezTo>
                          <a:pt x="116" y="517"/>
                          <a:pt x="0" y="401"/>
                          <a:pt x="0" y="258"/>
                        </a:cubicBezTo>
                        <a:cubicBezTo>
                          <a:pt x="0" y="116"/>
                          <a:pt x="116" y="0"/>
                          <a:pt x="258" y="0"/>
                        </a:cubicBezTo>
                        <a:cubicBezTo>
                          <a:pt x="401" y="0"/>
                          <a:pt x="516" y="116"/>
                          <a:pt x="516" y="258"/>
                        </a:cubicBezTo>
                        <a:cubicBezTo>
                          <a:pt x="516" y="401"/>
                          <a:pt x="401" y="517"/>
                          <a:pt x="258" y="517"/>
                        </a:cubicBezTo>
                        <a:close/>
                        <a:moveTo>
                          <a:pt x="258" y="20"/>
                        </a:moveTo>
                        <a:cubicBezTo>
                          <a:pt x="127" y="20"/>
                          <a:pt x="20" y="127"/>
                          <a:pt x="20" y="258"/>
                        </a:cubicBezTo>
                        <a:cubicBezTo>
                          <a:pt x="20" y="390"/>
                          <a:pt x="127" y="497"/>
                          <a:pt x="258" y="497"/>
                        </a:cubicBezTo>
                        <a:cubicBezTo>
                          <a:pt x="390" y="497"/>
                          <a:pt x="497" y="390"/>
                          <a:pt x="497" y="258"/>
                        </a:cubicBezTo>
                        <a:cubicBezTo>
                          <a:pt x="497" y="127"/>
                          <a:pt x="390" y="20"/>
                          <a:pt x="25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58" name="Freeform 59"/>
                  <p:cNvSpPr>
                    <a:spLocks/>
                  </p:cNvSpPr>
                  <p:nvPr/>
                </p:nvSpPr>
                <p:spPr bwMode="auto">
                  <a:xfrm>
                    <a:off x="7881938" y="8407401"/>
                    <a:ext cx="250825" cy="250825"/>
                  </a:xfrm>
                  <a:custGeom>
                    <a:avLst/>
                    <a:gdLst>
                      <a:gd name="T0" fmla="*/ 10 w 187"/>
                      <a:gd name="T1" fmla="*/ 187 h 187"/>
                      <a:gd name="T2" fmla="*/ 0 w 187"/>
                      <a:gd name="T3" fmla="*/ 177 h 187"/>
                      <a:gd name="T4" fmla="*/ 177 w 187"/>
                      <a:gd name="T5" fmla="*/ 0 h 187"/>
                      <a:gd name="T6" fmla="*/ 187 w 187"/>
                      <a:gd name="T7" fmla="*/ 10 h 187"/>
                      <a:gd name="T8" fmla="*/ 177 w 187"/>
                      <a:gd name="T9" fmla="*/ 19 h 187"/>
                      <a:gd name="T10" fmla="*/ 19 w 187"/>
                      <a:gd name="T11" fmla="*/ 177 h 187"/>
                      <a:gd name="T12" fmla="*/ 10 w 187"/>
                      <a:gd name="T13" fmla="*/ 187 h 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7" h="187">
                        <a:moveTo>
                          <a:pt x="10" y="187"/>
                        </a:moveTo>
                        <a:cubicBezTo>
                          <a:pt x="4" y="187"/>
                          <a:pt x="0" y="183"/>
                          <a:pt x="0" y="177"/>
                        </a:cubicBezTo>
                        <a:cubicBezTo>
                          <a:pt x="0" y="80"/>
                          <a:pt x="79" y="0"/>
                          <a:pt x="177" y="0"/>
                        </a:cubicBezTo>
                        <a:cubicBezTo>
                          <a:pt x="183" y="0"/>
                          <a:pt x="187" y="4"/>
                          <a:pt x="187" y="10"/>
                        </a:cubicBezTo>
                        <a:cubicBezTo>
                          <a:pt x="187" y="15"/>
                          <a:pt x="183" y="19"/>
                          <a:pt x="177" y="19"/>
                        </a:cubicBezTo>
                        <a:cubicBezTo>
                          <a:pt x="90" y="19"/>
                          <a:pt x="19" y="90"/>
                          <a:pt x="19" y="177"/>
                        </a:cubicBezTo>
                        <a:cubicBezTo>
                          <a:pt x="19" y="183"/>
                          <a:pt x="15" y="187"/>
                          <a:pt x="10" y="187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50" name="Group 49"/>
              <p:cNvGrpSpPr/>
              <p:nvPr/>
            </p:nvGrpSpPr>
            <p:grpSpPr>
              <a:xfrm>
                <a:off x="8221663" y="7054057"/>
                <a:ext cx="506413" cy="506413"/>
                <a:chOff x="8335963" y="8885238"/>
                <a:chExt cx="506413" cy="506413"/>
              </a:xfrm>
            </p:grpSpPr>
            <p:sp>
              <p:nvSpPr>
                <p:cNvPr id="51" name="Oval 60"/>
                <p:cNvSpPr>
                  <a:spLocks noChangeArrowheads="1"/>
                </p:cNvSpPr>
                <p:nvPr/>
              </p:nvSpPr>
              <p:spPr bwMode="auto">
                <a:xfrm>
                  <a:off x="8348663" y="8897938"/>
                  <a:ext cx="479425" cy="4794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52" name="Group 51"/>
                <p:cNvGrpSpPr/>
                <p:nvPr/>
              </p:nvGrpSpPr>
              <p:grpSpPr>
                <a:xfrm>
                  <a:off x="8335963" y="8885238"/>
                  <a:ext cx="506413" cy="506413"/>
                  <a:chOff x="8335963" y="8885238"/>
                  <a:chExt cx="506413" cy="506413"/>
                </a:xfrm>
              </p:grpSpPr>
              <p:sp>
                <p:nvSpPr>
                  <p:cNvPr id="53" name="Freeform 61"/>
                  <p:cNvSpPr>
                    <a:spLocks noEditPoints="1"/>
                  </p:cNvSpPr>
                  <p:nvPr/>
                </p:nvSpPr>
                <p:spPr bwMode="auto">
                  <a:xfrm>
                    <a:off x="8335963" y="8885238"/>
                    <a:ext cx="506413" cy="506413"/>
                  </a:xfrm>
                  <a:custGeom>
                    <a:avLst/>
                    <a:gdLst>
                      <a:gd name="T0" fmla="*/ 189 w 378"/>
                      <a:gd name="T1" fmla="*/ 378 h 378"/>
                      <a:gd name="T2" fmla="*/ 0 w 378"/>
                      <a:gd name="T3" fmla="*/ 189 h 378"/>
                      <a:gd name="T4" fmla="*/ 189 w 378"/>
                      <a:gd name="T5" fmla="*/ 0 h 378"/>
                      <a:gd name="T6" fmla="*/ 378 w 378"/>
                      <a:gd name="T7" fmla="*/ 189 h 378"/>
                      <a:gd name="T8" fmla="*/ 189 w 378"/>
                      <a:gd name="T9" fmla="*/ 378 h 378"/>
                      <a:gd name="T10" fmla="*/ 189 w 378"/>
                      <a:gd name="T11" fmla="*/ 19 h 378"/>
                      <a:gd name="T12" fmla="*/ 20 w 378"/>
                      <a:gd name="T13" fmla="*/ 189 h 378"/>
                      <a:gd name="T14" fmla="*/ 189 w 378"/>
                      <a:gd name="T15" fmla="*/ 358 h 378"/>
                      <a:gd name="T16" fmla="*/ 358 w 378"/>
                      <a:gd name="T17" fmla="*/ 189 h 378"/>
                      <a:gd name="T18" fmla="*/ 189 w 378"/>
                      <a:gd name="T19" fmla="*/ 19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78" h="378">
                        <a:moveTo>
                          <a:pt x="189" y="378"/>
                        </a:moveTo>
                        <a:cubicBezTo>
                          <a:pt x="85" y="378"/>
                          <a:pt x="0" y="293"/>
                          <a:pt x="0" y="189"/>
                        </a:cubicBezTo>
                        <a:cubicBezTo>
                          <a:pt x="0" y="85"/>
                          <a:pt x="85" y="0"/>
                          <a:pt x="189" y="0"/>
                        </a:cubicBezTo>
                        <a:cubicBezTo>
                          <a:pt x="293" y="0"/>
                          <a:pt x="378" y="85"/>
                          <a:pt x="378" y="189"/>
                        </a:cubicBezTo>
                        <a:cubicBezTo>
                          <a:pt x="378" y="293"/>
                          <a:pt x="293" y="378"/>
                          <a:pt x="189" y="378"/>
                        </a:cubicBezTo>
                        <a:close/>
                        <a:moveTo>
                          <a:pt x="189" y="19"/>
                        </a:moveTo>
                        <a:cubicBezTo>
                          <a:pt x="96" y="19"/>
                          <a:pt x="20" y="95"/>
                          <a:pt x="20" y="189"/>
                        </a:cubicBezTo>
                        <a:cubicBezTo>
                          <a:pt x="20" y="282"/>
                          <a:pt x="96" y="358"/>
                          <a:pt x="189" y="358"/>
                        </a:cubicBezTo>
                        <a:cubicBezTo>
                          <a:pt x="283" y="358"/>
                          <a:pt x="358" y="282"/>
                          <a:pt x="358" y="189"/>
                        </a:cubicBezTo>
                        <a:cubicBezTo>
                          <a:pt x="358" y="95"/>
                          <a:pt x="283" y="19"/>
                          <a:pt x="189" y="19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54" name="Freeform 63"/>
                  <p:cNvSpPr>
                    <a:spLocks/>
                  </p:cNvSpPr>
                  <p:nvPr/>
                </p:nvSpPr>
                <p:spPr bwMode="auto">
                  <a:xfrm>
                    <a:off x="8415338" y="8963026"/>
                    <a:ext cx="187325" cy="187325"/>
                  </a:xfrm>
                  <a:custGeom>
                    <a:avLst/>
                    <a:gdLst>
                      <a:gd name="T0" fmla="*/ 9 w 140"/>
                      <a:gd name="T1" fmla="*/ 140 h 140"/>
                      <a:gd name="T2" fmla="*/ 0 w 140"/>
                      <a:gd name="T3" fmla="*/ 131 h 140"/>
                      <a:gd name="T4" fmla="*/ 130 w 140"/>
                      <a:gd name="T5" fmla="*/ 0 h 140"/>
                      <a:gd name="T6" fmla="*/ 140 w 140"/>
                      <a:gd name="T7" fmla="*/ 10 h 140"/>
                      <a:gd name="T8" fmla="*/ 130 w 140"/>
                      <a:gd name="T9" fmla="*/ 20 h 140"/>
                      <a:gd name="T10" fmla="*/ 19 w 140"/>
                      <a:gd name="T11" fmla="*/ 131 h 140"/>
                      <a:gd name="T12" fmla="*/ 9 w 140"/>
                      <a:gd name="T13" fmla="*/ 140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40" h="140">
                        <a:moveTo>
                          <a:pt x="9" y="140"/>
                        </a:moveTo>
                        <a:cubicBezTo>
                          <a:pt x="4" y="140"/>
                          <a:pt x="0" y="136"/>
                          <a:pt x="0" y="131"/>
                        </a:cubicBezTo>
                        <a:cubicBezTo>
                          <a:pt x="0" y="59"/>
                          <a:pt x="58" y="0"/>
                          <a:pt x="130" y="0"/>
                        </a:cubicBezTo>
                        <a:cubicBezTo>
                          <a:pt x="136" y="0"/>
                          <a:pt x="140" y="4"/>
                          <a:pt x="140" y="10"/>
                        </a:cubicBezTo>
                        <a:cubicBezTo>
                          <a:pt x="140" y="15"/>
                          <a:pt x="136" y="20"/>
                          <a:pt x="130" y="20"/>
                        </a:cubicBezTo>
                        <a:cubicBezTo>
                          <a:pt x="69" y="20"/>
                          <a:pt x="19" y="69"/>
                          <a:pt x="19" y="131"/>
                        </a:cubicBezTo>
                        <a:cubicBezTo>
                          <a:pt x="19" y="136"/>
                          <a:pt x="15" y="140"/>
                          <a:pt x="9" y="14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</p:grpSp>
      </p:grpSp>
      <p:sp>
        <p:nvSpPr>
          <p:cNvPr id="124" name="TextBox 123"/>
          <p:cNvSpPr txBox="1"/>
          <p:nvPr/>
        </p:nvSpPr>
        <p:spPr>
          <a:xfrm>
            <a:off x="3408337" y="2896105"/>
            <a:ext cx="3081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5%</a:t>
            </a:r>
          </a:p>
        </p:txBody>
      </p:sp>
      <p:grpSp>
        <p:nvGrpSpPr>
          <p:cNvPr id="69" name="Group 68"/>
          <p:cNvGrpSpPr/>
          <p:nvPr/>
        </p:nvGrpSpPr>
        <p:grpSpPr>
          <a:xfrm>
            <a:off x="4790162" y="1584251"/>
            <a:ext cx="1485962" cy="1665516"/>
            <a:chOff x="11115784" y="4753150"/>
            <a:chExt cx="4842431" cy="5427557"/>
          </a:xfrm>
        </p:grpSpPr>
        <p:sp>
          <p:nvSpPr>
            <p:cNvPr id="70" name="Rectangle 69"/>
            <p:cNvSpPr/>
            <p:nvPr/>
          </p:nvSpPr>
          <p:spPr>
            <a:xfrm>
              <a:off x="11545661" y="7464910"/>
              <a:ext cx="3966646" cy="2368208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11115784" y="4753150"/>
              <a:ext cx="4842431" cy="5427557"/>
              <a:chOff x="10922000" y="4264026"/>
              <a:chExt cx="5715000" cy="6405563"/>
            </a:xfrm>
          </p:grpSpPr>
          <p:sp>
            <p:nvSpPr>
              <p:cNvPr id="93" name="Freeform 7"/>
              <p:cNvSpPr>
                <a:spLocks noEditPoints="1"/>
              </p:cNvSpPr>
              <p:nvPr/>
            </p:nvSpPr>
            <p:spPr bwMode="auto">
              <a:xfrm>
                <a:off x="10922000" y="4264026"/>
                <a:ext cx="5715000" cy="6405563"/>
              </a:xfrm>
              <a:custGeom>
                <a:avLst/>
                <a:gdLst>
                  <a:gd name="T0" fmla="*/ 0 w 4267"/>
                  <a:gd name="T1" fmla="*/ 0 h 4780"/>
                  <a:gd name="T2" fmla="*/ 0 w 4267"/>
                  <a:gd name="T3" fmla="*/ 4780 h 4780"/>
                  <a:gd name="T4" fmla="*/ 4267 w 4267"/>
                  <a:gd name="T5" fmla="*/ 4780 h 4780"/>
                  <a:gd name="T6" fmla="*/ 4267 w 4267"/>
                  <a:gd name="T7" fmla="*/ 0 h 4780"/>
                  <a:gd name="T8" fmla="*/ 0 w 4267"/>
                  <a:gd name="T9" fmla="*/ 0 h 4780"/>
                  <a:gd name="T10" fmla="*/ 3545 w 4267"/>
                  <a:gd name="T11" fmla="*/ 4456 h 4780"/>
                  <a:gd name="T12" fmla="*/ 722 w 4267"/>
                  <a:gd name="T13" fmla="*/ 4456 h 4780"/>
                  <a:gd name="T14" fmla="*/ 451 w 4267"/>
                  <a:gd name="T15" fmla="*/ 4238 h 4780"/>
                  <a:gd name="T16" fmla="*/ 510 w 4267"/>
                  <a:gd name="T17" fmla="*/ 4004 h 4780"/>
                  <a:gd name="T18" fmla="*/ 1711 w 4267"/>
                  <a:gd name="T19" fmla="*/ 1881 h 4780"/>
                  <a:gd name="T20" fmla="*/ 1711 w 4267"/>
                  <a:gd name="T21" fmla="*/ 467 h 4780"/>
                  <a:gd name="T22" fmla="*/ 1700 w 4267"/>
                  <a:gd name="T23" fmla="*/ 456 h 4780"/>
                  <a:gd name="T24" fmla="*/ 1594 w 4267"/>
                  <a:gd name="T25" fmla="*/ 312 h 4780"/>
                  <a:gd name="T26" fmla="*/ 2663 w 4267"/>
                  <a:gd name="T27" fmla="*/ 312 h 4780"/>
                  <a:gd name="T28" fmla="*/ 2557 w 4267"/>
                  <a:gd name="T29" fmla="*/ 456 h 4780"/>
                  <a:gd name="T30" fmla="*/ 2546 w 4267"/>
                  <a:gd name="T31" fmla="*/ 467 h 4780"/>
                  <a:gd name="T32" fmla="*/ 2546 w 4267"/>
                  <a:gd name="T33" fmla="*/ 1881 h 4780"/>
                  <a:gd name="T34" fmla="*/ 3755 w 4267"/>
                  <a:gd name="T35" fmla="*/ 4001 h 4780"/>
                  <a:gd name="T36" fmla="*/ 3757 w 4267"/>
                  <a:gd name="T37" fmla="*/ 4004 h 4780"/>
                  <a:gd name="T38" fmla="*/ 3816 w 4267"/>
                  <a:gd name="T39" fmla="*/ 4238 h 4780"/>
                  <a:gd name="T40" fmla="*/ 3545 w 4267"/>
                  <a:gd name="T41" fmla="*/ 4456 h 4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67" h="4780">
                    <a:moveTo>
                      <a:pt x="0" y="0"/>
                    </a:moveTo>
                    <a:cubicBezTo>
                      <a:pt x="0" y="4780"/>
                      <a:pt x="0" y="4780"/>
                      <a:pt x="0" y="4780"/>
                    </a:cubicBezTo>
                    <a:cubicBezTo>
                      <a:pt x="4267" y="4780"/>
                      <a:pt x="4267" y="4780"/>
                      <a:pt x="4267" y="4780"/>
                    </a:cubicBezTo>
                    <a:cubicBezTo>
                      <a:pt x="4267" y="0"/>
                      <a:pt x="4267" y="0"/>
                      <a:pt x="4267" y="0"/>
                    </a:cubicBezTo>
                    <a:lnTo>
                      <a:pt x="0" y="0"/>
                    </a:lnTo>
                    <a:close/>
                    <a:moveTo>
                      <a:pt x="3545" y="4456"/>
                    </a:moveTo>
                    <a:cubicBezTo>
                      <a:pt x="722" y="4456"/>
                      <a:pt x="722" y="4456"/>
                      <a:pt x="722" y="4456"/>
                    </a:cubicBezTo>
                    <a:cubicBezTo>
                      <a:pt x="592" y="4456"/>
                      <a:pt x="451" y="4388"/>
                      <a:pt x="451" y="4238"/>
                    </a:cubicBezTo>
                    <a:cubicBezTo>
                      <a:pt x="451" y="4096"/>
                      <a:pt x="509" y="4005"/>
                      <a:pt x="510" y="4004"/>
                    </a:cubicBezTo>
                    <a:cubicBezTo>
                      <a:pt x="1711" y="1881"/>
                      <a:pt x="1711" y="1881"/>
                      <a:pt x="1711" y="1881"/>
                    </a:cubicBezTo>
                    <a:cubicBezTo>
                      <a:pt x="1711" y="467"/>
                      <a:pt x="1711" y="467"/>
                      <a:pt x="1711" y="467"/>
                    </a:cubicBezTo>
                    <a:cubicBezTo>
                      <a:pt x="1700" y="456"/>
                      <a:pt x="1700" y="456"/>
                      <a:pt x="1700" y="456"/>
                    </a:cubicBezTo>
                    <a:cubicBezTo>
                      <a:pt x="1633" y="381"/>
                      <a:pt x="1605" y="337"/>
                      <a:pt x="1594" y="312"/>
                    </a:cubicBezTo>
                    <a:cubicBezTo>
                      <a:pt x="2663" y="312"/>
                      <a:pt x="2663" y="312"/>
                      <a:pt x="2663" y="312"/>
                    </a:cubicBezTo>
                    <a:cubicBezTo>
                      <a:pt x="2652" y="337"/>
                      <a:pt x="2624" y="382"/>
                      <a:pt x="2557" y="456"/>
                    </a:cubicBezTo>
                    <a:cubicBezTo>
                      <a:pt x="2546" y="467"/>
                      <a:pt x="2546" y="467"/>
                      <a:pt x="2546" y="467"/>
                    </a:cubicBezTo>
                    <a:cubicBezTo>
                      <a:pt x="2546" y="1881"/>
                      <a:pt x="2546" y="1881"/>
                      <a:pt x="2546" y="1881"/>
                    </a:cubicBezTo>
                    <a:cubicBezTo>
                      <a:pt x="3755" y="4001"/>
                      <a:pt x="3755" y="4001"/>
                      <a:pt x="3755" y="4001"/>
                    </a:cubicBezTo>
                    <a:cubicBezTo>
                      <a:pt x="3757" y="4004"/>
                      <a:pt x="3757" y="4004"/>
                      <a:pt x="3757" y="4004"/>
                    </a:cubicBezTo>
                    <a:cubicBezTo>
                      <a:pt x="3758" y="4005"/>
                      <a:pt x="3816" y="4094"/>
                      <a:pt x="3816" y="4238"/>
                    </a:cubicBezTo>
                    <a:cubicBezTo>
                      <a:pt x="3816" y="4388"/>
                      <a:pt x="3676" y="4456"/>
                      <a:pt x="3545" y="4456"/>
                    </a:cubicBezTo>
                    <a:close/>
                  </a:path>
                </a:pathLst>
              </a:cu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94" name="Freeform 27"/>
              <p:cNvSpPr>
                <a:spLocks noEditPoints="1"/>
              </p:cNvSpPr>
              <p:nvPr/>
            </p:nvSpPr>
            <p:spPr bwMode="auto">
              <a:xfrm>
                <a:off x="11198225" y="4484688"/>
                <a:ext cx="5162550" cy="5964238"/>
              </a:xfrm>
              <a:custGeom>
                <a:avLst/>
                <a:gdLst>
                  <a:gd name="T0" fmla="*/ 3469 w 3853"/>
                  <a:gd name="T1" fmla="*/ 4451 h 4451"/>
                  <a:gd name="T2" fmla="*/ 384 w 3853"/>
                  <a:gd name="T3" fmla="*/ 4451 h 4451"/>
                  <a:gd name="T4" fmla="*/ 0 w 3853"/>
                  <a:gd name="T5" fmla="*/ 4148 h 4451"/>
                  <a:gd name="T6" fmla="*/ 81 w 3853"/>
                  <a:gd name="T7" fmla="*/ 3863 h 4451"/>
                  <a:gd name="T8" fmla="*/ 1339 w 3853"/>
                  <a:gd name="T9" fmla="*/ 1704 h 4451"/>
                  <a:gd name="T10" fmla="*/ 1339 w 3853"/>
                  <a:gd name="T11" fmla="*/ 304 h 4451"/>
                  <a:gd name="T12" fmla="*/ 1206 w 3853"/>
                  <a:gd name="T13" fmla="*/ 55 h 4451"/>
                  <a:gd name="T14" fmla="*/ 1304 w 3853"/>
                  <a:gd name="T15" fmla="*/ 3 h 4451"/>
                  <a:gd name="T16" fmla="*/ 1317 w 3853"/>
                  <a:gd name="T17" fmla="*/ 4 h 4451"/>
                  <a:gd name="T18" fmla="*/ 2536 w 3853"/>
                  <a:gd name="T19" fmla="*/ 4 h 4451"/>
                  <a:gd name="T20" fmla="*/ 2550 w 3853"/>
                  <a:gd name="T21" fmla="*/ 3 h 4451"/>
                  <a:gd name="T22" fmla="*/ 2647 w 3853"/>
                  <a:gd name="T23" fmla="*/ 55 h 4451"/>
                  <a:gd name="T24" fmla="*/ 2514 w 3853"/>
                  <a:gd name="T25" fmla="*/ 304 h 4451"/>
                  <a:gd name="T26" fmla="*/ 2514 w 3853"/>
                  <a:gd name="T27" fmla="*/ 1704 h 4451"/>
                  <a:gd name="T28" fmla="*/ 3773 w 3853"/>
                  <a:gd name="T29" fmla="*/ 3863 h 4451"/>
                  <a:gd name="T30" fmla="*/ 3853 w 3853"/>
                  <a:gd name="T31" fmla="*/ 4148 h 4451"/>
                  <a:gd name="T32" fmla="*/ 3469 w 3853"/>
                  <a:gd name="T33" fmla="*/ 4451 h 4451"/>
                  <a:gd name="T34" fmla="*/ 1277 w 3853"/>
                  <a:gd name="T35" fmla="*/ 87 h 4451"/>
                  <a:gd name="T36" fmla="*/ 1406 w 3853"/>
                  <a:gd name="T37" fmla="*/ 260 h 4451"/>
                  <a:gd name="T38" fmla="*/ 1417 w 3853"/>
                  <a:gd name="T39" fmla="*/ 271 h 4451"/>
                  <a:gd name="T40" fmla="*/ 1417 w 3853"/>
                  <a:gd name="T41" fmla="*/ 1725 h 4451"/>
                  <a:gd name="T42" fmla="*/ 145 w 3853"/>
                  <a:gd name="T43" fmla="*/ 3908 h 4451"/>
                  <a:gd name="T44" fmla="*/ 78 w 3853"/>
                  <a:gd name="T45" fmla="*/ 4148 h 4451"/>
                  <a:gd name="T46" fmla="*/ 384 w 3853"/>
                  <a:gd name="T47" fmla="*/ 4373 h 4451"/>
                  <a:gd name="T48" fmla="*/ 3469 w 3853"/>
                  <a:gd name="T49" fmla="*/ 4373 h 4451"/>
                  <a:gd name="T50" fmla="*/ 3775 w 3853"/>
                  <a:gd name="T51" fmla="*/ 4148 h 4451"/>
                  <a:gd name="T52" fmla="*/ 3708 w 3853"/>
                  <a:gd name="T53" fmla="*/ 3908 h 4451"/>
                  <a:gd name="T54" fmla="*/ 3706 w 3853"/>
                  <a:gd name="T55" fmla="*/ 3904 h 4451"/>
                  <a:gd name="T56" fmla="*/ 2436 w 3853"/>
                  <a:gd name="T57" fmla="*/ 1725 h 4451"/>
                  <a:gd name="T58" fmla="*/ 2436 w 3853"/>
                  <a:gd name="T59" fmla="*/ 271 h 4451"/>
                  <a:gd name="T60" fmla="*/ 2447 w 3853"/>
                  <a:gd name="T61" fmla="*/ 260 h 4451"/>
                  <a:gd name="T62" fmla="*/ 2575 w 3853"/>
                  <a:gd name="T63" fmla="*/ 85 h 4451"/>
                  <a:gd name="T64" fmla="*/ 1277 w 3853"/>
                  <a:gd name="T65" fmla="*/ 87 h 4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53" h="4451">
                    <a:moveTo>
                      <a:pt x="3469" y="4451"/>
                    </a:moveTo>
                    <a:cubicBezTo>
                      <a:pt x="384" y="4451"/>
                      <a:pt x="384" y="4451"/>
                      <a:pt x="384" y="4451"/>
                    </a:cubicBezTo>
                    <a:cubicBezTo>
                      <a:pt x="162" y="4451"/>
                      <a:pt x="0" y="4324"/>
                      <a:pt x="0" y="4148"/>
                    </a:cubicBezTo>
                    <a:cubicBezTo>
                      <a:pt x="0" y="3986"/>
                      <a:pt x="69" y="3879"/>
                      <a:pt x="81" y="3863"/>
                    </a:cubicBezTo>
                    <a:cubicBezTo>
                      <a:pt x="1339" y="1704"/>
                      <a:pt x="1339" y="1704"/>
                      <a:pt x="1339" y="1704"/>
                    </a:cubicBezTo>
                    <a:cubicBezTo>
                      <a:pt x="1339" y="304"/>
                      <a:pt x="1339" y="304"/>
                      <a:pt x="1339" y="304"/>
                    </a:cubicBezTo>
                    <a:cubicBezTo>
                      <a:pt x="1224" y="187"/>
                      <a:pt x="1183" y="110"/>
                      <a:pt x="1206" y="55"/>
                    </a:cubicBezTo>
                    <a:cubicBezTo>
                      <a:pt x="1214" y="36"/>
                      <a:pt x="1237" y="3"/>
                      <a:pt x="1304" y="3"/>
                    </a:cubicBezTo>
                    <a:cubicBezTo>
                      <a:pt x="1309" y="3"/>
                      <a:pt x="1313" y="4"/>
                      <a:pt x="1317" y="4"/>
                    </a:cubicBezTo>
                    <a:cubicBezTo>
                      <a:pt x="1334" y="0"/>
                      <a:pt x="2519" y="0"/>
                      <a:pt x="2536" y="4"/>
                    </a:cubicBezTo>
                    <a:cubicBezTo>
                      <a:pt x="2540" y="4"/>
                      <a:pt x="2544" y="3"/>
                      <a:pt x="2550" y="3"/>
                    </a:cubicBezTo>
                    <a:cubicBezTo>
                      <a:pt x="2616" y="3"/>
                      <a:pt x="2639" y="36"/>
                      <a:pt x="2647" y="55"/>
                    </a:cubicBezTo>
                    <a:cubicBezTo>
                      <a:pt x="2670" y="110"/>
                      <a:pt x="2629" y="187"/>
                      <a:pt x="2514" y="304"/>
                    </a:cubicBezTo>
                    <a:cubicBezTo>
                      <a:pt x="2514" y="1704"/>
                      <a:pt x="2514" y="1704"/>
                      <a:pt x="2514" y="1704"/>
                    </a:cubicBezTo>
                    <a:cubicBezTo>
                      <a:pt x="3773" y="3863"/>
                      <a:pt x="3773" y="3863"/>
                      <a:pt x="3773" y="3863"/>
                    </a:cubicBezTo>
                    <a:cubicBezTo>
                      <a:pt x="3784" y="3879"/>
                      <a:pt x="3853" y="3986"/>
                      <a:pt x="3853" y="4148"/>
                    </a:cubicBezTo>
                    <a:cubicBezTo>
                      <a:pt x="3853" y="4324"/>
                      <a:pt x="3692" y="4451"/>
                      <a:pt x="3469" y="4451"/>
                    </a:cubicBezTo>
                    <a:close/>
                    <a:moveTo>
                      <a:pt x="1277" y="87"/>
                    </a:moveTo>
                    <a:cubicBezTo>
                      <a:pt x="1278" y="87"/>
                      <a:pt x="1273" y="127"/>
                      <a:pt x="1406" y="260"/>
                    </a:cubicBezTo>
                    <a:cubicBezTo>
                      <a:pt x="1417" y="271"/>
                      <a:pt x="1417" y="271"/>
                      <a:pt x="1417" y="271"/>
                    </a:cubicBezTo>
                    <a:cubicBezTo>
                      <a:pt x="1417" y="1725"/>
                      <a:pt x="1417" y="1725"/>
                      <a:pt x="1417" y="1725"/>
                    </a:cubicBezTo>
                    <a:cubicBezTo>
                      <a:pt x="145" y="3908"/>
                      <a:pt x="145" y="3908"/>
                      <a:pt x="145" y="3908"/>
                    </a:cubicBezTo>
                    <a:cubicBezTo>
                      <a:pt x="145" y="3909"/>
                      <a:pt x="78" y="4002"/>
                      <a:pt x="78" y="4148"/>
                    </a:cubicBezTo>
                    <a:cubicBezTo>
                      <a:pt x="78" y="4303"/>
                      <a:pt x="237" y="4373"/>
                      <a:pt x="384" y="4373"/>
                    </a:cubicBezTo>
                    <a:cubicBezTo>
                      <a:pt x="3469" y="4373"/>
                      <a:pt x="3469" y="4373"/>
                      <a:pt x="3469" y="4373"/>
                    </a:cubicBezTo>
                    <a:cubicBezTo>
                      <a:pt x="3616" y="4373"/>
                      <a:pt x="3775" y="4303"/>
                      <a:pt x="3775" y="4148"/>
                    </a:cubicBezTo>
                    <a:cubicBezTo>
                      <a:pt x="3775" y="4001"/>
                      <a:pt x="3709" y="3909"/>
                      <a:pt x="3708" y="3908"/>
                    </a:cubicBezTo>
                    <a:cubicBezTo>
                      <a:pt x="3706" y="3904"/>
                      <a:pt x="3706" y="3904"/>
                      <a:pt x="3706" y="3904"/>
                    </a:cubicBezTo>
                    <a:cubicBezTo>
                      <a:pt x="2436" y="1725"/>
                      <a:pt x="2436" y="1725"/>
                      <a:pt x="2436" y="1725"/>
                    </a:cubicBezTo>
                    <a:cubicBezTo>
                      <a:pt x="2436" y="271"/>
                      <a:pt x="2436" y="271"/>
                      <a:pt x="2436" y="271"/>
                    </a:cubicBezTo>
                    <a:cubicBezTo>
                      <a:pt x="2447" y="260"/>
                      <a:pt x="2447" y="260"/>
                      <a:pt x="2447" y="260"/>
                    </a:cubicBezTo>
                    <a:cubicBezTo>
                      <a:pt x="2582" y="125"/>
                      <a:pt x="2575" y="85"/>
                      <a:pt x="2575" y="85"/>
                    </a:cubicBezTo>
                    <a:cubicBezTo>
                      <a:pt x="2575" y="85"/>
                      <a:pt x="1279" y="85"/>
                      <a:pt x="1277" y="8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 flipH="1">
              <a:off x="13066207" y="6374691"/>
              <a:ext cx="905266" cy="1429862"/>
              <a:chOff x="7659688" y="6468270"/>
              <a:chExt cx="1068388" cy="1687513"/>
            </a:xfrm>
            <a:solidFill>
              <a:schemeClr val="accent3"/>
            </a:solidFill>
          </p:grpSpPr>
          <p:grpSp>
            <p:nvGrpSpPr>
              <p:cNvPr id="73" name="Group 72"/>
              <p:cNvGrpSpPr/>
              <p:nvPr/>
            </p:nvGrpSpPr>
            <p:grpSpPr>
              <a:xfrm>
                <a:off x="7856538" y="7473157"/>
                <a:ext cx="479425" cy="477838"/>
                <a:chOff x="7970838" y="9304338"/>
                <a:chExt cx="479425" cy="477838"/>
              </a:xfrm>
              <a:grpFill/>
            </p:grpSpPr>
            <p:sp>
              <p:nvSpPr>
                <p:cNvPr id="89" name="Oval 64"/>
                <p:cNvSpPr>
                  <a:spLocks noChangeArrowheads="1"/>
                </p:cNvSpPr>
                <p:nvPr/>
              </p:nvSpPr>
              <p:spPr bwMode="auto">
                <a:xfrm>
                  <a:off x="7985125" y="9317038"/>
                  <a:ext cx="450850" cy="4540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90" name="Group 89"/>
                <p:cNvGrpSpPr/>
                <p:nvPr/>
              </p:nvGrpSpPr>
              <p:grpSpPr>
                <a:xfrm>
                  <a:off x="7970838" y="9304338"/>
                  <a:ext cx="479425" cy="477838"/>
                  <a:chOff x="7970838" y="9304338"/>
                  <a:chExt cx="479425" cy="477838"/>
                </a:xfrm>
                <a:grpFill/>
              </p:grpSpPr>
              <p:sp>
                <p:nvSpPr>
                  <p:cNvPr id="91" name="Freeform 65"/>
                  <p:cNvSpPr>
                    <a:spLocks noEditPoints="1"/>
                  </p:cNvSpPr>
                  <p:nvPr/>
                </p:nvSpPr>
                <p:spPr bwMode="auto">
                  <a:xfrm>
                    <a:off x="7970838" y="9304338"/>
                    <a:ext cx="479425" cy="477838"/>
                  </a:xfrm>
                  <a:custGeom>
                    <a:avLst/>
                    <a:gdLst>
                      <a:gd name="T0" fmla="*/ 178 w 357"/>
                      <a:gd name="T1" fmla="*/ 357 h 357"/>
                      <a:gd name="T2" fmla="*/ 0 w 357"/>
                      <a:gd name="T3" fmla="*/ 179 h 357"/>
                      <a:gd name="T4" fmla="*/ 178 w 357"/>
                      <a:gd name="T5" fmla="*/ 0 h 357"/>
                      <a:gd name="T6" fmla="*/ 357 w 357"/>
                      <a:gd name="T7" fmla="*/ 179 h 357"/>
                      <a:gd name="T8" fmla="*/ 178 w 357"/>
                      <a:gd name="T9" fmla="*/ 357 h 357"/>
                      <a:gd name="T10" fmla="*/ 178 w 357"/>
                      <a:gd name="T11" fmla="*/ 20 h 357"/>
                      <a:gd name="T12" fmla="*/ 19 w 357"/>
                      <a:gd name="T13" fmla="*/ 179 h 357"/>
                      <a:gd name="T14" fmla="*/ 178 w 357"/>
                      <a:gd name="T15" fmla="*/ 338 h 357"/>
                      <a:gd name="T16" fmla="*/ 338 w 357"/>
                      <a:gd name="T17" fmla="*/ 179 h 357"/>
                      <a:gd name="T18" fmla="*/ 178 w 357"/>
                      <a:gd name="T19" fmla="*/ 20 h 3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57" h="357">
                        <a:moveTo>
                          <a:pt x="178" y="357"/>
                        </a:moveTo>
                        <a:cubicBezTo>
                          <a:pt x="80" y="357"/>
                          <a:pt x="0" y="277"/>
                          <a:pt x="0" y="179"/>
                        </a:cubicBezTo>
                        <a:cubicBezTo>
                          <a:pt x="0" y="80"/>
                          <a:pt x="80" y="0"/>
                          <a:pt x="178" y="0"/>
                        </a:cubicBezTo>
                        <a:cubicBezTo>
                          <a:pt x="277" y="0"/>
                          <a:pt x="357" y="80"/>
                          <a:pt x="357" y="179"/>
                        </a:cubicBezTo>
                        <a:cubicBezTo>
                          <a:pt x="357" y="277"/>
                          <a:pt x="277" y="357"/>
                          <a:pt x="178" y="357"/>
                        </a:cubicBezTo>
                        <a:close/>
                        <a:moveTo>
                          <a:pt x="178" y="20"/>
                        </a:moveTo>
                        <a:cubicBezTo>
                          <a:pt x="91" y="20"/>
                          <a:pt x="19" y="91"/>
                          <a:pt x="19" y="179"/>
                        </a:cubicBezTo>
                        <a:cubicBezTo>
                          <a:pt x="19" y="266"/>
                          <a:pt x="91" y="338"/>
                          <a:pt x="178" y="338"/>
                        </a:cubicBezTo>
                        <a:cubicBezTo>
                          <a:pt x="266" y="338"/>
                          <a:pt x="338" y="266"/>
                          <a:pt x="338" y="179"/>
                        </a:cubicBezTo>
                        <a:cubicBezTo>
                          <a:pt x="338" y="91"/>
                          <a:pt x="266" y="20"/>
                          <a:pt x="17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92" name="Freeform 67"/>
                  <p:cNvSpPr>
                    <a:spLocks/>
                  </p:cNvSpPr>
                  <p:nvPr/>
                </p:nvSpPr>
                <p:spPr bwMode="auto">
                  <a:xfrm>
                    <a:off x="8045450" y="9377363"/>
                    <a:ext cx="177800" cy="179388"/>
                  </a:xfrm>
                  <a:custGeom>
                    <a:avLst/>
                    <a:gdLst>
                      <a:gd name="T0" fmla="*/ 9 w 133"/>
                      <a:gd name="T1" fmla="*/ 133 h 133"/>
                      <a:gd name="T2" fmla="*/ 0 w 133"/>
                      <a:gd name="T3" fmla="*/ 124 h 133"/>
                      <a:gd name="T4" fmla="*/ 123 w 133"/>
                      <a:gd name="T5" fmla="*/ 0 h 133"/>
                      <a:gd name="T6" fmla="*/ 133 w 133"/>
                      <a:gd name="T7" fmla="*/ 10 h 133"/>
                      <a:gd name="T8" fmla="*/ 123 w 133"/>
                      <a:gd name="T9" fmla="*/ 19 h 133"/>
                      <a:gd name="T10" fmla="*/ 19 w 133"/>
                      <a:gd name="T11" fmla="*/ 124 h 133"/>
                      <a:gd name="T12" fmla="*/ 9 w 133"/>
                      <a:gd name="T13" fmla="*/ 133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3" h="133">
                        <a:moveTo>
                          <a:pt x="9" y="133"/>
                        </a:moveTo>
                        <a:cubicBezTo>
                          <a:pt x="4" y="133"/>
                          <a:pt x="0" y="129"/>
                          <a:pt x="0" y="124"/>
                        </a:cubicBezTo>
                        <a:cubicBezTo>
                          <a:pt x="0" y="55"/>
                          <a:pt x="55" y="0"/>
                          <a:pt x="123" y="0"/>
                        </a:cubicBezTo>
                        <a:cubicBezTo>
                          <a:pt x="129" y="0"/>
                          <a:pt x="133" y="4"/>
                          <a:pt x="133" y="10"/>
                        </a:cubicBezTo>
                        <a:cubicBezTo>
                          <a:pt x="133" y="15"/>
                          <a:pt x="129" y="19"/>
                          <a:pt x="123" y="19"/>
                        </a:cubicBezTo>
                        <a:cubicBezTo>
                          <a:pt x="66" y="19"/>
                          <a:pt x="19" y="66"/>
                          <a:pt x="19" y="124"/>
                        </a:cubicBezTo>
                        <a:cubicBezTo>
                          <a:pt x="19" y="129"/>
                          <a:pt x="15" y="133"/>
                          <a:pt x="9" y="13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74" name="Group 73"/>
              <p:cNvGrpSpPr/>
              <p:nvPr/>
            </p:nvGrpSpPr>
            <p:grpSpPr>
              <a:xfrm>
                <a:off x="8399463" y="7846220"/>
                <a:ext cx="309563" cy="309563"/>
                <a:chOff x="8513763" y="9677401"/>
                <a:chExt cx="309563" cy="309563"/>
              </a:xfrm>
              <a:grpFill/>
            </p:grpSpPr>
            <p:sp>
              <p:nvSpPr>
                <p:cNvPr id="85" name="Oval 68"/>
                <p:cNvSpPr>
                  <a:spLocks noChangeArrowheads="1"/>
                </p:cNvSpPr>
                <p:nvPr/>
              </p:nvSpPr>
              <p:spPr bwMode="auto">
                <a:xfrm>
                  <a:off x="8528050" y="9691688"/>
                  <a:ext cx="282575" cy="28257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86" name="Group 85"/>
                <p:cNvGrpSpPr/>
                <p:nvPr/>
              </p:nvGrpSpPr>
              <p:grpSpPr>
                <a:xfrm>
                  <a:off x="8513763" y="9677401"/>
                  <a:ext cx="309563" cy="309563"/>
                  <a:chOff x="8513763" y="9677401"/>
                  <a:chExt cx="309563" cy="309563"/>
                </a:xfrm>
                <a:grpFill/>
              </p:grpSpPr>
              <p:sp>
                <p:nvSpPr>
                  <p:cNvPr id="87" name="Freeform 69"/>
                  <p:cNvSpPr>
                    <a:spLocks noEditPoints="1"/>
                  </p:cNvSpPr>
                  <p:nvPr/>
                </p:nvSpPr>
                <p:spPr bwMode="auto">
                  <a:xfrm>
                    <a:off x="8513763" y="9677401"/>
                    <a:ext cx="309563" cy="309563"/>
                  </a:xfrm>
                  <a:custGeom>
                    <a:avLst/>
                    <a:gdLst>
                      <a:gd name="T0" fmla="*/ 116 w 231"/>
                      <a:gd name="T1" fmla="*/ 231 h 231"/>
                      <a:gd name="T2" fmla="*/ 0 w 231"/>
                      <a:gd name="T3" fmla="*/ 116 h 231"/>
                      <a:gd name="T4" fmla="*/ 116 w 231"/>
                      <a:gd name="T5" fmla="*/ 0 h 231"/>
                      <a:gd name="T6" fmla="*/ 231 w 231"/>
                      <a:gd name="T7" fmla="*/ 116 h 231"/>
                      <a:gd name="T8" fmla="*/ 116 w 231"/>
                      <a:gd name="T9" fmla="*/ 231 h 231"/>
                      <a:gd name="T10" fmla="*/ 116 w 231"/>
                      <a:gd name="T11" fmla="*/ 20 h 231"/>
                      <a:gd name="T12" fmla="*/ 20 w 231"/>
                      <a:gd name="T13" fmla="*/ 116 h 231"/>
                      <a:gd name="T14" fmla="*/ 116 w 231"/>
                      <a:gd name="T15" fmla="*/ 212 h 231"/>
                      <a:gd name="T16" fmla="*/ 212 w 231"/>
                      <a:gd name="T17" fmla="*/ 116 h 231"/>
                      <a:gd name="T18" fmla="*/ 116 w 231"/>
                      <a:gd name="T19" fmla="*/ 20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1" h="231">
                        <a:moveTo>
                          <a:pt x="116" y="231"/>
                        </a:moveTo>
                        <a:cubicBezTo>
                          <a:pt x="52" y="231"/>
                          <a:pt x="0" y="179"/>
                          <a:pt x="0" y="116"/>
                        </a:cubicBezTo>
                        <a:cubicBezTo>
                          <a:pt x="0" y="52"/>
                          <a:pt x="52" y="0"/>
                          <a:pt x="116" y="0"/>
                        </a:cubicBezTo>
                        <a:cubicBezTo>
                          <a:pt x="179" y="0"/>
                          <a:pt x="231" y="52"/>
                          <a:pt x="231" y="116"/>
                        </a:cubicBezTo>
                        <a:cubicBezTo>
                          <a:pt x="231" y="179"/>
                          <a:pt x="179" y="231"/>
                          <a:pt x="116" y="231"/>
                        </a:cubicBezTo>
                        <a:close/>
                        <a:moveTo>
                          <a:pt x="116" y="20"/>
                        </a:moveTo>
                        <a:cubicBezTo>
                          <a:pt x="63" y="20"/>
                          <a:pt x="20" y="63"/>
                          <a:pt x="20" y="116"/>
                        </a:cubicBezTo>
                        <a:cubicBezTo>
                          <a:pt x="20" y="168"/>
                          <a:pt x="63" y="212"/>
                          <a:pt x="116" y="212"/>
                        </a:cubicBezTo>
                        <a:cubicBezTo>
                          <a:pt x="169" y="212"/>
                          <a:pt x="212" y="168"/>
                          <a:pt x="212" y="116"/>
                        </a:cubicBezTo>
                        <a:cubicBezTo>
                          <a:pt x="212" y="63"/>
                          <a:pt x="169" y="20"/>
                          <a:pt x="116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88" name="Freeform 71"/>
                  <p:cNvSpPr>
                    <a:spLocks/>
                  </p:cNvSpPr>
                  <p:nvPr/>
                </p:nvSpPr>
                <p:spPr bwMode="auto">
                  <a:xfrm>
                    <a:off x="8559800" y="9723438"/>
                    <a:ext cx="122238" cy="122238"/>
                  </a:xfrm>
                  <a:custGeom>
                    <a:avLst/>
                    <a:gdLst>
                      <a:gd name="T0" fmla="*/ 10 w 91"/>
                      <a:gd name="T1" fmla="*/ 91 h 91"/>
                      <a:gd name="T2" fmla="*/ 0 w 91"/>
                      <a:gd name="T3" fmla="*/ 82 h 91"/>
                      <a:gd name="T4" fmla="*/ 82 w 91"/>
                      <a:gd name="T5" fmla="*/ 0 h 91"/>
                      <a:gd name="T6" fmla="*/ 91 w 91"/>
                      <a:gd name="T7" fmla="*/ 10 h 91"/>
                      <a:gd name="T8" fmla="*/ 82 w 91"/>
                      <a:gd name="T9" fmla="*/ 20 h 91"/>
                      <a:gd name="T10" fmla="*/ 20 w 91"/>
                      <a:gd name="T11" fmla="*/ 82 h 91"/>
                      <a:gd name="T12" fmla="*/ 10 w 91"/>
                      <a:gd name="T13" fmla="*/ 91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1" h="91">
                        <a:moveTo>
                          <a:pt x="10" y="91"/>
                        </a:moveTo>
                        <a:cubicBezTo>
                          <a:pt x="5" y="91"/>
                          <a:pt x="0" y="87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87" y="0"/>
                          <a:pt x="91" y="5"/>
                          <a:pt x="91" y="10"/>
                        </a:cubicBezTo>
                        <a:cubicBezTo>
                          <a:pt x="91" y="15"/>
                          <a:pt x="87" y="20"/>
                          <a:pt x="82" y="20"/>
                        </a:cubicBezTo>
                        <a:cubicBezTo>
                          <a:pt x="48" y="20"/>
                          <a:pt x="20" y="48"/>
                          <a:pt x="20" y="82"/>
                        </a:cubicBezTo>
                        <a:cubicBezTo>
                          <a:pt x="20" y="87"/>
                          <a:pt x="16" y="91"/>
                          <a:pt x="10" y="9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75" name="Group 74"/>
              <p:cNvGrpSpPr/>
              <p:nvPr/>
            </p:nvGrpSpPr>
            <p:grpSpPr>
              <a:xfrm>
                <a:off x="7659688" y="6468270"/>
                <a:ext cx="690563" cy="692150"/>
                <a:chOff x="7773988" y="8299451"/>
                <a:chExt cx="690563" cy="692150"/>
              </a:xfrm>
              <a:grpFill/>
            </p:grpSpPr>
            <p:sp>
              <p:nvSpPr>
                <p:cNvPr id="81" name="Oval 56"/>
                <p:cNvSpPr>
                  <a:spLocks noChangeArrowheads="1"/>
                </p:cNvSpPr>
                <p:nvPr/>
              </p:nvSpPr>
              <p:spPr bwMode="auto">
                <a:xfrm>
                  <a:off x="7786688" y="8312151"/>
                  <a:ext cx="665163" cy="666750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82" name="Group 81"/>
                <p:cNvGrpSpPr/>
                <p:nvPr/>
              </p:nvGrpSpPr>
              <p:grpSpPr>
                <a:xfrm>
                  <a:off x="7773988" y="8299451"/>
                  <a:ext cx="690563" cy="692150"/>
                  <a:chOff x="7773988" y="8299451"/>
                  <a:chExt cx="690563" cy="692150"/>
                </a:xfrm>
                <a:grpFill/>
              </p:grpSpPr>
              <p:sp>
                <p:nvSpPr>
                  <p:cNvPr id="83" name="Freeform 57"/>
                  <p:cNvSpPr>
                    <a:spLocks noEditPoints="1"/>
                  </p:cNvSpPr>
                  <p:nvPr/>
                </p:nvSpPr>
                <p:spPr bwMode="auto">
                  <a:xfrm>
                    <a:off x="7773988" y="8299451"/>
                    <a:ext cx="690563" cy="692150"/>
                  </a:xfrm>
                  <a:custGeom>
                    <a:avLst/>
                    <a:gdLst>
                      <a:gd name="T0" fmla="*/ 258 w 516"/>
                      <a:gd name="T1" fmla="*/ 517 h 517"/>
                      <a:gd name="T2" fmla="*/ 0 w 516"/>
                      <a:gd name="T3" fmla="*/ 258 h 517"/>
                      <a:gd name="T4" fmla="*/ 258 w 516"/>
                      <a:gd name="T5" fmla="*/ 0 h 517"/>
                      <a:gd name="T6" fmla="*/ 516 w 516"/>
                      <a:gd name="T7" fmla="*/ 258 h 517"/>
                      <a:gd name="T8" fmla="*/ 258 w 516"/>
                      <a:gd name="T9" fmla="*/ 517 h 517"/>
                      <a:gd name="T10" fmla="*/ 258 w 516"/>
                      <a:gd name="T11" fmla="*/ 20 h 517"/>
                      <a:gd name="T12" fmla="*/ 20 w 516"/>
                      <a:gd name="T13" fmla="*/ 258 h 517"/>
                      <a:gd name="T14" fmla="*/ 258 w 516"/>
                      <a:gd name="T15" fmla="*/ 497 h 517"/>
                      <a:gd name="T16" fmla="*/ 497 w 516"/>
                      <a:gd name="T17" fmla="*/ 258 h 517"/>
                      <a:gd name="T18" fmla="*/ 258 w 516"/>
                      <a:gd name="T19" fmla="*/ 20 h 5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6" h="517">
                        <a:moveTo>
                          <a:pt x="258" y="517"/>
                        </a:moveTo>
                        <a:cubicBezTo>
                          <a:pt x="116" y="517"/>
                          <a:pt x="0" y="401"/>
                          <a:pt x="0" y="258"/>
                        </a:cubicBezTo>
                        <a:cubicBezTo>
                          <a:pt x="0" y="116"/>
                          <a:pt x="116" y="0"/>
                          <a:pt x="258" y="0"/>
                        </a:cubicBezTo>
                        <a:cubicBezTo>
                          <a:pt x="401" y="0"/>
                          <a:pt x="516" y="116"/>
                          <a:pt x="516" y="258"/>
                        </a:cubicBezTo>
                        <a:cubicBezTo>
                          <a:pt x="516" y="401"/>
                          <a:pt x="401" y="517"/>
                          <a:pt x="258" y="517"/>
                        </a:cubicBezTo>
                        <a:close/>
                        <a:moveTo>
                          <a:pt x="258" y="20"/>
                        </a:moveTo>
                        <a:cubicBezTo>
                          <a:pt x="127" y="20"/>
                          <a:pt x="20" y="127"/>
                          <a:pt x="20" y="258"/>
                        </a:cubicBezTo>
                        <a:cubicBezTo>
                          <a:pt x="20" y="390"/>
                          <a:pt x="127" y="497"/>
                          <a:pt x="258" y="497"/>
                        </a:cubicBezTo>
                        <a:cubicBezTo>
                          <a:pt x="390" y="497"/>
                          <a:pt x="497" y="390"/>
                          <a:pt x="497" y="258"/>
                        </a:cubicBezTo>
                        <a:cubicBezTo>
                          <a:pt x="497" y="127"/>
                          <a:pt x="390" y="20"/>
                          <a:pt x="25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84" name="Freeform 59"/>
                  <p:cNvSpPr>
                    <a:spLocks/>
                  </p:cNvSpPr>
                  <p:nvPr/>
                </p:nvSpPr>
                <p:spPr bwMode="auto">
                  <a:xfrm>
                    <a:off x="7881938" y="8407401"/>
                    <a:ext cx="250825" cy="250825"/>
                  </a:xfrm>
                  <a:custGeom>
                    <a:avLst/>
                    <a:gdLst>
                      <a:gd name="T0" fmla="*/ 10 w 187"/>
                      <a:gd name="T1" fmla="*/ 187 h 187"/>
                      <a:gd name="T2" fmla="*/ 0 w 187"/>
                      <a:gd name="T3" fmla="*/ 177 h 187"/>
                      <a:gd name="T4" fmla="*/ 177 w 187"/>
                      <a:gd name="T5" fmla="*/ 0 h 187"/>
                      <a:gd name="T6" fmla="*/ 187 w 187"/>
                      <a:gd name="T7" fmla="*/ 10 h 187"/>
                      <a:gd name="T8" fmla="*/ 177 w 187"/>
                      <a:gd name="T9" fmla="*/ 19 h 187"/>
                      <a:gd name="T10" fmla="*/ 19 w 187"/>
                      <a:gd name="T11" fmla="*/ 177 h 187"/>
                      <a:gd name="T12" fmla="*/ 10 w 187"/>
                      <a:gd name="T13" fmla="*/ 187 h 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7" h="187">
                        <a:moveTo>
                          <a:pt x="10" y="187"/>
                        </a:moveTo>
                        <a:cubicBezTo>
                          <a:pt x="4" y="187"/>
                          <a:pt x="0" y="183"/>
                          <a:pt x="0" y="177"/>
                        </a:cubicBezTo>
                        <a:cubicBezTo>
                          <a:pt x="0" y="80"/>
                          <a:pt x="79" y="0"/>
                          <a:pt x="177" y="0"/>
                        </a:cubicBezTo>
                        <a:cubicBezTo>
                          <a:pt x="183" y="0"/>
                          <a:pt x="187" y="4"/>
                          <a:pt x="187" y="10"/>
                        </a:cubicBezTo>
                        <a:cubicBezTo>
                          <a:pt x="187" y="15"/>
                          <a:pt x="183" y="19"/>
                          <a:pt x="177" y="19"/>
                        </a:cubicBezTo>
                        <a:cubicBezTo>
                          <a:pt x="90" y="19"/>
                          <a:pt x="19" y="90"/>
                          <a:pt x="19" y="177"/>
                        </a:cubicBezTo>
                        <a:cubicBezTo>
                          <a:pt x="19" y="183"/>
                          <a:pt x="15" y="187"/>
                          <a:pt x="10" y="187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76" name="Group 75"/>
              <p:cNvGrpSpPr/>
              <p:nvPr/>
            </p:nvGrpSpPr>
            <p:grpSpPr>
              <a:xfrm>
                <a:off x="8221663" y="7054057"/>
                <a:ext cx="506413" cy="506413"/>
                <a:chOff x="8335963" y="8885238"/>
                <a:chExt cx="506413" cy="506413"/>
              </a:xfrm>
              <a:grpFill/>
            </p:grpSpPr>
            <p:sp>
              <p:nvSpPr>
                <p:cNvPr id="77" name="Oval 60"/>
                <p:cNvSpPr>
                  <a:spLocks noChangeArrowheads="1"/>
                </p:cNvSpPr>
                <p:nvPr/>
              </p:nvSpPr>
              <p:spPr bwMode="auto">
                <a:xfrm>
                  <a:off x="8348663" y="8897938"/>
                  <a:ext cx="479425" cy="4794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78" name="Group 77"/>
                <p:cNvGrpSpPr/>
                <p:nvPr/>
              </p:nvGrpSpPr>
              <p:grpSpPr>
                <a:xfrm>
                  <a:off x="8335963" y="8885238"/>
                  <a:ext cx="506413" cy="506413"/>
                  <a:chOff x="8335963" y="8885238"/>
                  <a:chExt cx="506413" cy="506413"/>
                </a:xfrm>
                <a:grpFill/>
              </p:grpSpPr>
              <p:sp>
                <p:nvSpPr>
                  <p:cNvPr id="79" name="Freeform 61"/>
                  <p:cNvSpPr>
                    <a:spLocks noEditPoints="1"/>
                  </p:cNvSpPr>
                  <p:nvPr/>
                </p:nvSpPr>
                <p:spPr bwMode="auto">
                  <a:xfrm>
                    <a:off x="8335963" y="8885238"/>
                    <a:ext cx="506413" cy="506413"/>
                  </a:xfrm>
                  <a:custGeom>
                    <a:avLst/>
                    <a:gdLst>
                      <a:gd name="T0" fmla="*/ 189 w 378"/>
                      <a:gd name="T1" fmla="*/ 378 h 378"/>
                      <a:gd name="T2" fmla="*/ 0 w 378"/>
                      <a:gd name="T3" fmla="*/ 189 h 378"/>
                      <a:gd name="T4" fmla="*/ 189 w 378"/>
                      <a:gd name="T5" fmla="*/ 0 h 378"/>
                      <a:gd name="T6" fmla="*/ 378 w 378"/>
                      <a:gd name="T7" fmla="*/ 189 h 378"/>
                      <a:gd name="T8" fmla="*/ 189 w 378"/>
                      <a:gd name="T9" fmla="*/ 378 h 378"/>
                      <a:gd name="T10" fmla="*/ 189 w 378"/>
                      <a:gd name="T11" fmla="*/ 19 h 378"/>
                      <a:gd name="T12" fmla="*/ 20 w 378"/>
                      <a:gd name="T13" fmla="*/ 189 h 378"/>
                      <a:gd name="T14" fmla="*/ 189 w 378"/>
                      <a:gd name="T15" fmla="*/ 358 h 378"/>
                      <a:gd name="T16" fmla="*/ 358 w 378"/>
                      <a:gd name="T17" fmla="*/ 189 h 378"/>
                      <a:gd name="T18" fmla="*/ 189 w 378"/>
                      <a:gd name="T19" fmla="*/ 19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78" h="378">
                        <a:moveTo>
                          <a:pt x="189" y="378"/>
                        </a:moveTo>
                        <a:cubicBezTo>
                          <a:pt x="85" y="378"/>
                          <a:pt x="0" y="293"/>
                          <a:pt x="0" y="189"/>
                        </a:cubicBezTo>
                        <a:cubicBezTo>
                          <a:pt x="0" y="85"/>
                          <a:pt x="85" y="0"/>
                          <a:pt x="189" y="0"/>
                        </a:cubicBezTo>
                        <a:cubicBezTo>
                          <a:pt x="293" y="0"/>
                          <a:pt x="378" y="85"/>
                          <a:pt x="378" y="189"/>
                        </a:cubicBezTo>
                        <a:cubicBezTo>
                          <a:pt x="378" y="293"/>
                          <a:pt x="293" y="378"/>
                          <a:pt x="189" y="378"/>
                        </a:cubicBezTo>
                        <a:close/>
                        <a:moveTo>
                          <a:pt x="189" y="19"/>
                        </a:moveTo>
                        <a:cubicBezTo>
                          <a:pt x="96" y="19"/>
                          <a:pt x="20" y="95"/>
                          <a:pt x="20" y="189"/>
                        </a:cubicBezTo>
                        <a:cubicBezTo>
                          <a:pt x="20" y="282"/>
                          <a:pt x="96" y="358"/>
                          <a:pt x="189" y="358"/>
                        </a:cubicBezTo>
                        <a:cubicBezTo>
                          <a:pt x="283" y="358"/>
                          <a:pt x="358" y="282"/>
                          <a:pt x="358" y="189"/>
                        </a:cubicBezTo>
                        <a:cubicBezTo>
                          <a:pt x="358" y="95"/>
                          <a:pt x="283" y="19"/>
                          <a:pt x="189" y="19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80" name="Freeform 63"/>
                  <p:cNvSpPr>
                    <a:spLocks/>
                  </p:cNvSpPr>
                  <p:nvPr/>
                </p:nvSpPr>
                <p:spPr bwMode="auto">
                  <a:xfrm>
                    <a:off x="8415338" y="8963026"/>
                    <a:ext cx="187325" cy="187325"/>
                  </a:xfrm>
                  <a:custGeom>
                    <a:avLst/>
                    <a:gdLst>
                      <a:gd name="T0" fmla="*/ 9 w 140"/>
                      <a:gd name="T1" fmla="*/ 140 h 140"/>
                      <a:gd name="T2" fmla="*/ 0 w 140"/>
                      <a:gd name="T3" fmla="*/ 131 h 140"/>
                      <a:gd name="T4" fmla="*/ 130 w 140"/>
                      <a:gd name="T5" fmla="*/ 0 h 140"/>
                      <a:gd name="T6" fmla="*/ 140 w 140"/>
                      <a:gd name="T7" fmla="*/ 10 h 140"/>
                      <a:gd name="T8" fmla="*/ 130 w 140"/>
                      <a:gd name="T9" fmla="*/ 20 h 140"/>
                      <a:gd name="T10" fmla="*/ 19 w 140"/>
                      <a:gd name="T11" fmla="*/ 131 h 140"/>
                      <a:gd name="T12" fmla="*/ 9 w 140"/>
                      <a:gd name="T13" fmla="*/ 140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40" h="140">
                        <a:moveTo>
                          <a:pt x="9" y="140"/>
                        </a:moveTo>
                        <a:cubicBezTo>
                          <a:pt x="4" y="140"/>
                          <a:pt x="0" y="136"/>
                          <a:pt x="0" y="131"/>
                        </a:cubicBezTo>
                        <a:cubicBezTo>
                          <a:pt x="0" y="59"/>
                          <a:pt x="58" y="0"/>
                          <a:pt x="130" y="0"/>
                        </a:cubicBezTo>
                        <a:cubicBezTo>
                          <a:pt x="136" y="0"/>
                          <a:pt x="140" y="4"/>
                          <a:pt x="140" y="10"/>
                        </a:cubicBezTo>
                        <a:cubicBezTo>
                          <a:pt x="140" y="15"/>
                          <a:pt x="136" y="20"/>
                          <a:pt x="130" y="20"/>
                        </a:cubicBezTo>
                        <a:cubicBezTo>
                          <a:pt x="69" y="20"/>
                          <a:pt x="19" y="69"/>
                          <a:pt x="19" y="131"/>
                        </a:cubicBezTo>
                        <a:cubicBezTo>
                          <a:pt x="19" y="136"/>
                          <a:pt x="15" y="140"/>
                          <a:pt x="9" y="14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</p:grpSp>
      </p:grpSp>
      <p:sp>
        <p:nvSpPr>
          <p:cNvPr id="125" name="TextBox 124"/>
          <p:cNvSpPr txBox="1"/>
          <p:nvPr/>
        </p:nvSpPr>
        <p:spPr>
          <a:xfrm>
            <a:off x="5376080" y="2870840"/>
            <a:ext cx="3081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36%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870128" y="1585075"/>
            <a:ext cx="1320444" cy="1664692"/>
            <a:chOff x="16055063" y="4755840"/>
            <a:chExt cx="4303038" cy="5424867"/>
          </a:xfrm>
        </p:grpSpPr>
        <p:sp>
          <p:nvSpPr>
            <p:cNvPr id="5" name="Rectangle 4"/>
            <p:cNvSpPr/>
            <p:nvPr/>
          </p:nvSpPr>
          <p:spPr>
            <a:xfrm>
              <a:off x="16369496" y="6363930"/>
              <a:ext cx="3584463" cy="3384048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6055063" y="4755840"/>
              <a:ext cx="4303038" cy="5424867"/>
              <a:chOff x="16751300" y="4267201"/>
              <a:chExt cx="5078413" cy="6402388"/>
            </a:xfrm>
          </p:grpSpPr>
          <p:sp>
            <p:nvSpPr>
              <p:cNvPr id="26" name="Freeform 5"/>
              <p:cNvSpPr>
                <a:spLocks noEditPoints="1"/>
              </p:cNvSpPr>
              <p:nvPr/>
            </p:nvSpPr>
            <p:spPr bwMode="auto">
              <a:xfrm>
                <a:off x="16751300" y="4267201"/>
                <a:ext cx="5078413" cy="6402388"/>
              </a:xfrm>
              <a:custGeom>
                <a:avLst/>
                <a:gdLst>
                  <a:gd name="T0" fmla="*/ 0 w 3791"/>
                  <a:gd name="T1" fmla="*/ 0 h 4778"/>
                  <a:gd name="T2" fmla="*/ 0 w 3791"/>
                  <a:gd name="T3" fmla="*/ 4778 h 4778"/>
                  <a:gd name="T4" fmla="*/ 3791 w 3791"/>
                  <a:gd name="T5" fmla="*/ 4778 h 4778"/>
                  <a:gd name="T6" fmla="*/ 3791 w 3791"/>
                  <a:gd name="T7" fmla="*/ 0 h 4778"/>
                  <a:gd name="T8" fmla="*/ 0 w 3791"/>
                  <a:gd name="T9" fmla="*/ 0 h 4778"/>
                  <a:gd name="T10" fmla="*/ 3341 w 3791"/>
                  <a:gd name="T11" fmla="*/ 429 h 4778"/>
                  <a:gd name="T12" fmla="*/ 3297 w 3791"/>
                  <a:gd name="T13" fmla="*/ 496 h 4778"/>
                  <a:gd name="T14" fmla="*/ 3182 w 3791"/>
                  <a:gd name="T15" fmla="*/ 864 h 4778"/>
                  <a:gd name="T16" fmla="*/ 3182 w 3791"/>
                  <a:gd name="T17" fmla="*/ 4231 h 4778"/>
                  <a:gd name="T18" fmla="*/ 2982 w 3791"/>
                  <a:gd name="T19" fmla="*/ 4286 h 4778"/>
                  <a:gd name="T20" fmla="*/ 1088 w 3791"/>
                  <a:gd name="T21" fmla="*/ 4286 h 4778"/>
                  <a:gd name="T22" fmla="*/ 889 w 3791"/>
                  <a:gd name="T23" fmla="*/ 4238 h 4778"/>
                  <a:gd name="T24" fmla="*/ 889 w 3791"/>
                  <a:gd name="T25" fmla="*/ 1387 h 4778"/>
                  <a:gd name="T26" fmla="*/ 878 w 3791"/>
                  <a:gd name="T27" fmla="*/ 1043 h 4778"/>
                  <a:gd name="T28" fmla="*/ 876 w 3791"/>
                  <a:gd name="T29" fmla="*/ 1030 h 4778"/>
                  <a:gd name="T30" fmla="*/ 867 w 3791"/>
                  <a:gd name="T31" fmla="*/ 1020 h 4778"/>
                  <a:gd name="T32" fmla="*/ 425 w 3791"/>
                  <a:gd name="T33" fmla="*/ 357 h 4778"/>
                  <a:gd name="T34" fmla="*/ 824 w 3791"/>
                  <a:gd name="T35" fmla="*/ 352 h 4778"/>
                  <a:gd name="T36" fmla="*/ 2048 w 3791"/>
                  <a:gd name="T37" fmla="*/ 362 h 4778"/>
                  <a:gd name="T38" fmla="*/ 3377 w 3791"/>
                  <a:gd name="T39" fmla="*/ 362 h 4778"/>
                  <a:gd name="T40" fmla="*/ 3341 w 3791"/>
                  <a:gd name="T41" fmla="*/ 429 h 47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91" h="4778">
                    <a:moveTo>
                      <a:pt x="0" y="0"/>
                    </a:moveTo>
                    <a:cubicBezTo>
                      <a:pt x="0" y="4778"/>
                      <a:pt x="0" y="4778"/>
                      <a:pt x="0" y="4778"/>
                    </a:cubicBezTo>
                    <a:cubicBezTo>
                      <a:pt x="3791" y="4778"/>
                      <a:pt x="3791" y="4778"/>
                      <a:pt x="3791" y="4778"/>
                    </a:cubicBezTo>
                    <a:cubicBezTo>
                      <a:pt x="3791" y="0"/>
                      <a:pt x="3791" y="0"/>
                      <a:pt x="3791" y="0"/>
                    </a:cubicBezTo>
                    <a:lnTo>
                      <a:pt x="0" y="0"/>
                    </a:lnTo>
                    <a:close/>
                    <a:moveTo>
                      <a:pt x="3341" y="429"/>
                    </a:moveTo>
                    <a:cubicBezTo>
                      <a:pt x="3325" y="454"/>
                      <a:pt x="3310" y="476"/>
                      <a:pt x="3297" y="496"/>
                    </a:cubicBezTo>
                    <a:cubicBezTo>
                      <a:pt x="3228" y="597"/>
                      <a:pt x="3182" y="664"/>
                      <a:pt x="3182" y="864"/>
                    </a:cubicBezTo>
                    <a:cubicBezTo>
                      <a:pt x="3182" y="4231"/>
                      <a:pt x="3182" y="4231"/>
                      <a:pt x="3182" y="4231"/>
                    </a:cubicBezTo>
                    <a:cubicBezTo>
                      <a:pt x="3166" y="4247"/>
                      <a:pt x="3112" y="4286"/>
                      <a:pt x="2982" y="4286"/>
                    </a:cubicBezTo>
                    <a:cubicBezTo>
                      <a:pt x="1088" y="4286"/>
                      <a:pt x="1088" y="4286"/>
                      <a:pt x="1088" y="4286"/>
                    </a:cubicBezTo>
                    <a:cubicBezTo>
                      <a:pt x="948" y="4286"/>
                      <a:pt x="898" y="4253"/>
                      <a:pt x="889" y="4238"/>
                    </a:cubicBezTo>
                    <a:cubicBezTo>
                      <a:pt x="889" y="1387"/>
                      <a:pt x="889" y="1387"/>
                      <a:pt x="889" y="1387"/>
                    </a:cubicBezTo>
                    <a:cubicBezTo>
                      <a:pt x="889" y="1161"/>
                      <a:pt x="878" y="1048"/>
                      <a:pt x="878" y="1043"/>
                    </a:cubicBezTo>
                    <a:cubicBezTo>
                      <a:pt x="876" y="1030"/>
                      <a:pt x="876" y="1030"/>
                      <a:pt x="876" y="1030"/>
                    </a:cubicBezTo>
                    <a:cubicBezTo>
                      <a:pt x="867" y="1020"/>
                      <a:pt x="867" y="1020"/>
                      <a:pt x="867" y="1020"/>
                    </a:cubicBezTo>
                    <a:cubicBezTo>
                      <a:pt x="740" y="895"/>
                      <a:pt x="427" y="543"/>
                      <a:pt x="425" y="357"/>
                    </a:cubicBezTo>
                    <a:cubicBezTo>
                      <a:pt x="464" y="355"/>
                      <a:pt x="564" y="352"/>
                      <a:pt x="824" y="352"/>
                    </a:cubicBezTo>
                    <a:cubicBezTo>
                      <a:pt x="1309" y="352"/>
                      <a:pt x="2040" y="361"/>
                      <a:pt x="2048" y="362"/>
                    </a:cubicBezTo>
                    <a:cubicBezTo>
                      <a:pt x="3377" y="362"/>
                      <a:pt x="3377" y="362"/>
                      <a:pt x="3377" y="362"/>
                    </a:cubicBezTo>
                    <a:cubicBezTo>
                      <a:pt x="3373" y="373"/>
                      <a:pt x="3363" y="395"/>
                      <a:pt x="3341" y="429"/>
                    </a:cubicBezTo>
                    <a:close/>
                  </a:path>
                </a:pathLst>
              </a:cu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16806863" y="4471988"/>
                <a:ext cx="4833938" cy="5878513"/>
              </a:xfrm>
              <a:custGeom>
                <a:avLst/>
                <a:gdLst>
                  <a:gd name="T0" fmla="*/ 3063 w 3609"/>
                  <a:gd name="T1" fmla="*/ 4387 h 4387"/>
                  <a:gd name="T2" fmla="*/ 884 w 3609"/>
                  <a:gd name="T3" fmla="*/ 4387 h 4387"/>
                  <a:gd name="T4" fmla="*/ 577 w 3609"/>
                  <a:gd name="T5" fmla="*/ 4270 h 4387"/>
                  <a:gd name="T6" fmla="*/ 576 w 3609"/>
                  <a:gd name="T7" fmla="*/ 4263 h 4387"/>
                  <a:gd name="T8" fmla="*/ 576 w 3609"/>
                  <a:gd name="T9" fmla="*/ 1191 h 4387"/>
                  <a:gd name="T10" fmla="*/ 565 w 3609"/>
                  <a:gd name="T11" fmla="*/ 844 h 4387"/>
                  <a:gd name="T12" fmla="*/ 47 w 3609"/>
                  <a:gd name="T13" fmla="*/ 42 h 4387"/>
                  <a:gd name="T14" fmla="*/ 581 w 3609"/>
                  <a:gd name="T15" fmla="*/ 0 h 4387"/>
                  <a:gd name="T16" fmla="*/ 1989 w 3609"/>
                  <a:gd name="T17" fmla="*/ 10 h 4387"/>
                  <a:gd name="T18" fmla="*/ 3512 w 3609"/>
                  <a:gd name="T19" fmla="*/ 10 h 4387"/>
                  <a:gd name="T20" fmla="*/ 3529 w 3609"/>
                  <a:gd name="T21" fmla="*/ 9 h 4387"/>
                  <a:gd name="T22" fmla="*/ 3590 w 3609"/>
                  <a:gd name="T23" fmla="*/ 42 h 4387"/>
                  <a:gd name="T24" fmla="*/ 3540 w 3609"/>
                  <a:gd name="T25" fmla="*/ 206 h 4387"/>
                  <a:gd name="T26" fmla="*/ 3487 w 3609"/>
                  <a:gd name="T27" fmla="*/ 279 h 4387"/>
                  <a:gd name="T28" fmla="*/ 3371 w 3609"/>
                  <a:gd name="T29" fmla="*/ 628 h 4387"/>
                  <a:gd name="T30" fmla="*/ 3371 w 3609"/>
                  <a:gd name="T31" fmla="*/ 4275 h 4387"/>
                  <a:gd name="T32" fmla="*/ 3365 w 3609"/>
                  <a:gd name="T33" fmla="*/ 4284 h 4387"/>
                  <a:gd name="T34" fmla="*/ 3063 w 3609"/>
                  <a:gd name="T35" fmla="*/ 4387 h 4387"/>
                  <a:gd name="T36" fmla="*/ 655 w 3609"/>
                  <a:gd name="T37" fmla="*/ 4256 h 4387"/>
                  <a:gd name="T38" fmla="*/ 884 w 3609"/>
                  <a:gd name="T39" fmla="*/ 4308 h 4387"/>
                  <a:gd name="T40" fmla="*/ 3063 w 3609"/>
                  <a:gd name="T41" fmla="*/ 4308 h 4387"/>
                  <a:gd name="T42" fmla="*/ 3292 w 3609"/>
                  <a:gd name="T43" fmla="*/ 4249 h 4387"/>
                  <a:gd name="T44" fmla="*/ 3292 w 3609"/>
                  <a:gd name="T45" fmla="*/ 628 h 4387"/>
                  <a:gd name="T46" fmla="*/ 3424 w 3609"/>
                  <a:gd name="T47" fmla="*/ 233 h 4387"/>
                  <a:gd name="T48" fmla="*/ 3475 w 3609"/>
                  <a:gd name="T49" fmla="*/ 161 h 4387"/>
                  <a:gd name="T50" fmla="*/ 3516 w 3609"/>
                  <a:gd name="T51" fmla="*/ 88 h 4387"/>
                  <a:gd name="T52" fmla="*/ 1988 w 3609"/>
                  <a:gd name="T53" fmla="*/ 88 h 4387"/>
                  <a:gd name="T54" fmla="*/ 581 w 3609"/>
                  <a:gd name="T55" fmla="*/ 79 h 4387"/>
                  <a:gd name="T56" fmla="*/ 122 w 3609"/>
                  <a:gd name="T57" fmla="*/ 84 h 4387"/>
                  <a:gd name="T58" fmla="*/ 630 w 3609"/>
                  <a:gd name="T59" fmla="*/ 797 h 4387"/>
                  <a:gd name="T60" fmla="*/ 641 w 3609"/>
                  <a:gd name="T61" fmla="*/ 807 h 4387"/>
                  <a:gd name="T62" fmla="*/ 642 w 3609"/>
                  <a:gd name="T63" fmla="*/ 822 h 4387"/>
                  <a:gd name="T64" fmla="*/ 655 w 3609"/>
                  <a:gd name="T65" fmla="*/ 1191 h 4387"/>
                  <a:gd name="T66" fmla="*/ 655 w 3609"/>
                  <a:gd name="T67" fmla="*/ 4256 h 4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609" h="4387">
                    <a:moveTo>
                      <a:pt x="3063" y="4387"/>
                    </a:moveTo>
                    <a:cubicBezTo>
                      <a:pt x="884" y="4387"/>
                      <a:pt x="884" y="4387"/>
                      <a:pt x="884" y="4387"/>
                    </a:cubicBezTo>
                    <a:cubicBezTo>
                      <a:pt x="610" y="4387"/>
                      <a:pt x="580" y="4289"/>
                      <a:pt x="577" y="4270"/>
                    </a:cubicBezTo>
                    <a:cubicBezTo>
                      <a:pt x="576" y="4263"/>
                      <a:pt x="576" y="4263"/>
                      <a:pt x="576" y="4263"/>
                    </a:cubicBezTo>
                    <a:cubicBezTo>
                      <a:pt x="576" y="1191"/>
                      <a:pt x="576" y="1191"/>
                      <a:pt x="576" y="1191"/>
                    </a:cubicBezTo>
                    <a:cubicBezTo>
                      <a:pt x="576" y="999"/>
                      <a:pt x="568" y="883"/>
                      <a:pt x="565" y="844"/>
                    </a:cubicBezTo>
                    <a:cubicBezTo>
                      <a:pt x="470" y="754"/>
                      <a:pt x="0" y="296"/>
                      <a:pt x="47" y="42"/>
                    </a:cubicBezTo>
                    <a:cubicBezTo>
                      <a:pt x="55" y="0"/>
                      <a:pt x="55" y="0"/>
                      <a:pt x="581" y="0"/>
                    </a:cubicBezTo>
                    <a:cubicBezTo>
                      <a:pt x="1138" y="0"/>
                      <a:pt x="1980" y="10"/>
                      <a:pt x="1989" y="10"/>
                    </a:cubicBezTo>
                    <a:cubicBezTo>
                      <a:pt x="3512" y="10"/>
                      <a:pt x="3512" y="10"/>
                      <a:pt x="3512" y="10"/>
                    </a:cubicBezTo>
                    <a:cubicBezTo>
                      <a:pt x="3517" y="9"/>
                      <a:pt x="3522" y="9"/>
                      <a:pt x="3529" y="9"/>
                    </a:cubicBezTo>
                    <a:cubicBezTo>
                      <a:pt x="3557" y="9"/>
                      <a:pt x="3579" y="21"/>
                      <a:pt x="3590" y="42"/>
                    </a:cubicBezTo>
                    <a:cubicBezTo>
                      <a:pt x="3609" y="78"/>
                      <a:pt x="3594" y="127"/>
                      <a:pt x="3540" y="206"/>
                    </a:cubicBezTo>
                    <a:cubicBezTo>
                      <a:pt x="3521" y="233"/>
                      <a:pt x="3504" y="257"/>
                      <a:pt x="3487" y="279"/>
                    </a:cubicBezTo>
                    <a:cubicBezTo>
                      <a:pt x="3412" y="382"/>
                      <a:pt x="3371" y="439"/>
                      <a:pt x="3371" y="628"/>
                    </a:cubicBezTo>
                    <a:cubicBezTo>
                      <a:pt x="3371" y="4275"/>
                      <a:pt x="3371" y="4275"/>
                      <a:pt x="3371" y="4275"/>
                    </a:cubicBezTo>
                    <a:cubicBezTo>
                      <a:pt x="3365" y="4284"/>
                      <a:pt x="3365" y="4284"/>
                      <a:pt x="3365" y="4284"/>
                    </a:cubicBezTo>
                    <a:cubicBezTo>
                      <a:pt x="3358" y="4295"/>
                      <a:pt x="3294" y="4387"/>
                      <a:pt x="3063" y="4387"/>
                    </a:cubicBezTo>
                    <a:close/>
                    <a:moveTo>
                      <a:pt x="655" y="4256"/>
                    </a:moveTo>
                    <a:cubicBezTo>
                      <a:pt x="666" y="4273"/>
                      <a:pt x="724" y="4308"/>
                      <a:pt x="884" y="4308"/>
                    </a:cubicBezTo>
                    <a:cubicBezTo>
                      <a:pt x="3063" y="4308"/>
                      <a:pt x="3063" y="4308"/>
                      <a:pt x="3063" y="4308"/>
                    </a:cubicBezTo>
                    <a:cubicBezTo>
                      <a:pt x="3212" y="4308"/>
                      <a:pt x="3274" y="4266"/>
                      <a:pt x="3292" y="4249"/>
                    </a:cubicBezTo>
                    <a:cubicBezTo>
                      <a:pt x="3292" y="628"/>
                      <a:pt x="3292" y="628"/>
                      <a:pt x="3292" y="628"/>
                    </a:cubicBezTo>
                    <a:cubicBezTo>
                      <a:pt x="3292" y="414"/>
                      <a:pt x="3345" y="342"/>
                      <a:pt x="3424" y="233"/>
                    </a:cubicBezTo>
                    <a:cubicBezTo>
                      <a:pt x="3440" y="212"/>
                      <a:pt x="3457" y="188"/>
                      <a:pt x="3475" y="161"/>
                    </a:cubicBezTo>
                    <a:cubicBezTo>
                      <a:pt x="3501" y="124"/>
                      <a:pt x="3512" y="101"/>
                      <a:pt x="3516" y="88"/>
                    </a:cubicBezTo>
                    <a:cubicBezTo>
                      <a:pt x="1988" y="88"/>
                      <a:pt x="1988" y="88"/>
                      <a:pt x="1988" y="88"/>
                    </a:cubicBezTo>
                    <a:cubicBezTo>
                      <a:pt x="1979" y="88"/>
                      <a:pt x="1138" y="79"/>
                      <a:pt x="581" y="79"/>
                    </a:cubicBezTo>
                    <a:cubicBezTo>
                      <a:pt x="281" y="79"/>
                      <a:pt x="166" y="81"/>
                      <a:pt x="122" y="84"/>
                    </a:cubicBezTo>
                    <a:cubicBezTo>
                      <a:pt x="124" y="284"/>
                      <a:pt x="484" y="662"/>
                      <a:pt x="630" y="797"/>
                    </a:cubicBezTo>
                    <a:cubicBezTo>
                      <a:pt x="641" y="807"/>
                      <a:pt x="641" y="807"/>
                      <a:pt x="641" y="807"/>
                    </a:cubicBezTo>
                    <a:cubicBezTo>
                      <a:pt x="642" y="822"/>
                      <a:pt x="642" y="822"/>
                      <a:pt x="642" y="822"/>
                    </a:cubicBezTo>
                    <a:cubicBezTo>
                      <a:pt x="643" y="827"/>
                      <a:pt x="655" y="948"/>
                      <a:pt x="655" y="1191"/>
                    </a:cubicBezTo>
                    <a:lnTo>
                      <a:pt x="655" y="425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7615402" y="5624787"/>
              <a:ext cx="836664" cy="839355"/>
              <a:chOff x="18592800" y="5292726"/>
              <a:chExt cx="987425" cy="990600"/>
            </a:xfrm>
          </p:grpSpPr>
          <p:sp>
            <p:nvSpPr>
              <p:cNvPr id="23" name="Oval 10"/>
              <p:cNvSpPr>
                <a:spLocks noChangeArrowheads="1"/>
              </p:cNvSpPr>
              <p:nvPr/>
            </p:nvSpPr>
            <p:spPr bwMode="auto">
              <a:xfrm>
                <a:off x="18605500" y="5307013"/>
                <a:ext cx="963613" cy="963613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4" name="Freeform 11"/>
              <p:cNvSpPr>
                <a:spLocks noEditPoints="1"/>
              </p:cNvSpPr>
              <p:nvPr/>
            </p:nvSpPr>
            <p:spPr bwMode="auto">
              <a:xfrm>
                <a:off x="18592800" y="5292726"/>
                <a:ext cx="987425" cy="990600"/>
              </a:xfrm>
              <a:custGeom>
                <a:avLst/>
                <a:gdLst>
                  <a:gd name="T0" fmla="*/ 369 w 738"/>
                  <a:gd name="T1" fmla="*/ 739 h 739"/>
                  <a:gd name="T2" fmla="*/ 0 w 738"/>
                  <a:gd name="T3" fmla="*/ 369 h 739"/>
                  <a:gd name="T4" fmla="*/ 369 w 738"/>
                  <a:gd name="T5" fmla="*/ 0 h 739"/>
                  <a:gd name="T6" fmla="*/ 738 w 738"/>
                  <a:gd name="T7" fmla="*/ 369 h 739"/>
                  <a:gd name="T8" fmla="*/ 369 w 738"/>
                  <a:gd name="T9" fmla="*/ 739 h 739"/>
                  <a:gd name="T10" fmla="*/ 369 w 738"/>
                  <a:gd name="T11" fmla="*/ 20 h 739"/>
                  <a:gd name="T12" fmla="*/ 19 w 738"/>
                  <a:gd name="T13" fmla="*/ 369 h 739"/>
                  <a:gd name="T14" fmla="*/ 369 w 738"/>
                  <a:gd name="T15" fmla="*/ 719 h 739"/>
                  <a:gd name="T16" fmla="*/ 719 w 738"/>
                  <a:gd name="T17" fmla="*/ 369 h 739"/>
                  <a:gd name="T18" fmla="*/ 369 w 738"/>
                  <a:gd name="T19" fmla="*/ 20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8" h="739">
                    <a:moveTo>
                      <a:pt x="369" y="739"/>
                    </a:moveTo>
                    <a:cubicBezTo>
                      <a:pt x="165" y="739"/>
                      <a:pt x="0" y="573"/>
                      <a:pt x="0" y="369"/>
                    </a:cubicBezTo>
                    <a:cubicBezTo>
                      <a:pt x="0" y="166"/>
                      <a:pt x="165" y="0"/>
                      <a:pt x="369" y="0"/>
                    </a:cubicBezTo>
                    <a:cubicBezTo>
                      <a:pt x="573" y="0"/>
                      <a:pt x="738" y="166"/>
                      <a:pt x="738" y="369"/>
                    </a:cubicBezTo>
                    <a:cubicBezTo>
                      <a:pt x="738" y="573"/>
                      <a:pt x="573" y="739"/>
                      <a:pt x="369" y="739"/>
                    </a:cubicBezTo>
                    <a:close/>
                    <a:moveTo>
                      <a:pt x="369" y="20"/>
                    </a:moveTo>
                    <a:cubicBezTo>
                      <a:pt x="176" y="20"/>
                      <a:pt x="19" y="177"/>
                      <a:pt x="19" y="369"/>
                    </a:cubicBezTo>
                    <a:cubicBezTo>
                      <a:pt x="19" y="562"/>
                      <a:pt x="176" y="719"/>
                      <a:pt x="369" y="719"/>
                    </a:cubicBezTo>
                    <a:cubicBezTo>
                      <a:pt x="562" y="719"/>
                      <a:pt x="719" y="562"/>
                      <a:pt x="719" y="369"/>
                    </a:cubicBezTo>
                    <a:cubicBezTo>
                      <a:pt x="719" y="177"/>
                      <a:pt x="562" y="20"/>
                      <a:pt x="369" y="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5" name="Freeform 13"/>
              <p:cNvSpPr>
                <a:spLocks/>
              </p:cNvSpPr>
              <p:nvPr/>
            </p:nvSpPr>
            <p:spPr bwMode="auto">
              <a:xfrm>
                <a:off x="18746788" y="5449888"/>
                <a:ext cx="352425" cy="350838"/>
              </a:xfrm>
              <a:custGeom>
                <a:avLst/>
                <a:gdLst>
                  <a:gd name="T0" fmla="*/ 10 w 263"/>
                  <a:gd name="T1" fmla="*/ 262 h 262"/>
                  <a:gd name="T2" fmla="*/ 0 w 263"/>
                  <a:gd name="T3" fmla="*/ 252 h 262"/>
                  <a:gd name="T4" fmla="*/ 253 w 263"/>
                  <a:gd name="T5" fmla="*/ 0 h 262"/>
                  <a:gd name="T6" fmla="*/ 263 w 263"/>
                  <a:gd name="T7" fmla="*/ 10 h 262"/>
                  <a:gd name="T8" fmla="*/ 253 w 263"/>
                  <a:gd name="T9" fmla="*/ 19 h 262"/>
                  <a:gd name="T10" fmla="*/ 20 w 263"/>
                  <a:gd name="T11" fmla="*/ 252 h 262"/>
                  <a:gd name="T12" fmla="*/ 10 w 263"/>
                  <a:gd name="T13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3" h="262">
                    <a:moveTo>
                      <a:pt x="10" y="262"/>
                    </a:moveTo>
                    <a:cubicBezTo>
                      <a:pt x="5" y="262"/>
                      <a:pt x="0" y="258"/>
                      <a:pt x="0" y="252"/>
                    </a:cubicBezTo>
                    <a:cubicBezTo>
                      <a:pt x="0" y="113"/>
                      <a:pt x="114" y="0"/>
                      <a:pt x="253" y="0"/>
                    </a:cubicBezTo>
                    <a:cubicBezTo>
                      <a:pt x="259" y="0"/>
                      <a:pt x="263" y="4"/>
                      <a:pt x="263" y="10"/>
                    </a:cubicBezTo>
                    <a:cubicBezTo>
                      <a:pt x="263" y="15"/>
                      <a:pt x="259" y="19"/>
                      <a:pt x="253" y="19"/>
                    </a:cubicBezTo>
                    <a:cubicBezTo>
                      <a:pt x="125" y="19"/>
                      <a:pt x="20" y="124"/>
                      <a:pt x="20" y="252"/>
                    </a:cubicBezTo>
                    <a:cubicBezTo>
                      <a:pt x="20" y="258"/>
                      <a:pt x="16" y="262"/>
                      <a:pt x="10" y="26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18450721" y="6547539"/>
              <a:ext cx="648348" cy="648348"/>
              <a:chOff x="19578638" y="6381751"/>
              <a:chExt cx="765175" cy="765175"/>
            </a:xfrm>
          </p:grpSpPr>
          <p:sp>
            <p:nvSpPr>
              <p:cNvPr id="20" name="Oval 14"/>
              <p:cNvSpPr>
                <a:spLocks noChangeArrowheads="1"/>
              </p:cNvSpPr>
              <p:nvPr/>
            </p:nvSpPr>
            <p:spPr bwMode="auto">
              <a:xfrm>
                <a:off x="19592925" y="6394451"/>
                <a:ext cx="738188" cy="738188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1" name="Freeform 15"/>
              <p:cNvSpPr>
                <a:spLocks noEditPoints="1"/>
              </p:cNvSpPr>
              <p:nvPr/>
            </p:nvSpPr>
            <p:spPr bwMode="auto">
              <a:xfrm>
                <a:off x="19578638" y="6381751"/>
                <a:ext cx="765175" cy="765175"/>
              </a:xfrm>
              <a:custGeom>
                <a:avLst/>
                <a:gdLst>
                  <a:gd name="T0" fmla="*/ 285 w 571"/>
                  <a:gd name="T1" fmla="*/ 571 h 571"/>
                  <a:gd name="T2" fmla="*/ 0 w 571"/>
                  <a:gd name="T3" fmla="*/ 286 h 571"/>
                  <a:gd name="T4" fmla="*/ 285 w 571"/>
                  <a:gd name="T5" fmla="*/ 0 h 571"/>
                  <a:gd name="T6" fmla="*/ 571 w 571"/>
                  <a:gd name="T7" fmla="*/ 286 h 571"/>
                  <a:gd name="T8" fmla="*/ 285 w 571"/>
                  <a:gd name="T9" fmla="*/ 571 h 571"/>
                  <a:gd name="T10" fmla="*/ 285 w 571"/>
                  <a:gd name="T11" fmla="*/ 20 h 571"/>
                  <a:gd name="T12" fmla="*/ 20 w 571"/>
                  <a:gd name="T13" fmla="*/ 286 h 571"/>
                  <a:gd name="T14" fmla="*/ 285 w 571"/>
                  <a:gd name="T15" fmla="*/ 551 h 571"/>
                  <a:gd name="T16" fmla="*/ 551 w 571"/>
                  <a:gd name="T17" fmla="*/ 286 h 571"/>
                  <a:gd name="T18" fmla="*/ 285 w 571"/>
                  <a:gd name="T19" fmla="*/ 20 h 5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1" h="571">
                    <a:moveTo>
                      <a:pt x="285" y="571"/>
                    </a:moveTo>
                    <a:cubicBezTo>
                      <a:pt x="128" y="571"/>
                      <a:pt x="0" y="443"/>
                      <a:pt x="0" y="286"/>
                    </a:cubicBezTo>
                    <a:cubicBezTo>
                      <a:pt x="0" y="128"/>
                      <a:pt x="128" y="0"/>
                      <a:pt x="285" y="0"/>
                    </a:cubicBezTo>
                    <a:cubicBezTo>
                      <a:pt x="443" y="0"/>
                      <a:pt x="571" y="128"/>
                      <a:pt x="571" y="286"/>
                    </a:cubicBezTo>
                    <a:cubicBezTo>
                      <a:pt x="571" y="443"/>
                      <a:pt x="443" y="571"/>
                      <a:pt x="285" y="571"/>
                    </a:cubicBezTo>
                    <a:close/>
                    <a:moveTo>
                      <a:pt x="285" y="20"/>
                    </a:moveTo>
                    <a:cubicBezTo>
                      <a:pt x="139" y="20"/>
                      <a:pt x="20" y="139"/>
                      <a:pt x="20" y="286"/>
                    </a:cubicBezTo>
                    <a:cubicBezTo>
                      <a:pt x="20" y="432"/>
                      <a:pt x="139" y="551"/>
                      <a:pt x="285" y="551"/>
                    </a:cubicBezTo>
                    <a:cubicBezTo>
                      <a:pt x="432" y="551"/>
                      <a:pt x="551" y="432"/>
                      <a:pt x="551" y="286"/>
                    </a:cubicBezTo>
                    <a:cubicBezTo>
                      <a:pt x="551" y="139"/>
                      <a:pt x="432" y="20"/>
                      <a:pt x="285" y="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2" name="Freeform 17"/>
              <p:cNvSpPr>
                <a:spLocks/>
              </p:cNvSpPr>
              <p:nvPr/>
            </p:nvSpPr>
            <p:spPr bwMode="auto">
              <a:xfrm>
                <a:off x="19699288" y="6502401"/>
                <a:ext cx="274638" cy="274638"/>
              </a:xfrm>
              <a:custGeom>
                <a:avLst/>
                <a:gdLst>
                  <a:gd name="T0" fmla="*/ 10 w 206"/>
                  <a:gd name="T1" fmla="*/ 205 h 205"/>
                  <a:gd name="T2" fmla="*/ 0 w 206"/>
                  <a:gd name="T3" fmla="*/ 196 h 205"/>
                  <a:gd name="T4" fmla="*/ 196 w 206"/>
                  <a:gd name="T5" fmla="*/ 0 h 205"/>
                  <a:gd name="T6" fmla="*/ 206 w 206"/>
                  <a:gd name="T7" fmla="*/ 9 h 205"/>
                  <a:gd name="T8" fmla="*/ 196 w 206"/>
                  <a:gd name="T9" fmla="*/ 19 h 205"/>
                  <a:gd name="T10" fmla="*/ 20 w 206"/>
                  <a:gd name="T11" fmla="*/ 196 h 205"/>
                  <a:gd name="T12" fmla="*/ 10 w 206"/>
                  <a:gd name="T13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6" h="205">
                    <a:moveTo>
                      <a:pt x="10" y="205"/>
                    </a:moveTo>
                    <a:cubicBezTo>
                      <a:pt x="5" y="205"/>
                      <a:pt x="0" y="201"/>
                      <a:pt x="0" y="196"/>
                    </a:cubicBezTo>
                    <a:cubicBezTo>
                      <a:pt x="0" y="87"/>
                      <a:pt x="88" y="0"/>
                      <a:pt x="196" y="0"/>
                    </a:cubicBezTo>
                    <a:cubicBezTo>
                      <a:pt x="202" y="0"/>
                      <a:pt x="206" y="4"/>
                      <a:pt x="206" y="9"/>
                    </a:cubicBezTo>
                    <a:cubicBezTo>
                      <a:pt x="206" y="15"/>
                      <a:pt x="202" y="19"/>
                      <a:pt x="196" y="19"/>
                    </a:cubicBezTo>
                    <a:cubicBezTo>
                      <a:pt x="99" y="19"/>
                      <a:pt x="20" y="98"/>
                      <a:pt x="20" y="196"/>
                    </a:cubicBezTo>
                    <a:cubicBezTo>
                      <a:pt x="20" y="201"/>
                      <a:pt x="16" y="205"/>
                      <a:pt x="10" y="205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17736462" y="7299461"/>
              <a:ext cx="626826" cy="626826"/>
              <a:chOff x="18735675" y="7269163"/>
              <a:chExt cx="739775" cy="739775"/>
            </a:xfrm>
          </p:grpSpPr>
          <p:sp>
            <p:nvSpPr>
              <p:cNvPr id="16" name="Oval 18"/>
              <p:cNvSpPr>
                <a:spLocks noChangeArrowheads="1"/>
              </p:cNvSpPr>
              <p:nvPr/>
            </p:nvSpPr>
            <p:spPr bwMode="auto">
              <a:xfrm>
                <a:off x="18748375" y="7281863"/>
                <a:ext cx="714375" cy="714375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18735675" y="7269163"/>
                <a:ext cx="739775" cy="739775"/>
                <a:chOff x="18735675" y="7269163"/>
                <a:chExt cx="739775" cy="739775"/>
              </a:xfrm>
            </p:grpSpPr>
            <p:sp>
              <p:nvSpPr>
                <p:cNvPr id="18" name="Freeform 19"/>
                <p:cNvSpPr>
                  <a:spLocks noEditPoints="1"/>
                </p:cNvSpPr>
                <p:nvPr/>
              </p:nvSpPr>
              <p:spPr bwMode="auto">
                <a:xfrm>
                  <a:off x="18735675" y="7269163"/>
                  <a:ext cx="739775" cy="739775"/>
                </a:xfrm>
                <a:custGeom>
                  <a:avLst/>
                  <a:gdLst>
                    <a:gd name="T0" fmla="*/ 277 w 553"/>
                    <a:gd name="T1" fmla="*/ 552 h 552"/>
                    <a:gd name="T2" fmla="*/ 0 w 553"/>
                    <a:gd name="T3" fmla="*/ 276 h 552"/>
                    <a:gd name="T4" fmla="*/ 277 w 553"/>
                    <a:gd name="T5" fmla="*/ 0 h 552"/>
                    <a:gd name="T6" fmla="*/ 553 w 553"/>
                    <a:gd name="T7" fmla="*/ 276 h 552"/>
                    <a:gd name="T8" fmla="*/ 277 w 553"/>
                    <a:gd name="T9" fmla="*/ 552 h 552"/>
                    <a:gd name="T10" fmla="*/ 277 w 553"/>
                    <a:gd name="T11" fmla="*/ 19 h 552"/>
                    <a:gd name="T12" fmla="*/ 20 w 553"/>
                    <a:gd name="T13" fmla="*/ 276 h 552"/>
                    <a:gd name="T14" fmla="*/ 277 w 553"/>
                    <a:gd name="T15" fmla="*/ 532 h 552"/>
                    <a:gd name="T16" fmla="*/ 533 w 553"/>
                    <a:gd name="T17" fmla="*/ 276 h 552"/>
                    <a:gd name="T18" fmla="*/ 277 w 553"/>
                    <a:gd name="T19" fmla="*/ 19 h 5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53" h="552">
                      <a:moveTo>
                        <a:pt x="277" y="552"/>
                      </a:moveTo>
                      <a:cubicBezTo>
                        <a:pt x="124" y="552"/>
                        <a:pt x="0" y="428"/>
                        <a:pt x="0" y="276"/>
                      </a:cubicBezTo>
                      <a:cubicBezTo>
                        <a:pt x="0" y="123"/>
                        <a:pt x="124" y="0"/>
                        <a:pt x="277" y="0"/>
                      </a:cubicBezTo>
                      <a:cubicBezTo>
                        <a:pt x="429" y="0"/>
                        <a:pt x="553" y="123"/>
                        <a:pt x="553" y="276"/>
                      </a:cubicBezTo>
                      <a:cubicBezTo>
                        <a:pt x="553" y="428"/>
                        <a:pt x="429" y="552"/>
                        <a:pt x="277" y="552"/>
                      </a:cubicBezTo>
                      <a:close/>
                      <a:moveTo>
                        <a:pt x="277" y="19"/>
                      </a:moveTo>
                      <a:cubicBezTo>
                        <a:pt x="135" y="19"/>
                        <a:pt x="20" y="134"/>
                        <a:pt x="20" y="276"/>
                      </a:cubicBezTo>
                      <a:cubicBezTo>
                        <a:pt x="20" y="417"/>
                        <a:pt x="135" y="532"/>
                        <a:pt x="277" y="532"/>
                      </a:cubicBezTo>
                      <a:cubicBezTo>
                        <a:pt x="418" y="532"/>
                        <a:pt x="533" y="417"/>
                        <a:pt x="533" y="276"/>
                      </a:cubicBezTo>
                      <a:cubicBezTo>
                        <a:pt x="533" y="134"/>
                        <a:pt x="418" y="19"/>
                        <a:pt x="277" y="1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sp>
              <p:nvSpPr>
                <p:cNvPr id="19" name="Freeform 21"/>
                <p:cNvSpPr>
                  <a:spLocks/>
                </p:cNvSpPr>
                <p:nvPr/>
              </p:nvSpPr>
              <p:spPr bwMode="auto">
                <a:xfrm>
                  <a:off x="18851563" y="7385051"/>
                  <a:ext cx="266700" cy="268288"/>
                </a:xfrm>
                <a:custGeom>
                  <a:avLst/>
                  <a:gdLst>
                    <a:gd name="T0" fmla="*/ 10 w 199"/>
                    <a:gd name="T1" fmla="*/ 200 h 200"/>
                    <a:gd name="T2" fmla="*/ 0 w 199"/>
                    <a:gd name="T3" fmla="*/ 190 h 200"/>
                    <a:gd name="T4" fmla="*/ 190 w 199"/>
                    <a:gd name="T5" fmla="*/ 0 h 200"/>
                    <a:gd name="T6" fmla="*/ 199 w 199"/>
                    <a:gd name="T7" fmla="*/ 10 h 200"/>
                    <a:gd name="T8" fmla="*/ 190 w 199"/>
                    <a:gd name="T9" fmla="*/ 20 h 200"/>
                    <a:gd name="T10" fmla="*/ 19 w 199"/>
                    <a:gd name="T11" fmla="*/ 190 h 200"/>
                    <a:gd name="T12" fmla="*/ 10 w 199"/>
                    <a:gd name="T13" fmla="*/ 200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200">
                      <a:moveTo>
                        <a:pt x="10" y="200"/>
                      </a:moveTo>
                      <a:cubicBezTo>
                        <a:pt x="4" y="200"/>
                        <a:pt x="0" y="195"/>
                        <a:pt x="0" y="190"/>
                      </a:cubicBezTo>
                      <a:cubicBezTo>
                        <a:pt x="0" y="85"/>
                        <a:pt x="85" y="0"/>
                        <a:pt x="190" y="0"/>
                      </a:cubicBezTo>
                      <a:cubicBezTo>
                        <a:pt x="195" y="0"/>
                        <a:pt x="199" y="4"/>
                        <a:pt x="199" y="10"/>
                      </a:cubicBezTo>
                      <a:cubicBezTo>
                        <a:pt x="199" y="15"/>
                        <a:pt x="195" y="20"/>
                        <a:pt x="190" y="20"/>
                      </a:cubicBezTo>
                      <a:cubicBezTo>
                        <a:pt x="96" y="20"/>
                        <a:pt x="19" y="96"/>
                        <a:pt x="19" y="190"/>
                      </a:cubicBezTo>
                      <a:cubicBezTo>
                        <a:pt x="19" y="195"/>
                        <a:pt x="15" y="200"/>
                        <a:pt x="10" y="20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</p:grpSp>
        </p:grpSp>
        <p:grpSp>
          <p:nvGrpSpPr>
            <p:cNvPr id="10" name="Group 9"/>
            <p:cNvGrpSpPr/>
            <p:nvPr/>
          </p:nvGrpSpPr>
          <p:grpSpPr>
            <a:xfrm>
              <a:off x="18462827" y="8063488"/>
              <a:ext cx="473482" cy="473482"/>
              <a:chOff x="19592925" y="8170863"/>
              <a:chExt cx="558800" cy="558800"/>
            </a:xfrm>
          </p:grpSpPr>
          <p:sp>
            <p:nvSpPr>
              <p:cNvPr id="12" name="Oval 22"/>
              <p:cNvSpPr>
                <a:spLocks noChangeArrowheads="1"/>
              </p:cNvSpPr>
              <p:nvPr/>
            </p:nvSpPr>
            <p:spPr bwMode="auto">
              <a:xfrm>
                <a:off x="19605625" y="8183563"/>
                <a:ext cx="531813" cy="533400"/>
              </a:xfrm>
              <a:prstGeom prst="ellipse">
                <a:avLst/>
              </a:pr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grpSp>
            <p:nvGrpSpPr>
              <p:cNvPr id="13" name="Group 12"/>
              <p:cNvGrpSpPr/>
              <p:nvPr/>
            </p:nvGrpSpPr>
            <p:grpSpPr>
              <a:xfrm>
                <a:off x="19592925" y="8170863"/>
                <a:ext cx="558800" cy="558800"/>
                <a:chOff x="19592925" y="8170863"/>
                <a:chExt cx="558800" cy="558800"/>
              </a:xfrm>
            </p:grpSpPr>
            <p:sp>
              <p:nvSpPr>
                <p:cNvPr id="14" name="Freeform 23"/>
                <p:cNvSpPr>
                  <a:spLocks noEditPoints="1"/>
                </p:cNvSpPr>
                <p:nvPr/>
              </p:nvSpPr>
              <p:spPr bwMode="auto">
                <a:xfrm>
                  <a:off x="19592925" y="8170863"/>
                  <a:ext cx="558800" cy="558800"/>
                </a:xfrm>
                <a:custGeom>
                  <a:avLst/>
                  <a:gdLst>
                    <a:gd name="T0" fmla="*/ 209 w 417"/>
                    <a:gd name="T1" fmla="*/ 417 h 417"/>
                    <a:gd name="T2" fmla="*/ 0 w 417"/>
                    <a:gd name="T3" fmla="*/ 209 h 417"/>
                    <a:gd name="T4" fmla="*/ 209 w 417"/>
                    <a:gd name="T5" fmla="*/ 0 h 417"/>
                    <a:gd name="T6" fmla="*/ 417 w 417"/>
                    <a:gd name="T7" fmla="*/ 209 h 417"/>
                    <a:gd name="T8" fmla="*/ 209 w 417"/>
                    <a:gd name="T9" fmla="*/ 417 h 417"/>
                    <a:gd name="T10" fmla="*/ 209 w 417"/>
                    <a:gd name="T11" fmla="*/ 20 h 417"/>
                    <a:gd name="T12" fmla="*/ 20 w 417"/>
                    <a:gd name="T13" fmla="*/ 209 h 417"/>
                    <a:gd name="T14" fmla="*/ 209 w 417"/>
                    <a:gd name="T15" fmla="*/ 398 h 417"/>
                    <a:gd name="T16" fmla="*/ 397 w 417"/>
                    <a:gd name="T17" fmla="*/ 209 h 417"/>
                    <a:gd name="T18" fmla="*/ 209 w 417"/>
                    <a:gd name="T19" fmla="*/ 20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17" h="417">
                      <a:moveTo>
                        <a:pt x="209" y="417"/>
                      </a:moveTo>
                      <a:cubicBezTo>
                        <a:pt x="94" y="417"/>
                        <a:pt x="0" y="324"/>
                        <a:pt x="0" y="209"/>
                      </a:cubicBezTo>
                      <a:cubicBezTo>
                        <a:pt x="0" y="94"/>
                        <a:pt x="94" y="0"/>
                        <a:pt x="209" y="0"/>
                      </a:cubicBezTo>
                      <a:cubicBezTo>
                        <a:pt x="324" y="0"/>
                        <a:pt x="417" y="94"/>
                        <a:pt x="417" y="209"/>
                      </a:cubicBezTo>
                      <a:cubicBezTo>
                        <a:pt x="417" y="324"/>
                        <a:pt x="324" y="417"/>
                        <a:pt x="209" y="417"/>
                      </a:cubicBezTo>
                      <a:close/>
                      <a:moveTo>
                        <a:pt x="209" y="20"/>
                      </a:moveTo>
                      <a:cubicBezTo>
                        <a:pt x="104" y="20"/>
                        <a:pt x="20" y="105"/>
                        <a:pt x="20" y="209"/>
                      </a:cubicBezTo>
                      <a:cubicBezTo>
                        <a:pt x="20" y="313"/>
                        <a:pt x="104" y="398"/>
                        <a:pt x="209" y="398"/>
                      </a:cubicBezTo>
                      <a:cubicBezTo>
                        <a:pt x="313" y="398"/>
                        <a:pt x="397" y="313"/>
                        <a:pt x="397" y="209"/>
                      </a:cubicBezTo>
                      <a:cubicBezTo>
                        <a:pt x="397" y="105"/>
                        <a:pt x="313" y="20"/>
                        <a:pt x="209" y="2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sp>
              <p:nvSpPr>
                <p:cNvPr id="15" name="Freeform 25"/>
                <p:cNvSpPr>
                  <a:spLocks/>
                </p:cNvSpPr>
                <p:nvPr/>
              </p:nvSpPr>
              <p:spPr bwMode="auto">
                <a:xfrm>
                  <a:off x="19680238" y="8258176"/>
                  <a:ext cx="204788" cy="206375"/>
                </a:xfrm>
                <a:custGeom>
                  <a:avLst/>
                  <a:gdLst>
                    <a:gd name="T0" fmla="*/ 9 w 153"/>
                    <a:gd name="T1" fmla="*/ 154 h 154"/>
                    <a:gd name="T2" fmla="*/ 0 w 153"/>
                    <a:gd name="T3" fmla="*/ 144 h 154"/>
                    <a:gd name="T4" fmla="*/ 144 w 153"/>
                    <a:gd name="T5" fmla="*/ 0 h 154"/>
                    <a:gd name="T6" fmla="*/ 153 w 153"/>
                    <a:gd name="T7" fmla="*/ 10 h 154"/>
                    <a:gd name="T8" fmla="*/ 144 w 153"/>
                    <a:gd name="T9" fmla="*/ 19 h 154"/>
                    <a:gd name="T10" fmla="*/ 19 w 153"/>
                    <a:gd name="T11" fmla="*/ 144 h 154"/>
                    <a:gd name="T12" fmla="*/ 9 w 153"/>
                    <a:gd name="T13" fmla="*/ 154 h 1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3" h="154">
                      <a:moveTo>
                        <a:pt x="9" y="154"/>
                      </a:moveTo>
                      <a:cubicBezTo>
                        <a:pt x="4" y="154"/>
                        <a:pt x="0" y="149"/>
                        <a:pt x="0" y="144"/>
                      </a:cubicBezTo>
                      <a:cubicBezTo>
                        <a:pt x="0" y="64"/>
                        <a:pt x="64" y="0"/>
                        <a:pt x="144" y="0"/>
                      </a:cubicBezTo>
                      <a:cubicBezTo>
                        <a:pt x="149" y="0"/>
                        <a:pt x="153" y="4"/>
                        <a:pt x="153" y="10"/>
                      </a:cubicBezTo>
                      <a:cubicBezTo>
                        <a:pt x="153" y="15"/>
                        <a:pt x="149" y="19"/>
                        <a:pt x="144" y="19"/>
                      </a:cubicBezTo>
                      <a:cubicBezTo>
                        <a:pt x="75" y="19"/>
                        <a:pt x="19" y="75"/>
                        <a:pt x="19" y="144"/>
                      </a:cubicBezTo>
                      <a:cubicBezTo>
                        <a:pt x="19" y="149"/>
                        <a:pt x="15" y="154"/>
                        <a:pt x="9" y="15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</p:grpSp>
        </p:grpSp>
        <p:sp>
          <p:nvSpPr>
            <p:cNvPr id="11" name="Freeform 26"/>
            <p:cNvSpPr>
              <a:spLocks/>
            </p:cNvSpPr>
            <p:nvPr/>
          </p:nvSpPr>
          <p:spPr bwMode="auto">
            <a:xfrm>
              <a:off x="17063903" y="7111144"/>
              <a:ext cx="320138" cy="1807841"/>
            </a:xfrm>
            <a:custGeom>
              <a:avLst/>
              <a:gdLst>
                <a:gd name="T0" fmla="*/ 238 w 238"/>
                <a:gd name="T1" fmla="*/ 194 h 1344"/>
                <a:gd name="T2" fmla="*/ 238 w 238"/>
                <a:gd name="T3" fmla="*/ 168 h 1344"/>
                <a:gd name="T4" fmla="*/ 26 w 238"/>
                <a:gd name="T5" fmla="*/ 168 h 1344"/>
                <a:gd name="T6" fmla="*/ 26 w 238"/>
                <a:gd name="T7" fmla="*/ 0 h 1344"/>
                <a:gd name="T8" fmla="*/ 0 w 238"/>
                <a:gd name="T9" fmla="*/ 0 h 1344"/>
                <a:gd name="T10" fmla="*/ 0 w 238"/>
                <a:gd name="T11" fmla="*/ 1344 h 1344"/>
                <a:gd name="T12" fmla="*/ 26 w 238"/>
                <a:gd name="T13" fmla="*/ 1344 h 1344"/>
                <a:gd name="T14" fmla="*/ 26 w 238"/>
                <a:gd name="T15" fmla="*/ 1048 h 1344"/>
                <a:gd name="T16" fmla="*/ 238 w 238"/>
                <a:gd name="T17" fmla="*/ 1048 h 1344"/>
                <a:gd name="T18" fmla="*/ 238 w 238"/>
                <a:gd name="T19" fmla="*/ 1023 h 1344"/>
                <a:gd name="T20" fmla="*/ 26 w 238"/>
                <a:gd name="T21" fmla="*/ 1023 h 1344"/>
                <a:gd name="T22" fmla="*/ 26 w 238"/>
                <a:gd name="T23" fmla="*/ 763 h 1344"/>
                <a:gd name="T24" fmla="*/ 238 w 238"/>
                <a:gd name="T25" fmla="*/ 763 h 1344"/>
                <a:gd name="T26" fmla="*/ 238 w 238"/>
                <a:gd name="T27" fmla="*/ 738 h 1344"/>
                <a:gd name="T28" fmla="*/ 26 w 238"/>
                <a:gd name="T29" fmla="*/ 738 h 1344"/>
                <a:gd name="T30" fmla="*/ 26 w 238"/>
                <a:gd name="T31" fmla="*/ 478 h 1344"/>
                <a:gd name="T32" fmla="*/ 238 w 238"/>
                <a:gd name="T33" fmla="*/ 478 h 1344"/>
                <a:gd name="T34" fmla="*/ 238 w 238"/>
                <a:gd name="T35" fmla="*/ 453 h 1344"/>
                <a:gd name="T36" fmla="*/ 26 w 238"/>
                <a:gd name="T37" fmla="*/ 453 h 1344"/>
                <a:gd name="T38" fmla="*/ 26 w 238"/>
                <a:gd name="T39" fmla="*/ 194 h 1344"/>
                <a:gd name="T40" fmla="*/ 238 w 238"/>
                <a:gd name="T41" fmla="*/ 194 h 1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8" h="1344">
                  <a:moveTo>
                    <a:pt x="238" y="194"/>
                  </a:moveTo>
                  <a:lnTo>
                    <a:pt x="238" y="168"/>
                  </a:lnTo>
                  <a:lnTo>
                    <a:pt x="26" y="168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1344"/>
                  </a:lnTo>
                  <a:lnTo>
                    <a:pt x="26" y="1344"/>
                  </a:lnTo>
                  <a:lnTo>
                    <a:pt x="26" y="1048"/>
                  </a:lnTo>
                  <a:lnTo>
                    <a:pt x="238" y="1048"/>
                  </a:lnTo>
                  <a:lnTo>
                    <a:pt x="238" y="1023"/>
                  </a:lnTo>
                  <a:lnTo>
                    <a:pt x="26" y="1023"/>
                  </a:lnTo>
                  <a:lnTo>
                    <a:pt x="26" y="763"/>
                  </a:lnTo>
                  <a:lnTo>
                    <a:pt x="238" y="763"/>
                  </a:lnTo>
                  <a:lnTo>
                    <a:pt x="238" y="738"/>
                  </a:lnTo>
                  <a:lnTo>
                    <a:pt x="26" y="738"/>
                  </a:lnTo>
                  <a:lnTo>
                    <a:pt x="26" y="478"/>
                  </a:lnTo>
                  <a:lnTo>
                    <a:pt x="238" y="478"/>
                  </a:lnTo>
                  <a:lnTo>
                    <a:pt x="238" y="453"/>
                  </a:lnTo>
                  <a:lnTo>
                    <a:pt x="26" y="453"/>
                  </a:lnTo>
                  <a:lnTo>
                    <a:pt x="26" y="194"/>
                  </a:lnTo>
                  <a:lnTo>
                    <a:pt x="238" y="19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126" name="TextBox 125"/>
          <p:cNvSpPr txBox="1"/>
          <p:nvPr/>
        </p:nvSpPr>
        <p:spPr>
          <a:xfrm>
            <a:off x="7422349" y="2845481"/>
            <a:ext cx="3081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53%</a:t>
            </a:r>
          </a:p>
        </p:txBody>
      </p:sp>
      <p:grpSp>
        <p:nvGrpSpPr>
          <p:cNvPr id="95" name="Group 94"/>
          <p:cNvGrpSpPr/>
          <p:nvPr/>
        </p:nvGrpSpPr>
        <p:grpSpPr>
          <a:xfrm>
            <a:off x="783136" y="3475641"/>
            <a:ext cx="1491126" cy="493928"/>
            <a:chOff x="783136" y="3475641"/>
            <a:chExt cx="1491126" cy="493928"/>
          </a:xfrm>
        </p:grpSpPr>
        <p:sp>
          <p:nvSpPr>
            <p:cNvPr id="127" name="TextBox 126"/>
            <p:cNvSpPr txBox="1"/>
            <p:nvPr/>
          </p:nvSpPr>
          <p:spPr>
            <a:xfrm>
              <a:off x="783167" y="347564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O PLANEJA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783136" y="3686478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2754935" y="3475641"/>
            <a:ext cx="1564658" cy="493928"/>
            <a:chOff x="2754935" y="3475641"/>
            <a:chExt cx="1564658" cy="493928"/>
          </a:xfrm>
        </p:grpSpPr>
        <p:sp>
          <p:nvSpPr>
            <p:cNvPr id="129" name="TextBox 128"/>
            <p:cNvSpPr txBox="1"/>
            <p:nvPr/>
          </p:nvSpPr>
          <p:spPr>
            <a:xfrm>
              <a:off x="2754935" y="3475641"/>
              <a:ext cx="1564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ESQUISA DE MERCAD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2791701" y="3686478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787580" y="3475641"/>
            <a:ext cx="1491126" cy="493928"/>
            <a:chOff x="4787580" y="3475641"/>
            <a:chExt cx="1491126" cy="493928"/>
          </a:xfrm>
        </p:grpSpPr>
        <p:sp>
          <p:nvSpPr>
            <p:cNvPr id="131" name="TextBox 130"/>
            <p:cNvSpPr txBox="1"/>
            <p:nvPr/>
          </p:nvSpPr>
          <p:spPr>
            <a:xfrm>
              <a:off x="4787611" y="347564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DEMOGRAFI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4787580" y="3686478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6829588" y="3475641"/>
            <a:ext cx="1491126" cy="493928"/>
            <a:chOff x="6829588" y="3475641"/>
            <a:chExt cx="1491126" cy="493928"/>
          </a:xfrm>
        </p:grpSpPr>
        <p:sp>
          <p:nvSpPr>
            <p:cNvPr id="133" name="TextBox 132"/>
            <p:cNvSpPr txBox="1"/>
            <p:nvPr/>
          </p:nvSpPr>
          <p:spPr>
            <a:xfrm>
              <a:off x="6829602" y="347564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NÁLISE DE USO FINA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6829588" y="3686478"/>
              <a:ext cx="149112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sp>
        <p:nvSpPr>
          <p:cNvPr id="139" name="TextBox 138"/>
          <p:cNvSpPr txBox="1"/>
          <p:nvPr/>
        </p:nvSpPr>
        <p:spPr>
          <a:xfrm>
            <a:off x="1370750" y="2902866"/>
            <a:ext cx="3081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6%</a:t>
            </a:r>
          </a:p>
        </p:txBody>
      </p:sp>
    </p:spTree>
    <p:extLst>
      <p:ext uri="{BB962C8B-B14F-4D97-AF65-F5344CB8AC3E}">
        <p14:creationId xmlns:p14="http://schemas.microsoft.com/office/powerpoint/2010/main" val="190012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ÓRMULA DO </a:t>
            </a:r>
            <a:r>
              <a:rPr lang="en-US" dirty="0">
                <a:solidFill>
                  <a:srgbClr val="EC0000"/>
                </a:solidFill>
              </a:rPr>
              <a:t>SUCESS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267980" y="1446678"/>
            <a:ext cx="2608797" cy="2924026"/>
            <a:chOff x="11115785" y="4753150"/>
            <a:chExt cx="4842431" cy="5427557"/>
          </a:xfrm>
        </p:grpSpPr>
        <p:sp>
          <p:nvSpPr>
            <p:cNvPr id="5" name="Rectangle 4"/>
            <p:cNvSpPr/>
            <p:nvPr/>
          </p:nvSpPr>
          <p:spPr>
            <a:xfrm>
              <a:off x="11545661" y="7682147"/>
              <a:ext cx="3966646" cy="2150971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1115785" y="4753150"/>
              <a:ext cx="4842431" cy="5427557"/>
              <a:chOff x="10922002" y="4264026"/>
              <a:chExt cx="5715000" cy="6405563"/>
            </a:xfrm>
          </p:grpSpPr>
          <p:sp>
            <p:nvSpPr>
              <p:cNvPr id="28" name="Freeform 7"/>
              <p:cNvSpPr>
                <a:spLocks noEditPoints="1"/>
              </p:cNvSpPr>
              <p:nvPr/>
            </p:nvSpPr>
            <p:spPr bwMode="auto">
              <a:xfrm>
                <a:off x="10922002" y="4264026"/>
                <a:ext cx="5715000" cy="6405563"/>
              </a:xfrm>
              <a:custGeom>
                <a:avLst/>
                <a:gdLst>
                  <a:gd name="T0" fmla="*/ 0 w 4267"/>
                  <a:gd name="T1" fmla="*/ 0 h 4780"/>
                  <a:gd name="T2" fmla="*/ 0 w 4267"/>
                  <a:gd name="T3" fmla="*/ 4780 h 4780"/>
                  <a:gd name="T4" fmla="*/ 4267 w 4267"/>
                  <a:gd name="T5" fmla="*/ 4780 h 4780"/>
                  <a:gd name="T6" fmla="*/ 4267 w 4267"/>
                  <a:gd name="T7" fmla="*/ 0 h 4780"/>
                  <a:gd name="T8" fmla="*/ 0 w 4267"/>
                  <a:gd name="T9" fmla="*/ 0 h 4780"/>
                  <a:gd name="T10" fmla="*/ 3545 w 4267"/>
                  <a:gd name="T11" fmla="*/ 4456 h 4780"/>
                  <a:gd name="T12" fmla="*/ 722 w 4267"/>
                  <a:gd name="T13" fmla="*/ 4456 h 4780"/>
                  <a:gd name="T14" fmla="*/ 451 w 4267"/>
                  <a:gd name="T15" fmla="*/ 4238 h 4780"/>
                  <a:gd name="T16" fmla="*/ 510 w 4267"/>
                  <a:gd name="T17" fmla="*/ 4004 h 4780"/>
                  <a:gd name="T18" fmla="*/ 1711 w 4267"/>
                  <a:gd name="T19" fmla="*/ 1881 h 4780"/>
                  <a:gd name="T20" fmla="*/ 1711 w 4267"/>
                  <a:gd name="T21" fmla="*/ 467 h 4780"/>
                  <a:gd name="T22" fmla="*/ 1700 w 4267"/>
                  <a:gd name="T23" fmla="*/ 456 h 4780"/>
                  <a:gd name="T24" fmla="*/ 1594 w 4267"/>
                  <a:gd name="T25" fmla="*/ 312 h 4780"/>
                  <a:gd name="T26" fmla="*/ 2663 w 4267"/>
                  <a:gd name="T27" fmla="*/ 312 h 4780"/>
                  <a:gd name="T28" fmla="*/ 2557 w 4267"/>
                  <a:gd name="T29" fmla="*/ 456 h 4780"/>
                  <a:gd name="T30" fmla="*/ 2546 w 4267"/>
                  <a:gd name="T31" fmla="*/ 467 h 4780"/>
                  <a:gd name="T32" fmla="*/ 2546 w 4267"/>
                  <a:gd name="T33" fmla="*/ 1881 h 4780"/>
                  <a:gd name="T34" fmla="*/ 3755 w 4267"/>
                  <a:gd name="T35" fmla="*/ 4001 h 4780"/>
                  <a:gd name="T36" fmla="*/ 3757 w 4267"/>
                  <a:gd name="T37" fmla="*/ 4004 h 4780"/>
                  <a:gd name="T38" fmla="*/ 3816 w 4267"/>
                  <a:gd name="T39" fmla="*/ 4238 h 4780"/>
                  <a:gd name="T40" fmla="*/ 3545 w 4267"/>
                  <a:gd name="T41" fmla="*/ 4456 h 47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67" h="4780">
                    <a:moveTo>
                      <a:pt x="0" y="0"/>
                    </a:moveTo>
                    <a:cubicBezTo>
                      <a:pt x="0" y="4780"/>
                      <a:pt x="0" y="4780"/>
                      <a:pt x="0" y="4780"/>
                    </a:cubicBezTo>
                    <a:cubicBezTo>
                      <a:pt x="4267" y="4780"/>
                      <a:pt x="4267" y="4780"/>
                      <a:pt x="4267" y="4780"/>
                    </a:cubicBezTo>
                    <a:cubicBezTo>
                      <a:pt x="4267" y="0"/>
                      <a:pt x="4267" y="0"/>
                      <a:pt x="4267" y="0"/>
                    </a:cubicBezTo>
                    <a:lnTo>
                      <a:pt x="0" y="0"/>
                    </a:lnTo>
                    <a:close/>
                    <a:moveTo>
                      <a:pt x="3545" y="4456"/>
                    </a:moveTo>
                    <a:cubicBezTo>
                      <a:pt x="722" y="4456"/>
                      <a:pt x="722" y="4456"/>
                      <a:pt x="722" y="4456"/>
                    </a:cubicBezTo>
                    <a:cubicBezTo>
                      <a:pt x="592" y="4456"/>
                      <a:pt x="451" y="4388"/>
                      <a:pt x="451" y="4238"/>
                    </a:cubicBezTo>
                    <a:cubicBezTo>
                      <a:pt x="451" y="4096"/>
                      <a:pt x="509" y="4005"/>
                      <a:pt x="510" y="4004"/>
                    </a:cubicBezTo>
                    <a:cubicBezTo>
                      <a:pt x="1711" y="1881"/>
                      <a:pt x="1711" y="1881"/>
                      <a:pt x="1711" y="1881"/>
                    </a:cubicBezTo>
                    <a:cubicBezTo>
                      <a:pt x="1711" y="467"/>
                      <a:pt x="1711" y="467"/>
                      <a:pt x="1711" y="467"/>
                    </a:cubicBezTo>
                    <a:cubicBezTo>
                      <a:pt x="1700" y="456"/>
                      <a:pt x="1700" y="456"/>
                      <a:pt x="1700" y="456"/>
                    </a:cubicBezTo>
                    <a:cubicBezTo>
                      <a:pt x="1633" y="381"/>
                      <a:pt x="1605" y="337"/>
                      <a:pt x="1594" y="312"/>
                    </a:cubicBezTo>
                    <a:cubicBezTo>
                      <a:pt x="2663" y="312"/>
                      <a:pt x="2663" y="312"/>
                      <a:pt x="2663" y="312"/>
                    </a:cubicBezTo>
                    <a:cubicBezTo>
                      <a:pt x="2652" y="337"/>
                      <a:pt x="2624" y="382"/>
                      <a:pt x="2557" y="456"/>
                    </a:cubicBezTo>
                    <a:cubicBezTo>
                      <a:pt x="2546" y="467"/>
                      <a:pt x="2546" y="467"/>
                      <a:pt x="2546" y="467"/>
                    </a:cubicBezTo>
                    <a:cubicBezTo>
                      <a:pt x="2546" y="1881"/>
                      <a:pt x="2546" y="1881"/>
                      <a:pt x="2546" y="1881"/>
                    </a:cubicBezTo>
                    <a:cubicBezTo>
                      <a:pt x="3755" y="4001"/>
                      <a:pt x="3755" y="4001"/>
                      <a:pt x="3755" y="4001"/>
                    </a:cubicBezTo>
                    <a:cubicBezTo>
                      <a:pt x="3757" y="4004"/>
                      <a:pt x="3757" y="4004"/>
                      <a:pt x="3757" y="4004"/>
                    </a:cubicBezTo>
                    <a:cubicBezTo>
                      <a:pt x="3758" y="4005"/>
                      <a:pt x="3816" y="4094"/>
                      <a:pt x="3816" y="4238"/>
                    </a:cubicBezTo>
                    <a:cubicBezTo>
                      <a:pt x="3816" y="4388"/>
                      <a:pt x="3676" y="4456"/>
                      <a:pt x="3545" y="4456"/>
                    </a:cubicBezTo>
                    <a:close/>
                  </a:path>
                </a:pathLst>
              </a:custGeom>
              <a:solidFill>
                <a:srgbClr val="F7F8FA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9" name="Freeform 27"/>
              <p:cNvSpPr>
                <a:spLocks noEditPoints="1"/>
              </p:cNvSpPr>
              <p:nvPr/>
            </p:nvSpPr>
            <p:spPr bwMode="auto">
              <a:xfrm>
                <a:off x="11198225" y="4484688"/>
                <a:ext cx="5162550" cy="5964238"/>
              </a:xfrm>
              <a:custGeom>
                <a:avLst/>
                <a:gdLst>
                  <a:gd name="T0" fmla="*/ 3469 w 3853"/>
                  <a:gd name="T1" fmla="*/ 4451 h 4451"/>
                  <a:gd name="T2" fmla="*/ 384 w 3853"/>
                  <a:gd name="T3" fmla="*/ 4451 h 4451"/>
                  <a:gd name="T4" fmla="*/ 0 w 3853"/>
                  <a:gd name="T5" fmla="*/ 4148 h 4451"/>
                  <a:gd name="T6" fmla="*/ 81 w 3853"/>
                  <a:gd name="T7" fmla="*/ 3863 h 4451"/>
                  <a:gd name="T8" fmla="*/ 1339 w 3853"/>
                  <a:gd name="T9" fmla="*/ 1704 h 4451"/>
                  <a:gd name="T10" fmla="*/ 1339 w 3853"/>
                  <a:gd name="T11" fmla="*/ 304 h 4451"/>
                  <a:gd name="T12" fmla="*/ 1206 w 3853"/>
                  <a:gd name="T13" fmla="*/ 55 h 4451"/>
                  <a:gd name="T14" fmla="*/ 1304 w 3853"/>
                  <a:gd name="T15" fmla="*/ 3 h 4451"/>
                  <a:gd name="T16" fmla="*/ 1317 w 3853"/>
                  <a:gd name="T17" fmla="*/ 4 h 4451"/>
                  <a:gd name="T18" fmla="*/ 2536 w 3853"/>
                  <a:gd name="T19" fmla="*/ 4 h 4451"/>
                  <a:gd name="T20" fmla="*/ 2550 w 3853"/>
                  <a:gd name="T21" fmla="*/ 3 h 4451"/>
                  <a:gd name="T22" fmla="*/ 2647 w 3853"/>
                  <a:gd name="T23" fmla="*/ 55 h 4451"/>
                  <a:gd name="T24" fmla="*/ 2514 w 3853"/>
                  <a:gd name="T25" fmla="*/ 304 h 4451"/>
                  <a:gd name="T26" fmla="*/ 2514 w 3853"/>
                  <a:gd name="T27" fmla="*/ 1704 h 4451"/>
                  <a:gd name="T28" fmla="*/ 3773 w 3853"/>
                  <a:gd name="T29" fmla="*/ 3863 h 4451"/>
                  <a:gd name="T30" fmla="*/ 3853 w 3853"/>
                  <a:gd name="T31" fmla="*/ 4148 h 4451"/>
                  <a:gd name="T32" fmla="*/ 3469 w 3853"/>
                  <a:gd name="T33" fmla="*/ 4451 h 4451"/>
                  <a:gd name="T34" fmla="*/ 1277 w 3853"/>
                  <a:gd name="T35" fmla="*/ 87 h 4451"/>
                  <a:gd name="T36" fmla="*/ 1406 w 3853"/>
                  <a:gd name="T37" fmla="*/ 260 h 4451"/>
                  <a:gd name="T38" fmla="*/ 1417 w 3853"/>
                  <a:gd name="T39" fmla="*/ 271 h 4451"/>
                  <a:gd name="T40" fmla="*/ 1417 w 3853"/>
                  <a:gd name="T41" fmla="*/ 1725 h 4451"/>
                  <a:gd name="T42" fmla="*/ 145 w 3853"/>
                  <a:gd name="T43" fmla="*/ 3908 h 4451"/>
                  <a:gd name="T44" fmla="*/ 78 w 3853"/>
                  <a:gd name="T45" fmla="*/ 4148 h 4451"/>
                  <a:gd name="T46" fmla="*/ 384 w 3853"/>
                  <a:gd name="T47" fmla="*/ 4373 h 4451"/>
                  <a:gd name="T48" fmla="*/ 3469 w 3853"/>
                  <a:gd name="T49" fmla="*/ 4373 h 4451"/>
                  <a:gd name="T50" fmla="*/ 3775 w 3853"/>
                  <a:gd name="T51" fmla="*/ 4148 h 4451"/>
                  <a:gd name="T52" fmla="*/ 3708 w 3853"/>
                  <a:gd name="T53" fmla="*/ 3908 h 4451"/>
                  <a:gd name="T54" fmla="*/ 3706 w 3853"/>
                  <a:gd name="T55" fmla="*/ 3904 h 4451"/>
                  <a:gd name="T56" fmla="*/ 2436 w 3853"/>
                  <a:gd name="T57" fmla="*/ 1725 h 4451"/>
                  <a:gd name="T58" fmla="*/ 2436 w 3853"/>
                  <a:gd name="T59" fmla="*/ 271 h 4451"/>
                  <a:gd name="T60" fmla="*/ 2447 w 3853"/>
                  <a:gd name="T61" fmla="*/ 260 h 4451"/>
                  <a:gd name="T62" fmla="*/ 2575 w 3853"/>
                  <a:gd name="T63" fmla="*/ 85 h 4451"/>
                  <a:gd name="T64" fmla="*/ 1277 w 3853"/>
                  <a:gd name="T65" fmla="*/ 87 h 4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53" h="4451">
                    <a:moveTo>
                      <a:pt x="3469" y="4451"/>
                    </a:moveTo>
                    <a:cubicBezTo>
                      <a:pt x="384" y="4451"/>
                      <a:pt x="384" y="4451"/>
                      <a:pt x="384" y="4451"/>
                    </a:cubicBezTo>
                    <a:cubicBezTo>
                      <a:pt x="162" y="4451"/>
                      <a:pt x="0" y="4324"/>
                      <a:pt x="0" y="4148"/>
                    </a:cubicBezTo>
                    <a:cubicBezTo>
                      <a:pt x="0" y="3986"/>
                      <a:pt x="69" y="3879"/>
                      <a:pt x="81" y="3863"/>
                    </a:cubicBezTo>
                    <a:cubicBezTo>
                      <a:pt x="1339" y="1704"/>
                      <a:pt x="1339" y="1704"/>
                      <a:pt x="1339" y="1704"/>
                    </a:cubicBezTo>
                    <a:cubicBezTo>
                      <a:pt x="1339" y="304"/>
                      <a:pt x="1339" y="304"/>
                      <a:pt x="1339" y="304"/>
                    </a:cubicBezTo>
                    <a:cubicBezTo>
                      <a:pt x="1224" y="187"/>
                      <a:pt x="1183" y="110"/>
                      <a:pt x="1206" y="55"/>
                    </a:cubicBezTo>
                    <a:cubicBezTo>
                      <a:pt x="1214" y="36"/>
                      <a:pt x="1237" y="3"/>
                      <a:pt x="1304" y="3"/>
                    </a:cubicBezTo>
                    <a:cubicBezTo>
                      <a:pt x="1309" y="3"/>
                      <a:pt x="1313" y="4"/>
                      <a:pt x="1317" y="4"/>
                    </a:cubicBezTo>
                    <a:cubicBezTo>
                      <a:pt x="1334" y="0"/>
                      <a:pt x="2519" y="0"/>
                      <a:pt x="2536" y="4"/>
                    </a:cubicBezTo>
                    <a:cubicBezTo>
                      <a:pt x="2540" y="4"/>
                      <a:pt x="2544" y="3"/>
                      <a:pt x="2550" y="3"/>
                    </a:cubicBezTo>
                    <a:cubicBezTo>
                      <a:pt x="2616" y="3"/>
                      <a:pt x="2639" y="36"/>
                      <a:pt x="2647" y="55"/>
                    </a:cubicBezTo>
                    <a:cubicBezTo>
                      <a:pt x="2670" y="110"/>
                      <a:pt x="2629" y="187"/>
                      <a:pt x="2514" y="304"/>
                    </a:cubicBezTo>
                    <a:cubicBezTo>
                      <a:pt x="2514" y="1704"/>
                      <a:pt x="2514" y="1704"/>
                      <a:pt x="2514" y="1704"/>
                    </a:cubicBezTo>
                    <a:cubicBezTo>
                      <a:pt x="3773" y="3863"/>
                      <a:pt x="3773" y="3863"/>
                      <a:pt x="3773" y="3863"/>
                    </a:cubicBezTo>
                    <a:cubicBezTo>
                      <a:pt x="3784" y="3879"/>
                      <a:pt x="3853" y="3986"/>
                      <a:pt x="3853" y="4148"/>
                    </a:cubicBezTo>
                    <a:cubicBezTo>
                      <a:pt x="3853" y="4324"/>
                      <a:pt x="3692" y="4451"/>
                      <a:pt x="3469" y="4451"/>
                    </a:cubicBezTo>
                    <a:close/>
                    <a:moveTo>
                      <a:pt x="1277" y="87"/>
                    </a:moveTo>
                    <a:cubicBezTo>
                      <a:pt x="1278" y="87"/>
                      <a:pt x="1273" y="127"/>
                      <a:pt x="1406" y="260"/>
                    </a:cubicBezTo>
                    <a:cubicBezTo>
                      <a:pt x="1417" y="271"/>
                      <a:pt x="1417" y="271"/>
                      <a:pt x="1417" y="271"/>
                    </a:cubicBezTo>
                    <a:cubicBezTo>
                      <a:pt x="1417" y="1725"/>
                      <a:pt x="1417" y="1725"/>
                      <a:pt x="1417" y="1725"/>
                    </a:cubicBezTo>
                    <a:cubicBezTo>
                      <a:pt x="145" y="3908"/>
                      <a:pt x="145" y="3908"/>
                      <a:pt x="145" y="3908"/>
                    </a:cubicBezTo>
                    <a:cubicBezTo>
                      <a:pt x="145" y="3909"/>
                      <a:pt x="78" y="4002"/>
                      <a:pt x="78" y="4148"/>
                    </a:cubicBezTo>
                    <a:cubicBezTo>
                      <a:pt x="78" y="4303"/>
                      <a:pt x="237" y="4373"/>
                      <a:pt x="384" y="4373"/>
                    </a:cubicBezTo>
                    <a:cubicBezTo>
                      <a:pt x="3469" y="4373"/>
                      <a:pt x="3469" y="4373"/>
                      <a:pt x="3469" y="4373"/>
                    </a:cubicBezTo>
                    <a:cubicBezTo>
                      <a:pt x="3616" y="4373"/>
                      <a:pt x="3775" y="4303"/>
                      <a:pt x="3775" y="4148"/>
                    </a:cubicBezTo>
                    <a:cubicBezTo>
                      <a:pt x="3775" y="4001"/>
                      <a:pt x="3709" y="3909"/>
                      <a:pt x="3708" y="3908"/>
                    </a:cubicBezTo>
                    <a:cubicBezTo>
                      <a:pt x="3706" y="3904"/>
                      <a:pt x="3706" y="3904"/>
                      <a:pt x="3706" y="3904"/>
                    </a:cubicBezTo>
                    <a:cubicBezTo>
                      <a:pt x="2436" y="1725"/>
                      <a:pt x="2436" y="1725"/>
                      <a:pt x="2436" y="1725"/>
                    </a:cubicBezTo>
                    <a:cubicBezTo>
                      <a:pt x="2436" y="271"/>
                      <a:pt x="2436" y="271"/>
                      <a:pt x="2436" y="271"/>
                    </a:cubicBezTo>
                    <a:cubicBezTo>
                      <a:pt x="2447" y="260"/>
                      <a:pt x="2447" y="260"/>
                      <a:pt x="2447" y="260"/>
                    </a:cubicBezTo>
                    <a:cubicBezTo>
                      <a:pt x="2582" y="125"/>
                      <a:pt x="2575" y="85"/>
                      <a:pt x="2575" y="85"/>
                    </a:cubicBezTo>
                    <a:cubicBezTo>
                      <a:pt x="2575" y="85"/>
                      <a:pt x="1279" y="85"/>
                      <a:pt x="1277" y="8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 flipH="1">
              <a:off x="13066207" y="6374691"/>
              <a:ext cx="905266" cy="1429862"/>
              <a:chOff x="7659688" y="6468270"/>
              <a:chExt cx="1068388" cy="1687513"/>
            </a:xfrm>
            <a:solidFill>
              <a:schemeClr val="accent3"/>
            </a:solidFill>
          </p:grpSpPr>
          <p:grpSp>
            <p:nvGrpSpPr>
              <p:cNvPr id="8" name="Group 7"/>
              <p:cNvGrpSpPr/>
              <p:nvPr/>
            </p:nvGrpSpPr>
            <p:grpSpPr>
              <a:xfrm>
                <a:off x="7856538" y="7473157"/>
                <a:ext cx="479425" cy="477838"/>
                <a:chOff x="7970838" y="9304338"/>
                <a:chExt cx="479425" cy="477838"/>
              </a:xfrm>
              <a:grpFill/>
            </p:grpSpPr>
            <p:sp>
              <p:nvSpPr>
                <p:cNvPr id="24" name="Oval 64"/>
                <p:cNvSpPr>
                  <a:spLocks noChangeArrowheads="1"/>
                </p:cNvSpPr>
                <p:nvPr/>
              </p:nvSpPr>
              <p:spPr bwMode="auto">
                <a:xfrm>
                  <a:off x="7985125" y="9317038"/>
                  <a:ext cx="450850" cy="4540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25" name="Group 24"/>
                <p:cNvGrpSpPr/>
                <p:nvPr/>
              </p:nvGrpSpPr>
              <p:grpSpPr>
                <a:xfrm>
                  <a:off x="7970838" y="9304338"/>
                  <a:ext cx="479425" cy="477838"/>
                  <a:chOff x="7970838" y="9304338"/>
                  <a:chExt cx="479425" cy="477838"/>
                </a:xfrm>
                <a:grpFill/>
              </p:grpSpPr>
              <p:sp>
                <p:nvSpPr>
                  <p:cNvPr id="26" name="Freeform 65"/>
                  <p:cNvSpPr>
                    <a:spLocks noEditPoints="1"/>
                  </p:cNvSpPr>
                  <p:nvPr/>
                </p:nvSpPr>
                <p:spPr bwMode="auto">
                  <a:xfrm>
                    <a:off x="7970838" y="9304338"/>
                    <a:ext cx="479425" cy="477838"/>
                  </a:xfrm>
                  <a:custGeom>
                    <a:avLst/>
                    <a:gdLst>
                      <a:gd name="T0" fmla="*/ 178 w 357"/>
                      <a:gd name="T1" fmla="*/ 357 h 357"/>
                      <a:gd name="T2" fmla="*/ 0 w 357"/>
                      <a:gd name="T3" fmla="*/ 179 h 357"/>
                      <a:gd name="T4" fmla="*/ 178 w 357"/>
                      <a:gd name="T5" fmla="*/ 0 h 357"/>
                      <a:gd name="T6" fmla="*/ 357 w 357"/>
                      <a:gd name="T7" fmla="*/ 179 h 357"/>
                      <a:gd name="T8" fmla="*/ 178 w 357"/>
                      <a:gd name="T9" fmla="*/ 357 h 357"/>
                      <a:gd name="T10" fmla="*/ 178 w 357"/>
                      <a:gd name="T11" fmla="*/ 20 h 357"/>
                      <a:gd name="T12" fmla="*/ 19 w 357"/>
                      <a:gd name="T13" fmla="*/ 179 h 357"/>
                      <a:gd name="T14" fmla="*/ 178 w 357"/>
                      <a:gd name="T15" fmla="*/ 338 h 357"/>
                      <a:gd name="T16" fmla="*/ 338 w 357"/>
                      <a:gd name="T17" fmla="*/ 179 h 357"/>
                      <a:gd name="T18" fmla="*/ 178 w 357"/>
                      <a:gd name="T19" fmla="*/ 20 h 35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57" h="357">
                        <a:moveTo>
                          <a:pt x="178" y="357"/>
                        </a:moveTo>
                        <a:cubicBezTo>
                          <a:pt x="80" y="357"/>
                          <a:pt x="0" y="277"/>
                          <a:pt x="0" y="179"/>
                        </a:cubicBezTo>
                        <a:cubicBezTo>
                          <a:pt x="0" y="80"/>
                          <a:pt x="80" y="0"/>
                          <a:pt x="178" y="0"/>
                        </a:cubicBezTo>
                        <a:cubicBezTo>
                          <a:pt x="277" y="0"/>
                          <a:pt x="357" y="80"/>
                          <a:pt x="357" y="179"/>
                        </a:cubicBezTo>
                        <a:cubicBezTo>
                          <a:pt x="357" y="277"/>
                          <a:pt x="277" y="357"/>
                          <a:pt x="178" y="357"/>
                        </a:cubicBezTo>
                        <a:close/>
                        <a:moveTo>
                          <a:pt x="178" y="20"/>
                        </a:moveTo>
                        <a:cubicBezTo>
                          <a:pt x="91" y="20"/>
                          <a:pt x="19" y="91"/>
                          <a:pt x="19" y="179"/>
                        </a:cubicBezTo>
                        <a:cubicBezTo>
                          <a:pt x="19" y="266"/>
                          <a:pt x="91" y="338"/>
                          <a:pt x="178" y="338"/>
                        </a:cubicBezTo>
                        <a:cubicBezTo>
                          <a:pt x="266" y="338"/>
                          <a:pt x="338" y="266"/>
                          <a:pt x="338" y="179"/>
                        </a:cubicBezTo>
                        <a:cubicBezTo>
                          <a:pt x="338" y="91"/>
                          <a:pt x="266" y="20"/>
                          <a:pt x="17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27" name="Freeform 67"/>
                  <p:cNvSpPr>
                    <a:spLocks/>
                  </p:cNvSpPr>
                  <p:nvPr/>
                </p:nvSpPr>
                <p:spPr bwMode="auto">
                  <a:xfrm>
                    <a:off x="8045450" y="9377363"/>
                    <a:ext cx="177800" cy="179388"/>
                  </a:xfrm>
                  <a:custGeom>
                    <a:avLst/>
                    <a:gdLst>
                      <a:gd name="T0" fmla="*/ 9 w 133"/>
                      <a:gd name="T1" fmla="*/ 133 h 133"/>
                      <a:gd name="T2" fmla="*/ 0 w 133"/>
                      <a:gd name="T3" fmla="*/ 124 h 133"/>
                      <a:gd name="T4" fmla="*/ 123 w 133"/>
                      <a:gd name="T5" fmla="*/ 0 h 133"/>
                      <a:gd name="T6" fmla="*/ 133 w 133"/>
                      <a:gd name="T7" fmla="*/ 10 h 133"/>
                      <a:gd name="T8" fmla="*/ 123 w 133"/>
                      <a:gd name="T9" fmla="*/ 19 h 133"/>
                      <a:gd name="T10" fmla="*/ 19 w 133"/>
                      <a:gd name="T11" fmla="*/ 124 h 133"/>
                      <a:gd name="T12" fmla="*/ 9 w 133"/>
                      <a:gd name="T13" fmla="*/ 133 h 1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33" h="133">
                        <a:moveTo>
                          <a:pt x="9" y="133"/>
                        </a:moveTo>
                        <a:cubicBezTo>
                          <a:pt x="4" y="133"/>
                          <a:pt x="0" y="129"/>
                          <a:pt x="0" y="124"/>
                        </a:cubicBezTo>
                        <a:cubicBezTo>
                          <a:pt x="0" y="55"/>
                          <a:pt x="55" y="0"/>
                          <a:pt x="123" y="0"/>
                        </a:cubicBezTo>
                        <a:cubicBezTo>
                          <a:pt x="129" y="0"/>
                          <a:pt x="133" y="4"/>
                          <a:pt x="133" y="10"/>
                        </a:cubicBezTo>
                        <a:cubicBezTo>
                          <a:pt x="133" y="15"/>
                          <a:pt x="129" y="19"/>
                          <a:pt x="123" y="19"/>
                        </a:cubicBezTo>
                        <a:cubicBezTo>
                          <a:pt x="66" y="19"/>
                          <a:pt x="19" y="66"/>
                          <a:pt x="19" y="124"/>
                        </a:cubicBezTo>
                        <a:cubicBezTo>
                          <a:pt x="19" y="129"/>
                          <a:pt x="15" y="133"/>
                          <a:pt x="9" y="133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9" name="Group 8"/>
              <p:cNvGrpSpPr/>
              <p:nvPr/>
            </p:nvGrpSpPr>
            <p:grpSpPr>
              <a:xfrm>
                <a:off x="8399463" y="7846220"/>
                <a:ext cx="309563" cy="309563"/>
                <a:chOff x="8513763" y="9677401"/>
                <a:chExt cx="309563" cy="309563"/>
              </a:xfrm>
              <a:grpFill/>
            </p:grpSpPr>
            <p:sp>
              <p:nvSpPr>
                <p:cNvPr id="20" name="Oval 68"/>
                <p:cNvSpPr>
                  <a:spLocks noChangeArrowheads="1"/>
                </p:cNvSpPr>
                <p:nvPr/>
              </p:nvSpPr>
              <p:spPr bwMode="auto">
                <a:xfrm>
                  <a:off x="8528050" y="9691688"/>
                  <a:ext cx="282575" cy="28257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21" name="Group 20"/>
                <p:cNvGrpSpPr/>
                <p:nvPr/>
              </p:nvGrpSpPr>
              <p:grpSpPr>
                <a:xfrm>
                  <a:off x="8513763" y="9677401"/>
                  <a:ext cx="309563" cy="309563"/>
                  <a:chOff x="8513763" y="9677401"/>
                  <a:chExt cx="309563" cy="309563"/>
                </a:xfrm>
                <a:grpFill/>
              </p:grpSpPr>
              <p:sp>
                <p:nvSpPr>
                  <p:cNvPr id="22" name="Freeform 69"/>
                  <p:cNvSpPr>
                    <a:spLocks noEditPoints="1"/>
                  </p:cNvSpPr>
                  <p:nvPr/>
                </p:nvSpPr>
                <p:spPr bwMode="auto">
                  <a:xfrm>
                    <a:off x="8513763" y="9677401"/>
                    <a:ext cx="309563" cy="309563"/>
                  </a:xfrm>
                  <a:custGeom>
                    <a:avLst/>
                    <a:gdLst>
                      <a:gd name="T0" fmla="*/ 116 w 231"/>
                      <a:gd name="T1" fmla="*/ 231 h 231"/>
                      <a:gd name="T2" fmla="*/ 0 w 231"/>
                      <a:gd name="T3" fmla="*/ 116 h 231"/>
                      <a:gd name="T4" fmla="*/ 116 w 231"/>
                      <a:gd name="T5" fmla="*/ 0 h 231"/>
                      <a:gd name="T6" fmla="*/ 231 w 231"/>
                      <a:gd name="T7" fmla="*/ 116 h 231"/>
                      <a:gd name="T8" fmla="*/ 116 w 231"/>
                      <a:gd name="T9" fmla="*/ 231 h 231"/>
                      <a:gd name="T10" fmla="*/ 116 w 231"/>
                      <a:gd name="T11" fmla="*/ 20 h 231"/>
                      <a:gd name="T12" fmla="*/ 20 w 231"/>
                      <a:gd name="T13" fmla="*/ 116 h 231"/>
                      <a:gd name="T14" fmla="*/ 116 w 231"/>
                      <a:gd name="T15" fmla="*/ 212 h 231"/>
                      <a:gd name="T16" fmla="*/ 212 w 231"/>
                      <a:gd name="T17" fmla="*/ 116 h 231"/>
                      <a:gd name="T18" fmla="*/ 116 w 231"/>
                      <a:gd name="T19" fmla="*/ 20 h 23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31" h="231">
                        <a:moveTo>
                          <a:pt x="116" y="231"/>
                        </a:moveTo>
                        <a:cubicBezTo>
                          <a:pt x="52" y="231"/>
                          <a:pt x="0" y="179"/>
                          <a:pt x="0" y="116"/>
                        </a:cubicBezTo>
                        <a:cubicBezTo>
                          <a:pt x="0" y="52"/>
                          <a:pt x="52" y="0"/>
                          <a:pt x="116" y="0"/>
                        </a:cubicBezTo>
                        <a:cubicBezTo>
                          <a:pt x="179" y="0"/>
                          <a:pt x="231" y="52"/>
                          <a:pt x="231" y="116"/>
                        </a:cubicBezTo>
                        <a:cubicBezTo>
                          <a:pt x="231" y="179"/>
                          <a:pt x="179" y="231"/>
                          <a:pt x="116" y="231"/>
                        </a:cubicBezTo>
                        <a:close/>
                        <a:moveTo>
                          <a:pt x="116" y="20"/>
                        </a:moveTo>
                        <a:cubicBezTo>
                          <a:pt x="63" y="20"/>
                          <a:pt x="20" y="63"/>
                          <a:pt x="20" y="116"/>
                        </a:cubicBezTo>
                        <a:cubicBezTo>
                          <a:pt x="20" y="168"/>
                          <a:pt x="63" y="212"/>
                          <a:pt x="116" y="212"/>
                        </a:cubicBezTo>
                        <a:cubicBezTo>
                          <a:pt x="169" y="212"/>
                          <a:pt x="212" y="168"/>
                          <a:pt x="212" y="116"/>
                        </a:cubicBezTo>
                        <a:cubicBezTo>
                          <a:pt x="212" y="63"/>
                          <a:pt x="169" y="20"/>
                          <a:pt x="116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23" name="Freeform 71"/>
                  <p:cNvSpPr>
                    <a:spLocks/>
                  </p:cNvSpPr>
                  <p:nvPr/>
                </p:nvSpPr>
                <p:spPr bwMode="auto">
                  <a:xfrm>
                    <a:off x="8559800" y="9723438"/>
                    <a:ext cx="122238" cy="122238"/>
                  </a:xfrm>
                  <a:custGeom>
                    <a:avLst/>
                    <a:gdLst>
                      <a:gd name="T0" fmla="*/ 10 w 91"/>
                      <a:gd name="T1" fmla="*/ 91 h 91"/>
                      <a:gd name="T2" fmla="*/ 0 w 91"/>
                      <a:gd name="T3" fmla="*/ 82 h 91"/>
                      <a:gd name="T4" fmla="*/ 82 w 91"/>
                      <a:gd name="T5" fmla="*/ 0 h 91"/>
                      <a:gd name="T6" fmla="*/ 91 w 91"/>
                      <a:gd name="T7" fmla="*/ 10 h 91"/>
                      <a:gd name="T8" fmla="*/ 82 w 91"/>
                      <a:gd name="T9" fmla="*/ 20 h 91"/>
                      <a:gd name="T10" fmla="*/ 20 w 91"/>
                      <a:gd name="T11" fmla="*/ 82 h 91"/>
                      <a:gd name="T12" fmla="*/ 10 w 91"/>
                      <a:gd name="T13" fmla="*/ 91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91" h="91">
                        <a:moveTo>
                          <a:pt x="10" y="91"/>
                        </a:moveTo>
                        <a:cubicBezTo>
                          <a:pt x="5" y="91"/>
                          <a:pt x="0" y="87"/>
                          <a:pt x="0" y="82"/>
                        </a:cubicBezTo>
                        <a:cubicBezTo>
                          <a:pt x="0" y="37"/>
                          <a:pt x="37" y="0"/>
                          <a:pt x="82" y="0"/>
                        </a:cubicBezTo>
                        <a:cubicBezTo>
                          <a:pt x="87" y="0"/>
                          <a:pt x="91" y="5"/>
                          <a:pt x="91" y="10"/>
                        </a:cubicBezTo>
                        <a:cubicBezTo>
                          <a:pt x="91" y="15"/>
                          <a:pt x="87" y="20"/>
                          <a:pt x="82" y="20"/>
                        </a:cubicBezTo>
                        <a:cubicBezTo>
                          <a:pt x="48" y="20"/>
                          <a:pt x="20" y="48"/>
                          <a:pt x="20" y="82"/>
                        </a:cubicBezTo>
                        <a:cubicBezTo>
                          <a:pt x="20" y="87"/>
                          <a:pt x="16" y="91"/>
                          <a:pt x="10" y="91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10" name="Group 9"/>
              <p:cNvGrpSpPr/>
              <p:nvPr/>
            </p:nvGrpSpPr>
            <p:grpSpPr>
              <a:xfrm>
                <a:off x="7659688" y="6468270"/>
                <a:ext cx="690563" cy="692150"/>
                <a:chOff x="7773988" y="8299451"/>
                <a:chExt cx="690563" cy="692150"/>
              </a:xfrm>
              <a:grpFill/>
            </p:grpSpPr>
            <p:sp>
              <p:nvSpPr>
                <p:cNvPr id="16" name="Oval 56"/>
                <p:cNvSpPr>
                  <a:spLocks noChangeArrowheads="1"/>
                </p:cNvSpPr>
                <p:nvPr/>
              </p:nvSpPr>
              <p:spPr bwMode="auto">
                <a:xfrm>
                  <a:off x="7786688" y="8312151"/>
                  <a:ext cx="665163" cy="666750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17" name="Group 16"/>
                <p:cNvGrpSpPr/>
                <p:nvPr/>
              </p:nvGrpSpPr>
              <p:grpSpPr>
                <a:xfrm>
                  <a:off x="7773988" y="8299451"/>
                  <a:ext cx="690563" cy="692150"/>
                  <a:chOff x="7773988" y="8299451"/>
                  <a:chExt cx="690563" cy="692150"/>
                </a:xfrm>
                <a:grpFill/>
              </p:grpSpPr>
              <p:sp>
                <p:nvSpPr>
                  <p:cNvPr id="18" name="Freeform 57"/>
                  <p:cNvSpPr>
                    <a:spLocks noEditPoints="1"/>
                  </p:cNvSpPr>
                  <p:nvPr/>
                </p:nvSpPr>
                <p:spPr bwMode="auto">
                  <a:xfrm>
                    <a:off x="7773988" y="8299451"/>
                    <a:ext cx="690563" cy="692150"/>
                  </a:xfrm>
                  <a:custGeom>
                    <a:avLst/>
                    <a:gdLst>
                      <a:gd name="T0" fmla="*/ 258 w 516"/>
                      <a:gd name="T1" fmla="*/ 517 h 517"/>
                      <a:gd name="T2" fmla="*/ 0 w 516"/>
                      <a:gd name="T3" fmla="*/ 258 h 517"/>
                      <a:gd name="T4" fmla="*/ 258 w 516"/>
                      <a:gd name="T5" fmla="*/ 0 h 517"/>
                      <a:gd name="T6" fmla="*/ 516 w 516"/>
                      <a:gd name="T7" fmla="*/ 258 h 517"/>
                      <a:gd name="T8" fmla="*/ 258 w 516"/>
                      <a:gd name="T9" fmla="*/ 517 h 517"/>
                      <a:gd name="T10" fmla="*/ 258 w 516"/>
                      <a:gd name="T11" fmla="*/ 20 h 517"/>
                      <a:gd name="T12" fmla="*/ 20 w 516"/>
                      <a:gd name="T13" fmla="*/ 258 h 517"/>
                      <a:gd name="T14" fmla="*/ 258 w 516"/>
                      <a:gd name="T15" fmla="*/ 497 h 517"/>
                      <a:gd name="T16" fmla="*/ 497 w 516"/>
                      <a:gd name="T17" fmla="*/ 258 h 517"/>
                      <a:gd name="T18" fmla="*/ 258 w 516"/>
                      <a:gd name="T19" fmla="*/ 20 h 5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16" h="517">
                        <a:moveTo>
                          <a:pt x="258" y="517"/>
                        </a:moveTo>
                        <a:cubicBezTo>
                          <a:pt x="116" y="517"/>
                          <a:pt x="0" y="401"/>
                          <a:pt x="0" y="258"/>
                        </a:cubicBezTo>
                        <a:cubicBezTo>
                          <a:pt x="0" y="116"/>
                          <a:pt x="116" y="0"/>
                          <a:pt x="258" y="0"/>
                        </a:cubicBezTo>
                        <a:cubicBezTo>
                          <a:pt x="401" y="0"/>
                          <a:pt x="516" y="116"/>
                          <a:pt x="516" y="258"/>
                        </a:cubicBezTo>
                        <a:cubicBezTo>
                          <a:pt x="516" y="401"/>
                          <a:pt x="401" y="517"/>
                          <a:pt x="258" y="517"/>
                        </a:cubicBezTo>
                        <a:close/>
                        <a:moveTo>
                          <a:pt x="258" y="20"/>
                        </a:moveTo>
                        <a:cubicBezTo>
                          <a:pt x="127" y="20"/>
                          <a:pt x="20" y="127"/>
                          <a:pt x="20" y="258"/>
                        </a:cubicBezTo>
                        <a:cubicBezTo>
                          <a:pt x="20" y="390"/>
                          <a:pt x="127" y="497"/>
                          <a:pt x="258" y="497"/>
                        </a:cubicBezTo>
                        <a:cubicBezTo>
                          <a:pt x="390" y="497"/>
                          <a:pt x="497" y="390"/>
                          <a:pt x="497" y="258"/>
                        </a:cubicBezTo>
                        <a:cubicBezTo>
                          <a:pt x="497" y="127"/>
                          <a:pt x="390" y="20"/>
                          <a:pt x="258" y="2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19" name="Freeform 59"/>
                  <p:cNvSpPr>
                    <a:spLocks/>
                  </p:cNvSpPr>
                  <p:nvPr/>
                </p:nvSpPr>
                <p:spPr bwMode="auto">
                  <a:xfrm>
                    <a:off x="7881938" y="8407401"/>
                    <a:ext cx="250825" cy="250825"/>
                  </a:xfrm>
                  <a:custGeom>
                    <a:avLst/>
                    <a:gdLst>
                      <a:gd name="T0" fmla="*/ 10 w 187"/>
                      <a:gd name="T1" fmla="*/ 187 h 187"/>
                      <a:gd name="T2" fmla="*/ 0 w 187"/>
                      <a:gd name="T3" fmla="*/ 177 h 187"/>
                      <a:gd name="T4" fmla="*/ 177 w 187"/>
                      <a:gd name="T5" fmla="*/ 0 h 187"/>
                      <a:gd name="T6" fmla="*/ 187 w 187"/>
                      <a:gd name="T7" fmla="*/ 10 h 187"/>
                      <a:gd name="T8" fmla="*/ 177 w 187"/>
                      <a:gd name="T9" fmla="*/ 19 h 187"/>
                      <a:gd name="T10" fmla="*/ 19 w 187"/>
                      <a:gd name="T11" fmla="*/ 177 h 187"/>
                      <a:gd name="T12" fmla="*/ 10 w 187"/>
                      <a:gd name="T13" fmla="*/ 187 h 1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87" h="187">
                        <a:moveTo>
                          <a:pt x="10" y="187"/>
                        </a:moveTo>
                        <a:cubicBezTo>
                          <a:pt x="4" y="187"/>
                          <a:pt x="0" y="183"/>
                          <a:pt x="0" y="177"/>
                        </a:cubicBezTo>
                        <a:cubicBezTo>
                          <a:pt x="0" y="80"/>
                          <a:pt x="79" y="0"/>
                          <a:pt x="177" y="0"/>
                        </a:cubicBezTo>
                        <a:cubicBezTo>
                          <a:pt x="183" y="0"/>
                          <a:pt x="187" y="4"/>
                          <a:pt x="187" y="10"/>
                        </a:cubicBezTo>
                        <a:cubicBezTo>
                          <a:pt x="187" y="15"/>
                          <a:pt x="183" y="19"/>
                          <a:pt x="177" y="19"/>
                        </a:cubicBezTo>
                        <a:cubicBezTo>
                          <a:pt x="90" y="19"/>
                          <a:pt x="19" y="90"/>
                          <a:pt x="19" y="177"/>
                        </a:cubicBezTo>
                        <a:cubicBezTo>
                          <a:pt x="19" y="183"/>
                          <a:pt x="15" y="187"/>
                          <a:pt x="10" y="187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  <p:grpSp>
            <p:nvGrpSpPr>
              <p:cNvPr id="11" name="Group 10"/>
              <p:cNvGrpSpPr/>
              <p:nvPr/>
            </p:nvGrpSpPr>
            <p:grpSpPr>
              <a:xfrm>
                <a:off x="8221663" y="7054057"/>
                <a:ext cx="506413" cy="506413"/>
                <a:chOff x="8335963" y="8885238"/>
                <a:chExt cx="506413" cy="506413"/>
              </a:xfrm>
              <a:grpFill/>
            </p:grpSpPr>
            <p:sp>
              <p:nvSpPr>
                <p:cNvPr id="12" name="Oval 60"/>
                <p:cNvSpPr>
                  <a:spLocks noChangeArrowheads="1"/>
                </p:cNvSpPr>
                <p:nvPr/>
              </p:nvSpPr>
              <p:spPr bwMode="auto">
                <a:xfrm>
                  <a:off x="8348663" y="8897938"/>
                  <a:ext cx="479425" cy="479425"/>
                </a:xfrm>
                <a:prstGeom prst="ellipse">
                  <a:avLst/>
                </a:prstGeom>
                <a:solidFill>
                  <a:srgbClr val="F7F8FA"/>
                </a:solidFill>
                <a:ln>
                  <a:noFill/>
                </a:ln>
              </p:spPr>
              <p:txBody>
                <a:bodyPr vert="horz" wrap="square" lIns="34290" tIns="17145" rIns="34290" bIns="1714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506"/>
                </a:p>
              </p:txBody>
            </p:sp>
            <p:grpSp>
              <p:nvGrpSpPr>
                <p:cNvPr id="13" name="Group 12"/>
                <p:cNvGrpSpPr/>
                <p:nvPr/>
              </p:nvGrpSpPr>
              <p:grpSpPr>
                <a:xfrm>
                  <a:off x="8335963" y="8885238"/>
                  <a:ext cx="506413" cy="506413"/>
                  <a:chOff x="8335963" y="8885238"/>
                  <a:chExt cx="506413" cy="506413"/>
                </a:xfrm>
                <a:grpFill/>
              </p:grpSpPr>
              <p:sp>
                <p:nvSpPr>
                  <p:cNvPr id="14" name="Freeform 61"/>
                  <p:cNvSpPr>
                    <a:spLocks noEditPoints="1"/>
                  </p:cNvSpPr>
                  <p:nvPr/>
                </p:nvSpPr>
                <p:spPr bwMode="auto">
                  <a:xfrm>
                    <a:off x="8335963" y="8885238"/>
                    <a:ext cx="506413" cy="506413"/>
                  </a:xfrm>
                  <a:custGeom>
                    <a:avLst/>
                    <a:gdLst>
                      <a:gd name="T0" fmla="*/ 189 w 378"/>
                      <a:gd name="T1" fmla="*/ 378 h 378"/>
                      <a:gd name="T2" fmla="*/ 0 w 378"/>
                      <a:gd name="T3" fmla="*/ 189 h 378"/>
                      <a:gd name="T4" fmla="*/ 189 w 378"/>
                      <a:gd name="T5" fmla="*/ 0 h 378"/>
                      <a:gd name="T6" fmla="*/ 378 w 378"/>
                      <a:gd name="T7" fmla="*/ 189 h 378"/>
                      <a:gd name="T8" fmla="*/ 189 w 378"/>
                      <a:gd name="T9" fmla="*/ 378 h 378"/>
                      <a:gd name="T10" fmla="*/ 189 w 378"/>
                      <a:gd name="T11" fmla="*/ 19 h 378"/>
                      <a:gd name="T12" fmla="*/ 20 w 378"/>
                      <a:gd name="T13" fmla="*/ 189 h 378"/>
                      <a:gd name="T14" fmla="*/ 189 w 378"/>
                      <a:gd name="T15" fmla="*/ 358 h 378"/>
                      <a:gd name="T16" fmla="*/ 358 w 378"/>
                      <a:gd name="T17" fmla="*/ 189 h 378"/>
                      <a:gd name="T18" fmla="*/ 189 w 378"/>
                      <a:gd name="T19" fmla="*/ 19 h 3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378" h="378">
                        <a:moveTo>
                          <a:pt x="189" y="378"/>
                        </a:moveTo>
                        <a:cubicBezTo>
                          <a:pt x="85" y="378"/>
                          <a:pt x="0" y="293"/>
                          <a:pt x="0" y="189"/>
                        </a:cubicBezTo>
                        <a:cubicBezTo>
                          <a:pt x="0" y="85"/>
                          <a:pt x="85" y="0"/>
                          <a:pt x="189" y="0"/>
                        </a:cubicBezTo>
                        <a:cubicBezTo>
                          <a:pt x="293" y="0"/>
                          <a:pt x="378" y="85"/>
                          <a:pt x="378" y="189"/>
                        </a:cubicBezTo>
                        <a:cubicBezTo>
                          <a:pt x="378" y="293"/>
                          <a:pt x="293" y="378"/>
                          <a:pt x="189" y="378"/>
                        </a:cubicBezTo>
                        <a:close/>
                        <a:moveTo>
                          <a:pt x="189" y="19"/>
                        </a:moveTo>
                        <a:cubicBezTo>
                          <a:pt x="96" y="19"/>
                          <a:pt x="20" y="95"/>
                          <a:pt x="20" y="189"/>
                        </a:cubicBezTo>
                        <a:cubicBezTo>
                          <a:pt x="20" y="282"/>
                          <a:pt x="96" y="358"/>
                          <a:pt x="189" y="358"/>
                        </a:cubicBezTo>
                        <a:cubicBezTo>
                          <a:pt x="283" y="358"/>
                          <a:pt x="358" y="282"/>
                          <a:pt x="358" y="189"/>
                        </a:cubicBezTo>
                        <a:cubicBezTo>
                          <a:pt x="358" y="95"/>
                          <a:pt x="283" y="19"/>
                          <a:pt x="189" y="19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  <p:sp>
                <p:nvSpPr>
                  <p:cNvPr id="15" name="Freeform 63"/>
                  <p:cNvSpPr>
                    <a:spLocks/>
                  </p:cNvSpPr>
                  <p:nvPr/>
                </p:nvSpPr>
                <p:spPr bwMode="auto">
                  <a:xfrm>
                    <a:off x="8415338" y="8963026"/>
                    <a:ext cx="187325" cy="187325"/>
                  </a:xfrm>
                  <a:custGeom>
                    <a:avLst/>
                    <a:gdLst>
                      <a:gd name="T0" fmla="*/ 9 w 140"/>
                      <a:gd name="T1" fmla="*/ 140 h 140"/>
                      <a:gd name="T2" fmla="*/ 0 w 140"/>
                      <a:gd name="T3" fmla="*/ 131 h 140"/>
                      <a:gd name="T4" fmla="*/ 130 w 140"/>
                      <a:gd name="T5" fmla="*/ 0 h 140"/>
                      <a:gd name="T6" fmla="*/ 140 w 140"/>
                      <a:gd name="T7" fmla="*/ 10 h 140"/>
                      <a:gd name="T8" fmla="*/ 130 w 140"/>
                      <a:gd name="T9" fmla="*/ 20 h 140"/>
                      <a:gd name="T10" fmla="*/ 19 w 140"/>
                      <a:gd name="T11" fmla="*/ 131 h 140"/>
                      <a:gd name="T12" fmla="*/ 9 w 140"/>
                      <a:gd name="T13" fmla="*/ 140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140" h="140">
                        <a:moveTo>
                          <a:pt x="9" y="140"/>
                        </a:moveTo>
                        <a:cubicBezTo>
                          <a:pt x="4" y="140"/>
                          <a:pt x="0" y="136"/>
                          <a:pt x="0" y="131"/>
                        </a:cubicBezTo>
                        <a:cubicBezTo>
                          <a:pt x="0" y="59"/>
                          <a:pt x="58" y="0"/>
                          <a:pt x="130" y="0"/>
                        </a:cubicBezTo>
                        <a:cubicBezTo>
                          <a:pt x="136" y="0"/>
                          <a:pt x="140" y="4"/>
                          <a:pt x="140" y="10"/>
                        </a:cubicBezTo>
                        <a:cubicBezTo>
                          <a:pt x="140" y="15"/>
                          <a:pt x="136" y="20"/>
                          <a:pt x="130" y="20"/>
                        </a:cubicBezTo>
                        <a:cubicBezTo>
                          <a:pt x="69" y="20"/>
                          <a:pt x="19" y="69"/>
                          <a:pt x="19" y="131"/>
                        </a:cubicBezTo>
                        <a:cubicBezTo>
                          <a:pt x="19" y="136"/>
                          <a:pt x="15" y="140"/>
                          <a:pt x="9" y="14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34290" tIns="17145" rIns="34290" bIns="17145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506"/>
                  </a:p>
                </p:txBody>
              </p:sp>
            </p:grpSp>
          </p:grpSp>
        </p:grpSp>
      </p:grpSp>
      <p:cxnSp>
        <p:nvCxnSpPr>
          <p:cNvPr id="33" name="Straight Connector 32"/>
          <p:cNvCxnSpPr/>
          <p:nvPr/>
        </p:nvCxnSpPr>
        <p:spPr>
          <a:xfrm flipH="1">
            <a:off x="4930416" y="1987250"/>
            <a:ext cx="550384" cy="8441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5229287" y="3093436"/>
            <a:ext cx="550384" cy="8441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>
            <a:off x="3669498" y="1987250"/>
            <a:ext cx="550384" cy="8441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endCxn id="40" idx="6"/>
          </p:cNvCxnSpPr>
          <p:nvPr/>
        </p:nvCxnSpPr>
        <p:spPr>
          <a:xfrm flipH="1">
            <a:off x="3369035" y="3093436"/>
            <a:ext cx="554331" cy="4221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/>
          <p:cNvGrpSpPr/>
          <p:nvPr/>
        </p:nvGrpSpPr>
        <p:grpSpPr>
          <a:xfrm>
            <a:off x="3188076" y="1750756"/>
            <a:ext cx="481429" cy="481429"/>
            <a:chOff x="3188076" y="1750756"/>
            <a:chExt cx="481429" cy="481429"/>
          </a:xfrm>
        </p:grpSpPr>
        <p:sp>
          <p:nvSpPr>
            <p:cNvPr id="41" name="Oval 40"/>
            <p:cNvSpPr/>
            <p:nvPr/>
          </p:nvSpPr>
          <p:spPr>
            <a:xfrm>
              <a:off x="3188076" y="1750756"/>
              <a:ext cx="481429" cy="481429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3307274" y="1880192"/>
              <a:ext cx="243032" cy="222555"/>
            </a:xfrm>
            <a:custGeom>
              <a:avLst/>
              <a:gdLst>
                <a:gd name="T0" fmla="*/ 353 w 353"/>
                <a:gd name="T1" fmla="*/ 109 h 322"/>
                <a:gd name="T2" fmla="*/ 225 w 353"/>
                <a:gd name="T3" fmla="*/ 0 h 322"/>
                <a:gd name="T4" fmla="*/ 107 w 353"/>
                <a:gd name="T5" fmla="*/ 66 h 322"/>
                <a:gd name="T6" fmla="*/ 126 w 353"/>
                <a:gd name="T7" fmla="*/ 65 h 322"/>
                <a:gd name="T8" fmla="*/ 225 w 353"/>
                <a:gd name="T9" fmla="*/ 17 h 322"/>
                <a:gd name="T10" fmla="*/ 337 w 353"/>
                <a:gd name="T11" fmla="*/ 109 h 322"/>
                <a:gd name="T12" fmla="*/ 303 w 353"/>
                <a:gd name="T13" fmla="*/ 175 h 322"/>
                <a:gd name="T14" fmla="*/ 298 w 353"/>
                <a:gd name="T15" fmla="*/ 191 h 322"/>
                <a:gd name="T16" fmla="*/ 305 w 353"/>
                <a:gd name="T17" fmla="*/ 215 h 322"/>
                <a:gd name="T18" fmla="*/ 272 w 353"/>
                <a:gd name="T19" fmla="*/ 202 h 322"/>
                <a:gd name="T20" fmla="*/ 268 w 353"/>
                <a:gd name="T21" fmla="*/ 218 h 322"/>
                <a:gd name="T22" fmla="*/ 329 w 353"/>
                <a:gd name="T23" fmla="*/ 241 h 322"/>
                <a:gd name="T24" fmla="*/ 314 w 353"/>
                <a:gd name="T25" fmla="*/ 187 h 322"/>
                <a:gd name="T26" fmla="*/ 353 w 353"/>
                <a:gd name="T27" fmla="*/ 109 h 322"/>
                <a:gd name="T28" fmla="*/ 128 w 353"/>
                <a:gd name="T29" fmla="*/ 81 h 322"/>
                <a:gd name="T30" fmla="*/ 0 w 353"/>
                <a:gd name="T31" fmla="*/ 189 h 322"/>
                <a:gd name="T32" fmla="*/ 39 w 353"/>
                <a:gd name="T33" fmla="*/ 267 h 322"/>
                <a:gd name="T34" fmla="*/ 24 w 353"/>
                <a:gd name="T35" fmla="*/ 322 h 322"/>
                <a:gd name="T36" fmla="*/ 96 w 353"/>
                <a:gd name="T37" fmla="*/ 294 h 322"/>
                <a:gd name="T38" fmla="*/ 128 w 353"/>
                <a:gd name="T39" fmla="*/ 298 h 322"/>
                <a:gd name="T40" fmla="*/ 257 w 353"/>
                <a:gd name="T41" fmla="*/ 189 h 322"/>
                <a:gd name="T42" fmla="*/ 128 w 353"/>
                <a:gd name="T43" fmla="*/ 81 h 322"/>
                <a:gd name="T44" fmla="*/ 128 w 353"/>
                <a:gd name="T45" fmla="*/ 281 h 322"/>
                <a:gd name="T46" fmla="*/ 99 w 353"/>
                <a:gd name="T47" fmla="*/ 278 h 322"/>
                <a:gd name="T48" fmla="*/ 96 w 353"/>
                <a:gd name="T49" fmla="*/ 278 h 322"/>
                <a:gd name="T50" fmla="*/ 90 w 353"/>
                <a:gd name="T51" fmla="*/ 279 h 322"/>
                <a:gd name="T52" fmla="*/ 48 w 353"/>
                <a:gd name="T53" fmla="*/ 295 h 322"/>
                <a:gd name="T54" fmla="*/ 55 w 353"/>
                <a:gd name="T55" fmla="*/ 272 h 322"/>
                <a:gd name="T56" fmla="*/ 50 w 353"/>
                <a:gd name="T57" fmla="*/ 255 h 322"/>
                <a:gd name="T58" fmla="*/ 16 w 353"/>
                <a:gd name="T59" fmla="*/ 189 h 322"/>
                <a:gd name="T60" fmla="*/ 128 w 353"/>
                <a:gd name="T61" fmla="*/ 97 h 322"/>
                <a:gd name="T62" fmla="*/ 241 w 353"/>
                <a:gd name="T63" fmla="*/ 189 h 322"/>
                <a:gd name="T64" fmla="*/ 128 w 353"/>
                <a:gd name="T65" fmla="*/ 28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3" h="322">
                  <a:moveTo>
                    <a:pt x="353" y="109"/>
                  </a:moveTo>
                  <a:cubicBezTo>
                    <a:pt x="353" y="49"/>
                    <a:pt x="296" y="0"/>
                    <a:pt x="225" y="0"/>
                  </a:cubicBezTo>
                  <a:cubicBezTo>
                    <a:pt x="172" y="0"/>
                    <a:pt x="126" y="28"/>
                    <a:pt x="107" y="66"/>
                  </a:cubicBezTo>
                  <a:cubicBezTo>
                    <a:pt x="113" y="65"/>
                    <a:pt x="119" y="65"/>
                    <a:pt x="126" y="65"/>
                  </a:cubicBezTo>
                  <a:cubicBezTo>
                    <a:pt x="145" y="36"/>
                    <a:pt x="182" y="17"/>
                    <a:pt x="225" y="17"/>
                  </a:cubicBezTo>
                  <a:cubicBezTo>
                    <a:pt x="287" y="17"/>
                    <a:pt x="337" y="58"/>
                    <a:pt x="337" y="109"/>
                  </a:cubicBezTo>
                  <a:cubicBezTo>
                    <a:pt x="337" y="134"/>
                    <a:pt x="325" y="157"/>
                    <a:pt x="303" y="175"/>
                  </a:cubicBezTo>
                  <a:cubicBezTo>
                    <a:pt x="298" y="179"/>
                    <a:pt x="296" y="185"/>
                    <a:pt x="298" y="191"/>
                  </a:cubicBezTo>
                  <a:cubicBezTo>
                    <a:pt x="305" y="215"/>
                    <a:pt x="305" y="215"/>
                    <a:pt x="305" y="215"/>
                  </a:cubicBezTo>
                  <a:cubicBezTo>
                    <a:pt x="272" y="202"/>
                    <a:pt x="272" y="202"/>
                    <a:pt x="272" y="202"/>
                  </a:cubicBezTo>
                  <a:cubicBezTo>
                    <a:pt x="271" y="207"/>
                    <a:pt x="270" y="213"/>
                    <a:pt x="268" y="218"/>
                  </a:cubicBezTo>
                  <a:cubicBezTo>
                    <a:pt x="329" y="241"/>
                    <a:pt x="329" y="241"/>
                    <a:pt x="329" y="241"/>
                  </a:cubicBezTo>
                  <a:cubicBezTo>
                    <a:pt x="314" y="187"/>
                    <a:pt x="314" y="187"/>
                    <a:pt x="314" y="187"/>
                  </a:cubicBezTo>
                  <a:cubicBezTo>
                    <a:pt x="338" y="167"/>
                    <a:pt x="353" y="140"/>
                    <a:pt x="353" y="109"/>
                  </a:cubicBezTo>
                  <a:moveTo>
                    <a:pt x="128" y="81"/>
                  </a:moveTo>
                  <a:cubicBezTo>
                    <a:pt x="57" y="81"/>
                    <a:pt x="0" y="129"/>
                    <a:pt x="0" y="189"/>
                  </a:cubicBezTo>
                  <a:cubicBezTo>
                    <a:pt x="0" y="220"/>
                    <a:pt x="15" y="248"/>
                    <a:pt x="39" y="267"/>
                  </a:cubicBezTo>
                  <a:cubicBezTo>
                    <a:pt x="24" y="322"/>
                    <a:pt x="24" y="322"/>
                    <a:pt x="24" y="322"/>
                  </a:cubicBezTo>
                  <a:cubicBezTo>
                    <a:pt x="96" y="294"/>
                    <a:pt x="96" y="294"/>
                    <a:pt x="96" y="294"/>
                  </a:cubicBezTo>
                  <a:cubicBezTo>
                    <a:pt x="106" y="296"/>
                    <a:pt x="117" y="298"/>
                    <a:pt x="128" y="298"/>
                  </a:cubicBezTo>
                  <a:cubicBezTo>
                    <a:pt x="199" y="298"/>
                    <a:pt x="257" y="249"/>
                    <a:pt x="257" y="189"/>
                  </a:cubicBezTo>
                  <a:cubicBezTo>
                    <a:pt x="257" y="129"/>
                    <a:pt x="199" y="81"/>
                    <a:pt x="128" y="81"/>
                  </a:cubicBezTo>
                  <a:moveTo>
                    <a:pt x="128" y="281"/>
                  </a:moveTo>
                  <a:cubicBezTo>
                    <a:pt x="119" y="281"/>
                    <a:pt x="109" y="280"/>
                    <a:pt x="99" y="278"/>
                  </a:cubicBezTo>
                  <a:cubicBezTo>
                    <a:pt x="98" y="278"/>
                    <a:pt x="97" y="278"/>
                    <a:pt x="96" y="278"/>
                  </a:cubicBezTo>
                  <a:cubicBezTo>
                    <a:pt x="94" y="278"/>
                    <a:pt x="92" y="278"/>
                    <a:pt x="90" y="279"/>
                  </a:cubicBezTo>
                  <a:cubicBezTo>
                    <a:pt x="48" y="295"/>
                    <a:pt x="48" y="295"/>
                    <a:pt x="48" y="295"/>
                  </a:cubicBezTo>
                  <a:cubicBezTo>
                    <a:pt x="55" y="272"/>
                    <a:pt x="55" y="272"/>
                    <a:pt x="55" y="272"/>
                  </a:cubicBezTo>
                  <a:cubicBezTo>
                    <a:pt x="57" y="266"/>
                    <a:pt x="55" y="259"/>
                    <a:pt x="50" y="255"/>
                  </a:cubicBezTo>
                  <a:cubicBezTo>
                    <a:pt x="28" y="237"/>
                    <a:pt x="16" y="214"/>
                    <a:pt x="16" y="189"/>
                  </a:cubicBezTo>
                  <a:cubicBezTo>
                    <a:pt x="16" y="138"/>
                    <a:pt x="66" y="97"/>
                    <a:pt x="128" y="97"/>
                  </a:cubicBezTo>
                  <a:cubicBezTo>
                    <a:pt x="190" y="97"/>
                    <a:pt x="241" y="138"/>
                    <a:pt x="241" y="189"/>
                  </a:cubicBezTo>
                  <a:cubicBezTo>
                    <a:pt x="241" y="240"/>
                    <a:pt x="190" y="281"/>
                    <a:pt x="128" y="28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5779671" y="2856941"/>
            <a:ext cx="481429" cy="481429"/>
            <a:chOff x="5779671" y="2856941"/>
            <a:chExt cx="481429" cy="481429"/>
          </a:xfrm>
        </p:grpSpPr>
        <p:sp>
          <p:nvSpPr>
            <p:cNvPr id="34" name="Oval 33"/>
            <p:cNvSpPr/>
            <p:nvPr/>
          </p:nvSpPr>
          <p:spPr>
            <a:xfrm>
              <a:off x="5779671" y="2856941"/>
              <a:ext cx="481429" cy="481429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0" name="Freeform 81"/>
            <p:cNvSpPr>
              <a:spLocks noEditPoints="1"/>
            </p:cNvSpPr>
            <p:nvPr/>
          </p:nvSpPr>
          <p:spPr bwMode="auto">
            <a:xfrm>
              <a:off x="5908913" y="2996020"/>
              <a:ext cx="222945" cy="203273"/>
            </a:xfrm>
            <a:custGeom>
              <a:avLst/>
              <a:gdLst>
                <a:gd name="T0" fmla="*/ 345 w 353"/>
                <a:gd name="T1" fmla="*/ 273 h 321"/>
                <a:gd name="T2" fmla="*/ 192 w 353"/>
                <a:gd name="T3" fmla="*/ 273 h 321"/>
                <a:gd name="T4" fmla="*/ 152 w 353"/>
                <a:gd name="T5" fmla="*/ 241 h 321"/>
                <a:gd name="T6" fmla="*/ 113 w 353"/>
                <a:gd name="T7" fmla="*/ 273 h 321"/>
                <a:gd name="T8" fmla="*/ 8 w 353"/>
                <a:gd name="T9" fmla="*/ 273 h 321"/>
                <a:gd name="T10" fmla="*/ 0 w 353"/>
                <a:gd name="T11" fmla="*/ 281 h 321"/>
                <a:gd name="T12" fmla="*/ 8 w 353"/>
                <a:gd name="T13" fmla="*/ 289 h 321"/>
                <a:gd name="T14" fmla="*/ 113 w 353"/>
                <a:gd name="T15" fmla="*/ 289 h 321"/>
                <a:gd name="T16" fmla="*/ 152 w 353"/>
                <a:gd name="T17" fmla="*/ 321 h 321"/>
                <a:gd name="T18" fmla="*/ 192 w 353"/>
                <a:gd name="T19" fmla="*/ 289 h 321"/>
                <a:gd name="T20" fmla="*/ 345 w 353"/>
                <a:gd name="T21" fmla="*/ 289 h 321"/>
                <a:gd name="T22" fmla="*/ 353 w 353"/>
                <a:gd name="T23" fmla="*/ 281 h 321"/>
                <a:gd name="T24" fmla="*/ 345 w 353"/>
                <a:gd name="T25" fmla="*/ 273 h 321"/>
                <a:gd name="T26" fmla="*/ 152 w 353"/>
                <a:gd name="T27" fmla="*/ 305 h 321"/>
                <a:gd name="T28" fmla="*/ 128 w 353"/>
                <a:gd name="T29" fmla="*/ 281 h 321"/>
                <a:gd name="T30" fmla="*/ 152 w 353"/>
                <a:gd name="T31" fmla="*/ 257 h 321"/>
                <a:gd name="T32" fmla="*/ 177 w 353"/>
                <a:gd name="T33" fmla="*/ 281 h 321"/>
                <a:gd name="T34" fmla="*/ 152 w 353"/>
                <a:gd name="T35" fmla="*/ 305 h 321"/>
                <a:gd name="T36" fmla="*/ 8 w 353"/>
                <a:gd name="T37" fmla="*/ 48 h 321"/>
                <a:gd name="T38" fmla="*/ 49 w 353"/>
                <a:gd name="T39" fmla="*/ 48 h 321"/>
                <a:gd name="T40" fmla="*/ 88 w 353"/>
                <a:gd name="T41" fmla="*/ 80 h 321"/>
                <a:gd name="T42" fmla="*/ 128 w 353"/>
                <a:gd name="T43" fmla="*/ 48 h 321"/>
                <a:gd name="T44" fmla="*/ 345 w 353"/>
                <a:gd name="T45" fmla="*/ 48 h 321"/>
                <a:gd name="T46" fmla="*/ 353 w 353"/>
                <a:gd name="T47" fmla="*/ 40 h 321"/>
                <a:gd name="T48" fmla="*/ 345 w 353"/>
                <a:gd name="T49" fmla="*/ 32 h 321"/>
                <a:gd name="T50" fmla="*/ 128 w 353"/>
                <a:gd name="T51" fmla="*/ 32 h 321"/>
                <a:gd name="T52" fmla="*/ 88 w 353"/>
                <a:gd name="T53" fmla="*/ 0 h 321"/>
                <a:gd name="T54" fmla="*/ 49 w 353"/>
                <a:gd name="T55" fmla="*/ 32 h 321"/>
                <a:gd name="T56" fmla="*/ 8 w 353"/>
                <a:gd name="T57" fmla="*/ 32 h 321"/>
                <a:gd name="T58" fmla="*/ 0 w 353"/>
                <a:gd name="T59" fmla="*/ 40 h 321"/>
                <a:gd name="T60" fmla="*/ 8 w 353"/>
                <a:gd name="T61" fmla="*/ 48 h 321"/>
                <a:gd name="T62" fmla="*/ 88 w 353"/>
                <a:gd name="T63" fmla="*/ 16 h 321"/>
                <a:gd name="T64" fmla="*/ 112 w 353"/>
                <a:gd name="T65" fmla="*/ 40 h 321"/>
                <a:gd name="T66" fmla="*/ 88 w 353"/>
                <a:gd name="T67" fmla="*/ 64 h 321"/>
                <a:gd name="T68" fmla="*/ 64 w 353"/>
                <a:gd name="T69" fmla="*/ 40 h 321"/>
                <a:gd name="T70" fmla="*/ 88 w 353"/>
                <a:gd name="T71" fmla="*/ 16 h 321"/>
                <a:gd name="T72" fmla="*/ 345 w 353"/>
                <a:gd name="T73" fmla="*/ 152 h 321"/>
                <a:gd name="T74" fmla="*/ 320 w 353"/>
                <a:gd name="T75" fmla="*/ 152 h 321"/>
                <a:gd name="T76" fmla="*/ 281 w 353"/>
                <a:gd name="T77" fmla="*/ 120 h 321"/>
                <a:gd name="T78" fmla="*/ 242 w 353"/>
                <a:gd name="T79" fmla="*/ 152 h 321"/>
                <a:gd name="T80" fmla="*/ 8 w 353"/>
                <a:gd name="T81" fmla="*/ 152 h 321"/>
                <a:gd name="T82" fmla="*/ 0 w 353"/>
                <a:gd name="T83" fmla="*/ 160 h 321"/>
                <a:gd name="T84" fmla="*/ 8 w 353"/>
                <a:gd name="T85" fmla="*/ 168 h 321"/>
                <a:gd name="T86" fmla="*/ 242 w 353"/>
                <a:gd name="T87" fmla="*/ 168 h 321"/>
                <a:gd name="T88" fmla="*/ 281 w 353"/>
                <a:gd name="T89" fmla="*/ 201 h 321"/>
                <a:gd name="T90" fmla="*/ 320 w 353"/>
                <a:gd name="T91" fmla="*/ 168 h 321"/>
                <a:gd name="T92" fmla="*/ 345 w 353"/>
                <a:gd name="T93" fmla="*/ 168 h 321"/>
                <a:gd name="T94" fmla="*/ 353 w 353"/>
                <a:gd name="T95" fmla="*/ 160 h 321"/>
                <a:gd name="T96" fmla="*/ 345 w 353"/>
                <a:gd name="T97" fmla="*/ 152 h 321"/>
                <a:gd name="T98" fmla="*/ 281 w 353"/>
                <a:gd name="T99" fmla="*/ 184 h 321"/>
                <a:gd name="T100" fmla="*/ 257 w 353"/>
                <a:gd name="T101" fmla="*/ 160 h 321"/>
                <a:gd name="T102" fmla="*/ 281 w 353"/>
                <a:gd name="T103" fmla="*/ 136 h 321"/>
                <a:gd name="T104" fmla="*/ 305 w 353"/>
                <a:gd name="T105" fmla="*/ 160 h 321"/>
                <a:gd name="T106" fmla="*/ 281 w 353"/>
                <a:gd name="T107" fmla="*/ 18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3" h="321">
                  <a:moveTo>
                    <a:pt x="345" y="273"/>
                  </a:moveTo>
                  <a:cubicBezTo>
                    <a:pt x="192" y="273"/>
                    <a:pt x="192" y="273"/>
                    <a:pt x="192" y="273"/>
                  </a:cubicBezTo>
                  <a:cubicBezTo>
                    <a:pt x="188" y="254"/>
                    <a:pt x="172" y="241"/>
                    <a:pt x="152" y="241"/>
                  </a:cubicBezTo>
                  <a:cubicBezTo>
                    <a:pt x="133" y="241"/>
                    <a:pt x="117" y="254"/>
                    <a:pt x="113" y="273"/>
                  </a:cubicBezTo>
                  <a:cubicBezTo>
                    <a:pt x="8" y="273"/>
                    <a:pt x="8" y="273"/>
                    <a:pt x="8" y="273"/>
                  </a:cubicBezTo>
                  <a:cubicBezTo>
                    <a:pt x="3" y="273"/>
                    <a:pt x="0" y="276"/>
                    <a:pt x="0" y="281"/>
                  </a:cubicBezTo>
                  <a:cubicBezTo>
                    <a:pt x="0" y="285"/>
                    <a:pt x="3" y="289"/>
                    <a:pt x="8" y="289"/>
                  </a:cubicBezTo>
                  <a:cubicBezTo>
                    <a:pt x="113" y="289"/>
                    <a:pt x="113" y="289"/>
                    <a:pt x="113" y="289"/>
                  </a:cubicBezTo>
                  <a:cubicBezTo>
                    <a:pt x="117" y="307"/>
                    <a:pt x="133" y="321"/>
                    <a:pt x="152" y="321"/>
                  </a:cubicBezTo>
                  <a:cubicBezTo>
                    <a:pt x="172" y="321"/>
                    <a:pt x="188" y="307"/>
                    <a:pt x="192" y="289"/>
                  </a:cubicBezTo>
                  <a:cubicBezTo>
                    <a:pt x="345" y="289"/>
                    <a:pt x="345" y="289"/>
                    <a:pt x="345" y="289"/>
                  </a:cubicBezTo>
                  <a:cubicBezTo>
                    <a:pt x="350" y="289"/>
                    <a:pt x="353" y="285"/>
                    <a:pt x="353" y="281"/>
                  </a:cubicBezTo>
                  <a:cubicBezTo>
                    <a:pt x="353" y="276"/>
                    <a:pt x="350" y="273"/>
                    <a:pt x="345" y="273"/>
                  </a:cubicBezTo>
                  <a:moveTo>
                    <a:pt x="152" y="305"/>
                  </a:moveTo>
                  <a:cubicBezTo>
                    <a:pt x="139" y="305"/>
                    <a:pt x="128" y="294"/>
                    <a:pt x="128" y="281"/>
                  </a:cubicBezTo>
                  <a:cubicBezTo>
                    <a:pt x="128" y="267"/>
                    <a:pt x="139" y="257"/>
                    <a:pt x="152" y="257"/>
                  </a:cubicBezTo>
                  <a:cubicBezTo>
                    <a:pt x="166" y="257"/>
                    <a:pt x="177" y="267"/>
                    <a:pt x="177" y="281"/>
                  </a:cubicBezTo>
                  <a:cubicBezTo>
                    <a:pt x="177" y="294"/>
                    <a:pt x="166" y="305"/>
                    <a:pt x="152" y="305"/>
                  </a:cubicBezTo>
                  <a:moveTo>
                    <a:pt x="8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53" y="66"/>
                    <a:pt x="69" y="80"/>
                    <a:pt x="88" y="80"/>
                  </a:cubicBezTo>
                  <a:cubicBezTo>
                    <a:pt x="108" y="80"/>
                    <a:pt x="124" y="66"/>
                    <a:pt x="128" y="48"/>
                  </a:cubicBezTo>
                  <a:cubicBezTo>
                    <a:pt x="345" y="48"/>
                    <a:pt x="345" y="48"/>
                    <a:pt x="345" y="48"/>
                  </a:cubicBezTo>
                  <a:cubicBezTo>
                    <a:pt x="350" y="48"/>
                    <a:pt x="353" y="44"/>
                    <a:pt x="353" y="40"/>
                  </a:cubicBezTo>
                  <a:cubicBezTo>
                    <a:pt x="353" y="36"/>
                    <a:pt x="350" y="32"/>
                    <a:pt x="345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4" y="14"/>
                    <a:pt x="108" y="0"/>
                    <a:pt x="88" y="0"/>
                  </a:cubicBezTo>
                  <a:cubicBezTo>
                    <a:pt x="69" y="0"/>
                    <a:pt x="53" y="14"/>
                    <a:pt x="4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3" y="32"/>
                    <a:pt x="0" y="36"/>
                    <a:pt x="0" y="40"/>
                  </a:cubicBezTo>
                  <a:cubicBezTo>
                    <a:pt x="0" y="44"/>
                    <a:pt x="3" y="48"/>
                    <a:pt x="8" y="48"/>
                  </a:cubicBezTo>
                  <a:moveTo>
                    <a:pt x="88" y="16"/>
                  </a:moveTo>
                  <a:cubicBezTo>
                    <a:pt x="102" y="16"/>
                    <a:pt x="112" y="27"/>
                    <a:pt x="112" y="40"/>
                  </a:cubicBezTo>
                  <a:cubicBezTo>
                    <a:pt x="112" y="53"/>
                    <a:pt x="102" y="64"/>
                    <a:pt x="88" y="64"/>
                  </a:cubicBezTo>
                  <a:cubicBezTo>
                    <a:pt x="75" y="64"/>
                    <a:pt x="64" y="53"/>
                    <a:pt x="64" y="40"/>
                  </a:cubicBezTo>
                  <a:cubicBezTo>
                    <a:pt x="64" y="27"/>
                    <a:pt x="75" y="16"/>
                    <a:pt x="88" y="16"/>
                  </a:cubicBezTo>
                  <a:moveTo>
                    <a:pt x="345" y="152"/>
                  </a:moveTo>
                  <a:cubicBezTo>
                    <a:pt x="320" y="152"/>
                    <a:pt x="320" y="152"/>
                    <a:pt x="320" y="152"/>
                  </a:cubicBezTo>
                  <a:cubicBezTo>
                    <a:pt x="316" y="134"/>
                    <a:pt x="300" y="120"/>
                    <a:pt x="281" y="120"/>
                  </a:cubicBezTo>
                  <a:cubicBezTo>
                    <a:pt x="261" y="120"/>
                    <a:pt x="245" y="134"/>
                    <a:pt x="242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3" y="152"/>
                    <a:pt x="0" y="156"/>
                    <a:pt x="0" y="160"/>
                  </a:cubicBezTo>
                  <a:cubicBezTo>
                    <a:pt x="0" y="165"/>
                    <a:pt x="3" y="168"/>
                    <a:pt x="8" y="168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5" y="187"/>
                    <a:pt x="261" y="201"/>
                    <a:pt x="281" y="201"/>
                  </a:cubicBezTo>
                  <a:cubicBezTo>
                    <a:pt x="300" y="201"/>
                    <a:pt x="316" y="187"/>
                    <a:pt x="320" y="168"/>
                  </a:cubicBezTo>
                  <a:cubicBezTo>
                    <a:pt x="345" y="168"/>
                    <a:pt x="345" y="168"/>
                    <a:pt x="345" y="168"/>
                  </a:cubicBezTo>
                  <a:cubicBezTo>
                    <a:pt x="350" y="168"/>
                    <a:pt x="353" y="165"/>
                    <a:pt x="353" y="160"/>
                  </a:cubicBezTo>
                  <a:cubicBezTo>
                    <a:pt x="353" y="156"/>
                    <a:pt x="350" y="152"/>
                    <a:pt x="345" y="152"/>
                  </a:cubicBezTo>
                  <a:moveTo>
                    <a:pt x="281" y="184"/>
                  </a:moveTo>
                  <a:cubicBezTo>
                    <a:pt x="268" y="184"/>
                    <a:pt x="257" y="174"/>
                    <a:pt x="257" y="160"/>
                  </a:cubicBezTo>
                  <a:cubicBezTo>
                    <a:pt x="257" y="147"/>
                    <a:pt x="268" y="136"/>
                    <a:pt x="281" y="136"/>
                  </a:cubicBezTo>
                  <a:cubicBezTo>
                    <a:pt x="294" y="136"/>
                    <a:pt x="305" y="147"/>
                    <a:pt x="305" y="160"/>
                  </a:cubicBezTo>
                  <a:cubicBezTo>
                    <a:pt x="305" y="174"/>
                    <a:pt x="294" y="184"/>
                    <a:pt x="281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887606" y="2856941"/>
            <a:ext cx="481429" cy="481429"/>
            <a:chOff x="2887606" y="2856941"/>
            <a:chExt cx="481429" cy="481429"/>
          </a:xfrm>
        </p:grpSpPr>
        <p:sp>
          <p:nvSpPr>
            <p:cNvPr id="40" name="Oval 39"/>
            <p:cNvSpPr/>
            <p:nvPr/>
          </p:nvSpPr>
          <p:spPr>
            <a:xfrm>
              <a:off x="2887606" y="2856941"/>
              <a:ext cx="481429" cy="481429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1" name="Freeform 35"/>
            <p:cNvSpPr>
              <a:spLocks noEditPoints="1"/>
            </p:cNvSpPr>
            <p:nvPr/>
          </p:nvSpPr>
          <p:spPr bwMode="auto">
            <a:xfrm>
              <a:off x="3047585" y="2986184"/>
              <a:ext cx="161472" cy="222945"/>
            </a:xfrm>
            <a:custGeom>
              <a:avLst/>
              <a:gdLst>
                <a:gd name="T0" fmla="*/ 129 w 257"/>
                <a:gd name="T1" fmla="*/ 0 h 353"/>
                <a:gd name="T2" fmla="*/ 0 w 257"/>
                <a:gd name="T3" fmla="*/ 128 h 353"/>
                <a:gd name="T4" fmla="*/ 129 w 257"/>
                <a:gd name="T5" fmla="*/ 353 h 353"/>
                <a:gd name="T6" fmla="*/ 257 w 257"/>
                <a:gd name="T7" fmla="*/ 128 h 353"/>
                <a:gd name="T8" fmla="*/ 129 w 257"/>
                <a:gd name="T9" fmla="*/ 0 h 353"/>
                <a:gd name="T10" fmla="*/ 129 w 257"/>
                <a:gd name="T11" fmla="*/ 329 h 353"/>
                <a:gd name="T12" fmla="*/ 16 w 257"/>
                <a:gd name="T13" fmla="*/ 128 h 353"/>
                <a:gd name="T14" fmla="*/ 129 w 257"/>
                <a:gd name="T15" fmla="*/ 16 h 353"/>
                <a:gd name="T16" fmla="*/ 241 w 257"/>
                <a:gd name="T17" fmla="*/ 128 h 353"/>
                <a:gd name="T18" fmla="*/ 129 w 257"/>
                <a:gd name="T19" fmla="*/ 329 h 353"/>
                <a:gd name="T20" fmla="*/ 129 w 257"/>
                <a:gd name="T21" fmla="*/ 64 h 353"/>
                <a:gd name="T22" fmla="*/ 64 w 257"/>
                <a:gd name="T23" fmla="*/ 128 h 353"/>
                <a:gd name="T24" fmla="*/ 129 w 257"/>
                <a:gd name="T25" fmla="*/ 193 h 353"/>
                <a:gd name="T26" fmla="*/ 193 w 257"/>
                <a:gd name="T27" fmla="*/ 128 h 353"/>
                <a:gd name="T28" fmla="*/ 129 w 257"/>
                <a:gd name="T29" fmla="*/ 64 h 353"/>
                <a:gd name="T30" fmla="*/ 129 w 257"/>
                <a:gd name="T31" fmla="*/ 177 h 353"/>
                <a:gd name="T32" fmla="*/ 80 w 257"/>
                <a:gd name="T33" fmla="*/ 128 h 353"/>
                <a:gd name="T34" fmla="*/ 129 w 257"/>
                <a:gd name="T35" fmla="*/ 80 h 353"/>
                <a:gd name="T36" fmla="*/ 177 w 257"/>
                <a:gd name="T37" fmla="*/ 128 h 353"/>
                <a:gd name="T38" fmla="*/ 129 w 257"/>
                <a:gd name="T39" fmla="*/ 1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7" h="353">
                  <a:moveTo>
                    <a:pt x="129" y="0"/>
                  </a:moveTo>
                  <a:cubicBezTo>
                    <a:pt x="58" y="0"/>
                    <a:pt x="0" y="57"/>
                    <a:pt x="0" y="128"/>
                  </a:cubicBezTo>
                  <a:cubicBezTo>
                    <a:pt x="0" y="233"/>
                    <a:pt x="129" y="353"/>
                    <a:pt x="129" y="353"/>
                  </a:cubicBezTo>
                  <a:cubicBezTo>
                    <a:pt x="129" y="353"/>
                    <a:pt x="257" y="233"/>
                    <a:pt x="257" y="128"/>
                  </a:cubicBezTo>
                  <a:cubicBezTo>
                    <a:pt x="257" y="57"/>
                    <a:pt x="199" y="0"/>
                    <a:pt x="129" y="0"/>
                  </a:cubicBezTo>
                  <a:moveTo>
                    <a:pt x="129" y="329"/>
                  </a:moveTo>
                  <a:cubicBezTo>
                    <a:pt x="129" y="329"/>
                    <a:pt x="16" y="225"/>
                    <a:pt x="16" y="128"/>
                  </a:cubicBezTo>
                  <a:cubicBezTo>
                    <a:pt x="16" y="66"/>
                    <a:pt x="66" y="16"/>
                    <a:pt x="129" y="16"/>
                  </a:cubicBezTo>
                  <a:cubicBezTo>
                    <a:pt x="191" y="16"/>
                    <a:pt x="241" y="66"/>
                    <a:pt x="241" y="128"/>
                  </a:cubicBezTo>
                  <a:cubicBezTo>
                    <a:pt x="241" y="225"/>
                    <a:pt x="129" y="329"/>
                    <a:pt x="129" y="329"/>
                  </a:cubicBezTo>
                  <a:moveTo>
                    <a:pt x="129" y="64"/>
                  </a:moveTo>
                  <a:cubicBezTo>
                    <a:pt x="93" y="64"/>
                    <a:pt x="64" y="93"/>
                    <a:pt x="64" y="128"/>
                  </a:cubicBezTo>
                  <a:cubicBezTo>
                    <a:pt x="64" y="164"/>
                    <a:pt x="93" y="193"/>
                    <a:pt x="129" y="193"/>
                  </a:cubicBezTo>
                  <a:cubicBezTo>
                    <a:pt x="164" y="193"/>
                    <a:pt x="193" y="164"/>
                    <a:pt x="193" y="128"/>
                  </a:cubicBezTo>
                  <a:cubicBezTo>
                    <a:pt x="193" y="93"/>
                    <a:pt x="164" y="64"/>
                    <a:pt x="129" y="64"/>
                  </a:cubicBezTo>
                  <a:moveTo>
                    <a:pt x="129" y="177"/>
                  </a:moveTo>
                  <a:cubicBezTo>
                    <a:pt x="102" y="177"/>
                    <a:pt x="80" y="155"/>
                    <a:pt x="80" y="128"/>
                  </a:cubicBezTo>
                  <a:cubicBezTo>
                    <a:pt x="80" y="102"/>
                    <a:pt x="102" y="80"/>
                    <a:pt x="129" y="80"/>
                  </a:cubicBezTo>
                  <a:cubicBezTo>
                    <a:pt x="155" y="80"/>
                    <a:pt x="177" y="102"/>
                    <a:pt x="177" y="128"/>
                  </a:cubicBezTo>
                  <a:cubicBezTo>
                    <a:pt x="177" y="155"/>
                    <a:pt x="155" y="177"/>
                    <a:pt x="129" y="17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480801" y="1750756"/>
            <a:ext cx="481429" cy="481429"/>
            <a:chOff x="5480801" y="1750756"/>
            <a:chExt cx="481429" cy="481429"/>
          </a:xfrm>
        </p:grpSpPr>
        <p:sp>
          <p:nvSpPr>
            <p:cNvPr id="30" name="Oval 29"/>
            <p:cNvSpPr/>
            <p:nvPr/>
          </p:nvSpPr>
          <p:spPr>
            <a:xfrm>
              <a:off x="5480801" y="1750756"/>
              <a:ext cx="481429" cy="481429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648975" y="1858562"/>
              <a:ext cx="145079" cy="265816"/>
            </a:xfrm>
            <a:custGeom>
              <a:avLst/>
              <a:gdLst>
                <a:gd name="T0" fmla="*/ 193 w 193"/>
                <a:gd name="T1" fmla="*/ 136 h 353"/>
                <a:gd name="T2" fmla="*/ 184 w 193"/>
                <a:gd name="T3" fmla="*/ 128 h 353"/>
                <a:gd name="T4" fmla="*/ 121 w 193"/>
                <a:gd name="T5" fmla="*/ 128 h 353"/>
                <a:gd name="T6" fmla="*/ 160 w 193"/>
                <a:gd name="T7" fmla="*/ 10 h 353"/>
                <a:gd name="T8" fmla="*/ 160 w 193"/>
                <a:gd name="T9" fmla="*/ 10 h 353"/>
                <a:gd name="T10" fmla="*/ 160 w 193"/>
                <a:gd name="T11" fmla="*/ 8 h 353"/>
                <a:gd name="T12" fmla="*/ 152 w 193"/>
                <a:gd name="T13" fmla="*/ 0 h 353"/>
                <a:gd name="T14" fmla="*/ 72 w 193"/>
                <a:gd name="T15" fmla="*/ 0 h 353"/>
                <a:gd name="T16" fmla="*/ 65 w 193"/>
                <a:gd name="T17" fmla="*/ 5 h 353"/>
                <a:gd name="T18" fmla="*/ 64 w 193"/>
                <a:gd name="T19" fmla="*/ 5 h 353"/>
                <a:gd name="T20" fmla="*/ 0 w 193"/>
                <a:gd name="T21" fmla="*/ 198 h 353"/>
                <a:gd name="T22" fmla="*/ 0 w 193"/>
                <a:gd name="T23" fmla="*/ 198 h 353"/>
                <a:gd name="T24" fmla="*/ 0 w 193"/>
                <a:gd name="T25" fmla="*/ 200 h 353"/>
                <a:gd name="T26" fmla="*/ 8 w 193"/>
                <a:gd name="T27" fmla="*/ 208 h 353"/>
                <a:gd name="T28" fmla="*/ 79 w 193"/>
                <a:gd name="T29" fmla="*/ 208 h 353"/>
                <a:gd name="T30" fmla="*/ 64 w 193"/>
                <a:gd name="T31" fmla="*/ 344 h 353"/>
                <a:gd name="T32" fmla="*/ 64 w 193"/>
                <a:gd name="T33" fmla="*/ 344 h 353"/>
                <a:gd name="T34" fmla="*/ 64 w 193"/>
                <a:gd name="T35" fmla="*/ 345 h 353"/>
                <a:gd name="T36" fmla="*/ 72 w 193"/>
                <a:gd name="T37" fmla="*/ 353 h 353"/>
                <a:gd name="T38" fmla="*/ 79 w 193"/>
                <a:gd name="T39" fmla="*/ 348 h 353"/>
                <a:gd name="T40" fmla="*/ 79 w 193"/>
                <a:gd name="T41" fmla="*/ 348 h 353"/>
                <a:gd name="T42" fmla="*/ 192 w 193"/>
                <a:gd name="T43" fmla="*/ 139 h 353"/>
                <a:gd name="T44" fmla="*/ 192 w 193"/>
                <a:gd name="T45" fmla="*/ 139 h 353"/>
                <a:gd name="T46" fmla="*/ 193 w 193"/>
                <a:gd name="T47" fmla="*/ 136 h 353"/>
                <a:gd name="T48" fmla="*/ 85 w 193"/>
                <a:gd name="T49" fmla="*/ 305 h 353"/>
                <a:gd name="T50" fmla="*/ 96 w 193"/>
                <a:gd name="T51" fmla="*/ 201 h 353"/>
                <a:gd name="T52" fmla="*/ 96 w 193"/>
                <a:gd name="T53" fmla="*/ 201 h 353"/>
                <a:gd name="T54" fmla="*/ 96 w 193"/>
                <a:gd name="T55" fmla="*/ 200 h 353"/>
                <a:gd name="T56" fmla="*/ 88 w 193"/>
                <a:gd name="T57" fmla="*/ 192 h 353"/>
                <a:gd name="T58" fmla="*/ 19 w 193"/>
                <a:gd name="T59" fmla="*/ 192 h 353"/>
                <a:gd name="T60" fmla="*/ 78 w 193"/>
                <a:gd name="T61" fmla="*/ 16 h 353"/>
                <a:gd name="T62" fmla="*/ 141 w 193"/>
                <a:gd name="T63" fmla="*/ 16 h 353"/>
                <a:gd name="T64" fmla="*/ 102 w 193"/>
                <a:gd name="T65" fmla="*/ 134 h 353"/>
                <a:gd name="T66" fmla="*/ 102 w 193"/>
                <a:gd name="T67" fmla="*/ 134 h 353"/>
                <a:gd name="T68" fmla="*/ 101 w 193"/>
                <a:gd name="T69" fmla="*/ 136 h 353"/>
                <a:gd name="T70" fmla="*/ 109 w 193"/>
                <a:gd name="T71" fmla="*/ 144 h 353"/>
                <a:gd name="T72" fmla="*/ 171 w 193"/>
                <a:gd name="T73" fmla="*/ 144 h 353"/>
                <a:gd name="T74" fmla="*/ 85 w 193"/>
                <a:gd name="T75" fmla="*/ 30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53">
                  <a:moveTo>
                    <a:pt x="193" y="136"/>
                  </a:moveTo>
                  <a:cubicBezTo>
                    <a:pt x="193" y="132"/>
                    <a:pt x="189" y="128"/>
                    <a:pt x="184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9"/>
                    <a:pt x="160" y="9"/>
                    <a:pt x="160" y="8"/>
                  </a:cubicBezTo>
                  <a:cubicBezTo>
                    <a:pt x="160" y="3"/>
                    <a:pt x="157" y="0"/>
                    <a:pt x="15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9" y="0"/>
                    <a:pt x="66" y="2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05"/>
                    <a:pt x="3" y="208"/>
                    <a:pt x="8" y="208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5"/>
                  </a:cubicBezTo>
                  <a:cubicBezTo>
                    <a:pt x="64" y="349"/>
                    <a:pt x="68" y="353"/>
                    <a:pt x="72" y="353"/>
                  </a:cubicBezTo>
                  <a:cubicBezTo>
                    <a:pt x="75" y="353"/>
                    <a:pt x="78" y="351"/>
                    <a:pt x="79" y="348"/>
                  </a:cubicBezTo>
                  <a:cubicBezTo>
                    <a:pt x="79" y="348"/>
                    <a:pt x="79" y="348"/>
                    <a:pt x="79" y="348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8"/>
                    <a:pt x="193" y="137"/>
                    <a:pt x="193" y="136"/>
                  </a:cubicBezTo>
                  <a:moveTo>
                    <a:pt x="85" y="305"/>
                  </a:move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0"/>
                  </a:cubicBezTo>
                  <a:cubicBezTo>
                    <a:pt x="96" y="196"/>
                    <a:pt x="93" y="192"/>
                    <a:pt x="8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1" y="135"/>
                    <a:pt x="101" y="136"/>
                  </a:cubicBezTo>
                  <a:cubicBezTo>
                    <a:pt x="101" y="140"/>
                    <a:pt x="105" y="144"/>
                    <a:pt x="109" y="144"/>
                  </a:cubicBezTo>
                  <a:cubicBezTo>
                    <a:pt x="171" y="144"/>
                    <a:pt x="171" y="144"/>
                    <a:pt x="171" y="144"/>
                  </a:cubicBezTo>
                  <a:lnTo>
                    <a:pt x="85" y="3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777973" y="3582416"/>
            <a:ext cx="1588055" cy="460064"/>
            <a:chOff x="3425669" y="3472785"/>
            <a:chExt cx="1588055" cy="460064"/>
          </a:xfrm>
        </p:grpSpPr>
        <p:sp>
          <p:nvSpPr>
            <p:cNvPr id="54" name="TextBox 53"/>
            <p:cNvSpPr txBox="1"/>
            <p:nvPr/>
          </p:nvSpPr>
          <p:spPr>
            <a:xfrm>
              <a:off x="3425684" y="3472785"/>
              <a:ext cx="15879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FÓRUMA DO SUCESSO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425669" y="3649758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stibulum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sequat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rutrum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gestas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. </a:t>
              </a: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Fusce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apien</a:t>
              </a: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ipsum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285055" y="1764486"/>
            <a:ext cx="1588055" cy="485462"/>
            <a:chOff x="1285055" y="1764486"/>
            <a:chExt cx="1588055" cy="485462"/>
          </a:xfrm>
        </p:grpSpPr>
        <p:sp>
          <p:nvSpPr>
            <p:cNvPr id="57" name="TextBox 56"/>
            <p:cNvSpPr txBox="1"/>
            <p:nvPr/>
          </p:nvSpPr>
          <p:spPr>
            <a:xfrm>
              <a:off x="1285070" y="1764486"/>
              <a:ext cx="15879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LACIONA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285055" y="1966857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stibul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984586" y="2873461"/>
            <a:ext cx="1588055" cy="485462"/>
            <a:chOff x="984586" y="2873461"/>
            <a:chExt cx="1588055" cy="485462"/>
          </a:xfrm>
        </p:grpSpPr>
        <p:sp>
          <p:nvSpPr>
            <p:cNvPr id="60" name="TextBox 59"/>
            <p:cNvSpPr txBox="1"/>
            <p:nvPr/>
          </p:nvSpPr>
          <p:spPr>
            <a:xfrm>
              <a:off x="984601" y="2873461"/>
              <a:ext cx="15879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NVOLVI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984586" y="3075832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stibul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278588" y="1764486"/>
            <a:ext cx="1588055" cy="486680"/>
            <a:chOff x="6278588" y="1764486"/>
            <a:chExt cx="1588055" cy="486680"/>
          </a:xfrm>
        </p:grpSpPr>
        <p:sp>
          <p:nvSpPr>
            <p:cNvPr id="65" name="TextBox 64"/>
            <p:cNvSpPr txBox="1"/>
            <p:nvPr/>
          </p:nvSpPr>
          <p:spPr>
            <a:xfrm>
              <a:off x="6278603" y="1764486"/>
              <a:ext cx="15879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OPORTUNIDAD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278588" y="1966857"/>
              <a:ext cx="158805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stibul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578555" y="2873461"/>
            <a:ext cx="1588055" cy="485462"/>
            <a:chOff x="6578555" y="2873461"/>
            <a:chExt cx="1588055" cy="485462"/>
          </a:xfrm>
        </p:grpSpPr>
        <p:sp>
          <p:nvSpPr>
            <p:cNvPr id="67" name="TextBox 66"/>
            <p:cNvSpPr txBox="1"/>
            <p:nvPr/>
          </p:nvSpPr>
          <p:spPr>
            <a:xfrm>
              <a:off x="6578570" y="2873461"/>
              <a:ext cx="15879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UDANÇ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578555" y="3075832"/>
              <a:ext cx="158805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stibul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669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cliente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97959" y="1551863"/>
            <a:ext cx="2513187" cy="1286099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Rectangle 4"/>
          <p:cNvSpPr/>
          <p:nvPr/>
        </p:nvSpPr>
        <p:spPr>
          <a:xfrm>
            <a:off x="3315407" y="1551863"/>
            <a:ext cx="2513187" cy="1286099"/>
          </a:xfrm>
          <a:prstGeom prst="rect">
            <a:avLst/>
          </a:prstGeom>
          <a:solidFill>
            <a:srgbClr val="6F7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6" name="Rectangle 5"/>
          <p:cNvSpPr/>
          <p:nvPr/>
        </p:nvSpPr>
        <p:spPr>
          <a:xfrm>
            <a:off x="6032855" y="1551863"/>
            <a:ext cx="2513187" cy="1286099"/>
          </a:xfrm>
          <a:prstGeom prst="rect">
            <a:avLst/>
          </a:prstGeom>
          <a:solidFill>
            <a:srgbClr val="DE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Rectangle 6"/>
          <p:cNvSpPr/>
          <p:nvPr/>
        </p:nvSpPr>
        <p:spPr>
          <a:xfrm>
            <a:off x="597959" y="3000151"/>
            <a:ext cx="2513187" cy="1286099"/>
          </a:xfrm>
          <a:prstGeom prst="rect">
            <a:avLst/>
          </a:prstGeom>
          <a:solidFill>
            <a:srgbClr val="DE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Rectangle 7"/>
          <p:cNvSpPr/>
          <p:nvPr/>
        </p:nvSpPr>
        <p:spPr>
          <a:xfrm>
            <a:off x="3315407" y="3000151"/>
            <a:ext cx="2513187" cy="1286099"/>
          </a:xfrm>
          <a:prstGeom prst="rect">
            <a:avLst/>
          </a:prstGeom>
          <a:solidFill>
            <a:srgbClr val="6F77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Rectangle 8"/>
          <p:cNvSpPr/>
          <p:nvPr/>
        </p:nvSpPr>
        <p:spPr>
          <a:xfrm>
            <a:off x="6032855" y="3000151"/>
            <a:ext cx="2513187" cy="1286099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3007090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/>
        </p:nvCxnSpPr>
        <p:spPr>
          <a:xfrm>
            <a:off x="593725" y="1125952"/>
            <a:ext cx="0" cy="2298929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028020" y="1348720"/>
            <a:ext cx="2271864" cy="192052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3200" cap="all" spc="80" dirty="0" err="1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são</a:t>
            </a:r>
            <a:endParaRPr lang="en-US" sz="3200" cap="all" spc="80" dirty="0">
              <a:solidFill>
                <a:srgbClr val="EC0000"/>
              </a:solidFill>
              <a:latin typeface="Lato Black" panose="020F0A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lnSpc>
                <a:spcPct val="130000"/>
              </a:lnSpc>
            </a:pPr>
            <a:r>
              <a:rPr lang="en-US" sz="3200" cap="all" spc="8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&amp;</a:t>
            </a:r>
          </a:p>
          <a:p>
            <a:pPr>
              <a:lnSpc>
                <a:spcPct val="130000"/>
              </a:lnSpc>
            </a:pPr>
            <a:r>
              <a:rPr lang="en-US" sz="3200" cap="all" spc="80" dirty="0" err="1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issão</a:t>
            </a:r>
            <a:endParaRPr lang="en-US" sz="3200" cap="all" spc="80" dirty="0">
              <a:solidFill>
                <a:srgbClr val="EC0000"/>
              </a:solidFill>
              <a:latin typeface="Lato Black" panose="020F0A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696823" y="1125952"/>
            <a:ext cx="1850277" cy="2602282"/>
            <a:chOff x="6696823" y="1125952"/>
            <a:chExt cx="1850277" cy="2602282"/>
          </a:xfrm>
        </p:grpSpPr>
        <p:sp>
          <p:nvSpPr>
            <p:cNvPr id="14" name="TextBox 13"/>
            <p:cNvSpPr txBox="1"/>
            <p:nvPr/>
          </p:nvSpPr>
          <p:spPr>
            <a:xfrm>
              <a:off x="6696823" y="1433567"/>
              <a:ext cx="1850277" cy="2294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 ipsum dolor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dipiscing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,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est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rtti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utr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lacer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bero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. 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sl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terd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ras sempe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sta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nisi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ap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sta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or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</a:p>
          </p:txBody>
        </p:sp>
        <p:sp>
          <p:nvSpPr>
            <p:cNvPr id="15" name="Title 2"/>
            <p:cNvSpPr txBox="1">
              <a:spLocks/>
            </p:cNvSpPr>
            <p:nvPr/>
          </p:nvSpPr>
          <p:spPr>
            <a:xfrm>
              <a:off x="6696823" y="1125952"/>
              <a:ext cx="1850277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200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NOSSA MISSÃO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241489" y="1125952"/>
            <a:ext cx="1850277" cy="2602282"/>
            <a:chOff x="4241489" y="1125952"/>
            <a:chExt cx="1850277" cy="2602282"/>
          </a:xfrm>
        </p:grpSpPr>
        <p:sp>
          <p:nvSpPr>
            <p:cNvPr id="16" name="TextBox 15"/>
            <p:cNvSpPr txBox="1"/>
            <p:nvPr/>
          </p:nvSpPr>
          <p:spPr>
            <a:xfrm>
              <a:off x="4241489" y="1433567"/>
              <a:ext cx="1850277" cy="229466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 ipsum dolor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dipiscing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,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est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rtti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utr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lacer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bero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. 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sl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terd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ras sempe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sta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nisi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cilis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ap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sta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or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</a:p>
          </p:txBody>
        </p:sp>
        <p:sp>
          <p:nvSpPr>
            <p:cNvPr id="17" name="Title 2"/>
            <p:cNvSpPr txBox="1">
              <a:spLocks/>
            </p:cNvSpPr>
            <p:nvPr/>
          </p:nvSpPr>
          <p:spPr>
            <a:xfrm>
              <a:off x="4241489" y="1125952"/>
              <a:ext cx="1850277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200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NOSSA VISÃ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1612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STATUS</a:t>
            </a:r>
            <a:r>
              <a:rPr lang="en-US" dirty="0"/>
              <a:t> DO PROJET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39" name="Group 38"/>
          <p:cNvGrpSpPr/>
          <p:nvPr/>
        </p:nvGrpSpPr>
        <p:grpSpPr>
          <a:xfrm>
            <a:off x="5503674" y="1548253"/>
            <a:ext cx="1936724" cy="520944"/>
            <a:chOff x="5503674" y="1548253"/>
            <a:chExt cx="1936724" cy="520944"/>
          </a:xfrm>
        </p:grpSpPr>
        <p:sp>
          <p:nvSpPr>
            <p:cNvPr id="14" name="TextBox 13"/>
            <p:cNvSpPr txBox="1"/>
            <p:nvPr/>
          </p:nvSpPr>
          <p:spPr>
            <a:xfrm>
              <a:off x="5503674" y="1548253"/>
              <a:ext cx="19367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esenvolvimento</a:t>
              </a:r>
              <a:endParaRPr lang="en-US" sz="1000" b="1" cap="all" spc="2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503674" y="1765844"/>
              <a:ext cx="193672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t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agi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ss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1703603" y="1548253"/>
            <a:ext cx="1936724" cy="519533"/>
            <a:chOff x="1703603" y="1548253"/>
            <a:chExt cx="1936724" cy="519533"/>
          </a:xfrm>
        </p:grpSpPr>
        <p:sp>
          <p:nvSpPr>
            <p:cNvPr id="30" name="TextBox 29"/>
            <p:cNvSpPr txBox="1"/>
            <p:nvPr/>
          </p:nvSpPr>
          <p:spPr>
            <a:xfrm>
              <a:off x="1703603" y="1548253"/>
              <a:ext cx="19367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esign e </a:t>
              </a:r>
              <a:r>
                <a:rPr lang="en-US" sz="1000" b="1" cap="all" spc="20" dirty="0" err="1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evisão</a:t>
              </a:r>
              <a:endParaRPr lang="en-US" sz="1000" b="1" cap="all" spc="2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703603" y="1765844"/>
              <a:ext cx="193672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t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agi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ss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241867" y="2513403"/>
            <a:ext cx="2860195" cy="2665621"/>
            <a:chOff x="1241867" y="2513403"/>
            <a:chExt cx="2860195" cy="2665621"/>
          </a:xfrm>
        </p:grpSpPr>
        <p:grpSp>
          <p:nvGrpSpPr>
            <p:cNvPr id="19" name="Group 18"/>
            <p:cNvGrpSpPr/>
            <p:nvPr/>
          </p:nvGrpSpPr>
          <p:grpSpPr>
            <a:xfrm>
              <a:off x="1454859" y="2744809"/>
              <a:ext cx="2442285" cy="2434215"/>
              <a:chOff x="12379745" y="7124277"/>
              <a:chExt cx="6512760" cy="6491240"/>
            </a:xfrm>
          </p:grpSpPr>
          <p:sp>
            <p:nvSpPr>
              <p:cNvPr id="20" name="Arc 19"/>
              <p:cNvSpPr/>
              <p:nvPr/>
            </p:nvSpPr>
            <p:spPr>
              <a:xfrm>
                <a:off x="12379745" y="7124282"/>
                <a:ext cx="6491235" cy="6491235"/>
              </a:xfrm>
              <a:prstGeom prst="arc">
                <a:avLst>
                  <a:gd name="adj1" fmla="val 10742316"/>
                  <a:gd name="adj2" fmla="val 63652"/>
                </a:avLst>
              </a:prstGeom>
              <a:ln w="101600" cap="rnd">
                <a:solidFill>
                  <a:schemeClr val="accent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1" name="Arc 20"/>
              <p:cNvSpPr/>
              <p:nvPr/>
            </p:nvSpPr>
            <p:spPr>
              <a:xfrm>
                <a:off x="12401270" y="7124277"/>
                <a:ext cx="6491235" cy="6491235"/>
              </a:xfrm>
              <a:prstGeom prst="arc">
                <a:avLst>
                  <a:gd name="adj1" fmla="val 14394303"/>
                  <a:gd name="adj2" fmla="val 57955"/>
                </a:avLst>
              </a:prstGeom>
              <a:ln w="101600" cap="rnd">
                <a:solidFill>
                  <a:srgbClr val="EC00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</p:grpSp>
        <p:grpSp>
          <p:nvGrpSpPr>
            <p:cNvPr id="16" name="Group 15"/>
            <p:cNvGrpSpPr/>
            <p:nvPr/>
          </p:nvGrpSpPr>
          <p:grpSpPr>
            <a:xfrm>
              <a:off x="1241867" y="2513403"/>
              <a:ext cx="2860195" cy="1875717"/>
              <a:chOff x="1241867" y="2513403"/>
              <a:chExt cx="2860195" cy="1875717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2621748" y="2531820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4001628" y="3911701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4" name="Oval 23"/>
              <p:cNvSpPr/>
              <p:nvPr/>
            </p:nvSpPr>
            <p:spPr>
              <a:xfrm>
                <a:off x="1241867" y="3911701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1931808" y="2716689"/>
                <a:ext cx="100434" cy="100434"/>
              </a:xfrm>
              <a:prstGeom prst="ellipse">
                <a:avLst/>
              </a:prstGeom>
              <a:solidFill>
                <a:srgbClr val="EC0000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26" name="Oval 25"/>
              <p:cNvSpPr/>
              <p:nvPr/>
            </p:nvSpPr>
            <p:spPr>
              <a:xfrm>
                <a:off x="3816759" y="3221760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1426736" y="3221760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3311688" y="2716689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2912734" y="3882657"/>
                <a:ext cx="68841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3ª </a:t>
                </a:r>
                <a:r>
                  <a:rPr lang="en-US" sz="800" b="1" dirty="0" err="1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Semana</a:t>
                </a:r>
                <a:endParaRPr lang="en-US" sz="8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1711405" y="3838806"/>
                <a:ext cx="68841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14 de </a:t>
                </a:r>
                <a:r>
                  <a:rPr lang="en-US" sz="800" b="1" dirty="0" err="1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Setembro</a:t>
                </a:r>
                <a:endParaRPr lang="en-US" sz="8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2019195" y="2513403"/>
                <a:ext cx="509780" cy="1154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750" b="1" dirty="0">
                    <a:solidFill>
                      <a:schemeClr val="accent3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23º </a:t>
                </a:r>
                <a:r>
                  <a:rPr lang="en-US" sz="750" b="1" dirty="0" err="1">
                    <a:solidFill>
                      <a:schemeClr val="accent3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Dia</a:t>
                </a:r>
                <a:endParaRPr lang="en-US" sz="750" b="1" dirty="0">
                  <a:solidFill>
                    <a:schemeClr val="accent3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>
              <a:xfrm rot="19861163">
                <a:off x="2270275" y="2615027"/>
                <a:ext cx="236115" cy="1774093"/>
              </a:xfrm>
              <a:custGeom>
                <a:avLst/>
                <a:gdLst>
                  <a:gd name="connsiteX0" fmla="*/ 67076 w 413810"/>
                  <a:gd name="connsiteY0" fmla="*/ 3109230 h 3109231"/>
                  <a:gd name="connsiteX1" fmla="*/ 345762 w 413810"/>
                  <a:gd name="connsiteY1" fmla="*/ 3109230 h 3109231"/>
                  <a:gd name="connsiteX2" fmla="*/ 345764 w 413810"/>
                  <a:gd name="connsiteY2" fmla="*/ 3109231 h 3109231"/>
                  <a:gd name="connsiteX3" fmla="*/ 67074 w 413810"/>
                  <a:gd name="connsiteY3" fmla="*/ 3109231 h 3109231"/>
                  <a:gd name="connsiteX4" fmla="*/ 201481 w 413810"/>
                  <a:gd name="connsiteY4" fmla="*/ 2374218 h 3109231"/>
                  <a:gd name="connsiteX5" fmla="*/ 102262 w 413810"/>
                  <a:gd name="connsiteY5" fmla="*/ 2473437 h 3109231"/>
                  <a:gd name="connsiteX6" fmla="*/ 201481 w 413810"/>
                  <a:gd name="connsiteY6" fmla="*/ 2572656 h 3109231"/>
                  <a:gd name="connsiteX7" fmla="*/ 300700 w 413810"/>
                  <a:gd name="connsiteY7" fmla="*/ 2473437 h 3109231"/>
                  <a:gd name="connsiteX8" fmla="*/ 201481 w 413810"/>
                  <a:gd name="connsiteY8" fmla="*/ 2374218 h 3109231"/>
                  <a:gd name="connsiteX9" fmla="*/ 206906 w 413810"/>
                  <a:gd name="connsiteY9" fmla="*/ 0 h 3109231"/>
                  <a:gd name="connsiteX10" fmla="*/ 310545 w 413810"/>
                  <a:gd name="connsiteY10" fmla="*/ 2304454 h 3109231"/>
                  <a:gd name="connsiteX11" fmla="*/ 353209 w 413810"/>
                  <a:gd name="connsiteY11" fmla="*/ 2333219 h 3109231"/>
                  <a:gd name="connsiteX12" fmla="*/ 413810 w 413810"/>
                  <a:gd name="connsiteY12" fmla="*/ 2479523 h 3109231"/>
                  <a:gd name="connsiteX13" fmla="*/ 353209 w 413810"/>
                  <a:gd name="connsiteY13" fmla="*/ 2625827 h 3109231"/>
                  <a:gd name="connsiteX14" fmla="*/ 325828 w 413810"/>
                  <a:gd name="connsiteY14" fmla="*/ 2644287 h 3109231"/>
                  <a:gd name="connsiteX15" fmla="*/ 346738 w 413810"/>
                  <a:gd name="connsiteY15" fmla="*/ 3109230 h 3109231"/>
                  <a:gd name="connsiteX16" fmla="*/ 345762 w 413810"/>
                  <a:gd name="connsiteY16" fmla="*/ 3109230 h 3109231"/>
                  <a:gd name="connsiteX17" fmla="*/ 206419 w 413810"/>
                  <a:gd name="connsiteY17" fmla="*/ 3033031 h 3109231"/>
                  <a:gd name="connsiteX18" fmla="*/ 67076 w 413810"/>
                  <a:gd name="connsiteY18" fmla="*/ 3109230 h 3109231"/>
                  <a:gd name="connsiteX19" fmla="*/ 67074 w 413810"/>
                  <a:gd name="connsiteY19" fmla="*/ 3109230 h 3109231"/>
                  <a:gd name="connsiteX20" fmla="*/ 87984 w 413810"/>
                  <a:gd name="connsiteY20" fmla="*/ 2644289 h 3109231"/>
                  <a:gd name="connsiteX21" fmla="*/ 60601 w 413810"/>
                  <a:gd name="connsiteY21" fmla="*/ 2625827 h 3109231"/>
                  <a:gd name="connsiteX22" fmla="*/ 0 w 413810"/>
                  <a:gd name="connsiteY22" fmla="*/ 2479523 h 3109231"/>
                  <a:gd name="connsiteX23" fmla="*/ 60601 w 413810"/>
                  <a:gd name="connsiteY23" fmla="*/ 2333219 h 3109231"/>
                  <a:gd name="connsiteX24" fmla="*/ 103267 w 413810"/>
                  <a:gd name="connsiteY24" fmla="*/ 2304453 h 3109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13810" h="3109231">
                    <a:moveTo>
                      <a:pt x="67076" y="3109230"/>
                    </a:moveTo>
                    <a:lnTo>
                      <a:pt x="345762" y="3109230"/>
                    </a:lnTo>
                    <a:lnTo>
                      <a:pt x="345764" y="3109231"/>
                    </a:lnTo>
                    <a:lnTo>
                      <a:pt x="67074" y="3109231"/>
                    </a:lnTo>
                    <a:close/>
                    <a:moveTo>
                      <a:pt x="201481" y="2374218"/>
                    </a:moveTo>
                    <a:cubicBezTo>
                      <a:pt x="146684" y="2374218"/>
                      <a:pt x="102262" y="2418640"/>
                      <a:pt x="102262" y="2473437"/>
                    </a:cubicBezTo>
                    <a:cubicBezTo>
                      <a:pt x="102262" y="2528234"/>
                      <a:pt x="146684" y="2572656"/>
                      <a:pt x="201481" y="2572656"/>
                    </a:cubicBezTo>
                    <a:cubicBezTo>
                      <a:pt x="256278" y="2572656"/>
                      <a:pt x="300700" y="2528234"/>
                      <a:pt x="300700" y="2473437"/>
                    </a:cubicBezTo>
                    <a:cubicBezTo>
                      <a:pt x="300700" y="2418640"/>
                      <a:pt x="256278" y="2374218"/>
                      <a:pt x="201481" y="2374218"/>
                    </a:cubicBezTo>
                    <a:close/>
                    <a:moveTo>
                      <a:pt x="206906" y="0"/>
                    </a:moveTo>
                    <a:lnTo>
                      <a:pt x="310545" y="2304454"/>
                    </a:lnTo>
                    <a:lnTo>
                      <a:pt x="353209" y="2333219"/>
                    </a:lnTo>
                    <a:cubicBezTo>
                      <a:pt x="390651" y="2370662"/>
                      <a:pt x="413810" y="2422388"/>
                      <a:pt x="413810" y="2479523"/>
                    </a:cubicBezTo>
                    <a:cubicBezTo>
                      <a:pt x="413810" y="2536658"/>
                      <a:pt x="390651" y="2588384"/>
                      <a:pt x="353209" y="2625827"/>
                    </a:cubicBezTo>
                    <a:lnTo>
                      <a:pt x="325828" y="2644287"/>
                    </a:lnTo>
                    <a:lnTo>
                      <a:pt x="346738" y="3109230"/>
                    </a:lnTo>
                    <a:lnTo>
                      <a:pt x="345762" y="3109230"/>
                    </a:lnTo>
                    <a:lnTo>
                      <a:pt x="206419" y="3033031"/>
                    </a:lnTo>
                    <a:lnTo>
                      <a:pt x="67076" y="3109230"/>
                    </a:lnTo>
                    <a:lnTo>
                      <a:pt x="67074" y="3109230"/>
                    </a:lnTo>
                    <a:lnTo>
                      <a:pt x="87984" y="2644289"/>
                    </a:lnTo>
                    <a:lnTo>
                      <a:pt x="60601" y="2625827"/>
                    </a:lnTo>
                    <a:cubicBezTo>
                      <a:pt x="23159" y="2588384"/>
                      <a:pt x="0" y="2536658"/>
                      <a:pt x="0" y="2479523"/>
                    </a:cubicBezTo>
                    <a:cubicBezTo>
                      <a:pt x="0" y="2422388"/>
                      <a:pt x="23159" y="2370662"/>
                      <a:pt x="60601" y="2333219"/>
                    </a:cubicBezTo>
                    <a:lnTo>
                      <a:pt x="103267" y="230445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5041938" y="2514465"/>
            <a:ext cx="2860196" cy="2664559"/>
            <a:chOff x="5041938" y="2514465"/>
            <a:chExt cx="2860196" cy="2664559"/>
          </a:xfrm>
        </p:grpSpPr>
        <p:grpSp>
          <p:nvGrpSpPr>
            <p:cNvPr id="4" name="Group 3"/>
            <p:cNvGrpSpPr/>
            <p:nvPr/>
          </p:nvGrpSpPr>
          <p:grpSpPr>
            <a:xfrm>
              <a:off x="5254930" y="2744811"/>
              <a:ext cx="2434213" cy="2434213"/>
              <a:chOff x="12379745" y="7124282"/>
              <a:chExt cx="6491235" cy="6491235"/>
            </a:xfrm>
          </p:grpSpPr>
          <p:sp>
            <p:nvSpPr>
              <p:cNvPr id="5" name="Arc 4"/>
              <p:cNvSpPr/>
              <p:nvPr/>
            </p:nvSpPr>
            <p:spPr>
              <a:xfrm>
                <a:off x="12379745" y="7124282"/>
                <a:ext cx="6491235" cy="6491235"/>
              </a:xfrm>
              <a:prstGeom prst="arc">
                <a:avLst>
                  <a:gd name="adj1" fmla="val 10742316"/>
                  <a:gd name="adj2" fmla="val 63652"/>
                </a:avLst>
              </a:prstGeom>
              <a:ln w="101600" cap="rnd">
                <a:solidFill>
                  <a:schemeClr val="accent6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" name="Arc 5"/>
              <p:cNvSpPr/>
              <p:nvPr/>
            </p:nvSpPr>
            <p:spPr>
              <a:xfrm>
                <a:off x="12379745" y="7124282"/>
                <a:ext cx="6491235" cy="6491235"/>
              </a:xfrm>
              <a:prstGeom prst="arc">
                <a:avLst>
                  <a:gd name="adj1" fmla="val 16233426"/>
                  <a:gd name="adj2" fmla="val 69305"/>
                </a:avLst>
              </a:prstGeom>
              <a:ln w="101600" cap="rnd">
                <a:solidFill>
                  <a:srgbClr val="EC0000"/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5041938" y="2514465"/>
              <a:ext cx="2860196" cy="1813164"/>
              <a:chOff x="5041938" y="2514465"/>
              <a:chExt cx="2860196" cy="1813164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6421819" y="2531820"/>
                <a:ext cx="100434" cy="100434"/>
              </a:xfrm>
              <a:prstGeom prst="ellipse">
                <a:avLst/>
              </a:prstGeom>
              <a:solidFill>
                <a:srgbClr val="EC0000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7801700" y="3911701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5041938" y="3911701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5731879" y="2716689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7616831" y="3221760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5226808" y="3221760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7111760" y="2716689"/>
                <a:ext cx="100434" cy="100434"/>
              </a:xfrm>
              <a:prstGeom prst="ellipse">
                <a:avLst/>
              </a:prstGeom>
              <a:solidFill>
                <a:schemeClr val="accent6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6712805" y="3882657"/>
                <a:ext cx="688411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4ª </a:t>
                </a:r>
                <a:r>
                  <a:rPr lang="en-US" sz="800" b="1" dirty="0" err="1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Semana</a:t>
                </a:r>
                <a:endParaRPr lang="en-US" sz="8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5513493" y="3882657"/>
                <a:ext cx="68841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22 de </a:t>
                </a:r>
              </a:p>
              <a:p>
                <a:pPr algn="ctr"/>
                <a:r>
                  <a:rPr lang="en-US" sz="800" b="1" dirty="0" err="1">
                    <a:solidFill>
                      <a:schemeClr val="accent4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Setembro</a:t>
                </a:r>
                <a:endParaRPr lang="en-US" sz="8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6597629" y="2514465"/>
                <a:ext cx="509780" cy="1154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750" b="1" dirty="0">
                    <a:solidFill>
                      <a:schemeClr val="accent3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28º </a:t>
                </a:r>
                <a:r>
                  <a:rPr lang="en-US" sz="750" b="1" dirty="0" err="1">
                    <a:solidFill>
                      <a:schemeClr val="accent3"/>
                    </a:solidFill>
                    <a:latin typeface="Lato" panose="020F0502020204030203" pitchFamily="34" charset="0"/>
                    <a:cs typeface="Poppins" panose="02000000000000000000" pitchFamily="2" charset="0"/>
                  </a:rPr>
                  <a:t>Dia</a:t>
                </a:r>
                <a:endParaRPr lang="en-US" sz="750" b="1" dirty="0">
                  <a:solidFill>
                    <a:schemeClr val="accent3"/>
                  </a:solidFill>
                  <a:latin typeface="Lato" panose="020F0502020204030203" pitchFamily="34" charset="0"/>
                  <a:cs typeface="Poppins" panose="02000000000000000000" pitchFamily="2" charset="0"/>
                </a:endParaRPr>
              </a:p>
            </p:txBody>
          </p:sp>
          <p:sp>
            <p:nvSpPr>
              <p:cNvPr id="35" name="Freeform 34"/>
              <p:cNvSpPr/>
              <p:nvPr/>
            </p:nvSpPr>
            <p:spPr>
              <a:xfrm>
                <a:off x="6353978" y="2553536"/>
                <a:ext cx="236115" cy="1774093"/>
              </a:xfrm>
              <a:custGeom>
                <a:avLst/>
                <a:gdLst>
                  <a:gd name="connsiteX0" fmla="*/ 67076 w 413810"/>
                  <a:gd name="connsiteY0" fmla="*/ 3109230 h 3109231"/>
                  <a:gd name="connsiteX1" fmla="*/ 345762 w 413810"/>
                  <a:gd name="connsiteY1" fmla="*/ 3109230 h 3109231"/>
                  <a:gd name="connsiteX2" fmla="*/ 345764 w 413810"/>
                  <a:gd name="connsiteY2" fmla="*/ 3109231 h 3109231"/>
                  <a:gd name="connsiteX3" fmla="*/ 67074 w 413810"/>
                  <a:gd name="connsiteY3" fmla="*/ 3109231 h 3109231"/>
                  <a:gd name="connsiteX4" fmla="*/ 201481 w 413810"/>
                  <a:gd name="connsiteY4" fmla="*/ 2374218 h 3109231"/>
                  <a:gd name="connsiteX5" fmla="*/ 102262 w 413810"/>
                  <a:gd name="connsiteY5" fmla="*/ 2473437 h 3109231"/>
                  <a:gd name="connsiteX6" fmla="*/ 201481 w 413810"/>
                  <a:gd name="connsiteY6" fmla="*/ 2572656 h 3109231"/>
                  <a:gd name="connsiteX7" fmla="*/ 300700 w 413810"/>
                  <a:gd name="connsiteY7" fmla="*/ 2473437 h 3109231"/>
                  <a:gd name="connsiteX8" fmla="*/ 201481 w 413810"/>
                  <a:gd name="connsiteY8" fmla="*/ 2374218 h 3109231"/>
                  <a:gd name="connsiteX9" fmla="*/ 206906 w 413810"/>
                  <a:gd name="connsiteY9" fmla="*/ 0 h 3109231"/>
                  <a:gd name="connsiteX10" fmla="*/ 310545 w 413810"/>
                  <a:gd name="connsiteY10" fmla="*/ 2304454 h 3109231"/>
                  <a:gd name="connsiteX11" fmla="*/ 353209 w 413810"/>
                  <a:gd name="connsiteY11" fmla="*/ 2333219 h 3109231"/>
                  <a:gd name="connsiteX12" fmla="*/ 413810 w 413810"/>
                  <a:gd name="connsiteY12" fmla="*/ 2479523 h 3109231"/>
                  <a:gd name="connsiteX13" fmla="*/ 353209 w 413810"/>
                  <a:gd name="connsiteY13" fmla="*/ 2625827 h 3109231"/>
                  <a:gd name="connsiteX14" fmla="*/ 325828 w 413810"/>
                  <a:gd name="connsiteY14" fmla="*/ 2644287 h 3109231"/>
                  <a:gd name="connsiteX15" fmla="*/ 346738 w 413810"/>
                  <a:gd name="connsiteY15" fmla="*/ 3109230 h 3109231"/>
                  <a:gd name="connsiteX16" fmla="*/ 345762 w 413810"/>
                  <a:gd name="connsiteY16" fmla="*/ 3109230 h 3109231"/>
                  <a:gd name="connsiteX17" fmla="*/ 206419 w 413810"/>
                  <a:gd name="connsiteY17" fmla="*/ 3033031 h 3109231"/>
                  <a:gd name="connsiteX18" fmla="*/ 67076 w 413810"/>
                  <a:gd name="connsiteY18" fmla="*/ 3109230 h 3109231"/>
                  <a:gd name="connsiteX19" fmla="*/ 67074 w 413810"/>
                  <a:gd name="connsiteY19" fmla="*/ 3109230 h 3109231"/>
                  <a:gd name="connsiteX20" fmla="*/ 87984 w 413810"/>
                  <a:gd name="connsiteY20" fmla="*/ 2644289 h 3109231"/>
                  <a:gd name="connsiteX21" fmla="*/ 60601 w 413810"/>
                  <a:gd name="connsiteY21" fmla="*/ 2625827 h 3109231"/>
                  <a:gd name="connsiteX22" fmla="*/ 0 w 413810"/>
                  <a:gd name="connsiteY22" fmla="*/ 2479523 h 3109231"/>
                  <a:gd name="connsiteX23" fmla="*/ 60601 w 413810"/>
                  <a:gd name="connsiteY23" fmla="*/ 2333219 h 3109231"/>
                  <a:gd name="connsiteX24" fmla="*/ 103267 w 413810"/>
                  <a:gd name="connsiteY24" fmla="*/ 2304453 h 3109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13810" h="3109231">
                    <a:moveTo>
                      <a:pt x="67076" y="3109230"/>
                    </a:moveTo>
                    <a:lnTo>
                      <a:pt x="345762" y="3109230"/>
                    </a:lnTo>
                    <a:lnTo>
                      <a:pt x="345764" y="3109231"/>
                    </a:lnTo>
                    <a:lnTo>
                      <a:pt x="67074" y="3109231"/>
                    </a:lnTo>
                    <a:close/>
                    <a:moveTo>
                      <a:pt x="201481" y="2374218"/>
                    </a:moveTo>
                    <a:cubicBezTo>
                      <a:pt x="146684" y="2374218"/>
                      <a:pt x="102262" y="2418640"/>
                      <a:pt x="102262" y="2473437"/>
                    </a:cubicBezTo>
                    <a:cubicBezTo>
                      <a:pt x="102262" y="2528234"/>
                      <a:pt x="146684" y="2572656"/>
                      <a:pt x="201481" y="2572656"/>
                    </a:cubicBezTo>
                    <a:cubicBezTo>
                      <a:pt x="256278" y="2572656"/>
                      <a:pt x="300700" y="2528234"/>
                      <a:pt x="300700" y="2473437"/>
                    </a:cubicBezTo>
                    <a:cubicBezTo>
                      <a:pt x="300700" y="2418640"/>
                      <a:pt x="256278" y="2374218"/>
                      <a:pt x="201481" y="2374218"/>
                    </a:cubicBezTo>
                    <a:close/>
                    <a:moveTo>
                      <a:pt x="206906" y="0"/>
                    </a:moveTo>
                    <a:lnTo>
                      <a:pt x="310545" y="2304454"/>
                    </a:lnTo>
                    <a:lnTo>
                      <a:pt x="353209" y="2333219"/>
                    </a:lnTo>
                    <a:cubicBezTo>
                      <a:pt x="390651" y="2370662"/>
                      <a:pt x="413810" y="2422388"/>
                      <a:pt x="413810" y="2479523"/>
                    </a:cubicBezTo>
                    <a:cubicBezTo>
                      <a:pt x="413810" y="2536658"/>
                      <a:pt x="390651" y="2588384"/>
                      <a:pt x="353209" y="2625827"/>
                    </a:cubicBezTo>
                    <a:lnTo>
                      <a:pt x="325828" y="2644287"/>
                    </a:lnTo>
                    <a:lnTo>
                      <a:pt x="346738" y="3109230"/>
                    </a:lnTo>
                    <a:lnTo>
                      <a:pt x="345762" y="3109230"/>
                    </a:lnTo>
                    <a:lnTo>
                      <a:pt x="206419" y="3033031"/>
                    </a:lnTo>
                    <a:lnTo>
                      <a:pt x="67076" y="3109230"/>
                    </a:lnTo>
                    <a:lnTo>
                      <a:pt x="67074" y="3109230"/>
                    </a:lnTo>
                    <a:lnTo>
                      <a:pt x="87984" y="2644289"/>
                    </a:lnTo>
                    <a:lnTo>
                      <a:pt x="60601" y="2625827"/>
                    </a:lnTo>
                    <a:cubicBezTo>
                      <a:pt x="23159" y="2588384"/>
                      <a:pt x="0" y="2536658"/>
                      <a:pt x="0" y="2479523"/>
                    </a:cubicBezTo>
                    <a:cubicBezTo>
                      <a:pt x="0" y="2422388"/>
                      <a:pt x="23159" y="2370662"/>
                      <a:pt x="60601" y="2333219"/>
                    </a:cubicBezTo>
                    <a:lnTo>
                      <a:pt x="103267" y="2304453"/>
                    </a:lnTo>
                    <a:close/>
                  </a:path>
                </a:pathLst>
              </a:cu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471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ESQUISA DE </a:t>
            </a:r>
            <a:r>
              <a:rPr lang="en-US" dirty="0">
                <a:solidFill>
                  <a:srgbClr val="EC0000"/>
                </a:solidFill>
              </a:rPr>
              <a:t>REDES SOCIA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4" name="Straight Connector 3"/>
          <p:cNvCxnSpPr>
            <a:stCxn id="6" idx="6"/>
            <a:endCxn id="13" idx="2"/>
          </p:cNvCxnSpPr>
          <p:nvPr/>
        </p:nvCxnSpPr>
        <p:spPr>
          <a:xfrm>
            <a:off x="1528960" y="3892881"/>
            <a:ext cx="111613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935525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8%</a:t>
            </a:r>
          </a:p>
        </p:txBody>
      </p:sp>
      <p:sp>
        <p:nvSpPr>
          <p:cNvPr id="6" name="Oval 5"/>
          <p:cNvSpPr/>
          <p:nvPr/>
        </p:nvSpPr>
        <p:spPr>
          <a:xfrm>
            <a:off x="1402609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935525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Facebook</a:t>
            </a: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1147225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1150395" y="1705130"/>
            <a:ext cx="630780" cy="1492095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11" name="Freeform 11"/>
          <p:cNvSpPr>
            <a:spLocks noEditPoints="1"/>
          </p:cNvSpPr>
          <p:nvPr/>
        </p:nvSpPr>
        <p:spPr bwMode="auto">
          <a:xfrm>
            <a:off x="1143652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TextBox 11"/>
          <p:cNvSpPr txBox="1"/>
          <p:nvPr/>
        </p:nvSpPr>
        <p:spPr>
          <a:xfrm>
            <a:off x="2178011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5%</a:t>
            </a:r>
          </a:p>
        </p:txBody>
      </p:sp>
      <p:sp>
        <p:nvSpPr>
          <p:cNvPr id="13" name="Oval 12"/>
          <p:cNvSpPr/>
          <p:nvPr/>
        </p:nvSpPr>
        <p:spPr>
          <a:xfrm>
            <a:off x="2645095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2178011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Twitter</a:t>
            </a:r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2389711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2395529" y="2020421"/>
            <a:ext cx="625484" cy="1176804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11"/>
          <p:cNvSpPr>
            <a:spLocks noEditPoints="1"/>
          </p:cNvSpPr>
          <p:nvPr/>
        </p:nvSpPr>
        <p:spPr bwMode="auto">
          <a:xfrm>
            <a:off x="2386138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9" name="TextBox 18"/>
          <p:cNvSpPr txBox="1"/>
          <p:nvPr/>
        </p:nvSpPr>
        <p:spPr>
          <a:xfrm>
            <a:off x="3420497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42%</a:t>
            </a:r>
          </a:p>
        </p:txBody>
      </p:sp>
      <p:sp>
        <p:nvSpPr>
          <p:cNvPr id="20" name="Oval 19"/>
          <p:cNvSpPr/>
          <p:nvPr/>
        </p:nvSpPr>
        <p:spPr>
          <a:xfrm>
            <a:off x="3887581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3420497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 err="1">
                <a:solidFill>
                  <a:schemeClr val="accent4"/>
                </a:solidFill>
                <a:latin typeface="Lato" panose="020F0502020204030203" pitchFamily="34" charset="0"/>
              </a:rPr>
              <a:t>Instagram</a:t>
            </a:r>
            <a:endParaRPr lang="en-US" sz="800" b="0" spc="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632197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auto">
          <a:xfrm>
            <a:off x="3635901" y="2557585"/>
            <a:ext cx="629712" cy="63964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5" name="Freeform 11"/>
          <p:cNvSpPr>
            <a:spLocks noEditPoints="1"/>
          </p:cNvSpPr>
          <p:nvPr/>
        </p:nvSpPr>
        <p:spPr bwMode="auto">
          <a:xfrm>
            <a:off x="3628624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6" name="TextBox 25"/>
          <p:cNvSpPr txBox="1"/>
          <p:nvPr/>
        </p:nvSpPr>
        <p:spPr>
          <a:xfrm>
            <a:off x="4662983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8%</a:t>
            </a:r>
          </a:p>
        </p:txBody>
      </p:sp>
      <p:sp>
        <p:nvSpPr>
          <p:cNvPr id="27" name="Oval 26"/>
          <p:cNvSpPr/>
          <p:nvPr/>
        </p:nvSpPr>
        <p:spPr>
          <a:xfrm>
            <a:off x="5130067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4662983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Telegram</a:t>
            </a:r>
          </a:p>
        </p:txBody>
      </p:sp>
      <p:sp>
        <p:nvSpPr>
          <p:cNvPr id="30" name="Rectangle 10"/>
          <p:cNvSpPr>
            <a:spLocks noChangeArrowheads="1"/>
          </p:cNvSpPr>
          <p:nvPr/>
        </p:nvSpPr>
        <p:spPr bwMode="auto">
          <a:xfrm>
            <a:off x="4874683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4877861" y="2178204"/>
            <a:ext cx="630764" cy="1019021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2" name="Freeform 11"/>
          <p:cNvSpPr>
            <a:spLocks noEditPoints="1"/>
          </p:cNvSpPr>
          <p:nvPr/>
        </p:nvSpPr>
        <p:spPr bwMode="auto">
          <a:xfrm>
            <a:off x="4871110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3" name="TextBox 32"/>
          <p:cNvSpPr txBox="1"/>
          <p:nvPr/>
        </p:nvSpPr>
        <p:spPr>
          <a:xfrm>
            <a:off x="5905469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5%</a:t>
            </a:r>
          </a:p>
        </p:txBody>
      </p:sp>
      <p:sp>
        <p:nvSpPr>
          <p:cNvPr id="34" name="Oval 33"/>
          <p:cNvSpPr/>
          <p:nvPr/>
        </p:nvSpPr>
        <p:spPr>
          <a:xfrm>
            <a:off x="6372553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5905469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Snapchat</a:t>
            </a:r>
          </a:p>
        </p:txBody>
      </p:sp>
      <p:sp>
        <p:nvSpPr>
          <p:cNvPr id="37" name="Rectangle 10"/>
          <p:cNvSpPr>
            <a:spLocks noChangeArrowheads="1"/>
          </p:cNvSpPr>
          <p:nvPr/>
        </p:nvSpPr>
        <p:spPr bwMode="auto">
          <a:xfrm>
            <a:off x="6117169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8" name="Rectangle 10"/>
          <p:cNvSpPr>
            <a:spLocks noChangeArrowheads="1"/>
          </p:cNvSpPr>
          <p:nvPr/>
        </p:nvSpPr>
        <p:spPr bwMode="auto">
          <a:xfrm>
            <a:off x="6119820" y="1743266"/>
            <a:ext cx="631818" cy="1453959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39" name="Freeform 11"/>
          <p:cNvSpPr>
            <a:spLocks noEditPoints="1"/>
          </p:cNvSpPr>
          <p:nvPr/>
        </p:nvSpPr>
        <p:spPr bwMode="auto">
          <a:xfrm>
            <a:off x="6113596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0" name="TextBox 39"/>
          <p:cNvSpPr txBox="1"/>
          <p:nvPr/>
        </p:nvSpPr>
        <p:spPr>
          <a:xfrm>
            <a:off x="7147955" y="3441310"/>
            <a:ext cx="106052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5%</a:t>
            </a:r>
          </a:p>
        </p:txBody>
      </p:sp>
      <p:sp>
        <p:nvSpPr>
          <p:cNvPr id="41" name="Oval 40"/>
          <p:cNvSpPr/>
          <p:nvPr/>
        </p:nvSpPr>
        <p:spPr>
          <a:xfrm>
            <a:off x="7615040" y="3829705"/>
            <a:ext cx="126351" cy="126351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2" name="Title 2"/>
          <p:cNvSpPr txBox="1">
            <a:spLocks/>
          </p:cNvSpPr>
          <p:nvPr/>
        </p:nvSpPr>
        <p:spPr>
          <a:xfrm>
            <a:off x="7147955" y="4118015"/>
            <a:ext cx="106052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 err="1">
                <a:solidFill>
                  <a:schemeClr val="accent4"/>
                </a:solidFill>
                <a:latin typeface="Lato" panose="020F0502020204030203" pitchFamily="34" charset="0"/>
              </a:rPr>
              <a:t>Pinterest</a:t>
            </a:r>
            <a:endParaRPr lang="en-US" sz="800" b="0" spc="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44" name="Rectangle 10"/>
          <p:cNvSpPr>
            <a:spLocks noChangeArrowheads="1"/>
          </p:cNvSpPr>
          <p:nvPr/>
        </p:nvSpPr>
        <p:spPr bwMode="auto">
          <a:xfrm>
            <a:off x="7359656" y="1581150"/>
            <a:ext cx="637120" cy="162006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5" name="Rectangle 10"/>
          <p:cNvSpPr>
            <a:spLocks noChangeArrowheads="1"/>
          </p:cNvSpPr>
          <p:nvPr/>
        </p:nvSpPr>
        <p:spPr bwMode="auto">
          <a:xfrm>
            <a:off x="7364957" y="2206142"/>
            <a:ext cx="626518" cy="991083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46" name="Freeform 11"/>
          <p:cNvSpPr>
            <a:spLocks noEditPoints="1"/>
          </p:cNvSpPr>
          <p:nvPr/>
        </p:nvSpPr>
        <p:spPr bwMode="auto">
          <a:xfrm>
            <a:off x="7356083" y="1572781"/>
            <a:ext cx="644266" cy="1636802"/>
          </a:xfrm>
          <a:custGeom>
            <a:avLst/>
            <a:gdLst>
              <a:gd name="T0" fmla="*/ 0 w 2383"/>
              <a:gd name="T1" fmla="*/ 0 h 6061"/>
              <a:gd name="T2" fmla="*/ 0 w 2383"/>
              <a:gd name="T3" fmla="*/ 6061 h 6061"/>
              <a:gd name="T4" fmla="*/ 2383 w 2383"/>
              <a:gd name="T5" fmla="*/ 6061 h 6061"/>
              <a:gd name="T6" fmla="*/ 2383 w 2383"/>
              <a:gd name="T7" fmla="*/ 0 h 6061"/>
              <a:gd name="T8" fmla="*/ 0 w 2383"/>
              <a:gd name="T9" fmla="*/ 0 h 6061"/>
              <a:gd name="T10" fmla="*/ 1191 w 2383"/>
              <a:gd name="T11" fmla="*/ 81 h 6061"/>
              <a:gd name="T12" fmla="*/ 1684 w 2383"/>
              <a:gd name="T13" fmla="*/ 574 h 6061"/>
              <a:gd name="T14" fmla="*/ 1191 w 2383"/>
              <a:gd name="T15" fmla="*/ 1067 h 6061"/>
              <a:gd name="T16" fmla="*/ 699 w 2383"/>
              <a:gd name="T17" fmla="*/ 574 h 6061"/>
              <a:gd name="T18" fmla="*/ 1191 w 2383"/>
              <a:gd name="T19" fmla="*/ 81 h 6061"/>
              <a:gd name="T20" fmla="*/ 2325 w 2383"/>
              <a:gd name="T21" fmla="*/ 3271 h 6061"/>
              <a:gd name="T22" fmla="*/ 2109 w 2383"/>
              <a:gd name="T23" fmla="*/ 3521 h 6061"/>
              <a:gd name="T24" fmla="*/ 1894 w 2383"/>
              <a:gd name="T25" fmla="*/ 3271 h 6061"/>
              <a:gd name="T26" fmla="*/ 1894 w 2383"/>
              <a:gd name="T27" fmla="*/ 1775 h 6061"/>
              <a:gd name="T28" fmla="*/ 1788 w 2383"/>
              <a:gd name="T29" fmla="*/ 1775 h 6061"/>
              <a:gd name="T30" fmla="*/ 1788 w 2383"/>
              <a:gd name="T31" fmla="*/ 5731 h 6061"/>
              <a:gd name="T32" fmla="*/ 1524 w 2383"/>
              <a:gd name="T33" fmla="*/ 5980 h 6061"/>
              <a:gd name="T34" fmla="*/ 1260 w 2383"/>
              <a:gd name="T35" fmla="*/ 5731 h 6061"/>
              <a:gd name="T36" fmla="*/ 1260 w 2383"/>
              <a:gd name="T37" fmla="*/ 3242 h 6061"/>
              <a:gd name="T38" fmla="*/ 1122 w 2383"/>
              <a:gd name="T39" fmla="*/ 3242 h 6061"/>
              <a:gd name="T40" fmla="*/ 1122 w 2383"/>
              <a:gd name="T41" fmla="*/ 5731 h 6061"/>
              <a:gd name="T42" fmla="*/ 858 w 2383"/>
              <a:gd name="T43" fmla="*/ 5980 h 6061"/>
              <a:gd name="T44" fmla="*/ 594 w 2383"/>
              <a:gd name="T45" fmla="*/ 5731 h 6061"/>
              <a:gd name="T46" fmla="*/ 594 w 2383"/>
              <a:gd name="T47" fmla="*/ 1775 h 6061"/>
              <a:gd name="T48" fmla="*/ 488 w 2383"/>
              <a:gd name="T49" fmla="*/ 1775 h 6061"/>
              <a:gd name="T50" fmla="*/ 488 w 2383"/>
              <a:gd name="T51" fmla="*/ 3271 h 6061"/>
              <a:gd name="T52" fmla="*/ 273 w 2383"/>
              <a:gd name="T53" fmla="*/ 3521 h 6061"/>
              <a:gd name="T54" fmla="*/ 58 w 2383"/>
              <a:gd name="T55" fmla="*/ 3271 h 6061"/>
              <a:gd name="T56" fmla="*/ 58 w 2383"/>
              <a:gd name="T57" fmla="*/ 1621 h 6061"/>
              <a:gd name="T58" fmla="*/ 647 w 2383"/>
              <a:gd name="T59" fmla="*/ 1151 h 6061"/>
              <a:gd name="T60" fmla="*/ 1740 w 2383"/>
              <a:gd name="T61" fmla="*/ 1151 h 6061"/>
              <a:gd name="T62" fmla="*/ 2325 w 2383"/>
              <a:gd name="T63" fmla="*/ 1621 h 6061"/>
              <a:gd name="T64" fmla="*/ 2325 w 2383"/>
              <a:gd name="T65" fmla="*/ 3271 h 6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383" h="6061">
                <a:moveTo>
                  <a:pt x="0" y="0"/>
                </a:moveTo>
                <a:cubicBezTo>
                  <a:pt x="0" y="6061"/>
                  <a:pt x="0" y="6061"/>
                  <a:pt x="0" y="6061"/>
                </a:cubicBezTo>
                <a:cubicBezTo>
                  <a:pt x="2383" y="6061"/>
                  <a:pt x="2383" y="6061"/>
                  <a:pt x="2383" y="6061"/>
                </a:cubicBezTo>
                <a:cubicBezTo>
                  <a:pt x="2383" y="0"/>
                  <a:pt x="2383" y="0"/>
                  <a:pt x="2383" y="0"/>
                </a:cubicBezTo>
                <a:lnTo>
                  <a:pt x="0" y="0"/>
                </a:lnTo>
                <a:close/>
                <a:moveTo>
                  <a:pt x="1191" y="81"/>
                </a:moveTo>
                <a:cubicBezTo>
                  <a:pt x="1463" y="81"/>
                  <a:pt x="1684" y="302"/>
                  <a:pt x="1684" y="574"/>
                </a:cubicBezTo>
                <a:cubicBezTo>
                  <a:pt x="1684" y="846"/>
                  <a:pt x="1463" y="1067"/>
                  <a:pt x="1191" y="1067"/>
                </a:cubicBezTo>
                <a:cubicBezTo>
                  <a:pt x="919" y="1067"/>
                  <a:pt x="699" y="846"/>
                  <a:pt x="699" y="574"/>
                </a:cubicBezTo>
                <a:cubicBezTo>
                  <a:pt x="699" y="302"/>
                  <a:pt x="919" y="81"/>
                  <a:pt x="1191" y="81"/>
                </a:cubicBezTo>
                <a:close/>
                <a:moveTo>
                  <a:pt x="2325" y="3271"/>
                </a:moveTo>
                <a:cubicBezTo>
                  <a:pt x="2325" y="3438"/>
                  <a:pt x="2253" y="3521"/>
                  <a:pt x="2109" y="3521"/>
                </a:cubicBezTo>
                <a:cubicBezTo>
                  <a:pt x="1966" y="3521"/>
                  <a:pt x="1894" y="3438"/>
                  <a:pt x="1894" y="3271"/>
                </a:cubicBezTo>
                <a:cubicBezTo>
                  <a:pt x="1894" y="1775"/>
                  <a:pt x="1894" y="1775"/>
                  <a:pt x="1894" y="1775"/>
                </a:cubicBezTo>
                <a:cubicBezTo>
                  <a:pt x="1788" y="1775"/>
                  <a:pt x="1788" y="1775"/>
                  <a:pt x="1788" y="1775"/>
                </a:cubicBezTo>
                <a:cubicBezTo>
                  <a:pt x="1788" y="5731"/>
                  <a:pt x="1788" y="5731"/>
                  <a:pt x="1788" y="5731"/>
                </a:cubicBezTo>
                <a:cubicBezTo>
                  <a:pt x="1788" y="5897"/>
                  <a:pt x="1700" y="5980"/>
                  <a:pt x="1524" y="5980"/>
                </a:cubicBezTo>
                <a:cubicBezTo>
                  <a:pt x="1348" y="5980"/>
                  <a:pt x="1260" y="5897"/>
                  <a:pt x="1260" y="5731"/>
                </a:cubicBezTo>
                <a:cubicBezTo>
                  <a:pt x="1260" y="3242"/>
                  <a:pt x="1260" y="3242"/>
                  <a:pt x="1260" y="3242"/>
                </a:cubicBezTo>
                <a:cubicBezTo>
                  <a:pt x="1122" y="3242"/>
                  <a:pt x="1122" y="3242"/>
                  <a:pt x="1122" y="3242"/>
                </a:cubicBezTo>
                <a:cubicBezTo>
                  <a:pt x="1122" y="5731"/>
                  <a:pt x="1122" y="5731"/>
                  <a:pt x="1122" y="5731"/>
                </a:cubicBezTo>
                <a:cubicBezTo>
                  <a:pt x="1122" y="5897"/>
                  <a:pt x="1034" y="5980"/>
                  <a:pt x="858" y="5980"/>
                </a:cubicBezTo>
                <a:cubicBezTo>
                  <a:pt x="682" y="5980"/>
                  <a:pt x="594" y="5897"/>
                  <a:pt x="594" y="5731"/>
                </a:cubicBezTo>
                <a:cubicBezTo>
                  <a:pt x="594" y="1775"/>
                  <a:pt x="594" y="1775"/>
                  <a:pt x="594" y="1775"/>
                </a:cubicBezTo>
                <a:cubicBezTo>
                  <a:pt x="488" y="1775"/>
                  <a:pt x="488" y="1775"/>
                  <a:pt x="488" y="1775"/>
                </a:cubicBezTo>
                <a:cubicBezTo>
                  <a:pt x="488" y="3271"/>
                  <a:pt x="488" y="3271"/>
                  <a:pt x="488" y="3271"/>
                </a:cubicBezTo>
                <a:cubicBezTo>
                  <a:pt x="488" y="3438"/>
                  <a:pt x="417" y="3521"/>
                  <a:pt x="273" y="3521"/>
                </a:cubicBezTo>
                <a:cubicBezTo>
                  <a:pt x="129" y="3521"/>
                  <a:pt x="58" y="3438"/>
                  <a:pt x="58" y="3271"/>
                </a:cubicBezTo>
                <a:cubicBezTo>
                  <a:pt x="58" y="1621"/>
                  <a:pt x="58" y="1621"/>
                  <a:pt x="58" y="1621"/>
                </a:cubicBezTo>
                <a:cubicBezTo>
                  <a:pt x="58" y="1307"/>
                  <a:pt x="254" y="1151"/>
                  <a:pt x="647" y="1151"/>
                </a:cubicBezTo>
                <a:cubicBezTo>
                  <a:pt x="1740" y="1151"/>
                  <a:pt x="1740" y="1151"/>
                  <a:pt x="1740" y="1151"/>
                </a:cubicBezTo>
                <a:cubicBezTo>
                  <a:pt x="2130" y="1151"/>
                  <a:pt x="2325" y="1307"/>
                  <a:pt x="2325" y="1621"/>
                </a:cubicBezTo>
                <a:lnTo>
                  <a:pt x="2325" y="3271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48" name="Straight Connector 47"/>
          <p:cNvCxnSpPr>
            <a:stCxn id="13" idx="6"/>
            <a:endCxn id="20" idx="2"/>
          </p:cNvCxnSpPr>
          <p:nvPr/>
        </p:nvCxnSpPr>
        <p:spPr>
          <a:xfrm>
            <a:off x="2771446" y="3892881"/>
            <a:ext cx="111613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>
            <a:stCxn id="20" idx="6"/>
            <a:endCxn id="27" idx="2"/>
          </p:cNvCxnSpPr>
          <p:nvPr/>
        </p:nvCxnSpPr>
        <p:spPr>
          <a:xfrm>
            <a:off x="4013932" y="3892881"/>
            <a:ext cx="111613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27" idx="6"/>
            <a:endCxn id="34" idx="2"/>
          </p:cNvCxnSpPr>
          <p:nvPr/>
        </p:nvCxnSpPr>
        <p:spPr>
          <a:xfrm>
            <a:off x="5256418" y="3892881"/>
            <a:ext cx="111613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stCxn id="34" idx="6"/>
            <a:endCxn id="41" idx="2"/>
          </p:cNvCxnSpPr>
          <p:nvPr/>
        </p:nvCxnSpPr>
        <p:spPr>
          <a:xfrm>
            <a:off x="6498904" y="3892881"/>
            <a:ext cx="1116136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602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Cuidado</a:t>
            </a:r>
            <a:r>
              <a:rPr lang="en-US" dirty="0"/>
              <a:t> com o </a:t>
            </a:r>
            <a:r>
              <a:rPr lang="en-US" dirty="0" err="1"/>
              <a:t>client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249747" y="2827403"/>
            <a:ext cx="2203619" cy="490967"/>
            <a:chOff x="1249747" y="2827403"/>
            <a:chExt cx="2203619" cy="490967"/>
          </a:xfrm>
        </p:grpSpPr>
        <p:sp>
          <p:nvSpPr>
            <p:cNvPr id="31" name="TextBox 30"/>
            <p:cNvSpPr txBox="1"/>
            <p:nvPr/>
          </p:nvSpPr>
          <p:spPr>
            <a:xfrm>
              <a:off x="1249776" y="2827403"/>
              <a:ext cx="22035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OV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249747" y="3034061"/>
              <a:ext cx="22036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249747" y="3680809"/>
            <a:ext cx="2203619" cy="489749"/>
            <a:chOff x="1249747" y="3680809"/>
            <a:chExt cx="2203619" cy="489749"/>
          </a:xfrm>
        </p:grpSpPr>
        <p:sp>
          <p:nvSpPr>
            <p:cNvPr id="37" name="TextBox 36"/>
            <p:cNvSpPr txBox="1"/>
            <p:nvPr/>
          </p:nvSpPr>
          <p:spPr>
            <a:xfrm>
              <a:off x="1249776" y="3680809"/>
              <a:ext cx="22035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QUALIDAD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249747" y="3887467"/>
              <a:ext cx="2203619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01158" y="1501145"/>
            <a:ext cx="2835361" cy="1047641"/>
            <a:chOff x="601158" y="1501145"/>
            <a:chExt cx="2835361" cy="1047641"/>
          </a:xfrm>
        </p:grpSpPr>
        <p:sp>
          <p:nvSpPr>
            <p:cNvPr id="46" name="TextBox 45"/>
            <p:cNvSpPr txBox="1"/>
            <p:nvPr/>
          </p:nvSpPr>
          <p:spPr>
            <a:xfrm>
              <a:off x="601158" y="1765302"/>
              <a:ext cx="2835361" cy="7834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gravida libero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celer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 convallis. Cr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el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.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01158" y="1501145"/>
              <a:ext cx="2835361" cy="2207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Demandas</a:t>
              </a:r>
              <a:r>
                <a:rPr lang="en-US" sz="1200" b="1" cap="all" spc="20" dirty="0">
                  <a:solidFill>
                    <a:srgbClr val="EC0000"/>
                  </a:solidFill>
                  <a:latin typeface="Lato" panose="020F0502020204030203" pitchFamily="34" charset="0"/>
                </a:rPr>
                <a:t> do </a:t>
              </a:r>
              <a:r>
                <a:rPr lang="en-US" sz="1200" b="1" cap="all" spc="20" dirty="0" err="1">
                  <a:solidFill>
                    <a:srgbClr val="EC0000"/>
                  </a:solidFill>
                  <a:latin typeface="Lato" panose="020F0502020204030203" pitchFamily="34" charset="0"/>
                </a:rPr>
                <a:t>cliente</a:t>
              </a:r>
              <a:endParaRPr lang="en-US" sz="1200" b="1" cap="all" spc="20" dirty="0">
                <a:solidFill>
                  <a:srgbClr val="EC0000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601158" y="3695096"/>
            <a:ext cx="475461" cy="475461"/>
            <a:chOff x="593725" y="3695097"/>
            <a:chExt cx="404154" cy="404154"/>
          </a:xfrm>
        </p:grpSpPr>
        <p:sp>
          <p:nvSpPr>
            <p:cNvPr id="36" name="Oval 35"/>
            <p:cNvSpPr/>
            <p:nvPr/>
          </p:nvSpPr>
          <p:spPr>
            <a:xfrm>
              <a:off x="593725" y="3695097"/>
              <a:ext cx="404154" cy="40415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683445" y="3797857"/>
              <a:ext cx="220460" cy="206488"/>
              <a:chOff x="4732339" y="3040063"/>
              <a:chExt cx="450850" cy="422276"/>
            </a:xfrm>
            <a:solidFill>
              <a:schemeClr val="bg1"/>
            </a:solidFill>
          </p:grpSpPr>
          <p:sp>
            <p:nvSpPr>
              <p:cNvPr id="49" name="Freeform 172"/>
              <p:cNvSpPr>
                <a:spLocks/>
              </p:cNvSpPr>
              <p:nvPr/>
            </p:nvSpPr>
            <p:spPr bwMode="auto">
              <a:xfrm>
                <a:off x="4837114" y="3040063"/>
                <a:ext cx="241300" cy="17463"/>
              </a:xfrm>
              <a:custGeom>
                <a:avLst/>
                <a:gdLst>
                  <a:gd name="T0" fmla="*/ 10 w 242"/>
                  <a:gd name="T1" fmla="*/ 18 h 18"/>
                  <a:gd name="T2" fmla="*/ 232 w 242"/>
                  <a:gd name="T3" fmla="*/ 18 h 18"/>
                  <a:gd name="T4" fmla="*/ 242 w 242"/>
                  <a:gd name="T5" fmla="*/ 9 h 18"/>
                  <a:gd name="T6" fmla="*/ 232 w 242"/>
                  <a:gd name="T7" fmla="*/ 0 h 18"/>
                  <a:gd name="T8" fmla="*/ 10 w 242"/>
                  <a:gd name="T9" fmla="*/ 0 h 18"/>
                  <a:gd name="T10" fmla="*/ 0 w 242"/>
                  <a:gd name="T11" fmla="*/ 9 h 18"/>
                  <a:gd name="T12" fmla="*/ 10 w 242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18">
                    <a:moveTo>
                      <a:pt x="10" y="18"/>
                    </a:moveTo>
                    <a:cubicBezTo>
                      <a:pt x="232" y="18"/>
                      <a:pt x="232" y="18"/>
                      <a:pt x="232" y="18"/>
                    </a:cubicBezTo>
                    <a:cubicBezTo>
                      <a:pt x="237" y="18"/>
                      <a:pt x="242" y="14"/>
                      <a:pt x="242" y="9"/>
                    </a:cubicBezTo>
                    <a:cubicBezTo>
                      <a:pt x="242" y="4"/>
                      <a:pt x="237" y="0"/>
                      <a:pt x="23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73"/>
              <p:cNvSpPr>
                <a:spLocks noEditPoints="1"/>
              </p:cNvSpPr>
              <p:nvPr/>
            </p:nvSpPr>
            <p:spPr bwMode="auto">
              <a:xfrm>
                <a:off x="4732339" y="3065463"/>
                <a:ext cx="450850" cy="331788"/>
              </a:xfrm>
              <a:custGeom>
                <a:avLst/>
                <a:gdLst>
                  <a:gd name="T0" fmla="*/ 438 w 452"/>
                  <a:gd name="T1" fmla="*/ 29 h 333"/>
                  <a:gd name="T2" fmla="*/ 363 w 452"/>
                  <a:gd name="T3" fmla="*/ 0 h 333"/>
                  <a:gd name="T4" fmla="*/ 337 w 452"/>
                  <a:gd name="T5" fmla="*/ 0 h 333"/>
                  <a:gd name="T6" fmla="*/ 115 w 452"/>
                  <a:gd name="T7" fmla="*/ 0 h 333"/>
                  <a:gd name="T8" fmla="*/ 88 w 452"/>
                  <a:gd name="T9" fmla="*/ 0 h 333"/>
                  <a:gd name="T10" fmla="*/ 14 w 452"/>
                  <a:gd name="T11" fmla="*/ 29 h 333"/>
                  <a:gd name="T12" fmla="*/ 7 w 452"/>
                  <a:gd name="T13" fmla="*/ 91 h 333"/>
                  <a:gd name="T14" fmla="*/ 83 w 452"/>
                  <a:gd name="T15" fmla="*/ 187 h 333"/>
                  <a:gd name="T16" fmla="*/ 88 w 452"/>
                  <a:gd name="T17" fmla="*/ 189 h 333"/>
                  <a:gd name="T18" fmla="*/ 96 w 452"/>
                  <a:gd name="T19" fmla="*/ 185 h 333"/>
                  <a:gd name="T20" fmla="*/ 94 w 452"/>
                  <a:gd name="T21" fmla="*/ 172 h 333"/>
                  <a:gd name="T22" fmla="*/ 25 w 452"/>
                  <a:gd name="T23" fmla="*/ 85 h 333"/>
                  <a:gd name="T24" fmla="*/ 29 w 452"/>
                  <a:gd name="T25" fmla="*/ 40 h 333"/>
                  <a:gd name="T26" fmla="*/ 88 w 452"/>
                  <a:gd name="T27" fmla="*/ 19 h 333"/>
                  <a:gd name="T28" fmla="*/ 105 w 452"/>
                  <a:gd name="T29" fmla="*/ 19 h 333"/>
                  <a:gd name="T30" fmla="*/ 105 w 452"/>
                  <a:gd name="T31" fmla="*/ 140 h 333"/>
                  <a:gd name="T32" fmla="*/ 210 w 452"/>
                  <a:gd name="T33" fmla="*/ 290 h 333"/>
                  <a:gd name="T34" fmla="*/ 210 w 452"/>
                  <a:gd name="T35" fmla="*/ 291 h 333"/>
                  <a:gd name="T36" fmla="*/ 210 w 452"/>
                  <a:gd name="T37" fmla="*/ 324 h 333"/>
                  <a:gd name="T38" fmla="*/ 219 w 452"/>
                  <a:gd name="T39" fmla="*/ 333 h 333"/>
                  <a:gd name="T40" fmla="*/ 229 w 452"/>
                  <a:gd name="T41" fmla="*/ 324 h 333"/>
                  <a:gd name="T42" fmla="*/ 229 w 452"/>
                  <a:gd name="T43" fmla="*/ 291 h 333"/>
                  <a:gd name="T44" fmla="*/ 229 w 452"/>
                  <a:gd name="T45" fmla="*/ 290 h 333"/>
                  <a:gd name="T46" fmla="*/ 347 w 452"/>
                  <a:gd name="T47" fmla="*/ 140 h 333"/>
                  <a:gd name="T48" fmla="*/ 347 w 452"/>
                  <a:gd name="T49" fmla="*/ 19 h 333"/>
                  <a:gd name="T50" fmla="*/ 363 w 452"/>
                  <a:gd name="T51" fmla="*/ 19 h 333"/>
                  <a:gd name="T52" fmla="*/ 423 w 452"/>
                  <a:gd name="T53" fmla="*/ 40 h 333"/>
                  <a:gd name="T54" fmla="*/ 427 w 452"/>
                  <a:gd name="T55" fmla="*/ 85 h 333"/>
                  <a:gd name="T56" fmla="*/ 358 w 452"/>
                  <a:gd name="T57" fmla="*/ 172 h 333"/>
                  <a:gd name="T58" fmla="*/ 356 w 452"/>
                  <a:gd name="T59" fmla="*/ 185 h 333"/>
                  <a:gd name="T60" fmla="*/ 363 w 452"/>
                  <a:gd name="T61" fmla="*/ 189 h 333"/>
                  <a:gd name="T62" fmla="*/ 369 w 452"/>
                  <a:gd name="T63" fmla="*/ 187 h 333"/>
                  <a:gd name="T64" fmla="*/ 444 w 452"/>
                  <a:gd name="T65" fmla="*/ 91 h 333"/>
                  <a:gd name="T66" fmla="*/ 438 w 452"/>
                  <a:gd name="T67" fmla="*/ 29 h 333"/>
                  <a:gd name="T68" fmla="*/ 328 w 452"/>
                  <a:gd name="T69" fmla="*/ 140 h 333"/>
                  <a:gd name="T70" fmla="*/ 220 w 452"/>
                  <a:gd name="T71" fmla="*/ 274 h 333"/>
                  <a:gd name="T72" fmla="*/ 124 w 452"/>
                  <a:gd name="T73" fmla="*/ 140 h 333"/>
                  <a:gd name="T74" fmla="*/ 124 w 452"/>
                  <a:gd name="T75" fmla="*/ 19 h 333"/>
                  <a:gd name="T76" fmla="*/ 328 w 452"/>
                  <a:gd name="T77" fmla="*/ 19 h 333"/>
                  <a:gd name="T78" fmla="*/ 328 w 452"/>
                  <a:gd name="T79" fmla="*/ 14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333">
                    <a:moveTo>
                      <a:pt x="438" y="29"/>
                    </a:moveTo>
                    <a:cubicBezTo>
                      <a:pt x="428" y="16"/>
                      <a:pt x="408" y="0"/>
                      <a:pt x="363" y="0"/>
                    </a:cubicBezTo>
                    <a:cubicBezTo>
                      <a:pt x="337" y="0"/>
                      <a:pt x="337" y="0"/>
                      <a:pt x="337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44" y="0"/>
                      <a:pt x="23" y="16"/>
                      <a:pt x="14" y="29"/>
                    </a:cubicBezTo>
                    <a:cubicBezTo>
                      <a:pt x="2" y="46"/>
                      <a:pt x="0" y="67"/>
                      <a:pt x="7" y="91"/>
                    </a:cubicBezTo>
                    <a:cubicBezTo>
                      <a:pt x="19" y="126"/>
                      <a:pt x="58" y="168"/>
                      <a:pt x="83" y="187"/>
                    </a:cubicBezTo>
                    <a:cubicBezTo>
                      <a:pt x="84" y="188"/>
                      <a:pt x="86" y="189"/>
                      <a:pt x="88" y="189"/>
                    </a:cubicBezTo>
                    <a:cubicBezTo>
                      <a:pt x="91" y="189"/>
                      <a:pt x="94" y="188"/>
                      <a:pt x="96" y="185"/>
                    </a:cubicBezTo>
                    <a:cubicBezTo>
                      <a:pt x="99" y="181"/>
                      <a:pt x="98" y="175"/>
                      <a:pt x="94" y="172"/>
                    </a:cubicBezTo>
                    <a:cubicBezTo>
                      <a:pt x="72" y="155"/>
                      <a:pt x="36" y="116"/>
                      <a:pt x="25" y="85"/>
                    </a:cubicBezTo>
                    <a:cubicBezTo>
                      <a:pt x="19" y="67"/>
                      <a:pt x="21" y="51"/>
                      <a:pt x="29" y="40"/>
                    </a:cubicBezTo>
                    <a:cubicBezTo>
                      <a:pt x="39" y="26"/>
                      <a:pt x="60" y="19"/>
                      <a:pt x="88" y="19"/>
                    </a:cubicBezTo>
                    <a:cubicBezTo>
                      <a:pt x="105" y="19"/>
                      <a:pt x="105" y="19"/>
                      <a:pt x="105" y="19"/>
                    </a:cubicBezTo>
                    <a:cubicBezTo>
                      <a:pt x="105" y="140"/>
                      <a:pt x="105" y="140"/>
                      <a:pt x="105" y="140"/>
                    </a:cubicBezTo>
                    <a:cubicBezTo>
                      <a:pt x="105" y="227"/>
                      <a:pt x="188" y="278"/>
                      <a:pt x="210" y="290"/>
                    </a:cubicBezTo>
                    <a:cubicBezTo>
                      <a:pt x="210" y="290"/>
                      <a:pt x="210" y="291"/>
                      <a:pt x="210" y="291"/>
                    </a:cubicBezTo>
                    <a:cubicBezTo>
                      <a:pt x="210" y="324"/>
                      <a:pt x="210" y="324"/>
                      <a:pt x="210" y="324"/>
                    </a:cubicBezTo>
                    <a:cubicBezTo>
                      <a:pt x="210" y="329"/>
                      <a:pt x="214" y="333"/>
                      <a:pt x="219" y="333"/>
                    </a:cubicBezTo>
                    <a:cubicBezTo>
                      <a:pt x="225" y="333"/>
                      <a:pt x="229" y="329"/>
                      <a:pt x="229" y="324"/>
                    </a:cubicBezTo>
                    <a:cubicBezTo>
                      <a:pt x="229" y="291"/>
                      <a:pt x="229" y="291"/>
                      <a:pt x="229" y="291"/>
                    </a:cubicBezTo>
                    <a:cubicBezTo>
                      <a:pt x="229" y="291"/>
                      <a:pt x="229" y="290"/>
                      <a:pt x="229" y="290"/>
                    </a:cubicBezTo>
                    <a:cubicBezTo>
                      <a:pt x="253" y="278"/>
                      <a:pt x="347" y="227"/>
                      <a:pt x="347" y="140"/>
                    </a:cubicBezTo>
                    <a:cubicBezTo>
                      <a:pt x="347" y="19"/>
                      <a:pt x="347" y="19"/>
                      <a:pt x="347" y="19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92" y="19"/>
                      <a:pt x="413" y="26"/>
                      <a:pt x="423" y="40"/>
                    </a:cubicBezTo>
                    <a:cubicBezTo>
                      <a:pt x="431" y="51"/>
                      <a:pt x="432" y="67"/>
                      <a:pt x="427" y="85"/>
                    </a:cubicBezTo>
                    <a:cubicBezTo>
                      <a:pt x="419" y="109"/>
                      <a:pt x="378" y="156"/>
                      <a:pt x="358" y="172"/>
                    </a:cubicBezTo>
                    <a:cubicBezTo>
                      <a:pt x="354" y="175"/>
                      <a:pt x="353" y="181"/>
                      <a:pt x="356" y="185"/>
                    </a:cubicBezTo>
                    <a:cubicBezTo>
                      <a:pt x="358" y="188"/>
                      <a:pt x="361" y="189"/>
                      <a:pt x="363" y="189"/>
                    </a:cubicBezTo>
                    <a:cubicBezTo>
                      <a:pt x="365" y="189"/>
                      <a:pt x="368" y="188"/>
                      <a:pt x="369" y="187"/>
                    </a:cubicBezTo>
                    <a:cubicBezTo>
                      <a:pt x="392" y="169"/>
                      <a:pt x="435" y="119"/>
                      <a:pt x="444" y="91"/>
                    </a:cubicBezTo>
                    <a:cubicBezTo>
                      <a:pt x="452" y="67"/>
                      <a:pt x="450" y="46"/>
                      <a:pt x="438" y="29"/>
                    </a:cubicBezTo>
                    <a:close/>
                    <a:moveTo>
                      <a:pt x="328" y="140"/>
                    </a:moveTo>
                    <a:cubicBezTo>
                      <a:pt x="328" y="217"/>
                      <a:pt x="240" y="264"/>
                      <a:pt x="220" y="274"/>
                    </a:cubicBezTo>
                    <a:cubicBezTo>
                      <a:pt x="201" y="264"/>
                      <a:pt x="124" y="217"/>
                      <a:pt x="124" y="140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328" y="19"/>
                      <a:pt x="328" y="19"/>
                      <a:pt x="328" y="19"/>
                    </a:cubicBezTo>
                    <a:lnTo>
                      <a:pt x="328" y="1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174"/>
              <p:cNvSpPr>
                <a:spLocks noEditPoints="1"/>
              </p:cNvSpPr>
              <p:nvPr/>
            </p:nvSpPr>
            <p:spPr bwMode="auto">
              <a:xfrm>
                <a:off x="4849814" y="3403601"/>
                <a:ext cx="201613" cy="58738"/>
              </a:xfrm>
              <a:custGeom>
                <a:avLst/>
                <a:gdLst>
                  <a:gd name="T0" fmla="*/ 173 w 202"/>
                  <a:gd name="T1" fmla="*/ 0 h 58"/>
                  <a:gd name="T2" fmla="*/ 29 w 202"/>
                  <a:gd name="T3" fmla="*/ 0 h 58"/>
                  <a:gd name="T4" fmla="*/ 0 w 202"/>
                  <a:gd name="T5" fmla="*/ 29 h 58"/>
                  <a:gd name="T6" fmla="*/ 0 w 202"/>
                  <a:gd name="T7" fmla="*/ 49 h 58"/>
                  <a:gd name="T8" fmla="*/ 10 w 202"/>
                  <a:gd name="T9" fmla="*/ 58 h 58"/>
                  <a:gd name="T10" fmla="*/ 193 w 202"/>
                  <a:gd name="T11" fmla="*/ 58 h 58"/>
                  <a:gd name="T12" fmla="*/ 202 w 202"/>
                  <a:gd name="T13" fmla="*/ 49 h 58"/>
                  <a:gd name="T14" fmla="*/ 202 w 202"/>
                  <a:gd name="T15" fmla="*/ 30 h 58"/>
                  <a:gd name="T16" fmla="*/ 173 w 202"/>
                  <a:gd name="T17" fmla="*/ 0 h 58"/>
                  <a:gd name="T18" fmla="*/ 184 w 202"/>
                  <a:gd name="T19" fmla="*/ 40 h 58"/>
                  <a:gd name="T20" fmla="*/ 19 w 202"/>
                  <a:gd name="T21" fmla="*/ 40 h 58"/>
                  <a:gd name="T22" fmla="*/ 19 w 202"/>
                  <a:gd name="T23" fmla="*/ 29 h 58"/>
                  <a:gd name="T24" fmla="*/ 29 w 202"/>
                  <a:gd name="T25" fmla="*/ 19 h 58"/>
                  <a:gd name="T26" fmla="*/ 173 w 202"/>
                  <a:gd name="T27" fmla="*/ 19 h 58"/>
                  <a:gd name="T28" fmla="*/ 184 w 202"/>
                  <a:gd name="T29" fmla="*/ 30 h 58"/>
                  <a:gd name="T30" fmla="*/ 184 w 202"/>
                  <a:gd name="T31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2" h="58">
                    <a:moveTo>
                      <a:pt x="173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4" y="58"/>
                      <a:pt x="10" y="58"/>
                    </a:cubicBezTo>
                    <a:cubicBezTo>
                      <a:pt x="193" y="58"/>
                      <a:pt x="193" y="58"/>
                      <a:pt x="193" y="58"/>
                    </a:cubicBezTo>
                    <a:cubicBezTo>
                      <a:pt x="198" y="58"/>
                      <a:pt x="202" y="54"/>
                      <a:pt x="202" y="49"/>
                    </a:cubicBezTo>
                    <a:cubicBezTo>
                      <a:pt x="202" y="30"/>
                      <a:pt x="202" y="30"/>
                      <a:pt x="202" y="30"/>
                    </a:cubicBezTo>
                    <a:cubicBezTo>
                      <a:pt x="202" y="14"/>
                      <a:pt x="190" y="0"/>
                      <a:pt x="173" y="0"/>
                    </a:cubicBezTo>
                    <a:close/>
                    <a:moveTo>
                      <a:pt x="184" y="40"/>
                    </a:move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3"/>
                      <a:pt x="23" y="19"/>
                      <a:pt x="29" y="19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79" y="19"/>
                      <a:pt x="184" y="24"/>
                      <a:pt x="184" y="30"/>
                    </a:cubicBezTo>
                    <a:lnTo>
                      <a:pt x="184" y="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6" name="Group 55"/>
          <p:cNvGrpSpPr/>
          <p:nvPr/>
        </p:nvGrpSpPr>
        <p:grpSpPr>
          <a:xfrm>
            <a:off x="601158" y="2841690"/>
            <a:ext cx="475461" cy="475461"/>
            <a:chOff x="593725" y="2841691"/>
            <a:chExt cx="404154" cy="404154"/>
          </a:xfrm>
        </p:grpSpPr>
        <p:sp>
          <p:nvSpPr>
            <p:cNvPr id="30" name="Oval 29"/>
            <p:cNvSpPr/>
            <p:nvPr/>
          </p:nvSpPr>
          <p:spPr>
            <a:xfrm>
              <a:off x="593725" y="2841691"/>
              <a:ext cx="404154" cy="4041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717147" y="2930249"/>
              <a:ext cx="157311" cy="227038"/>
              <a:chOff x="7197726" y="3717925"/>
              <a:chExt cx="293688" cy="423863"/>
            </a:xfrm>
            <a:solidFill>
              <a:schemeClr val="bg1"/>
            </a:solidFill>
          </p:grpSpPr>
          <p:sp>
            <p:nvSpPr>
              <p:cNvPr id="53" name="Freeform 225"/>
              <p:cNvSpPr>
                <a:spLocks/>
              </p:cNvSpPr>
              <p:nvPr/>
            </p:nvSpPr>
            <p:spPr bwMode="auto">
              <a:xfrm>
                <a:off x="7197726" y="3717925"/>
                <a:ext cx="293688" cy="354013"/>
              </a:xfrm>
              <a:custGeom>
                <a:avLst/>
                <a:gdLst>
                  <a:gd name="T0" fmla="*/ 248 w 294"/>
                  <a:gd name="T1" fmla="*/ 40 h 356"/>
                  <a:gd name="T2" fmla="*/ 147 w 294"/>
                  <a:gd name="T3" fmla="*/ 0 h 356"/>
                  <a:gd name="T4" fmla="*/ 45 w 294"/>
                  <a:gd name="T5" fmla="*/ 41 h 356"/>
                  <a:gd name="T6" fmla="*/ 0 w 294"/>
                  <a:gd name="T7" fmla="*/ 147 h 356"/>
                  <a:gd name="T8" fmla="*/ 53 w 294"/>
                  <a:gd name="T9" fmla="*/ 259 h 356"/>
                  <a:gd name="T10" fmla="*/ 53 w 294"/>
                  <a:gd name="T11" fmla="*/ 259 h 356"/>
                  <a:gd name="T12" fmla="*/ 53 w 294"/>
                  <a:gd name="T13" fmla="*/ 259 h 356"/>
                  <a:gd name="T14" fmla="*/ 78 w 294"/>
                  <a:gd name="T15" fmla="*/ 301 h 356"/>
                  <a:gd name="T16" fmla="*/ 78 w 294"/>
                  <a:gd name="T17" fmla="*/ 307 h 356"/>
                  <a:gd name="T18" fmla="*/ 78 w 294"/>
                  <a:gd name="T19" fmla="*/ 308 h 356"/>
                  <a:gd name="T20" fmla="*/ 78 w 294"/>
                  <a:gd name="T21" fmla="*/ 310 h 356"/>
                  <a:gd name="T22" fmla="*/ 91 w 294"/>
                  <a:gd name="T23" fmla="*/ 333 h 356"/>
                  <a:gd name="T24" fmla="*/ 92 w 294"/>
                  <a:gd name="T25" fmla="*/ 333 h 356"/>
                  <a:gd name="T26" fmla="*/ 198 w 294"/>
                  <a:gd name="T27" fmla="*/ 356 h 356"/>
                  <a:gd name="T28" fmla="*/ 200 w 294"/>
                  <a:gd name="T29" fmla="*/ 356 h 356"/>
                  <a:gd name="T30" fmla="*/ 209 w 294"/>
                  <a:gd name="T31" fmla="*/ 349 h 356"/>
                  <a:gd name="T32" fmla="*/ 202 w 294"/>
                  <a:gd name="T33" fmla="*/ 338 h 356"/>
                  <a:gd name="T34" fmla="*/ 97 w 294"/>
                  <a:gd name="T35" fmla="*/ 315 h 356"/>
                  <a:gd name="T36" fmla="*/ 97 w 294"/>
                  <a:gd name="T37" fmla="*/ 311 h 356"/>
                  <a:gd name="T38" fmla="*/ 97 w 294"/>
                  <a:gd name="T39" fmla="*/ 308 h 356"/>
                  <a:gd name="T40" fmla="*/ 97 w 294"/>
                  <a:gd name="T41" fmla="*/ 301 h 356"/>
                  <a:gd name="T42" fmla="*/ 66 w 294"/>
                  <a:gd name="T43" fmla="*/ 245 h 356"/>
                  <a:gd name="T44" fmla="*/ 64 w 294"/>
                  <a:gd name="T45" fmla="*/ 244 h 356"/>
                  <a:gd name="T46" fmla="*/ 18 w 294"/>
                  <a:gd name="T47" fmla="*/ 147 h 356"/>
                  <a:gd name="T48" fmla="*/ 147 w 294"/>
                  <a:gd name="T49" fmla="*/ 19 h 356"/>
                  <a:gd name="T50" fmla="*/ 275 w 294"/>
                  <a:gd name="T51" fmla="*/ 147 h 356"/>
                  <a:gd name="T52" fmla="*/ 229 w 294"/>
                  <a:gd name="T53" fmla="*/ 244 h 356"/>
                  <a:gd name="T54" fmla="*/ 228 w 294"/>
                  <a:gd name="T55" fmla="*/ 245 h 356"/>
                  <a:gd name="T56" fmla="*/ 196 w 294"/>
                  <a:gd name="T57" fmla="*/ 301 h 356"/>
                  <a:gd name="T58" fmla="*/ 196 w 294"/>
                  <a:gd name="T59" fmla="*/ 301 h 356"/>
                  <a:gd name="T60" fmla="*/ 143 w 294"/>
                  <a:gd name="T61" fmla="*/ 288 h 356"/>
                  <a:gd name="T62" fmla="*/ 132 w 294"/>
                  <a:gd name="T63" fmla="*/ 295 h 356"/>
                  <a:gd name="T64" fmla="*/ 139 w 294"/>
                  <a:gd name="T65" fmla="*/ 307 h 356"/>
                  <a:gd name="T66" fmla="*/ 193 w 294"/>
                  <a:gd name="T67" fmla="*/ 319 h 356"/>
                  <a:gd name="T68" fmla="*/ 208 w 294"/>
                  <a:gd name="T69" fmla="*/ 317 h 356"/>
                  <a:gd name="T70" fmla="*/ 215 w 294"/>
                  <a:gd name="T71" fmla="*/ 304 h 356"/>
                  <a:gd name="T72" fmla="*/ 215 w 294"/>
                  <a:gd name="T73" fmla="*/ 304 h 356"/>
                  <a:gd name="T74" fmla="*/ 215 w 294"/>
                  <a:gd name="T75" fmla="*/ 303 h 356"/>
                  <a:gd name="T76" fmla="*/ 215 w 294"/>
                  <a:gd name="T77" fmla="*/ 302 h 356"/>
                  <a:gd name="T78" fmla="*/ 215 w 294"/>
                  <a:gd name="T79" fmla="*/ 301 h 356"/>
                  <a:gd name="T80" fmla="*/ 215 w 294"/>
                  <a:gd name="T81" fmla="*/ 301 h 356"/>
                  <a:gd name="T82" fmla="*/ 240 w 294"/>
                  <a:gd name="T83" fmla="*/ 259 h 356"/>
                  <a:gd name="T84" fmla="*/ 241 w 294"/>
                  <a:gd name="T85" fmla="*/ 259 h 356"/>
                  <a:gd name="T86" fmla="*/ 241 w 294"/>
                  <a:gd name="T87" fmla="*/ 259 h 356"/>
                  <a:gd name="T88" fmla="*/ 294 w 294"/>
                  <a:gd name="T89" fmla="*/ 147 h 356"/>
                  <a:gd name="T90" fmla="*/ 248 w 294"/>
                  <a:gd name="T91" fmla="*/ 4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4" h="356">
                    <a:moveTo>
                      <a:pt x="248" y="40"/>
                    </a:moveTo>
                    <a:cubicBezTo>
                      <a:pt x="220" y="14"/>
                      <a:pt x="184" y="0"/>
                      <a:pt x="147" y="0"/>
                    </a:cubicBezTo>
                    <a:cubicBezTo>
                      <a:pt x="109" y="0"/>
                      <a:pt x="72" y="15"/>
                      <a:pt x="45" y="41"/>
                    </a:cubicBezTo>
                    <a:cubicBezTo>
                      <a:pt x="16" y="68"/>
                      <a:pt x="0" y="106"/>
                      <a:pt x="0" y="147"/>
                    </a:cubicBezTo>
                    <a:cubicBezTo>
                      <a:pt x="0" y="192"/>
                      <a:pt x="17" y="229"/>
                      <a:pt x="53" y="259"/>
                    </a:cubicBezTo>
                    <a:cubicBezTo>
                      <a:pt x="53" y="259"/>
                      <a:pt x="53" y="259"/>
                      <a:pt x="53" y="259"/>
                    </a:cubicBezTo>
                    <a:cubicBezTo>
                      <a:pt x="53" y="259"/>
                      <a:pt x="53" y="259"/>
                      <a:pt x="53" y="259"/>
                    </a:cubicBezTo>
                    <a:cubicBezTo>
                      <a:pt x="78" y="286"/>
                      <a:pt x="78" y="291"/>
                      <a:pt x="78" y="301"/>
                    </a:cubicBezTo>
                    <a:cubicBezTo>
                      <a:pt x="78" y="306"/>
                      <a:pt x="78" y="307"/>
                      <a:pt x="78" y="307"/>
                    </a:cubicBezTo>
                    <a:cubicBezTo>
                      <a:pt x="78" y="307"/>
                      <a:pt x="78" y="308"/>
                      <a:pt x="78" y="308"/>
                    </a:cubicBezTo>
                    <a:cubicBezTo>
                      <a:pt x="78" y="309"/>
                      <a:pt x="78" y="310"/>
                      <a:pt x="78" y="310"/>
                    </a:cubicBezTo>
                    <a:cubicBezTo>
                      <a:pt x="78" y="316"/>
                      <a:pt x="78" y="328"/>
                      <a:pt x="91" y="333"/>
                    </a:cubicBezTo>
                    <a:cubicBezTo>
                      <a:pt x="92" y="333"/>
                      <a:pt x="92" y="333"/>
                      <a:pt x="92" y="333"/>
                    </a:cubicBezTo>
                    <a:cubicBezTo>
                      <a:pt x="198" y="356"/>
                      <a:pt x="198" y="356"/>
                      <a:pt x="198" y="356"/>
                    </a:cubicBezTo>
                    <a:cubicBezTo>
                      <a:pt x="199" y="356"/>
                      <a:pt x="200" y="356"/>
                      <a:pt x="200" y="356"/>
                    </a:cubicBezTo>
                    <a:cubicBezTo>
                      <a:pt x="205" y="356"/>
                      <a:pt x="208" y="353"/>
                      <a:pt x="209" y="349"/>
                    </a:cubicBezTo>
                    <a:cubicBezTo>
                      <a:pt x="211" y="344"/>
                      <a:pt x="207" y="339"/>
                      <a:pt x="202" y="338"/>
                    </a:cubicBezTo>
                    <a:cubicBezTo>
                      <a:pt x="97" y="315"/>
                      <a:pt x="97" y="315"/>
                      <a:pt x="97" y="315"/>
                    </a:cubicBezTo>
                    <a:cubicBezTo>
                      <a:pt x="97" y="314"/>
                      <a:pt x="97" y="312"/>
                      <a:pt x="97" y="311"/>
                    </a:cubicBezTo>
                    <a:cubicBezTo>
                      <a:pt x="97" y="310"/>
                      <a:pt x="97" y="309"/>
                      <a:pt x="97" y="308"/>
                    </a:cubicBezTo>
                    <a:cubicBezTo>
                      <a:pt x="97" y="307"/>
                      <a:pt x="97" y="305"/>
                      <a:pt x="97" y="301"/>
                    </a:cubicBezTo>
                    <a:cubicBezTo>
                      <a:pt x="97" y="282"/>
                      <a:pt x="92" y="273"/>
                      <a:pt x="66" y="245"/>
                    </a:cubicBezTo>
                    <a:cubicBezTo>
                      <a:pt x="65" y="245"/>
                      <a:pt x="64" y="244"/>
                      <a:pt x="64" y="244"/>
                    </a:cubicBezTo>
                    <a:cubicBezTo>
                      <a:pt x="34" y="218"/>
                      <a:pt x="18" y="185"/>
                      <a:pt x="18" y="147"/>
                    </a:cubicBezTo>
                    <a:cubicBezTo>
                      <a:pt x="18" y="68"/>
                      <a:pt x="85" y="19"/>
                      <a:pt x="147" y="19"/>
                    </a:cubicBezTo>
                    <a:cubicBezTo>
                      <a:pt x="210" y="19"/>
                      <a:pt x="275" y="67"/>
                      <a:pt x="275" y="147"/>
                    </a:cubicBezTo>
                    <a:cubicBezTo>
                      <a:pt x="275" y="199"/>
                      <a:pt x="249" y="227"/>
                      <a:pt x="229" y="244"/>
                    </a:cubicBezTo>
                    <a:cubicBezTo>
                      <a:pt x="229" y="244"/>
                      <a:pt x="228" y="245"/>
                      <a:pt x="228" y="245"/>
                    </a:cubicBezTo>
                    <a:cubicBezTo>
                      <a:pt x="201" y="274"/>
                      <a:pt x="196" y="282"/>
                      <a:pt x="196" y="301"/>
                    </a:cubicBezTo>
                    <a:cubicBezTo>
                      <a:pt x="196" y="301"/>
                      <a:pt x="196" y="301"/>
                      <a:pt x="196" y="301"/>
                    </a:cubicBezTo>
                    <a:cubicBezTo>
                      <a:pt x="143" y="288"/>
                      <a:pt x="143" y="288"/>
                      <a:pt x="143" y="288"/>
                    </a:cubicBezTo>
                    <a:cubicBezTo>
                      <a:pt x="138" y="287"/>
                      <a:pt x="133" y="290"/>
                      <a:pt x="132" y="295"/>
                    </a:cubicBezTo>
                    <a:cubicBezTo>
                      <a:pt x="131" y="300"/>
                      <a:pt x="134" y="305"/>
                      <a:pt x="139" y="307"/>
                    </a:cubicBezTo>
                    <a:cubicBezTo>
                      <a:pt x="193" y="319"/>
                      <a:pt x="193" y="319"/>
                      <a:pt x="193" y="319"/>
                    </a:cubicBezTo>
                    <a:cubicBezTo>
                      <a:pt x="196" y="320"/>
                      <a:pt x="202" y="322"/>
                      <a:pt x="208" y="317"/>
                    </a:cubicBezTo>
                    <a:cubicBezTo>
                      <a:pt x="211" y="315"/>
                      <a:pt x="214" y="311"/>
                      <a:pt x="215" y="304"/>
                    </a:cubicBezTo>
                    <a:cubicBezTo>
                      <a:pt x="215" y="304"/>
                      <a:pt x="215" y="304"/>
                      <a:pt x="215" y="304"/>
                    </a:cubicBezTo>
                    <a:cubicBezTo>
                      <a:pt x="215" y="304"/>
                      <a:pt x="215" y="304"/>
                      <a:pt x="215" y="303"/>
                    </a:cubicBezTo>
                    <a:cubicBezTo>
                      <a:pt x="215" y="303"/>
                      <a:pt x="215" y="302"/>
                      <a:pt x="215" y="302"/>
                    </a:cubicBezTo>
                    <a:cubicBezTo>
                      <a:pt x="215" y="302"/>
                      <a:pt x="215" y="302"/>
                      <a:pt x="215" y="301"/>
                    </a:cubicBezTo>
                    <a:cubicBezTo>
                      <a:pt x="215" y="301"/>
                      <a:pt x="215" y="301"/>
                      <a:pt x="215" y="301"/>
                    </a:cubicBezTo>
                    <a:cubicBezTo>
                      <a:pt x="215" y="291"/>
                      <a:pt x="215" y="286"/>
                      <a:pt x="240" y="259"/>
                    </a:cubicBezTo>
                    <a:cubicBezTo>
                      <a:pt x="240" y="259"/>
                      <a:pt x="241" y="259"/>
                      <a:pt x="241" y="259"/>
                    </a:cubicBezTo>
                    <a:cubicBezTo>
                      <a:pt x="241" y="259"/>
                      <a:pt x="241" y="259"/>
                      <a:pt x="241" y="259"/>
                    </a:cubicBezTo>
                    <a:cubicBezTo>
                      <a:pt x="276" y="229"/>
                      <a:pt x="294" y="192"/>
                      <a:pt x="294" y="147"/>
                    </a:cubicBezTo>
                    <a:cubicBezTo>
                      <a:pt x="294" y="105"/>
                      <a:pt x="277" y="67"/>
                      <a:pt x="248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226"/>
              <p:cNvSpPr>
                <a:spLocks/>
              </p:cNvSpPr>
              <p:nvPr/>
            </p:nvSpPr>
            <p:spPr bwMode="auto">
              <a:xfrm>
                <a:off x="7281863" y="4065588"/>
                <a:ext cx="123825" cy="42863"/>
              </a:xfrm>
              <a:custGeom>
                <a:avLst/>
                <a:gdLst>
                  <a:gd name="T0" fmla="*/ 117 w 125"/>
                  <a:gd name="T1" fmla="*/ 25 h 43"/>
                  <a:gd name="T2" fmla="*/ 12 w 125"/>
                  <a:gd name="T3" fmla="*/ 1 h 43"/>
                  <a:gd name="T4" fmla="*/ 1 w 125"/>
                  <a:gd name="T5" fmla="*/ 8 h 43"/>
                  <a:gd name="T6" fmla="*/ 8 w 125"/>
                  <a:gd name="T7" fmla="*/ 19 h 43"/>
                  <a:gd name="T8" fmla="*/ 113 w 125"/>
                  <a:gd name="T9" fmla="*/ 43 h 43"/>
                  <a:gd name="T10" fmla="*/ 115 w 125"/>
                  <a:gd name="T11" fmla="*/ 43 h 43"/>
                  <a:gd name="T12" fmla="*/ 124 w 125"/>
                  <a:gd name="T13" fmla="*/ 36 h 43"/>
                  <a:gd name="T14" fmla="*/ 117 w 125"/>
                  <a:gd name="T15" fmla="*/ 2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5" h="43">
                    <a:moveTo>
                      <a:pt x="117" y="25"/>
                    </a:moveTo>
                    <a:cubicBezTo>
                      <a:pt x="12" y="1"/>
                      <a:pt x="12" y="1"/>
                      <a:pt x="12" y="1"/>
                    </a:cubicBezTo>
                    <a:cubicBezTo>
                      <a:pt x="7" y="0"/>
                      <a:pt x="2" y="3"/>
                      <a:pt x="1" y="8"/>
                    </a:cubicBezTo>
                    <a:cubicBezTo>
                      <a:pt x="0" y="13"/>
                      <a:pt x="3" y="18"/>
                      <a:pt x="8" y="19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4" y="43"/>
                      <a:pt x="114" y="43"/>
                      <a:pt x="115" y="43"/>
                    </a:cubicBezTo>
                    <a:cubicBezTo>
                      <a:pt x="119" y="43"/>
                      <a:pt x="123" y="40"/>
                      <a:pt x="124" y="36"/>
                    </a:cubicBezTo>
                    <a:cubicBezTo>
                      <a:pt x="125" y="31"/>
                      <a:pt x="122" y="26"/>
                      <a:pt x="117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227"/>
              <p:cNvSpPr>
                <a:spLocks/>
              </p:cNvSpPr>
              <p:nvPr/>
            </p:nvSpPr>
            <p:spPr bwMode="auto">
              <a:xfrm>
                <a:off x="7288213" y="4102100"/>
                <a:ext cx="104775" cy="39688"/>
              </a:xfrm>
              <a:custGeom>
                <a:avLst/>
                <a:gdLst>
                  <a:gd name="T0" fmla="*/ 98 w 106"/>
                  <a:gd name="T1" fmla="*/ 20 h 39"/>
                  <a:gd name="T2" fmla="*/ 13 w 106"/>
                  <a:gd name="T3" fmla="*/ 1 h 39"/>
                  <a:gd name="T4" fmla="*/ 2 w 106"/>
                  <a:gd name="T5" fmla="*/ 8 h 39"/>
                  <a:gd name="T6" fmla="*/ 9 w 106"/>
                  <a:gd name="T7" fmla="*/ 19 h 39"/>
                  <a:gd name="T8" fmla="*/ 94 w 106"/>
                  <a:gd name="T9" fmla="*/ 39 h 39"/>
                  <a:gd name="T10" fmla="*/ 96 w 106"/>
                  <a:gd name="T11" fmla="*/ 39 h 39"/>
                  <a:gd name="T12" fmla="*/ 105 w 106"/>
                  <a:gd name="T13" fmla="*/ 31 h 39"/>
                  <a:gd name="T14" fmla="*/ 98 w 106"/>
                  <a:gd name="T15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39">
                    <a:moveTo>
                      <a:pt x="98" y="20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8" y="0"/>
                      <a:pt x="3" y="3"/>
                      <a:pt x="2" y="8"/>
                    </a:cubicBezTo>
                    <a:cubicBezTo>
                      <a:pt x="0" y="13"/>
                      <a:pt x="4" y="18"/>
                      <a:pt x="9" y="19"/>
                    </a:cubicBezTo>
                    <a:cubicBezTo>
                      <a:pt x="94" y="39"/>
                      <a:pt x="94" y="39"/>
                      <a:pt x="94" y="39"/>
                    </a:cubicBezTo>
                    <a:cubicBezTo>
                      <a:pt x="95" y="39"/>
                      <a:pt x="95" y="39"/>
                      <a:pt x="96" y="39"/>
                    </a:cubicBezTo>
                    <a:cubicBezTo>
                      <a:pt x="100" y="39"/>
                      <a:pt x="104" y="36"/>
                      <a:pt x="105" y="31"/>
                    </a:cubicBezTo>
                    <a:cubicBezTo>
                      <a:pt x="106" y="26"/>
                      <a:pt x="103" y="21"/>
                      <a:pt x="98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6" name="Rectangle 85"/>
          <p:cNvSpPr/>
          <p:nvPr/>
        </p:nvSpPr>
        <p:spPr>
          <a:xfrm>
            <a:off x="4965194" y="1532944"/>
            <a:ext cx="1135547" cy="28024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sp>
        <p:nvSpPr>
          <p:cNvPr id="87" name="Rectangle 86"/>
          <p:cNvSpPr/>
          <p:nvPr/>
        </p:nvSpPr>
        <p:spPr>
          <a:xfrm>
            <a:off x="4965194" y="1532944"/>
            <a:ext cx="1135547" cy="36827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sp>
        <p:nvSpPr>
          <p:cNvPr id="88" name="Rectangle 87"/>
          <p:cNvSpPr/>
          <p:nvPr/>
        </p:nvSpPr>
        <p:spPr>
          <a:xfrm>
            <a:off x="4965194" y="1901224"/>
            <a:ext cx="1135547" cy="8753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sp>
        <p:nvSpPr>
          <p:cNvPr id="89" name="Rectangle 88"/>
          <p:cNvSpPr/>
          <p:nvPr/>
        </p:nvSpPr>
        <p:spPr>
          <a:xfrm>
            <a:off x="4965194" y="2766072"/>
            <a:ext cx="1135547" cy="8390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sp>
        <p:nvSpPr>
          <p:cNvPr id="90" name="Rectangle 89"/>
          <p:cNvSpPr/>
          <p:nvPr/>
        </p:nvSpPr>
        <p:spPr>
          <a:xfrm>
            <a:off x="4965194" y="3605105"/>
            <a:ext cx="1135547" cy="750125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sp>
        <p:nvSpPr>
          <p:cNvPr id="91" name="Freeform 90"/>
          <p:cNvSpPr/>
          <p:nvPr/>
        </p:nvSpPr>
        <p:spPr>
          <a:xfrm>
            <a:off x="4913725" y="1457659"/>
            <a:ext cx="1238485" cy="2953062"/>
          </a:xfrm>
          <a:custGeom>
            <a:avLst/>
            <a:gdLst>
              <a:gd name="connsiteX0" fmla="*/ 985561 w 3259667"/>
              <a:gd name="connsiteY0" fmla="*/ 1652332 h 7772400"/>
              <a:gd name="connsiteX1" fmla="*/ 229681 w 3259667"/>
              <a:gd name="connsiteY1" fmla="*/ 2407062 h 7772400"/>
              <a:gd name="connsiteX2" fmla="*/ 229681 w 3259667"/>
              <a:gd name="connsiteY2" fmla="*/ 2511459 h 7772400"/>
              <a:gd name="connsiteX3" fmla="*/ 229681 w 3259667"/>
              <a:gd name="connsiteY3" fmla="*/ 2586167 h 7772400"/>
              <a:gd name="connsiteX4" fmla="*/ 229681 w 3259667"/>
              <a:gd name="connsiteY4" fmla="*/ 4233544 h 7772400"/>
              <a:gd name="connsiteX5" fmla="*/ 477809 w 3259667"/>
              <a:gd name="connsiteY5" fmla="*/ 4481608 h 7772400"/>
              <a:gd name="connsiteX6" fmla="*/ 725938 w 3259667"/>
              <a:gd name="connsiteY6" fmla="*/ 4233544 h 7772400"/>
              <a:gd name="connsiteX7" fmla="*/ 725938 w 3259667"/>
              <a:gd name="connsiteY7" fmla="*/ 2586167 h 7772400"/>
              <a:gd name="connsiteX8" fmla="*/ 908920 w 3259667"/>
              <a:gd name="connsiteY8" fmla="*/ 2586167 h 7772400"/>
              <a:gd name="connsiteX9" fmla="*/ 908920 w 3259667"/>
              <a:gd name="connsiteY9" fmla="*/ 4214387 h 7772400"/>
              <a:gd name="connsiteX10" fmla="*/ 908920 w 3259667"/>
              <a:gd name="connsiteY10" fmla="*/ 4613782 h 7772400"/>
              <a:gd name="connsiteX11" fmla="*/ 908920 w 3259667"/>
              <a:gd name="connsiteY11" fmla="*/ 7151891 h 7772400"/>
              <a:gd name="connsiteX12" fmla="*/ 1213572 w 3259667"/>
              <a:gd name="connsiteY12" fmla="*/ 7456465 h 7772400"/>
              <a:gd name="connsiteX13" fmla="*/ 1518223 w 3259667"/>
              <a:gd name="connsiteY13" fmla="*/ 7151891 h 7772400"/>
              <a:gd name="connsiteX14" fmla="*/ 1518223 w 3259667"/>
              <a:gd name="connsiteY14" fmla="*/ 4613782 h 7772400"/>
              <a:gd name="connsiteX15" fmla="*/ 1741443 w 3259667"/>
              <a:gd name="connsiteY15" fmla="*/ 4613782 h 7772400"/>
              <a:gd name="connsiteX16" fmla="*/ 1741443 w 3259667"/>
              <a:gd name="connsiteY16" fmla="*/ 7151891 h 7772400"/>
              <a:gd name="connsiteX17" fmla="*/ 2046096 w 3259667"/>
              <a:gd name="connsiteY17" fmla="*/ 7456465 h 7772400"/>
              <a:gd name="connsiteX18" fmla="*/ 2350747 w 3259667"/>
              <a:gd name="connsiteY18" fmla="*/ 7151891 h 7772400"/>
              <a:gd name="connsiteX19" fmla="*/ 2350747 w 3259667"/>
              <a:gd name="connsiteY19" fmla="*/ 4613782 h 7772400"/>
              <a:gd name="connsiteX20" fmla="*/ 2350747 w 3259667"/>
              <a:gd name="connsiteY20" fmla="*/ 4214387 h 7772400"/>
              <a:gd name="connsiteX21" fmla="*/ 2350747 w 3259667"/>
              <a:gd name="connsiteY21" fmla="*/ 2586167 h 7772400"/>
              <a:gd name="connsiteX22" fmla="*/ 2534688 w 3259667"/>
              <a:gd name="connsiteY22" fmla="*/ 2586167 h 7772400"/>
              <a:gd name="connsiteX23" fmla="*/ 2534688 w 3259667"/>
              <a:gd name="connsiteY23" fmla="*/ 4233544 h 7772400"/>
              <a:gd name="connsiteX24" fmla="*/ 2781857 w 3259667"/>
              <a:gd name="connsiteY24" fmla="*/ 4481608 h 7772400"/>
              <a:gd name="connsiteX25" fmla="*/ 3029985 w 3259667"/>
              <a:gd name="connsiteY25" fmla="*/ 4233544 h 7772400"/>
              <a:gd name="connsiteX26" fmla="*/ 3029985 w 3259667"/>
              <a:gd name="connsiteY26" fmla="*/ 2586167 h 7772400"/>
              <a:gd name="connsiteX27" fmla="*/ 3029985 w 3259667"/>
              <a:gd name="connsiteY27" fmla="*/ 2511459 h 7772400"/>
              <a:gd name="connsiteX28" fmla="*/ 3029985 w 3259667"/>
              <a:gd name="connsiteY28" fmla="*/ 2407062 h 7772400"/>
              <a:gd name="connsiteX29" fmla="*/ 2274105 w 3259667"/>
              <a:gd name="connsiteY29" fmla="*/ 1652332 h 7772400"/>
              <a:gd name="connsiteX30" fmla="*/ 985561 w 3259667"/>
              <a:gd name="connsiteY30" fmla="*/ 1652332 h 7772400"/>
              <a:gd name="connsiteX31" fmla="*/ 1629834 w 3259667"/>
              <a:gd name="connsiteY31" fmla="*/ 315936 h 7772400"/>
              <a:gd name="connsiteX32" fmla="*/ 1041329 w 3259667"/>
              <a:gd name="connsiteY32" fmla="*/ 904441 h 7772400"/>
              <a:gd name="connsiteX33" fmla="*/ 1629834 w 3259667"/>
              <a:gd name="connsiteY33" fmla="*/ 1492946 h 7772400"/>
              <a:gd name="connsiteX34" fmla="*/ 2218339 w 3259667"/>
              <a:gd name="connsiteY34" fmla="*/ 904441 h 7772400"/>
              <a:gd name="connsiteX35" fmla="*/ 1629834 w 3259667"/>
              <a:gd name="connsiteY35" fmla="*/ 315936 h 7772400"/>
              <a:gd name="connsiteX36" fmla="*/ 0 w 3259667"/>
              <a:gd name="connsiteY36" fmla="*/ 0 h 7772400"/>
              <a:gd name="connsiteX37" fmla="*/ 3259667 w 3259667"/>
              <a:gd name="connsiteY37" fmla="*/ 0 h 7772400"/>
              <a:gd name="connsiteX38" fmla="*/ 3259667 w 3259667"/>
              <a:gd name="connsiteY38" fmla="*/ 7772400 h 7772400"/>
              <a:gd name="connsiteX39" fmla="*/ 0 w 3259667"/>
              <a:gd name="connsiteY39" fmla="*/ 7772400 h 777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3259667" h="7772400">
                <a:moveTo>
                  <a:pt x="985561" y="1652332"/>
                </a:moveTo>
                <a:cubicBezTo>
                  <a:pt x="567863" y="1652332"/>
                  <a:pt x="229681" y="1990428"/>
                  <a:pt x="229681" y="2407062"/>
                </a:cubicBezTo>
                <a:cubicBezTo>
                  <a:pt x="229681" y="2511459"/>
                  <a:pt x="229681" y="2511459"/>
                  <a:pt x="229681" y="2511459"/>
                </a:cubicBezTo>
                <a:cubicBezTo>
                  <a:pt x="229681" y="2586167"/>
                  <a:pt x="229681" y="2586167"/>
                  <a:pt x="229681" y="2586167"/>
                </a:cubicBezTo>
                <a:cubicBezTo>
                  <a:pt x="229681" y="4233544"/>
                  <a:pt x="229681" y="4233544"/>
                  <a:pt x="229681" y="4233544"/>
                </a:cubicBezTo>
                <a:cubicBezTo>
                  <a:pt x="229681" y="4370506"/>
                  <a:pt x="340811" y="4481608"/>
                  <a:pt x="477809" y="4481608"/>
                </a:cubicBezTo>
                <a:cubicBezTo>
                  <a:pt x="614806" y="4481608"/>
                  <a:pt x="725938" y="4370506"/>
                  <a:pt x="725938" y="4233544"/>
                </a:cubicBezTo>
                <a:cubicBezTo>
                  <a:pt x="725938" y="2586167"/>
                  <a:pt x="725938" y="2586167"/>
                  <a:pt x="725938" y="2586167"/>
                </a:cubicBezTo>
                <a:cubicBezTo>
                  <a:pt x="908920" y="2586167"/>
                  <a:pt x="908920" y="2586167"/>
                  <a:pt x="908920" y="2586167"/>
                </a:cubicBezTo>
                <a:cubicBezTo>
                  <a:pt x="908920" y="4214387"/>
                  <a:pt x="908920" y="4214387"/>
                  <a:pt x="908920" y="4214387"/>
                </a:cubicBezTo>
                <a:cubicBezTo>
                  <a:pt x="908920" y="4613782"/>
                  <a:pt x="908920" y="4613782"/>
                  <a:pt x="908920" y="4613782"/>
                </a:cubicBezTo>
                <a:cubicBezTo>
                  <a:pt x="908920" y="7151891"/>
                  <a:pt x="908920" y="7151891"/>
                  <a:pt x="908920" y="7151891"/>
                </a:cubicBezTo>
                <a:cubicBezTo>
                  <a:pt x="908920" y="7320460"/>
                  <a:pt x="1045918" y="7456465"/>
                  <a:pt x="1213572" y="7456465"/>
                </a:cubicBezTo>
                <a:cubicBezTo>
                  <a:pt x="1382184" y="7456465"/>
                  <a:pt x="1518223" y="7320460"/>
                  <a:pt x="1518223" y="7151891"/>
                </a:cubicBezTo>
                <a:cubicBezTo>
                  <a:pt x="1518223" y="4613782"/>
                  <a:pt x="1518223" y="4613782"/>
                  <a:pt x="1518223" y="4613782"/>
                </a:cubicBezTo>
                <a:cubicBezTo>
                  <a:pt x="1741443" y="4613782"/>
                  <a:pt x="1741443" y="4613782"/>
                  <a:pt x="1741443" y="4613782"/>
                </a:cubicBezTo>
                <a:cubicBezTo>
                  <a:pt x="1741443" y="7151891"/>
                  <a:pt x="1741443" y="7151891"/>
                  <a:pt x="1741443" y="7151891"/>
                </a:cubicBezTo>
                <a:cubicBezTo>
                  <a:pt x="1741443" y="7320460"/>
                  <a:pt x="1877482" y="7456465"/>
                  <a:pt x="2046096" y="7456465"/>
                </a:cubicBezTo>
                <a:cubicBezTo>
                  <a:pt x="2213749" y="7456465"/>
                  <a:pt x="2350747" y="7320460"/>
                  <a:pt x="2350747" y="7151891"/>
                </a:cubicBezTo>
                <a:cubicBezTo>
                  <a:pt x="2350747" y="4613782"/>
                  <a:pt x="2350747" y="4613782"/>
                  <a:pt x="2350747" y="4613782"/>
                </a:cubicBezTo>
                <a:cubicBezTo>
                  <a:pt x="2350747" y="4214387"/>
                  <a:pt x="2350747" y="4214387"/>
                  <a:pt x="2350747" y="4214387"/>
                </a:cubicBezTo>
                <a:cubicBezTo>
                  <a:pt x="2350747" y="2586167"/>
                  <a:pt x="2350747" y="2586167"/>
                  <a:pt x="2350747" y="2586167"/>
                </a:cubicBezTo>
                <a:cubicBezTo>
                  <a:pt x="2534688" y="2586167"/>
                  <a:pt x="2534688" y="2586167"/>
                  <a:pt x="2534688" y="2586167"/>
                </a:cubicBezTo>
                <a:cubicBezTo>
                  <a:pt x="2534688" y="4233544"/>
                  <a:pt x="2534688" y="4233544"/>
                  <a:pt x="2534688" y="4233544"/>
                </a:cubicBezTo>
                <a:cubicBezTo>
                  <a:pt x="2534688" y="4370506"/>
                  <a:pt x="2644860" y="4481608"/>
                  <a:pt x="2781857" y="4481608"/>
                </a:cubicBezTo>
                <a:cubicBezTo>
                  <a:pt x="2918855" y="4481608"/>
                  <a:pt x="3029985" y="4370506"/>
                  <a:pt x="3029985" y="4233544"/>
                </a:cubicBezTo>
                <a:cubicBezTo>
                  <a:pt x="3029985" y="2586167"/>
                  <a:pt x="3029985" y="2586167"/>
                  <a:pt x="3029985" y="2586167"/>
                </a:cubicBezTo>
                <a:cubicBezTo>
                  <a:pt x="3029985" y="2511459"/>
                  <a:pt x="3029985" y="2511459"/>
                  <a:pt x="3029985" y="2511459"/>
                </a:cubicBezTo>
                <a:cubicBezTo>
                  <a:pt x="3029985" y="2407062"/>
                  <a:pt x="3029985" y="2407062"/>
                  <a:pt x="3029985" y="2407062"/>
                </a:cubicBezTo>
                <a:cubicBezTo>
                  <a:pt x="3029985" y="1990428"/>
                  <a:pt x="2691803" y="1652332"/>
                  <a:pt x="2274105" y="1652332"/>
                </a:cubicBezTo>
                <a:cubicBezTo>
                  <a:pt x="985561" y="1652332"/>
                  <a:pt x="985561" y="1652332"/>
                  <a:pt x="985561" y="1652332"/>
                </a:cubicBezTo>
                <a:close/>
                <a:moveTo>
                  <a:pt x="1629834" y="315936"/>
                </a:moveTo>
                <a:cubicBezTo>
                  <a:pt x="1304812" y="315936"/>
                  <a:pt x="1041329" y="579420"/>
                  <a:pt x="1041329" y="904441"/>
                </a:cubicBezTo>
                <a:cubicBezTo>
                  <a:pt x="1041329" y="1229463"/>
                  <a:pt x="1304812" y="1492946"/>
                  <a:pt x="1629834" y="1492946"/>
                </a:cubicBezTo>
                <a:cubicBezTo>
                  <a:pt x="1954856" y="1492946"/>
                  <a:pt x="2218339" y="1229463"/>
                  <a:pt x="2218339" y="904441"/>
                </a:cubicBezTo>
                <a:cubicBezTo>
                  <a:pt x="2218339" y="579420"/>
                  <a:pt x="1954856" y="315936"/>
                  <a:pt x="1629834" y="315936"/>
                </a:cubicBezTo>
                <a:close/>
                <a:moveTo>
                  <a:pt x="0" y="0"/>
                </a:moveTo>
                <a:lnTo>
                  <a:pt x="3259667" y="0"/>
                </a:lnTo>
                <a:lnTo>
                  <a:pt x="3259667" y="7772400"/>
                </a:lnTo>
                <a:lnTo>
                  <a:pt x="0" y="7772400"/>
                </a:lnTo>
                <a:close/>
              </a:path>
            </a:pathLst>
          </a:custGeom>
          <a:solidFill>
            <a:srgbClr val="F7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"/>
          </a:p>
        </p:txBody>
      </p:sp>
      <p:cxnSp>
        <p:nvCxnSpPr>
          <p:cNvPr id="92" name="Straight Connector 91"/>
          <p:cNvCxnSpPr>
            <a:endCxn id="115" idx="6"/>
          </p:cNvCxnSpPr>
          <p:nvPr/>
        </p:nvCxnSpPr>
        <p:spPr>
          <a:xfrm flipH="1">
            <a:off x="5594412" y="1767696"/>
            <a:ext cx="1073742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7391169" y="1590507"/>
            <a:ext cx="1188812" cy="508373"/>
            <a:chOff x="7391169" y="1590507"/>
            <a:chExt cx="1188812" cy="508373"/>
          </a:xfrm>
        </p:grpSpPr>
        <p:sp>
          <p:nvSpPr>
            <p:cNvPr id="93" name="TextBox 92"/>
            <p:cNvSpPr txBox="1"/>
            <p:nvPr/>
          </p:nvSpPr>
          <p:spPr>
            <a:xfrm>
              <a:off x="7391171" y="1852659"/>
              <a:ext cx="118881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</a:t>
              </a:r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stagram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7391169" y="1590507"/>
              <a:ext cx="118682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cap="all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8.5%</a:t>
              </a:r>
            </a:p>
          </p:txBody>
        </p:sp>
      </p:grpSp>
      <p:cxnSp>
        <p:nvCxnSpPr>
          <p:cNvPr id="95" name="Straight Connector 94"/>
          <p:cNvCxnSpPr>
            <a:endCxn id="114" idx="6"/>
          </p:cNvCxnSpPr>
          <p:nvPr/>
        </p:nvCxnSpPr>
        <p:spPr>
          <a:xfrm flipH="1">
            <a:off x="5686794" y="2463394"/>
            <a:ext cx="976430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/>
          <p:nvPr/>
        </p:nvGrpSpPr>
        <p:grpSpPr>
          <a:xfrm>
            <a:off x="7391169" y="2286344"/>
            <a:ext cx="1188812" cy="508373"/>
            <a:chOff x="7391169" y="2286344"/>
            <a:chExt cx="1188812" cy="508373"/>
          </a:xfrm>
        </p:grpSpPr>
        <p:sp>
          <p:nvSpPr>
            <p:cNvPr id="96" name="TextBox 95"/>
            <p:cNvSpPr txBox="1"/>
            <p:nvPr/>
          </p:nvSpPr>
          <p:spPr>
            <a:xfrm>
              <a:off x="7391171" y="2548496"/>
              <a:ext cx="118881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</a:t>
              </a:r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youtube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7391169" y="2286344"/>
              <a:ext cx="118682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cap="all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18%</a:t>
              </a:r>
            </a:p>
          </p:txBody>
        </p:sp>
      </p:grpSp>
      <p:cxnSp>
        <p:nvCxnSpPr>
          <p:cNvPr id="98" name="Straight Connector 97"/>
          <p:cNvCxnSpPr/>
          <p:nvPr/>
        </p:nvCxnSpPr>
        <p:spPr>
          <a:xfrm flipH="1">
            <a:off x="5666097" y="3238029"/>
            <a:ext cx="1002057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7391169" y="3045541"/>
            <a:ext cx="1188812" cy="508373"/>
            <a:chOff x="7391169" y="3045541"/>
            <a:chExt cx="1188812" cy="508373"/>
          </a:xfrm>
        </p:grpSpPr>
        <p:sp>
          <p:nvSpPr>
            <p:cNvPr id="99" name="TextBox 98"/>
            <p:cNvSpPr txBox="1"/>
            <p:nvPr/>
          </p:nvSpPr>
          <p:spPr>
            <a:xfrm>
              <a:off x="7391171" y="3307693"/>
              <a:ext cx="118881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</a:t>
              </a:r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acebook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7391169" y="3045541"/>
              <a:ext cx="118682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cap="all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35%</a:t>
              </a:r>
            </a:p>
          </p:txBody>
        </p:sp>
      </p:grpSp>
      <p:cxnSp>
        <p:nvCxnSpPr>
          <p:cNvPr id="101" name="Straight Connector 100"/>
          <p:cNvCxnSpPr/>
          <p:nvPr/>
        </p:nvCxnSpPr>
        <p:spPr>
          <a:xfrm flipH="1">
            <a:off x="5704424" y="3949232"/>
            <a:ext cx="963730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7391169" y="3755446"/>
            <a:ext cx="1188812" cy="508373"/>
            <a:chOff x="7391169" y="3755446"/>
            <a:chExt cx="1188812" cy="508373"/>
          </a:xfrm>
        </p:grpSpPr>
        <p:sp>
          <p:nvSpPr>
            <p:cNvPr id="102" name="TextBox 101"/>
            <p:cNvSpPr txBox="1"/>
            <p:nvPr/>
          </p:nvSpPr>
          <p:spPr>
            <a:xfrm>
              <a:off x="7391171" y="4017598"/>
              <a:ext cx="1188810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twitter</a:t>
              </a: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7391169" y="3755446"/>
              <a:ext cx="1186821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cap="all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4%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896503" y="3761958"/>
            <a:ext cx="361317" cy="361317"/>
            <a:chOff x="6896503" y="3761958"/>
            <a:chExt cx="361317" cy="361317"/>
          </a:xfrm>
        </p:grpSpPr>
        <p:sp>
          <p:nvSpPr>
            <p:cNvPr id="106" name="Oval 105"/>
            <p:cNvSpPr/>
            <p:nvPr/>
          </p:nvSpPr>
          <p:spPr>
            <a:xfrm>
              <a:off x="6896503" y="3761958"/>
              <a:ext cx="361317" cy="36131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7" name="Freeform 15"/>
            <p:cNvSpPr>
              <a:spLocks/>
            </p:cNvSpPr>
            <p:nvPr/>
          </p:nvSpPr>
          <p:spPr bwMode="auto">
            <a:xfrm>
              <a:off x="6982769" y="3867150"/>
              <a:ext cx="188784" cy="150932"/>
            </a:xfrm>
            <a:custGeom>
              <a:avLst/>
              <a:gdLst>
                <a:gd name="T0" fmla="*/ 582 w 582"/>
                <a:gd name="T1" fmla="*/ 56 h 466"/>
                <a:gd name="T2" fmla="*/ 513 w 582"/>
                <a:gd name="T3" fmla="*/ 74 h 466"/>
                <a:gd name="T4" fmla="*/ 566 w 582"/>
                <a:gd name="T5" fmla="*/ 9 h 466"/>
                <a:gd name="T6" fmla="*/ 490 w 582"/>
                <a:gd name="T7" fmla="*/ 38 h 466"/>
                <a:gd name="T8" fmla="*/ 403 w 582"/>
                <a:gd name="T9" fmla="*/ 0 h 466"/>
                <a:gd name="T10" fmla="*/ 283 w 582"/>
                <a:gd name="T11" fmla="*/ 118 h 466"/>
                <a:gd name="T12" fmla="*/ 287 w 582"/>
                <a:gd name="T13" fmla="*/ 145 h 466"/>
                <a:gd name="T14" fmla="*/ 40 w 582"/>
                <a:gd name="T15" fmla="*/ 22 h 466"/>
                <a:gd name="T16" fmla="*/ 24 w 582"/>
                <a:gd name="T17" fmla="*/ 81 h 466"/>
                <a:gd name="T18" fmla="*/ 77 w 582"/>
                <a:gd name="T19" fmla="*/ 179 h 466"/>
                <a:gd name="T20" fmla="*/ 23 w 582"/>
                <a:gd name="T21" fmla="*/ 164 h 466"/>
                <a:gd name="T22" fmla="*/ 23 w 582"/>
                <a:gd name="T23" fmla="*/ 166 h 466"/>
                <a:gd name="T24" fmla="*/ 31 w 582"/>
                <a:gd name="T25" fmla="*/ 208 h 466"/>
                <a:gd name="T26" fmla="*/ 119 w 582"/>
                <a:gd name="T27" fmla="*/ 281 h 466"/>
                <a:gd name="T28" fmla="*/ 87 w 582"/>
                <a:gd name="T29" fmla="*/ 285 h 466"/>
                <a:gd name="T30" fmla="*/ 65 w 582"/>
                <a:gd name="T31" fmla="*/ 283 h 466"/>
                <a:gd name="T32" fmla="*/ 177 w 582"/>
                <a:gd name="T33" fmla="*/ 365 h 466"/>
                <a:gd name="T34" fmla="*/ 28 w 582"/>
                <a:gd name="T35" fmla="*/ 415 h 466"/>
                <a:gd name="T36" fmla="*/ 0 w 582"/>
                <a:gd name="T37" fmla="*/ 413 h 466"/>
                <a:gd name="T38" fmla="*/ 183 w 582"/>
                <a:gd name="T39" fmla="*/ 466 h 466"/>
                <a:gd name="T40" fmla="*/ 515 w 582"/>
                <a:gd name="T41" fmla="*/ 203 h 466"/>
                <a:gd name="T42" fmla="*/ 523 w 582"/>
                <a:gd name="T43" fmla="*/ 132 h 466"/>
                <a:gd name="T44" fmla="*/ 523 w 582"/>
                <a:gd name="T45" fmla="*/ 117 h 466"/>
                <a:gd name="T46" fmla="*/ 582 w 582"/>
                <a:gd name="T47" fmla="*/ 5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2" h="466">
                  <a:moveTo>
                    <a:pt x="582" y="56"/>
                  </a:moveTo>
                  <a:cubicBezTo>
                    <a:pt x="561" y="65"/>
                    <a:pt x="538" y="71"/>
                    <a:pt x="513" y="74"/>
                  </a:cubicBezTo>
                  <a:cubicBezTo>
                    <a:pt x="538" y="59"/>
                    <a:pt x="557" y="37"/>
                    <a:pt x="566" y="9"/>
                  </a:cubicBezTo>
                  <a:cubicBezTo>
                    <a:pt x="543" y="22"/>
                    <a:pt x="517" y="32"/>
                    <a:pt x="490" y="38"/>
                  </a:cubicBezTo>
                  <a:cubicBezTo>
                    <a:pt x="469" y="15"/>
                    <a:pt x="437" y="0"/>
                    <a:pt x="403" y="0"/>
                  </a:cubicBezTo>
                  <a:cubicBezTo>
                    <a:pt x="337" y="0"/>
                    <a:pt x="283" y="53"/>
                    <a:pt x="283" y="118"/>
                  </a:cubicBezTo>
                  <a:cubicBezTo>
                    <a:pt x="283" y="127"/>
                    <a:pt x="285" y="136"/>
                    <a:pt x="287" y="145"/>
                  </a:cubicBezTo>
                  <a:cubicBezTo>
                    <a:pt x="187" y="140"/>
                    <a:pt x="99" y="93"/>
                    <a:pt x="40" y="22"/>
                  </a:cubicBezTo>
                  <a:cubicBezTo>
                    <a:pt x="30" y="40"/>
                    <a:pt x="24" y="59"/>
                    <a:pt x="24" y="81"/>
                  </a:cubicBezTo>
                  <a:cubicBezTo>
                    <a:pt x="24" y="122"/>
                    <a:pt x="45" y="158"/>
                    <a:pt x="77" y="179"/>
                  </a:cubicBezTo>
                  <a:cubicBezTo>
                    <a:pt x="57" y="178"/>
                    <a:pt x="39" y="173"/>
                    <a:pt x="23" y="164"/>
                  </a:cubicBezTo>
                  <a:cubicBezTo>
                    <a:pt x="23" y="165"/>
                    <a:pt x="23" y="165"/>
                    <a:pt x="23" y="166"/>
                  </a:cubicBezTo>
                  <a:cubicBezTo>
                    <a:pt x="23" y="181"/>
                    <a:pt x="26" y="195"/>
                    <a:pt x="31" y="208"/>
                  </a:cubicBezTo>
                  <a:cubicBezTo>
                    <a:pt x="46" y="245"/>
                    <a:pt x="79" y="273"/>
                    <a:pt x="119" y="281"/>
                  </a:cubicBezTo>
                  <a:cubicBezTo>
                    <a:pt x="109" y="284"/>
                    <a:pt x="99" y="285"/>
                    <a:pt x="87" y="285"/>
                  </a:cubicBezTo>
                  <a:cubicBezTo>
                    <a:pt x="80" y="285"/>
                    <a:pt x="72" y="284"/>
                    <a:pt x="65" y="283"/>
                  </a:cubicBezTo>
                  <a:cubicBezTo>
                    <a:pt x="81" y="329"/>
                    <a:pt x="124" y="364"/>
                    <a:pt x="177" y="365"/>
                  </a:cubicBezTo>
                  <a:cubicBezTo>
                    <a:pt x="135" y="396"/>
                    <a:pt x="84" y="415"/>
                    <a:pt x="28" y="415"/>
                  </a:cubicBezTo>
                  <a:cubicBezTo>
                    <a:pt x="19" y="415"/>
                    <a:pt x="9" y="414"/>
                    <a:pt x="0" y="413"/>
                  </a:cubicBezTo>
                  <a:cubicBezTo>
                    <a:pt x="53" y="447"/>
                    <a:pt x="116" y="466"/>
                    <a:pt x="183" y="466"/>
                  </a:cubicBezTo>
                  <a:cubicBezTo>
                    <a:pt x="369" y="466"/>
                    <a:pt x="485" y="337"/>
                    <a:pt x="515" y="203"/>
                  </a:cubicBezTo>
                  <a:cubicBezTo>
                    <a:pt x="520" y="179"/>
                    <a:pt x="523" y="155"/>
                    <a:pt x="523" y="132"/>
                  </a:cubicBezTo>
                  <a:cubicBezTo>
                    <a:pt x="523" y="127"/>
                    <a:pt x="523" y="121"/>
                    <a:pt x="523" y="117"/>
                  </a:cubicBezTo>
                  <a:cubicBezTo>
                    <a:pt x="546" y="100"/>
                    <a:pt x="566" y="79"/>
                    <a:pt x="582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896503" y="1599102"/>
            <a:ext cx="361317" cy="361317"/>
            <a:chOff x="6896503" y="1599102"/>
            <a:chExt cx="361317" cy="361317"/>
          </a:xfrm>
        </p:grpSpPr>
        <p:sp>
          <p:nvSpPr>
            <p:cNvPr id="108" name="Oval 107"/>
            <p:cNvSpPr/>
            <p:nvPr/>
          </p:nvSpPr>
          <p:spPr>
            <a:xfrm>
              <a:off x="6896503" y="1599102"/>
              <a:ext cx="361317" cy="36131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9" name="Freeform 39"/>
            <p:cNvSpPr>
              <a:spLocks noEditPoints="1"/>
            </p:cNvSpPr>
            <p:nvPr/>
          </p:nvSpPr>
          <p:spPr bwMode="auto">
            <a:xfrm>
              <a:off x="6990174" y="1692773"/>
              <a:ext cx="173974" cy="173974"/>
            </a:xfrm>
            <a:custGeom>
              <a:avLst/>
              <a:gdLst>
                <a:gd name="T0" fmla="*/ 140 w 572"/>
                <a:gd name="T1" fmla="*/ 286 h 572"/>
                <a:gd name="T2" fmla="*/ 286 w 572"/>
                <a:gd name="T3" fmla="*/ 140 h 572"/>
                <a:gd name="T4" fmla="*/ 432 w 572"/>
                <a:gd name="T5" fmla="*/ 286 h 572"/>
                <a:gd name="T6" fmla="*/ 286 w 572"/>
                <a:gd name="T7" fmla="*/ 432 h 572"/>
                <a:gd name="T8" fmla="*/ 140 w 572"/>
                <a:gd name="T9" fmla="*/ 286 h 572"/>
                <a:gd name="T10" fmla="*/ 437 w 572"/>
                <a:gd name="T11" fmla="*/ 0 h 572"/>
                <a:gd name="T12" fmla="*/ 135 w 572"/>
                <a:gd name="T13" fmla="*/ 0 h 572"/>
                <a:gd name="T14" fmla="*/ 0 w 572"/>
                <a:gd name="T15" fmla="*/ 135 h 572"/>
                <a:gd name="T16" fmla="*/ 0 w 572"/>
                <a:gd name="T17" fmla="*/ 437 h 572"/>
                <a:gd name="T18" fmla="*/ 135 w 572"/>
                <a:gd name="T19" fmla="*/ 572 h 572"/>
                <a:gd name="T20" fmla="*/ 437 w 572"/>
                <a:gd name="T21" fmla="*/ 572 h 572"/>
                <a:gd name="T22" fmla="*/ 572 w 572"/>
                <a:gd name="T23" fmla="*/ 437 h 572"/>
                <a:gd name="T24" fmla="*/ 572 w 572"/>
                <a:gd name="T25" fmla="*/ 135 h 572"/>
                <a:gd name="T26" fmla="*/ 437 w 572"/>
                <a:gd name="T27" fmla="*/ 0 h 572"/>
                <a:gd name="T28" fmla="*/ 135 w 572"/>
                <a:gd name="T29" fmla="*/ 34 h 572"/>
                <a:gd name="T30" fmla="*/ 437 w 572"/>
                <a:gd name="T31" fmla="*/ 34 h 572"/>
                <a:gd name="T32" fmla="*/ 538 w 572"/>
                <a:gd name="T33" fmla="*/ 135 h 572"/>
                <a:gd name="T34" fmla="*/ 538 w 572"/>
                <a:gd name="T35" fmla="*/ 437 h 572"/>
                <a:gd name="T36" fmla="*/ 437 w 572"/>
                <a:gd name="T37" fmla="*/ 538 h 572"/>
                <a:gd name="T38" fmla="*/ 135 w 572"/>
                <a:gd name="T39" fmla="*/ 538 h 572"/>
                <a:gd name="T40" fmla="*/ 34 w 572"/>
                <a:gd name="T41" fmla="*/ 437 h 572"/>
                <a:gd name="T42" fmla="*/ 34 w 572"/>
                <a:gd name="T43" fmla="*/ 135 h 572"/>
                <a:gd name="T44" fmla="*/ 135 w 572"/>
                <a:gd name="T45" fmla="*/ 34 h 572"/>
                <a:gd name="T46" fmla="*/ 467 w 572"/>
                <a:gd name="T47" fmla="*/ 77 h 572"/>
                <a:gd name="T48" fmla="*/ 437 w 572"/>
                <a:gd name="T49" fmla="*/ 106 h 572"/>
                <a:gd name="T50" fmla="*/ 467 w 572"/>
                <a:gd name="T51" fmla="*/ 136 h 572"/>
                <a:gd name="T52" fmla="*/ 496 w 572"/>
                <a:gd name="T53" fmla="*/ 106 h 572"/>
                <a:gd name="T54" fmla="*/ 467 w 572"/>
                <a:gd name="T55" fmla="*/ 77 h 572"/>
                <a:gd name="T56" fmla="*/ 470 w 572"/>
                <a:gd name="T57" fmla="*/ 286 h 572"/>
                <a:gd name="T58" fmla="*/ 286 w 572"/>
                <a:gd name="T59" fmla="*/ 102 h 572"/>
                <a:gd name="T60" fmla="*/ 101 w 572"/>
                <a:gd name="T61" fmla="*/ 286 h 572"/>
                <a:gd name="T62" fmla="*/ 286 w 572"/>
                <a:gd name="T63" fmla="*/ 471 h 572"/>
                <a:gd name="T64" fmla="*/ 470 w 572"/>
                <a:gd name="T65" fmla="*/ 286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2" h="572">
                  <a:moveTo>
                    <a:pt x="140" y="286"/>
                  </a:moveTo>
                  <a:cubicBezTo>
                    <a:pt x="140" y="206"/>
                    <a:pt x="205" y="140"/>
                    <a:pt x="286" y="140"/>
                  </a:cubicBezTo>
                  <a:cubicBezTo>
                    <a:pt x="366" y="140"/>
                    <a:pt x="432" y="206"/>
                    <a:pt x="432" y="286"/>
                  </a:cubicBezTo>
                  <a:cubicBezTo>
                    <a:pt x="432" y="367"/>
                    <a:pt x="366" y="432"/>
                    <a:pt x="286" y="432"/>
                  </a:cubicBezTo>
                  <a:cubicBezTo>
                    <a:pt x="205" y="432"/>
                    <a:pt x="140" y="367"/>
                    <a:pt x="140" y="286"/>
                  </a:cubicBezTo>
                  <a:close/>
                  <a:moveTo>
                    <a:pt x="437" y="0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61" y="0"/>
                    <a:pt x="0" y="61"/>
                    <a:pt x="0" y="135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511"/>
                    <a:pt x="61" y="572"/>
                    <a:pt x="135" y="572"/>
                  </a:cubicBezTo>
                  <a:cubicBezTo>
                    <a:pt x="437" y="572"/>
                    <a:pt x="437" y="572"/>
                    <a:pt x="437" y="572"/>
                  </a:cubicBezTo>
                  <a:cubicBezTo>
                    <a:pt x="511" y="572"/>
                    <a:pt x="572" y="511"/>
                    <a:pt x="572" y="437"/>
                  </a:cubicBezTo>
                  <a:cubicBezTo>
                    <a:pt x="572" y="135"/>
                    <a:pt x="572" y="135"/>
                    <a:pt x="572" y="135"/>
                  </a:cubicBezTo>
                  <a:cubicBezTo>
                    <a:pt x="572" y="61"/>
                    <a:pt x="511" y="0"/>
                    <a:pt x="437" y="0"/>
                  </a:cubicBezTo>
                  <a:close/>
                  <a:moveTo>
                    <a:pt x="135" y="34"/>
                  </a:moveTo>
                  <a:cubicBezTo>
                    <a:pt x="437" y="34"/>
                    <a:pt x="437" y="34"/>
                    <a:pt x="437" y="34"/>
                  </a:cubicBezTo>
                  <a:cubicBezTo>
                    <a:pt x="492" y="34"/>
                    <a:pt x="538" y="80"/>
                    <a:pt x="538" y="135"/>
                  </a:cubicBezTo>
                  <a:cubicBezTo>
                    <a:pt x="538" y="437"/>
                    <a:pt x="538" y="437"/>
                    <a:pt x="538" y="437"/>
                  </a:cubicBezTo>
                  <a:cubicBezTo>
                    <a:pt x="538" y="493"/>
                    <a:pt x="492" y="538"/>
                    <a:pt x="437" y="538"/>
                  </a:cubicBezTo>
                  <a:cubicBezTo>
                    <a:pt x="135" y="538"/>
                    <a:pt x="135" y="538"/>
                    <a:pt x="135" y="538"/>
                  </a:cubicBezTo>
                  <a:cubicBezTo>
                    <a:pt x="79" y="538"/>
                    <a:pt x="34" y="493"/>
                    <a:pt x="34" y="437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4" y="80"/>
                    <a:pt x="79" y="34"/>
                    <a:pt x="135" y="34"/>
                  </a:cubicBezTo>
                  <a:close/>
                  <a:moveTo>
                    <a:pt x="467" y="77"/>
                  </a:moveTo>
                  <a:cubicBezTo>
                    <a:pt x="450" y="77"/>
                    <a:pt x="437" y="90"/>
                    <a:pt x="437" y="106"/>
                  </a:cubicBezTo>
                  <a:cubicBezTo>
                    <a:pt x="437" y="123"/>
                    <a:pt x="450" y="136"/>
                    <a:pt x="467" y="136"/>
                  </a:cubicBezTo>
                  <a:cubicBezTo>
                    <a:pt x="483" y="136"/>
                    <a:pt x="496" y="123"/>
                    <a:pt x="496" y="106"/>
                  </a:cubicBezTo>
                  <a:cubicBezTo>
                    <a:pt x="496" y="90"/>
                    <a:pt x="483" y="77"/>
                    <a:pt x="467" y="77"/>
                  </a:cubicBezTo>
                  <a:close/>
                  <a:moveTo>
                    <a:pt x="470" y="286"/>
                  </a:moveTo>
                  <a:cubicBezTo>
                    <a:pt x="470" y="184"/>
                    <a:pt x="388" y="102"/>
                    <a:pt x="286" y="102"/>
                  </a:cubicBezTo>
                  <a:cubicBezTo>
                    <a:pt x="184" y="102"/>
                    <a:pt x="101" y="184"/>
                    <a:pt x="101" y="286"/>
                  </a:cubicBezTo>
                  <a:cubicBezTo>
                    <a:pt x="101" y="388"/>
                    <a:pt x="184" y="471"/>
                    <a:pt x="286" y="471"/>
                  </a:cubicBezTo>
                  <a:cubicBezTo>
                    <a:pt x="388" y="471"/>
                    <a:pt x="470" y="388"/>
                    <a:pt x="470" y="2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896503" y="2294886"/>
            <a:ext cx="361317" cy="361317"/>
            <a:chOff x="6896503" y="2294886"/>
            <a:chExt cx="361317" cy="361317"/>
          </a:xfrm>
        </p:grpSpPr>
        <p:sp>
          <p:nvSpPr>
            <p:cNvPr id="104" name="Oval 103"/>
            <p:cNvSpPr/>
            <p:nvPr/>
          </p:nvSpPr>
          <p:spPr>
            <a:xfrm>
              <a:off x="6896503" y="2294886"/>
              <a:ext cx="361317" cy="36131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Freeform 328"/>
            <p:cNvSpPr>
              <a:spLocks noEditPoints="1"/>
            </p:cNvSpPr>
            <p:nvPr/>
          </p:nvSpPr>
          <p:spPr bwMode="auto">
            <a:xfrm>
              <a:off x="6995281" y="2376057"/>
              <a:ext cx="163760" cy="198974"/>
            </a:xfrm>
            <a:custGeom>
              <a:avLst/>
              <a:gdLst>
                <a:gd name="T0" fmla="*/ 132 w 140"/>
                <a:gd name="T1" fmla="*/ 163 h 170"/>
                <a:gd name="T2" fmla="*/ 17 w 140"/>
                <a:gd name="T3" fmla="*/ 168 h 170"/>
                <a:gd name="T4" fmla="*/ 0 w 140"/>
                <a:gd name="T5" fmla="*/ 121 h 170"/>
                <a:gd name="T6" fmla="*/ 18 w 140"/>
                <a:gd name="T7" fmla="*/ 74 h 170"/>
                <a:gd name="T8" fmla="*/ 132 w 140"/>
                <a:gd name="T9" fmla="*/ 78 h 170"/>
                <a:gd name="T10" fmla="*/ 30 w 140"/>
                <a:gd name="T11" fmla="*/ 97 h 170"/>
                <a:gd name="T12" fmla="*/ 10 w 140"/>
                <a:gd name="T13" fmla="*/ 88 h 170"/>
                <a:gd name="T14" fmla="*/ 20 w 140"/>
                <a:gd name="T15" fmla="*/ 151 h 170"/>
                <a:gd name="T16" fmla="*/ 46 w 140"/>
                <a:gd name="T17" fmla="*/ 0 h 170"/>
                <a:gd name="T18" fmla="*/ 44 w 140"/>
                <a:gd name="T19" fmla="*/ 64 h 170"/>
                <a:gd name="T20" fmla="*/ 29 w 140"/>
                <a:gd name="T21" fmla="*/ 18 h 170"/>
                <a:gd name="T22" fmla="*/ 39 w 140"/>
                <a:gd name="T23" fmla="*/ 25 h 170"/>
                <a:gd name="T24" fmla="*/ 65 w 140"/>
                <a:gd name="T25" fmla="*/ 151 h 170"/>
                <a:gd name="T26" fmla="*/ 57 w 140"/>
                <a:gd name="T27" fmla="*/ 140 h 170"/>
                <a:gd name="T28" fmla="*/ 49 w 140"/>
                <a:gd name="T29" fmla="*/ 139 h 170"/>
                <a:gd name="T30" fmla="*/ 41 w 140"/>
                <a:gd name="T31" fmla="*/ 141 h 170"/>
                <a:gd name="T32" fmla="*/ 57 w 140"/>
                <a:gd name="T33" fmla="*/ 146 h 170"/>
                <a:gd name="T34" fmla="*/ 81 w 140"/>
                <a:gd name="T35" fmla="*/ 48 h 170"/>
                <a:gd name="T36" fmla="*/ 58 w 140"/>
                <a:gd name="T37" fmla="*/ 59 h 170"/>
                <a:gd name="T38" fmla="*/ 58 w 140"/>
                <a:gd name="T39" fmla="*/ 21 h 170"/>
                <a:gd name="T40" fmla="*/ 81 w 140"/>
                <a:gd name="T41" fmla="*/ 32 h 170"/>
                <a:gd name="T42" fmla="*/ 68 w 140"/>
                <a:gd name="T43" fmla="*/ 23 h 170"/>
                <a:gd name="T44" fmla="*/ 68 w 140"/>
                <a:gd name="T45" fmla="*/ 56 h 170"/>
                <a:gd name="T46" fmla="*/ 98 w 140"/>
                <a:gd name="T47" fmla="*/ 118 h 170"/>
                <a:gd name="T48" fmla="*/ 81 w 140"/>
                <a:gd name="T49" fmla="*/ 109 h 170"/>
                <a:gd name="T50" fmla="*/ 73 w 140"/>
                <a:gd name="T51" fmla="*/ 151 h 170"/>
                <a:gd name="T52" fmla="*/ 90 w 140"/>
                <a:gd name="T53" fmla="*/ 152 h 170"/>
                <a:gd name="T54" fmla="*/ 89 w 140"/>
                <a:gd name="T55" fmla="*/ 118 h 170"/>
                <a:gd name="T56" fmla="*/ 81 w 140"/>
                <a:gd name="T57" fmla="*/ 142 h 170"/>
                <a:gd name="T58" fmla="*/ 89 w 140"/>
                <a:gd name="T59" fmla="*/ 118 h 170"/>
                <a:gd name="T60" fmla="*/ 104 w 140"/>
                <a:gd name="T61" fmla="*/ 64 h 170"/>
                <a:gd name="T62" fmla="*/ 88 w 140"/>
                <a:gd name="T63" fmla="*/ 61 h 170"/>
                <a:gd name="T64" fmla="*/ 96 w 140"/>
                <a:gd name="T65" fmla="*/ 16 h 170"/>
                <a:gd name="T66" fmla="*/ 98 w 140"/>
                <a:gd name="T67" fmla="*/ 56 h 170"/>
                <a:gd name="T68" fmla="*/ 112 w 140"/>
                <a:gd name="T69" fmla="*/ 16 h 170"/>
                <a:gd name="T70" fmla="*/ 121 w 140"/>
                <a:gd name="T71" fmla="*/ 135 h 170"/>
                <a:gd name="T72" fmla="*/ 113 w 140"/>
                <a:gd name="T73" fmla="*/ 138 h 170"/>
                <a:gd name="T74" fmla="*/ 129 w 140"/>
                <a:gd name="T75" fmla="*/ 120 h 170"/>
                <a:gd name="T76" fmla="*/ 107 w 140"/>
                <a:gd name="T77" fmla="*/ 109 h 170"/>
                <a:gd name="T78" fmla="*/ 107 w 140"/>
                <a:gd name="T79" fmla="*/ 147 h 170"/>
                <a:gd name="T80" fmla="*/ 129 w 140"/>
                <a:gd name="T81" fmla="*/ 142 h 170"/>
                <a:gd name="T82" fmla="*/ 121 w 140"/>
                <a:gd name="T83" fmla="*/ 122 h 170"/>
                <a:gd name="T84" fmla="*/ 117 w 140"/>
                <a:gd name="T85" fmla="*/ 11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70">
                  <a:moveTo>
                    <a:pt x="140" y="121"/>
                  </a:moveTo>
                  <a:cubicBezTo>
                    <a:pt x="140" y="136"/>
                    <a:pt x="139" y="147"/>
                    <a:pt x="138" y="154"/>
                  </a:cubicBezTo>
                  <a:cubicBezTo>
                    <a:pt x="137" y="158"/>
                    <a:pt x="135" y="161"/>
                    <a:pt x="132" y="163"/>
                  </a:cubicBezTo>
                  <a:cubicBezTo>
                    <a:pt x="129" y="166"/>
                    <a:pt x="126" y="167"/>
                    <a:pt x="122" y="168"/>
                  </a:cubicBezTo>
                  <a:cubicBezTo>
                    <a:pt x="111" y="169"/>
                    <a:pt x="93" y="170"/>
                    <a:pt x="70" y="170"/>
                  </a:cubicBezTo>
                  <a:cubicBezTo>
                    <a:pt x="47" y="170"/>
                    <a:pt x="29" y="169"/>
                    <a:pt x="17" y="168"/>
                  </a:cubicBezTo>
                  <a:cubicBezTo>
                    <a:pt x="14" y="167"/>
                    <a:pt x="11" y="166"/>
                    <a:pt x="8" y="163"/>
                  </a:cubicBezTo>
                  <a:cubicBezTo>
                    <a:pt x="5" y="161"/>
                    <a:pt x="3" y="158"/>
                    <a:pt x="2" y="154"/>
                  </a:cubicBezTo>
                  <a:cubicBezTo>
                    <a:pt x="1" y="147"/>
                    <a:pt x="0" y="136"/>
                    <a:pt x="0" y="121"/>
                  </a:cubicBezTo>
                  <a:cubicBezTo>
                    <a:pt x="0" y="106"/>
                    <a:pt x="1" y="95"/>
                    <a:pt x="2" y="88"/>
                  </a:cubicBezTo>
                  <a:cubicBezTo>
                    <a:pt x="3" y="84"/>
                    <a:pt x="5" y="81"/>
                    <a:pt x="8" y="78"/>
                  </a:cubicBezTo>
                  <a:cubicBezTo>
                    <a:pt x="11" y="76"/>
                    <a:pt x="14" y="74"/>
                    <a:pt x="18" y="74"/>
                  </a:cubicBezTo>
                  <a:cubicBezTo>
                    <a:pt x="29" y="73"/>
                    <a:pt x="47" y="72"/>
                    <a:pt x="70" y="72"/>
                  </a:cubicBezTo>
                  <a:cubicBezTo>
                    <a:pt x="93" y="72"/>
                    <a:pt x="111" y="73"/>
                    <a:pt x="122" y="74"/>
                  </a:cubicBezTo>
                  <a:cubicBezTo>
                    <a:pt x="126" y="74"/>
                    <a:pt x="129" y="76"/>
                    <a:pt x="132" y="78"/>
                  </a:cubicBezTo>
                  <a:cubicBezTo>
                    <a:pt x="135" y="81"/>
                    <a:pt x="137" y="84"/>
                    <a:pt x="138" y="88"/>
                  </a:cubicBezTo>
                  <a:cubicBezTo>
                    <a:pt x="139" y="95"/>
                    <a:pt x="140" y="106"/>
                    <a:pt x="140" y="121"/>
                  </a:cubicBezTo>
                  <a:close/>
                  <a:moveTo>
                    <a:pt x="30" y="97"/>
                  </a:moveTo>
                  <a:cubicBezTo>
                    <a:pt x="40" y="97"/>
                    <a:pt x="40" y="97"/>
                    <a:pt x="40" y="97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151"/>
                    <a:pt x="20" y="151"/>
                    <a:pt x="20" y="151"/>
                  </a:cubicBezTo>
                  <a:cubicBezTo>
                    <a:pt x="30" y="151"/>
                    <a:pt x="30" y="151"/>
                    <a:pt x="30" y="151"/>
                  </a:cubicBezTo>
                  <a:lnTo>
                    <a:pt x="30" y="97"/>
                  </a:lnTo>
                  <a:close/>
                  <a:moveTo>
                    <a:pt x="46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3" y="33"/>
                    <a:pt x="32" y="27"/>
                    <a:pt x="29" y="18"/>
                  </a:cubicBezTo>
                  <a:cubicBezTo>
                    <a:pt x="26" y="11"/>
                    <a:pt x="24" y="6"/>
                    <a:pt x="2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9" y="25"/>
                    <a:pt x="39" y="25"/>
                    <a:pt x="39" y="25"/>
                  </a:cubicBezTo>
                  <a:lnTo>
                    <a:pt x="46" y="0"/>
                  </a:lnTo>
                  <a:close/>
                  <a:moveTo>
                    <a:pt x="57" y="151"/>
                  </a:moveTo>
                  <a:cubicBezTo>
                    <a:pt x="65" y="151"/>
                    <a:pt x="65" y="151"/>
                    <a:pt x="65" y="151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7" y="140"/>
                    <a:pt x="57" y="140"/>
                    <a:pt x="57" y="140"/>
                  </a:cubicBezTo>
                  <a:cubicBezTo>
                    <a:pt x="55" y="143"/>
                    <a:pt x="53" y="144"/>
                    <a:pt x="52" y="144"/>
                  </a:cubicBezTo>
                  <a:cubicBezTo>
                    <a:pt x="50" y="144"/>
                    <a:pt x="50" y="143"/>
                    <a:pt x="50" y="142"/>
                  </a:cubicBezTo>
                  <a:cubicBezTo>
                    <a:pt x="50" y="142"/>
                    <a:pt x="49" y="141"/>
                    <a:pt x="49" y="139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41"/>
                    <a:pt x="41" y="141"/>
                    <a:pt x="41" y="141"/>
                  </a:cubicBezTo>
                  <a:cubicBezTo>
                    <a:pt x="41" y="144"/>
                    <a:pt x="41" y="147"/>
                    <a:pt x="42" y="148"/>
                  </a:cubicBezTo>
                  <a:cubicBezTo>
                    <a:pt x="43" y="151"/>
                    <a:pt x="44" y="152"/>
                    <a:pt x="47" y="152"/>
                  </a:cubicBezTo>
                  <a:cubicBezTo>
                    <a:pt x="50" y="152"/>
                    <a:pt x="54" y="150"/>
                    <a:pt x="57" y="146"/>
                  </a:cubicBezTo>
                  <a:lnTo>
                    <a:pt x="57" y="151"/>
                  </a:lnTo>
                  <a:close/>
                  <a:moveTo>
                    <a:pt x="81" y="32"/>
                  </a:moveTo>
                  <a:cubicBezTo>
                    <a:pt x="81" y="48"/>
                    <a:pt x="81" y="48"/>
                    <a:pt x="81" y="48"/>
                  </a:cubicBezTo>
                  <a:cubicBezTo>
                    <a:pt x="81" y="53"/>
                    <a:pt x="80" y="57"/>
                    <a:pt x="78" y="59"/>
                  </a:cubicBezTo>
                  <a:cubicBezTo>
                    <a:pt x="76" y="63"/>
                    <a:pt x="72" y="64"/>
                    <a:pt x="68" y="64"/>
                  </a:cubicBezTo>
                  <a:cubicBezTo>
                    <a:pt x="64" y="64"/>
                    <a:pt x="60" y="63"/>
                    <a:pt x="58" y="59"/>
                  </a:cubicBezTo>
                  <a:cubicBezTo>
                    <a:pt x="56" y="57"/>
                    <a:pt x="55" y="53"/>
                    <a:pt x="55" y="4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27"/>
                    <a:pt x="56" y="23"/>
                    <a:pt x="58" y="21"/>
                  </a:cubicBezTo>
                  <a:cubicBezTo>
                    <a:pt x="60" y="17"/>
                    <a:pt x="64" y="16"/>
                    <a:pt x="68" y="16"/>
                  </a:cubicBezTo>
                  <a:cubicBezTo>
                    <a:pt x="72" y="16"/>
                    <a:pt x="76" y="17"/>
                    <a:pt x="78" y="21"/>
                  </a:cubicBezTo>
                  <a:cubicBezTo>
                    <a:pt x="80" y="23"/>
                    <a:pt x="81" y="27"/>
                    <a:pt x="81" y="32"/>
                  </a:cubicBezTo>
                  <a:close/>
                  <a:moveTo>
                    <a:pt x="72" y="50"/>
                  </a:moveTo>
                  <a:cubicBezTo>
                    <a:pt x="72" y="30"/>
                    <a:pt x="72" y="30"/>
                    <a:pt x="72" y="30"/>
                  </a:cubicBezTo>
                  <a:cubicBezTo>
                    <a:pt x="72" y="26"/>
                    <a:pt x="71" y="23"/>
                    <a:pt x="68" y="23"/>
                  </a:cubicBezTo>
                  <a:cubicBezTo>
                    <a:pt x="65" y="23"/>
                    <a:pt x="64" y="26"/>
                    <a:pt x="64" y="3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4"/>
                    <a:pt x="65" y="56"/>
                    <a:pt x="68" y="56"/>
                  </a:cubicBezTo>
                  <a:cubicBezTo>
                    <a:pt x="71" y="56"/>
                    <a:pt x="72" y="54"/>
                    <a:pt x="72" y="50"/>
                  </a:cubicBezTo>
                  <a:close/>
                  <a:moveTo>
                    <a:pt x="98" y="137"/>
                  </a:moveTo>
                  <a:cubicBezTo>
                    <a:pt x="98" y="118"/>
                    <a:pt x="98" y="118"/>
                    <a:pt x="98" y="118"/>
                  </a:cubicBezTo>
                  <a:cubicBezTo>
                    <a:pt x="98" y="114"/>
                    <a:pt x="97" y="111"/>
                    <a:pt x="97" y="109"/>
                  </a:cubicBezTo>
                  <a:cubicBezTo>
                    <a:pt x="96" y="106"/>
                    <a:pt x="93" y="104"/>
                    <a:pt x="90" y="104"/>
                  </a:cubicBezTo>
                  <a:cubicBezTo>
                    <a:pt x="87" y="104"/>
                    <a:pt x="84" y="106"/>
                    <a:pt x="81" y="109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81" y="151"/>
                    <a:pt x="81" y="151"/>
                    <a:pt x="81" y="151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4" y="150"/>
                    <a:pt x="87" y="152"/>
                    <a:pt x="90" y="152"/>
                  </a:cubicBezTo>
                  <a:cubicBezTo>
                    <a:pt x="93" y="152"/>
                    <a:pt x="96" y="150"/>
                    <a:pt x="97" y="147"/>
                  </a:cubicBezTo>
                  <a:cubicBezTo>
                    <a:pt x="97" y="145"/>
                    <a:pt x="98" y="142"/>
                    <a:pt x="98" y="137"/>
                  </a:cubicBezTo>
                  <a:close/>
                  <a:moveTo>
                    <a:pt x="89" y="118"/>
                  </a:moveTo>
                  <a:cubicBezTo>
                    <a:pt x="89" y="138"/>
                    <a:pt x="89" y="138"/>
                    <a:pt x="89" y="138"/>
                  </a:cubicBezTo>
                  <a:cubicBezTo>
                    <a:pt x="89" y="142"/>
                    <a:pt x="88" y="144"/>
                    <a:pt x="85" y="144"/>
                  </a:cubicBezTo>
                  <a:cubicBezTo>
                    <a:pt x="84" y="144"/>
                    <a:pt x="83" y="143"/>
                    <a:pt x="81" y="142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3" y="112"/>
                    <a:pt x="84" y="111"/>
                    <a:pt x="85" y="111"/>
                  </a:cubicBezTo>
                  <a:cubicBezTo>
                    <a:pt x="88" y="111"/>
                    <a:pt x="89" y="114"/>
                    <a:pt x="89" y="118"/>
                  </a:cubicBezTo>
                  <a:close/>
                  <a:moveTo>
                    <a:pt x="112" y="16"/>
                  </a:moveTo>
                  <a:cubicBezTo>
                    <a:pt x="112" y="64"/>
                    <a:pt x="112" y="64"/>
                    <a:pt x="112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0" y="62"/>
                    <a:pt x="97" y="64"/>
                    <a:pt x="94" y="64"/>
                  </a:cubicBezTo>
                  <a:cubicBezTo>
                    <a:pt x="91" y="64"/>
                    <a:pt x="89" y="63"/>
                    <a:pt x="88" y="61"/>
                  </a:cubicBezTo>
                  <a:cubicBezTo>
                    <a:pt x="88" y="59"/>
                    <a:pt x="88" y="57"/>
                    <a:pt x="88" y="54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3"/>
                    <a:pt x="96" y="54"/>
                    <a:pt x="96" y="54"/>
                  </a:cubicBezTo>
                  <a:cubicBezTo>
                    <a:pt x="96" y="56"/>
                    <a:pt x="97" y="56"/>
                    <a:pt x="98" y="56"/>
                  </a:cubicBezTo>
                  <a:cubicBezTo>
                    <a:pt x="100" y="56"/>
                    <a:pt x="102" y="55"/>
                    <a:pt x="104" y="52"/>
                  </a:cubicBezTo>
                  <a:cubicBezTo>
                    <a:pt x="104" y="16"/>
                    <a:pt x="104" y="16"/>
                    <a:pt x="104" y="16"/>
                  </a:cubicBezTo>
                  <a:lnTo>
                    <a:pt x="112" y="16"/>
                  </a:lnTo>
                  <a:close/>
                  <a:moveTo>
                    <a:pt x="129" y="136"/>
                  </a:moveTo>
                  <a:cubicBezTo>
                    <a:pt x="129" y="135"/>
                    <a:pt x="129" y="135"/>
                    <a:pt x="129" y="135"/>
                  </a:cubicBezTo>
                  <a:cubicBezTo>
                    <a:pt x="121" y="135"/>
                    <a:pt x="121" y="135"/>
                    <a:pt x="121" y="135"/>
                  </a:cubicBezTo>
                  <a:cubicBezTo>
                    <a:pt x="121" y="138"/>
                    <a:pt x="121" y="140"/>
                    <a:pt x="121" y="141"/>
                  </a:cubicBezTo>
                  <a:cubicBezTo>
                    <a:pt x="120" y="143"/>
                    <a:pt x="119" y="144"/>
                    <a:pt x="117" y="144"/>
                  </a:cubicBezTo>
                  <a:cubicBezTo>
                    <a:pt x="114" y="144"/>
                    <a:pt x="113" y="142"/>
                    <a:pt x="113" y="138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29" y="115"/>
                    <a:pt x="129" y="111"/>
                    <a:pt x="127" y="109"/>
                  </a:cubicBezTo>
                  <a:cubicBezTo>
                    <a:pt x="124" y="105"/>
                    <a:pt x="121" y="104"/>
                    <a:pt x="117" y="104"/>
                  </a:cubicBezTo>
                  <a:cubicBezTo>
                    <a:pt x="113" y="104"/>
                    <a:pt x="109" y="105"/>
                    <a:pt x="107" y="109"/>
                  </a:cubicBezTo>
                  <a:cubicBezTo>
                    <a:pt x="105" y="111"/>
                    <a:pt x="104" y="115"/>
                    <a:pt x="104" y="120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4" y="141"/>
                    <a:pt x="105" y="145"/>
                    <a:pt x="107" y="147"/>
                  </a:cubicBezTo>
                  <a:cubicBezTo>
                    <a:pt x="109" y="150"/>
                    <a:pt x="113" y="152"/>
                    <a:pt x="117" y="152"/>
                  </a:cubicBezTo>
                  <a:cubicBezTo>
                    <a:pt x="122" y="152"/>
                    <a:pt x="125" y="150"/>
                    <a:pt x="127" y="147"/>
                  </a:cubicBezTo>
                  <a:cubicBezTo>
                    <a:pt x="128" y="145"/>
                    <a:pt x="129" y="143"/>
                    <a:pt x="129" y="142"/>
                  </a:cubicBezTo>
                  <a:cubicBezTo>
                    <a:pt x="129" y="141"/>
                    <a:pt x="129" y="139"/>
                    <a:pt x="129" y="136"/>
                  </a:cubicBezTo>
                  <a:close/>
                  <a:moveTo>
                    <a:pt x="121" y="118"/>
                  </a:moveTo>
                  <a:cubicBezTo>
                    <a:pt x="121" y="122"/>
                    <a:pt x="121" y="122"/>
                    <a:pt x="121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4"/>
                    <a:pt x="114" y="111"/>
                    <a:pt x="117" y="111"/>
                  </a:cubicBezTo>
                  <a:cubicBezTo>
                    <a:pt x="120" y="111"/>
                    <a:pt x="121" y="114"/>
                    <a:pt x="121" y="1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7148" tIns="18574" rIns="37148" bIns="18574" numCol="1" anchor="t" anchorCtr="0" compatLnSpc="1">
              <a:prstTxWarp prst="textNoShape">
                <a:avLst/>
              </a:prstTxWarp>
            </a:bodyPr>
            <a:lstStyle/>
            <a:p>
              <a:endParaRPr lang="en-US" sz="644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896503" y="3058096"/>
            <a:ext cx="361317" cy="361317"/>
            <a:chOff x="6896503" y="3058096"/>
            <a:chExt cx="361317" cy="361317"/>
          </a:xfrm>
        </p:grpSpPr>
        <p:sp>
          <p:nvSpPr>
            <p:cNvPr id="105" name="Oval 104"/>
            <p:cNvSpPr/>
            <p:nvPr/>
          </p:nvSpPr>
          <p:spPr>
            <a:xfrm>
              <a:off x="6896503" y="3058096"/>
              <a:ext cx="361317" cy="36131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1" name="Freeform 5"/>
            <p:cNvSpPr>
              <a:spLocks/>
            </p:cNvSpPr>
            <p:nvPr/>
          </p:nvSpPr>
          <p:spPr bwMode="auto">
            <a:xfrm>
              <a:off x="7035668" y="3149905"/>
              <a:ext cx="82986" cy="177698"/>
            </a:xfrm>
            <a:custGeom>
              <a:avLst/>
              <a:gdLst>
                <a:gd name="T0" fmla="*/ 180 w 272"/>
                <a:gd name="T1" fmla="*/ 175 h 582"/>
                <a:gd name="T2" fmla="*/ 180 w 272"/>
                <a:gd name="T3" fmla="*/ 128 h 582"/>
                <a:gd name="T4" fmla="*/ 205 w 272"/>
                <a:gd name="T5" fmla="*/ 100 h 582"/>
                <a:gd name="T6" fmla="*/ 271 w 272"/>
                <a:gd name="T7" fmla="*/ 100 h 582"/>
                <a:gd name="T8" fmla="*/ 271 w 272"/>
                <a:gd name="T9" fmla="*/ 0 h 582"/>
                <a:gd name="T10" fmla="*/ 181 w 272"/>
                <a:gd name="T11" fmla="*/ 0 h 582"/>
                <a:gd name="T12" fmla="*/ 58 w 272"/>
                <a:gd name="T13" fmla="*/ 122 h 582"/>
                <a:gd name="T14" fmla="*/ 58 w 272"/>
                <a:gd name="T15" fmla="*/ 175 h 582"/>
                <a:gd name="T16" fmla="*/ 0 w 272"/>
                <a:gd name="T17" fmla="*/ 175 h 582"/>
                <a:gd name="T18" fmla="*/ 0 w 272"/>
                <a:gd name="T19" fmla="*/ 245 h 582"/>
                <a:gd name="T20" fmla="*/ 0 w 272"/>
                <a:gd name="T21" fmla="*/ 291 h 582"/>
                <a:gd name="T22" fmla="*/ 59 w 272"/>
                <a:gd name="T23" fmla="*/ 291 h 582"/>
                <a:gd name="T24" fmla="*/ 59 w 272"/>
                <a:gd name="T25" fmla="*/ 582 h 582"/>
                <a:gd name="T26" fmla="*/ 175 w 272"/>
                <a:gd name="T27" fmla="*/ 582 h 582"/>
                <a:gd name="T28" fmla="*/ 175 w 272"/>
                <a:gd name="T29" fmla="*/ 291 h 582"/>
                <a:gd name="T30" fmla="*/ 261 w 272"/>
                <a:gd name="T31" fmla="*/ 291 h 582"/>
                <a:gd name="T32" fmla="*/ 265 w 272"/>
                <a:gd name="T33" fmla="*/ 245 h 582"/>
                <a:gd name="T34" fmla="*/ 272 w 272"/>
                <a:gd name="T35" fmla="*/ 175 h 582"/>
                <a:gd name="T36" fmla="*/ 180 w 272"/>
                <a:gd name="T37" fmla="*/ 175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2" h="582">
                  <a:moveTo>
                    <a:pt x="180" y="175"/>
                  </a:moveTo>
                  <a:cubicBezTo>
                    <a:pt x="180" y="128"/>
                    <a:pt x="180" y="128"/>
                    <a:pt x="180" y="128"/>
                  </a:cubicBezTo>
                  <a:cubicBezTo>
                    <a:pt x="180" y="105"/>
                    <a:pt x="194" y="100"/>
                    <a:pt x="205" y="100"/>
                  </a:cubicBezTo>
                  <a:cubicBezTo>
                    <a:pt x="216" y="100"/>
                    <a:pt x="271" y="100"/>
                    <a:pt x="271" y="10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80" y="0"/>
                    <a:pt x="58" y="74"/>
                    <a:pt x="58" y="122"/>
                  </a:cubicBezTo>
                  <a:cubicBezTo>
                    <a:pt x="58" y="175"/>
                    <a:pt x="58" y="175"/>
                    <a:pt x="58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59" y="291"/>
                    <a:pt x="59" y="291"/>
                    <a:pt x="59" y="291"/>
                  </a:cubicBezTo>
                  <a:cubicBezTo>
                    <a:pt x="59" y="423"/>
                    <a:pt x="59" y="582"/>
                    <a:pt x="59" y="582"/>
                  </a:cubicBezTo>
                  <a:cubicBezTo>
                    <a:pt x="175" y="582"/>
                    <a:pt x="175" y="582"/>
                    <a:pt x="175" y="582"/>
                  </a:cubicBezTo>
                  <a:cubicBezTo>
                    <a:pt x="175" y="582"/>
                    <a:pt x="175" y="421"/>
                    <a:pt x="175" y="291"/>
                  </a:cubicBezTo>
                  <a:cubicBezTo>
                    <a:pt x="261" y="291"/>
                    <a:pt x="261" y="291"/>
                    <a:pt x="261" y="291"/>
                  </a:cubicBezTo>
                  <a:cubicBezTo>
                    <a:pt x="265" y="245"/>
                    <a:pt x="265" y="245"/>
                    <a:pt x="265" y="245"/>
                  </a:cubicBezTo>
                  <a:cubicBezTo>
                    <a:pt x="272" y="175"/>
                    <a:pt x="272" y="175"/>
                    <a:pt x="272" y="175"/>
                  </a:cubicBezTo>
                  <a:lnTo>
                    <a:pt x="180" y="1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112" name="Oval 111"/>
          <p:cNvSpPr/>
          <p:nvPr/>
        </p:nvSpPr>
        <p:spPr>
          <a:xfrm>
            <a:off x="5630279" y="3887788"/>
            <a:ext cx="122890" cy="12288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Oval 112"/>
          <p:cNvSpPr/>
          <p:nvPr/>
        </p:nvSpPr>
        <p:spPr>
          <a:xfrm>
            <a:off x="5630279" y="3176585"/>
            <a:ext cx="122890" cy="12288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Oval 113"/>
          <p:cNvSpPr/>
          <p:nvPr/>
        </p:nvSpPr>
        <p:spPr>
          <a:xfrm>
            <a:off x="5563904" y="2401950"/>
            <a:ext cx="122890" cy="12288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Oval 114"/>
          <p:cNvSpPr/>
          <p:nvPr/>
        </p:nvSpPr>
        <p:spPr>
          <a:xfrm>
            <a:off x="5471522" y="1706252"/>
            <a:ext cx="122890" cy="12288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859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NÁLISE POR </a:t>
            </a:r>
            <a:r>
              <a:rPr lang="en-US" dirty="0">
                <a:solidFill>
                  <a:srgbClr val="EC0000"/>
                </a:solidFill>
              </a:rPr>
              <a:t>GÊNER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45"/>
          <p:cNvSpPr>
            <a:spLocks noEditPoints="1"/>
          </p:cNvSpPr>
          <p:nvPr/>
        </p:nvSpPr>
        <p:spPr bwMode="auto">
          <a:xfrm>
            <a:off x="2426133" y="2741859"/>
            <a:ext cx="321058" cy="322241"/>
          </a:xfrm>
          <a:custGeom>
            <a:avLst/>
            <a:gdLst>
              <a:gd name="T0" fmla="*/ 0 w 353"/>
              <a:gd name="T1" fmla="*/ 177 h 354"/>
              <a:gd name="T2" fmla="*/ 353 w 353"/>
              <a:gd name="T3" fmla="*/ 177 h 354"/>
              <a:gd name="T4" fmla="*/ 129 w 353"/>
              <a:gd name="T5" fmla="*/ 24 h 354"/>
              <a:gd name="T6" fmla="*/ 118 w 353"/>
              <a:gd name="T7" fmla="*/ 37 h 354"/>
              <a:gd name="T8" fmla="*/ 100 w 353"/>
              <a:gd name="T9" fmla="*/ 69 h 354"/>
              <a:gd name="T10" fmla="*/ 73 w 353"/>
              <a:gd name="T11" fmla="*/ 55 h 354"/>
              <a:gd name="T12" fmla="*/ 61 w 353"/>
              <a:gd name="T13" fmla="*/ 65 h 354"/>
              <a:gd name="T14" fmla="*/ 93 w 353"/>
              <a:gd name="T15" fmla="*/ 89 h 354"/>
              <a:gd name="T16" fmla="*/ 83 w 353"/>
              <a:gd name="T17" fmla="*/ 133 h 354"/>
              <a:gd name="T18" fmla="*/ 81 w 353"/>
              <a:gd name="T19" fmla="*/ 155 h 354"/>
              <a:gd name="T20" fmla="*/ 16 w 353"/>
              <a:gd name="T21" fmla="*/ 169 h 354"/>
              <a:gd name="T22" fmla="*/ 16 w 353"/>
              <a:gd name="T23" fmla="*/ 185 h 354"/>
              <a:gd name="T24" fmla="*/ 81 w 353"/>
              <a:gd name="T25" fmla="*/ 199 h 354"/>
              <a:gd name="T26" fmla="*/ 83 w 353"/>
              <a:gd name="T27" fmla="*/ 221 h 354"/>
              <a:gd name="T28" fmla="*/ 93 w 353"/>
              <a:gd name="T29" fmla="*/ 265 h 354"/>
              <a:gd name="T30" fmla="*/ 61 w 353"/>
              <a:gd name="T31" fmla="*/ 288 h 354"/>
              <a:gd name="T32" fmla="*/ 73 w 353"/>
              <a:gd name="T33" fmla="*/ 299 h 354"/>
              <a:gd name="T34" fmla="*/ 100 w 353"/>
              <a:gd name="T35" fmla="*/ 284 h 354"/>
              <a:gd name="T36" fmla="*/ 118 w 353"/>
              <a:gd name="T37" fmla="*/ 317 h 354"/>
              <a:gd name="T38" fmla="*/ 129 w 353"/>
              <a:gd name="T39" fmla="*/ 330 h 354"/>
              <a:gd name="T40" fmla="*/ 168 w 353"/>
              <a:gd name="T41" fmla="*/ 337 h 354"/>
              <a:gd name="T42" fmla="*/ 168 w 353"/>
              <a:gd name="T43" fmla="*/ 266 h 354"/>
              <a:gd name="T44" fmla="*/ 168 w 353"/>
              <a:gd name="T45" fmla="*/ 250 h 354"/>
              <a:gd name="T46" fmla="*/ 96 w 353"/>
              <a:gd name="T47" fmla="*/ 185 h 354"/>
              <a:gd name="T48" fmla="*/ 168 w 353"/>
              <a:gd name="T49" fmla="*/ 250 h 354"/>
              <a:gd name="T50" fmla="*/ 96 w 353"/>
              <a:gd name="T51" fmla="*/ 169 h 354"/>
              <a:gd name="T52" fmla="*/ 168 w 353"/>
              <a:gd name="T53" fmla="*/ 104 h 354"/>
              <a:gd name="T54" fmla="*/ 168 w 353"/>
              <a:gd name="T55" fmla="*/ 88 h 354"/>
              <a:gd name="T56" fmla="*/ 168 w 353"/>
              <a:gd name="T57" fmla="*/ 17 h 354"/>
              <a:gd name="T58" fmla="*/ 337 w 353"/>
              <a:gd name="T59" fmla="*/ 169 h 354"/>
              <a:gd name="T60" fmla="*/ 272 w 353"/>
              <a:gd name="T61" fmla="*/ 155 h 354"/>
              <a:gd name="T62" fmla="*/ 270 w 353"/>
              <a:gd name="T63" fmla="*/ 133 h 354"/>
              <a:gd name="T64" fmla="*/ 260 w 353"/>
              <a:gd name="T65" fmla="*/ 89 h 354"/>
              <a:gd name="T66" fmla="*/ 292 w 353"/>
              <a:gd name="T67" fmla="*/ 65 h 354"/>
              <a:gd name="T68" fmla="*/ 280 w 353"/>
              <a:gd name="T69" fmla="*/ 55 h 354"/>
              <a:gd name="T70" fmla="*/ 253 w 353"/>
              <a:gd name="T71" fmla="*/ 69 h 354"/>
              <a:gd name="T72" fmla="*/ 235 w 353"/>
              <a:gd name="T73" fmla="*/ 37 h 354"/>
              <a:gd name="T74" fmla="*/ 224 w 353"/>
              <a:gd name="T75" fmla="*/ 24 h 354"/>
              <a:gd name="T76" fmla="*/ 185 w 353"/>
              <a:gd name="T77" fmla="*/ 17 h 354"/>
              <a:gd name="T78" fmla="*/ 185 w 353"/>
              <a:gd name="T79" fmla="*/ 88 h 354"/>
              <a:gd name="T80" fmla="*/ 185 w 353"/>
              <a:gd name="T81" fmla="*/ 104 h 354"/>
              <a:gd name="T82" fmla="*/ 257 w 353"/>
              <a:gd name="T83" fmla="*/ 169 h 354"/>
              <a:gd name="T84" fmla="*/ 185 w 353"/>
              <a:gd name="T85" fmla="*/ 104 h 354"/>
              <a:gd name="T86" fmla="*/ 257 w 353"/>
              <a:gd name="T87" fmla="*/ 185 h 354"/>
              <a:gd name="T88" fmla="*/ 185 w 353"/>
              <a:gd name="T89" fmla="*/ 250 h 354"/>
              <a:gd name="T90" fmla="*/ 185 w 353"/>
              <a:gd name="T91" fmla="*/ 337 h 354"/>
              <a:gd name="T92" fmla="*/ 240 w 353"/>
              <a:gd name="T93" fmla="*/ 276 h 354"/>
              <a:gd name="T94" fmla="*/ 224 w 353"/>
              <a:gd name="T95" fmla="*/ 330 h 354"/>
              <a:gd name="T96" fmla="*/ 235 w 353"/>
              <a:gd name="T97" fmla="*/ 317 h 354"/>
              <a:gd name="T98" fmla="*/ 253 w 353"/>
              <a:gd name="T99" fmla="*/ 284 h 354"/>
              <a:gd name="T100" fmla="*/ 280 w 353"/>
              <a:gd name="T101" fmla="*/ 299 h 354"/>
              <a:gd name="T102" fmla="*/ 292 w 353"/>
              <a:gd name="T103" fmla="*/ 288 h 354"/>
              <a:gd name="T104" fmla="*/ 260 w 353"/>
              <a:gd name="T105" fmla="*/ 265 h 354"/>
              <a:gd name="T106" fmla="*/ 270 w 353"/>
              <a:gd name="T107" fmla="*/ 221 h 354"/>
              <a:gd name="T108" fmla="*/ 272 w 353"/>
              <a:gd name="T109" fmla="*/ 199 h 354"/>
              <a:gd name="T110" fmla="*/ 337 w 353"/>
              <a:gd name="T111" fmla="*/ 1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3" h="354">
                <a:moveTo>
                  <a:pt x="177" y="0"/>
                </a:move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4"/>
                  <a:pt x="177" y="354"/>
                </a:cubicBezTo>
                <a:cubicBezTo>
                  <a:pt x="274" y="354"/>
                  <a:pt x="353" y="274"/>
                  <a:pt x="353" y="177"/>
                </a:cubicBezTo>
                <a:cubicBezTo>
                  <a:pt x="353" y="79"/>
                  <a:pt x="274" y="0"/>
                  <a:pt x="177" y="0"/>
                </a:cubicBezTo>
                <a:moveTo>
                  <a:pt x="129" y="24"/>
                </a:moveTo>
                <a:cubicBezTo>
                  <a:pt x="125" y="27"/>
                  <a:pt x="122" y="31"/>
                  <a:pt x="119" y="36"/>
                </a:cubicBezTo>
                <a:cubicBezTo>
                  <a:pt x="119" y="36"/>
                  <a:pt x="118" y="36"/>
                  <a:pt x="118" y="37"/>
                </a:cubicBezTo>
                <a:cubicBezTo>
                  <a:pt x="112" y="46"/>
                  <a:pt x="106" y="56"/>
                  <a:pt x="101" y="68"/>
                </a:cubicBezTo>
                <a:cubicBezTo>
                  <a:pt x="101" y="68"/>
                  <a:pt x="100" y="69"/>
                  <a:pt x="100" y="69"/>
                </a:cubicBezTo>
                <a:cubicBezTo>
                  <a:pt x="100" y="70"/>
                  <a:pt x="100" y="71"/>
                  <a:pt x="99" y="72"/>
                </a:cubicBezTo>
                <a:cubicBezTo>
                  <a:pt x="89" y="67"/>
                  <a:pt x="81" y="61"/>
                  <a:pt x="73" y="55"/>
                </a:cubicBezTo>
                <a:cubicBezTo>
                  <a:pt x="89" y="41"/>
                  <a:pt x="108" y="30"/>
                  <a:pt x="129" y="24"/>
                </a:cubicBezTo>
                <a:moveTo>
                  <a:pt x="61" y="65"/>
                </a:moveTo>
                <a:cubicBezTo>
                  <a:pt x="71" y="74"/>
                  <a:pt x="82" y="81"/>
                  <a:pt x="94" y="87"/>
                </a:cubicBezTo>
                <a:cubicBezTo>
                  <a:pt x="94" y="87"/>
                  <a:pt x="93" y="88"/>
                  <a:pt x="93" y="89"/>
                </a:cubicBezTo>
                <a:cubicBezTo>
                  <a:pt x="89" y="101"/>
                  <a:pt x="86" y="114"/>
                  <a:pt x="84" y="128"/>
                </a:cubicBezTo>
                <a:cubicBezTo>
                  <a:pt x="84" y="129"/>
                  <a:pt x="84" y="131"/>
                  <a:pt x="83" y="133"/>
                </a:cubicBezTo>
                <a:cubicBezTo>
                  <a:pt x="83" y="138"/>
                  <a:pt x="82" y="144"/>
                  <a:pt x="81" y="149"/>
                </a:cubicBezTo>
                <a:cubicBezTo>
                  <a:pt x="81" y="151"/>
                  <a:pt x="81" y="153"/>
                  <a:pt x="81" y="155"/>
                </a:cubicBezTo>
                <a:cubicBezTo>
                  <a:pt x="81" y="160"/>
                  <a:pt x="81" y="164"/>
                  <a:pt x="80" y="169"/>
                </a:cubicBezTo>
                <a:cubicBezTo>
                  <a:pt x="16" y="169"/>
                  <a:pt x="16" y="169"/>
                  <a:pt x="16" y="169"/>
                </a:cubicBezTo>
                <a:cubicBezTo>
                  <a:pt x="18" y="129"/>
                  <a:pt x="35" y="93"/>
                  <a:pt x="61" y="65"/>
                </a:cubicBezTo>
                <a:moveTo>
                  <a:pt x="16" y="185"/>
                </a:moveTo>
                <a:cubicBezTo>
                  <a:pt x="80" y="185"/>
                  <a:pt x="80" y="185"/>
                  <a:pt x="80" y="185"/>
                </a:cubicBezTo>
                <a:cubicBezTo>
                  <a:pt x="81" y="190"/>
                  <a:pt x="81" y="194"/>
                  <a:pt x="81" y="199"/>
                </a:cubicBezTo>
                <a:cubicBezTo>
                  <a:pt x="81" y="201"/>
                  <a:pt x="81" y="203"/>
                  <a:pt x="81" y="205"/>
                </a:cubicBezTo>
                <a:cubicBezTo>
                  <a:pt x="82" y="210"/>
                  <a:pt x="83" y="216"/>
                  <a:pt x="83" y="221"/>
                </a:cubicBezTo>
                <a:cubicBezTo>
                  <a:pt x="84" y="223"/>
                  <a:pt x="84" y="224"/>
                  <a:pt x="84" y="226"/>
                </a:cubicBezTo>
                <a:cubicBezTo>
                  <a:pt x="86" y="240"/>
                  <a:pt x="89" y="253"/>
                  <a:pt x="93" y="265"/>
                </a:cubicBezTo>
                <a:cubicBezTo>
                  <a:pt x="93" y="266"/>
                  <a:pt x="94" y="267"/>
                  <a:pt x="94" y="267"/>
                </a:cubicBezTo>
                <a:cubicBezTo>
                  <a:pt x="82" y="273"/>
                  <a:pt x="71" y="280"/>
                  <a:pt x="61" y="288"/>
                </a:cubicBezTo>
                <a:cubicBezTo>
                  <a:pt x="35" y="261"/>
                  <a:pt x="18" y="225"/>
                  <a:pt x="16" y="185"/>
                </a:cubicBezTo>
                <a:moveTo>
                  <a:pt x="73" y="299"/>
                </a:moveTo>
                <a:cubicBezTo>
                  <a:pt x="81" y="293"/>
                  <a:pt x="89" y="287"/>
                  <a:pt x="99" y="282"/>
                </a:cubicBezTo>
                <a:cubicBezTo>
                  <a:pt x="100" y="283"/>
                  <a:pt x="100" y="284"/>
                  <a:pt x="100" y="284"/>
                </a:cubicBezTo>
                <a:cubicBezTo>
                  <a:pt x="100" y="285"/>
                  <a:pt x="101" y="286"/>
                  <a:pt x="101" y="286"/>
                </a:cubicBezTo>
                <a:cubicBezTo>
                  <a:pt x="106" y="298"/>
                  <a:pt x="112" y="308"/>
                  <a:pt x="118" y="317"/>
                </a:cubicBezTo>
                <a:cubicBezTo>
                  <a:pt x="118" y="317"/>
                  <a:pt x="119" y="318"/>
                  <a:pt x="119" y="318"/>
                </a:cubicBezTo>
                <a:cubicBezTo>
                  <a:pt x="122" y="323"/>
                  <a:pt x="125" y="327"/>
                  <a:pt x="129" y="330"/>
                </a:cubicBezTo>
                <a:cubicBezTo>
                  <a:pt x="108" y="324"/>
                  <a:pt x="89" y="313"/>
                  <a:pt x="73" y="299"/>
                </a:cubicBezTo>
                <a:moveTo>
                  <a:pt x="168" y="337"/>
                </a:moveTo>
                <a:cubicBezTo>
                  <a:pt x="146" y="332"/>
                  <a:pt x="127" y="310"/>
                  <a:pt x="113" y="276"/>
                </a:cubicBezTo>
                <a:cubicBezTo>
                  <a:pt x="130" y="270"/>
                  <a:pt x="149" y="266"/>
                  <a:pt x="168" y="266"/>
                </a:cubicBezTo>
                <a:lnTo>
                  <a:pt x="168" y="337"/>
                </a:lnTo>
                <a:close/>
                <a:moveTo>
                  <a:pt x="168" y="250"/>
                </a:moveTo>
                <a:cubicBezTo>
                  <a:pt x="147" y="250"/>
                  <a:pt x="127" y="254"/>
                  <a:pt x="108" y="261"/>
                </a:cubicBezTo>
                <a:cubicBezTo>
                  <a:pt x="101" y="239"/>
                  <a:pt x="97" y="213"/>
                  <a:pt x="96" y="185"/>
                </a:cubicBezTo>
                <a:cubicBezTo>
                  <a:pt x="168" y="185"/>
                  <a:pt x="168" y="185"/>
                  <a:pt x="168" y="185"/>
                </a:cubicBezTo>
                <a:lnTo>
                  <a:pt x="168" y="250"/>
                </a:lnTo>
                <a:close/>
                <a:moveTo>
                  <a:pt x="168" y="169"/>
                </a:moveTo>
                <a:cubicBezTo>
                  <a:pt x="96" y="169"/>
                  <a:pt x="96" y="169"/>
                  <a:pt x="96" y="169"/>
                </a:cubicBezTo>
                <a:cubicBezTo>
                  <a:pt x="97" y="141"/>
                  <a:pt x="101" y="115"/>
                  <a:pt x="108" y="93"/>
                </a:cubicBezTo>
                <a:cubicBezTo>
                  <a:pt x="127" y="100"/>
                  <a:pt x="147" y="103"/>
                  <a:pt x="168" y="104"/>
                </a:cubicBezTo>
                <a:lnTo>
                  <a:pt x="168" y="169"/>
                </a:lnTo>
                <a:close/>
                <a:moveTo>
                  <a:pt x="168" y="88"/>
                </a:moveTo>
                <a:cubicBezTo>
                  <a:pt x="149" y="87"/>
                  <a:pt x="130" y="84"/>
                  <a:pt x="113" y="78"/>
                </a:cubicBezTo>
                <a:cubicBezTo>
                  <a:pt x="127" y="44"/>
                  <a:pt x="146" y="22"/>
                  <a:pt x="168" y="17"/>
                </a:cubicBezTo>
                <a:lnTo>
                  <a:pt x="168" y="88"/>
                </a:lnTo>
                <a:close/>
                <a:moveTo>
                  <a:pt x="337" y="169"/>
                </a:moveTo>
                <a:cubicBezTo>
                  <a:pt x="273" y="169"/>
                  <a:pt x="273" y="169"/>
                  <a:pt x="273" y="169"/>
                </a:cubicBezTo>
                <a:cubicBezTo>
                  <a:pt x="272" y="164"/>
                  <a:pt x="272" y="160"/>
                  <a:pt x="272" y="155"/>
                </a:cubicBezTo>
                <a:cubicBezTo>
                  <a:pt x="272" y="153"/>
                  <a:pt x="272" y="151"/>
                  <a:pt x="272" y="149"/>
                </a:cubicBezTo>
                <a:cubicBezTo>
                  <a:pt x="271" y="144"/>
                  <a:pt x="270" y="138"/>
                  <a:pt x="270" y="133"/>
                </a:cubicBezTo>
                <a:cubicBezTo>
                  <a:pt x="269" y="131"/>
                  <a:pt x="269" y="129"/>
                  <a:pt x="269" y="128"/>
                </a:cubicBezTo>
                <a:cubicBezTo>
                  <a:pt x="267" y="114"/>
                  <a:pt x="264" y="101"/>
                  <a:pt x="260" y="89"/>
                </a:cubicBezTo>
                <a:cubicBezTo>
                  <a:pt x="260" y="88"/>
                  <a:pt x="259" y="87"/>
                  <a:pt x="259" y="87"/>
                </a:cubicBezTo>
                <a:cubicBezTo>
                  <a:pt x="271" y="81"/>
                  <a:pt x="282" y="74"/>
                  <a:pt x="292" y="65"/>
                </a:cubicBezTo>
                <a:cubicBezTo>
                  <a:pt x="318" y="93"/>
                  <a:pt x="335" y="129"/>
                  <a:pt x="337" y="169"/>
                </a:cubicBezTo>
                <a:moveTo>
                  <a:pt x="280" y="55"/>
                </a:moveTo>
                <a:cubicBezTo>
                  <a:pt x="272" y="61"/>
                  <a:pt x="264" y="67"/>
                  <a:pt x="254" y="72"/>
                </a:cubicBezTo>
                <a:cubicBezTo>
                  <a:pt x="253" y="71"/>
                  <a:pt x="253" y="70"/>
                  <a:pt x="253" y="69"/>
                </a:cubicBezTo>
                <a:cubicBezTo>
                  <a:pt x="253" y="69"/>
                  <a:pt x="252" y="68"/>
                  <a:pt x="252" y="68"/>
                </a:cubicBezTo>
                <a:cubicBezTo>
                  <a:pt x="247" y="56"/>
                  <a:pt x="241" y="46"/>
                  <a:pt x="235" y="37"/>
                </a:cubicBezTo>
                <a:cubicBezTo>
                  <a:pt x="235" y="36"/>
                  <a:pt x="234" y="36"/>
                  <a:pt x="234" y="36"/>
                </a:cubicBezTo>
                <a:cubicBezTo>
                  <a:pt x="231" y="31"/>
                  <a:pt x="228" y="27"/>
                  <a:pt x="224" y="24"/>
                </a:cubicBezTo>
                <a:cubicBezTo>
                  <a:pt x="245" y="30"/>
                  <a:pt x="264" y="41"/>
                  <a:pt x="280" y="55"/>
                </a:cubicBezTo>
                <a:moveTo>
                  <a:pt x="185" y="17"/>
                </a:moveTo>
                <a:cubicBezTo>
                  <a:pt x="207" y="22"/>
                  <a:pt x="226" y="44"/>
                  <a:pt x="240" y="78"/>
                </a:cubicBezTo>
                <a:cubicBezTo>
                  <a:pt x="223" y="84"/>
                  <a:pt x="204" y="87"/>
                  <a:pt x="185" y="88"/>
                </a:cubicBezTo>
                <a:lnTo>
                  <a:pt x="185" y="17"/>
                </a:lnTo>
                <a:close/>
                <a:moveTo>
                  <a:pt x="185" y="104"/>
                </a:moveTo>
                <a:cubicBezTo>
                  <a:pt x="206" y="103"/>
                  <a:pt x="226" y="100"/>
                  <a:pt x="245" y="93"/>
                </a:cubicBezTo>
                <a:cubicBezTo>
                  <a:pt x="252" y="115"/>
                  <a:pt x="256" y="141"/>
                  <a:pt x="257" y="169"/>
                </a:cubicBezTo>
                <a:cubicBezTo>
                  <a:pt x="185" y="169"/>
                  <a:pt x="185" y="169"/>
                  <a:pt x="185" y="169"/>
                </a:cubicBezTo>
                <a:lnTo>
                  <a:pt x="185" y="104"/>
                </a:lnTo>
                <a:close/>
                <a:moveTo>
                  <a:pt x="185" y="185"/>
                </a:moveTo>
                <a:cubicBezTo>
                  <a:pt x="257" y="185"/>
                  <a:pt x="257" y="185"/>
                  <a:pt x="257" y="185"/>
                </a:cubicBezTo>
                <a:cubicBezTo>
                  <a:pt x="256" y="213"/>
                  <a:pt x="252" y="239"/>
                  <a:pt x="245" y="261"/>
                </a:cubicBezTo>
                <a:cubicBezTo>
                  <a:pt x="226" y="254"/>
                  <a:pt x="206" y="250"/>
                  <a:pt x="185" y="250"/>
                </a:cubicBezTo>
                <a:lnTo>
                  <a:pt x="185" y="185"/>
                </a:lnTo>
                <a:close/>
                <a:moveTo>
                  <a:pt x="185" y="337"/>
                </a:moveTo>
                <a:cubicBezTo>
                  <a:pt x="185" y="266"/>
                  <a:pt x="185" y="266"/>
                  <a:pt x="185" y="266"/>
                </a:cubicBezTo>
                <a:cubicBezTo>
                  <a:pt x="204" y="266"/>
                  <a:pt x="223" y="270"/>
                  <a:pt x="240" y="276"/>
                </a:cubicBezTo>
                <a:cubicBezTo>
                  <a:pt x="226" y="310"/>
                  <a:pt x="207" y="332"/>
                  <a:pt x="185" y="337"/>
                </a:cubicBezTo>
                <a:moveTo>
                  <a:pt x="224" y="330"/>
                </a:moveTo>
                <a:cubicBezTo>
                  <a:pt x="228" y="327"/>
                  <a:pt x="231" y="323"/>
                  <a:pt x="234" y="318"/>
                </a:cubicBezTo>
                <a:cubicBezTo>
                  <a:pt x="234" y="318"/>
                  <a:pt x="235" y="317"/>
                  <a:pt x="235" y="317"/>
                </a:cubicBezTo>
                <a:cubicBezTo>
                  <a:pt x="241" y="308"/>
                  <a:pt x="247" y="298"/>
                  <a:pt x="252" y="286"/>
                </a:cubicBezTo>
                <a:cubicBezTo>
                  <a:pt x="252" y="286"/>
                  <a:pt x="253" y="285"/>
                  <a:pt x="253" y="284"/>
                </a:cubicBezTo>
                <a:cubicBezTo>
                  <a:pt x="253" y="284"/>
                  <a:pt x="253" y="283"/>
                  <a:pt x="254" y="282"/>
                </a:cubicBezTo>
                <a:cubicBezTo>
                  <a:pt x="264" y="287"/>
                  <a:pt x="272" y="293"/>
                  <a:pt x="280" y="299"/>
                </a:cubicBezTo>
                <a:cubicBezTo>
                  <a:pt x="264" y="313"/>
                  <a:pt x="245" y="324"/>
                  <a:pt x="224" y="330"/>
                </a:cubicBezTo>
                <a:moveTo>
                  <a:pt x="292" y="288"/>
                </a:moveTo>
                <a:cubicBezTo>
                  <a:pt x="282" y="280"/>
                  <a:pt x="271" y="273"/>
                  <a:pt x="259" y="267"/>
                </a:cubicBezTo>
                <a:cubicBezTo>
                  <a:pt x="259" y="267"/>
                  <a:pt x="260" y="266"/>
                  <a:pt x="260" y="265"/>
                </a:cubicBezTo>
                <a:cubicBezTo>
                  <a:pt x="264" y="253"/>
                  <a:pt x="267" y="240"/>
                  <a:pt x="269" y="226"/>
                </a:cubicBezTo>
                <a:cubicBezTo>
                  <a:pt x="269" y="224"/>
                  <a:pt x="269" y="223"/>
                  <a:pt x="270" y="221"/>
                </a:cubicBezTo>
                <a:cubicBezTo>
                  <a:pt x="270" y="216"/>
                  <a:pt x="271" y="210"/>
                  <a:pt x="272" y="205"/>
                </a:cubicBezTo>
                <a:cubicBezTo>
                  <a:pt x="272" y="203"/>
                  <a:pt x="272" y="201"/>
                  <a:pt x="272" y="199"/>
                </a:cubicBezTo>
                <a:cubicBezTo>
                  <a:pt x="272" y="194"/>
                  <a:pt x="272" y="190"/>
                  <a:pt x="273" y="185"/>
                </a:cubicBezTo>
                <a:cubicBezTo>
                  <a:pt x="337" y="185"/>
                  <a:pt x="337" y="185"/>
                  <a:pt x="337" y="185"/>
                </a:cubicBezTo>
                <a:cubicBezTo>
                  <a:pt x="335" y="225"/>
                  <a:pt x="318" y="261"/>
                  <a:pt x="292" y="288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16"/>
          <p:cNvSpPr>
            <a:spLocks noEditPoints="1"/>
          </p:cNvSpPr>
          <p:nvPr/>
        </p:nvSpPr>
        <p:spPr bwMode="auto">
          <a:xfrm>
            <a:off x="6335591" y="1720389"/>
            <a:ext cx="324611" cy="325795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24"/>
          <p:cNvSpPr>
            <a:spLocks noEditPoints="1"/>
          </p:cNvSpPr>
          <p:nvPr/>
        </p:nvSpPr>
        <p:spPr bwMode="auto">
          <a:xfrm>
            <a:off x="2426133" y="1751515"/>
            <a:ext cx="323425" cy="323425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116"/>
          <p:cNvSpPr>
            <a:spLocks noEditPoints="1"/>
          </p:cNvSpPr>
          <p:nvPr/>
        </p:nvSpPr>
        <p:spPr bwMode="auto">
          <a:xfrm>
            <a:off x="6337961" y="2755469"/>
            <a:ext cx="322241" cy="322241"/>
          </a:xfrm>
          <a:custGeom>
            <a:avLst/>
            <a:gdLst>
              <a:gd name="T0" fmla="*/ 184 w 353"/>
              <a:gd name="T1" fmla="*/ 217 h 353"/>
              <a:gd name="T2" fmla="*/ 216 w 353"/>
              <a:gd name="T3" fmla="*/ 249 h 353"/>
              <a:gd name="T4" fmla="*/ 216 w 353"/>
              <a:gd name="T5" fmla="*/ 160 h 353"/>
              <a:gd name="T6" fmla="*/ 184 w 353"/>
              <a:gd name="T7" fmla="*/ 192 h 353"/>
              <a:gd name="T8" fmla="*/ 216 w 353"/>
              <a:gd name="T9" fmla="*/ 160 h 353"/>
              <a:gd name="T10" fmla="*/ 184 w 353"/>
              <a:gd name="T11" fmla="*/ 273 h 353"/>
              <a:gd name="T12" fmla="*/ 216 w 353"/>
              <a:gd name="T13" fmla="*/ 305 h 353"/>
              <a:gd name="T14" fmla="*/ 264 w 353"/>
              <a:gd name="T15" fmla="*/ 160 h 353"/>
              <a:gd name="T16" fmla="*/ 232 w 353"/>
              <a:gd name="T17" fmla="*/ 192 h 353"/>
              <a:gd name="T18" fmla="*/ 264 w 353"/>
              <a:gd name="T19" fmla="*/ 160 h 353"/>
              <a:gd name="T20" fmla="*/ 281 w 353"/>
              <a:gd name="T21" fmla="*/ 160 h 353"/>
              <a:gd name="T22" fmla="*/ 313 w 353"/>
              <a:gd name="T23" fmla="*/ 192 h 353"/>
              <a:gd name="T24" fmla="*/ 264 w 353"/>
              <a:gd name="T25" fmla="*/ 217 h 353"/>
              <a:gd name="T26" fmla="*/ 232 w 353"/>
              <a:gd name="T27" fmla="*/ 249 h 353"/>
              <a:gd name="T28" fmla="*/ 264 w 353"/>
              <a:gd name="T29" fmla="*/ 217 h 353"/>
              <a:gd name="T30" fmla="*/ 281 w 353"/>
              <a:gd name="T31" fmla="*/ 217 h 353"/>
              <a:gd name="T32" fmla="*/ 313 w 353"/>
              <a:gd name="T33" fmla="*/ 249 h 353"/>
              <a:gd name="T34" fmla="*/ 168 w 353"/>
              <a:gd name="T35" fmla="*/ 217 h 353"/>
              <a:gd name="T36" fmla="*/ 136 w 353"/>
              <a:gd name="T37" fmla="*/ 249 h 353"/>
              <a:gd name="T38" fmla="*/ 168 w 353"/>
              <a:gd name="T39" fmla="*/ 217 h 353"/>
              <a:gd name="T40" fmla="*/ 136 w 353"/>
              <a:gd name="T41" fmla="*/ 160 h 353"/>
              <a:gd name="T42" fmla="*/ 168 w 353"/>
              <a:gd name="T43" fmla="*/ 192 h 353"/>
              <a:gd name="T44" fmla="*/ 168 w 353"/>
              <a:gd name="T45" fmla="*/ 273 h 353"/>
              <a:gd name="T46" fmla="*/ 136 w 353"/>
              <a:gd name="T47" fmla="*/ 305 h 353"/>
              <a:gd name="T48" fmla="*/ 168 w 353"/>
              <a:gd name="T49" fmla="*/ 273 h 353"/>
              <a:gd name="T50" fmla="*/ 40 w 353"/>
              <a:gd name="T51" fmla="*/ 217 h 353"/>
              <a:gd name="T52" fmla="*/ 72 w 353"/>
              <a:gd name="T53" fmla="*/ 249 h 353"/>
              <a:gd name="T54" fmla="*/ 72 w 353"/>
              <a:gd name="T55" fmla="*/ 160 h 353"/>
              <a:gd name="T56" fmla="*/ 40 w 353"/>
              <a:gd name="T57" fmla="*/ 192 h 353"/>
              <a:gd name="T58" fmla="*/ 72 w 353"/>
              <a:gd name="T59" fmla="*/ 160 h 353"/>
              <a:gd name="T60" fmla="*/ 289 w 353"/>
              <a:gd name="T61" fmla="*/ 32 h 353"/>
              <a:gd name="T62" fmla="*/ 281 w 353"/>
              <a:gd name="T63" fmla="*/ 0 h 353"/>
              <a:gd name="T64" fmla="*/ 272 w 353"/>
              <a:gd name="T65" fmla="*/ 32 h 353"/>
              <a:gd name="T66" fmla="*/ 80 w 353"/>
              <a:gd name="T67" fmla="*/ 8 h 353"/>
              <a:gd name="T68" fmla="*/ 64 w 353"/>
              <a:gd name="T69" fmla="*/ 8 h 353"/>
              <a:gd name="T70" fmla="*/ 32 w 353"/>
              <a:gd name="T71" fmla="*/ 32 h 353"/>
              <a:gd name="T72" fmla="*/ 0 w 353"/>
              <a:gd name="T73" fmla="*/ 321 h 353"/>
              <a:gd name="T74" fmla="*/ 321 w 353"/>
              <a:gd name="T75" fmla="*/ 353 h 353"/>
              <a:gd name="T76" fmla="*/ 353 w 353"/>
              <a:gd name="T77" fmla="*/ 64 h 353"/>
              <a:gd name="T78" fmla="*/ 337 w 353"/>
              <a:gd name="T79" fmla="*/ 321 h 353"/>
              <a:gd name="T80" fmla="*/ 32 w 353"/>
              <a:gd name="T81" fmla="*/ 337 h 353"/>
              <a:gd name="T82" fmla="*/ 16 w 353"/>
              <a:gd name="T83" fmla="*/ 128 h 353"/>
              <a:gd name="T84" fmla="*/ 337 w 353"/>
              <a:gd name="T85" fmla="*/ 321 h 353"/>
              <a:gd name="T86" fmla="*/ 16 w 353"/>
              <a:gd name="T87" fmla="*/ 112 h 353"/>
              <a:gd name="T88" fmla="*/ 32 w 353"/>
              <a:gd name="T89" fmla="*/ 48 h 353"/>
              <a:gd name="T90" fmla="*/ 64 w 353"/>
              <a:gd name="T91" fmla="*/ 72 h 353"/>
              <a:gd name="T92" fmla="*/ 80 w 353"/>
              <a:gd name="T93" fmla="*/ 72 h 353"/>
              <a:gd name="T94" fmla="*/ 272 w 353"/>
              <a:gd name="T95" fmla="*/ 48 h 353"/>
              <a:gd name="T96" fmla="*/ 281 w 353"/>
              <a:gd name="T97" fmla="*/ 80 h 353"/>
              <a:gd name="T98" fmla="*/ 289 w 353"/>
              <a:gd name="T99" fmla="*/ 48 h 353"/>
              <a:gd name="T100" fmla="*/ 337 w 353"/>
              <a:gd name="T101" fmla="*/ 64 h 353"/>
              <a:gd name="T102" fmla="*/ 72 w 353"/>
              <a:gd name="T103" fmla="*/ 273 h 353"/>
              <a:gd name="T104" fmla="*/ 40 w 353"/>
              <a:gd name="T105" fmla="*/ 305 h 353"/>
              <a:gd name="T106" fmla="*/ 72 w 353"/>
              <a:gd name="T107" fmla="*/ 273 h 353"/>
              <a:gd name="T108" fmla="*/ 88 w 353"/>
              <a:gd name="T109" fmla="*/ 160 h 353"/>
              <a:gd name="T110" fmla="*/ 120 w 353"/>
              <a:gd name="T111" fmla="*/ 192 h 353"/>
              <a:gd name="T112" fmla="*/ 120 w 353"/>
              <a:gd name="T113" fmla="*/ 273 h 353"/>
              <a:gd name="T114" fmla="*/ 88 w 353"/>
              <a:gd name="T115" fmla="*/ 305 h 353"/>
              <a:gd name="T116" fmla="*/ 120 w 353"/>
              <a:gd name="T117" fmla="*/ 273 h 353"/>
              <a:gd name="T118" fmla="*/ 88 w 353"/>
              <a:gd name="T119" fmla="*/ 217 h 353"/>
              <a:gd name="T120" fmla="*/ 120 w 353"/>
              <a:gd name="T121" fmla="*/ 24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216" y="217"/>
                </a:moveTo>
                <a:cubicBezTo>
                  <a:pt x="184" y="217"/>
                  <a:pt x="184" y="217"/>
                  <a:pt x="184" y="217"/>
                </a:cubicBezTo>
                <a:cubicBezTo>
                  <a:pt x="184" y="249"/>
                  <a:pt x="184" y="249"/>
                  <a:pt x="184" y="249"/>
                </a:cubicBezTo>
                <a:cubicBezTo>
                  <a:pt x="216" y="249"/>
                  <a:pt x="216" y="249"/>
                  <a:pt x="216" y="249"/>
                </a:cubicBezTo>
                <a:lnTo>
                  <a:pt x="216" y="217"/>
                </a:lnTo>
                <a:close/>
                <a:moveTo>
                  <a:pt x="216" y="160"/>
                </a:moveTo>
                <a:cubicBezTo>
                  <a:pt x="184" y="160"/>
                  <a:pt x="184" y="160"/>
                  <a:pt x="184" y="160"/>
                </a:cubicBezTo>
                <a:cubicBezTo>
                  <a:pt x="184" y="192"/>
                  <a:pt x="184" y="192"/>
                  <a:pt x="184" y="192"/>
                </a:cubicBezTo>
                <a:cubicBezTo>
                  <a:pt x="216" y="192"/>
                  <a:pt x="216" y="192"/>
                  <a:pt x="216" y="192"/>
                </a:cubicBezTo>
                <a:lnTo>
                  <a:pt x="216" y="160"/>
                </a:lnTo>
                <a:close/>
                <a:moveTo>
                  <a:pt x="216" y="273"/>
                </a:moveTo>
                <a:cubicBezTo>
                  <a:pt x="184" y="273"/>
                  <a:pt x="184" y="273"/>
                  <a:pt x="184" y="273"/>
                </a:cubicBezTo>
                <a:cubicBezTo>
                  <a:pt x="184" y="305"/>
                  <a:pt x="184" y="305"/>
                  <a:pt x="184" y="305"/>
                </a:cubicBezTo>
                <a:cubicBezTo>
                  <a:pt x="216" y="305"/>
                  <a:pt x="216" y="305"/>
                  <a:pt x="216" y="305"/>
                </a:cubicBezTo>
                <a:lnTo>
                  <a:pt x="216" y="273"/>
                </a:lnTo>
                <a:close/>
                <a:moveTo>
                  <a:pt x="264" y="160"/>
                </a:moveTo>
                <a:cubicBezTo>
                  <a:pt x="232" y="160"/>
                  <a:pt x="232" y="160"/>
                  <a:pt x="232" y="160"/>
                </a:cubicBezTo>
                <a:cubicBezTo>
                  <a:pt x="232" y="192"/>
                  <a:pt x="232" y="192"/>
                  <a:pt x="232" y="192"/>
                </a:cubicBezTo>
                <a:cubicBezTo>
                  <a:pt x="264" y="192"/>
                  <a:pt x="264" y="192"/>
                  <a:pt x="264" y="192"/>
                </a:cubicBezTo>
                <a:lnTo>
                  <a:pt x="264" y="160"/>
                </a:lnTo>
                <a:close/>
                <a:moveTo>
                  <a:pt x="313" y="160"/>
                </a:moveTo>
                <a:cubicBezTo>
                  <a:pt x="281" y="160"/>
                  <a:pt x="281" y="160"/>
                  <a:pt x="281" y="160"/>
                </a:cubicBezTo>
                <a:cubicBezTo>
                  <a:pt x="281" y="192"/>
                  <a:pt x="281" y="192"/>
                  <a:pt x="281" y="192"/>
                </a:cubicBezTo>
                <a:cubicBezTo>
                  <a:pt x="313" y="192"/>
                  <a:pt x="313" y="192"/>
                  <a:pt x="313" y="192"/>
                </a:cubicBezTo>
                <a:lnTo>
                  <a:pt x="313" y="160"/>
                </a:lnTo>
                <a:close/>
                <a:moveTo>
                  <a:pt x="264" y="217"/>
                </a:moveTo>
                <a:cubicBezTo>
                  <a:pt x="232" y="217"/>
                  <a:pt x="232" y="217"/>
                  <a:pt x="232" y="217"/>
                </a:cubicBezTo>
                <a:cubicBezTo>
                  <a:pt x="232" y="249"/>
                  <a:pt x="232" y="249"/>
                  <a:pt x="232" y="249"/>
                </a:cubicBezTo>
                <a:cubicBezTo>
                  <a:pt x="264" y="249"/>
                  <a:pt x="264" y="249"/>
                  <a:pt x="264" y="249"/>
                </a:cubicBezTo>
                <a:lnTo>
                  <a:pt x="264" y="217"/>
                </a:lnTo>
                <a:close/>
                <a:moveTo>
                  <a:pt x="313" y="217"/>
                </a:moveTo>
                <a:cubicBezTo>
                  <a:pt x="281" y="217"/>
                  <a:pt x="281" y="217"/>
                  <a:pt x="281" y="217"/>
                </a:cubicBezTo>
                <a:cubicBezTo>
                  <a:pt x="281" y="249"/>
                  <a:pt x="281" y="249"/>
                  <a:pt x="281" y="249"/>
                </a:cubicBezTo>
                <a:cubicBezTo>
                  <a:pt x="313" y="249"/>
                  <a:pt x="313" y="249"/>
                  <a:pt x="313" y="249"/>
                </a:cubicBezTo>
                <a:lnTo>
                  <a:pt x="313" y="217"/>
                </a:lnTo>
                <a:close/>
                <a:moveTo>
                  <a:pt x="168" y="217"/>
                </a:moveTo>
                <a:cubicBezTo>
                  <a:pt x="136" y="217"/>
                  <a:pt x="136" y="217"/>
                  <a:pt x="136" y="217"/>
                </a:cubicBezTo>
                <a:cubicBezTo>
                  <a:pt x="136" y="249"/>
                  <a:pt x="136" y="249"/>
                  <a:pt x="136" y="249"/>
                </a:cubicBezTo>
                <a:cubicBezTo>
                  <a:pt x="168" y="249"/>
                  <a:pt x="168" y="249"/>
                  <a:pt x="168" y="249"/>
                </a:cubicBezTo>
                <a:lnTo>
                  <a:pt x="168" y="217"/>
                </a:lnTo>
                <a:close/>
                <a:moveTo>
                  <a:pt x="168" y="160"/>
                </a:moveTo>
                <a:cubicBezTo>
                  <a:pt x="136" y="160"/>
                  <a:pt x="136" y="160"/>
                  <a:pt x="136" y="160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68" y="192"/>
                  <a:pt x="168" y="192"/>
                  <a:pt x="168" y="192"/>
                </a:cubicBezTo>
                <a:lnTo>
                  <a:pt x="168" y="160"/>
                </a:lnTo>
                <a:close/>
                <a:moveTo>
                  <a:pt x="168" y="273"/>
                </a:moveTo>
                <a:cubicBezTo>
                  <a:pt x="136" y="273"/>
                  <a:pt x="136" y="273"/>
                  <a:pt x="136" y="273"/>
                </a:cubicBezTo>
                <a:cubicBezTo>
                  <a:pt x="136" y="305"/>
                  <a:pt x="136" y="305"/>
                  <a:pt x="136" y="305"/>
                </a:cubicBezTo>
                <a:cubicBezTo>
                  <a:pt x="168" y="305"/>
                  <a:pt x="168" y="305"/>
                  <a:pt x="168" y="305"/>
                </a:cubicBezTo>
                <a:lnTo>
                  <a:pt x="168" y="273"/>
                </a:lnTo>
                <a:close/>
                <a:moveTo>
                  <a:pt x="72" y="217"/>
                </a:moveTo>
                <a:cubicBezTo>
                  <a:pt x="40" y="217"/>
                  <a:pt x="40" y="217"/>
                  <a:pt x="40" y="217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72" y="249"/>
                  <a:pt x="72" y="249"/>
                  <a:pt x="72" y="249"/>
                </a:cubicBezTo>
                <a:lnTo>
                  <a:pt x="72" y="217"/>
                </a:lnTo>
                <a:close/>
                <a:moveTo>
                  <a:pt x="72" y="160"/>
                </a:moveTo>
                <a:cubicBezTo>
                  <a:pt x="40" y="160"/>
                  <a:pt x="40" y="160"/>
                  <a:pt x="40" y="160"/>
                </a:cubicBezTo>
                <a:cubicBezTo>
                  <a:pt x="40" y="192"/>
                  <a:pt x="40" y="192"/>
                  <a:pt x="40" y="192"/>
                </a:cubicBezTo>
                <a:cubicBezTo>
                  <a:pt x="72" y="192"/>
                  <a:pt x="72" y="192"/>
                  <a:pt x="72" y="192"/>
                </a:cubicBezTo>
                <a:lnTo>
                  <a:pt x="72" y="160"/>
                </a:lnTo>
                <a:close/>
                <a:moveTo>
                  <a:pt x="321" y="32"/>
                </a:moveTo>
                <a:cubicBezTo>
                  <a:pt x="289" y="32"/>
                  <a:pt x="289" y="32"/>
                  <a:pt x="289" y="32"/>
                </a:cubicBezTo>
                <a:cubicBezTo>
                  <a:pt x="289" y="8"/>
                  <a:pt x="289" y="8"/>
                  <a:pt x="289" y="8"/>
                </a:cubicBezTo>
                <a:cubicBezTo>
                  <a:pt x="289" y="3"/>
                  <a:pt x="285" y="0"/>
                  <a:pt x="281" y="0"/>
                </a:cubicBezTo>
                <a:cubicBezTo>
                  <a:pt x="276" y="0"/>
                  <a:pt x="272" y="3"/>
                  <a:pt x="272" y="8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80" y="8"/>
                  <a:pt x="80" y="8"/>
                  <a:pt x="80" y="8"/>
                </a:cubicBezTo>
                <a:cubicBezTo>
                  <a:pt x="80" y="3"/>
                  <a:pt x="76" y="0"/>
                  <a:pt x="72" y="0"/>
                </a:cubicBezTo>
                <a:cubicBezTo>
                  <a:pt x="67" y="0"/>
                  <a:pt x="64" y="3"/>
                  <a:pt x="64" y="8"/>
                </a:cubicBezTo>
                <a:cubicBezTo>
                  <a:pt x="64" y="32"/>
                  <a:pt x="64" y="32"/>
                  <a:pt x="64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14" y="32"/>
                  <a:pt x="0" y="46"/>
                  <a:pt x="0" y="64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64"/>
                  <a:pt x="353" y="64"/>
                  <a:pt x="353" y="64"/>
                </a:cubicBezTo>
                <a:cubicBezTo>
                  <a:pt x="353" y="46"/>
                  <a:pt x="338" y="32"/>
                  <a:pt x="321" y="32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337" y="128"/>
                  <a:pt x="337" y="128"/>
                  <a:pt x="337" y="128"/>
                </a:cubicBezTo>
                <a:lnTo>
                  <a:pt x="337" y="321"/>
                </a:lnTo>
                <a:close/>
                <a:moveTo>
                  <a:pt x="337" y="112"/>
                </a:moveTo>
                <a:cubicBezTo>
                  <a:pt x="16" y="112"/>
                  <a:pt x="16" y="112"/>
                  <a:pt x="16" y="112"/>
                </a:cubicBezTo>
                <a:cubicBezTo>
                  <a:pt x="16" y="64"/>
                  <a:pt x="16" y="64"/>
                  <a:pt x="16" y="64"/>
                </a:cubicBezTo>
                <a:cubicBezTo>
                  <a:pt x="16" y="55"/>
                  <a:pt x="23" y="48"/>
                  <a:pt x="32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72"/>
                  <a:pt x="64" y="72"/>
                  <a:pt x="64" y="72"/>
                </a:cubicBezTo>
                <a:cubicBezTo>
                  <a:pt x="64" y="76"/>
                  <a:pt x="67" y="80"/>
                  <a:pt x="72" y="80"/>
                </a:cubicBezTo>
                <a:cubicBezTo>
                  <a:pt x="76" y="80"/>
                  <a:pt x="80" y="76"/>
                  <a:pt x="80" y="72"/>
                </a:cubicBezTo>
                <a:cubicBezTo>
                  <a:pt x="80" y="48"/>
                  <a:pt x="80" y="48"/>
                  <a:pt x="80" y="48"/>
                </a:cubicBezTo>
                <a:cubicBezTo>
                  <a:pt x="272" y="48"/>
                  <a:pt x="272" y="48"/>
                  <a:pt x="272" y="48"/>
                </a:cubicBezTo>
                <a:cubicBezTo>
                  <a:pt x="272" y="72"/>
                  <a:pt x="272" y="72"/>
                  <a:pt x="272" y="72"/>
                </a:cubicBezTo>
                <a:cubicBezTo>
                  <a:pt x="272" y="76"/>
                  <a:pt x="276" y="80"/>
                  <a:pt x="281" y="80"/>
                </a:cubicBezTo>
                <a:cubicBezTo>
                  <a:pt x="285" y="80"/>
                  <a:pt x="289" y="76"/>
                  <a:pt x="289" y="72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321" y="48"/>
                  <a:pt x="321" y="48"/>
                  <a:pt x="321" y="48"/>
                </a:cubicBezTo>
                <a:cubicBezTo>
                  <a:pt x="330" y="48"/>
                  <a:pt x="337" y="55"/>
                  <a:pt x="337" y="64"/>
                </a:cubicBezTo>
                <a:lnTo>
                  <a:pt x="337" y="112"/>
                </a:lnTo>
                <a:close/>
                <a:moveTo>
                  <a:pt x="72" y="273"/>
                </a:moveTo>
                <a:cubicBezTo>
                  <a:pt x="40" y="273"/>
                  <a:pt x="40" y="273"/>
                  <a:pt x="40" y="273"/>
                </a:cubicBezTo>
                <a:cubicBezTo>
                  <a:pt x="40" y="305"/>
                  <a:pt x="40" y="305"/>
                  <a:pt x="40" y="305"/>
                </a:cubicBezTo>
                <a:cubicBezTo>
                  <a:pt x="72" y="305"/>
                  <a:pt x="72" y="305"/>
                  <a:pt x="72" y="305"/>
                </a:cubicBezTo>
                <a:lnTo>
                  <a:pt x="72" y="273"/>
                </a:lnTo>
                <a:close/>
                <a:moveTo>
                  <a:pt x="120" y="160"/>
                </a:moveTo>
                <a:cubicBezTo>
                  <a:pt x="88" y="160"/>
                  <a:pt x="88" y="160"/>
                  <a:pt x="88" y="160"/>
                </a:cubicBezTo>
                <a:cubicBezTo>
                  <a:pt x="88" y="192"/>
                  <a:pt x="88" y="192"/>
                  <a:pt x="88" y="192"/>
                </a:cubicBezTo>
                <a:cubicBezTo>
                  <a:pt x="120" y="192"/>
                  <a:pt x="120" y="192"/>
                  <a:pt x="120" y="192"/>
                </a:cubicBezTo>
                <a:lnTo>
                  <a:pt x="120" y="160"/>
                </a:lnTo>
                <a:close/>
                <a:moveTo>
                  <a:pt x="120" y="273"/>
                </a:moveTo>
                <a:cubicBezTo>
                  <a:pt x="88" y="273"/>
                  <a:pt x="88" y="273"/>
                  <a:pt x="88" y="273"/>
                </a:cubicBezTo>
                <a:cubicBezTo>
                  <a:pt x="88" y="305"/>
                  <a:pt x="88" y="305"/>
                  <a:pt x="88" y="305"/>
                </a:cubicBezTo>
                <a:cubicBezTo>
                  <a:pt x="120" y="305"/>
                  <a:pt x="120" y="305"/>
                  <a:pt x="120" y="305"/>
                </a:cubicBezTo>
                <a:lnTo>
                  <a:pt x="120" y="273"/>
                </a:lnTo>
                <a:close/>
                <a:moveTo>
                  <a:pt x="120" y="217"/>
                </a:moveTo>
                <a:cubicBezTo>
                  <a:pt x="88" y="217"/>
                  <a:pt x="88" y="217"/>
                  <a:pt x="88" y="217"/>
                </a:cubicBezTo>
                <a:cubicBezTo>
                  <a:pt x="88" y="249"/>
                  <a:pt x="88" y="249"/>
                  <a:pt x="88" y="249"/>
                </a:cubicBezTo>
                <a:cubicBezTo>
                  <a:pt x="120" y="249"/>
                  <a:pt x="120" y="249"/>
                  <a:pt x="120" y="249"/>
                </a:cubicBezTo>
                <a:lnTo>
                  <a:pt x="120" y="217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117"/>
          <p:cNvSpPr>
            <a:spLocks noEditPoints="1"/>
          </p:cNvSpPr>
          <p:nvPr/>
        </p:nvSpPr>
        <p:spPr bwMode="auto">
          <a:xfrm>
            <a:off x="2426133" y="3803492"/>
            <a:ext cx="322241" cy="322241"/>
          </a:xfrm>
          <a:custGeom>
            <a:avLst/>
            <a:gdLst>
              <a:gd name="T0" fmla="*/ 353 w 353"/>
              <a:gd name="T1" fmla="*/ 136 h 353"/>
              <a:gd name="T2" fmla="*/ 349 w 353"/>
              <a:gd name="T3" fmla="*/ 97 h 353"/>
              <a:gd name="T4" fmla="*/ 180 w 353"/>
              <a:gd name="T5" fmla="*/ 1 h 353"/>
              <a:gd name="T6" fmla="*/ 176 w 353"/>
              <a:gd name="T7" fmla="*/ 0 h 353"/>
              <a:gd name="T8" fmla="*/ 173 w 353"/>
              <a:gd name="T9" fmla="*/ 1 h 353"/>
              <a:gd name="T10" fmla="*/ 4 w 353"/>
              <a:gd name="T11" fmla="*/ 97 h 353"/>
              <a:gd name="T12" fmla="*/ 0 w 353"/>
              <a:gd name="T13" fmla="*/ 136 h 353"/>
              <a:gd name="T14" fmla="*/ 32 w 353"/>
              <a:gd name="T15" fmla="*/ 144 h 353"/>
              <a:gd name="T16" fmla="*/ 24 w 353"/>
              <a:gd name="T17" fmla="*/ 289 h 353"/>
              <a:gd name="T18" fmla="*/ 16 w 353"/>
              <a:gd name="T19" fmla="*/ 294 h 353"/>
              <a:gd name="T20" fmla="*/ 0 w 353"/>
              <a:gd name="T21" fmla="*/ 342 h 353"/>
              <a:gd name="T22" fmla="*/ 8 w 353"/>
              <a:gd name="T23" fmla="*/ 353 h 353"/>
              <a:gd name="T24" fmla="*/ 353 w 353"/>
              <a:gd name="T25" fmla="*/ 345 h 353"/>
              <a:gd name="T26" fmla="*/ 353 w 353"/>
              <a:gd name="T27" fmla="*/ 342 h 353"/>
              <a:gd name="T28" fmla="*/ 337 w 353"/>
              <a:gd name="T29" fmla="*/ 294 h 353"/>
              <a:gd name="T30" fmla="*/ 321 w 353"/>
              <a:gd name="T31" fmla="*/ 289 h 353"/>
              <a:gd name="T32" fmla="*/ 345 w 353"/>
              <a:gd name="T33" fmla="*/ 144 h 353"/>
              <a:gd name="T34" fmla="*/ 315 w 353"/>
              <a:gd name="T35" fmla="*/ 96 h 353"/>
              <a:gd name="T36" fmla="*/ 176 w 353"/>
              <a:gd name="T37" fmla="*/ 17 h 353"/>
              <a:gd name="T38" fmla="*/ 334 w 353"/>
              <a:gd name="T39" fmla="*/ 337 h 353"/>
              <a:gd name="T40" fmla="*/ 30 w 353"/>
              <a:gd name="T41" fmla="*/ 305 h 353"/>
              <a:gd name="T42" fmla="*/ 48 w 353"/>
              <a:gd name="T43" fmla="*/ 144 h 353"/>
              <a:gd name="T44" fmla="*/ 80 w 353"/>
              <a:gd name="T45" fmla="*/ 289 h 353"/>
              <a:gd name="T46" fmla="*/ 48 w 353"/>
              <a:gd name="T47" fmla="*/ 144 h 353"/>
              <a:gd name="T48" fmla="*/ 128 w 353"/>
              <a:gd name="T49" fmla="*/ 144 h 353"/>
              <a:gd name="T50" fmla="*/ 96 w 353"/>
              <a:gd name="T51" fmla="*/ 289 h 353"/>
              <a:gd name="T52" fmla="*/ 144 w 353"/>
              <a:gd name="T53" fmla="*/ 144 h 353"/>
              <a:gd name="T54" fmla="*/ 209 w 353"/>
              <a:gd name="T55" fmla="*/ 289 h 353"/>
              <a:gd name="T56" fmla="*/ 144 w 353"/>
              <a:gd name="T57" fmla="*/ 144 h 353"/>
              <a:gd name="T58" fmla="*/ 257 w 353"/>
              <a:gd name="T59" fmla="*/ 144 h 353"/>
              <a:gd name="T60" fmla="*/ 225 w 353"/>
              <a:gd name="T61" fmla="*/ 289 h 353"/>
              <a:gd name="T62" fmla="*/ 273 w 353"/>
              <a:gd name="T63" fmla="*/ 144 h 353"/>
              <a:gd name="T64" fmla="*/ 305 w 353"/>
              <a:gd name="T65" fmla="*/ 289 h 353"/>
              <a:gd name="T66" fmla="*/ 273 w 353"/>
              <a:gd name="T67" fmla="*/ 144 h 353"/>
              <a:gd name="T68" fmla="*/ 337 w 353"/>
              <a:gd name="T69" fmla="*/ 112 h 353"/>
              <a:gd name="T70" fmla="*/ 16 w 353"/>
              <a:gd name="T71" fmla="*/ 12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345" y="144"/>
                </a:moveTo>
                <a:cubicBezTo>
                  <a:pt x="350" y="144"/>
                  <a:pt x="353" y="141"/>
                  <a:pt x="353" y="136"/>
                </a:cubicBezTo>
                <a:cubicBezTo>
                  <a:pt x="353" y="104"/>
                  <a:pt x="353" y="104"/>
                  <a:pt x="353" y="104"/>
                </a:cubicBezTo>
                <a:cubicBezTo>
                  <a:pt x="353" y="101"/>
                  <a:pt x="351" y="99"/>
                  <a:pt x="349" y="97"/>
                </a:cubicBezTo>
                <a:cubicBezTo>
                  <a:pt x="349" y="97"/>
                  <a:pt x="349" y="97"/>
                  <a:pt x="349" y="97"/>
                </a:cubicBezTo>
                <a:cubicBezTo>
                  <a:pt x="180" y="1"/>
                  <a:pt x="180" y="1"/>
                  <a:pt x="180" y="1"/>
                </a:cubicBezTo>
                <a:cubicBezTo>
                  <a:pt x="180" y="1"/>
                  <a:pt x="180" y="1"/>
                  <a:pt x="180" y="1"/>
                </a:cubicBezTo>
                <a:cubicBezTo>
                  <a:pt x="179" y="0"/>
                  <a:pt x="178" y="0"/>
                  <a:pt x="176" y="0"/>
                </a:cubicBezTo>
                <a:cubicBezTo>
                  <a:pt x="175" y="0"/>
                  <a:pt x="174" y="0"/>
                  <a:pt x="173" y="1"/>
                </a:cubicBezTo>
                <a:cubicBezTo>
                  <a:pt x="173" y="1"/>
                  <a:pt x="173" y="1"/>
                  <a:pt x="173" y="1"/>
                </a:cubicBezTo>
                <a:cubicBezTo>
                  <a:pt x="4" y="97"/>
                  <a:pt x="4" y="97"/>
                  <a:pt x="4" y="97"/>
                </a:cubicBezTo>
                <a:cubicBezTo>
                  <a:pt x="4" y="97"/>
                  <a:pt x="4" y="97"/>
                  <a:pt x="4" y="97"/>
                </a:cubicBezTo>
                <a:cubicBezTo>
                  <a:pt x="2" y="99"/>
                  <a:pt x="0" y="101"/>
                  <a:pt x="0" y="104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41"/>
                  <a:pt x="3" y="144"/>
                  <a:pt x="8" y="144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4" y="289"/>
                  <a:pt x="24" y="289"/>
                  <a:pt x="24" y="289"/>
                </a:cubicBezTo>
                <a:cubicBezTo>
                  <a:pt x="20" y="289"/>
                  <a:pt x="18" y="291"/>
                  <a:pt x="16" y="294"/>
                </a:cubicBezTo>
                <a:cubicBezTo>
                  <a:pt x="16" y="294"/>
                  <a:pt x="16" y="294"/>
                  <a:pt x="16" y="294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3"/>
                  <a:pt x="0" y="344"/>
                  <a:pt x="0" y="345"/>
                </a:cubicBezTo>
                <a:cubicBezTo>
                  <a:pt x="0" y="349"/>
                  <a:pt x="3" y="353"/>
                  <a:pt x="8" y="353"/>
                </a:cubicBezTo>
                <a:cubicBezTo>
                  <a:pt x="345" y="353"/>
                  <a:pt x="345" y="353"/>
                  <a:pt x="345" y="353"/>
                </a:cubicBezTo>
                <a:cubicBezTo>
                  <a:pt x="350" y="353"/>
                  <a:pt x="353" y="349"/>
                  <a:pt x="353" y="345"/>
                </a:cubicBezTo>
                <a:cubicBezTo>
                  <a:pt x="353" y="344"/>
                  <a:pt x="353" y="343"/>
                  <a:pt x="353" y="342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5" y="291"/>
                  <a:pt x="333" y="289"/>
                  <a:pt x="329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21" y="144"/>
                  <a:pt x="321" y="144"/>
                  <a:pt x="321" y="144"/>
                </a:cubicBezTo>
                <a:lnTo>
                  <a:pt x="345" y="144"/>
                </a:lnTo>
                <a:close/>
                <a:moveTo>
                  <a:pt x="176" y="17"/>
                </a:moveTo>
                <a:cubicBezTo>
                  <a:pt x="315" y="96"/>
                  <a:pt x="315" y="96"/>
                  <a:pt x="315" y="96"/>
                </a:cubicBezTo>
                <a:cubicBezTo>
                  <a:pt x="38" y="96"/>
                  <a:pt x="38" y="96"/>
                  <a:pt x="38" y="96"/>
                </a:cubicBezTo>
                <a:lnTo>
                  <a:pt x="176" y="17"/>
                </a:lnTo>
                <a:close/>
                <a:moveTo>
                  <a:pt x="323" y="305"/>
                </a:moveTo>
                <a:cubicBezTo>
                  <a:pt x="334" y="337"/>
                  <a:pt x="334" y="337"/>
                  <a:pt x="334" y="337"/>
                </a:cubicBezTo>
                <a:cubicBezTo>
                  <a:pt x="19" y="337"/>
                  <a:pt x="19" y="337"/>
                  <a:pt x="19" y="337"/>
                </a:cubicBezTo>
                <a:cubicBezTo>
                  <a:pt x="30" y="305"/>
                  <a:pt x="30" y="305"/>
                  <a:pt x="30" y="305"/>
                </a:cubicBezTo>
                <a:lnTo>
                  <a:pt x="323" y="305"/>
                </a:lnTo>
                <a:close/>
                <a:moveTo>
                  <a:pt x="48" y="144"/>
                </a:moveTo>
                <a:cubicBezTo>
                  <a:pt x="80" y="144"/>
                  <a:pt x="80" y="144"/>
                  <a:pt x="80" y="144"/>
                </a:cubicBezTo>
                <a:cubicBezTo>
                  <a:pt x="80" y="289"/>
                  <a:pt x="80" y="289"/>
                  <a:pt x="80" y="289"/>
                </a:cubicBezTo>
                <a:cubicBezTo>
                  <a:pt x="48" y="289"/>
                  <a:pt x="48" y="289"/>
                  <a:pt x="48" y="289"/>
                </a:cubicBezTo>
                <a:lnTo>
                  <a:pt x="48" y="144"/>
                </a:lnTo>
                <a:close/>
                <a:moveTo>
                  <a:pt x="96" y="144"/>
                </a:moveTo>
                <a:cubicBezTo>
                  <a:pt x="128" y="144"/>
                  <a:pt x="128" y="144"/>
                  <a:pt x="128" y="144"/>
                </a:cubicBezTo>
                <a:cubicBezTo>
                  <a:pt x="128" y="289"/>
                  <a:pt x="128" y="289"/>
                  <a:pt x="128" y="289"/>
                </a:cubicBezTo>
                <a:cubicBezTo>
                  <a:pt x="96" y="289"/>
                  <a:pt x="96" y="289"/>
                  <a:pt x="96" y="289"/>
                </a:cubicBezTo>
                <a:lnTo>
                  <a:pt x="96" y="144"/>
                </a:lnTo>
                <a:close/>
                <a:moveTo>
                  <a:pt x="144" y="144"/>
                </a:moveTo>
                <a:cubicBezTo>
                  <a:pt x="209" y="144"/>
                  <a:pt x="209" y="144"/>
                  <a:pt x="209" y="14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144" y="289"/>
                  <a:pt x="144" y="289"/>
                  <a:pt x="144" y="289"/>
                </a:cubicBezTo>
                <a:lnTo>
                  <a:pt x="144" y="144"/>
                </a:lnTo>
                <a:close/>
                <a:moveTo>
                  <a:pt x="225" y="144"/>
                </a:moveTo>
                <a:cubicBezTo>
                  <a:pt x="257" y="144"/>
                  <a:pt x="257" y="144"/>
                  <a:pt x="257" y="144"/>
                </a:cubicBezTo>
                <a:cubicBezTo>
                  <a:pt x="257" y="289"/>
                  <a:pt x="257" y="289"/>
                  <a:pt x="257" y="289"/>
                </a:cubicBezTo>
                <a:cubicBezTo>
                  <a:pt x="225" y="289"/>
                  <a:pt x="225" y="289"/>
                  <a:pt x="225" y="289"/>
                </a:cubicBezTo>
                <a:lnTo>
                  <a:pt x="225" y="144"/>
                </a:lnTo>
                <a:close/>
                <a:moveTo>
                  <a:pt x="273" y="144"/>
                </a:moveTo>
                <a:cubicBezTo>
                  <a:pt x="305" y="144"/>
                  <a:pt x="305" y="144"/>
                  <a:pt x="305" y="144"/>
                </a:cubicBezTo>
                <a:cubicBezTo>
                  <a:pt x="305" y="289"/>
                  <a:pt x="305" y="289"/>
                  <a:pt x="305" y="289"/>
                </a:cubicBezTo>
                <a:cubicBezTo>
                  <a:pt x="273" y="289"/>
                  <a:pt x="273" y="289"/>
                  <a:pt x="273" y="289"/>
                </a:cubicBezTo>
                <a:lnTo>
                  <a:pt x="273" y="144"/>
                </a:lnTo>
                <a:close/>
                <a:moveTo>
                  <a:pt x="16" y="112"/>
                </a:moveTo>
                <a:cubicBezTo>
                  <a:pt x="337" y="112"/>
                  <a:pt x="337" y="112"/>
                  <a:pt x="337" y="112"/>
                </a:cubicBezTo>
                <a:cubicBezTo>
                  <a:pt x="337" y="128"/>
                  <a:pt x="337" y="128"/>
                  <a:pt x="337" y="128"/>
                </a:cubicBezTo>
                <a:cubicBezTo>
                  <a:pt x="16" y="128"/>
                  <a:pt x="16" y="128"/>
                  <a:pt x="16" y="128"/>
                </a:cubicBezTo>
                <a:lnTo>
                  <a:pt x="16" y="112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6336777" y="3801804"/>
            <a:ext cx="323425" cy="296177"/>
          </a:xfrm>
          <a:custGeom>
            <a:avLst/>
            <a:gdLst>
              <a:gd name="T0" fmla="*/ 96 w 353"/>
              <a:gd name="T1" fmla="*/ 121 h 322"/>
              <a:gd name="T2" fmla="*/ 72 w 353"/>
              <a:gd name="T3" fmla="*/ 145 h 322"/>
              <a:gd name="T4" fmla="*/ 96 w 353"/>
              <a:gd name="T5" fmla="*/ 169 h 322"/>
              <a:gd name="T6" fmla="*/ 120 w 353"/>
              <a:gd name="T7" fmla="*/ 145 h 322"/>
              <a:gd name="T8" fmla="*/ 96 w 353"/>
              <a:gd name="T9" fmla="*/ 121 h 322"/>
              <a:gd name="T10" fmla="*/ 176 w 353"/>
              <a:gd name="T11" fmla="*/ 121 h 322"/>
              <a:gd name="T12" fmla="*/ 152 w 353"/>
              <a:gd name="T13" fmla="*/ 145 h 322"/>
              <a:gd name="T14" fmla="*/ 176 w 353"/>
              <a:gd name="T15" fmla="*/ 169 h 322"/>
              <a:gd name="T16" fmla="*/ 200 w 353"/>
              <a:gd name="T17" fmla="*/ 145 h 322"/>
              <a:gd name="T18" fmla="*/ 176 w 353"/>
              <a:gd name="T19" fmla="*/ 121 h 322"/>
              <a:gd name="T20" fmla="*/ 176 w 353"/>
              <a:gd name="T21" fmla="*/ 0 h 322"/>
              <a:gd name="T22" fmla="*/ 0 w 353"/>
              <a:gd name="T23" fmla="*/ 145 h 322"/>
              <a:gd name="T24" fmla="*/ 50 w 353"/>
              <a:gd name="T25" fmla="*/ 246 h 322"/>
              <a:gd name="T26" fmla="*/ 32 w 353"/>
              <a:gd name="T27" fmla="*/ 322 h 322"/>
              <a:gd name="T28" fmla="*/ 127 w 353"/>
              <a:gd name="T29" fmla="*/ 284 h 322"/>
              <a:gd name="T30" fmla="*/ 176 w 353"/>
              <a:gd name="T31" fmla="*/ 289 h 322"/>
              <a:gd name="T32" fmla="*/ 353 w 353"/>
              <a:gd name="T33" fmla="*/ 145 h 322"/>
              <a:gd name="T34" fmla="*/ 176 w 353"/>
              <a:gd name="T35" fmla="*/ 0 h 322"/>
              <a:gd name="T36" fmla="*/ 176 w 353"/>
              <a:gd name="T37" fmla="*/ 273 h 322"/>
              <a:gd name="T38" fmla="*/ 130 w 353"/>
              <a:gd name="T39" fmla="*/ 268 h 322"/>
              <a:gd name="T40" fmla="*/ 127 w 353"/>
              <a:gd name="T41" fmla="*/ 268 h 322"/>
              <a:gd name="T42" fmla="*/ 121 w 353"/>
              <a:gd name="T43" fmla="*/ 269 h 322"/>
              <a:gd name="T44" fmla="*/ 54 w 353"/>
              <a:gd name="T45" fmla="*/ 295 h 322"/>
              <a:gd name="T46" fmla="*/ 65 w 353"/>
              <a:gd name="T47" fmla="*/ 249 h 322"/>
              <a:gd name="T48" fmla="*/ 60 w 353"/>
              <a:gd name="T49" fmla="*/ 233 h 322"/>
              <a:gd name="T50" fmla="*/ 16 w 353"/>
              <a:gd name="T51" fmla="*/ 145 h 322"/>
              <a:gd name="T52" fmla="*/ 176 w 353"/>
              <a:gd name="T53" fmla="*/ 17 h 322"/>
              <a:gd name="T54" fmla="*/ 337 w 353"/>
              <a:gd name="T55" fmla="*/ 145 h 322"/>
              <a:gd name="T56" fmla="*/ 176 w 353"/>
              <a:gd name="T57" fmla="*/ 273 h 322"/>
              <a:gd name="T58" fmla="*/ 256 w 353"/>
              <a:gd name="T59" fmla="*/ 121 h 322"/>
              <a:gd name="T60" fmla="*/ 232 w 353"/>
              <a:gd name="T61" fmla="*/ 145 h 322"/>
              <a:gd name="T62" fmla="*/ 256 w 353"/>
              <a:gd name="T63" fmla="*/ 169 h 322"/>
              <a:gd name="T64" fmla="*/ 281 w 353"/>
              <a:gd name="T65" fmla="*/ 145 h 322"/>
              <a:gd name="T66" fmla="*/ 256 w 353"/>
              <a:gd name="T67" fmla="*/ 121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322">
                <a:moveTo>
                  <a:pt x="96" y="121"/>
                </a:moveTo>
                <a:cubicBezTo>
                  <a:pt x="83" y="121"/>
                  <a:pt x="72" y="132"/>
                  <a:pt x="72" y="145"/>
                </a:cubicBezTo>
                <a:cubicBezTo>
                  <a:pt x="72" y="158"/>
                  <a:pt x="83" y="169"/>
                  <a:pt x="96" y="169"/>
                </a:cubicBezTo>
                <a:cubicBezTo>
                  <a:pt x="109" y="169"/>
                  <a:pt x="120" y="158"/>
                  <a:pt x="120" y="145"/>
                </a:cubicBezTo>
                <a:cubicBezTo>
                  <a:pt x="120" y="132"/>
                  <a:pt x="109" y="121"/>
                  <a:pt x="96" y="121"/>
                </a:cubicBezTo>
                <a:moveTo>
                  <a:pt x="176" y="121"/>
                </a:moveTo>
                <a:cubicBezTo>
                  <a:pt x="163" y="121"/>
                  <a:pt x="152" y="132"/>
                  <a:pt x="152" y="145"/>
                </a:cubicBezTo>
                <a:cubicBezTo>
                  <a:pt x="152" y="158"/>
                  <a:pt x="163" y="169"/>
                  <a:pt x="176" y="169"/>
                </a:cubicBezTo>
                <a:cubicBezTo>
                  <a:pt x="189" y="169"/>
                  <a:pt x="200" y="158"/>
                  <a:pt x="200" y="145"/>
                </a:cubicBezTo>
                <a:cubicBezTo>
                  <a:pt x="200" y="132"/>
                  <a:pt x="189" y="121"/>
                  <a:pt x="176" y="121"/>
                </a:cubicBezTo>
                <a:moveTo>
                  <a:pt x="176" y="0"/>
                </a:moveTo>
                <a:cubicBezTo>
                  <a:pt x="79" y="0"/>
                  <a:pt x="0" y="65"/>
                  <a:pt x="0" y="145"/>
                </a:cubicBezTo>
                <a:cubicBezTo>
                  <a:pt x="0" y="184"/>
                  <a:pt x="19" y="220"/>
                  <a:pt x="50" y="246"/>
                </a:cubicBezTo>
                <a:cubicBezTo>
                  <a:pt x="32" y="322"/>
                  <a:pt x="32" y="322"/>
                  <a:pt x="32" y="322"/>
                </a:cubicBezTo>
                <a:cubicBezTo>
                  <a:pt x="127" y="284"/>
                  <a:pt x="127" y="284"/>
                  <a:pt x="127" y="284"/>
                </a:cubicBezTo>
                <a:cubicBezTo>
                  <a:pt x="142" y="287"/>
                  <a:pt x="159" y="289"/>
                  <a:pt x="176" y="289"/>
                </a:cubicBezTo>
                <a:cubicBezTo>
                  <a:pt x="274" y="289"/>
                  <a:pt x="353" y="225"/>
                  <a:pt x="353" y="145"/>
                </a:cubicBezTo>
                <a:cubicBezTo>
                  <a:pt x="353" y="65"/>
                  <a:pt x="274" y="0"/>
                  <a:pt x="176" y="0"/>
                </a:cubicBezTo>
                <a:moveTo>
                  <a:pt x="176" y="273"/>
                </a:moveTo>
                <a:cubicBezTo>
                  <a:pt x="161" y="273"/>
                  <a:pt x="145" y="272"/>
                  <a:pt x="130" y="268"/>
                </a:cubicBezTo>
                <a:cubicBezTo>
                  <a:pt x="129" y="268"/>
                  <a:pt x="128" y="268"/>
                  <a:pt x="127" y="268"/>
                </a:cubicBezTo>
                <a:cubicBezTo>
                  <a:pt x="125" y="268"/>
                  <a:pt x="123" y="268"/>
                  <a:pt x="121" y="269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65" y="249"/>
                  <a:pt x="65" y="249"/>
                  <a:pt x="65" y="249"/>
                </a:cubicBezTo>
                <a:cubicBezTo>
                  <a:pt x="67" y="243"/>
                  <a:pt x="65" y="237"/>
                  <a:pt x="60" y="233"/>
                </a:cubicBezTo>
                <a:cubicBezTo>
                  <a:pt x="31" y="209"/>
                  <a:pt x="16" y="178"/>
                  <a:pt x="16" y="145"/>
                </a:cubicBezTo>
                <a:cubicBezTo>
                  <a:pt x="16" y="74"/>
                  <a:pt x="88" y="17"/>
                  <a:pt x="176" y="17"/>
                </a:cubicBezTo>
                <a:cubicBezTo>
                  <a:pt x="265" y="17"/>
                  <a:pt x="337" y="74"/>
                  <a:pt x="337" y="145"/>
                </a:cubicBezTo>
                <a:cubicBezTo>
                  <a:pt x="337" y="216"/>
                  <a:pt x="265" y="273"/>
                  <a:pt x="176" y="273"/>
                </a:cubicBezTo>
                <a:moveTo>
                  <a:pt x="256" y="121"/>
                </a:moveTo>
                <a:cubicBezTo>
                  <a:pt x="243" y="121"/>
                  <a:pt x="232" y="132"/>
                  <a:pt x="232" y="145"/>
                </a:cubicBezTo>
                <a:cubicBezTo>
                  <a:pt x="232" y="158"/>
                  <a:pt x="243" y="169"/>
                  <a:pt x="256" y="169"/>
                </a:cubicBezTo>
                <a:cubicBezTo>
                  <a:pt x="270" y="169"/>
                  <a:pt x="281" y="158"/>
                  <a:pt x="281" y="145"/>
                </a:cubicBezTo>
                <a:cubicBezTo>
                  <a:pt x="281" y="132"/>
                  <a:pt x="270" y="121"/>
                  <a:pt x="256" y="121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2978862" y="2916590"/>
            <a:ext cx="446055" cy="0"/>
          </a:xfrm>
          <a:prstGeom prst="line">
            <a:avLst/>
          </a:prstGeom>
          <a:ln w="9525">
            <a:solidFill>
              <a:schemeClr val="accent5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c 50"/>
          <p:cNvSpPr/>
          <p:nvPr/>
        </p:nvSpPr>
        <p:spPr>
          <a:xfrm flipH="1">
            <a:off x="2978026" y="1883287"/>
            <a:ext cx="470677" cy="254695"/>
          </a:xfrm>
          <a:custGeom>
            <a:avLst/>
            <a:gdLst>
              <a:gd name="connsiteX0" fmla="*/ 910761 w 5723228"/>
              <a:gd name="connsiteY0" fmla="*/ 768050 h 5723226"/>
              <a:gd name="connsiteX1" fmla="*/ 2176174 w 5723228"/>
              <a:gd name="connsiteY1" fmla="*/ 83304 h 5723226"/>
              <a:gd name="connsiteX2" fmla="*/ 2861614 w 5723228"/>
              <a:gd name="connsiteY2" fmla="*/ 2861613 h 5723226"/>
              <a:gd name="connsiteX3" fmla="*/ 910761 w 5723228"/>
              <a:gd name="connsiteY3" fmla="*/ 768050 h 5723226"/>
              <a:gd name="connsiteX0" fmla="*/ 910761 w 5723228"/>
              <a:gd name="connsiteY0" fmla="*/ 768050 h 5723226"/>
              <a:gd name="connsiteX1" fmla="*/ 2176174 w 5723228"/>
              <a:gd name="connsiteY1" fmla="*/ 83304 h 5723226"/>
              <a:gd name="connsiteX0" fmla="*/ 0 w 1265413"/>
              <a:gd name="connsiteY0" fmla="*/ 684746 h 684746"/>
              <a:gd name="connsiteX1" fmla="*/ 1265413 w 1265413"/>
              <a:gd name="connsiteY1" fmla="*/ 0 h 684746"/>
              <a:gd name="connsiteX2" fmla="*/ 0 w 1265413"/>
              <a:gd name="connsiteY2" fmla="*/ 684746 h 684746"/>
              <a:gd name="connsiteX0" fmla="*/ 0 w 1265413"/>
              <a:gd name="connsiteY0" fmla="*/ 684746 h 684746"/>
              <a:gd name="connsiteX1" fmla="*/ 1265413 w 1265413"/>
              <a:gd name="connsiteY1" fmla="*/ 0 h 68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65413" h="684746" stroke="0" extrusionOk="0">
                <a:moveTo>
                  <a:pt x="0" y="684746"/>
                </a:moveTo>
                <a:cubicBezTo>
                  <a:pt x="356603" y="352451"/>
                  <a:pt x="792175" y="116753"/>
                  <a:pt x="1265413" y="0"/>
                </a:cubicBezTo>
                <a:lnTo>
                  <a:pt x="0" y="684746"/>
                </a:lnTo>
                <a:close/>
              </a:path>
              <a:path w="1265413" h="684746" fill="none">
                <a:moveTo>
                  <a:pt x="0" y="684746"/>
                </a:moveTo>
                <a:cubicBezTo>
                  <a:pt x="356603" y="352451"/>
                  <a:pt x="792175" y="116753"/>
                  <a:pt x="1265413" y="0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none" w="med" len="med"/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3" name="Arc 52"/>
          <p:cNvSpPr/>
          <p:nvPr/>
        </p:nvSpPr>
        <p:spPr>
          <a:xfrm flipH="1">
            <a:off x="2978862" y="3442947"/>
            <a:ext cx="669406" cy="506946"/>
          </a:xfrm>
          <a:custGeom>
            <a:avLst/>
            <a:gdLst>
              <a:gd name="connsiteX0" fmla="*/ 2173926 w 5723228"/>
              <a:gd name="connsiteY0" fmla="*/ 5639367 h 5723226"/>
              <a:gd name="connsiteX1" fmla="*/ 374229 w 5723228"/>
              <a:gd name="connsiteY1" fmla="*/ 4276445 h 5723226"/>
              <a:gd name="connsiteX2" fmla="*/ 2861614 w 5723228"/>
              <a:gd name="connsiteY2" fmla="*/ 2861613 h 5723226"/>
              <a:gd name="connsiteX3" fmla="*/ 2173926 w 5723228"/>
              <a:gd name="connsiteY3" fmla="*/ 5639367 h 5723226"/>
              <a:gd name="connsiteX0" fmla="*/ 2173926 w 5723228"/>
              <a:gd name="connsiteY0" fmla="*/ 5639367 h 5723226"/>
              <a:gd name="connsiteX1" fmla="*/ 374229 w 5723228"/>
              <a:gd name="connsiteY1" fmla="*/ 4276445 h 5723226"/>
              <a:gd name="connsiteX0" fmla="*/ 1799697 w 1799697"/>
              <a:gd name="connsiteY0" fmla="*/ 1362922 h 1362922"/>
              <a:gd name="connsiteX1" fmla="*/ 0 w 1799697"/>
              <a:gd name="connsiteY1" fmla="*/ 0 h 1362922"/>
              <a:gd name="connsiteX2" fmla="*/ 1799697 w 1799697"/>
              <a:gd name="connsiteY2" fmla="*/ 1362922 h 1362922"/>
              <a:gd name="connsiteX0" fmla="*/ 1799697 w 1799697"/>
              <a:gd name="connsiteY0" fmla="*/ 1362922 h 1362922"/>
              <a:gd name="connsiteX1" fmla="*/ 0 w 1799697"/>
              <a:gd name="connsiteY1" fmla="*/ 0 h 1362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99697" h="1362922" stroke="0" extrusionOk="0">
                <a:moveTo>
                  <a:pt x="1799697" y="1362922"/>
                </a:moveTo>
                <a:cubicBezTo>
                  <a:pt x="1038372" y="1174441"/>
                  <a:pt x="387776" y="681741"/>
                  <a:pt x="0" y="0"/>
                </a:cubicBezTo>
                <a:lnTo>
                  <a:pt x="1799697" y="1362922"/>
                </a:lnTo>
                <a:close/>
              </a:path>
              <a:path w="1799697" h="1362922" fill="none">
                <a:moveTo>
                  <a:pt x="1799697" y="1362922"/>
                </a:moveTo>
                <a:cubicBezTo>
                  <a:pt x="1038372" y="1174441"/>
                  <a:pt x="387776" y="681741"/>
                  <a:pt x="0" y="0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14" name="Straight Connector 13"/>
          <p:cNvCxnSpPr/>
          <p:nvPr/>
        </p:nvCxnSpPr>
        <p:spPr>
          <a:xfrm>
            <a:off x="5486831" y="2916590"/>
            <a:ext cx="620049" cy="0"/>
          </a:xfrm>
          <a:prstGeom prst="line">
            <a:avLst/>
          </a:prstGeom>
          <a:ln w="9525">
            <a:solidFill>
              <a:schemeClr val="accent5"/>
            </a:solidFill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Arc 50"/>
          <p:cNvSpPr/>
          <p:nvPr/>
        </p:nvSpPr>
        <p:spPr>
          <a:xfrm>
            <a:off x="5637039" y="1883287"/>
            <a:ext cx="470677" cy="254695"/>
          </a:xfrm>
          <a:custGeom>
            <a:avLst/>
            <a:gdLst>
              <a:gd name="connsiteX0" fmla="*/ 910761 w 5723228"/>
              <a:gd name="connsiteY0" fmla="*/ 768050 h 5723226"/>
              <a:gd name="connsiteX1" fmla="*/ 2176174 w 5723228"/>
              <a:gd name="connsiteY1" fmla="*/ 83304 h 5723226"/>
              <a:gd name="connsiteX2" fmla="*/ 2861614 w 5723228"/>
              <a:gd name="connsiteY2" fmla="*/ 2861613 h 5723226"/>
              <a:gd name="connsiteX3" fmla="*/ 910761 w 5723228"/>
              <a:gd name="connsiteY3" fmla="*/ 768050 h 5723226"/>
              <a:gd name="connsiteX0" fmla="*/ 910761 w 5723228"/>
              <a:gd name="connsiteY0" fmla="*/ 768050 h 5723226"/>
              <a:gd name="connsiteX1" fmla="*/ 2176174 w 5723228"/>
              <a:gd name="connsiteY1" fmla="*/ 83304 h 5723226"/>
              <a:gd name="connsiteX0" fmla="*/ 0 w 1265413"/>
              <a:gd name="connsiteY0" fmla="*/ 684746 h 684746"/>
              <a:gd name="connsiteX1" fmla="*/ 1265413 w 1265413"/>
              <a:gd name="connsiteY1" fmla="*/ 0 h 684746"/>
              <a:gd name="connsiteX2" fmla="*/ 0 w 1265413"/>
              <a:gd name="connsiteY2" fmla="*/ 684746 h 684746"/>
              <a:gd name="connsiteX0" fmla="*/ 0 w 1265413"/>
              <a:gd name="connsiteY0" fmla="*/ 684746 h 684746"/>
              <a:gd name="connsiteX1" fmla="*/ 1265413 w 1265413"/>
              <a:gd name="connsiteY1" fmla="*/ 0 h 68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265413" h="684746" stroke="0" extrusionOk="0">
                <a:moveTo>
                  <a:pt x="0" y="684746"/>
                </a:moveTo>
                <a:cubicBezTo>
                  <a:pt x="356603" y="352451"/>
                  <a:pt x="792175" y="116753"/>
                  <a:pt x="1265413" y="0"/>
                </a:cubicBezTo>
                <a:lnTo>
                  <a:pt x="0" y="684746"/>
                </a:lnTo>
                <a:close/>
              </a:path>
              <a:path w="1265413" h="684746" fill="none">
                <a:moveTo>
                  <a:pt x="0" y="684746"/>
                </a:moveTo>
                <a:cubicBezTo>
                  <a:pt x="356603" y="352451"/>
                  <a:pt x="792175" y="116753"/>
                  <a:pt x="1265413" y="0"/>
                </a:cubicBezTo>
              </a:path>
            </a:pathLst>
          </a:custGeom>
          <a:noFill/>
          <a:ln w="9525">
            <a:solidFill>
              <a:schemeClr val="accent5"/>
            </a:solidFill>
            <a:headEnd w="lg" len="lg"/>
            <a:tailEnd type="triangl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Arc 52"/>
          <p:cNvSpPr/>
          <p:nvPr/>
        </p:nvSpPr>
        <p:spPr>
          <a:xfrm>
            <a:off x="5437474" y="3442947"/>
            <a:ext cx="669406" cy="506946"/>
          </a:xfrm>
          <a:custGeom>
            <a:avLst/>
            <a:gdLst>
              <a:gd name="connsiteX0" fmla="*/ 2173926 w 5723228"/>
              <a:gd name="connsiteY0" fmla="*/ 5639367 h 5723226"/>
              <a:gd name="connsiteX1" fmla="*/ 374229 w 5723228"/>
              <a:gd name="connsiteY1" fmla="*/ 4276445 h 5723226"/>
              <a:gd name="connsiteX2" fmla="*/ 2861614 w 5723228"/>
              <a:gd name="connsiteY2" fmla="*/ 2861613 h 5723226"/>
              <a:gd name="connsiteX3" fmla="*/ 2173926 w 5723228"/>
              <a:gd name="connsiteY3" fmla="*/ 5639367 h 5723226"/>
              <a:gd name="connsiteX0" fmla="*/ 2173926 w 5723228"/>
              <a:gd name="connsiteY0" fmla="*/ 5639367 h 5723226"/>
              <a:gd name="connsiteX1" fmla="*/ 374229 w 5723228"/>
              <a:gd name="connsiteY1" fmla="*/ 4276445 h 5723226"/>
              <a:gd name="connsiteX0" fmla="*/ 1799697 w 1799697"/>
              <a:gd name="connsiteY0" fmla="*/ 1362922 h 1362922"/>
              <a:gd name="connsiteX1" fmla="*/ 0 w 1799697"/>
              <a:gd name="connsiteY1" fmla="*/ 0 h 1362922"/>
              <a:gd name="connsiteX2" fmla="*/ 1799697 w 1799697"/>
              <a:gd name="connsiteY2" fmla="*/ 1362922 h 1362922"/>
              <a:gd name="connsiteX0" fmla="*/ 1799697 w 1799697"/>
              <a:gd name="connsiteY0" fmla="*/ 1362922 h 1362922"/>
              <a:gd name="connsiteX1" fmla="*/ 0 w 1799697"/>
              <a:gd name="connsiteY1" fmla="*/ 0 h 13629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99697" h="1362922" stroke="0" extrusionOk="0">
                <a:moveTo>
                  <a:pt x="1799697" y="1362922"/>
                </a:moveTo>
                <a:cubicBezTo>
                  <a:pt x="1038372" y="1174441"/>
                  <a:pt x="387776" y="681741"/>
                  <a:pt x="0" y="0"/>
                </a:cubicBezTo>
                <a:lnTo>
                  <a:pt x="1799697" y="1362922"/>
                </a:lnTo>
                <a:close/>
              </a:path>
              <a:path w="1799697" h="1362922" fill="none">
                <a:moveTo>
                  <a:pt x="1799697" y="1362922"/>
                </a:moveTo>
                <a:cubicBezTo>
                  <a:pt x="1038372" y="1174441"/>
                  <a:pt x="387776" y="681741"/>
                  <a:pt x="0" y="0"/>
                </a:cubicBezTo>
              </a:path>
            </a:pathLst>
          </a:custGeom>
          <a:noFill/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4" name="Group 23"/>
          <p:cNvGrpSpPr/>
          <p:nvPr/>
        </p:nvGrpSpPr>
        <p:grpSpPr>
          <a:xfrm>
            <a:off x="3403346" y="1543050"/>
            <a:ext cx="2279050" cy="2747288"/>
            <a:chOff x="3403346" y="1543050"/>
            <a:chExt cx="2279050" cy="2747288"/>
          </a:xfrm>
          <a:solidFill>
            <a:srgbClr val="EC0000"/>
          </a:solidFill>
        </p:grpSpPr>
        <p:sp>
          <p:nvSpPr>
            <p:cNvPr id="17" name="Freeform 5"/>
            <p:cNvSpPr>
              <a:spLocks noEditPoints="1"/>
            </p:cNvSpPr>
            <p:nvPr/>
          </p:nvSpPr>
          <p:spPr bwMode="auto">
            <a:xfrm>
              <a:off x="3403346" y="1543050"/>
              <a:ext cx="1023427" cy="2747288"/>
            </a:xfrm>
            <a:custGeom>
              <a:avLst/>
              <a:gdLst>
                <a:gd name="T0" fmla="*/ 366 w 1295"/>
                <a:gd name="T1" fmla="*/ 282 h 3475"/>
                <a:gd name="T2" fmla="*/ 647 w 1295"/>
                <a:gd name="T3" fmla="*/ 0 h 3475"/>
                <a:gd name="T4" fmla="*/ 929 w 1295"/>
                <a:gd name="T5" fmla="*/ 282 h 3475"/>
                <a:gd name="T6" fmla="*/ 647 w 1295"/>
                <a:gd name="T7" fmla="*/ 563 h 3475"/>
                <a:gd name="T8" fmla="*/ 366 w 1295"/>
                <a:gd name="T9" fmla="*/ 282 h 3475"/>
                <a:gd name="T10" fmla="*/ 961 w 1295"/>
                <a:gd name="T11" fmla="*/ 611 h 3475"/>
                <a:gd name="T12" fmla="*/ 336 w 1295"/>
                <a:gd name="T13" fmla="*/ 611 h 3475"/>
                <a:gd name="T14" fmla="*/ 0 w 1295"/>
                <a:gd name="T15" fmla="*/ 880 h 3475"/>
                <a:gd name="T16" fmla="*/ 0 w 1295"/>
                <a:gd name="T17" fmla="*/ 1928 h 3475"/>
                <a:gd name="T18" fmla="*/ 123 w 1295"/>
                <a:gd name="T19" fmla="*/ 2070 h 3475"/>
                <a:gd name="T20" fmla="*/ 246 w 1295"/>
                <a:gd name="T21" fmla="*/ 1928 h 3475"/>
                <a:gd name="T22" fmla="*/ 246 w 1295"/>
                <a:gd name="T23" fmla="*/ 968 h 3475"/>
                <a:gd name="T24" fmla="*/ 306 w 1295"/>
                <a:gd name="T25" fmla="*/ 968 h 3475"/>
                <a:gd name="T26" fmla="*/ 306 w 1295"/>
                <a:gd name="T27" fmla="*/ 3333 h 3475"/>
                <a:gd name="T28" fmla="*/ 457 w 1295"/>
                <a:gd name="T29" fmla="*/ 3475 h 3475"/>
                <a:gd name="T30" fmla="*/ 608 w 1295"/>
                <a:gd name="T31" fmla="*/ 3333 h 3475"/>
                <a:gd name="T32" fmla="*/ 608 w 1295"/>
                <a:gd name="T33" fmla="*/ 1911 h 3475"/>
                <a:gd name="T34" fmla="*/ 687 w 1295"/>
                <a:gd name="T35" fmla="*/ 1911 h 3475"/>
                <a:gd name="T36" fmla="*/ 687 w 1295"/>
                <a:gd name="T37" fmla="*/ 3333 h 3475"/>
                <a:gd name="T38" fmla="*/ 838 w 1295"/>
                <a:gd name="T39" fmla="*/ 3475 h 3475"/>
                <a:gd name="T40" fmla="*/ 988 w 1295"/>
                <a:gd name="T41" fmla="*/ 3333 h 3475"/>
                <a:gd name="T42" fmla="*/ 988 w 1295"/>
                <a:gd name="T43" fmla="*/ 968 h 3475"/>
                <a:gd name="T44" fmla="*/ 1049 w 1295"/>
                <a:gd name="T45" fmla="*/ 968 h 3475"/>
                <a:gd name="T46" fmla="*/ 1049 w 1295"/>
                <a:gd name="T47" fmla="*/ 1928 h 3475"/>
                <a:gd name="T48" fmla="*/ 1172 w 1295"/>
                <a:gd name="T49" fmla="*/ 2070 h 3475"/>
                <a:gd name="T50" fmla="*/ 1295 w 1295"/>
                <a:gd name="T51" fmla="*/ 1928 h 3475"/>
                <a:gd name="T52" fmla="*/ 1295 w 1295"/>
                <a:gd name="T53" fmla="*/ 880 h 3475"/>
                <a:gd name="T54" fmla="*/ 961 w 1295"/>
                <a:gd name="T55" fmla="*/ 611 h 3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95" h="3475">
                  <a:moveTo>
                    <a:pt x="366" y="282"/>
                  </a:moveTo>
                  <a:cubicBezTo>
                    <a:pt x="366" y="126"/>
                    <a:pt x="492" y="0"/>
                    <a:pt x="647" y="0"/>
                  </a:cubicBezTo>
                  <a:cubicBezTo>
                    <a:pt x="803" y="0"/>
                    <a:pt x="929" y="126"/>
                    <a:pt x="929" y="282"/>
                  </a:cubicBezTo>
                  <a:cubicBezTo>
                    <a:pt x="929" y="437"/>
                    <a:pt x="803" y="563"/>
                    <a:pt x="647" y="563"/>
                  </a:cubicBezTo>
                  <a:cubicBezTo>
                    <a:pt x="492" y="563"/>
                    <a:pt x="366" y="437"/>
                    <a:pt x="366" y="282"/>
                  </a:cubicBezTo>
                  <a:close/>
                  <a:moveTo>
                    <a:pt x="961" y="611"/>
                  </a:moveTo>
                  <a:cubicBezTo>
                    <a:pt x="336" y="611"/>
                    <a:pt x="336" y="611"/>
                    <a:pt x="336" y="611"/>
                  </a:cubicBezTo>
                  <a:cubicBezTo>
                    <a:pt x="112" y="611"/>
                    <a:pt x="0" y="701"/>
                    <a:pt x="0" y="880"/>
                  </a:cubicBezTo>
                  <a:cubicBezTo>
                    <a:pt x="0" y="1928"/>
                    <a:pt x="0" y="1928"/>
                    <a:pt x="0" y="1928"/>
                  </a:cubicBezTo>
                  <a:cubicBezTo>
                    <a:pt x="0" y="2023"/>
                    <a:pt x="41" y="2070"/>
                    <a:pt x="123" y="2070"/>
                  </a:cubicBezTo>
                  <a:cubicBezTo>
                    <a:pt x="205" y="2070"/>
                    <a:pt x="246" y="2023"/>
                    <a:pt x="246" y="1928"/>
                  </a:cubicBezTo>
                  <a:cubicBezTo>
                    <a:pt x="246" y="968"/>
                    <a:pt x="246" y="968"/>
                    <a:pt x="246" y="968"/>
                  </a:cubicBezTo>
                  <a:cubicBezTo>
                    <a:pt x="306" y="968"/>
                    <a:pt x="306" y="968"/>
                    <a:pt x="306" y="968"/>
                  </a:cubicBezTo>
                  <a:cubicBezTo>
                    <a:pt x="306" y="3333"/>
                    <a:pt x="306" y="3333"/>
                    <a:pt x="306" y="3333"/>
                  </a:cubicBezTo>
                  <a:cubicBezTo>
                    <a:pt x="306" y="3428"/>
                    <a:pt x="356" y="3475"/>
                    <a:pt x="457" y="3475"/>
                  </a:cubicBezTo>
                  <a:cubicBezTo>
                    <a:pt x="557" y="3475"/>
                    <a:pt x="608" y="3428"/>
                    <a:pt x="608" y="3333"/>
                  </a:cubicBezTo>
                  <a:cubicBezTo>
                    <a:pt x="608" y="1911"/>
                    <a:pt x="608" y="1911"/>
                    <a:pt x="608" y="1911"/>
                  </a:cubicBezTo>
                  <a:cubicBezTo>
                    <a:pt x="687" y="1911"/>
                    <a:pt x="687" y="1911"/>
                    <a:pt x="687" y="1911"/>
                  </a:cubicBezTo>
                  <a:cubicBezTo>
                    <a:pt x="687" y="3333"/>
                    <a:pt x="687" y="3333"/>
                    <a:pt x="687" y="3333"/>
                  </a:cubicBezTo>
                  <a:cubicBezTo>
                    <a:pt x="687" y="3428"/>
                    <a:pt x="737" y="3475"/>
                    <a:pt x="838" y="3475"/>
                  </a:cubicBezTo>
                  <a:cubicBezTo>
                    <a:pt x="938" y="3475"/>
                    <a:pt x="988" y="3428"/>
                    <a:pt x="988" y="3333"/>
                  </a:cubicBezTo>
                  <a:cubicBezTo>
                    <a:pt x="988" y="968"/>
                    <a:pt x="988" y="968"/>
                    <a:pt x="988" y="968"/>
                  </a:cubicBezTo>
                  <a:cubicBezTo>
                    <a:pt x="1049" y="968"/>
                    <a:pt x="1049" y="968"/>
                    <a:pt x="1049" y="968"/>
                  </a:cubicBezTo>
                  <a:cubicBezTo>
                    <a:pt x="1049" y="1928"/>
                    <a:pt x="1049" y="1928"/>
                    <a:pt x="1049" y="1928"/>
                  </a:cubicBezTo>
                  <a:cubicBezTo>
                    <a:pt x="1049" y="2023"/>
                    <a:pt x="1090" y="2070"/>
                    <a:pt x="1172" y="2070"/>
                  </a:cubicBezTo>
                  <a:cubicBezTo>
                    <a:pt x="1254" y="2070"/>
                    <a:pt x="1295" y="2023"/>
                    <a:pt x="1295" y="1928"/>
                  </a:cubicBezTo>
                  <a:cubicBezTo>
                    <a:pt x="1295" y="880"/>
                    <a:pt x="1295" y="880"/>
                    <a:pt x="1295" y="880"/>
                  </a:cubicBezTo>
                  <a:cubicBezTo>
                    <a:pt x="1295" y="701"/>
                    <a:pt x="1183" y="611"/>
                    <a:pt x="961" y="6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4693549" y="1543050"/>
              <a:ext cx="988847" cy="2747288"/>
            </a:xfrm>
            <a:custGeom>
              <a:avLst/>
              <a:gdLst>
                <a:gd name="T0" fmla="*/ 343 w 1251"/>
                <a:gd name="T1" fmla="*/ 282 h 3475"/>
                <a:gd name="T2" fmla="*/ 624 w 1251"/>
                <a:gd name="T3" fmla="*/ 0 h 3475"/>
                <a:gd name="T4" fmla="*/ 906 w 1251"/>
                <a:gd name="T5" fmla="*/ 282 h 3475"/>
                <a:gd name="T6" fmla="*/ 624 w 1251"/>
                <a:gd name="T7" fmla="*/ 563 h 3475"/>
                <a:gd name="T8" fmla="*/ 343 w 1251"/>
                <a:gd name="T9" fmla="*/ 282 h 3475"/>
                <a:gd name="T10" fmla="*/ 1137 w 1251"/>
                <a:gd name="T11" fmla="*/ 1702 h 3475"/>
                <a:gd name="T12" fmla="*/ 1251 w 1251"/>
                <a:gd name="T13" fmla="*/ 1559 h 3475"/>
                <a:gd name="T14" fmla="*/ 1251 w 1251"/>
                <a:gd name="T15" fmla="*/ 916 h 3475"/>
                <a:gd name="T16" fmla="*/ 928 w 1251"/>
                <a:gd name="T17" fmla="*/ 607 h 3475"/>
                <a:gd name="T18" fmla="*/ 323 w 1251"/>
                <a:gd name="T19" fmla="*/ 607 h 3475"/>
                <a:gd name="T20" fmla="*/ 0 w 1251"/>
                <a:gd name="T21" fmla="*/ 916 h 3475"/>
                <a:gd name="T22" fmla="*/ 0 w 1251"/>
                <a:gd name="T23" fmla="*/ 1559 h 3475"/>
                <a:gd name="T24" fmla="*/ 121 w 1251"/>
                <a:gd name="T25" fmla="*/ 1702 h 3475"/>
                <a:gd name="T26" fmla="*/ 240 w 1251"/>
                <a:gd name="T27" fmla="*/ 1559 h 3475"/>
                <a:gd name="T28" fmla="*/ 240 w 1251"/>
                <a:gd name="T29" fmla="*/ 916 h 3475"/>
                <a:gd name="T30" fmla="*/ 296 w 1251"/>
                <a:gd name="T31" fmla="*/ 916 h 3475"/>
                <a:gd name="T32" fmla="*/ 296 w 1251"/>
                <a:gd name="T33" fmla="*/ 1603 h 3475"/>
                <a:gd name="T34" fmla="*/ 24 w 1251"/>
                <a:gd name="T35" fmla="*/ 2251 h 3475"/>
                <a:gd name="T36" fmla="*/ 72 w 1251"/>
                <a:gd name="T37" fmla="*/ 2324 h 3475"/>
                <a:gd name="T38" fmla="*/ 298 w 1251"/>
                <a:gd name="T39" fmla="*/ 2324 h 3475"/>
                <a:gd name="T40" fmla="*/ 298 w 1251"/>
                <a:gd name="T41" fmla="*/ 3330 h 3475"/>
                <a:gd name="T42" fmla="*/ 442 w 1251"/>
                <a:gd name="T43" fmla="*/ 3475 h 3475"/>
                <a:gd name="T44" fmla="*/ 591 w 1251"/>
                <a:gd name="T45" fmla="*/ 3330 h 3475"/>
                <a:gd name="T46" fmla="*/ 591 w 1251"/>
                <a:gd name="T47" fmla="*/ 2324 h 3475"/>
                <a:gd name="T48" fmla="*/ 665 w 1251"/>
                <a:gd name="T49" fmla="*/ 2324 h 3475"/>
                <a:gd name="T50" fmla="*/ 665 w 1251"/>
                <a:gd name="T51" fmla="*/ 3330 h 3475"/>
                <a:gd name="T52" fmla="*/ 811 w 1251"/>
                <a:gd name="T53" fmla="*/ 3475 h 3475"/>
                <a:gd name="T54" fmla="*/ 959 w 1251"/>
                <a:gd name="T55" fmla="*/ 3330 h 3475"/>
                <a:gd name="T56" fmla="*/ 959 w 1251"/>
                <a:gd name="T57" fmla="*/ 2324 h 3475"/>
                <a:gd name="T58" fmla="*/ 1177 w 1251"/>
                <a:gd name="T59" fmla="*/ 2324 h 3475"/>
                <a:gd name="T60" fmla="*/ 1226 w 1251"/>
                <a:gd name="T61" fmla="*/ 2251 h 3475"/>
                <a:gd name="T62" fmla="*/ 959 w 1251"/>
                <a:gd name="T63" fmla="*/ 1603 h 3475"/>
                <a:gd name="T64" fmla="*/ 959 w 1251"/>
                <a:gd name="T65" fmla="*/ 916 h 3475"/>
                <a:gd name="T66" fmla="*/ 1018 w 1251"/>
                <a:gd name="T67" fmla="*/ 916 h 3475"/>
                <a:gd name="T68" fmla="*/ 1018 w 1251"/>
                <a:gd name="T69" fmla="*/ 1559 h 3475"/>
                <a:gd name="T70" fmla="*/ 1137 w 1251"/>
                <a:gd name="T71" fmla="*/ 1702 h 3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51" h="3475">
                  <a:moveTo>
                    <a:pt x="343" y="282"/>
                  </a:moveTo>
                  <a:cubicBezTo>
                    <a:pt x="343" y="126"/>
                    <a:pt x="469" y="0"/>
                    <a:pt x="624" y="0"/>
                  </a:cubicBezTo>
                  <a:cubicBezTo>
                    <a:pt x="780" y="0"/>
                    <a:pt x="906" y="126"/>
                    <a:pt x="906" y="282"/>
                  </a:cubicBezTo>
                  <a:cubicBezTo>
                    <a:pt x="906" y="437"/>
                    <a:pt x="780" y="563"/>
                    <a:pt x="624" y="563"/>
                  </a:cubicBezTo>
                  <a:cubicBezTo>
                    <a:pt x="469" y="563"/>
                    <a:pt x="343" y="437"/>
                    <a:pt x="343" y="282"/>
                  </a:cubicBezTo>
                  <a:close/>
                  <a:moveTo>
                    <a:pt x="1137" y="1702"/>
                  </a:moveTo>
                  <a:cubicBezTo>
                    <a:pt x="1213" y="1702"/>
                    <a:pt x="1251" y="1654"/>
                    <a:pt x="1251" y="1559"/>
                  </a:cubicBezTo>
                  <a:cubicBezTo>
                    <a:pt x="1251" y="916"/>
                    <a:pt x="1251" y="916"/>
                    <a:pt x="1251" y="916"/>
                  </a:cubicBezTo>
                  <a:cubicBezTo>
                    <a:pt x="1251" y="710"/>
                    <a:pt x="1143" y="607"/>
                    <a:pt x="928" y="607"/>
                  </a:cubicBezTo>
                  <a:cubicBezTo>
                    <a:pt x="323" y="607"/>
                    <a:pt x="323" y="607"/>
                    <a:pt x="323" y="607"/>
                  </a:cubicBezTo>
                  <a:cubicBezTo>
                    <a:pt x="107" y="607"/>
                    <a:pt x="0" y="710"/>
                    <a:pt x="0" y="916"/>
                  </a:cubicBezTo>
                  <a:cubicBezTo>
                    <a:pt x="0" y="1559"/>
                    <a:pt x="0" y="1559"/>
                    <a:pt x="0" y="1559"/>
                  </a:cubicBezTo>
                  <a:cubicBezTo>
                    <a:pt x="0" y="1654"/>
                    <a:pt x="40" y="1702"/>
                    <a:pt x="121" y="1702"/>
                  </a:cubicBezTo>
                  <a:cubicBezTo>
                    <a:pt x="200" y="1702"/>
                    <a:pt x="240" y="1654"/>
                    <a:pt x="240" y="1559"/>
                  </a:cubicBezTo>
                  <a:cubicBezTo>
                    <a:pt x="240" y="916"/>
                    <a:pt x="240" y="916"/>
                    <a:pt x="240" y="916"/>
                  </a:cubicBezTo>
                  <a:cubicBezTo>
                    <a:pt x="296" y="916"/>
                    <a:pt x="296" y="916"/>
                    <a:pt x="296" y="916"/>
                  </a:cubicBezTo>
                  <a:cubicBezTo>
                    <a:pt x="296" y="1603"/>
                    <a:pt x="296" y="1603"/>
                    <a:pt x="296" y="1603"/>
                  </a:cubicBezTo>
                  <a:cubicBezTo>
                    <a:pt x="24" y="2251"/>
                    <a:pt x="24" y="2251"/>
                    <a:pt x="24" y="2251"/>
                  </a:cubicBezTo>
                  <a:cubicBezTo>
                    <a:pt x="9" y="2286"/>
                    <a:pt x="34" y="2324"/>
                    <a:pt x="72" y="2324"/>
                  </a:cubicBezTo>
                  <a:cubicBezTo>
                    <a:pt x="298" y="2324"/>
                    <a:pt x="298" y="2324"/>
                    <a:pt x="298" y="2324"/>
                  </a:cubicBezTo>
                  <a:cubicBezTo>
                    <a:pt x="298" y="3330"/>
                    <a:pt x="298" y="3330"/>
                    <a:pt x="298" y="3330"/>
                  </a:cubicBezTo>
                  <a:cubicBezTo>
                    <a:pt x="298" y="3427"/>
                    <a:pt x="346" y="3475"/>
                    <a:pt x="442" y="3475"/>
                  </a:cubicBezTo>
                  <a:cubicBezTo>
                    <a:pt x="541" y="3475"/>
                    <a:pt x="591" y="3427"/>
                    <a:pt x="591" y="3330"/>
                  </a:cubicBezTo>
                  <a:cubicBezTo>
                    <a:pt x="591" y="2324"/>
                    <a:pt x="591" y="2324"/>
                    <a:pt x="591" y="2324"/>
                  </a:cubicBezTo>
                  <a:cubicBezTo>
                    <a:pt x="665" y="2324"/>
                    <a:pt x="665" y="2324"/>
                    <a:pt x="665" y="2324"/>
                  </a:cubicBezTo>
                  <a:cubicBezTo>
                    <a:pt x="665" y="3330"/>
                    <a:pt x="665" y="3330"/>
                    <a:pt x="665" y="3330"/>
                  </a:cubicBezTo>
                  <a:cubicBezTo>
                    <a:pt x="665" y="3427"/>
                    <a:pt x="713" y="3475"/>
                    <a:pt x="811" y="3475"/>
                  </a:cubicBezTo>
                  <a:cubicBezTo>
                    <a:pt x="910" y="3475"/>
                    <a:pt x="959" y="3427"/>
                    <a:pt x="959" y="3330"/>
                  </a:cubicBezTo>
                  <a:cubicBezTo>
                    <a:pt x="959" y="2324"/>
                    <a:pt x="959" y="2324"/>
                    <a:pt x="959" y="2324"/>
                  </a:cubicBezTo>
                  <a:cubicBezTo>
                    <a:pt x="1177" y="2324"/>
                    <a:pt x="1177" y="2324"/>
                    <a:pt x="1177" y="2324"/>
                  </a:cubicBezTo>
                  <a:cubicBezTo>
                    <a:pt x="1215" y="2324"/>
                    <a:pt x="1240" y="2286"/>
                    <a:pt x="1226" y="2251"/>
                  </a:cubicBezTo>
                  <a:cubicBezTo>
                    <a:pt x="959" y="1603"/>
                    <a:pt x="959" y="1603"/>
                    <a:pt x="959" y="1603"/>
                  </a:cubicBezTo>
                  <a:cubicBezTo>
                    <a:pt x="959" y="916"/>
                    <a:pt x="959" y="916"/>
                    <a:pt x="959" y="916"/>
                  </a:cubicBezTo>
                  <a:cubicBezTo>
                    <a:pt x="1018" y="916"/>
                    <a:pt x="1018" y="916"/>
                    <a:pt x="1018" y="916"/>
                  </a:cubicBezTo>
                  <a:cubicBezTo>
                    <a:pt x="1018" y="1559"/>
                    <a:pt x="1018" y="1559"/>
                    <a:pt x="1018" y="1559"/>
                  </a:cubicBezTo>
                  <a:cubicBezTo>
                    <a:pt x="1018" y="1654"/>
                    <a:pt x="1057" y="1702"/>
                    <a:pt x="1137" y="17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050370" y="1673990"/>
            <a:ext cx="1504950" cy="525395"/>
            <a:chOff x="7050370" y="1673990"/>
            <a:chExt cx="1504950" cy="525395"/>
          </a:xfrm>
        </p:grpSpPr>
        <p:sp>
          <p:nvSpPr>
            <p:cNvPr id="31" name="TextBox 30"/>
            <p:cNvSpPr txBox="1"/>
            <p:nvPr/>
          </p:nvSpPr>
          <p:spPr>
            <a:xfrm>
              <a:off x="7050370" y="1896032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2" name="Title 2"/>
            <p:cNvSpPr txBox="1">
              <a:spLocks/>
            </p:cNvSpPr>
            <p:nvPr/>
          </p:nvSpPr>
          <p:spPr>
            <a:xfrm>
              <a:off x="7050370" y="1673990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050370" y="2704054"/>
            <a:ext cx="1504950" cy="525395"/>
            <a:chOff x="7050370" y="2704054"/>
            <a:chExt cx="1504950" cy="525395"/>
          </a:xfrm>
        </p:grpSpPr>
        <p:sp>
          <p:nvSpPr>
            <p:cNvPr id="33" name="TextBox 32"/>
            <p:cNvSpPr txBox="1"/>
            <p:nvPr/>
          </p:nvSpPr>
          <p:spPr>
            <a:xfrm>
              <a:off x="7050370" y="2926096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4" name="Title 2"/>
            <p:cNvSpPr txBox="1">
              <a:spLocks/>
            </p:cNvSpPr>
            <p:nvPr/>
          </p:nvSpPr>
          <p:spPr>
            <a:xfrm>
              <a:off x="7050370" y="2704054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laneja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7050370" y="3734118"/>
            <a:ext cx="1504950" cy="525394"/>
            <a:chOff x="7050370" y="3734118"/>
            <a:chExt cx="1504950" cy="525394"/>
          </a:xfrm>
        </p:grpSpPr>
        <p:sp>
          <p:nvSpPr>
            <p:cNvPr id="35" name="TextBox 34"/>
            <p:cNvSpPr txBox="1"/>
            <p:nvPr/>
          </p:nvSpPr>
          <p:spPr>
            <a:xfrm>
              <a:off x="7050370" y="3956159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6" name="Title 2"/>
            <p:cNvSpPr txBox="1">
              <a:spLocks/>
            </p:cNvSpPr>
            <p:nvPr/>
          </p:nvSpPr>
          <p:spPr>
            <a:xfrm>
              <a:off x="7050370" y="3734118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des </a:t>
              </a:r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ociai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93725" y="1673990"/>
            <a:ext cx="1504950" cy="525395"/>
            <a:chOff x="593725" y="1673990"/>
            <a:chExt cx="1504950" cy="525395"/>
          </a:xfrm>
        </p:grpSpPr>
        <p:sp>
          <p:nvSpPr>
            <p:cNvPr id="37" name="TextBox 36"/>
            <p:cNvSpPr txBox="1"/>
            <p:nvPr/>
          </p:nvSpPr>
          <p:spPr>
            <a:xfrm>
              <a:off x="593725" y="1896032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8" name="Title 2"/>
            <p:cNvSpPr txBox="1">
              <a:spLocks/>
            </p:cNvSpPr>
            <p:nvPr/>
          </p:nvSpPr>
          <p:spPr>
            <a:xfrm>
              <a:off x="593725" y="1673990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93725" y="2704054"/>
            <a:ext cx="1504950" cy="525395"/>
            <a:chOff x="593725" y="2704054"/>
            <a:chExt cx="1504950" cy="525395"/>
          </a:xfrm>
        </p:grpSpPr>
        <p:sp>
          <p:nvSpPr>
            <p:cNvPr id="39" name="TextBox 38"/>
            <p:cNvSpPr txBox="1"/>
            <p:nvPr/>
          </p:nvSpPr>
          <p:spPr>
            <a:xfrm>
              <a:off x="593725" y="2926096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0" name="Title 2"/>
            <p:cNvSpPr txBox="1">
              <a:spLocks/>
            </p:cNvSpPr>
            <p:nvPr/>
          </p:nvSpPr>
          <p:spPr>
            <a:xfrm>
              <a:off x="593725" y="2704054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lcance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93725" y="3734118"/>
            <a:ext cx="1504950" cy="525394"/>
            <a:chOff x="593725" y="3734118"/>
            <a:chExt cx="1504950" cy="525394"/>
          </a:xfrm>
        </p:grpSpPr>
        <p:sp>
          <p:nvSpPr>
            <p:cNvPr id="41" name="TextBox 40"/>
            <p:cNvSpPr txBox="1"/>
            <p:nvPr/>
          </p:nvSpPr>
          <p:spPr>
            <a:xfrm>
              <a:off x="593725" y="3956159"/>
              <a:ext cx="1504950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2" name="Title 2"/>
            <p:cNvSpPr txBox="1">
              <a:spLocks/>
            </p:cNvSpPr>
            <p:nvPr/>
          </p:nvSpPr>
          <p:spPr>
            <a:xfrm>
              <a:off x="593725" y="3734118"/>
              <a:ext cx="1504950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financia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866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Dados </a:t>
            </a:r>
            <a:r>
              <a:rPr lang="en-US" dirty="0" err="1">
                <a:solidFill>
                  <a:srgbClr val="EC0000"/>
                </a:solidFill>
              </a:rPr>
              <a:t>demográficos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/>
              <a:t>do </a:t>
            </a:r>
            <a:r>
              <a:rPr lang="en-US" dirty="0" err="1"/>
              <a:t>client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</p:spPr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3"/>
          <p:cNvSpPr>
            <a:spLocks noChangeArrowheads="1"/>
          </p:cNvSpPr>
          <p:nvPr/>
        </p:nvSpPr>
        <p:spPr bwMode="auto">
          <a:xfrm>
            <a:off x="3264957" y="1562100"/>
            <a:ext cx="1068330" cy="2724150"/>
          </a:xfrm>
          <a:custGeom>
            <a:avLst/>
            <a:gdLst>
              <a:gd name="connsiteX0" fmla="*/ 489359 w 1812925"/>
              <a:gd name="connsiteY0" fmla="*/ 865187 h 4622800"/>
              <a:gd name="connsiteX1" fmla="*/ 1323566 w 1812925"/>
              <a:gd name="connsiteY1" fmla="*/ 865187 h 4622800"/>
              <a:gd name="connsiteX2" fmla="*/ 1812925 w 1812925"/>
              <a:gd name="connsiteY2" fmla="*/ 1353801 h 4622800"/>
              <a:gd name="connsiteX3" fmla="*/ 1812925 w 1812925"/>
              <a:gd name="connsiteY3" fmla="*/ 1421388 h 4622800"/>
              <a:gd name="connsiteX4" fmla="*/ 1812925 w 1812925"/>
              <a:gd name="connsiteY4" fmla="*/ 1469754 h 4622800"/>
              <a:gd name="connsiteX5" fmla="*/ 1812925 w 1812925"/>
              <a:gd name="connsiteY5" fmla="*/ 2536271 h 4622800"/>
              <a:gd name="connsiteX6" fmla="*/ 1652286 w 1812925"/>
              <a:gd name="connsiteY6" fmla="*/ 2696869 h 4622800"/>
              <a:gd name="connsiteX7" fmla="*/ 1492268 w 1812925"/>
              <a:gd name="connsiteY7" fmla="*/ 2536271 h 4622800"/>
              <a:gd name="connsiteX8" fmla="*/ 1492268 w 1812925"/>
              <a:gd name="connsiteY8" fmla="*/ 1469754 h 4622800"/>
              <a:gd name="connsiteX9" fmla="*/ 1373184 w 1812925"/>
              <a:gd name="connsiteY9" fmla="*/ 1469754 h 4622800"/>
              <a:gd name="connsiteX10" fmla="*/ 1373184 w 1812925"/>
              <a:gd name="connsiteY10" fmla="*/ 2523869 h 4622800"/>
              <a:gd name="connsiteX11" fmla="*/ 1373184 w 1812925"/>
              <a:gd name="connsiteY11" fmla="*/ 2782438 h 4622800"/>
              <a:gd name="connsiteX12" fmla="*/ 1373184 w 1812925"/>
              <a:gd name="connsiteY12" fmla="*/ 4425618 h 4622800"/>
              <a:gd name="connsiteX13" fmla="*/ 1175952 w 1812925"/>
              <a:gd name="connsiteY13" fmla="*/ 4622800 h 4622800"/>
              <a:gd name="connsiteX14" fmla="*/ 978719 w 1812925"/>
              <a:gd name="connsiteY14" fmla="*/ 4425618 h 4622800"/>
              <a:gd name="connsiteX15" fmla="*/ 978719 w 1812925"/>
              <a:gd name="connsiteY15" fmla="*/ 2782438 h 4622800"/>
              <a:gd name="connsiteX16" fmla="*/ 834206 w 1812925"/>
              <a:gd name="connsiteY16" fmla="*/ 2782438 h 4622800"/>
              <a:gd name="connsiteX17" fmla="*/ 834206 w 1812925"/>
              <a:gd name="connsiteY17" fmla="*/ 4425618 h 4622800"/>
              <a:gd name="connsiteX18" fmla="*/ 636974 w 1812925"/>
              <a:gd name="connsiteY18" fmla="*/ 4622800 h 4622800"/>
              <a:gd name="connsiteX19" fmla="*/ 439741 w 1812925"/>
              <a:gd name="connsiteY19" fmla="*/ 4425618 h 4622800"/>
              <a:gd name="connsiteX20" fmla="*/ 439741 w 1812925"/>
              <a:gd name="connsiteY20" fmla="*/ 2782438 h 4622800"/>
              <a:gd name="connsiteX21" fmla="*/ 439741 w 1812925"/>
              <a:gd name="connsiteY21" fmla="*/ 2523869 h 4622800"/>
              <a:gd name="connsiteX22" fmla="*/ 439741 w 1812925"/>
              <a:gd name="connsiteY22" fmla="*/ 1469754 h 4622800"/>
              <a:gd name="connsiteX23" fmla="*/ 321278 w 1812925"/>
              <a:gd name="connsiteY23" fmla="*/ 1469754 h 4622800"/>
              <a:gd name="connsiteX24" fmla="*/ 321278 w 1812925"/>
              <a:gd name="connsiteY24" fmla="*/ 2536271 h 4622800"/>
              <a:gd name="connsiteX25" fmla="*/ 160639 w 1812925"/>
              <a:gd name="connsiteY25" fmla="*/ 2696869 h 4622800"/>
              <a:gd name="connsiteX26" fmla="*/ 0 w 1812925"/>
              <a:gd name="connsiteY26" fmla="*/ 2536271 h 4622800"/>
              <a:gd name="connsiteX27" fmla="*/ 0 w 1812925"/>
              <a:gd name="connsiteY27" fmla="*/ 1469754 h 4622800"/>
              <a:gd name="connsiteX28" fmla="*/ 0 w 1812925"/>
              <a:gd name="connsiteY28" fmla="*/ 1421388 h 4622800"/>
              <a:gd name="connsiteX29" fmla="*/ 0 w 1812925"/>
              <a:gd name="connsiteY29" fmla="*/ 1353801 h 4622800"/>
              <a:gd name="connsiteX30" fmla="*/ 489359 w 1812925"/>
              <a:gd name="connsiteY30" fmla="*/ 865187 h 4622800"/>
              <a:gd name="connsiteX31" fmla="*/ 906463 w 1812925"/>
              <a:gd name="connsiteY31" fmla="*/ 0 h 4622800"/>
              <a:gd name="connsiteX32" fmla="*/ 1287463 w 1812925"/>
              <a:gd name="connsiteY32" fmla="*/ 381000 h 4622800"/>
              <a:gd name="connsiteX33" fmla="*/ 906463 w 1812925"/>
              <a:gd name="connsiteY33" fmla="*/ 762000 h 4622800"/>
              <a:gd name="connsiteX34" fmla="*/ 525463 w 1812925"/>
              <a:gd name="connsiteY34" fmla="*/ 381000 h 4622800"/>
              <a:gd name="connsiteX35" fmla="*/ 906463 w 1812925"/>
              <a:gd name="connsiteY35" fmla="*/ 0 h 462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812925" h="4622800">
                <a:moveTo>
                  <a:pt x="489359" y="865187"/>
                </a:moveTo>
                <a:cubicBezTo>
                  <a:pt x="489359" y="865187"/>
                  <a:pt x="489359" y="865187"/>
                  <a:pt x="1323566" y="865187"/>
                </a:cubicBezTo>
                <a:cubicBezTo>
                  <a:pt x="1593985" y="865187"/>
                  <a:pt x="1812925" y="1084071"/>
                  <a:pt x="1812925" y="1353801"/>
                </a:cubicBezTo>
                <a:cubicBezTo>
                  <a:pt x="1812925" y="1353801"/>
                  <a:pt x="1812925" y="1353801"/>
                  <a:pt x="1812925" y="1421388"/>
                </a:cubicBezTo>
                <a:cubicBezTo>
                  <a:pt x="1812925" y="1421388"/>
                  <a:pt x="1812925" y="1421388"/>
                  <a:pt x="1812925" y="1469754"/>
                </a:cubicBezTo>
                <a:cubicBezTo>
                  <a:pt x="1812925" y="1469754"/>
                  <a:pt x="1812925" y="1469754"/>
                  <a:pt x="1812925" y="2536271"/>
                </a:cubicBezTo>
                <a:cubicBezTo>
                  <a:pt x="1812925" y="2624941"/>
                  <a:pt x="1740979" y="2696869"/>
                  <a:pt x="1652286" y="2696869"/>
                </a:cubicBezTo>
                <a:cubicBezTo>
                  <a:pt x="1563594" y="2696869"/>
                  <a:pt x="1492268" y="2624941"/>
                  <a:pt x="1492268" y="2536271"/>
                </a:cubicBezTo>
                <a:cubicBezTo>
                  <a:pt x="1492268" y="2536271"/>
                  <a:pt x="1492268" y="2536271"/>
                  <a:pt x="1492268" y="1469754"/>
                </a:cubicBezTo>
                <a:cubicBezTo>
                  <a:pt x="1492268" y="1469754"/>
                  <a:pt x="1492268" y="1469754"/>
                  <a:pt x="1373184" y="1469754"/>
                </a:cubicBezTo>
                <a:cubicBezTo>
                  <a:pt x="1373184" y="1469754"/>
                  <a:pt x="1373184" y="1469754"/>
                  <a:pt x="1373184" y="2523869"/>
                </a:cubicBezTo>
                <a:cubicBezTo>
                  <a:pt x="1373184" y="2523869"/>
                  <a:pt x="1373184" y="2523869"/>
                  <a:pt x="1373184" y="2782438"/>
                </a:cubicBezTo>
                <a:cubicBezTo>
                  <a:pt x="1373184" y="2782438"/>
                  <a:pt x="1373184" y="2782438"/>
                  <a:pt x="1373184" y="4425618"/>
                </a:cubicBezTo>
                <a:cubicBezTo>
                  <a:pt x="1373184" y="4534750"/>
                  <a:pt x="1284491" y="4622800"/>
                  <a:pt x="1175952" y="4622800"/>
                </a:cubicBezTo>
                <a:cubicBezTo>
                  <a:pt x="1066791" y="4622800"/>
                  <a:pt x="978719" y="4534750"/>
                  <a:pt x="978719" y="4425618"/>
                </a:cubicBezTo>
                <a:cubicBezTo>
                  <a:pt x="978719" y="4425618"/>
                  <a:pt x="978719" y="4425618"/>
                  <a:pt x="978719" y="2782438"/>
                </a:cubicBezTo>
                <a:cubicBezTo>
                  <a:pt x="978719" y="2782438"/>
                  <a:pt x="978719" y="2782438"/>
                  <a:pt x="834206" y="2782438"/>
                </a:cubicBezTo>
                <a:cubicBezTo>
                  <a:pt x="834206" y="2782438"/>
                  <a:pt x="834206" y="2782438"/>
                  <a:pt x="834206" y="4425618"/>
                </a:cubicBezTo>
                <a:cubicBezTo>
                  <a:pt x="834206" y="4534750"/>
                  <a:pt x="746134" y="4622800"/>
                  <a:pt x="636974" y="4622800"/>
                </a:cubicBezTo>
                <a:cubicBezTo>
                  <a:pt x="528434" y="4622800"/>
                  <a:pt x="439741" y="4534750"/>
                  <a:pt x="439741" y="4425618"/>
                </a:cubicBezTo>
                <a:cubicBezTo>
                  <a:pt x="439741" y="4425618"/>
                  <a:pt x="439741" y="4425618"/>
                  <a:pt x="439741" y="2782438"/>
                </a:cubicBezTo>
                <a:cubicBezTo>
                  <a:pt x="439741" y="2782438"/>
                  <a:pt x="439741" y="2782438"/>
                  <a:pt x="439741" y="2523869"/>
                </a:cubicBezTo>
                <a:cubicBezTo>
                  <a:pt x="439741" y="2523869"/>
                  <a:pt x="439741" y="2523869"/>
                  <a:pt x="439741" y="1469754"/>
                </a:cubicBezTo>
                <a:cubicBezTo>
                  <a:pt x="439741" y="1469754"/>
                  <a:pt x="439741" y="1469754"/>
                  <a:pt x="321278" y="1469754"/>
                </a:cubicBezTo>
                <a:cubicBezTo>
                  <a:pt x="321278" y="1469754"/>
                  <a:pt x="321278" y="1469754"/>
                  <a:pt x="321278" y="2536271"/>
                </a:cubicBezTo>
                <a:cubicBezTo>
                  <a:pt x="321278" y="2624941"/>
                  <a:pt x="249331" y="2696869"/>
                  <a:pt x="160639" y="2696869"/>
                </a:cubicBezTo>
                <a:cubicBezTo>
                  <a:pt x="71946" y="2696869"/>
                  <a:pt x="0" y="2624941"/>
                  <a:pt x="0" y="2536271"/>
                </a:cubicBezTo>
                <a:cubicBezTo>
                  <a:pt x="0" y="2536271"/>
                  <a:pt x="0" y="2536271"/>
                  <a:pt x="0" y="1469754"/>
                </a:cubicBezTo>
                <a:cubicBezTo>
                  <a:pt x="0" y="1469754"/>
                  <a:pt x="0" y="1469754"/>
                  <a:pt x="0" y="1421388"/>
                </a:cubicBezTo>
                <a:cubicBezTo>
                  <a:pt x="0" y="1421388"/>
                  <a:pt x="0" y="1421388"/>
                  <a:pt x="0" y="1353801"/>
                </a:cubicBezTo>
                <a:cubicBezTo>
                  <a:pt x="0" y="1084071"/>
                  <a:pt x="218940" y="865187"/>
                  <a:pt x="489359" y="865187"/>
                </a:cubicBezTo>
                <a:close/>
                <a:moveTo>
                  <a:pt x="906463" y="0"/>
                </a:moveTo>
                <a:cubicBezTo>
                  <a:pt x="1116883" y="0"/>
                  <a:pt x="1287463" y="170580"/>
                  <a:pt x="1287463" y="381000"/>
                </a:cubicBezTo>
                <a:cubicBezTo>
                  <a:pt x="1287463" y="591420"/>
                  <a:pt x="1116883" y="762000"/>
                  <a:pt x="906463" y="762000"/>
                </a:cubicBezTo>
                <a:cubicBezTo>
                  <a:pt x="696043" y="762000"/>
                  <a:pt x="525463" y="591420"/>
                  <a:pt x="525463" y="381000"/>
                </a:cubicBezTo>
                <a:cubicBezTo>
                  <a:pt x="525463" y="170580"/>
                  <a:pt x="696043" y="0"/>
                  <a:pt x="906463" y="0"/>
                </a:cubicBez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5" name="Freeform 4"/>
          <p:cNvSpPr>
            <a:spLocks noChangeArrowheads="1"/>
          </p:cNvSpPr>
          <p:nvPr/>
        </p:nvSpPr>
        <p:spPr bwMode="auto">
          <a:xfrm>
            <a:off x="4487341" y="1562100"/>
            <a:ext cx="1268426" cy="2724150"/>
          </a:xfrm>
          <a:custGeom>
            <a:avLst/>
            <a:gdLst>
              <a:gd name="connsiteX0" fmla="*/ 818678 w 2152481"/>
              <a:gd name="connsiteY0" fmla="*/ 865187 h 4622800"/>
              <a:gd name="connsiteX1" fmla="*/ 1333803 w 2152481"/>
              <a:gd name="connsiteY1" fmla="*/ 865187 h 4622800"/>
              <a:gd name="connsiteX2" fmla="*/ 1812354 w 2152481"/>
              <a:gd name="connsiteY2" fmla="*/ 1255210 h 4622800"/>
              <a:gd name="connsiteX3" fmla="*/ 2145853 w 2152481"/>
              <a:gd name="connsiteY3" fmla="*/ 2342190 h 4622800"/>
              <a:gd name="connsiteX4" fmla="*/ 2047291 w 2152481"/>
              <a:gd name="connsiteY4" fmla="*/ 2528210 h 4622800"/>
              <a:gd name="connsiteX5" fmla="*/ 1861325 w 2152481"/>
              <a:gd name="connsiteY5" fmla="*/ 2429619 h 4622800"/>
              <a:gd name="connsiteX6" fmla="*/ 1539605 w 2152481"/>
              <a:gd name="connsiteY6" fmla="*/ 1380464 h 4622800"/>
              <a:gd name="connsiteX7" fmla="*/ 1431125 w 2152481"/>
              <a:gd name="connsiteY7" fmla="*/ 1380464 h 4622800"/>
              <a:gd name="connsiteX8" fmla="*/ 1846448 w 2152481"/>
              <a:gd name="connsiteY8" fmla="*/ 3116655 h 4622800"/>
              <a:gd name="connsiteX9" fmla="*/ 1469558 w 2152481"/>
              <a:gd name="connsiteY9" fmla="*/ 3116655 h 4622800"/>
              <a:gd name="connsiteX10" fmla="*/ 1469558 w 2152481"/>
              <a:gd name="connsiteY10" fmla="*/ 4458482 h 4622800"/>
              <a:gd name="connsiteX11" fmla="*/ 1305288 w 2152481"/>
              <a:gd name="connsiteY11" fmla="*/ 4622800 h 4622800"/>
              <a:gd name="connsiteX12" fmla="*/ 1141019 w 2152481"/>
              <a:gd name="connsiteY12" fmla="*/ 4458482 h 4622800"/>
              <a:gd name="connsiteX13" fmla="*/ 1141019 w 2152481"/>
              <a:gd name="connsiteY13" fmla="*/ 3116655 h 4622800"/>
              <a:gd name="connsiteX14" fmla="*/ 1075931 w 2152481"/>
              <a:gd name="connsiteY14" fmla="*/ 3116655 h 4622800"/>
              <a:gd name="connsiteX15" fmla="*/ 1011463 w 2152481"/>
              <a:gd name="connsiteY15" fmla="*/ 3116655 h 4622800"/>
              <a:gd name="connsiteX16" fmla="*/ 1011463 w 2152481"/>
              <a:gd name="connsiteY16" fmla="*/ 4458482 h 4622800"/>
              <a:gd name="connsiteX17" fmla="*/ 847193 w 2152481"/>
              <a:gd name="connsiteY17" fmla="*/ 4622800 h 4622800"/>
              <a:gd name="connsiteX18" fmla="*/ 682923 w 2152481"/>
              <a:gd name="connsiteY18" fmla="*/ 4458482 h 4622800"/>
              <a:gd name="connsiteX19" fmla="*/ 682923 w 2152481"/>
              <a:gd name="connsiteY19" fmla="*/ 3116655 h 4622800"/>
              <a:gd name="connsiteX20" fmla="*/ 306033 w 2152481"/>
              <a:gd name="connsiteY20" fmla="*/ 3116655 h 4622800"/>
              <a:gd name="connsiteX21" fmla="*/ 721356 w 2152481"/>
              <a:gd name="connsiteY21" fmla="*/ 1380464 h 4622800"/>
              <a:gd name="connsiteX22" fmla="*/ 612876 w 2152481"/>
              <a:gd name="connsiteY22" fmla="*/ 1380464 h 4622800"/>
              <a:gd name="connsiteX23" fmla="*/ 291156 w 2152481"/>
              <a:gd name="connsiteY23" fmla="*/ 2429619 h 4622800"/>
              <a:gd name="connsiteX24" fmla="*/ 105190 w 2152481"/>
              <a:gd name="connsiteY24" fmla="*/ 2528210 h 4622800"/>
              <a:gd name="connsiteX25" fmla="*/ 6628 w 2152481"/>
              <a:gd name="connsiteY25" fmla="*/ 2342190 h 4622800"/>
              <a:gd name="connsiteX26" fmla="*/ 340127 w 2152481"/>
              <a:gd name="connsiteY26" fmla="*/ 1255210 h 4622800"/>
              <a:gd name="connsiteX27" fmla="*/ 818678 w 2152481"/>
              <a:gd name="connsiteY27" fmla="*/ 865187 h 4622800"/>
              <a:gd name="connsiteX28" fmla="*/ 1076240 w 2152481"/>
              <a:gd name="connsiteY28" fmla="*/ 0 h 4622800"/>
              <a:gd name="connsiteX29" fmla="*/ 1457240 w 2152481"/>
              <a:gd name="connsiteY29" fmla="*/ 381000 h 4622800"/>
              <a:gd name="connsiteX30" fmla="*/ 1076240 w 2152481"/>
              <a:gd name="connsiteY30" fmla="*/ 762000 h 4622800"/>
              <a:gd name="connsiteX31" fmla="*/ 695240 w 2152481"/>
              <a:gd name="connsiteY31" fmla="*/ 381000 h 4622800"/>
              <a:gd name="connsiteX32" fmla="*/ 1076240 w 2152481"/>
              <a:gd name="connsiteY32" fmla="*/ 0 h 462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152481" h="4622800">
                <a:moveTo>
                  <a:pt x="818678" y="865187"/>
                </a:moveTo>
                <a:cubicBezTo>
                  <a:pt x="818678" y="865187"/>
                  <a:pt x="818678" y="865187"/>
                  <a:pt x="1333803" y="865187"/>
                </a:cubicBezTo>
                <a:cubicBezTo>
                  <a:pt x="1569979" y="865187"/>
                  <a:pt x="1767103" y="1032606"/>
                  <a:pt x="1812354" y="1255210"/>
                </a:cubicBezTo>
                <a:cubicBezTo>
                  <a:pt x="1812354" y="1255210"/>
                  <a:pt x="1812354" y="1255210"/>
                  <a:pt x="2145853" y="2342190"/>
                </a:cubicBezTo>
                <a:cubicBezTo>
                  <a:pt x="2170028" y="2420938"/>
                  <a:pt x="2126016" y="2504027"/>
                  <a:pt x="2047291" y="2528210"/>
                </a:cubicBezTo>
                <a:cubicBezTo>
                  <a:pt x="1968565" y="2552393"/>
                  <a:pt x="1885501" y="2507748"/>
                  <a:pt x="1861325" y="2429619"/>
                </a:cubicBezTo>
                <a:cubicBezTo>
                  <a:pt x="1861325" y="2429619"/>
                  <a:pt x="1861325" y="2429619"/>
                  <a:pt x="1539605" y="1380464"/>
                </a:cubicBezTo>
                <a:cubicBezTo>
                  <a:pt x="1539605" y="1380464"/>
                  <a:pt x="1539605" y="1380464"/>
                  <a:pt x="1431125" y="1380464"/>
                </a:cubicBezTo>
                <a:cubicBezTo>
                  <a:pt x="1431125" y="1380464"/>
                  <a:pt x="1431125" y="1380464"/>
                  <a:pt x="1846448" y="3116655"/>
                </a:cubicBezTo>
                <a:cubicBezTo>
                  <a:pt x="1846448" y="3116655"/>
                  <a:pt x="1846448" y="3116655"/>
                  <a:pt x="1469558" y="3116655"/>
                </a:cubicBezTo>
                <a:cubicBezTo>
                  <a:pt x="1469558" y="3116655"/>
                  <a:pt x="1469558" y="3116655"/>
                  <a:pt x="1469558" y="4458482"/>
                </a:cubicBezTo>
                <a:cubicBezTo>
                  <a:pt x="1469558" y="4549632"/>
                  <a:pt x="1396411" y="4622800"/>
                  <a:pt x="1305288" y="4622800"/>
                </a:cubicBezTo>
                <a:cubicBezTo>
                  <a:pt x="1214785" y="4622800"/>
                  <a:pt x="1141019" y="4549632"/>
                  <a:pt x="1141019" y="4458482"/>
                </a:cubicBezTo>
                <a:cubicBezTo>
                  <a:pt x="1141019" y="4458482"/>
                  <a:pt x="1141019" y="4458482"/>
                  <a:pt x="1141019" y="3116655"/>
                </a:cubicBezTo>
                <a:cubicBezTo>
                  <a:pt x="1141019" y="3116655"/>
                  <a:pt x="1141019" y="3116655"/>
                  <a:pt x="1075931" y="3116655"/>
                </a:cubicBezTo>
                <a:cubicBezTo>
                  <a:pt x="1075931" y="3116655"/>
                  <a:pt x="1075931" y="3116655"/>
                  <a:pt x="1011463" y="3116655"/>
                </a:cubicBezTo>
                <a:cubicBezTo>
                  <a:pt x="1011463" y="3116655"/>
                  <a:pt x="1011463" y="3116655"/>
                  <a:pt x="1011463" y="4458482"/>
                </a:cubicBezTo>
                <a:cubicBezTo>
                  <a:pt x="1011463" y="4549632"/>
                  <a:pt x="937696" y="4622800"/>
                  <a:pt x="847193" y="4622800"/>
                </a:cubicBezTo>
                <a:cubicBezTo>
                  <a:pt x="756070" y="4622800"/>
                  <a:pt x="682923" y="4549632"/>
                  <a:pt x="682923" y="4458482"/>
                </a:cubicBezTo>
                <a:cubicBezTo>
                  <a:pt x="682923" y="4458482"/>
                  <a:pt x="682923" y="4458482"/>
                  <a:pt x="682923" y="3116655"/>
                </a:cubicBezTo>
                <a:cubicBezTo>
                  <a:pt x="682923" y="3116655"/>
                  <a:pt x="682923" y="3116655"/>
                  <a:pt x="306033" y="3116655"/>
                </a:cubicBezTo>
                <a:cubicBezTo>
                  <a:pt x="306033" y="3116655"/>
                  <a:pt x="306033" y="3116655"/>
                  <a:pt x="721356" y="1380464"/>
                </a:cubicBezTo>
                <a:cubicBezTo>
                  <a:pt x="721356" y="1380464"/>
                  <a:pt x="721356" y="1380464"/>
                  <a:pt x="612876" y="1380464"/>
                </a:cubicBezTo>
                <a:cubicBezTo>
                  <a:pt x="612876" y="1380464"/>
                  <a:pt x="612876" y="1380464"/>
                  <a:pt x="291156" y="2429619"/>
                </a:cubicBezTo>
                <a:cubicBezTo>
                  <a:pt x="266980" y="2507748"/>
                  <a:pt x="183915" y="2552393"/>
                  <a:pt x="105190" y="2528210"/>
                </a:cubicBezTo>
                <a:cubicBezTo>
                  <a:pt x="26465" y="2504027"/>
                  <a:pt x="-17547" y="2420938"/>
                  <a:pt x="6628" y="2342190"/>
                </a:cubicBezTo>
                <a:cubicBezTo>
                  <a:pt x="6628" y="2342190"/>
                  <a:pt x="6628" y="2342190"/>
                  <a:pt x="340127" y="1255210"/>
                </a:cubicBezTo>
                <a:cubicBezTo>
                  <a:pt x="385378" y="1032606"/>
                  <a:pt x="582502" y="865187"/>
                  <a:pt x="818678" y="865187"/>
                </a:cubicBezTo>
                <a:close/>
                <a:moveTo>
                  <a:pt x="1076240" y="0"/>
                </a:moveTo>
                <a:cubicBezTo>
                  <a:pt x="1286660" y="0"/>
                  <a:pt x="1457240" y="170580"/>
                  <a:pt x="1457240" y="381000"/>
                </a:cubicBezTo>
                <a:cubicBezTo>
                  <a:pt x="1457240" y="591420"/>
                  <a:pt x="1286660" y="762000"/>
                  <a:pt x="1076240" y="762000"/>
                </a:cubicBezTo>
                <a:cubicBezTo>
                  <a:pt x="865820" y="762000"/>
                  <a:pt x="695240" y="591420"/>
                  <a:pt x="695240" y="381000"/>
                </a:cubicBezTo>
                <a:cubicBezTo>
                  <a:pt x="695240" y="170580"/>
                  <a:pt x="865820" y="0"/>
                  <a:pt x="1076240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855213016"/>
              </p:ext>
            </p:extLst>
          </p:nvPr>
        </p:nvGraphicFramePr>
        <p:xfrm>
          <a:off x="886650" y="1531676"/>
          <a:ext cx="1290354" cy="135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11986" y="2286830"/>
            <a:ext cx="863420" cy="1340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-40 </a:t>
            </a:r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os</a:t>
            </a:r>
            <a:endParaRPr lang="en-US" sz="800" b="1" dirty="0">
              <a:solidFill>
                <a:schemeClr val="accent4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11791" y="1989496"/>
            <a:ext cx="861976" cy="335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8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6.2%</a:t>
            </a:r>
          </a:p>
        </p:txBody>
      </p:sp>
      <p:cxnSp>
        <p:nvCxnSpPr>
          <p:cNvPr id="9" name="Straight Connector 8"/>
          <p:cNvCxnSpPr>
            <a:endCxn id="26" idx="2"/>
          </p:cNvCxnSpPr>
          <p:nvPr/>
        </p:nvCxnSpPr>
        <p:spPr>
          <a:xfrm>
            <a:off x="2234629" y="2196319"/>
            <a:ext cx="1517712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812040631"/>
              </p:ext>
            </p:extLst>
          </p:nvPr>
        </p:nvGraphicFramePr>
        <p:xfrm>
          <a:off x="1237256" y="2988038"/>
          <a:ext cx="1290354" cy="135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462592" y="3746909"/>
            <a:ext cx="863420" cy="1340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-25 </a:t>
            </a:r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os</a:t>
            </a:r>
            <a:endParaRPr lang="en-US" sz="800" b="1" dirty="0">
              <a:solidFill>
                <a:schemeClr val="accent4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62397" y="3449575"/>
            <a:ext cx="861976" cy="3357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8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.6%</a:t>
            </a:r>
          </a:p>
        </p:txBody>
      </p:sp>
      <p:cxnSp>
        <p:nvCxnSpPr>
          <p:cNvPr id="13" name="Straight Connector 12"/>
          <p:cNvCxnSpPr>
            <a:endCxn id="27" idx="2"/>
          </p:cNvCxnSpPr>
          <p:nvPr/>
        </p:nvCxnSpPr>
        <p:spPr>
          <a:xfrm>
            <a:off x="2585235" y="3652194"/>
            <a:ext cx="1001860" cy="0"/>
          </a:xfrm>
          <a:prstGeom prst="line">
            <a:avLst/>
          </a:prstGeom>
          <a:ln w="9525">
            <a:solidFill>
              <a:schemeClr val="accent1"/>
            </a:solidFill>
            <a:headEnd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>
            <a:off x="6816707" y="1675510"/>
            <a:ext cx="1730393" cy="501205"/>
            <a:chOff x="6816707" y="1675510"/>
            <a:chExt cx="1730393" cy="501205"/>
          </a:xfrm>
        </p:grpSpPr>
        <p:sp>
          <p:nvSpPr>
            <p:cNvPr id="14" name="TextBox 13"/>
            <p:cNvSpPr txBox="1"/>
            <p:nvPr/>
          </p:nvSpPr>
          <p:spPr>
            <a:xfrm>
              <a:off x="6821159" y="1675510"/>
              <a:ext cx="172594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8%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e desktop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16707" y="1873362"/>
              <a:ext cx="1730392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.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6" name="Freeform 24"/>
          <p:cNvSpPr>
            <a:spLocks noEditPoints="1"/>
          </p:cNvSpPr>
          <p:nvPr/>
        </p:nvSpPr>
        <p:spPr bwMode="auto">
          <a:xfrm>
            <a:off x="6202212" y="1699879"/>
            <a:ext cx="287660" cy="287660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7" name="Freeform 21"/>
          <p:cNvSpPr>
            <a:spLocks noEditPoints="1"/>
          </p:cNvSpPr>
          <p:nvPr/>
        </p:nvSpPr>
        <p:spPr bwMode="auto">
          <a:xfrm>
            <a:off x="6320506" y="3633915"/>
            <a:ext cx="167996" cy="307804"/>
          </a:xfrm>
          <a:custGeom>
            <a:avLst/>
            <a:gdLst>
              <a:gd name="T0" fmla="*/ 96 w 193"/>
              <a:gd name="T1" fmla="*/ 329 h 353"/>
              <a:gd name="T2" fmla="*/ 105 w 193"/>
              <a:gd name="T3" fmla="*/ 321 h 353"/>
              <a:gd name="T4" fmla="*/ 96 w 193"/>
              <a:gd name="T5" fmla="*/ 313 h 353"/>
              <a:gd name="T6" fmla="*/ 88 w 193"/>
              <a:gd name="T7" fmla="*/ 321 h 353"/>
              <a:gd name="T8" fmla="*/ 96 w 193"/>
              <a:gd name="T9" fmla="*/ 329 h 353"/>
              <a:gd name="T10" fmla="*/ 161 w 193"/>
              <a:gd name="T11" fmla="*/ 0 h 353"/>
              <a:gd name="T12" fmla="*/ 32 w 193"/>
              <a:gd name="T13" fmla="*/ 0 h 353"/>
              <a:gd name="T14" fmla="*/ 0 w 193"/>
              <a:gd name="T15" fmla="*/ 32 h 353"/>
              <a:gd name="T16" fmla="*/ 0 w 193"/>
              <a:gd name="T17" fmla="*/ 321 h 353"/>
              <a:gd name="T18" fmla="*/ 32 w 193"/>
              <a:gd name="T19" fmla="*/ 353 h 353"/>
              <a:gd name="T20" fmla="*/ 161 w 193"/>
              <a:gd name="T21" fmla="*/ 353 h 353"/>
              <a:gd name="T22" fmla="*/ 193 w 193"/>
              <a:gd name="T23" fmla="*/ 321 h 353"/>
              <a:gd name="T24" fmla="*/ 193 w 193"/>
              <a:gd name="T25" fmla="*/ 32 h 353"/>
              <a:gd name="T26" fmla="*/ 161 w 193"/>
              <a:gd name="T27" fmla="*/ 0 h 353"/>
              <a:gd name="T28" fmla="*/ 177 w 193"/>
              <a:gd name="T29" fmla="*/ 321 h 353"/>
              <a:gd name="T30" fmla="*/ 161 w 193"/>
              <a:gd name="T31" fmla="*/ 337 h 353"/>
              <a:gd name="T32" fmla="*/ 32 w 193"/>
              <a:gd name="T33" fmla="*/ 337 h 353"/>
              <a:gd name="T34" fmla="*/ 16 w 193"/>
              <a:gd name="T35" fmla="*/ 321 h 353"/>
              <a:gd name="T36" fmla="*/ 16 w 193"/>
              <a:gd name="T37" fmla="*/ 305 h 353"/>
              <a:gd name="T38" fmla="*/ 177 w 193"/>
              <a:gd name="T39" fmla="*/ 305 h 353"/>
              <a:gd name="T40" fmla="*/ 177 w 193"/>
              <a:gd name="T41" fmla="*/ 321 h 353"/>
              <a:gd name="T42" fmla="*/ 177 w 193"/>
              <a:gd name="T43" fmla="*/ 289 h 353"/>
              <a:gd name="T44" fmla="*/ 16 w 193"/>
              <a:gd name="T45" fmla="*/ 289 h 353"/>
              <a:gd name="T46" fmla="*/ 16 w 193"/>
              <a:gd name="T47" fmla="*/ 64 h 353"/>
              <a:gd name="T48" fmla="*/ 177 w 193"/>
              <a:gd name="T49" fmla="*/ 64 h 353"/>
              <a:gd name="T50" fmla="*/ 177 w 193"/>
              <a:gd name="T51" fmla="*/ 289 h 353"/>
              <a:gd name="T52" fmla="*/ 177 w 193"/>
              <a:gd name="T53" fmla="*/ 48 h 353"/>
              <a:gd name="T54" fmla="*/ 16 w 193"/>
              <a:gd name="T55" fmla="*/ 48 h 353"/>
              <a:gd name="T56" fmla="*/ 16 w 193"/>
              <a:gd name="T57" fmla="*/ 32 h 353"/>
              <a:gd name="T58" fmla="*/ 32 w 193"/>
              <a:gd name="T59" fmla="*/ 16 h 353"/>
              <a:gd name="T60" fmla="*/ 161 w 193"/>
              <a:gd name="T61" fmla="*/ 16 h 353"/>
              <a:gd name="T62" fmla="*/ 177 w 193"/>
              <a:gd name="T63" fmla="*/ 32 h 353"/>
              <a:gd name="T64" fmla="*/ 177 w 193"/>
              <a:gd name="T65" fmla="*/ 48 h 353"/>
              <a:gd name="T66" fmla="*/ 105 w 193"/>
              <a:gd name="T67" fmla="*/ 24 h 353"/>
              <a:gd name="T68" fmla="*/ 88 w 193"/>
              <a:gd name="T69" fmla="*/ 24 h 353"/>
              <a:gd name="T70" fmla="*/ 80 w 193"/>
              <a:gd name="T71" fmla="*/ 32 h 353"/>
              <a:gd name="T72" fmla="*/ 88 w 193"/>
              <a:gd name="T73" fmla="*/ 40 h 353"/>
              <a:gd name="T74" fmla="*/ 105 w 193"/>
              <a:gd name="T75" fmla="*/ 40 h 353"/>
              <a:gd name="T76" fmla="*/ 113 w 193"/>
              <a:gd name="T77" fmla="*/ 32 h 353"/>
              <a:gd name="T78" fmla="*/ 105 w 193"/>
              <a:gd name="T79" fmla="*/ 2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3" h="353">
                <a:moveTo>
                  <a:pt x="96" y="329"/>
                </a:moveTo>
                <a:cubicBezTo>
                  <a:pt x="101" y="329"/>
                  <a:pt x="105" y="326"/>
                  <a:pt x="105" y="321"/>
                </a:cubicBezTo>
                <a:cubicBezTo>
                  <a:pt x="105" y="317"/>
                  <a:pt x="101" y="313"/>
                  <a:pt x="96" y="313"/>
                </a:cubicBezTo>
                <a:cubicBezTo>
                  <a:pt x="92" y="313"/>
                  <a:pt x="88" y="317"/>
                  <a:pt x="88" y="321"/>
                </a:cubicBezTo>
                <a:cubicBezTo>
                  <a:pt x="88" y="326"/>
                  <a:pt x="92" y="329"/>
                  <a:pt x="96" y="329"/>
                </a:cubicBezTo>
                <a:moveTo>
                  <a:pt x="161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161" y="353"/>
                  <a:pt x="161" y="353"/>
                  <a:pt x="161" y="353"/>
                </a:cubicBezTo>
                <a:cubicBezTo>
                  <a:pt x="178" y="353"/>
                  <a:pt x="193" y="339"/>
                  <a:pt x="193" y="321"/>
                </a:cubicBezTo>
                <a:cubicBezTo>
                  <a:pt x="193" y="32"/>
                  <a:pt x="193" y="32"/>
                  <a:pt x="193" y="32"/>
                </a:cubicBezTo>
                <a:cubicBezTo>
                  <a:pt x="193" y="14"/>
                  <a:pt x="178" y="0"/>
                  <a:pt x="161" y="0"/>
                </a:cubicBezTo>
                <a:moveTo>
                  <a:pt x="177" y="321"/>
                </a:moveTo>
                <a:cubicBezTo>
                  <a:pt x="177" y="330"/>
                  <a:pt x="170" y="337"/>
                  <a:pt x="16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305"/>
                  <a:pt x="16" y="305"/>
                  <a:pt x="16" y="305"/>
                </a:cubicBezTo>
                <a:cubicBezTo>
                  <a:pt x="177" y="305"/>
                  <a:pt x="177" y="305"/>
                  <a:pt x="177" y="305"/>
                </a:cubicBezTo>
                <a:lnTo>
                  <a:pt x="177" y="321"/>
                </a:lnTo>
                <a:close/>
                <a:moveTo>
                  <a:pt x="177" y="289"/>
                </a:moveTo>
                <a:cubicBezTo>
                  <a:pt x="16" y="289"/>
                  <a:pt x="16" y="289"/>
                  <a:pt x="16" y="289"/>
                </a:cubicBezTo>
                <a:cubicBezTo>
                  <a:pt x="16" y="64"/>
                  <a:pt x="16" y="64"/>
                  <a:pt x="16" y="64"/>
                </a:cubicBezTo>
                <a:cubicBezTo>
                  <a:pt x="177" y="64"/>
                  <a:pt x="177" y="64"/>
                  <a:pt x="177" y="64"/>
                </a:cubicBezTo>
                <a:lnTo>
                  <a:pt x="177" y="289"/>
                </a:lnTo>
                <a:close/>
                <a:moveTo>
                  <a:pt x="177" y="48"/>
                </a:moveTo>
                <a:cubicBezTo>
                  <a:pt x="16" y="48"/>
                  <a:pt x="16" y="48"/>
                  <a:pt x="16" y="48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161" y="16"/>
                  <a:pt x="161" y="16"/>
                  <a:pt x="161" y="16"/>
                </a:cubicBezTo>
                <a:cubicBezTo>
                  <a:pt x="170" y="16"/>
                  <a:pt x="177" y="23"/>
                  <a:pt x="177" y="32"/>
                </a:cubicBezTo>
                <a:lnTo>
                  <a:pt x="177" y="48"/>
                </a:lnTo>
                <a:close/>
                <a:moveTo>
                  <a:pt x="105" y="24"/>
                </a:moveTo>
                <a:cubicBezTo>
                  <a:pt x="88" y="24"/>
                  <a:pt x="88" y="24"/>
                  <a:pt x="88" y="24"/>
                </a:cubicBezTo>
                <a:cubicBezTo>
                  <a:pt x="84" y="24"/>
                  <a:pt x="80" y="28"/>
                  <a:pt x="80" y="32"/>
                </a:cubicBezTo>
                <a:cubicBezTo>
                  <a:pt x="80" y="37"/>
                  <a:pt x="84" y="40"/>
                  <a:pt x="88" y="40"/>
                </a:cubicBezTo>
                <a:cubicBezTo>
                  <a:pt x="105" y="40"/>
                  <a:pt x="105" y="40"/>
                  <a:pt x="105" y="40"/>
                </a:cubicBezTo>
                <a:cubicBezTo>
                  <a:pt x="109" y="40"/>
                  <a:pt x="113" y="37"/>
                  <a:pt x="113" y="32"/>
                </a:cubicBezTo>
                <a:cubicBezTo>
                  <a:pt x="113" y="28"/>
                  <a:pt x="109" y="24"/>
                  <a:pt x="105" y="24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22"/>
          <p:cNvSpPr>
            <a:spLocks noEditPoints="1"/>
          </p:cNvSpPr>
          <p:nvPr/>
        </p:nvSpPr>
        <p:spPr bwMode="auto">
          <a:xfrm>
            <a:off x="6268082" y="2656825"/>
            <a:ext cx="223242" cy="307803"/>
          </a:xfrm>
          <a:custGeom>
            <a:avLst/>
            <a:gdLst>
              <a:gd name="T0" fmla="*/ 129 w 257"/>
              <a:gd name="T1" fmla="*/ 313 h 353"/>
              <a:gd name="T2" fmla="*/ 121 w 257"/>
              <a:gd name="T3" fmla="*/ 321 h 353"/>
              <a:gd name="T4" fmla="*/ 129 w 257"/>
              <a:gd name="T5" fmla="*/ 329 h 353"/>
              <a:gd name="T6" fmla="*/ 137 w 257"/>
              <a:gd name="T7" fmla="*/ 321 h 353"/>
              <a:gd name="T8" fmla="*/ 129 w 257"/>
              <a:gd name="T9" fmla="*/ 313 h 353"/>
              <a:gd name="T10" fmla="*/ 121 w 257"/>
              <a:gd name="T11" fmla="*/ 40 h 353"/>
              <a:gd name="T12" fmla="*/ 137 w 257"/>
              <a:gd name="T13" fmla="*/ 40 h 353"/>
              <a:gd name="T14" fmla="*/ 145 w 257"/>
              <a:gd name="T15" fmla="*/ 32 h 353"/>
              <a:gd name="T16" fmla="*/ 137 w 257"/>
              <a:gd name="T17" fmla="*/ 24 h 353"/>
              <a:gd name="T18" fmla="*/ 121 w 257"/>
              <a:gd name="T19" fmla="*/ 24 h 353"/>
              <a:gd name="T20" fmla="*/ 113 w 257"/>
              <a:gd name="T21" fmla="*/ 32 h 353"/>
              <a:gd name="T22" fmla="*/ 121 w 257"/>
              <a:gd name="T23" fmla="*/ 40 h 353"/>
              <a:gd name="T24" fmla="*/ 32 w 257"/>
              <a:gd name="T25" fmla="*/ 305 h 353"/>
              <a:gd name="T26" fmla="*/ 225 w 257"/>
              <a:gd name="T27" fmla="*/ 305 h 353"/>
              <a:gd name="T28" fmla="*/ 225 w 257"/>
              <a:gd name="T29" fmla="*/ 48 h 353"/>
              <a:gd name="T30" fmla="*/ 32 w 257"/>
              <a:gd name="T31" fmla="*/ 48 h 353"/>
              <a:gd name="T32" fmla="*/ 32 w 257"/>
              <a:gd name="T33" fmla="*/ 305 h 353"/>
              <a:gd name="T34" fmla="*/ 49 w 257"/>
              <a:gd name="T35" fmla="*/ 64 h 353"/>
              <a:gd name="T36" fmla="*/ 209 w 257"/>
              <a:gd name="T37" fmla="*/ 64 h 353"/>
              <a:gd name="T38" fmla="*/ 209 w 257"/>
              <a:gd name="T39" fmla="*/ 289 h 353"/>
              <a:gd name="T40" fmla="*/ 49 w 257"/>
              <a:gd name="T41" fmla="*/ 289 h 353"/>
              <a:gd name="T42" fmla="*/ 49 w 257"/>
              <a:gd name="T43" fmla="*/ 64 h 353"/>
              <a:gd name="T44" fmla="*/ 225 w 257"/>
              <a:gd name="T45" fmla="*/ 0 h 353"/>
              <a:gd name="T46" fmla="*/ 32 w 257"/>
              <a:gd name="T47" fmla="*/ 0 h 353"/>
              <a:gd name="T48" fmla="*/ 0 w 257"/>
              <a:gd name="T49" fmla="*/ 32 h 353"/>
              <a:gd name="T50" fmla="*/ 0 w 257"/>
              <a:gd name="T51" fmla="*/ 321 h 353"/>
              <a:gd name="T52" fmla="*/ 32 w 257"/>
              <a:gd name="T53" fmla="*/ 353 h 353"/>
              <a:gd name="T54" fmla="*/ 225 w 257"/>
              <a:gd name="T55" fmla="*/ 353 h 353"/>
              <a:gd name="T56" fmla="*/ 257 w 257"/>
              <a:gd name="T57" fmla="*/ 321 h 353"/>
              <a:gd name="T58" fmla="*/ 257 w 257"/>
              <a:gd name="T59" fmla="*/ 32 h 353"/>
              <a:gd name="T60" fmla="*/ 225 w 257"/>
              <a:gd name="T61" fmla="*/ 0 h 353"/>
              <a:gd name="T62" fmla="*/ 241 w 257"/>
              <a:gd name="T63" fmla="*/ 321 h 353"/>
              <a:gd name="T64" fmla="*/ 225 w 257"/>
              <a:gd name="T65" fmla="*/ 337 h 353"/>
              <a:gd name="T66" fmla="*/ 32 w 257"/>
              <a:gd name="T67" fmla="*/ 337 h 353"/>
              <a:gd name="T68" fmla="*/ 16 w 257"/>
              <a:gd name="T69" fmla="*/ 321 h 353"/>
              <a:gd name="T70" fmla="*/ 16 w 257"/>
              <a:gd name="T71" fmla="*/ 32 h 353"/>
              <a:gd name="T72" fmla="*/ 32 w 257"/>
              <a:gd name="T73" fmla="*/ 16 h 353"/>
              <a:gd name="T74" fmla="*/ 225 w 257"/>
              <a:gd name="T75" fmla="*/ 16 h 353"/>
              <a:gd name="T76" fmla="*/ 241 w 257"/>
              <a:gd name="T77" fmla="*/ 32 h 353"/>
              <a:gd name="T78" fmla="*/ 241 w 257"/>
              <a:gd name="T79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57" h="353">
                <a:moveTo>
                  <a:pt x="129" y="313"/>
                </a:moveTo>
                <a:cubicBezTo>
                  <a:pt x="124" y="313"/>
                  <a:pt x="121" y="317"/>
                  <a:pt x="121" y="321"/>
                </a:cubicBezTo>
                <a:cubicBezTo>
                  <a:pt x="121" y="326"/>
                  <a:pt x="124" y="329"/>
                  <a:pt x="129" y="329"/>
                </a:cubicBezTo>
                <a:cubicBezTo>
                  <a:pt x="133" y="329"/>
                  <a:pt x="137" y="326"/>
                  <a:pt x="137" y="321"/>
                </a:cubicBezTo>
                <a:cubicBezTo>
                  <a:pt x="137" y="317"/>
                  <a:pt x="133" y="313"/>
                  <a:pt x="129" y="313"/>
                </a:cubicBezTo>
                <a:moveTo>
                  <a:pt x="121" y="40"/>
                </a:moveTo>
                <a:cubicBezTo>
                  <a:pt x="137" y="40"/>
                  <a:pt x="137" y="40"/>
                  <a:pt x="137" y="40"/>
                </a:cubicBezTo>
                <a:cubicBezTo>
                  <a:pt x="141" y="40"/>
                  <a:pt x="145" y="37"/>
                  <a:pt x="145" y="32"/>
                </a:cubicBezTo>
                <a:cubicBezTo>
                  <a:pt x="145" y="28"/>
                  <a:pt x="141" y="24"/>
                  <a:pt x="137" y="24"/>
                </a:cubicBezTo>
                <a:cubicBezTo>
                  <a:pt x="121" y="24"/>
                  <a:pt x="121" y="24"/>
                  <a:pt x="121" y="24"/>
                </a:cubicBezTo>
                <a:cubicBezTo>
                  <a:pt x="116" y="24"/>
                  <a:pt x="113" y="28"/>
                  <a:pt x="113" y="32"/>
                </a:cubicBezTo>
                <a:cubicBezTo>
                  <a:pt x="113" y="37"/>
                  <a:pt x="116" y="40"/>
                  <a:pt x="121" y="40"/>
                </a:cubicBezTo>
                <a:moveTo>
                  <a:pt x="32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48"/>
                  <a:pt x="225" y="48"/>
                  <a:pt x="225" y="48"/>
                </a:cubicBezTo>
                <a:cubicBezTo>
                  <a:pt x="32" y="48"/>
                  <a:pt x="32" y="48"/>
                  <a:pt x="32" y="48"/>
                </a:cubicBezTo>
                <a:lnTo>
                  <a:pt x="32" y="305"/>
                </a:lnTo>
                <a:close/>
                <a:moveTo>
                  <a:pt x="49" y="64"/>
                </a:moveTo>
                <a:cubicBezTo>
                  <a:pt x="209" y="64"/>
                  <a:pt x="209" y="64"/>
                  <a:pt x="209" y="6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49" y="289"/>
                  <a:pt x="49" y="289"/>
                  <a:pt x="49" y="289"/>
                </a:cubicBezTo>
                <a:lnTo>
                  <a:pt x="49" y="64"/>
                </a:lnTo>
                <a:close/>
                <a:moveTo>
                  <a:pt x="225" y="0"/>
                </a:moveTo>
                <a:cubicBezTo>
                  <a:pt x="32" y="0"/>
                  <a:pt x="32" y="0"/>
                  <a:pt x="32" y="0"/>
                </a:cubicBezTo>
                <a:cubicBezTo>
                  <a:pt x="15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32"/>
                  <a:pt x="257" y="32"/>
                  <a:pt x="257" y="32"/>
                </a:cubicBezTo>
                <a:cubicBezTo>
                  <a:pt x="257" y="14"/>
                  <a:pt x="243" y="0"/>
                  <a:pt x="225" y="0"/>
                </a:cubicBezTo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4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4" y="16"/>
                  <a:pt x="32" y="16"/>
                </a:cubicBezTo>
                <a:cubicBezTo>
                  <a:pt x="225" y="16"/>
                  <a:pt x="225" y="16"/>
                  <a:pt x="225" y="16"/>
                </a:cubicBezTo>
                <a:cubicBezTo>
                  <a:pt x="234" y="16"/>
                  <a:pt x="241" y="23"/>
                  <a:pt x="241" y="32"/>
                </a:cubicBezTo>
                <a:lnTo>
                  <a:pt x="241" y="32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29" name="Group 28"/>
          <p:cNvGrpSpPr/>
          <p:nvPr/>
        </p:nvGrpSpPr>
        <p:grpSpPr>
          <a:xfrm>
            <a:off x="6816707" y="2652618"/>
            <a:ext cx="1730393" cy="501204"/>
            <a:chOff x="6816707" y="2652618"/>
            <a:chExt cx="1730393" cy="501204"/>
          </a:xfrm>
        </p:grpSpPr>
        <p:sp>
          <p:nvSpPr>
            <p:cNvPr id="19" name="TextBox 18"/>
            <p:cNvSpPr txBox="1"/>
            <p:nvPr/>
          </p:nvSpPr>
          <p:spPr>
            <a:xfrm>
              <a:off x="6821159" y="2652618"/>
              <a:ext cx="172594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5%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e tablet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816707" y="2850469"/>
              <a:ext cx="1730392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.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6816707" y="3629725"/>
            <a:ext cx="1730393" cy="501205"/>
            <a:chOff x="6816707" y="3629725"/>
            <a:chExt cx="1730393" cy="501205"/>
          </a:xfrm>
        </p:grpSpPr>
        <p:sp>
          <p:nvSpPr>
            <p:cNvPr id="21" name="TextBox 20"/>
            <p:cNvSpPr txBox="1"/>
            <p:nvPr/>
          </p:nvSpPr>
          <p:spPr>
            <a:xfrm>
              <a:off x="6821159" y="3629725"/>
              <a:ext cx="172594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54%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uário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app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816707" y="3827577"/>
              <a:ext cx="1730392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.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cxnSp>
        <p:nvCxnSpPr>
          <p:cNvPr id="23" name="Straight Connector 22"/>
          <p:cNvCxnSpPr/>
          <p:nvPr/>
        </p:nvCxnSpPr>
        <p:spPr>
          <a:xfrm flipH="1">
            <a:off x="5489575" y="1796236"/>
            <a:ext cx="593120" cy="0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>
            <a:off x="5851525" y="2791398"/>
            <a:ext cx="231170" cy="0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5489575" y="3797279"/>
            <a:ext cx="593120" cy="0"/>
          </a:xfrm>
          <a:prstGeom prst="line">
            <a:avLst/>
          </a:prstGeom>
          <a:ln w="9525">
            <a:solidFill>
              <a:schemeClr val="accent5"/>
            </a:solidFill>
            <a:headEnd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3752341" y="2149539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/>
          <p:cNvSpPr/>
          <p:nvPr/>
        </p:nvSpPr>
        <p:spPr>
          <a:xfrm>
            <a:off x="3587095" y="3605414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89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rescimento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rendimento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bru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2863237" y="1675316"/>
            <a:ext cx="2255006" cy="2255004"/>
            <a:chOff x="2863237" y="1675316"/>
            <a:chExt cx="2255006" cy="2255004"/>
          </a:xfrm>
        </p:grpSpPr>
        <p:sp>
          <p:nvSpPr>
            <p:cNvPr id="18" name="Oval 17"/>
            <p:cNvSpPr/>
            <p:nvPr/>
          </p:nvSpPr>
          <p:spPr>
            <a:xfrm>
              <a:off x="2863237" y="1675316"/>
              <a:ext cx="2255006" cy="22550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6" name="Oval 5"/>
            <p:cNvSpPr/>
            <p:nvPr/>
          </p:nvSpPr>
          <p:spPr>
            <a:xfrm>
              <a:off x="2963547" y="1775626"/>
              <a:ext cx="2054386" cy="205438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235413" y="2278239"/>
              <a:ext cx="15473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400" cap="all" spc="20" dirty="0">
                  <a:solidFill>
                    <a:schemeClr val="bg1"/>
                  </a:solidFill>
                  <a:latin typeface="Lato Black" panose="020F0A02020204030203" pitchFamily="34" charset="0"/>
                  <a:cs typeface="Poppins" panose="02000000000000000000" pitchFamily="2" charset="0"/>
                </a:rPr>
                <a:t>R$2.2m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235413" y="2936434"/>
              <a:ext cx="154733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Donec lobortis mattis leo, et condimentum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235413" y="2684021"/>
              <a:ext cx="154733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m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2018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404994" y="1434120"/>
            <a:ext cx="2737398" cy="2737396"/>
            <a:chOff x="5404994" y="1434120"/>
            <a:chExt cx="2737398" cy="2737396"/>
          </a:xfrm>
        </p:grpSpPr>
        <p:sp>
          <p:nvSpPr>
            <p:cNvPr id="19" name="Oval 18"/>
            <p:cNvSpPr/>
            <p:nvPr/>
          </p:nvSpPr>
          <p:spPr>
            <a:xfrm>
              <a:off x="5404994" y="1434120"/>
              <a:ext cx="2737398" cy="273739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Oval 6"/>
            <p:cNvSpPr/>
            <p:nvPr/>
          </p:nvSpPr>
          <p:spPr>
            <a:xfrm>
              <a:off x="5527462" y="1556588"/>
              <a:ext cx="2492462" cy="24924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000026" y="2166895"/>
              <a:ext cx="1547333" cy="4847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150" cap="all" spc="20" dirty="0">
                  <a:solidFill>
                    <a:schemeClr val="bg1"/>
                  </a:solidFill>
                  <a:latin typeface="Lato Black" panose="020F0A02020204030203" pitchFamily="34" charset="0"/>
                  <a:cs typeface="Poppins" panose="02000000000000000000" pitchFamily="2" charset="0"/>
                </a:rPr>
                <a:t>R$3.7m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000026" y="2922146"/>
              <a:ext cx="154733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Donec lobortis mattis leo, et condimentum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000026" y="2669734"/>
              <a:ext cx="154733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m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2019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01608" y="1985730"/>
            <a:ext cx="1634178" cy="1634176"/>
            <a:chOff x="1001608" y="1985730"/>
            <a:chExt cx="1634178" cy="1634176"/>
          </a:xfrm>
        </p:grpSpPr>
        <p:sp>
          <p:nvSpPr>
            <p:cNvPr id="17" name="Oval 16"/>
            <p:cNvSpPr/>
            <p:nvPr/>
          </p:nvSpPr>
          <p:spPr>
            <a:xfrm>
              <a:off x="1001608" y="1985730"/>
              <a:ext cx="1634178" cy="163417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" name="Oval 4"/>
            <p:cNvSpPr/>
            <p:nvPr/>
          </p:nvSpPr>
          <p:spPr>
            <a:xfrm>
              <a:off x="1088870" y="2072992"/>
              <a:ext cx="1459654" cy="1459652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87192" y="2424919"/>
              <a:ext cx="1061843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50" cap="all" spc="20" dirty="0">
                  <a:solidFill>
                    <a:schemeClr val="bg1"/>
                  </a:solidFill>
                  <a:latin typeface="Lato Black" panose="020F0A02020204030203" pitchFamily="34" charset="0"/>
                  <a:cs typeface="Poppins" panose="02000000000000000000" pitchFamily="2" charset="0"/>
                </a:rPr>
                <a:t>R$1.5m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287192" y="2936434"/>
              <a:ext cx="106184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Donec lobortis mattis leo, et condimentum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287192" y="2684021"/>
              <a:ext cx="106184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m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201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8106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84202" y="575841"/>
            <a:ext cx="7953374" cy="383260"/>
          </a:xfrm>
        </p:spPr>
        <p:txBody>
          <a:bodyPr/>
          <a:lstStyle/>
          <a:p>
            <a:r>
              <a:rPr lang="en-US" dirty="0"/>
              <a:t>ESTRATÉGIA DE </a:t>
            </a:r>
            <a:r>
              <a:rPr lang="en-US" dirty="0">
                <a:solidFill>
                  <a:srgbClr val="EC0000"/>
                </a:solidFill>
              </a:rPr>
              <a:t>VEND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3736582" y="1300976"/>
            <a:ext cx="2360140" cy="2979097"/>
            <a:chOff x="3421378" y="1375317"/>
            <a:chExt cx="2301245" cy="2904756"/>
          </a:xfrm>
        </p:grpSpPr>
        <p:sp>
          <p:nvSpPr>
            <p:cNvPr id="4" name="Freeform 15"/>
            <p:cNvSpPr>
              <a:spLocks/>
            </p:cNvSpPr>
            <p:nvPr/>
          </p:nvSpPr>
          <p:spPr bwMode="auto">
            <a:xfrm>
              <a:off x="3421378" y="3422183"/>
              <a:ext cx="2301245" cy="857890"/>
            </a:xfrm>
            <a:custGeom>
              <a:avLst/>
              <a:gdLst>
                <a:gd name="T0" fmla="*/ 3868 w 3883"/>
                <a:gd name="T1" fmla="*/ 1353 h 1448"/>
                <a:gd name="T2" fmla="*/ 3868 w 3883"/>
                <a:gd name="T3" fmla="*/ 1353 h 1448"/>
                <a:gd name="T4" fmla="*/ 3691 w 3883"/>
                <a:gd name="T5" fmla="*/ 262 h 1448"/>
                <a:gd name="T6" fmla="*/ 3691 w 3883"/>
                <a:gd name="T7" fmla="*/ 200 h 1448"/>
                <a:gd name="T8" fmla="*/ 2871 w 3883"/>
                <a:gd name="T9" fmla="*/ 200 h 1448"/>
                <a:gd name="T10" fmla="*/ 2856 w 3883"/>
                <a:gd name="T11" fmla="*/ 235 h 1448"/>
                <a:gd name="T12" fmla="*/ 2856 w 3883"/>
                <a:gd name="T13" fmla="*/ 235 h 1448"/>
                <a:gd name="T14" fmla="*/ 2879 w 3883"/>
                <a:gd name="T15" fmla="*/ 272 h 1448"/>
                <a:gd name="T16" fmla="*/ 2924 w 3883"/>
                <a:gd name="T17" fmla="*/ 329 h 1448"/>
                <a:gd name="T18" fmla="*/ 2816 w 3883"/>
                <a:gd name="T19" fmla="*/ 399 h 1448"/>
                <a:gd name="T20" fmla="*/ 2708 w 3883"/>
                <a:gd name="T21" fmla="*/ 329 h 1448"/>
                <a:gd name="T22" fmla="*/ 2753 w 3883"/>
                <a:gd name="T23" fmla="*/ 272 h 1448"/>
                <a:gd name="T24" fmla="*/ 2777 w 3883"/>
                <a:gd name="T25" fmla="*/ 235 h 1448"/>
                <a:gd name="T26" fmla="*/ 2777 w 3883"/>
                <a:gd name="T27" fmla="*/ 235 h 1448"/>
                <a:gd name="T28" fmla="*/ 2762 w 3883"/>
                <a:gd name="T29" fmla="*/ 200 h 1448"/>
                <a:gd name="T30" fmla="*/ 1942 w 3883"/>
                <a:gd name="T31" fmla="*/ 200 h 1448"/>
                <a:gd name="T32" fmla="*/ 1122 w 3883"/>
                <a:gd name="T33" fmla="*/ 200 h 1448"/>
                <a:gd name="T34" fmla="*/ 1107 w 3883"/>
                <a:gd name="T35" fmla="*/ 165 h 1448"/>
                <a:gd name="T36" fmla="*/ 1107 w 3883"/>
                <a:gd name="T37" fmla="*/ 165 h 1448"/>
                <a:gd name="T38" fmla="*/ 1130 w 3883"/>
                <a:gd name="T39" fmla="*/ 127 h 1448"/>
                <a:gd name="T40" fmla="*/ 1175 w 3883"/>
                <a:gd name="T41" fmla="*/ 70 h 1448"/>
                <a:gd name="T42" fmla="*/ 1067 w 3883"/>
                <a:gd name="T43" fmla="*/ 0 h 1448"/>
                <a:gd name="T44" fmla="*/ 959 w 3883"/>
                <a:gd name="T45" fmla="*/ 70 h 1448"/>
                <a:gd name="T46" fmla="*/ 1004 w 3883"/>
                <a:gd name="T47" fmla="*/ 127 h 1448"/>
                <a:gd name="T48" fmla="*/ 1028 w 3883"/>
                <a:gd name="T49" fmla="*/ 165 h 1448"/>
                <a:gd name="T50" fmla="*/ 1028 w 3883"/>
                <a:gd name="T51" fmla="*/ 165 h 1448"/>
                <a:gd name="T52" fmla="*/ 1013 w 3883"/>
                <a:gd name="T53" fmla="*/ 200 h 1448"/>
                <a:gd name="T54" fmla="*/ 193 w 3883"/>
                <a:gd name="T55" fmla="*/ 200 h 1448"/>
                <a:gd name="T56" fmla="*/ 193 w 3883"/>
                <a:gd name="T57" fmla="*/ 262 h 1448"/>
                <a:gd name="T58" fmla="*/ 16 w 3883"/>
                <a:gd name="T59" fmla="*/ 1353 h 1448"/>
                <a:gd name="T60" fmla="*/ 16 w 3883"/>
                <a:gd name="T61" fmla="*/ 1353 h 1448"/>
                <a:gd name="T62" fmla="*/ 84 w 3883"/>
                <a:gd name="T63" fmla="*/ 1448 h 1448"/>
                <a:gd name="T64" fmla="*/ 1942 w 3883"/>
                <a:gd name="T65" fmla="*/ 1448 h 1448"/>
                <a:gd name="T66" fmla="*/ 3800 w 3883"/>
                <a:gd name="T67" fmla="*/ 1448 h 1448"/>
                <a:gd name="T68" fmla="*/ 3868 w 3883"/>
                <a:gd name="T69" fmla="*/ 1353 h 1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83" h="1448">
                  <a:moveTo>
                    <a:pt x="3868" y="1353"/>
                  </a:moveTo>
                  <a:cubicBezTo>
                    <a:pt x="3868" y="1353"/>
                    <a:pt x="3868" y="1353"/>
                    <a:pt x="3868" y="1353"/>
                  </a:cubicBezTo>
                  <a:cubicBezTo>
                    <a:pt x="3751" y="1002"/>
                    <a:pt x="3691" y="633"/>
                    <a:pt x="3691" y="262"/>
                  </a:cubicBezTo>
                  <a:cubicBezTo>
                    <a:pt x="3691" y="200"/>
                    <a:pt x="3691" y="200"/>
                    <a:pt x="3691" y="200"/>
                  </a:cubicBezTo>
                  <a:cubicBezTo>
                    <a:pt x="2871" y="200"/>
                    <a:pt x="2871" y="200"/>
                    <a:pt x="2871" y="200"/>
                  </a:cubicBezTo>
                  <a:cubicBezTo>
                    <a:pt x="2862" y="204"/>
                    <a:pt x="2856" y="218"/>
                    <a:pt x="2856" y="235"/>
                  </a:cubicBezTo>
                  <a:cubicBezTo>
                    <a:pt x="2856" y="235"/>
                    <a:pt x="2856" y="235"/>
                    <a:pt x="2856" y="235"/>
                  </a:cubicBezTo>
                  <a:cubicBezTo>
                    <a:pt x="2856" y="252"/>
                    <a:pt x="2866" y="266"/>
                    <a:pt x="2879" y="272"/>
                  </a:cubicBezTo>
                  <a:cubicBezTo>
                    <a:pt x="2907" y="285"/>
                    <a:pt x="2924" y="306"/>
                    <a:pt x="2924" y="329"/>
                  </a:cubicBezTo>
                  <a:cubicBezTo>
                    <a:pt x="2924" y="368"/>
                    <a:pt x="2876" y="399"/>
                    <a:pt x="2816" y="399"/>
                  </a:cubicBezTo>
                  <a:cubicBezTo>
                    <a:pt x="2757" y="399"/>
                    <a:pt x="2708" y="368"/>
                    <a:pt x="2708" y="329"/>
                  </a:cubicBezTo>
                  <a:cubicBezTo>
                    <a:pt x="2708" y="306"/>
                    <a:pt x="2726" y="285"/>
                    <a:pt x="2753" y="272"/>
                  </a:cubicBezTo>
                  <a:cubicBezTo>
                    <a:pt x="2767" y="266"/>
                    <a:pt x="2777" y="252"/>
                    <a:pt x="2777" y="235"/>
                  </a:cubicBezTo>
                  <a:cubicBezTo>
                    <a:pt x="2777" y="235"/>
                    <a:pt x="2777" y="235"/>
                    <a:pt x="2777" y="235"/>
                  </a:cubicBezTo>
                  <a:cubicBezTo>
                    <a:pt x="2777" y="218"/>
                    <a:pt x="2771" y="204"/>
                    <a:pt x="2762" y="200"/>
                  </a:cubicBezTo>
                  <a:cubicBezTo>
                    <a:pt x="1942" y="200"/>
                    <a:pt x="1942" y="200"/>
                    <a:pt x="1942" y="200"/>
                  </a:cubicBezTo>
                  <a:cubicBezTo>
                    <a:pt x="1122" y="200"/>
                    <a:pt x="1122" y="200"/>
                    <a:pt x="1122" y="200"/>
                  </a:cubicBezTo>
                  <a:cubicBezTo>
                    <a:pt x="1113" y="196"/>
                    <a:pt x="1107" y="182"/>
                    <a:pt x="1107" y="165"/>
                  </a:cubicBezTo>
                  <a:cubicBezTo>
                    <a:pt x="1107" y="165"/>
                    <a:pt x="1107" y="165"/>
                    <a:pt x="1107" y="165"/>
                  </a:cubicBezTo>
                  <a:cubicBezTo>
                    <a:pt x="1107" y="148"/>
                    <a:pt x="1117" y="134"/>
                    <a:pt x="1130" y="127"/>
                  </a:cubicBezTo>
                  <a:cubicBezTo>
                    <a:pt x="1158" y="115"/>
                    <a:pt x="1175" y="94"/>
                    <a:pt x="1175" y="70"/>
                  </a:cubicBezTo>
                  <a:cubicBezTo>
                    <a:pt x="1175" y="32"/>
                    <a:pt x="1127" y="0"/>
                    <a:pt x="1067" y="0"/>
                  </a:cubicBezTo>
                  <a:cubicBezTo>
                    <a:pt x="1008" y="0"/>
                    <a:pt x="959" y="32"/>
                    <a:pt x="959" y="70"/>
                  </a:cubicBezTo>
                  <a:cubicBezTo>
                    <a:pt x="959" y="94"/>
                    <a:pt x="977" y="115"/>
                    <a:pt x="1004" y="127"/>
                  </a:cubicBezTo>
                  <a:cubicBezTo>
                    <a:pt x="1018" y="134"/>
                    <a:pt x="1028" y="148"/>
                    <a:pt x="1028" y="165"/>
                  </a:cubicBezTo>
                  <a:cubicBezTo>
                    <a:pt x="1028" y="165"/>
                    <a:pt x="1028" y="165"/>
                    <a:pt x="1028" y="165"/>
                  </a:cubicBezTo>
                  <a:cubicBezTo>
                    <a:pt x="1028" y="182"/>
                    <a:pt x="1022" y="196"/>
                    <a:pt x="1013" y="200"/>
                  </a:cubicBezTo>
                  <a:cubicBezTo>
                    <a:pt x="193" y="200"/>
                    <a:pt x="193" y="200"/>
                    <a:pt x="193" y="200"/>
                  </a:cubicBezTo>
                  <a:cubicBezTo>
                    <a:pt x="193" y="262"/>
                    <a:pt x="193" y="262"/>
                    <a:pt x="193" y="262"/>
                  </a:cubicBezTo>
                  <a:cubicBezTo>
                    <a:pt x="193" y="633"/>
                    <a:pt x="133" y="1002"/>
                    <a:pt x="16" y="1353"/>
                  </a:cubicBezTo>
                  <a:cubicBezTo>
                    <a:pt x="16" y="1353"/>
                    <a:pt x="16" y="1353"/>
                    <a:pt x="16" y="1353"/>
                  </a:cubicBezTo>
                  <a:cubicBezTo>
                    <a:pt x="0" y="1400"/>
                    <a:pt x="35" y="1448"/>
                    <a:pt x="84" y="1448"/>
                  </a:cubicBezTo>
                  <a:cubicBezTo>
                    <a:pt x="1942" y="1448"/>
                    <a:pt x="1942" y="1448"/>
                    <a:pt x="1942" y="1448"/>
                  </a:cubicBezTo>
                  <a:cubicBezTo>
                    <a:pt x="3800" y="1448"/>
                    <a:pt x="3800" y="1448"/>
                    <a:pt x="3800" y="1448"/>
                  </a:cubicBezTo>
                  <a:cubicBezTo>
                    <a:pt x="3849" y="1448"/>
                    <a:pt x="3883" y="1400"/>
                    <a:pt x="3868" y="1353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" name="Freeform 16"/>
            <p:cNvSpPr>
              <a:spLocks/>
            </p:cNvSpPr>
            <p:nvPr/>
          </p:nvSpPr>
          <p:spPr bwMode="auto">
            <a:xfrm>
              <a:off x="3535876" y="2059486"/>
              <a:ext cx="2072813" cy="861274"/>
            </a:xfrm>
            <a:custGeom>
              <a:avLst/>
              <a:gdLst>
                <a:gd name="T0" fmla="*/ 2678 w 3498"/>
                <a:gd name="T1" fmla="*/ 1255 h 1454"/>
                <a:gd name="T2" fmla="*/ 3498 w 3498"/>
                <a:gd name="T3" fmla="*/ 1255 h 1454"/>
                <a:gd name="T4" fmla="*/ 3498 w 3498"/>
                <a:gd name="T5" fmla="*/ 72 h 1454"/>
                <a:gd name="T6" fmla="*/ 3426 w 3498"/>
                <a:gd name="T7" fmla="*/ 0 h 1454"/>
                <a:gd name="T8" fmla="*/ 1749 w 3498"/>
                <a:gd name="T9" fmla="*/ 0 h 1454"/>
                <a:gd name="T10" fmla="*/ 72 w 3498"/>
                <a:gd name="T11" fmla="*/ 0 h 1454"/>
                <a:gd name="T12" fmla="*/ 0 w 3498"/>
                <a:gd name="T13" fmla="*/ 72 h 1454"/>
                <a:gd name="T14" fmla="*/ 0 w 3498"/>
                <a:gd name="T15" fmla="*/ 1255 h 1454"/>
                <a:gd name="T16" fmla="*/ 820 w 3498"/>
                <a:gd name="T17" fmla="*/ 1255 h 1454"/>
                <a:gd name="T18" fmla="*/ 835 w 3498"/>
                <a:gd name="T19" fmla="*/ 1220 h 1454"/>
                <a:gd name="T20" fmla="*/ 835 w 3498"/>
                <a:gd name="T21" fmla="*/ 1220 h 1454"/>
                <a:gd name="T22" fmla="*/ 811 w 3498"/>
                <a:gd name="T23" fmla="*/ 1183 h 1454"/>
                <a:gd name="T24" fmla="*/ 766 w 3498"/>
                <a:gd name="T25" fmla="*/ 1126 h 1454"/>
                <a:gd name="T26" fmla="*/ 874 w 3498"/>
                <a:gd name="T27" fmla="*/ 1055 h 1454"/>
                <a:gd name="T28" fmla="*/ 982 w 3498"/>
                <a:gd name="T29" fmla="*/ 1126 h 1454"/>
                <a:gd name="T30" fmla="*/ 937 w 3498"/>
                <a:gd name="T31" fmla="*/ 1183 h 1454"/>
                <a:gd name="T32" fmla="*/ 914 w 3498"/>
                <a:gd name="T33" fmla="*/ 1220 h 1454"/>
                <a:gd name="T34" fmla="*/ 914 w 3498"/>
                <a:gd name="T35" fmla="*/ 1220 h 1454"/>
                <a:gd name="T36" fmla="*/ 929 w 3498"/>
                <a:gd name="T37" fmla="*/ 1255 h 1454"/>
                <a:gd name="T38" fmla="*/ 1749 w 3498"/>
                <a:gd name="T39" fmla="*/ 1255 h 1454"/>
                <a:gd name="T40" fmla="*/ 2569 w 3498"/>
                <a:gd name="T41" fmla="*/ 1255 h 1454"/>
                <a:gd name="T42" fmla="*/ 2584 w 3498"/>
                <a:gd name="T43" fmla="*/ 1290 h 1454"/>
                <a:gd name="T44" fmla="*/ 2584 w 3498"/>
                <a:gd name="T45" fmla="*/ 1290 h 1454"/>
                <a:gd name="T46" fmla="*/ 2560 w 3498"/>
                <a:gd name="T47" fmla="*/ 1327 h 1454"/>
                <a:gd name="T48" fmla="*/ 2515 w 3498"/>
                <a:gd name="T49" fmla="*/ 1384 h 1454"/>
                <a:gd name="T50" fmla="*/ 2623 w 3498"/>
                <a:gd name="T51" fmla="*/ 1454 h 1454"/>
                <a:gd name="T52" fmla="*/ 2731 w 3498"/>
                <a:gd name="T53" fmla="*/ 1384 h 1454"/>
                <a:gd name="T54" fmla="*/ 2686 w 3498"/>
                <a:gd name="T55" fmla="*/ 1327 h 1454"/>
                <a:gd name="T56" fmla="*/ 2663 w 3498"/>
                <a:gd name="T57" fmla="*/ 1290 h 1454"/>
                <a:gd name="T58" fmla="*/ 2663 w 3498"/>
                <a:gd name="T59" fmla="*/ 1290 h 1454"/>
                <a:gd name="T60" fmla="*/ 2678 w 3498"/>
                <a:gd name="T61" fmla="*/ 1255 h 1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98" h="1454">
                  <a:moveTo>
                    <a:pt x="2678" y="1255"/>
                  </a:moveTo>
                  <a:cubicBezTo>
                    <a:pt x="3498" y="1255"/>
                    <a:pt x="3498" y="1255"/>
                    <a:pt x="3498" y="1255"/>
                  </a:cubicBezTo>
                  <a:cubicBezTo>
                    <a:pt x="3498" y="72"/>
                    <a:pt x="3498" y="72"/>
                    <a:pt x="3498" y="72"/>
                  </a:cubicBezTo>
                  <a:cubicBezTo>
                    <a:pt x="3498" y="32"/>
                    <a:pt x="3466" y="0"/>
                    <a:pt x="3426" y="0"/>
                  </a:cubicBezTo>
                  <a:cubicBezTo>
                    <a:pt x="1749" y="0"/>
                    <a:pt x="1749" y="0"/>
                    <a:pt x="1749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1255"/>
                    <a:pt x="0" y="1255"/>
                    <a:pt x="0" y="1255"/>
                  </a:cubicBezTo>
                  <a:cubicBezTo>
                    <a:pt x="820" y="1255"/>
                    <a:pt x="820" y="1255"/>
                    <a:pt x="820" y="1255"/>
                  </a:cubicBezTo>
                  <a:cubicBezTo>
                    <a:pt x="829" y="1251"/>
                    <a:pt x="835" y="1237"/>
                    <a:pt x="835" y="1220"/>
                  </a:cubicBezTo>
                  <a:cubicBezTo>
                    <a:pt x="835" y="1220"/>
                    <a:pt x="835" y="1220"/>
                    <a:pt x="835" y="1220"/>
                  </a:cubicBezTo>
                  <a:cubicBezTo>
                    <a:pt x="835" y="1203"/>
                    <a:pt x="825" y="1189"/>
                    <a:pt x="811" y="1183"/>
                  </a:cubicBezTo>
                  <a:cubicBezTo>
                    <a:pt x="784" y="1170"/>
                    <a:pt x="766" y="1149"/>
                    <a:pt x="766" y="1126"/>
                  </a:cubicBezTo>
                  <a:cubicBezTo>
                    <a:pt x="766" y="1087"/>
                    <a:pt x="815" y="1055"/>
                    <a:pt x="874" y="1055"/>
                  </a:cubicBezTo>
                  <a:cubicBezTo>
                    <a:pt x="934" y="1055"/>
                    <a:pt x="982" y="1087"/>
                    <a:pt x="982" y="1126"/>
                  </a:cubicBezTo>
                  <a:cubicBezTo>
                    <a:pt x="982" y="1149"/>
                    <a:pt x="965" y="1170"/>
                    <a:pt x="937" y="1183"/>
                  </a:cubicBezTo>
                  <a:cubicBezTo>
                    <a:pt x="924" y="1189"/>
                    <a:pt x="914" y="1203"/>
                    <a:pt x="914" y="1220"/>
                  </a:cubicBezTo>
                  <a:cubicBezTo>
                    <a:pt x="914" y="1220"/>
                    <a:pt x="914" y="1220"/>
                    <a:pt x="914" y="1220"/>
                  </a:cubicBezTo>
                  <a:cubicBezTo>
                    <a:pt x="914" y="1237"/>
                    <a:pt x="920" y="1251"/>
                    <a:pt x="929" y="1255"/>
                  </a:cubicBezTo>
                  <a:cubicBezTo>
                    <a:pt x="1749" y="1255"/>
                    <a:pt x="1749" y="1255"/>
                    <a:pt x="1749" y="1255"/>
                  </a:cubicBezTo>
                  <a:cubicBezTo>
                    <a:pt x="2569" y="1255"/>
                    <a:pt x="2569" y="1255"/>
                    <a:pt x="2569" y="1255"/>
                  </a:cubicBezTo>
                  <a:cubicBezTo>
                    <a:pt x="2578" y="1259"/>
                    <a:pt x="2584" y="1273"/>
                    <a:pt x="2584" y="1290"/>
                  </a:cubicBezTo>
                  <a:cubicBezTo>
                    <a:pt x="2584" y="1290"/>
                    <a:pt x="2584" y="1290"/>
                    <a:pt x="2584" y="1290"/>
                  </a:cubicBezTo>
                  <a:cubicBezTo>
                    <a:pt x="2584" y="1307"/>
                    <a:pt x="2574" y="1321"/>
                    <a:pt x="2560" y="1327"/>
                  </a:cubicBezTo>
                  <a:cubicBezTo>
                    <a:pt x="2533" y="1340"/>
                    <a:pt x="2515" y="1361"/>
                    <a:pt x="2515" y="1384"/>
                  </a:cubicBezTo>
                  <a:cubicBezTo>
                    <a:pt x="2515" y="1423"/>
                    <a:pt x="2564" y="1454"/>
                    <a:pt x="2623" y="1454"/>
                  </a:cubicBezTo>
                  <a:cubicBezTo>
                    <a:pt x="2683" y="1454"/>
                    <a:pt x="2731" y="1423"/>
                    <a:pt x="2731" y="1384"/>
                  </a:cubicBezTo>
                  <a:cubicBezTo>
                    <a:pt x="2731" y="1361"/>
                    <a:pt x="2714" y="1340"/>
                    <a:pt x="2686" y="1327"/>
                  </a:cubicBezTo>
                  <a:cubicBezTo>
                    <a:pt x="2673" y="1321"/>
                    <a:pt x="2663" y="1307"/>
                    <a:pt x="2663" y="1290"/>
                  </a:cubicBezTo>
                  <a:cubicBezTo>
                    <a:pt x="2663" y="1290"/>
                    <a:pt x="2663" y="1290"/>
                    <a:pt x="2663" y="1290"/>
                  </a:cubicBezTo>
                  <a:cubicBezTo>
                    <a:pt x="2663" y="1273"/>
                    <a:pt x="2669" y="1259"/>
                    <a:pt x="2678" y="1255"/>
                  </a:cubicBezTo>
                  <a:close/>
                </a:path>
              </a:pathLst>
            </a:cu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17"/>
            <p:cNvSpPr>
              <a:spLocks/>
            </p:cNvSpPr>
            <p:nvPr/>
          </p:nvSpPr>
          <p:spPr bwMode="auto">
            <a:xfrm>
              <a:off x="3535876" y="2684432"/>
              <a:ext cx="2072813" cy="974081"/>
            </a:xfrm>
            <a:custGeom>
              <a:avLst/>
              <a:gdLst>
                <a:gd name="T0" fmla="*/ 2678 w 3498"/>
                <a:gd name="T1" fmla="*/ 1445 h 1644"/>
                <a:gd name="T2" fmla="*/ 3498 w 3498"/>
                <a:gd name="T3" fmla="*/ 1445 h 1644"/>
                <a:gd name="T4" fmla="*/ 3498 w 3498"/>
                <a:gd name="T5" fmla="*/ 200 h 1644"/>
                <a:gd name="T6" fmla="*/ 2678 w 3498"/>
                <a:gd name="T7" fmla="*/ 200 h 1644"/>
                <a:gd name="T8" fmla="*/ 2663 w 3498"/>
                <a:gd name="T9" fmla="*/ 235 h 1644"/>
                <a:gd name="T10" fmla="*/ 2663 w 3498"/>
                <a:gd name="T11" fmla="*/ 235 h 1644"/>
                <a:gd name="T12" fmla="*/ 2686 w 3498"/>
                <a:gd name="T13" fmla="*/ 272 h 1644"/>
                <a:gd name="T14" fmla="*/ 2731 w 3498"/>
                <a:gd name="T15" fmla="*/ 329 h 1644"/>
                <a:gd name="T16" fmla="*/ 2623 w 3498"/>
                <a:gd name="T17" fmla="*/ 399 h 1644"/>
                <a:gd name="T18" fmla="*/ 2515 w 3498"/>
                <a:gd name="T19" fmla="*/ 329 h 1644"/>
                <a:gd name="T20" fmla="*/ 2560 w 3498"/>
                <a:gd name="T21" fmla="*/ 272 h 1644"/>
                <a:gd name="T22" fmla="*/ 2584 w 3498"/>
                <a:gd name="T23" fmla="*/ 235 h 1644"/>
                <a:gd name="T24" fmla="*/ 2584 w 3498"/>
                <a:gd name="T25" fmla="*/ 235 h 1644"/>
                <a:gd name="T26" fmla="*/ 2569 w 3498"/>
                <a:gd name="T27" fmla="*/ 200 h 1644"/>
                <a:gd name="T28" fmla="*/ 1749 w 3498"/>
                <a:gd name="T29" fmla="*/ 200 h 1644"/>
                <a:gd name="T30" fmla="*/ 929 w 3498"/>
                <a:gd name="T31" fmla="*/ 200 h 1644"/>
                <a:gd name="T32" fmla="*/ 914 w 3498"/>
                <a:gd name="T33" fmla="*/ 165 h 1644"/>
                <a:gd name="T34" fmla="*/ 914 w 3498"/>
                <a:gd name="T35" fmla="*/ 165 h 1644"/>
                <a:gd name="T36" fmla="*/ 937 w 3498"/>
                <a:gd name="T37" fmla="*/ 128 h 1644"/>
                <a:gd name="T38" fmla="*/ 982 w 3498"/>
                <a:gd name="T39" fmla="*/ 71 h 1644"/>
                <a:gd name="T40" fmla="*/ 874 w 3498"/>
                <a:gd name="T41" fmla="*/ 0 h 1644"/>
                <a:gd name="T42" fmla="*/ 766 w 3498"/>
                <a:gd name="T43" fmla="*/ 71 h 1644"/>
                <a:gd name="T44" fmla="*/ 811 w 3498"/>
                <a:gd name="T45" fmla="*/ 128 h 1644"/>
                <a:gd name="T46" fmla="*/ 835 w 3498"/>
                <a:gd name="T47" fmla="*/ 165 h 1644"/>
                <a:gd name="T48" fmla="*/ 835 w 3498"/>
                <a:gd name="T49" fmla="*/ 165 h 1644"/>
                <a:gd name="T50" fmla="*/ 820 w 3498"/>
                <a:gd name="T51" fmla="*/ 200 h 1644"/>
                <a:gd name="T52" fmla="*/ 0 w 3498"/>
                <a:gd name="T53" fmla="*/ 200 h 1644"/>
                <a:gd name="T54" fmla="*/ 0 w 3498"/>
                <a:gd name="T55" fmla="*/ 1445 h 1644"/>
                <a:gd name="T56" fmla="*/ 820 w 3498"/>
                <a:gd name="T57" fmla="*/ 1445 h 1644"/>
                <a:gd name="T58" fmla="*/ 835 w 3498"/>
                <a:gd name="T59" fmla="*/ 1410 h 1644"/>
                <a:gd name="T60" fmla="*/ 835 w 3498"/>
                <a:gd name="T61" fmla="*/ 1410 h 1644"/>
                <a:gd name="T62" fmla="*/ 811 w 3498"/>
                <a:gd name="T63" fmla="*/ 1372 h 1644"/>
                <a:gd name="T64" fmla="*/ 766 w 3498"/>
                <a:gd name="T65" fmla="*/ 1315 h 1644"/>
                <a:gd name="T66" fmla="*/ 874 w 3498"/>
                <a:gd name="T67" fmla="*/ 1245 h 1644"/>
                <a:gd name="T68" fmla="*/ 982 w 3498"/>
                <a:gd name="T69" fmla="*/ 1315 h 1644"/>
                <a:gd name="T70" fmla="*/ 937 w 3498"/>
                <a:gd name="T71" fmla="*/ 1372 h 1644"/>
                <a:gd name="T72" fmla="*/ 914 w 3498"/>
                <a:gd name="T73" fmla="*/ 1410 h 1644"/>
                <a:gd name="T74" fmla="*/ 914 w 3498"/>
                <a:gd name="T75" fmla="*/ 1410 h 1644"/>
                <a:gd name="T76" fmla="*/ 929 w 3498"/>
                <a:gd name="T77" fmla="*/ 1445 h 1644"/>
                <a:gd name="T78" fmla="*/ 1749 w 3498"/>
                <a:gd name="T79" fmla="*/ 1445 h 1644"/>
                <a:gd name="T80" fmla="*/ 2569 w 3498"/>
                <a:gd name="T81" fmla="*/ 1445 h 1644"/>
                <a:gd name="T82" fmla="*/ 2584 w 3498"/>
                <a:gd name="T83" fmla="*/ 1480 h 1644"/>
                <a:gd name="T84" fmla="*/ 2584 w 3498"/>
                <a:gd name="T85" fmla="*/ 1480 h 1644"/>
                <a:gd name="T86" fmla="*/ 2560 w 3498"/>
                <a:gd name="T87" fmla="*/ 1517 h 1644"/>
                <a:gd name="T88" fmla="*/ 2515 w 3498"/>
                <a:gd name="T89" fmla="*/ 1574 h 1644"/>
                <a:gd name="T90" fmla="*/ 2623 w 3498"/>
                <a:gd name="T91" fmla="*/ 1644 h 1644"/>
                <a:gd name="T92" fmla="*/ 2731 w 3498"/>
                <a:gd name="T93" fmla="*/ 1574 h 1644"/>
                <a:gd name="T94" fmla="*/ 2686 w 3498"/>
                <a:gd name="T95" fmla="*/ 1517 h 1644"/>
                <a:gd name="T96" fmla="*/ 2663 w 3498"/>
                <a:gd name="T97" fmla="*/ 1480 h 1644"/>
                <a:gd name="T98" fmla="*/ 2663 w 3498"/>
                <a:gd name="T99" fmla="*/ 1480 h 1644"/>
                <a:gd name="T100" fmla="*/ 2678 w 3498"/>
                <a:gd name="T101" fmla="*/ 1445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98" h="1644">
                  <a:moveTo>
                    <a:pt x="2678" y="1445"/>
                  </a:moveTo>
                  <a:cubicBezTo>
                    <a:pt x="3498" y="1445"/>
                    <a:pt x="3498" y="1445"/>
                    <a:pt x="3498" y="1445"/>
                  </a:cubicBezTo>
                  <a:cubicBezTo>
                    <a:pt x="3498" y="200"/>
                    <a:pt x="3498" y="200"/>
                    <a:pt x="3498" y="200"/>
                  </a:cubicBezTo>
                  <a:cubicBezTo>
                    <a:pt x="2678" y="200"/>
                    <a:pt x="2678" y="200"/>
                    <a:pt x="2678" y="200"/>
                  </a:cubicBezTo>
                  <a:cubicBezTo>
                    <a:pt x="2669" y="204"/>
                    <a:pt x="2663" y="218"/>
                    <a:pt x="2663" y="235"/>
                  </a:cubicBezTo>
                  <a:cubicBezTo>
                    <a:pt x="2663" y="235"/>
                    <a:pt x="2663" y="235"/>
                    <a:pt x="2663" y="235"/>
                  </a:cubicBezTo>
                  <a:cubicBezTo>
                    <a:pt x="2663" y="252"/>
                    <a:pt x="2673" y="266"/>
                    <a:pt x="2686" y="272"/>
                  </a:cubicBezTo>
                  <a:cubicBezTo>
                    <a:pt x="2714" y="285"/>
                    <a:pt x="2731" y="306"/>
                    <a:pt x="2731" y="329"/>
                  </a:cubicBezTo>
                  <a:cubicBezTo>
                    <a:pt x="2731" y="368"/>
                    <a:pt x="2683" y="399"/>
                    <a:pt x="2623" y="399"/>
                  </a:cubicBezTo>
                  <a:cubicBezTo>
                    <a:pt x="2564" y="399"/>
                    <a:pt x="2515" y="368"/>
                    <a:pt x="2515" y="329"/>
                  </a:cubicBezTo>
                  <a:cubicBezTo>
                    <a:pt x="2515" y="306"/>
                    <a:pt x="2533" y="285"/>
                    <a:pt x="2560" y="272"/>
                  </a:cubicBezTo>
                  <a:cubicBezTo>
                    <a:pt x="2574" y="266"/>
                    <a:pt x="2584" y="252"/>
                    <a:pt x="2584" y="235"/>
                  </a:cubicBezTo>
                  <a:cubicBezTo>
                    <a:pt x="2584" y="235"/>
                    <a:pt x="2584" y="235"/>
                    <a:pt x="2584" y="235"/>
                  </a:cubicBezTo>
                  <a:cubicBezTo>
                    <a:pt x="2584" y="218"/>
                    <a:pt x="2578" y="204"/>
                    <a:pt x="2569" y="200"/>
                  </a:cubicBezTo>
                  <a:cubicBezTo>
                    <a:pt x="1749" y="200"/>
                    <a:pt x="1749" y="200"/>
                    <a:pt x="1749" y="200"/>
                  </a:cubicBezTo>
                  <a:cubicBezTo>
                    <a:pt x="929" y="200"/>
                    <a:pt x="929" y="200"/>
                    <a:pt x="929" y="200"/>
                  </a:cubicBezTo>
                  <a:cubicBezTo>
                    <a:pt x="920" y="196"/>
                    <a:pt x="914" y="182"/>
                    <a:pt x="914" y="165"/>
                  </a:cubicBezTo>
                  <a:cubicBezTo>
                    <a:pt x="914" y="165"/>
                    <a:pt x="914" y="165"/>
                    <a:pt x="914" y="165"/>
                  </a:cubicBezTo>
                  <a:cubicBezTo>
                    <a:pt x="914" y="148"/>
                    <a:pt x="924" y="134"/>
                    <a:pt x="937" y="128"/>
                  </a:cubicBezTo>
                  <a:cubicBezTo>
                    <a:pt x="965" y="115"/>
                    <a:pt x="982" y="94"/>
                    <a:pt x="982" y="71"/>
                  </a:cubicBezTo>
                  <a:cubicBezTo>
                    <a:pt x="982" y="32"/>
                    <a:pt x="934" y="0"/>
                    <a:pt x="874" y="0"/>
                  </a:cubicBezTo>
                  <a:cubicBezTo>
                    <a:pt x="815" y="0"/>
                    <a:pt x="766" y="32"/>
                    <a:pt x="766" y="71"/>
                  </a:cubicBezTo>
                  <a:cubicBezTo>
                    <a:pt x="766" y="94"/>
                    <a:pt x="784" y="115"/>
                    <a:pt x="811" y="128"/>
                  </a:cubicBezTo>
                  <a:cubicBezTo>
                    <a:pt x="825" y="134"/>
                    <a:pt x="835" y="148"/>
                    <a:pt x="835" y="165"/>
                  </a:cubicBezTo>
                  <a:cubicBezTo>
                    <a:pt x="835" y="165"/>
                    <a:pt x="835" y="165"/>
                    <a:pt x="835" y="165"/>
                  </a:cubicBezTo>
                  <a:cubicBezTo>
                    <a:pt x="835" y="182"/>
                    <a:pt x="829" y="196"/>
                    <a:pt x="820" y="20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1445"/>
                    <a:pt x="0" y="1445"/>
                    <a:pt x="0" y="1445"/>
                  </a:cubicBezTo>
                  <a:cubicBezTo>
                    <a:pt x="820" y="1445"/>
                    <a:pt x="820" y="1445"/>
                    <a:pt x="820" y="1445"/>
                  </a:cubicBezTo>
                  <a:cubicBezTo>
                    <a:pt x="829" y="1441"/>
                    <a:pt x="835" y="1427"/>
                    <a:pt x="835" y="1410"/>
                  </a:cubicBezTo>
                  <a:cubicBezTo>
                    <a:pt x="835" y="1410"/>
                    <a:pt x="835" y="1410"/>
                    <a:pt x="835" y="1410"/>
                  </a:cubicBezTo>
                  <a:cubicBezTo>
                    <a:pt x="835" y="1393"/>
                    <a:pt x="825" y="1379"/>
                    <a:pt x="811" y="1372"/>
                  </a:cubicBezTo>
                  <a:cubicBezTo>
                    <a:pt x="784" y="1360"/>
                    <a:pt x="766" y="1339"/>
                    <a:pt x="766" y="1315"/>
                  </a:cubicBezTo>
                  <a:cubicBezTo>
                    <a:pt x="766" y="1277"/>
                    <a:pt x="815" y="1245"/>
                    <a:pt x="874" y="1245"/>
                  </a:cubicBezTo>
                  <a:cubicBezTo>
                    <a:pt x="934" y="1245"/>
                    <a:pt x="982" y="1277"/>
                    <a:pt x="982" y="1315"/>
                  </a:cubicBezTo>
                  <a:cubicBezTo>
                    <a:pt x="982" y="1339"/>
                    <a:pt x="965" y="1360"/>
                    <a:pt x="937" y="1372"/>
                  </a:cubicBezTo>
                  <a:cubicBezTo>
                    <a:pt x="924" y="1379"/>
                    <a:pt x="914" y="1393"/>
                    <a:pt x="914" y="1410"/>
                  </a:cubicBezTo>
                  <a:cubicBezTo>
                    <a:pt x="914" y="1410"/>
                    <a:pt x="914" y="1410"/>
                    <a:pt x="914" y="1410"/>
                  </a:cubicBezTo>
                  <a:cubicBezTo>
                    <a:pt x="914" y="1427"/>
                    <a:pt x="920" y="1441"/>
                    <a:pt x="929" y="1445"/>
                  </a:cubicBezTo>
                  <a:cubicBezTo>
                    <a:pt x="1749" y="1445"/>
                    <a:pt x="1749" y="1445"/>
                    <a:pt x="1749" y="1445"/>
                  </a:cubicBezTo>
                  <a:cubicBezTo>
                    <a:pt x="2569" y="1445"/>
                    <a:pt x="2569" y="1445"/>
                    <a:pt x="2569" y="1445"/>
                  </a:cubicBezTo>
                  <a:cubicBezTo>
                    <a:pt x="2578" y="1449"/>
                    <a:pt x="2584" y="1463"/>
                    <a:pt x="2584" y="1480"/>
                  </a:cubicBezTo>
                  <a:cubicBezTo>
                    <a:pt x="2584" y="1480"/>
                    <a:pt x="2584" y="1480"/>
                    <a:pt x="2584" y="1480"/>
                  </a:cubicBezTo>
                  <a:cubicBezTo>
                    <a:pt x="2584" y="1497"/>
                    <a:pt x="2574" y="1511"/>
                    <a:pt x="2560" y="1517"/>
                  </a:cubicBezTo>
                  <a:cubicBezTo>
                    <a:pt x="2533" y="1530"/>
                    <a:pt x="2515" y="1551"/>
                    <a:pt x="2515" y="1574"/>
                  </a:cubicBezTo>
                  <a:cubicBezTo>
                    <a:pt x="2515" y="1613"/>
                    <a:pt x="2564" y="1644"/>
                    <a:pt x="2623" y="1644"/>
                  </a:cubicBezTo>
                  <a:cubicBezTo>
                    <a:pt x="2683" y="1644"/>
                    <a:pt x="2731" y="1613"/>
                    <a:pt x="2731" y="1574"/>
                  </a:cubicBezTo>
                  <a:cubicBezTo>
                    <a:pt x="2731" y="1551"/>
                    <a:pt x="2714" y="1530"/>
                    <a:pt x="2686" y="1517"/>
                  </a:cubicBezTo>
                  <a:cubicBezTo>
                    <a:pt x="2673" y="1511"/>
                    <a:pt x="2663" y="1497"/>
                    <a:pt x="2663" y="1480"/>
                  </a:cubicBezTo>
                  <a:cubicBezTo>
                    <a:pt x="2663" y="1480"/>
                    <a:pt x="2663" y="1480"/>
                    <a:pt x="2663" y="1480"/>
                  </a:cubicBezTo>
                  <a:cubicBezTo>
                    <a:pt x="2663" y="1463"/>
                    <a:pt x="2669" y="1449"/>
                    <a:pt x="2678" y="1445"/>
                  </a:cubicBezTo>
                  <a:close/>
                </a:path>
              </a:pathLst>
            </a:custGeom>
            <a:solidFill>
              <a:srgbClr val="EC0000"/>
            </a:solidFill>
            <a:ln w="12700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" name="Freeform 18"/>
            <p:cNvSpPr>
              <a:spLocks/>
            </p:cNvSpPr>
            <p:nvPr/>
          </p:nvSpPr>
          <p:spPr bwMode="auto">
            <a:xfrm>
              <a:off x="4063244" y="1375317"/>
              <a:ext cx="1018076" cy="909781"/>
            </a:xfrm>
            <a:custGeom>
              <a:avLst/>
              <a:gdLst>
                <a:gd name="T0" fmla="*/ 1612 w 1718"/>
                <a:gd name="T1" fmla="*/ 1287 h 1536"/>
                <a:gd name="T2" fmla="*/ 1612 w 1718"/>
                <a:gd name="T3" fmla="*/ 748 h 1536"/>
                <a:gd name="T4" fmla="*/ 863 w 1718"/>
                <a:gd name="T5" fmla="*/ 0 h 1536"/>
                <a:gd name="T6" fmla="*/ 854 w 1718"/>
                <a:gd name="T7" fmla="*/ 0 h 1536"/>
                <a:gd name="T8" fmla="*/ 106 w 1718"/>
                <a:gd name="T9" fmla="*/ 748 h 1536"/>
                <a:gd name="T10" fmla="*/ 106 w 1718"/>
                <a:gd name="T11" fmla="*/ 1287 h 1536"/>
                <a:gd name="T12" fmla="*/ 0 w 1718"/>
                <a:gd name="T13" fmla="*/ 1411 h 1536"/>
                <a:gd name="T14" fmla="*/ 125 w 1718"/>
                <a:gd name="T15" fmla="*/ 1536 h 1536"/>
                <a:gd name="T16" fmla="*/ 250 w 1718"/>
                <a:gd name="T17" fmla="*/ 1411 h 1536"/>
                <a:gd name="T18" fmla="*/ 143 w 1718"/>
                <a:gd name="T19" fmla="*/ 1287 h 1536"/>
                <a:gd name="T20" fmla="*/ 143 w 1718"/>
                <a:gd name="T21" fmla="*/ 748 h 1536"/>
                <a:gd name="T22" fmla="*/ 854 w 1718"/>
                <a:gd name="T23" fmla="*/ 36 h 1536"/>
                <a:gd name="T24" fmla="*/ 863 w 1718"/>
                <a:gd name="T25" fmla="*/ 36 h 1536"/>
                <a:gd name="T26" fmla="*/ 1575 w 1718"/>
                <a:gd name="T27" fmla="*/ 748 h 1536"/>
                <a:gd name="T28" fmla="*/ 1575 w 1718"/>
                <a:gd name="T29" fmla="*/ 1287 h 1536"/>
                <a:gd name="T30" fmla="*/ 1467 w 1718"/>
                <a:gd name="T31" fmla="*/ 1411 h 1536"/>
                <a:gd name="T32" fmla="*/ 1593 w 1718"/>
                <a:gd name="T33" fmla="*/ 1536 h 1536"/>
                <a:gd name="T34" fmla="*/ 1718 w 1718"/>
                <a:gd name="T35" fmla="*/ 1411 h 1536"/>
                <a:gd name="T36" fmla="*/ 1612 w 1718"/>
                <a:gd name="T37" fmla="*/ 1287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18" h="1536">
                  <a:moveTo>
                    <a:pt x="1612" y="1287"/>
                  </a:moveTo>
                  <a:cubicBezTo>
                    <a:pt x="1612" y="748"/>
                    <a:pt x="1612" y="748"/>
                    <a:pt x="1612" y="748"/>
                  </a:cubicBezTo>
                  <a:cubicBezTo>
                    <a:pt x="1612" y="335"/>
                    <a:pt x="1276" y="0"/>
                    <a:pt x="863" y="0"/>
                  </a:cubicBezTo>
                  <a:cubicBezTo>
                    <a:pt x="854" y="0"/>
                    <a:pt x="854" y="0"/>
                    <a:pt x="854" y="0"/>
                  </a:cubicBezTo>
                  <a:cubicBezTo>
                    <a:pt x="442" y="0"/>
                    <a:pt x="106" y="335"/>
                    <a:pt x="106" y="748"/>
                  </a:cubicBezTo>
                  <a:cubicBezTo>
                    <a:pt x="106" y="1287"/>
                    <a:pt x="106" y="1287"/>
                    <a:pt x="106" y="1287"/>
                  </a:cubicBezTo>
                  <a:cubicBezTo>
                    <a:pt x="46" y="1296"/>
                    <a:pt x="0" y="1348"/>
                    <a:pt x="0" y="1411"/>
                  </a:cubicBezTo>
                  <a:cubicBezTo>
                    <a:pt x="0" y="1480"/>
                    <a:pt x="56" y="1536"/>
                    <a:pt x="125" y="1536"/>
                  </a:cubicBezTo>
                  <a:cubicBezTo>
                    <a:pt x="194" y="1536"/>
                    <a:pt x="250" y="1480"/>
                    <a:pt x="250" y="1411"/>
                  </a:cubicBezTo>
                  <a:cubicBezTo>
                    <a:pt x="250" y="1348"/>
                    <a:pt x="203" y="1295"/>
                    <a:pt x="143" y="1287"/>
                  </a:cubicBezTo>
                  <a:cubicBezTo>
                    <a:pt x="143" y="748"/>
                    <a:pt x="143" y="748"/>
                    <a:pt x="143" y="748"/>
                  </a:cubicBezTo>
                  <a:cubicBezTo>
                    <a:pt x="143" y="356"/>
                    <a:pt x="462" y="36"/>
                    <a:pt x="854" y="36"/>
                  </a:cubicBezTo>
                  <a:cubicBezTo>
                    <a:pt x="863" y="36"/>
                    <a:pt x="863" y="36"/>
                    <a:pt x="863" y="36"/>
                  </a:cubicBezTo>
                  <a:cubicBezTo>
                    <a:pt x="1256" y="36"/>
                    <a:pt x="1575" y="356"/>
                    <a:pt x="1575" y="748"/>
                  </a:cubicBezTo>
                  <a:cubicBezTo>
                    <a:pt x="1575" y="1287"/>
                    <a:pt x="1575" y="1287"/>
                    <a:pt x="1575" y="1287"/>
                  </a:cubicBezTo>
                  <a:cubicBezTo>
                    <a:pt x="1514" y="1295"/>
                    <a:pt x="1467" y="1348"/>
                    <a:pt x="1467" y="1411"/>
                  </a:cubicBezTo>
                  <a:cubicBezTo>
                    <a:pt x="1467" y="1480"/>
                    <a:pt x="1523" y="1536"/>
                    <a:pt x="1593" y="1536"/>
                  </a:cubicBezTo>
                  <a:cubicBezTo>
                    <a:pt x="1662" y="1536"/>
                    <a:pt x="1718" y="1480"/>
                    <a:pt x="1718" y="1411"/>
                  </a:cubicBezTo>
                  <a:cubicBezTo>
                    <a:pt x="1718" y="1348"/>
                    <a:pt x="1672" y="1296"/>
                    <a:pt x="1612" y="128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759772" y="2000239"/>
            <a:ext cx="1777804" cy="504495"/>
            <a:chOff x="6759772" y="2000239"/>
            <a:chExt cx="1777804" cy="504495"/>
          </a:xfrm>
        </p:grpSpPr>
        <p:sp>
          <p:nvSpPr>
            <p:cNvPr id="25" name="TextBox 24"/>
            <p:cNvSpPr txBox="1"/>
            <p:nvPr/>
          </p:nvSpPr>
          <p:spPr>
            <a:xfrm>
              <a:off x="6759804" y="2000239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TOS TREND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759772" y="2184646"/>
              <a:ext cx="1777804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 and information about title</a:t>
              </a:r>
            </a:p>
          </p:txBody>
        </p:sp>
      </p:grpSp>
      <p:cxnSp>
        <p:nvCxnSpPr>
          <p:cNvPr id="27" name="Straight Connector 26"/>
          <p:cNvCxnSpPr/>
          <p:nvPr/>
        </p:nvCxnSpPr>
        <p:spPr>
          <a:xfrm>
            <a:off x="6194547" y="2090629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4214206" y="2311244"/>
            <a:ext cx="13826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</a:rPr>
              <a:t>Produtos</a:t>
            </a:r>
            <a:endParaRPr lang="en-US" sz="12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214206" y="3016808"/>
            <a:ext cx="13826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</a:rPr>
              <a:t>Serviços</a:t>
            </a:r>
            <a:endParaRPr lang="en-US" sz="12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214206" y="3812675"/>
            <a:ext cx="138267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</a:rPr>
              <a:t>Relações</a:t>
            </a:r>
            <a:endParaRPr lang="en-US" sz="1200" b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759772" y="2770342"/>
            <a:ext cx="1777804" cy="504495"/>
            <a:chOff x="6759772" y="2770342"/>
            <a:chExt cx="1777804" cy="504495"/>
          </a:xfrm>
        </p:grpSpPr>
        <p:sp>
          <p:nvSpPr>
            <p:cNvPr id="33" name="TextBox 32"/>
            <p:cNvSpPr txBox="1"/>
            <p:nvPr/>
          </p:nvSpPr>
          <p:spPr>
            <a:xfrm>
              <a:off x="6759804" y="2770342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SERVIÇO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759772" y="2954749"/>
              <a:ext cx="1777804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 and information about title</a:t>
              </a:r>
            </a:p>
          </p:txBody>
        </p:sp>
      </p:grpSp>
      <p:cxnSp>
        <p:nvCxnSpPr>
          <p:cNvPr id="35" name="Straight Connector 34"/>
          <p:cNvCxnSpPr/>
          <p:nvPr/>
        </p:nvCxnSpPr>
        <p:spPr>
          <a:xfrm>
            <a:off x="6194547" y="2860732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6759772" y="3540445"/>
            <a:ext cx="1777804" cy="504495"/>
            <a:chOff x="6759772" y="3540445"/>
            <a:chExt cx="1777804" cy="504495"/>
          </a:xfrm>
        </p:grpSpPr>
        <p:sp>
          <p:nvSpPr>
            <p:cNvPr id="37" name="TextBox 36"/>
            <p:cNvSpPr txBox="1"/>
            <p:nvPr/>
          </p:nvSpPr>
          <p:spPr>
            <a:xfrm>
              <a:off x="6759804" y="354044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OS CONSUMIDORE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759772" y="3724852"/>
              <a:ext cx="1777804" cy="3200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ert some brief and narrow data and information about title</a:t>
              </a:r>
            </a:p>
          </p:txBody>
        </p:sp>
      </p:grpSp>
      <p:cxnSp>
        <p:nvCxnSpPr>
          <p:cNvPr id="39" name="Straight Connector 38"/>
          <p:cNvCxnSpPr/>
          <p:nvPr/>
        </p:nvCxnSpPr>
        <p:spPr>
          <a:xfrm>
            <a:off x="6194547" y="3630835"/>
            <a:ext cx="29104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593725" y="2341111"/>
            <a:ext cx="311150" cy="311150"/>
            <a:chOff x="593725" y="2340645"/>
            <a:chExt cx="311150" cy="311150"/>
          </a:xfrm>
        </p:grpSpPr>
        <p:sp>
          <p:nvSpPr>
            <p:cNvPr id="43" name="Oval 42"/>
            <p:cNvSpPr/>
            <p:nvPr/>
          </p:nvSpPr>
          <p:spPr>
            <a:xfrm>
              <a:off x="593725" y="2340645"/>
              <a:ext cx="311150" cy="3111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>
              <a:spLocks noChangeArrowheads="1"/>
            </p:cNvSpPr>
            <p:nvPr/>
          </p:nvSpPr>
          <p:spPr bwMode="auto">
            <a:xfrm>
              <a:off x="703157" y="2392214"/>
              <a:ext cx="92288" cy="208012"/>
            </a:xfrm>
            <a:custGeom>
              <a:avLst/>
              <a:gdLst>
                <a:gd name="connsiteX0" fmla="*/ 489359 w 1812925"/>
                <a:gd name="connsiteY0" fmla="*/ 865187 h 4622800"/>
                <a:gd name="connsiteX1" fmla="*/ 1323566 w 1812925"/>
                <a:gd name="connsiteY1" fmla="*/ 865187 h 4622800"/>
                <a:gd name="connsiteX2" fmla="*/ 1812925 w 1812925"/>
                <a:gd name="connsiteY2" fmla="*/ 1353801 h 4622800"/>
                <a:gd name="connsiteX3" fmla="*/ 1812925 w 1812925"/>
                <a:gd name="connsiteY3" fmla="*/ 1421388 h 4622800"/>
                <a:gd name="connsiteX4" fmla="*/ 1812925 w 1812925"/>
                <a:gd name="connsiteY4" fmla="*/ 1469754 h 4622800"/>
                <a:gd name="connsiteX5" fmla="*/ 1812925 w 1812925"/>
                <a:gd name="connsiteY5" fmla="*/ 2536271 h 4622800"/>
                <a:gd name="connsiteX6" fmla="*/ 1652286 w 1812925"/>
                <a:gd name="connsiteY6" fmla="*/ 2696869 h 4622800"/>
                <a:gd name="connsiteX7" fmla="*/ 1492268 w 1812925"/>
                <a:gd name="connsiteY7" fmla="*/ 2536271 h 4622800"/>
                <a:gd name="connsiteX8" fmla="*/ 1492268 w 1812925"/>
                <a:gd name="connsiteY8" fmla="*/ 1469754 h 4622800"/>
                <a:gd name="connsiteX9" fmla="*/ 1373184 w 1812925"/>
                <a:gd name="connsiteY9" fmla="*/ 1469754 h 4622800"/>
                <a:gd name="connsiteX10" fmla="*/ 1373184 w 1812925"/>
                <a:gd name="connsiteY10" fmla="*/ 2523869 h 4622800"/>
                <a:gd name="connsiteX11" fmla="*/ 1373184 w 1812925"/>
                <a:gd name="connsiteY11" fmla="*/ 2782438 h 4622800"/>
                <a:gd name="connsiteX12" fmla="*/ 1373184 w 1812925"/>
                <a:gd name="connsiteY12" fmla="*/ 4425618 h 4622800"/>
                <a:gd name="connsiteX13" fmla="*/ 1175952 w 1812925"/>
                <a:gd name="connsiteY13" fmla="*/ 4622800 h 4622800"/>
                <a:gd name="connsiteX14" fmla="*/ 978719 w 1812925"/>
                <a:gd name="connsiteY14" fmla="*/ 4425618 h 4622800"/>
                <a:gd name="connsiteX15" fmla="*/ 978719 w 1812925"/>
                <a:gd name="connsiteY15" fmla="*/ 2782438 h 4622800"/>
                <a:gd name="connsiteX16" fmla="*/ 834206 w 1812925"/>
                <a:gd name="connsiteY16" fmla="*/ 2782438 h 4622800"/>
                <a:gd name="connsiteX17" fmla="*/ 834206 w 1812925"/>
                <a:gd name="connsiteY17" fmla="*/ 4425618 h 4622800"/>
                <a:gd name="connsiteX18" fmla="*/ 636974 w 1812925"/>
                <a:gd name="connsiteY18" fmla="*/ 4622800 h 4622800"/>
                <a:gd name="connsiteX19" fmla="*/ 439741 w 1812925"/>
                <a:gd name="connsiteY19" fmla="*/ 4425618 h 4622800"/>
                <a:gd name="connsiteX20" fmla="*/ 439741 w 1812925"/>
                <a:gd name="connsiteY20" fmla="*/ 2782438 h 4622800"/>
                <a:gd name="connsiteX21" fmla="*/ 439741 w 1812925"/>
                <a:gd name="connsiteY21" fmla="*/ 2523869 h 4622800"/>
                <a:gd name="connsiteX22" fmla="*/ 439741 w 1812925"/>
                <a:gd name="connsiteY22" fmla="*/ 1469754 h 4622800"/>
                <a:gd name="connsiteX23" fmla="*/ 321278 w 1812925"/>
                <a:gd name="connsiteY23" fmla="*/ 1469754 h 4622800"/>
                <a:gd name="connsiteX24" fmla="*/ 321278 w 1812925"/>
                <a:gd name="connsiteY24" fmla="*/ 2536271 h 4622800"/>
                <a:gd name="connsiteX25" fmla="*/ 160639 w 1812925"/>
                <a:gd name="connsiteY25" fmla="*/ 2696869 h 4622800"/>
                <a:gd name="connsiteX26" fmla="*/ 0 w 1812925"/>
                <a:gd name="connsiteY26" fmla="*/ 2536271 h 4622800"/>
                <a:gd name="connsiteX27" fmla="*/ 0 w 1812925"/>
                <a:gd name="connsiteY27" fmla="*/ 1469754 h 4622800"/>
                <a:gd name="connsiteX28" fmla="*/ 0 w 1812925"/>
                <a:gd name="connsiteY28" fmla="*/ 1421388 h 4622800"/>
                <a:gd name="connsiteX29" fmla="*/ 0 w 1812925"/>
                <a:gd name="connsiteY29" fmla="*/ 1353801 h 4622800"/>
                <a:gd name="connsiteX30" fmla="*/ 489359 w 1812925"/>
                <a:gd name="connsiteY30" fmla="*/ 865187 h 4622800"/>
                <a:gd name="connsiteX31" fmla="*/ 906463 w 1812925"/>
                <a:gd name="connsiteY31" fmla="*/ 0 h 4622800"/>
                <a:gd name="connsiteX32" fmla="*/ 1287463 w 1812925"/>
                <a:gd name="connsiteY32" fmla="*/ 381000 h 4622800"/>
                <a:gd name="connsiteX33" fmla="*/ 906463 w 1812925"/>
                <a:gd name="connsiteY33" fmla="*/ 762000 h 4622800"/>
                <a:gd name="connsiteX34" fmla="*/ 525463 w 1812925"/>
                <a:gd name="connsiteY34" fmla="*/ 381000 h 4622800"/>
                <a:gd name="connsiteX35" fmla="*/ 906463 w 1812925"/>
                <a:gd name="connsiteY35" fmla="*/ 0 h 46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812925" h="4622800">
                  <a:moveTo>
                    <a:pt x="489359" y="865187"/>
                  </a:moveTo>
                  <a:cubicBezTo>
                    <a:pt x="489359" y="865187"/>
                    <a:pt x="489359" y="865187"/>
                    <a:pt x="1323566" y="865187"/>
                  </a:cubicBezTo>
                  <a:cubicBezTo>
                    <a:pt x="1593985" y="865187"/>
                    <a:pt x="1812925" y="1084071"/>
                    <a:pt x="1812925" y="1353801"/>
                  </a:cubicBezTo>
                  <a:cubicBezTo>
                    <a:pt x="1812925" y="1353801"/>
                    <a:pt x="1812925" y="1353801"/>
                    <a:pt x="1812925" y="1421388"/>
                  </a:cubicBezTo>
                  <a:cubicBezTo>
                    <a:pt x="1812925" y="1421388"/>
                    <a:pt x="1812925" y="1421388"/>
                    <a:pt x="1812925" y="1469754"/>
                  </a:cubicBezTo>
                  <a:cubicBezTo>
                    <a:pt x="1812925" y="1469754"/>
                    <a:pt x="1812925" y="1469754"/>
                    <a:pt x="1812925" y="2536271"/>
                  </a:cubicBezTo>
                  <a:cubicBezTo>
                    <a:pt x="1812925" y="2624941"/>
                    <a:pt x="1740979" y="2696869"/>
                    <a:pt x="1652286" y="2696869"/>
                  </a:cubicBezTo>
                  <a:cubicBezTo>
                    <a:pt x="1563594" y="2696869"/>
                    <a:pt x="1492268" y="2624941"/>
                    <a:pt x="1492268" y="2536271"/>
                  </a:cubicBezTo>
                  <a:cubicBezTo>
                    <a:pt x="1492268" y="2536271"/>
                    <a:pt x="1492268" y="2536271"/>
                    <a:pt x="1492268" y="1469754"/>
                  </a:cubicBezTo>
                  <a:cubicBezTo>
                    <a:pt x="1492268" y="1469754"/>
                    <a:pt x="1492268" y="1469754"/>
                    <a:pt x="1373184" y="1469754"/>
                  </a:cubicBezTo>
                  <a:cubicBezTo>
                    <a:pt x="1373184" y="1469754"/>
                    <a:pt x="1373184" y="1469754"/>
                    <a:pt x="1373184" y="2523869"/>
                  </a:cubicBezTo>
                  <a:cubicBezTo>
                    <a:pt x="1373184" y="2523869"/>
                    <a:pt x="1373184" y="2523869"/>
                    <a:pt x="1373184" y="2782438"/>
                  </a:cubicBezTo>
                  <a:cubicBezTo>
                    <a:pt x="1373184" y="2782438"/>
                    <a:pt x="1373184" y="2782438"/>
                    <a:pt x="1373184" y="4425618"/>
                  </a:cubicBezTo>
                  <a:cubicBezTo>
                    <a:pt x="1373184" y="4534750"/>
                    <a:pt x="1284491" y="4622800"/>
                    <a:pt x="1175952" y="4622800"/>
                  </a:cubicBezTo>
                  <a:cubicBezTo>
                    <a:pt x="1066791" y="4622800"/>
                    <a:pt x="978719" y="4534750"/>
                    <a:pt x="978719" y="4425618"/>
                  </a:cubicBezTo>
                  <a:cubicBezTo>
                    <a:pt x="978719" y="4425618"/>
                    <a:pt x="978719" y="4425618"/>
                    <a:pt x="978719" y="2782438"/>
                  </a:cubicBezTo>
                  <a:cubicBezTo>
                    <a:pt x="978719" y="2782438"/>
                    <a:pt x="978719" y="2782438"/>
                    <a:pt x="834206" y="2782438"/>
                  </a:cubicBezTo>
                  <a:cubicBezTo>
                    <a:pt x="834206" y="2782438"/>
                    <a:pt x="834206" y="2782438"/>
                    <a:pt x="834206" y="4425618"/>
                  </a:cubicBezTo>
                  <a:cubicBezTo>
                    <a:pt x="834206" y="4534750"/>
                    <a:pt x="746134" y="4622800"/>
                    <a:pt x="636974" y="4622800"/>
                  </a:cubicBezTo>
                  <a:cubicBezTo>
                    <a:pt x="528434" y="4622800"/>
                    <a:pt x="439741" y="4534750"/>
                    <a:pt x="439741" y="4425618"/>
                  </a:cubicBezTo>
                  <a:cubicBezTo>
                    <a:pt x="439741" y="4425618"/>
                    <a:pt x="439741" y="4425618"/>
                    <a:pt x="439741" y="2782438"/>
                  </a:cubicBezTo>
                  <a:cubicBezTo>
                    <a:pt x="439741" y="2782438"/>
                    <a:pt x="439741" y="2782438"/>
                    <a:pt x="439741" y="2523869"/>
                  </a:cubicBezTo>
                  <a:cubicBezTo>
                    <a:pt x="439741" y="2523869"/>
                    <a:pt x="439741" y="2523869"/>
                    <a:pt x="439741" y="1469754"/>
                  </a:cubicBezTo>
                  <a:cubicBezTo>
                    <a:pt x="439741" y="1469754"/>
                    <a:pt x="439741" y="1469754"/>
                    <a:pt x="321278" y="1469754"/>
                  </a:cubicBezTo>
                  <a:cubicBezTo>
                    <a:pt x="321278" y="1469754"/>
                    <a:pt x="321278" y="1469754"/>
                    <a:pt x="321278" y="2536271"/>
                  </a:cubicBezTo>
                  <a:cubicBezTo>
                    <a:pt x="321278" y="2624941"/>
                    <a:pt x="249331" y="2696869"/>
                    <a:pt x="160639" y="2696869"/>
                  </a:cubicBezTo>
                  <a:cubicBezTo>
                    <a:pt x="71946" y="2696869"/>
                    <a:pt x="0" y="2624941"/>
                    <a:pt x="0" y="2536271"/>
                  </a:cubicBezTo>
                  <a:cubicBezTo>
                    <a:pt x="0" y="2536271"/>
                    <a:pt x="0" y="2536271"/>
                    <a:pt x="0" y="1469754"/>
                  </a:cubicBezTo>
                  <a:cubicBezTo>
                    <a:pt x="0" y="1469754"/>
                    <a:pt x="0" y="1469754"/>
                    <a:pt x="0" y="1421388"/>
                  </a:cubicBezTo>
                  <a:cubicBezTo>
                    <a:pt x="0" y="1421388"/>
                    <a:pt x="0" y="1421388"/>
                    <a:pt x="0" y="1353801"/>
                  </a:cubicBezTo>
                  <a:cubicBezTo>
                    <a:pt x="0" y="1084071"/>
                    <a:pt x="218940" y="865187"/>
                    <a:pt x="489359" y="865187"/>
                  </a:cubicBezTo>
                  <a:close/>
                  <a:moveTo>
                    <a:pt x="906463" y="0"/>
                  </a:moveTo>
                  <a:cubicBezTo>
                    <a:pt x="1116883" y="0"/>
                    <a:pt x="1287463" y="170580"/>
                    <a:pt x="1287463" y="381000"/>
                  </a:cubicBezTo>
                  <a:cubicBezTo>
                    <a:pt x="1287463" y="591420"/>
                    <a:pt x="1116883" y="762000"/>
                    <a:pt x="906463" y="762000"/>
                  </a:cubicBezTo>
                  <a:cubicBezTo>
                    <a:pt x="696043" y="762000"/>
                    <a:pt x="525463" y="591420"/>
                    <a:pt x="525463" y="381000"/>
                  </a:cubicBezTo>
                  <a:cubicBezTo>
                    <a:pt x="525463" y="170580"/>
                    <a:pt x="696043" y="0"/>
                    <a:pt x="906463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506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726023" y="2341111"/>
            <a:ext cx="311150" cy="311150"/>
            <a:chOff x="1726023" y="2340645"/>
            <a:chExt cx="311150" cy="311150"/>
          </a:xfrm>
        </p:grpSpPr>
        <p:sp>
          <p:nvSpPr>
            <p:cNvPr id="44" name="Oval 43"/>
            <p:cNvSpPr/>
            <p:nvPr/>
          </p:nvSpPr>
          <p:spPr>
            <a:xfrm>
              <a:off x="1726023" y="2340645"/>
              <a:ext cx="311150" cy="31115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Freeform 41"/>
            <p:cNvSpPr>
              <a:spLocks noChangeArrowheads="1"/>
            </p:cNvSpPr>
            <p:nvPr/>
          </p:nvSpPr>
          <p:spPr bwMode="auto">
            <a:xfrm>
              <a:off x="1826812" y="2392214"/>
              <a:ext cx="109572" cy="208013"/>
            </a:xfrm>
            <a:custGeom>
              <a:avLst/>
              <a:gdLst>
                <a:gd name="connsiteX0" fmla="*/ 818678 w 2152481"/>
                <a:gd name="connsiteY0" fmla="*/ 865187 h 4622800"/>
                <a:gd name="connsiteX1" fmla="*/ 1333803 w 2152481"/>
                <a:gd name="connsiteY1" fmla="*/ 865187 h 4622800"/>
                <a:gd name="connsiteX2" fmla="*/ 1812354 w 2152481"/>
                <a:gd name="connsiteY2" fmla="*/ 1255210 h 4622800"/>
                <a:gd name="connsiteX3" fmla="*/ 2145853 w 2152481"/>
                <a:gd name="connsiteY3" fmla="*/ 2342190 h 4622800"/>
                <a:gd name="connsiteX4" fmla="*/ 2047291 w 2152481"/>
                <a:gd name="connsiteY4" fmla="*/ 2528210 h 4622800"/>
                <a:gd name="connsiteX5" fmla="*/ 1861325 w 2152481"/>
                <a:gd name="connsiteY5" fmla="*/ 2429619 h 4622800"/>
                <a:gd name="connsiteX6" fmla="*/ 1539605 w 2152481"/>
                <a:gd name="connsiteY6" fmla="*/ 1380464 h 4622800"/>
                <a:gd name="connsiteX7" fmla="*/ 1431125 w 2152481"/>
                <a:gd name="connsiteY7" fmla="*/ 1380464 h 4622800"/>
                <a:gd name="connsiteX8" fmla="*/ 1846448 w 2152481"/>
                <a:gd name="connsiteY8" fmla="*/ 3116655 h 4622800"/>
                <a:gd name="connsiteX9" fmla="*/ 1469558 w 2152481"/>
                <a:gd name="connsiteY9" fmla="*/ 3116655 h 4622800"/>
                <a:gd name="connsiteX10" fmla="*/ 1469558 w 2152481"/>
                <a:gd name="connsiteY10" fmla="*/ 4458482 h 4622800"/>
                <a:gd name="connsiteX11" fmla="*/ 1305288 w 2152481"/>
                <a:gd name="connsiteY11" fmla="*/ 4622800 h 4622800"/>
                <a:gd name="connsiteX12" fmla="*/ 1141019 w 2152481"/>
                <a:gd name="connsiteY12" fmla="*/ 4458482 h 4622800"/>
                <a:gd name="connsiteX13" fmla="*/ 1141019 w 2152481"/>
                <a:gd name="connsiteY13" fmla="*/ 3116655 h 4622800"/>
                <a:gd name="connsiteX14" fmla="*/ 1075931 w 2152481"/>
                <a:gd name="connsiteY14" fmla="*/ 3116655 h 4622800"/>
                <a:gd name="connsiteX15" fmla="*/ 1011463 w 2152481"/>
                <a:gd name="connsiteY15" fmla="*/ 3116655 h 4622800"/>
                <a:gd name="connsiteX16" fmla="*/ 1011463 w 2152481"/>
                <a:gd name="connsiteY16" fmla="*/ 4458482 h 4622800"/>
                <a:gd name="connsiteX17" fmla="*/ 847193 w 2152481"/>
                <a:gd name="connsiteY17" fmla="*/ 4622800 h 4622800"/>
                <a:gd name="connsiteX18" fmla="*/ 682923 w 2152481"/>
                <a:gd name="connsiteY18" fmla="*/ 4458482 h 4622800"/>
                <a:gd name="connsiteX19" fmla="*/ 682923 w 2152481"/>
                <a:gd name="connsiteY19" fmla="*/ 3116655 h 4622800"/>
                <a:gd name="connsiteX20" fmla="*/ 306033 w 2152481"/>
                <a:gd name="connsiteY20" fmla="*/ 3116655 h 4622800"/>
                <a:gd name="connsiteX21" fmla="*/ 721356 w 2152481"/>
                <a:gd name="connsiteY21" fmla="*/ 1380464 h 4622800"/>
                <a:gd name="connsiteX22" fmla="*/ 612876 w 2152481"/>
                <a:gd name="connsiteY22" fmla="*/ 1380464 h 4622800"/>
                <a:gd name="connsiteX23" fmla="*/ 291156 w 2152481"/>
                <a:gd name="connsiteY23" fmla="*/ 2429619 h 4622800"/>
                <a:gd name="connsiteX24" fmla="*/ 105190 w 2152481"/>
                <a:gd name="connsiteY24" fmla="*/ 2528210 h 4622800"/>
                <a:gd name="connsiteX25" fmla="*/ 6628 w 2152481"/>
                <a:gd name="connsiteY25" fmla="*/ 2342190 h 4622800"/>
                <a:gd name="connsiteX26" fmla="*/ 340127 w 2152481"/>
                <a:gd name="connsiteY26" fmla="*/ 1255210 h 4622800"/>
                <a:gd name="connsiteX27" fmla="*/ 818678 w 2152481"/>
                <a:gd name="connsiteY27" fmla="*/ 865187 h 4622800"/>
                <a:gd name="connsiteX28" fmla="*/ 1076240 w 2152481"/>
                <a:gd name="connsiteY28" fmla="*/ 0 h 4622800"/>
                <a:gd name="connsiteX29" fmla="*/ 1457240 w 2152481"/>
                <a:gd name="connsiteY29" fmla="*/ 381000 h 4622800"/>
                <a:gd name="connsiteX30" fmla="*/ 1076240 w 2152481"/>
                <a:gd name="connsiteY30" fmla="*/ 762000 h 4622800"/>
                <a:gd name="connsiteX31" fmla="*/ 695240 w 2152481"/>
                <a:gd name="connsiteY31" fmla="*/ 381000 h 4622800"/>
                <a:gd name="connsiteX32" fmla="*/ 1076240 w 2152481"/>
                <a:gd name="connsiteY32" fmla="*/ 0 h 462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52481" h="4622800">
                  <a:moveTo>
                    <a:pt x="818678" y="865187"/>
                  </a:moveTo>
                  <a:cubicBezTo>
                    <a:pt x="818678" y="865187"/>
                    <a:pt x="818678" y="865187"/>
                    <a:pt x="1333803" y="865187"/>
                  </a:cubicBezTo>
                  <a:cubicBezTo>
                    <a:pt x="1569979" y="865187"/>
                    <a:pt x="1767103" y="1032606"/>
                    <a:pt x="1812354" y="1255210"/>
                  </a:cubicBezTo>
                  <a:cubicBezTo>
                    <a:pt x="1812354" y="1255210"/>
                    <a:pt x="1812354" y="1255210"/>
                    <a:pt x="2145853" y="2342190"/>
                  </a:cubicBezTo>
                  <a:cubicBezTo>
                    <a:pt x="2170028" y="2420938"/>
                    <a:pt x="2126016" y="2504027"/>
                    <a:pt x="2047291" y="2528210"/>
                  </a:cubicBezTo>
                  <a:cubicBezTo>
                    <a:pt x="1968565" y="2552393"/>
                    <a:pt x="1885501" y="2507748"/>
                    <a:pt x="1861325" y="2429619"/>
                  </a:cubicBezTo>
                  <a:cubicBezTo>
                    <a:pt x="1861325" y="2429619"/>
                    <a:pt x="1861325" y="2429619"/>
                    <a:pt x="1539605" y="1380464"/>
                  </a:cubicBezTo>
                  <a:cubicBezTo>
                    <a:pt x="1539605" y="1380464"/>
                    <a:pt x="1539605" y="1380464"/>
                    <a:pt x="1431125" y="1380464"/>
                  </a:cubicBezTo>
                  <a:cubicBezTo>
                    <a:pt x="1431125" y="1380464"/>
                    <a:pt x="1431125" y="1380464"/>
                    <a:pt x="1846448" y="3116655"/>
                  </a:cubicBezTo>
                  <a:cubicBezTo>
                    <a:pt x="1846448" y="3116655"/>
                    <a:pt x="1846448" y="3116655"/>
                    <a:pt x="1469558" y="3116655"/>
                  </a:cubicBezTo>
                  <a:cubicBezTo>
                    <a:pt x="1469558" y="3116655"/>
                    <a:pt x="1469558" y="3116655"/>
                    <a:pt x="1469558" y="4458482"/>
                  </a:cubicBezTo>
                  <a:cubicBezTo>
                    <a:pt x="1469558" y="4549632"/>
                    <a:pt x="1396411" y="4622800"/>
                    <a:pt x="1305288" y="4622800"/>
                  </a:cubicBezTo>
                  <a:cubicBezTo>
                    <a:pt x="1214785" y="4622800"/>
                    <a:pt x="1141019" y="4549632"/>
                    <a:pt x="1141019" y="4458482"/>
                  </a:cubicBezTo>
                  <a:cubicBezTo>
                    <a:pt x="1141019" y="4458482"/>
                    <a:pt x="1141019" y="4458482"/>
                    <a:pt x="1141019" y="3116655"/>
                  </a:cubicBezTo>
                  <a:cubicBezTo>
                    <a:pt x="1141019" y="3116655"/>
                    <a:pt x="1141019" y="3116655"/>
                    <a:pt x="1075931" y="3116655"/>
                  </a:cubicBezTo>
                  <a:cubicBezTo>
                    <a:pt x="1075931" y="3116655"/>
                    <a:pt x="1075931" y="3116655"/>
                    <a:pt x="1011463" y="3116655"/>
                  </a:cubicBezTo>
                  <a:cubicBezTo>
                    <a:pt x="1011463" y="3116655"/>
                    <a:pt x="1011463" y="3116655"/>
                    <a:pt x="1011463" y="4458482"/>
                  </a:cubicBezTo>
                  <a:cubicBezTo>
                    <a:pt x="1011463" y="4549632"/>
                    <a:pt x="937696" y="4622800"/>
                    <a:pt x="847193" y="4622800"/>
                  </a:cubicBezTo>
                  <a:cubicBezTo>
                    <a:pt x="756070" y="4622800"/>
                    <a:pt x="682923" y="4549632"/>
                    <a:pt x="682923" y="4458482"/>
                  </a:cubicBezTo>
                  <a:cubicBezTo>
                    <a:pt x="682923" y="4458482"/>
                    <a:pt x="682923" y="4458482"/>
                    <a:pt x="682923" y="3116655"/>
                  </a:cubicBezTo>
                  <a:cubicBezTo>
                    <a:pt x="682923" y="3116655"/>
                    <a:pt x="682923" y="3116655"/>
                    <a:pt x="306033" y="3116655"/>
                  </a:cubicBezTo>
                  <a:cubicBezTo>
                    <a:pt x="306033" y="3116655"/>
                    <a:pt x="306033" y="3116655"/>
                    <a:pt x="721356" y="1380464"/>
                  </a:cubicBezTo>
                  <a:cubicBezTo>
                    <a:pt x="721356" y="1380464"/>
                    <a:pt x="721356" y="1380464"/>
                    <a:pt x="612876" y="1380464"/>
                  </a:cubicBezTo>
                  <a:cubicBezTo>
                    <a:pt x="612876" y="1380464"/>
                    <a:pt x="612876" y="1380464"/>
                    <a:pt x="291156" y="2429619"/>
                  </a:cubicBezTo>
                  <a:cubicBezTo>
                    <a:pt x="266980" y="2507748"/>
                    <a:pt x="183915" y="2552393"/>
                    <a:pt x="105190" y="2528210"/>
                  </a:cubicBezTo>
                  <a:cubicBezTo>
                    <a:pt x="26465" y="2504027"/>
                    <a:pt x="-17547" y="2420938"/>
                    <a:pt x="6628" y="2342190"/>
                  </a:cubicBezTo>
                  <a:cubicBezTo>
                    <a:pt x="6628" y="2342190"/>
                    <a:pt x="6628" y="2342190"/>
                    <a:pt x="340127" y="1255210"/>
                  </a:cubicBezTo>
                  <a:cubicBezTo>
                    <a:pt x="385378" y="1032606"/>
                    <a:pt x="582502" y="865187"/>
                    <a:pt x="818678" y="865187"/>
                  </a:cubicBezTo>
                  <a:close/>
                  <a:moveTo>
                    <a:pt x="1076240" y="0"/>
                  </a:moveTo>
                  <a:cubicBezTo>
                    <a:pt x="1286660" y="0"/>
                    <a:pt x="1457240" y="170580"/>
                    <a:pt x="1457240" y="381000"/>
                  </a:cubicBezTo>
                  <a:cubicBezTo>
                    <a:pt x="1457240" y="591420"/>
                    <a:pt x="1286660" y="762000"/>
                    <a:pt x="1076240" y="762000"/>
                  </a:cubicBezTo>
                  <a:cubicBezTo>
                    <a:pt x="865820" y="762000"/>
                    <a:pt x="695240" y="591420"/>
                    <a:pt x="695240" y="381000"/>
                  </a:cubicBezTo>
                  <a:cubicBezTo>
                    <a:pt x="695240" y="170580"/>
                    <a:pt x="865820" y="0"/>
                    <a:pt x="107624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506"/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969384" y="2388964"/>
            <a:ext cx="4494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EC0000"/>
                </a:solidFill>
                <a:latin typeface="Lato" panose="020F0502020204030203" pitchFamily="34" charset="0"/>
              </a:rPr>
              <a:t>58%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128647" y="2388964"/>
            <a:ext cx="4494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EC0000"/>
                </a:solidFill>
                <a:latin typeface="Lato" panose="020F0502020204030203" pitchFamily="34" charset="0"/>
              </a:rPr>
              <a:t>42%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593724" y="1503087"/>
            <a:ext cx="2178051" cy="571141"/>
            <a:chOff x="593724" y="1502621"/>
            <a:chExt cx="2178051" cy="571141"/>
          </a:xfrm>
        </p:grpSpPr>
        <p:sp>
          <p:nvSpPr>
            <p:cNvPr id="47" name="TextBox 46"/>
            <p:cNvSpPr txBox="1"/>
            <p:nvPr/>
          </p:nvSpPr>
          <p:spPr>
            <a:xfrm>
              <a:off x="593724" y="1502621"/>
              <a:ext cx="2178051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ALVOS</a:t>
              </a:r>
              <a:r>
                <a:rPr lang="en-US" sz="1400" cap="all" spc="20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DAS VENDAS</a:t>
              </a:r>
              <a:endParaRPr lang="en-US" sz="1400" cap="all" spc="20" dirty="0">
                <a:solidFill>
                  <a:schemeClr val="accent2"/>
                </a:solidFill>
                <a:latin typeface="Lato Black" panose="020F0A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93725" y="1769255"/>
              <a:ext cx="2178050" cy="3045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semper libero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c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</p:grpSp>
      <p:cxnSp>
        <p:nvCxnSpPr>
          <p:cNvPr id="50" name="Straight Connector 49"/>
          <p:cNvCxnSpPr/>
          <p:nvPr/>
        </p:nvCxnSpPr>
        <p:spPr>
          <a:xfrm>
            <a:off x="593725" y="2835800"/>
            <a:ext cx="217805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1065165" y="3563730"/>
            <a:ext cx="0" cy="69886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Freeform 63"/>
          <p:cNvSpPr/>
          <p:nvPr/>
        </p:nvSpPr>
        <p:spPr>
          <a:xfrm>
            <a:off x="707955" y="3627379"/>
            <a:ext cx="714420" cy="475807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0" name="TextBox 69"/>
          <p:cNvSpPr txBox="1"/>
          <p:nvPr/>
        </p:nvSpPr>
        <p:spPr>
          <a:xfrm>
            <a:off x="869587" y="3387931"/>
            <a:ext cx="3911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2.8%</a:t>
            </a:r>
          </a:p>
        </p:txBody>
      </p:sp>
      <p:cxnSp>
        <p:nvCxnSpPr>
          <p:cNvPr id="76" name="Straight Connector 75"/>
          <p:cNvCxnSpPr/>
          <p:nvPr/>
        </p:nvCxnSpPr>
        <p:spPr>
          <a:xfrm>
            <a:off x="1682749" y="3383531"/>
            <a:ext cx="0" cy="69886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Freeform 65"/>
          <p:cNvSpPr/>
          <p:nvPr/>
        </p:nvSpPr>
        <p:spPr>
          <a:xfrm>
            <a:off x="1325539" y="3437575"/>
            <a:ext cx="714420" cy="665611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71" name="TextBox 70"/>
          <p:cNvSpPr txBox="1"/>
          <p:nvPr/>
        </p:nvSpPr>
        <p:spPr>
          <a:xfrm>
            <a:off x="1487171" y="3202901"/>
            <a:ext cx="3911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4.9%</a:t>
            </a:r>
          </a:p>
        </p:txBody>
      </p:sp>
      <p:cxnSp>
        <p:nvCxnSpPr>
          <p:cNvPr id="77" name="Straight Connector 76"/>
          <p:cNvCxnSpPr/>
          <p:nvPr/>
        </p:nvCxnSpPr>
        <p:spPr>
          <a:xfrm>
            <a:off x="2300333" y="3220525"/>
            <a:ext cx="0" cy="69886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reeform 66"/>
          <p:cNvSpPr/>
          <p:nvPr/>
        </p:nvSpPr>
        <p:spPr>
          <a:xfrm>
            <a:off x="1943123" y="3279777"/>
            <a:ext cx="714420" cy="823410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2" name="TextBox 71"/>
          <p:cNvSpPr txBox="1"/>
          <p:nvPr/>
        </p:nvSpPr>
        <p:spPr>
          <a:xfrm>
            <a:off x="2104755" y="3044671"/>
            <a:ext cx="39115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accent1"/>
                </a:solidFill>
                <a:latin typeface="Lato" panose="020F0502020204030203" pitchFamily="34" charset="0"/>
              </a:rPr>
              <a:t>8.7%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593725" y="4095637"/>
            <a:ext cx="2178049" cy="190613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Box 59"/>
          <p:cNvSpPr txBox="1"/>
          <p:nvPr/>
        </p:nvSpPr>
        <p:spPr>
          <a:xfrm>
            <a:off x="774325" y="4137082"/>
            <a:ext cx="58168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</a:rPr>
              <a:t>Facebook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391909" y="4137082"/>
            <a:ext cx="58168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</a:rPr>
              <a:t>Twitter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009493" y="4137082"/>
            <a:ext cx="58168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</a:rPr>
              <a:t>Whatsapp</a:t>
            </a:r>
            <a:endParaRPr lang="en-US" sz="70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50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A </a:t>
            </a:r>
            <a:r>
              <a:rPr lang="en-US" dirty="0">
                <a:solidFill>
                  <a:srgbClr val="EC0000"/>
                </a:solidFill>
              </a:rPr>
              <a:t>VERB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3673793" y="1710628"/>
            <a:ext cx="179641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cap="all" spc="2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75.3m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3673793" y="2399114"/>
            <a:ext cx="1796415" cy="2843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fr-FR" sz="750" dirty="0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 lobortis mattis leo, et condimentum dui vestibulum vel</a:t>
            </a:r>
            <a:endParaRPr lang="en-US" sz="750" dirty="0">
              <a:solidFill>
                <a:schemeClr val="accent3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4476312" y="2214464"/>
            <a:ext cx="191376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/>
          <p:cNvGrpSpPr/>
          <p:nvPr/>
        </p:nvGrpSpPr>
        <p:grpSpPr>
          <a:xfrm>
            <a:off x="3673793" y="3040445"/>
            <a:ext cx="1796415" cy="831312"/>
            <a:chOff x="3673793" y="3040445"/>
            <a:chExt cx="1796415" cy="831312"/>
          </a:xfrm>
          <a:solidFill>
            <a:srgbClr val="EC0000"/>
          </a:solidFill>
        </p:grpSpPr>
        <p:grpSp>
          <p:nvGrpSpPr>
            <p:cNvPr id="36" name="Group 35"/>
            <p:cNvGrpSpPr/>
            <p:nvPr/>
          </p:nvGrpSpPr>
          <p:grpSpPr>
            <a:xfrm>
              <a:off x="3673793" y="304044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37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8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9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40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41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42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43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51" name="Group 50"/>
            <p:cNvGrpSpPr/>
            <p:nvPr/>
          </p:nvGrpSpPr>
          <p:grpSpPr>
            <a:xfrm>
              <a:off x="3673793" y="321699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52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3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4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5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6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7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58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3673793" y="3393544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60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1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2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3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4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5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6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3673793" y="3570093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68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9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0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1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2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3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4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75" name="Group 74"/>
            <p:cNvGrpSpPr/>
            <p:nvPr/>
          </p:nvGrpSpPr>
          <p:grpSpPr>
            <a:xfrm>
              <a:off x="3673793" y="3746642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76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7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8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9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0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1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2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</p:grpSp>
      <p:sp>
        <p:nvSpPr>
          <p:cNvPr id="83" name="TextBox 82"/>
          <p:cNvSpPr txBox="1"/>
          <p:nvPr/>
        </p:nvSpPr>
        <p:spPr>
          <a:xfrm>
            <a:off x="3676208" y="1543050"/>
            <a:ext cx="17915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M 2019</a:t>
            </a:r>
          </a:p>
        </p:txBody>
      </p:sp>
      <p:grpSp>
        <p:nvGrpSpPr>
          <p:cNvPr id="151" name="Group 150"/>
          <p:cNvGrpSpPr/>
          <p:nvPr/>
        </p:nvGrpSpPr>
        <p:grpSpPr>
          <a:xfrm>
            <a:off x="3676208" y="2820127"/>
            <a:ext cx="1791584" cy="148008"/>
            <a:chOff x="3676208" y="2820127"/>
            <a:chExt cx="1791584" cy="148008"/>
          </a:xfrm>
        </p:grpSpPr>
        <p:grpSp>
          <p:nvGrpSpPr>
            <p:cNvPr id="44" name="Group 43"/>
            <p:cNvGrpSpPr/>
            <p:nvPr/>
          </p:nvGrpSpPr>
          <p:grpSpPr>
            <a:xfrm>
              <a:off x="3676208" y="2904635"/>
              <a:ext cx="1791584" cy="63500"/>
              <a:chOff x="2590801" y="8068674"/>
              <a:chExt cx="4777558" cy="169333"/>
            </a:xfrm>
          </p:grpSpPr>
          <p:cxnSp>
            <p:nvCxnSpPr>
              <p:cNvPr id="45" name="Straight Connector 44"/>
              <p:cNvCxnSpPr/>
              <p:nvPr/>
            </p:nvCxnSpPr>
            <p:spPr>
              <a:xfrm>
                <a:off x="2590801" y="8068674"/>
                <a:ext cx="4777558" cy="0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45"/>
              <p:cNvCxnSpPr/>
              <p:nvPr/>
            </p:nvCxnSpPr>
            <p:spPr>
              <a:xfrm>
                <a:off x="2590801" y="8068674"/>
                <a:ext cx="0" cy="169333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46"/>
              <p:cNvCxnSpPr/>
              <p:nvPr/>
            </p:nvCxnSpPr>
            <p:spPr>
              <a:xfrm>
                <a:off x="7368359" y="8068674"/>
                <a:ext cx="0" cy="169333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7" name="Straight Connector 156"/>
            <p:cNvCxnSpPr/>
            <p:nvPr/>
          </p:nvCxnSpPr>
          <p:spPr>
            <a:xfrm>
              <a:off x="4572000" y="2820127"/>
              <a:ext cx="0" cy="84508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6" name="TextBox 95"/>
          <p:cNvSpPr txBox="1"/>
          <p:nvPr/>
        </p:nvSpPr>
        <p:spPr>
          <a:xfrm>
            <a:off x="6460308" y="1710628"/>
            <a:ext cx="179641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cap="all" spc="2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120m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460308" y="2399114"/>
            <a:ext cx="1796415" cy="2843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fr-FR" sz="750" dirty="0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 lobortis mattis leo, et condimentum dui vestibulum vel</a:t>
            </a:r>
            <a:endParaRPr lang="en-US" sz="750" dirty="0">
              <a:solidFill>
                <a:schemeClr val="accent3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>
            <a:off x="7262828" y="2214464"/>
            <a:ext cx="191376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Group 146"/>
          <p:cNvGrpSpPr/>
          <p:nvPr/>
        </p:nvGrpSpPr>
        <p:grpSpPr>
          <a:xfrm>
            <a:off x="6460308" y="3040445"/>
            <a:ext cx="1796415" cy="1184411"/>
            <a:chOff x="6460308" y="3040445"/>
            <a:chExt cx="1796415" cy="1184411"/>
          </a:xfrm>
          <a:solidFill>
            <a:srgbClr val="EC0000"/>
          </a:solidFill>
        </p:grpSpPr>
        <p:grpSp>
          <p:nvGrpSpPr>
            <p:cNvPr id="84" name="Group 83"/>
            <p:cNvGrpSpPr/>
            <p:nvPr/>
          </p:nvGrpSpPr>
          <p:grpSpPr>
            <a:xfrm>
              <a:off x="6460308" y="304044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85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6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7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8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9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90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91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6460308" y="321699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00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1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2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3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4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5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6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07" name="Group 106"/>
            <p:cNvGrpSpPr/>
            <p:nvPr/>
          </p:nvGrpSpPr>
          <p:grpSpPr>
            <a:xfrm>
              <a:off x="6460308" y="3393544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08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9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0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1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2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3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4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15" name="Group 114"/>
            <p:cNvGrpSpPr/>
            <p:nvPr/>
          </p:nvGrpSpPr>
          <p:grpSpPr>
            <a:xfrm>
              <a:off x="6460308" y="3570093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16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7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8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9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0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1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2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23" name="Group 122"/>
            <p:cNvGrpSpPr/>
            <p:nvPr/>
          </p:nvGrpSpPr>
          <p:grpSpPr>
            <a:xfrm>
              <a:off x="6460308" y="3746642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24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5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6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7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8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29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0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31" name="Group 130"/>
            <p:cNvGrpSpPr/>
            <p:nvPr/>
          </p:nvGrpSpPr>
          <p:grpSpPr>
            <a:xfrm>
              <a:off x="6460308" y="3923192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32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3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4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5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6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7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38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39" name="Group 138"/>
            <p:cNvGrpSpPr/>
            <p:nvPr/>
          </p:nvGrpSpPr>
          <p:grpSpPr>
            <a:xfrm>
              <a:off x="6460308" y="4099741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140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1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2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3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4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5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46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</p:grpSp>
      <p:sp>
        <p:nvSpPr>
          <p:cNvPr id="155" name="TextBox 154"/>
          <p:cNvSpPr txBox="1"/>
          <p:nvPr/>
        </p:nvSpPr>
        <p:spPr>
          <a:xfrm>
            <a:off x="6462723" y="1543050"/>
            <a:ext cx="17915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M 202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87277" y="1710628"/>
            <a:ext cx="179641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cap="all" spc="20" dirty="0">
                <a:solidFill>
                  <a:srgbClr val="EC0000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42.2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7277" y="2399114"/>
            <a:ext cx="1796415" cy="283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fr-FR" sz="750" dirty="0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 lobortis mattis leo, et condimentum dui vestibulum vel</a:t>
            </a:r>
            <a:endParaRPr lang="en-US" sz="750" dirty="0">
              <a:solidFill>
                <a:schemeClr val="accent3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689797" y="2214464"/>
            <a:ext cx="191376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9" name="Group 148"/>
          <p:cNvGrpSpPr/>
          <p:nvPr/>
        </p:nvGrpSpPr>
        <p:grpSpPr>
          <a:xfrm>
            <a:off x="887277" y="3040445"/>
            <a:ext cx="1796415" cy="478214"/>
            <a:chOff x="887277" y="3040445"/>
            <a:chExt cx="1796415" cy="478214"/>
          </a:xfrm>
          <a:solidFill>
            <a:srgbClr val="EC0000"/>
          </a:solidFill>
        </p:grpSpPr>
        <p:grpSp>
          <p:nvGrpSpPr>
            <p:cNvPr id="4" name="Group 3"/>
            <p:cNvGrpSpPr/>
            <p:nvPr/>
          </p:nvGrpSpPr>
          <p:grpSpPr>
            <a:xfrm>
              <a:off x="887277" y="304044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5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6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7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8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9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0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11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887277" y="3216995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20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1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2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3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4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5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6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887277" y="3393544"/>
              <a:ext cx="1796415" cy="125115"/>
              <a:chOff x="2590801" y="7851489"/>
              <a:chExt cx="4375243" cy="304722"/>
            </a:xfrm>
            <a:grpFill/>
          </p:grpSpPr>
          <p:sp>
            <p:nvSpPr>
              <p:cNvPr id="28" name="Shape 2798"/>
              <p:cNvSpPr/>
              <p:nvPr/>
            </p:nvSpPr>
            <p:spPr>
              <a:xfrm>
                <a:off x="259080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29" name="Shape 2798"/>
              <p:cNvSpPr/>
              <p:nvPr/>
            </p:nvSpPr>
            <p:spPr>
              <a:xfrm>
                <a:off x="322689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0" name="Shape 2798"/>
              <p:cNvSpPr/>
              <p:nvPr/>
            </p:nvSpPr>
            <p:spPr>
              <a:xfrm>
                <a:off x="3862997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1" name="Shape 2798"/>
              <p:cNvSpPr/>
              <p:nvPr/>
            </p:nvSpPr>
            <p:spPr>
              <a:xfrm>
                <a:off x="4499095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2" name="Shape 2798"/>
              <p:cNvSpPr/>
              <p:nvPr/>
            </p:nvSpPr>
            <p:spPr>
              <a:xfrm>
                <a:off x="5135193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3" name="Shape 2798"/>
              <p:cNvSpPr/>
              <p:nvPr/>
            </p:nvSpPr>
            <p:spPr>
              <a:xfrm>
                <a:off x="5771291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  <p:sp>
            <p:nvSpPr>
              <p:cNvPr id="34" name="Shape 2798"/>
              <p:cNvSpPr/>
              <p:nvPr/>
            </p:nvSpPr>
            <p:spPr>
              <a:xfrm>
                <a:off x="6407389" y="7851489"/>
                <a:ext cx="558655" cy="3047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1502" y="11838"/>
                    </a:moveTo>
                    <a:cubicBezTo>
                      <a:pt x="11425" y="11731"/>
                      <a:pt x="11338" y="11646"/>
                      <a:pt x="11242" y="11581"/>
                    </a:cubicBezTo>
                    <a:cubicBezTo>
                      <a:pt x="11144" y="11515"/>
                      <a:pt x="11102" y="11458"/>
                      <a:pt x="11001" y="11410"/>
                    </a:cubicBezTo>
                    <a:lnTo>
                      <a:pt x="11001" y="14261"/>
                    </a:lnTo>
                    <a:cubicBezTo>
                      <a:pt x="11238" y="14227"/>
                      <a:pt x="11377" y="14100"/>
                      <a:pt x="11528" y="13875"/>
                    </a:cubicBezTo>
                    <a:cubicBezTo>
                      <a:pt x="11680" y="13651"/>
                      <a:pt x="11756" y="13293"/>
                      <a:pt x="11756" y="12804"/>
                    </a:cubicBezTo>
                    <a:cubicBezTo>
                      <a:pt x="11756" y="12576"/>
                      <a:pt x="11733" y="12384"/>
                      <a:pt x="11686" y="12229"/>
                    </a:cubicBezTo>
                    <a:cubicBezTo>
                      <a:pt x="11640" y="12074"/>
                      <a:pt x="11579" y="11944"/>
                      <a:pt x="11502" y="11838"/>
                    </a:cubicBezTo>
                    <a:moveTo>
                      <a:pt x="17182" y="16200"/>
                    </a:moveTo>
                    <a:lnTo>
                      <a:pt x="16200" y="16200"/>
                    </a:lnTo>
                    <a:cubicBezTo>
                      <a:pt x="15929" y="16200"/>
                      <a:pt x="15709" y="16602"/>
                      <a:pt x="15709" y="17100"/>
                    </a:cubicBezTo>
                    <a:cubicBezTo>
                      <a:pt x="15709" y="17597"/>
                      <a:pt x="15929" y="18000"/>
                      <a:pt x="16200" y="18000"/>
                    </a:cubicBezTo>
                    <a:lnTo>
                      <a:pt x="17182" y="18000"/>
                    </a:lnTo>
                    <a:cubicBezTo>
                      <a:pt x="17453" y="18000"/>
                      <a:pt x="17673" y="17597"/>
                      <a:pt x="17673" y="17100"/>
                    </a:cubicBezTo>
                    <a:cubicBezTo>
                      <a:pt x="17673" y="16602"/>
                      <a:pt x="17453" y="16200"/>
                      <a:pt x="17182" y="16200"/>
                    </a:cubicBezTo>
                    <a:moveTo>
                      <a:pt x="9917" y="8509"/>
                    </a:moveTo>
                    <a:cubicBezTo>
                      <a:pt x="9917" y="8706"/>
                      <a:pt x="9938" y="8872"/>
                      <a:pt x="9982" y="9011"/>
                    </a:cubicBezTo>
                    <a:cubicBezTo>
                      <a:pt x="10026" y="9150"/>
                      <a:pt x="10082" y="9268"/>
                      <a:pt x="10150" y="9366"/>
                    </a:cubicBezTo>
                    <a:cubicBezTo>
                      <a:pt x="10219" y="9464"/>
                      <a:pt x="10298" y="9544"/>
                      <a:pt x="10388" y="9605"/>
                    </a:cubicBezTo>
                    <a:cubicBezTo>
                      <a:pt x="10478" y="9665"/>
                      <a:pt x="10513" y="9717"/>
                      <a:pt x="10605" y="9757"/>
                    </a:cubicBezTo>
                    <a:lnTo>
                      <a:pt x="10605" y="7311"/>
                    </a:lnTo>
                    <a:cubicBezTo>
                      <a:pt x="10368" y="7311"/>
                      <a:pt x="10241" y="7402"/>
                      <a:pt x="10111" y="7585"/>
                    </a:cubicBezTo>
                    <a:cubicBezTo>
                      <a:pt x="9981" y="7769"/>
                      <a:pt x="9917" y="8077"/>
                      <a:pt x="9917" y="8509"/>
                    </a:cubicBezTo>
                    <a:moveTo>
                      <a:pt x="20127" y="3600"/>
                    </a:moveTo>
                    <a:cubicBezTo>
                      <a:pt x="19856" y="3600"/>
                      <a:pt x="19636" y="3197"/>
                      <a:pt x="19636" y="2700"/>
                    </a:cubicBezTo>
                    <a:cubicBezTo>
                      <a:pt x="19636" y="2203"/>
                      <a:pt x="19856" y="1800"/>
                      <a:pt x="20127" y="1800"/>
                    </a:cubicBezTo>
                    <a:cubicBezTo>
                      <a:pt x="20399" y="1800"/>
                      <a:pt x="20618" y="2203"/>
                      <a:pt x="20618" y="2700"/>
                    </a:cubicBezTo>
                    <a:cubicBezTo>
                      <a:pt x="20618" y="3197"/>
                      <a:pt x="20399" y="3600"/>
                      <a:pt x="20127" y="3600"/>
                    </a:cubicBezTo>
                    <a:moveTo>
                      <a:pt x="20618" y="16365"/>
                    </a:moveTo>
                    <a:cubicBezTo>
                      <a:pt x="20464" y="16265"/>
                      <a:pt x="20300" y="16200"/>
                      <a:pt x="20127" y="16200"/>
                    </a:cubicBezTo>
                    <a:cubicBezTo>
                      <a:pt x="19314" y="16200"/>
                      <a:pt x="18655" y="17408"/>
                      <a:pt x="18655" y="18900"/>
                    </a:cubicBezTo>
                    <a:cubicBezTo>
                      <a:pt x="18655" y="19217"/>
                      <a:pt x="18690" y="19517"/>
                      <a:pt x="18745" y="19800"/>
                    </a:cubicBezTo>
                    <a:lnTo>
                      <a:pt x="2855" y="19800"/>
                    </a:lnTo>
                    <a:cubicBezTo>
                      <a:pt x="2910" y="19517"/>
                      <a:pt x="2945" y="19217"/>
                      <a:pt x="2945" y="18900"/>
                    </a:cubicBezTo>
                    <a:cubicBezTo>
                      <a:pt x="2945" y="17408"/>
                      <a:pt x="2286" y="16200"/>
                      <a:pt x="1473" y="16200"/>
                    </a:cubicBezTo>
                    <a:cubicBezTo>
                      <a:pt x="1300" y="16200"/>
                      <a:pt x="1136" y="16265"/>
                      <a:pt x="982" y="16365"/>
                    </a:cubicBezTo>
                    <a:lnTo>
                      <a:pt x="982" y="5234"/>
                    </a:lnTo>
                    <a:cubicBezTo>
                      <a:pt x="1136" y="5335"/>
                      <a:pt x="1300" y="5400"/>
                      <a:pt x="1473" y="5400"/>
                    </a:cubicBezTo>
                    <a:cubicBezTo>
                      <a:pt x="2286" y="5400"/>
                      <a:pt x="2945" y="4191"/>
                      <a:pt x="2945" y="2700"/>
                    </a:cubicBezTo>
                    <a:cubicBezTo>
                      <a:pt x="2945" y="2382"/>
                      <a:pt x="2910" y="2083"/>
                      <a:pt x="2855" y="1800"/>
                    </a:cubicBezTo>
                    <a:lnTo>
                      <a:pt x="18745" y="1800"/>
                    </a:lnTo>
                    <a:cubicBezTo>
                      <a:pt x="18690" y="2083"/>
                      <a:pt x="18655" y="2382"/>
                      <a:pt x="18655" y="2700"/>
                    </a:cubicBezTo>
                    <a:cubicBezTo>
                      <a:pt x="18655" y="4191"/>
                      <a:pt x="19314" y="5400"/>
                      <a:pt x="20127" y="5400"/>
                    </a:cubicBezTo>
                    <a:cubicBezTo>
                      <a:pt x="20300" y="5400"/>
                      <a:pt x="20464" y="5335"/>
                      <a:pt x="20618" y="5234"/>
                    </a:cubicBezTo>
                    <a:cubicBezTo>
                      <a:pt x="20618" y="5234"/>
                      <a:pt x="20618" y="16365"/>
                      <a:pt x="20618" y="16365"/>
                    </a:cubicBezTo>
                    <a:close/>
                    <a:moveTo>
                      <a:pt x="20127" y="19800"/>
                    </a:moveTo>
                    <a:cubicBezTo>
                      <a:pt x="19856" y="19800"/>
                      <a:pt x="19636" y="19397"/>
                      <a:pt x="19636" y="18900"/>
                    </a:cubicBezTo>
                    <a:cubicBezTo>
                      <a:pt x="19636" y="18403"/>
                      <a:pt x="19856" y="18000"/>
                      <a:pt x="20127" y="18000"/>
                    </a:cubicBezTo>
                    <a:cubicBezTo>
                      <a:pt x="20399" y="18000"/>
                      <a:pt x="20618" y="18403"/>
                      <a:pt x="20618" y="18900"/>
                    </a:cubicBezTo>
                    <a:cubicBezTo>
                      <a:pt x="20618" y="19397"/>
                      <a:pt x="20399" y="19800"/>
                      <a:pt x="20127" y="19800"/>
                    </a:cubicBezTo>
                    <a:moveTo>
                      <a:pt x="1473" y="19800"/>
                    </a:moveTo>
                    <a:cubicBezTo>
                      <a:pt x="1201" y="19800"/>
                      <a:pt x="982" y="19397"/>
                      <a:pt x="982" y="18900"/>
                    </a:cubicBezTo>
                    <a:cubicBezTo>
                      <a:pt x="982" y="18403"/>
                      <a:pt x="1201" y="18000"/>
                      <a:pt x="1473" y="18000"/>
                    </a:cubicBezTo>
                    <a:cubicBezTo>
                      <a:pt x="1744" y="18000"/>
                      <a:pt x="1964" y="18403"/>
                      <a:pt x="1964" y="18900"/>
                    </a:cubicBezTo>
                    <a:cubicBezTo>
                      <a:pt x="1964" y="19397"/>
                      <a:pt x="1744" y="19800"/>
                      <a:pt x="1473" y="19800"/>
                    </a:cubicBezTo>
                    <a:moveTo>
                      <a:pt x="1473" y="1800"/>
                    </a:moveTo>
                    <a:cubicBezTo>
                      <a:pt x="1744" y="1800"/>
                      <a:pt x="1964" y="2203"/>
                      <a:pt x="1964" y="2700"/>
                    </a:cubicBezTo>
                    <a:cubicBezTo>
                      <a:pt x="1964" y="3197"/>
                      <a:pt x="1744" y="3600"/>
                      <a:pt x="1473" y="3600"/>
                    </a:cubicBezTo>
                    <a:cubicBezTo>
                      <a:pt x="1201" y="3600"/>
                      <a:pt x="982" y="3197"/>
                      <a:pt x="982" y="2700"/>
                    </a:cubicBezTo>
                    <a:cubicBezTo>
                      <a:pt x="982" y="2203"/>
                      <a:pt x="1201" y="1800"/>
                      <a:pt x="1473" y="1800"/>
                    </a:cubicBezTo>
                    <a:moveTo>
                      <a:pt x="20618" y="0"/>
                    </a:moveTo>
                    <a:lnTo>
                      <a:pt x="982" y="0"/>
                    </a:lnTo>
                    <a:cubicBezTo>
                      <a:pt x="440" y="0"/>
                      <a:pt x="0" y="806"/>
                      <a:pt x="0" y="1800"/>
                    </a:cubicBezTo>
                    <a:lnTo>
                      <a:pt x="0" y="19800"/>
                    </a:lnTo>
                    <a:cubicBezTo>
                      <a:pt x="0" y="20794"/>
                      <a:pt x="440" y="21600"/>
                      <a:pt x="982" y="21600"/>
                    </a:cubicBezTo>
                    <a:lnTo>
                      <a:pt x="20618" y="21600"/>
                    </a:lnTo>
                    <a:cubicBezTo>
                      <a:pt x="21160" y="21600"/>
                      <a:pt x="21600" y="20794"/>
                      <a:pt x="21600" y="19800"/>
                    </a:cubicBezTo>
                    <a:lnTo>
                      <a:pt x="21600" y="1800"/>
                    </a:lnTo>
                    <a:cubicBezTo>
                      <a:pt x="21600" y="806"/>
                      <a:pt x="21160" y="0"/>
                      <a:pt x="20618" y="0"/>
                    </a:cubicBezTo>
                    <a:moveTo>
                      <a:pt x="12385" y="13801"/>
                    </a:moveTo>
                    <a:cubicBezTo>
                      <a:pt x="12304" y="14141"/>
                      <a:pt x="12193" y="14422"/>
                      <a:pt x="12052" y="14646"/>
                    </a:cubicBezTo>
                    <a:cubicBezTo>
                      <a:pt x="11912" y="14871"/>
                      <a:pt x="11747" y="15042"/>
                      <a:pt x="11558" y="15160"/>
                    </a:cubicBezTo>
                    <a:cubicBezTo>
                      <a:pt x="11369" y="15278"/>
                      <a:pt x="11221" y="15345"/>
                      <a:pt x="11001" y="15362"/>
                    </a:cubicBezTo>
                    <a:lnTo>
                      <a:pt x="11001" y="16198"/>
                    </a:lnTo>
                    <a:lnTo>
                      <a:pt x="10605" y="16198"/>
                    </a:lnTo>
                    <a:lnTo>
                      <a:pt x="10605" y="15362"/>
                    </a:lnTo>
                    <a:cubicBezTo>
                      <a:pt x="10368" y="15353"/>
                      <a:pt x="10206" y="15284"/>
                      <a:pt x="10009" y="15154"/>
                    </a:cubicBezTo>
                    <a:cubicBezTo>
                      <a:pt x="9811" y="15023"/>
                      <a:pt x="9642" y="14837"/>
                      <a:pt x="9501" y="14596"/>
                    </a:cubicBezTo>
                    <a:cubicBezTo>
                      <a:pt x="9361" y="14356"/>
                      <a:pt x="9252" y="14061"/>
                      <a:pt x="9175" y="13710"/>
                    </a:cubicBezTo>
                    <a:cubicBezTo>
                      <a:pt x="9098" y="13359"/>
                      <a:pt x="9062" y="12956"/>
                      <a:pt x="9066" y="12498"/>
                    </a:cubicBezTo>
                    <a:lnTo>
                      <a:pt x="9818" y="12498"/>
                    </a:lnTo>
                    <a:cubicBezTo>
                      <a:pt x="9813" y="13036"/>
                      <a:pt x="9877" y="13461"/>
                      <a:pt x="10009" y="13770"/>
                    </a:cubicBezTo>
                    <a:cubicBezTo>
                      <a:pt x="10140" y="14081"/>
                      <a:pt x="10302" y="14244"/>
                      <a:pt x="10605" y="14261"/>
                    </a:cubicBezTo>
                    <a:lnTo>
                      <a:pt x="10605" y="11299"/>
                    </a:lnTo>
                    <a:cubicBezTo>
                      <a:pt x="10425" y="11209"/>
                      <a:pt x="10302" y="11101"/>
                      <a:pt x="10124" y="10974"/>
                    </a:cubicBezTo>
                    <a:cubicBezTo>
                      <a:pt x="9946" y="10849"/>
                      <a:pt x="9786" y="10686"/>
                      <a:pt x="9643" y="10485"/>
                    </a:cubicBezTo>
                    <a:cubicBezTo>
                      <a:pt x="9500" y="10285"/>
                      <a:pt x="9385" y="10035"/>
                      <a:pt x="9297" y="9733"/>
                    </a:cubicBezTo>
                    <a:cubicBezTo>
                      <a:pt x="9209" y="9431"/>
                      <a:pt x="9165" y="9056"/>
                      <a:pt x="9165" y="8607"/>
                    </a:cubicBezTo>
                    <a:cubicBezTo>
                      <a:pt x="9165" y="8216"/>
                      <a:pt x="9206" y="7871"/>
                      <a:pt x="9287" y="7574"/>
                    </a:cubicBezTo>
                    <a:cubicBezTo>
                      <a:pt x="9369" y="7276"/>
                      <a:pt x="9478" y="7026"/>
                      <a:pt x="9617" y="6827"/>
                    </a:cubicBezTo>
                    <a:cubicBezTo>
                      <a:pt x="9755" y="6627"/>
                      <a:pt x="9914" y="6474"/>
                      <a:pt x="10094" y="6368"/>
                    </a:cubicBezTo>
                    <a:cubicBezTo>
                      <a:pt x="10275" y="6262"/>
                      <a:pt x="10408" y="6209"/>
                      <a:pt x="10605" y="6209"/>
                    </a:cubicBezTo>
                    <a:lnTo>
                      <a:pt x="10605" y="5406"/>
                    </a:lnTo>
                    <a:lnTo>
                      <a:pt x="11001" y="5406"/>
                    </a:lnTo>
                    <a:lnTo>
                      <a:pt x="11001" y="6209"/>
                    </a:lnTo>
                    <a:cubicBezTo>
                      <a:pt x="11199" y="6209"/>
                      <a:pt x="11329" y="6257"/>
                      <a:pt x="11505" y="6356"/>
                    </a:cubicBezTo>
                    <a:cubicBezTo>
                      <a:pt x="11681" y="6454"/>
                      <a:pt x="11834" y="6601"/>
                      <a:pt x="11963" y="6796"/>
                    </a:cubicBezTo>
                    <a:cubicBezTo>
                      <a:pt x="12093" y="6992"/>
                      <a:pt x="12196" y="7241"/>
                      <a:pt x="12273" y="7543"/>
                    </a:cubicBezTo>
                    <a:cubicBezTo>
                      <a:pt x="12350" y="7845"/>
                      <a:pt x="12389" y="8195"/>
                      <a:pt x="12389" y="8594"/>
                    </a:cubicBezTo>
                    <a:lnTo>
                      <a:pt x="11637" y="8594"/>
                    </a:lnTo>
                    <a:cubicBezTo>
                      <a:pt x="11628" y="8179"/>
                      <a:pt x="11570" y="7860"/>
                      <a:pt x="11463" y="7641"/>
                    </a:cubicBezTo>
                    <a:cubicBezTo>
                      <a:pt x="11355" y="7420"/>
                      <a:pt x="11238" y="7311"/>
                      <a:pt x="11001" y="7311"/>
                    </a:cubicBezTo>
                    <a:lnTo>
                      <a:pt x="11001" y="9892"/>
                    </a:lnTo>
                    <a:cubicBezTo>
                      <a:pt x="11199" y="9990"/>
                      <a:pt x="11336" y="10104"/>
                      <a:pt x="11525" y="10235"/>
                    </a:cubicBezTo>
                    <a:cubicBezTo>
                      <a:pt x="11714" y="10365"/>
                      <a:pt x="11881" y="10532"/>
                      <a:pt x="12026" y="10736"/>
                    </a:cubicBezTo>
                    <a:cubicBezTo>
                      <a:pt x="12171" y="10940"/>
                      <a:pt x="12287" y="11193"/>
                      <a:pt x="12375" y="11495"/>
                    </a:cubicBezTo>
                    <a:cubicBezTo>
                      <a:pt x="12463" y="11797"/>
                      <a:pt x="12507" y="12168"/>
                      <a:pt x="12507" y="12608"/>
                    </a:cubicBezTo>
                    <a:cubicBezTo>
                      <a:pt x="12507" y="13065"/>
                      <a:pt x="12466" y="13463"/>
                      <a:pt x="12385" y="13801"/>
                    </a:cubicBezTo>
                    <a:moveTo>
                      <a:pt x="10800" y="3600"/>
                    </a:moveTo>
                    <a:cubicBezTo>
                      <a:pt x="8631" y="3600"/>
                      <a:pt x="6873" y="6824"/>
                      <a:pt x="6873" y="10800"/>
                    </a:cubicBezTo>
                    <a:cubicBezTo>
                      <a:pt x="6873" y="14776"/>
                      <a:pt x="8631" y="18000"/>
                      <a:pt x="10800" y="18000"/>
                    </a:cubicBezTo>
                    <a:cubicBezTo>
                      <a:pt x="12969" y="18000"/>
                      <a:pt x="14727" y="14776"/>
                      <a:pt x="14727" y="10800"/>
                    </a:cubicBezTo>
                    <a:cubicBezTo>
                      <a:pt x="14727" y="6824"/>
                      <a:pt x="12969" y="3600"/>
                      <a:pt x="10800" y="3600"/>
                    </a:cubicBezTo>
                    <a:moveTo>
                      <a:pt x="5400" y="3600"/>
                    </a:moveTo>
                    <a:lnTo>
                      <a:pt x="4418" y="3600"/>
                    </a:lnTo>
                    <a:cubicBezTo>
                      <a:pt x="4147" y="3600"/>
                      <a:pt x="3927" y="4002"/>
                      <a:pt x="3927" y="4500"/>
                    </a:cubicBezTo>
                    <a:cubicBezTo>
                      <a:pt x="3927" y="4997"/>
                      <a:pt x="4147" y="5400"/>
                      <a:pt x="4418" y="5400"/>
                    </a:cubicBezTo>
                    <a:lnTo>
                      <a:pt x="5400" y="5400"/>
                    </a:lnTo>
                    <a:cubicBezTo>
                      <a:pt x="5671" y="5400"/>
                      <a:pt x="5891" y="4997"/>
                      <a:pt x="5891" y="4500"/>
                    </a:cubicBezTo>
                    <a:cubicBezTo>
                      <a:pt x="5891" y="4002"/>
                      <a:pt x="5671" y="3600"/>
                      <a:pt x="5400" y="3600"/>
                    </a:cubicBezTo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14284" tIns="14284" rIns="14284" bIns="14284" anchor="ctr"/>
              <a:lstStyle/>
              <a:p>
                <a:pPr defTabSz="171399"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125"/>
              </a:p>
            </p:txBody>
          </p:sp>
        </p:grpSp>
      </p:grpSp>
      <p:sp>
        <p:nvSpPr>
          <p:cNvPr id="35" name="TextBox 34"/>
          <p:cNvSpPr txBox="1"/>
          <p:nvPr/>
        </p:nvSpPr>
        <p:spPr>
          <a:xfrm>
            <a:off x="889692" y="1543050"/>
            <a:ext cx="179158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M 2018</a:t>
            </a:r>
          </a:p>
        </p:txBody>
      </p:sp>
      <p:grpSp>
        <p:nvGrpSpPr>
          <p:cNvPr id="150" name="Group 149"/>
          <p:cNvGrpSpPr/>
          <p:nvPr/>
        </p:nvGrpSpPr>
        <p:grpSpPr>
          <a:xfrm>
            <a:off x="889693" y="2820127"/>
            <a:ext cx="1791584" cy="148008"/>
            <a:chOff x="889693" y="2820127"/>
            <a:chExt cx="1791584" cy="148008"/>
          </a:xfrm>
        </p:grpSpPr>
        <p:grpSp>
          <p:nvGrpSpPr>
            <p:cNvPr id="12" name="Group 11"/>
            <p:cNvGrpSpPr/>
            <p:nvPr/>
          </p:nvGrpSpPr>
          <p:grpSpPr>
            <a:xfrm>
              <a:off x="889693" y="2904635"/>
              <a:ext cx="1791584" cy="63500"/>
              <a:chOff x="2590801" y="8068674"/>
              <a:chExt cx="4777558" cy="169333"/>
            </a:xfrm>
          </p:grpSpPr>
          <p:cxnSp>
            <p:nvCxnSpPr>
              <p:cNvPr id="13" name="Straight Connector 12"/>
              <p:cNvCxnSpPr/>
              <p:nvPr/>
            </p:nvCxnSpPr>
            <p:spPr>
              <a:xfrm>
                <a:off x="2590801" y="8068674"/>
                <a:ext cx="4777558" cy="0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/>
            </p:nvCxnSpPr>
            <p:spPr>
              <a:xfrm>
                <a:off x="2590801" y="8068674"/>
                <a:ext cx="0" cy="169333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/>
            </p:nvCxnSpPr>
            <p:spPr>
              <a:xfrm>
                <a:off x="7368359" y="8068674"/>
                <a:ext cx="0" cy="169333"/>
              </a:xfrm>
              <a:prstGeom prst="line">
                <a:avLst/>
              </a:prstGeom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6" name="Straight Connector 155"/>
            <p:cNvCxnSpPr/>
            <p:nvPr/>
          </p:nvCxnSpPr>
          <p:spPr>
            <a:xfrm>
              <a:off x="1785485" y="2820127"/>
              <a:ext cx="0" cy="84508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2" name="Group 151"/>
          <p:cNvGrpSpPr/>
          <p:nvPr/>
        </p:nvGrpSpPr>
        <p:grpSpPr>
          <a:xfrm>
            <a:off x="6462724" y="2820127"/>
            <a:ext cx="1791584" cy="148008"/>
            <a:chOff x="6462724" y="2820127"/>
            <a:chExt cx="1791584" cy="148008"/>
          </a:xfrm>
          <a:solidFill>
            <a:srgbClr val="EC1C24"/>
          </a:solidFill>
        </p:grpSpPr>
        <p:grpSp>
          <p:nvGrpSpPr>
            <p:cNvPr id="92" name="Group 91"/>
            <p:cNvGrpSpPr/>
            <p:nvPr/>
          </p:nvGrpSpPr>
          <p:grpSpPr>
            <a:xfrm>
              <a:off x="6462724" y="2904635"/>
              <a:ext cx="1791584" cy="63500"/>
              <a:chOff x="2590801" y="8068674"/>
              <a:chExt cx="4777558" cy="169333"/>
            </a:xfrm>
            <a:grpFill/>
          </p:grpSpPr>
          <p:cxnSp>
            <p:nvCxnSpPr>
              <p:cNvPr id="93" name="Straight Connector 92"/>
              <p:cNvCxnSpPr/>
              <p:nvPr/>
            </p:nvCxnSpPr>
            <p:spPr>
              <a:xfrm>
                <a:off x="2590801" y="8068674"/>
                <a:ext cx="4777558" cy="0"/>
              </a:xfrm>
              <a:prstGeom prst="line">
                <a:avLst/>
              </a:prstGeom>
              <a:grpFill/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/>
              <p:cNvCxnSpPr/>
              <p:nvPr/>
            </p:nvCxnSpPr>
            <p:spPr>
              <a:xfrm>
                <a:off x="2590801" y="8068674"/>
                <a:ext cx="0" cy="169333"/>
              </a:xfrm>
              <a:prstGeom prst="line">
                <a:avLst/>
              </a:prstGeom>
              <a:grpFill/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/>
              <p:nvPr/>
            </p:nvCxnSpPr>
            <p:spPr>
              <a:xfrm>
                <a:off x="7368359" y="8068674"/>
                <a:ext cx="0" cy="169333"/>
              </a:xfrm>
              <a:prstGeom prst="line">
                <a:avLst/>
              </a:prstGeom>
              <a:grpFill/>
              <a:ln w="9525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8" name="Straight Connector 157"/>
            <p:cNvCxnSpPr/>
            <p:nvPr/>
          </p:nvCxnSpPr>
          <p:spPr>
            <a:xfrm>
              <a:off x="7358516" y="2820127"/>
              <a:ext cx="0" cy="84508"/>
            </a:xfrm>
            <a:prstGeom prst="line">
              <a:avLst/>
            </a:prstGeom>
            <a:grpFill/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92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Crescimento</a:t>
            </a:r>
            <a:r>
              <a:rPr lang="en-US" dirty="0">
                <a:solidFill>
                  <a:srgbClr val="EC1C24"/>
                </a:solidFill>
              </a:rPr>
              <a:t> </a:t>
            </a:r>
            <a:r>
              <a:rPr lang="en-US" dirty="0"/>
              <a:t>de </a:t>
            </a:r>
            <a:r>
              <a:rPr lang="en-US" dirty="0" err="1"/>
              <a:t>mercad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1142722" y="2740031"/>
            <a:ext cx="1679911" cy="167991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1832455" y="4119401"/>
            <a:ext cx="333963" cy="1024099"/>
          </a:xfrm>
          <a:custGeom>
            <a:avLst/>
            <a:gdLst>
              <a:gd name="T0" fmla="*/ 827 w 827"/>
              <a:gd name="T1" fmla="*/ 490 h 2536"/>
              <a:gd name="T2" fmla="*/ 797 w 827"/>
              <a:gd name="T3" fmla="*/ 460 h 2536"/>
              <a:gd name="T4" fmla="*/ 491 w 827"/>
              <a:gd name="T5" fmla="*/ 670 h 2536"/>
              <a:gd name="T6" fmla="*/ 423 w 827"/>
              <a:gd name="T7" fmla="*/ 0 h 2536"/>
              <a:gd name="T8" fmla="*/ 322 w 827"/>
              <a:gd name="T9" fmla="*/ 0 h 2536"/>
              <a:gd name="T10" fmla="*/ 208 w 827"/>
              <a:gd name="T11" fmla="*/ 1140 h 2536"/>
              <a:gd name="T12" fmla="*/ 30 w 827"/>
              <a:gd name="T13" fmla="*/ 1018 h 2536"/>
              <a:gd name="T14" fmla="*/ 0 w 827"/>
              <a:gd name="T15" fmla="*/ 1048 h 2536"/>
              <a:gd name="T16" fmla="*/ 190 w 827"/>
              <a:gd name="T17" fmla="*/ 1326 h 2536"/>
              <a:gd name="T18" fmla="*/ 69 w 827"/>
              <a:gd name="T19" fmla="*/ 2536 h 2536"/>
              <a:gd name="T20" fmla="*/ 677 w 827"/>
              <a:gd name="T21" fmla="*/ 2536 h 2536"/>
              <a:gd name="T22" fmla="*/ 517 w 827"/>
              <a:gd name="T23" fmla="*/ 941 h 2536"/>
              <a:gd name="T24" fmla="*/ 827 w 827"/>
              <a:gd name="T25" fmla="*/ 490 h 2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27" h="2536">
                <a:moveTo>
                  <a:pt x="827" y="490"/>
                </a:moveTo>
                <a:lnTo>
                  <a:pt x="797" y="460"/>
                </a:lnTo>
                <a:lnTo>
                  <a:pt x="491" y="670"/>
                </a:lnTo>
                <a:lnTo>
                  <a:pt x="423" y="0"/>
                </a:lnTo>
                <a:lnTo>
                  <a:pt x="322" y="0"/>
                </a:lnTo>
                <a:lnTo>
                  <a:pt x="208" y="1140"/>
                </a:lnTo>
                <a:lnTo>
                  <a:pt x="30" y="1018"/>
                </a:lnTo>
                <a:lnTo>
                  <a:pt x="0" y="1048"/>
                </a:lnTo>
                <a:lnTo>
                  <a:pt x="190" y="1326"/>
                </a:lnTo>
                <a:lnTo>
                  <a:pt x="69" y="2536"/>
                </a:lnTo>
                <a:lnTo>
                  <a:pt x="677" y="2536"/>
                </a:lnTo>
                <a:lnTo>
                  <a:pt x="517" y="941"/>
                </a:lnTo>
                <a:lnTo>
                  <a:pt x="827" y="49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Oval 5"/>
          <p:cNvSpPr/>
          <p:nvPr/>
        </p:nvSpPr>
        <p:spPr>
          <a:xfrm>
            <a:off x="5225278" y="1472234"/>
            <a:ext cx="2597922" cy="259792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6291925" y="3559766"/>
            <a:ext cx="516462" cy="1583733"/>
          </a:xfrm>
          <a:custGeom>
            <a:avLst/>
            <a:gdLst>
              <a:gd name="T0" fmla="*/ 827 w 827"/>
              <a:gd name="T1" fmla="*/ 490 h 2536"/>
              <a:gd name="T2" fmla="*/ 797 w 827"/>
              <a:gd name="T3" fmla="*/ 460 h 2536"/>
              <a:gd name="T4" fmla="*/ 491 w 827"/>
              <a:gd name="T5" fmla="*/ 670 h 2536"/>
              <a:gd name="T6" fmla="*/ 423 w 827"/>
              <a:gd name="T7" fmla="*/ 0 h 2536"/>
              <a:gd name="T8" fmla="*/ 322 w 827"/>
              <a:gd name="T9" fmla="*/ 0 h 2536"/>
              <a:gd name="T10" fmla="*/ 208 w 827"/>
              <a:gd name="T11" fmla="*/ 1140 h 2536"/>
              <a:gd name="T12" fmla="*/ 30 w 827"/>
              <a:gd name="T13" fmla="*/ 1018 h 2536"/>
              <a:gd name="T14" fmla="*/ 0 w 827"/>
              <a:gd name="T15" fmla="*/ 1048 h 2536"/>
              <a:gd name="T16" fmla="*/ 190 w 827"/>
              <a:gd name="T17" fmla="*/ 1326 h 2536"/>
              <a:gd name="T18" fmla="*/ 69 w 827"/>
              <a:gd name="T19" fmla="*/ 2536 h 2536"/>
              <a:gd name="T20" fmla="*/ 677 w 827"/>
              <a:gd name="T21" fmla="*/ 2536 h 2536"/>
              <a:gd name="T22" fmla="*/ 517 w 827"/>
              <a:gd name="T23" fmla="*/ 941 h 2536"/>
              <a:gd name="T24" fmla="*/ 827 w 827"/>
              <a:gd name="T25" fmla="*/ 490 h 2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27" h="2536">
                <a:moveTo>
                  <a:pt x="827" y="490"/>
                </a:moveTo>
                <a:lnTo>
                  <a:pt x="797" y="460"/>
                </a:lnTo>
                <a:lnTo>
                  <a:pt x="491" y="670"/>
                </a:lnTo>
                <a:lnTo>
                  <a:pt x="423" y="0"/>
                </a:lnTo>
                <a:lnTo>
                  <a:pt x="322" y="0"/>
                </a:lnTo>
                <a:lnTo>
                  <a:pt x="208" y="1140"/>
                </a:lnTo>
                <a:lnTo>
                  <a:pt x="30" y="1018"/>
                </a:lnTo>
                <a:lnTo>
                  <a:pt x="0" y="1048"/>
                </a:lnTo>
                <a:lnTo>
                  <a:pt x="190" y="1326"/>
                </a:lnTo>
                <a:lnTo>
                  <a:pt x="69" y="2536"/>
                </a:lnTo>
                <a:lnTo>
                  <a:pt x="677" y="2536"/>
                </a:lnTo>
                <a:lnTo>
                  <a:pt x="517" y="941"/>
                </a:lnTo>
                <a:lnTo>
                  <a:pt x="827" y="49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Oval 10"/>
          <p:cNvSpPr/>
          <p:nvPr/>
        </p:nvSpPr>
        <p:spPr>
          <a:xfrm>
            <a:off x="2923732" y="2069624"/>
            <a:ext cx="2164735" cy="2164735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2" name="Freeform 6"/>
          <p:cNvSpPr>
            <a:spLocks/>
          </p:cNvSpPr>
          <p:nvPr/>
        </p:nvSpPr>
        <p:spPr bwMode="auto">
          <a:xfrm>
            <a:off x="3812522" y="3823844"/>
            <a:ext cx="430345" cy="1319656"/>
          </a:xfrm>
          <a:custGeom>
            <a:avLst/>
            <a:gdLst>
              <a:gd name="T0" fmla="*/ 827 w 827"/>
              <a:gd name="T1" fmla="*/ 490 h 2536"/>
              <a:gd name="T2" fmla="*/ 797 w 827"/>
              <a:gd name="T3" fmla="*/ 460 h 2536"/>
              <a:gd name="T4" fmla="*/ 491 w 827"/>
              <a:gd name="T5" fmla="*/ 670 h 2536"/>
              <a:gd name="T6" fmla="*/ 423 w 827"/>
              <a:gd name="T7" fmla="*/ 0 h 2536"/>
              <a:gd name="T8" fmla="*/ 322 w 827"/>
              <a:gd name="T9" fmla="*/ 0 h 2536"/>
              <a:gd name="T10" fmla="*/ 208 w 827"/>
              <a:gd name="T11" fmla="*/ 1140 h 2536"/>
              <a:gd name="T12" fmla="*/ 30 w 827"/>
              <a:gd name="T13" fmla="*/ 1018 h 2536"/>
              <a:gd name="T14" fmla="*/ 0 w 827"/>
              <a:gd name="T15" fmla="*/ 1048 h 2536"/>
              <a:gd name="T16" fmla="*/ 190 w 827"/>
              <a:gd name="T17" fmla="*/ 1326 h 2536"/>
              <a:gd name="T18" fmla="*/ 69 w 827"/>
              <a:gd name="T19" fmla="*/ 2536 h 2536"/>
              <a:gd name="T20" fmla="*/ 677 w 827"/>
              <a:gd name="T21" fmla="*/ 2536 h 2536"/>
              <a:gd name="T22" fmla="*/ 517 w 827"/>
              <a:gd name="T23" fmla="*/ 941 h 2536"/>
              <a:gd name="T24" fmla="*/ 827 w 827"/>
              <a:gd name="T25" fmla="*/ 490 h 2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27" h="2536">
                <a:moveTo>
                  <a:pt x="827" y="490"/>
                </a:moveTo>
                <a:lnTo>
                  <a:pt x="797" y="460"/>
                </a:lnTo>
                <a:lnTo>
                  <a:pt x="491" y="670"/>
                </a:lnTo>
                <a:lnTo>
                  <a:pt x="423" y="0"/>
                </a:lnTo>
                <a:lnTo>
                  <a:pt x="322" y="0"/>
                </a:lnTo>
                <a:lnTo>
                  <a:pt x="208" y="1140"/>
                </a:lnTo>
                <a:lnTo>
                  <a:pt x="30" y="1018"/>
                </a:lnTo>
                <a:lnTo>
                  <a:pt x="0" y="1048"/>
                </a:lnTo>
                <a:lnTo>
                  <a:pt x="190" y="1326"/>
                </a:lnTo>
                <a:lnTo>
                  <a:pt x="69" y="2536"/>
                </a:lnTo>
                <a:lnTo>
                  <a:pt x="677" y="2536"/>
                </a:lnTo>
                <a:lnTo>
                  <a:pt x="517" y="941"/>
                </a:lnTo>
                <a:lnTo>
                  <a:pt x="827" y="490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TextBox 21"/>
          <p:cNvSpPr txBox="1"/>
          <p:nvPr/>
        </p:nvSpPr>
        <p:spPr>
          <a:xfrm>
            <a:off x="1380904" y="3132690"/>
            <a:ext cx="12035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23M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380904" y="3452209"/>
            <a:ext cx="1203546" cy="620441"/>
            <a:chOff x="1380904" y="3452209"/>
            <a:chExt cx="1203546" cy="620441"/>
          </a:xfrm>
        </p:grpSpPr>
        <p:sp>
          <p:nvSpPr>
            <p:cNvPr id="23" name="TextBox 22"/>
            <p:cNvSpPr txBox="1"/>
            <p:nvPr/>
          </p:nvSpPr>
          <p:spPr>
            <a:xfrm>
              <a:off x="1380904" y="3638300"/>
              <a:ext cx="1203546" cy="4343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semper libero.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</a:t>
              </a:r>
            </a:p>
          </p:txBody>
        </p:sp>
        <p:sp>
          <p:nvSpPr>
            <p:cNvPr id="24" name="Title 2"/>
            <p:cNvSpPr txBox="1">
              <a:spLocks/>
            </p:cNvSpPr>
            <p:nvPr/>
          </p:nvSpPr>
          <p:spPr>
            <a:xfrm>
              <a:off x="1380904" y="3452209"/>
              <a:ext cx="1203546" cy="1384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900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São Paulo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3211554" y="2518595"/>
            <a:ext cx="15890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23M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3211554" y="3000704"/>
            <a:ext cx="1589090" cy="525395"/>
            <a:chOff x="3211554" y="3000704"/>
            <a:chExt cx="1589090" cy="525395"/>
          </a:xfrm>
        </p:grpSpPr>
        <p:sp>
          <p:nvSpPr>
            <p:cNvPr id="26" name="TextBox 25"/>
            <p:cNvSpPr txBox="1"/>
            <p:nvPr/>
          </p:nvSpPr>
          <p:spPr>
            <a:xfrm>
              <a:off x="3211554" y="3222746"/>
              <a:ext cx="15890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semper libero.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</a:t>
              </a:r>
            </a:p>
          </p:txBody>
        </p:sp>
        <p:sp>
          <p:nvSpPr>
            <p:cNvPr id="27" name="Title 2"/>
            <p:cNvSpPr txBox="1">
              <a:spLocks/>
            </p:cNvSpPr>
            <p:nvPr/>
          </p:nvSpPr>
          <p:spPr>
            <a:xfrm>
              <a:off x="3211554" y="3000704"/>
              <a:ext cx="158909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São Paulo</a:t>
              </a:r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5644378" y="2038046"/>
            <a:ext cx="175972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44M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5644378" y="2641613"/>
            <a:ext cx="1759722" cy="525395"/>
            <a:chOff x="5644378" y="2641613"/>
            <a:chExt cx="1759722" cy="525395"/>
          </a:xfrm>
        </p:grpSpPr>
        <p:sp>
          <p:nvSpPr>
            <p:cNvPr id="29" name="TextBox 28"/>
            <p:cNvSpPr txBox="1"/>
            <p:nvPr/>
          </p:nvSpPr>
          <p:spPr>
            <a:xfrm>
              <a:off x="5644378" y="2863655"/>
              <a:ext cx="1759722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semper libero.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</a:t>
              </a:r>
            </a:p>
          </p:txBody>
        </p:sp>
        <p:sp>
          <p:nvSpPr>
            <p:cNvPr id="30" name="Title 2"/>
            <p:cNvSpPr txBox="1">
              <a:spLocks/>
            </p:cNvSpPr>
            <p:nvPr/>
          </p:nvSpPr>
          <p:spPr>
            <a:xfrm>
              <a:off x="5644378" y="2641613"/>
              <a:ext cx="1759722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São Paulo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7957" y="1505408"/>
            <a:ext cx="2325775" cy="571141"/>
            <a:chOff x="597957" y="1505408"/>
            <a:chExt cx="2325775" cy="571141"/>
          </a:xfrm>
        </p:grpSpPr>
        <p:sp>
          <p:nvSpPr>
            <p:cNvPr id="31" name="TextBox 30"/>
            <p:cNvSpPr txBox="1"/>
            <p:nvPr/>
          </p:nvSpPr>
          <p:spPr>
            <a:xfrm>
              <a:off x="597957" y="1505408"/>
              <a:ext cx="232577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Crescimento</a:t>
              </a:r>
              <a:r>
                <a:rPr lang="en-US" sz="1400" cap="all" spc="20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de </a:t>
              </a:r>
              <a:r>
                <a:rPr lang="en-US" sz="1400" cap="all" spc="20" dirty="0" err="1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vendas</a:t>
              </a:r>
              <a:endParaRPr lang="en-US" sz="1400" cap="all" spc="20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97958" y="1772042"/>
              <a:ext cx="2128308" cy="3045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 lobortis mattis leo, et condimentum dui vestibulum vel eget accumsan eros.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389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FIGURAS</a:t>
            </a:r>
            <a:r>
              <a:rPr lang="en-US" dirty="0">
                <a:solidFill>
                  <a:srgbClr val="EC1C24"/>
                </a:solidFill>
              </a:rPr>
              <a:t> </a:t>
            </a:r>
            <a:r>
              <a:rPr lang="en-US" dirty="0"/>
              <a:t>CHAVE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</p:spPr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6115259" y="1408140"/>
            <a:ext cx="2431841" cy="551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468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115259" y="1942967"/>
            <a:ext cx="2431841" cy="152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crev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qu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b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 dado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im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15259" y="2501623"/>
            <a:ext cx="2431841" cy="551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506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115259" y="3036451"/>
            <a:ext cx="2431841" cy="152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crev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qu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b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 dado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im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115259" y="3595108"/>
            <a:ext cx="2431841" cy="5515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2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618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15259" y="4129935"/>
            <a:ext cx="2431841" cy="152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crev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g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qui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b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o dado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im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6115259" y="2308492"/>
            <a:ext cx="199543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115259" y="3421613"/>
            <a:ext cx="199543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Chart 24"/>
          <p:cNvGraphicFramePr/>
          <p:nvPr>
            <p:extLst>
              <p:ext uri="{D42A27DB-BD31-4B8C-83A1-F6EECF244321}">
                <p14:modId xmlns:p14="http://schemas.microsoft.com/office/powerpoint/2010/main" val="3877166211"/>
              </p:ext>
            </p:extLst>
          </p:nvPr>
        </p:nvGraphicFramePr>
        <p:xfrm>
          <a:off x="467366" y="1525777"/>
          <a:ext cx="2766332" cy="2798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3841638" y="1630750"/>
            <a:ext cx="9045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.85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41638" y="1970583"/>
            <a:ext cx="9045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filiados</a:t>
            </a:r>
            <a:endParaRPr lang="en-US" sz="900" b="1" cap="all" spc="20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1606550" y="1799150"/>
            <a:ext cx="2121084" cy="14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841638" y="2390688"/>
            <a:ext cx="9045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.62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841638" y="2684989"/>
            <a:ext cx="90459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critos</a:t>
            </a:r>
            <a:endParaRPr lang="en-US" sz="900" b="1" cap="all" spc="20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flipV="1">
            <a:off x="812800" y="2547660"/>
            <a:ext cx="2914834" cy="1486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3841638" y="3343269"/>
            <a:ext cx="9045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0.2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841638" y="3637570"/>
            <a:ext cx="126376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das</a:t>
            </a: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retas</a:t>
            </a:r>
            <a:endParaRPr lang="en-US" sz="900" b="1" cap="all" spc="20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897147" y="3481768"/>
            <a:ext cx="2830488" cy="1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1512988" y="1752377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/>
          <p:cNvSpPr/>
          <p:nvPr/>
        </p:nvSpPr>
        <p:spPr>
          <a:xfrm>
            <a:off x="719238" y="2501623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803585" y="3434988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1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99596" y="1619473"/>
            <a:ext cx="4773613" cy="196977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3200" cap="all" spc="50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“TRABALHAMOS DURO PARA FACILITAR O FUTURO DOS NOSSOS CLIENTES.”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6259433" y="1940551"/>
            <a:ext cx="0" cy="132761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642875" y="2262435"/>
            <a:ext cx="1501529" cy="6647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Lorem ipsum dolor sit </a:t>
            </a:r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amet</a:t>
            </a: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, </a:t>
            </a:r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onsectetur</a:t>
            </a: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adipiscing</a:t>
            </a: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elit</a:t>
            </a: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2962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ontes de </a:t>
            </a:r>
            <a:r>
              <a:rPr lang="en-US" dirty="0" err="1">
                <a:solidFill>
                  <a:srgbClr val="EC0000"/>
                </a:solidFill>
              </a:rPr>
              <a:t>Receita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770248349"/>
              </p:ext>
            </p:extLst>
          </p:nvPr>
        </p:nvGraphicFramePr>
        <p:xfrm>
          <a:off x="3155592" y="1509186"/>
          <a:ext cx="2832817" cy="2912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6" name="Group 45"/>
          <p:cNvGrpSpPr/>
          <p:nvPr/>
        </p:nvGrpSpPr>
        <p:grpSpPr>
          <a:xfrm>
            <a:off x="3827477" y="2578433"/>
            <a:ext cx="1489047" cy="909556"/>
            <a:chOff x="3780368" y="2661813"/>
            <a:chExt cx="1583266" cy="967107"/>
          </a:xfrm>
        </p:grpSpPr>
        <p:sp>
          <p:nvSpPr>
            <p:cNvPr id="32" name="TextBox 31"/>
            <p:cNvSpPr txBox="1"/>
            <p:nvPr/>
          </p:nvSpPr>
          <p:spPr>
            <a:xfrm>
              <a:off x="3780368" y="2966033"/>
              <a:ext cx="1583266" cy="662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di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ui vestibulum vel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or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ccums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33" name="Title 2"/>
            <p:cNvSpPr txBox="1">
              <a:spLocks/>
            </p:cNvSpPr>
            <p:nvPr/>
          </p:nvSpPr>
          <p:spPr>
            <a:xfrm>
              <a:off x="3780368" y="2661813"/>
              <a:ext cx="1583266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4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$44 Million</a:t>
              </a: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6823074" y="3584298"/>
            <a:ext cx="1714502" cy="303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fr-F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 lobortis mattis leo, et condimentum dui vestibulum vel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6823074" y="3379189"/>
            <a:ext cx="1714502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Marketin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823073" y="3049957"/>
            <a:ext cx="17145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cap="all" spc="2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2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823074" y="2073158"/>
            <a:ext cx="1714502" cy="303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fr-F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 lobortis mattis leo, et condimentum dui vestibulum vel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8" name="Title 2"/>
          <p:cNvSpPr txBox="1">
            <a:spLocks/>
          </p:cNvSpPr>
          <p:nvPr/>
        </p:nvSpPr>
        <p:spPr>
          <a:xfrm>
            <a:off x="6823074" y="1872282"/>
            <a:ext cx="1714502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INSCRIÇÕES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823073" y="1543050"/>
            <a:ext cx="171450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cap="all" spc="2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8%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93725" y="3584298"/>
            <a:ext cx="1727328" cy="303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fr-F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 lobortis mattis leo, et condimentum dui vestibulum vel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1" name="Title 2"/>
          <p:cNvSpPr txBox="1">
            <a:spLocks/>
          </p:cNvSpPr>
          <p:nvPr/>
        </p:nvSpPr>
        <p:spPr>
          <a:xfrm>
            <a:off x="593725" y="3379189"/>
            <a:ext cx="1727328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VENDAS DIRETAS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593725" y="3049957"/>
            <a:ext cx="17273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800" cap="all" spc="2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9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3725" y="2073158"/>
            <a:ext cx="1727328" cy="303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fr-F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 lobortis mattis leo, et condimentum dui vestibulum vel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4" name="Title 2"/>
          <p:cNvSpPr txBox="1">
            <a:spLocks/>
          </p:cNvSpPr>
          <p:nvPr/>
        </p:nvSpPr>
        <p:spPr>
          <a:xfrm>
            <a:off x="593725" y="1872282"/>
            <a:ext cx="1727328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CONSULTORIA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93725" y="1543050"/>
            <a:ext cx="17273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800" cap="all" spc="2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1%</a:t>
            </a:r>
          </a:p>
        </p:txBody>
      </p:sp>
      <p:sp>
        <p:nvSpPr>
          <p:cNvPr id="30" name="Oval 29"/>
          <p:cNvSpPr/>
          <p:nvPr/>
        </p:nvSpPr>
        <p:spPr>
          <a:xfrm>
            <a:off x="5677138" y="3161395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/>
          <p:cNvSpPr/>
          <p:nvPr/>
        </p:nvSpPr>
        <p:spPr>
          <a:xfrm>
            <a:off x="3365364" y="3161395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/>
          <p:cNvGrpSpPr/>
          <p:nvPr/>
        </p:nvGrpSpPr>
        <p:grpSpPr>
          <a:xfrm>
            <a:off x="2704849" y="1697559"/>
            <a:ext cx="1231734" cy="230750"/>
            <a:chOff x="2704849" y="1697559"/>
            <a:chExt cx="1231734" cy="230750"/>
          </a:xfrm>
        </p:grpSpPr>
        <p:cxnSp>
          <p:nvCxnSpPr>
            <p:cNvPr id="6" name="Straight Connector 5"/>
            <p:cNvCxnSpPr>
              <a:stCxn id="28" idx="0"/>
            </p:cNvCxnSpPr>
            <p:nvPr/>
          </p:nvCxnSpPr>
          <p:spPr>
            <a:xfrm flipV="1">
              <a:off x="3932600" y="1697559"/>
              <a:ext cx="0" cy="23075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2704849" y="1697559"/>
              <a:ext cx="1231734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Oval 27"/>
          <p:cNvSpPr/>
          <p:nvPr/>
        </p:nvSpPr>
        <p:spPr>
          <a:xfrm>
            <a:off x="3885819" y="1928309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5363305" y="1699097"/>
            <a:ext cx="1075846" cy="345339"/>
            <a:chOff x="5363305" y="1699097"/>
            <a:chExt cx="1075846" cy="345339"/>
          </a:xfrm>
        </p:grpSpPr>
        <p:cxnSp>
          <p:nvCxnSpPr>
            <p:cNvPr id="8" name="Straight Connector 7"/>
            <p:cNvCxnSpPr/>
            <p:nvPr/>
          </p:nvCxnSpPr>
          <p:spPr>
            <a:xfrm flipV="1">
              <a:off x="5363305" y="1699097"/>
              <a:ext cx="0" cy="345339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>
              <a:off x="5363305" y="1699097"/>
              <a:ext cx="1075846" cy="0"/>
            </a:xfrm>
            <a:prstGeom prst="line">
              <a:avLst/>
            </a:prstGeom>
            <a:ln w="952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Oval 28"/>
          <p:cNvSpPr/>
          <p:nvPr/>
        </p:nvSpPr>
        <p:spPr>
          <a:xfrm>
            <a:off x="5316524" y="2044436"/>
            <a:ext cx="93562" cy="9356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Connector 3"/>
          <p:cNvCxnSpPr>
            <a:stCxn id="30" idx="6"/>
          </p:cNvCxnSpPr>
          <p:nvPr/>
        </p:nvCxnSpPr>
        <p:spPr>
          <a:xfrm>
            <a:off x="5770700" y="3208175"/>
            <a:ext cx="672433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>
            <a:endCxn id="31" idx="2"/>
          </p:cNvCxnSpPr>
          <p:nvPr/>
        </p:nvCxnSpPr>
        <p:spPr>
          <a:xfrm>
            <a:off x="2700867" y="3208175"/>
            <a:ext cx="664497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909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Vendas</a:t>
            </a:r>
            <a:r>
              <a:rPr lang="en-US" dirty="0"/>
              <a:t> por </a:t>
            </a:r>
            <a:r>
              <a:rPr lang="en-US" dirty="0">
                <a:solidFill>
                  <a:srgbClr val="EC0000"/>
                </a:solidFill>
              </a:rPr>
              <a:t>devi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465976437"/>
              </p:ext>
            </p:extLst>
          </p:nvPr>
        </p:nvGraphicFramePr>
        <p:xfrm>
          <a:off x="552436" y="1199134"/>
          <a:ext cx="3775429" cy="3439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1554063" y="2597395"/>
            <a:ext cx="1772174" cy="6432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2800" b="1" dirty="0">
                <a:solidFill>
                  <a:srgbClr val="EC1C2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$2.3M </a:t>
            </a:r>
          </a:p>
          <a:p>
            <a:pPr algn="ctr">
              <a:lnSpc>
                <a:spcPct val="110000"/>
              </a:lnSpc>
            </a:pPr>
            <a:r>
              <a:rPr lang="en-US" sz="1000" b="1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Verba</a:t>
            </a:r>
            <a:r>
              <a: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000" b="1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Anual</a:t>
            </a:r>
            <a:endParaRPr lang="en-US" sz="1000" b="1" dirty="0">
              <a:solidFill>
                <a:schemeClr val="accent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956241" y="1512585"/>
            <a:ext cx="1964301" cy="482447"/>
            <a:chOff x="5956241" y="1512585"/>
            <a:chExt cx="1964301" cy="482447"/>
          </a:xfrm>
        </p:grpSpPr>
        <p:sp>
          <p:nvSpPr>
            <p:cNvPr id="30" name="TextBox 29"/>
            <p:cNvSpPr txBox="1"/>
            <p:nvPr/>
          </p:nvSpPr>
          <p:spPr>
            <a:xfrm>
              <a:off x="5956270" y="1512585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LCANCE GLOBA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956241" y="1710723"/>
              <a:ext cx="19643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bor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t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diment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ui vestibulum vel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i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ortor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956241" y="2301561"/>
            <a:ext cx="1964301" cy="481229"/>
            <a:chOff x="5956241" y="2301561"/>
            <a:chExt cx="1964301" cy="481229"/>
          </a:xfrm>
        </p:grpSpPr>
        <p:sp>
          <p:nvSpPr>
            <p:cNvPr id="32" name="TextBox 31"/>
            <p:cNvSpPr txBox="1"/>
            <p:nvPr/>
          </p:nvSpPr>
          <p:spPr>
            <a:xfrm>
              <a:off x="5956270" y="2301561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956241" y="2499699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bor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t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diment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ui vestibulum vel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i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ortor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56241" y="3070334"/>
            <a:ext cx="1964301" cy="481229"/>
            <a:chOff x="5956241" y="3070334"/>
            <a:chExt cx="1964301" cy="481229"/>
          </a:xfrm>
        </p:grpSpPr>
        <p:sp>
          <p:nvSpPr>
            <p:cNvPr id="34" name="TextBox 33"/>
            <p:cNvSpPr txBox="1"/>
            <p:nvPr/>
          </p:nvSpPr>
          <p:spPr>
            <a:xfrm>
              <a:off x="5956270" y="307033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LANO DE NEGÓCI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956241" y="326847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bor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t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diment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ui vestibulum vel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i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ortor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56241" y="3828994"/>
            <a:ext cx="1964301" cy="481229"/>
            <a:chOff x="5956241" y="3828994"/>
            <a:chExt cx="1964301" cy="481229"/>
          </a:xfrm>
        </p:grpSpPr>
        <p:sp>
          <p:nvSpPr>
            <p:cNvPr id="36" name="TextBox 35"/>
            <p:cNvSpPr txBox="1"/>
            <p:nvPr/>
          </p:nvSpPr>
          <p:spPr>
            <a:xfrm>
              <a:off x="5956270" y="382899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OPERAÇÕ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956241" y="402713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nec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bor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tt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diment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ui vestibulum vel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i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ortor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262972" y="3837459"/>
            <a:ext cx="413865" cy="413865"/>
            <a:chOff x="5262972" y="3837459"/>
            <a:chExt cx="413865" cy="413865"/>
          </a:xfrm>
        </p:grpSpPr>
        <p:sp>
          <p:nvSpPr>
            <p:cNvPr id="26" name="Oval 25"/>
            <p:cNvSpPr/>
            <p:nvPr/>
          </p:nvSpPr>
          <p:spPr>
            <a:xfrm>
              <a:off x="5262972" y="3837459"/>
              <a:ext cx="413865" cy="413865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21"/>
            <p:cNvSpPr>
              <a:spLocks noEditPoints="1"/>
            </p:cNvSpPr>
            <p:nvPr/>
          </p:nvSpPr>
          <p:spPr bwMode="auto">
            <a:xfrm>
              <a:off x="5409325" y="3933398"/>
              <a:ext cx="121158" cy="22198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262972" y="3073743"/>
            <a:ext cx="413865" cy="413865"/>
            <a:chOff x="5262972" y="3073743"/>
            <a:chExt cx="413865" cy="413865"/>
          </a:xfrm>
        </p:grpSpPr>
        <p:sp>
          <p:nvSpPr>
            <p:cNvPr id="28" name="Oval 27"/>
            <p:cNvSpPr/>
            <p:nvPr/>
          </p:nvSpPr>
          <p:spPr>
            <a:xfrm>
              <a:off x="5262972" y="3073743"/>
              <a:ext cx="413865" cy="413865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22"/>
            <p:cNvSpPr>
              <a:spLocks noEditPoints="1"/>
            </p:cNvSpPr>
            <p:nvPr/>
          </p:nvSpPr>
          <p:spPr bwMode="auto">
            <a:xfrm>
              <a:off x="5389405" y="3169683"/>
              <a:ext cx="161000" cy="221984"/>
            </a:xfrm>
            <a:custGeom>
              <a:avLst/>
              <a:gdLst>
                <a:gd name="T0" fmla="*/ 129 w 257"/>
                <a:gd name="T1" fmla="*/ 313 h 353"/>
                <a:gd name="T2" fmla="*/ 121 w 257"/>
                <a:gd name="T3" fmla="*/ 321 h 353"/>
                <a:gd name="T4" fmla="*/ 129 w 257"/>
                <a:gd name="T5" fmla="*/ 329 h 353"/>
                <a:gd name="T6" fmla="*/ 137 w 257"/>
                <a:gd name="T7" fmla="*/ 321 h 353"/>
                <a:gd name="T8" fmla="*/ 129 w 257"/>
                <a:gd name="T9" fmla="*/ 313 h 353"/>
                <a:gd name="T10" fmla="*/ 121 w 257"/>
                <a:gd name="T11" fmla="*/ 40 h 353"/>
                <a:gd name="T12" fmla="*/ 137 w 257"/>
                <a:gd name="T13" fmla="*/ 40 h 353"/>
                <a:gd name="T14" fmla="*/ 145 w 257"/>
                <a:gd name="T15" fmla="*/ 32 h 353"/>
                <a:gd name="T16" fmla="*/ 137 w 257"/>
                <a:gd name="T17" fmla="*/ 24 h 353"/>
                <a:gd name="T18" fmla="*/ 121 w 257"/>
                <a:gd name="T19" fmla="*/ 24 h 353"/>
                <a:gd name="T20" fmla="*/ 113 w 257"/>
                <a:gd name="T21" fmla="*/ 32 h 353"/>
                <a:gd name="T22" fmla="*/ 121 w 257"/>
                <a:gd name="T23" fmla="*/ 40 h 353"/>
                <a:gd name="T24" fmla="*/ 32 w 257"/>
                <a:gd name="T25" fmla="*/ 305 h 353"/>
                <a:gd name="T26" fmla="*/ 225 w 257"/>
                <a:gd name="T27" fmla="*/ 305 h 353"/>
                <a:gd name="T28" fmla="*/ 225 w 257"/>
                <a:gd name="T29" fmla="*/ 48 h 353"/>
                <a:gd name="T30" fmla="*/ 32 w 257"/>
                <a:gd name="T31" fmla="*/ 48 h 353"/>
                <a:gd name="T32" fmla="*/ 32 w 257"/>
                <a:gd name="T33" fmla="*/ 305 h 353"/>
                <a:gd name="T34" fmla="*/ 49 w 257"/>
                <a:gd name="T35" fmla="*/ 64 h 353"/>
                <a:gd name="T36" fmla="*/ 209 w 257"/>
                <a:gd name="T37" fmla="*/ 64 h 353"/>
                <a:gd name="T38" fmla="*/ 209 w 257"/>
                <a:gd name="T39" fmla="*/ 289 h 353"/>
                <a:gd name="T40" fmla="*/ 49 w 257"/>
                <a:gd name="T41" fmla="*/ 289 h 353"/>
                <a:gd name="T42" fmla="*/ 49 w 257"/>
                <a:gd name="T43" fmla="*/ 64 h 353"/>
                <a:gd name="T44" fmla="*/ 225 w 257"/>
                <a:gd name="T45" fmla="*/ 0 h 353"/>
                <a:gd name="T46" fmla="*/ 32 w 257"/>
                <a:gd name="T47" fmla="*/ 0 h 353"/>
                <a:gd name="T48" fmla="*/ 0 w 257"/>
                <a:gd name="T49" fmla="*/ 32 h 353"/>
                <a:gd name="T50" fmla="*/ 0 w 257"/>
                <a:gd name="T51" fmla="*/ 321 h 353"/>
                <a:gd name="T52" fmla="*/ 32 w 257"/>
                <a:gd name="T53" fmla="*/ 353 h 353"/>
                <a:gd name="T54" fmla="*/ 225 w 257"/>
                <a:gd name="T55" fmla="*/ 353 h 353"/>
                <a:gd name="T56" fmla="*/ 257 w 257"/>
                <a:gd name="T57" fmla="*/ 321 h 353"/>
                <a:gd name="T58" fmla="*/ 257 w 257"/>
                <a:gd name="T59" fmla="*/ 32 h 353"/>
                <a:gd name="T60" fmla="*/ 225 w 257"/>
                <a:gd name="T61" fmla="*/ 0 h 353"/>
                <a:gd name="T62" fmla="*/ 241 w 257"/>
                <a:gd name="T63" fmla="*/ 321 h 353"/>
                <a:gd name="T64" fmla="*/ 225 w 257"/>
                <a:gd name="T65" fmla="*/ 337 h 353"/>
                <a:gd name="T66" fmla="*/ 32 w 257"/>
                <a:gd name="T67" fmla="*/ 337 h 353"/>
                <a:gd name="T68" fmla="*/ 16 w 257"/>
                <a:gd name="T69" fmla="*/ 321 h 353"/>
                <a:gd name="T70" fmla="*/ 16 w 257"/>
                <a:gd name="T71" fmla="*/ 32 h 353"/>
                <a:gd name="T72" fmla="*/ 32 w 257"/>
                <a:gd name="T73" fmla="*/ 16 h 353"/>
                <a:gd name="T74" fmla="*/ 225 w 257"/>
                <a:gd name="T75" fmla="*/ 16 h 353"/>
                <a:gd name="T76" fmla="*/ 241 w 257"/>
                <a:gd name="T77" fmla="*/ 32 h 353"/>
                <a:gd name="T78" fmla="*/ 241 w 257"/>
                <a:gd name="T79" fmla="*/ 32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57" h="353">
                  <a:moveTo>
                    <a:pt x="129" y="313"/>
                  </a:moveTo>
                  <a:cubicBezTo>
                    <a:pt x="124" y="313"/>
                    <a:pt x="121" y="317"/>
                    <a:pt x="121" y="321"/>
                  </a:cubicBezTo>
                  <a:cubicBezTo>
                    <a:pt x="121" y="326"/>
                    <a:pt x="124" y="329"/>
                    <a:pt x="129" y="329"/>
                  </a:cubicBezTo>
                  <a:cubicBezTo>
                    <a:pt x="133" y="329"/>
                    <a:pt x="137" y="326"/>
                    <a:pt x="137" y="321"/>
                  </a:cubicBezTo>
                  <a:cubicBezTo>
                    <a:pt x="137" y="317"/>
                    <a:pt x="133" y="313"/>
                    <a:pt x="129" y="313"/>
                  </a:cubicBezTo>
                  <a:moveTo>
                    <a:pt x="121" y="40"/>
                  </a:moveTo>
                  <a:cubicBezTo>
                    <a:pt x="137" y="40"/>
                    <a:pt x="137" y="40"/>
                    <a:pt x="137" y="40"/>
                  </a:cubicBezTo>
                  <a:cubicBezTo>
                    <a:pt x="141" y="40"/>
                    <a:pt x="145" y="37"/>
                    <a:pt x="145" y="32"/>
                  </a:cubicBezTo>
                  <a:cubicBezTo>
                    <a:pt x="145" y="28"/>
                    <a:pt x="141" y="24"/>
                    <a:pt x="137" y="24"/>
                  </a:cubicBezTo>
                  <a:cubicBezTo>
                    <a:pt x="121" y="24"/>
                    <a:pt x="121" y="24"/>
                    <a:pt x="121" y="24"/>
                  </a:cubicBezTo>
                  <a:cubicBezTo>
                    <a:pt x="116" y="24"/>
                    <a:pt x="113" y="28"/>
                    <a:pt x="113" y="32"/>
                  </a:cubicBezTo>
                  <a:cubicBezTo>
                    <a:pt x="113" y="37"/>
                    <a:pt x="116" y="40"/>
                    <a:pt x="121" y="40"/>
                  </a:cubicBezTo>
                  <a:moveTo>
                    <a:pt x="32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48"/>
                    <a:pt x="225" y="48"/>
                    <a:pt x="225" y="48"/>
                  </a:cubicBezTo>
                  <a:cubicBezTo>
                    <a:pt x="32" y="48"/>
                    <a:pt x="32" y="48"/>
                    <a:pt x="32" y="48"/>
                  </a:cubicBezTo>
                  <a:lnTo>
                    <a:pt x="32" y="305"/>
                  </a:lnTo>
                  <a:close/>
                  <a:moveTo>
                    <a:pt x="49" y="64"/>
                  </a:moveTo>
                  <a:cubicBezTo>
                    <a:pt x="209" y="64"/>
                    <a:pt x="209" y="64"/>
                    <a:pt x="209" y="6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49" y="289"/>
                    <a:pt x="49" y="289"/>
                    <a:pt x="49" y="289"/>
                  </a:cubicBezTo>
                  <a:lnTo>
                    <a:pt x="49" y="64"/>
                  </a:lnTo>
                  <a:close/>
                  <a:moveTo>
                    <a:pt x="225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225" y="353"/>
                    <a:pt x="225" y="353"/>
                    <a:pt x="225" y="353"/>
                  </a:cubicBezTo>
                  <a:cubicBezTo>
                    <a:pt x="243" y="353"/>
                    <a:pt x="257" y="339"/>
                    <a:pt x="257" y="321"/>
                  </a:cubicBezTo>
                  <a:cubicBezTo>
                    <a:pt x="257" y="32"/>
                    <a:pt x="257" y="32"/>
                    <a:pt x="257" y="32"/>
                  </a:cubicBezTo>
                  <a:cubicBezTo>
                    <a:pt x="257" y="14"/>
                    <a:pt x="243" y="0"/>
                    <a:pt x="225" y="0"/>
                  </a:cubicBezTo>
                  <a:moveTo>
                    <a:pt x="241" y="321"/>
                  </a:moveTo>
                  <a:cubicBezTo>
                    <a:pt x="241" y="330"/>
                    <a:pt x="234" y="337"/>
                    <a:pt x="225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4" y="337"/>
                    <a:pt x="16" y="330"/>
                    <a:pt x="16" y="32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4" y="16"/>
                    <a:pt x="32" y="16"/>
                  </a:cubicBezTo>
                  <a:cubicBezTo>
                    <a:pt x="225" y="16"/>
                    <a:pt x="225" y="16"/>
                    <a:pt x="225" y="16"/>
                  </a:cubicBezTo>
                  <a:cubicBezTo>
                    <a:pt x="234" y="16"/>
                    <a:pt x="241" y="23"/>
                    <a:pt x="241" y="32"/>
                  </a:cubicBezTo>
                  <a:lnTo>
                    <a:pt x="241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262972" y="2310026"/>
            <a:ext cx="413865" cy="413865"/>
            <a:chOff x="5262972" y="2310026"/>
            <a:chExt cx="413865" cy="413865"/>
          </a:xfrm>
        </p:grpSpPr>
        <p:sp>
          <p:nvSpPr>
            <p:cNvPr id="24" name="Oval 23"/>
            <p:cNvSpPr/>
            <p:nvPr/>
          </p:nvSpPr>
          <p:spPr>
            <a:xfrm>
              <a:off x="5262972" y="2310026"/>
              <a:ext cx="413865" cy="413865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23"/>
            <p:cNvSpPr>
              <a:spLocks noEditPoints="1"/>
            </p:cNvSpPr>
            <p:nvPr/>
          </p:nvSpPr>
          <p:spPr bwMode="auto">
            <a:xfrm>
              <a:off x="5358911" y="2436052"/>
              <a:ext cx="221986" cy="161812"/>
            </a:xfrm>
            <a:custGeom>
              <a:avLst/>
              <a:gdLst>
                <a:gd name="T0" fmla="*/ 351 w 353"/>
                <a:gd name="T1" fmla="*/ 245 h 257"/>
                <a:gd name="T2" fmla="*/ 351 w 353"/>
                <a:gd name="T3" fmla="*/ 245 h 257"/>
                <a:gd name="T4" fmla="*/ 320 w 353"/>
                <a:gd name="T5" fmla="*/ 197 h 257"/>
                <a:gd name="T6" fmla="*/ 321 w 353"/>
                <a:gd name="T7" fmla="*/ 193 h 257"/>
                <a:gd name="T8" fmla="*/ 321 w 353"/>
                <a:gd name="T9" fmla="*/ 16 h 257"/>
                <a:gd name="T10" fmla="*/ 305 w 353"/>
                <a:gd name="T11" fmla="*/ 0 h 257"/>
                <a:gd name="T12" fmla="*/ 48 w 353"/>
                <a:gd name="T13" fmla="*/ 0 h 257"/>
                <a:gd name="T14" fmla="*/ 32 w 353"/>
                <a:gd name="T15" fmla="*/ 16 h 257"/>
                <a:gd name="T16" fmla="*/ 32 w 353"/>
                <a:gd name="T17" fmla="*/ 193 h 257"/>
                <a:gd name="T18" fmla="*/ 32 w 353"/>
                <a:gd name="T19" fmla="*/ 197 h 257"/>
                <a:gd name="T20" fmla="*/ 1 w 353"/>
                <a:gd name="T21" fmla="*/ 245 h 257"/>
                <a:gd name="T22" fmla="*/ 1 w 353"/>
                <a:gd name="T23" fmla="*/ 245 h 257"/>
                <a:gd name="T24" fmla="*/ 0 w 353"/>
                <a:gd name="T25" fmla="*/ 249 h 257"/>
                <a:gd name="T26" fmla="*/ 8 w 353"/>
                <a:gd name="T27" fmla="*/ 257 h 257"/>
                <a:gd name="T28" fmla="*/ 345 w 353"/>
                <a:gd name="T29" fmla="*/ 257 h 257"/>
                <a:gd name="T30" fmla="*/ 353 w 353"/>
                <a:gd name="T31" fmla="*/ 249 h 257"/>
                <a:gd name="T32" fmla="*/ 351 w 353"/>
                <a:gd name="T33" fmla="*/ 245 h 257"/>
                <a:gd name="T34" fmla="*/ 48 w 353"/>
                <a:gd name="T35" fmla="*/ 16 h 257"/>
                <a:gd name="T36" fmla="*/ 305 w 353"/>
                <a:gd name="T37" fmla="*/ 16 h 257"/>
                <a:gd name="T38" fmla="*/ 305 w 353"/>
                <a:gd name="T39" fmla="*/ 193 h 257"/>
                <a:gd name="T40" fmla="*/ 48 w 353"/>
                <a:gd name="T41" fmla="*/ 193 h 257"/>
                <a:gd name="T42" fmla="*/ 48 w 353"/>
                <a:gd name="T43" fmla="*/ 16 h 257"/>
                <a:gd name="T44" fmla="*/ 23 w 353"/>
                <a:gd name="T45" fmla="*/ 241 h 257"/>
                <a:gd name="T46" fmla="*/ 44 w 353"/>
                <a:gd name="T47" fmla="*/ 208 h 257"/>
                <a:gd name="T48" fmla="*/ 48 w 353"/>
                <a:gd name="T49" fmla="*/ 209 h 257"/>
                <a:gd name="T50" fmla="*/ 305 w 353"/>
                <a:gd name="T51" fmla="*/ 209 h 257"/>
                <a:gd name="T52" fmla="*/ 308 w 353"/>
                <a:gd name="T53" fmla="*/ 208 h 257"/>
                <a:gd name="T54" fmla="*/ 330 w 353"/>
                <a:gd name="T55" fmla="*/ 241 h 257"/>
                <a:gd name="T56" fmla="*/ 23 w 353"/>
                <a:gd name="T57" fmla="*/ 241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3" h="257">
                  <a:moveTo>
                    <a:pt x="351" y="245"/>
                  </a:moveTo>
                  <a:cubicBezTo>
                    <a:pt x="351" y="245"/>
                    <a:pt x="351" y="245"/>
                    <a:pt x="351" y="245"/>
                  </a:cubicBezTo>
                  <a:cubicBezTo>
                    <a:pt x="320" y="197"/>
                    <a:pt x="320" y="197"/>
                    <a:pt x="320" y="197"/>
                  </a:cubicBezTo>
                  <a:cubicBezTo>
                    <a:pt x="320" y="196"/>
                    <a:pt x="321" y="194"/>
                    <a:pt x="321" y="193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21" y="7"/>
                    <a:pt x="313" y="0"/>
                    <a:pt x="305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9" y="0"/>
                    <a:pt x="32" y="7"/>
                    <a:pt x="32" y="16"/>
                  </a:cubicBezTo>
                  <a:cubicBezTo>
                    <a:pt x="32" y="193"/>
                    <a:pt x="32" y="193"/>
                    <a:pt x="32" y="193"/>
                  </a:cubicBezTo>
                  <a:cubicBezTo>
                    <a:pt x="32" y="194"/>
                    <a:pt x="32" y="196"/>
                    <a:pt x="32" y="197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1" y="245"/>
                    <a:pt x="1" y="245"/>
                    <a:pt x="1" y="245"/>
                  </a:cubicBezTo>
                  <a:cubicBezTo>
                    <a:pt x="0" y="246"/>
                    <a:pt x="0" y="247"/>
                    <a:pt x="0" y="249"/>
                  </a:cubicBezTo>
                  <a:cubicBezTo>
                    <a:pt x="0" y="254"/>
                    <a:pt x="3" y="257"/>
                    <a:pt x="8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49" y="257"/>
                    <a:pt x="353" y="254"/>
                    <a:pt x="353" y="249"/>
                  </a:cubicBezTo>
                  <a:cubicBezTo>
                    <a:pt x="353" y="247"/>
                    <a:pt x="352" y="246"/>
                    <a:pt x="351" y="245"/>
                  </a:cubicBezTo>
                  <a:moveTo>
                    <a:pt x="48" y="16"/>
                  </a:moveTo>
                  <a:cubicBezTo>
                    <a:pt x="305" y="16"/>
                    <a:pt x="305" y="16"/>
                    <a:pt x="305" y="16"/>
                  </a:cubicBezTo>
                  <a:cubicBezTo>
                    <a:pt x="305" y="193"/>
                    <a:pt x="305" y="193"/>
                    <a:pt x="305" y="193"/>
                  </a:cubicBezTo>
                  <a:cubicBezTo>
                    <a:pt x="48" y="193"/>
                    <a:pt x="48" y="193"/>
                    <a:pt x="48" y="193"/>
                  </a:cubicBezTo>
                  <a:lnTo>
                    <a:pt x="48" y="16"/>
                  </a:lnTo>
                  <a:close/>
                  <a:moveTo>
                    <a:pt x="23" y="241"/>
                  </a:moveTo>
                  <a:cubicBezTo>
                    <a:pt x="44" y="208"/>
                    <a:pt x="44" y="208"/>
                    <a:pt x="44" y="208"/>
                  </a:cubicBezTo>
                  <a:cubicBezTo>
                    <a:pt x="45" y="209"/>
                    <a:pt x="47" y="209"/>
                    <a:pt x="48" y="209"/>
                  </a:cubicBezTo>
                  <a:cubicBezTo>
                    <a:pt x="305" y="209"/>
                    <a:pt x="305" y="209"/>
                    <a:pt x="305" y="209"/>
                  </a:cubicBezTo>
                  <a:cubicBezTo>
                    <a:pt x="306" y="209"/>
                    <a:pt x="307" y="209"/>
                    <a:pt x="308" y="208"/>
                  </a:cubicBezTo>
                  <a:cubicBezTo>
                    <a:pt x="330" y="241"/>
                    <a:pt x="330" y="241"/>
                    <a:pt x="330" y="241"/>
                  </a:cubicBezTo>
                  <a:lnTo>
                    <a:pt x="23" y="2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62972" y="1546309"/>
            <a:ext cx="413865" cy="413865"/>
            <a:chOff x="5262972" y="1546309"/>
            <a:chExt cx="413865" cy="413865"/>
          </a:xfrm>
        </p:grpSpPr>
        <p:sp>
          <p:nvSpPr>
            <p:cNvPr id="22" name="Oval 21"/>
            <p:cNvSpPr/>
            <p:nvPr/>
          </p:nvSpPr>
          <p:spPr>
            <a:xfrm>
              <a:off x="5262972" y="1546309"/>
              <a:ext cx="413865" cy="413865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4"/>
            <p:cNvSpPr>
              <a:spLocks noEditPoints="1"/>
            </p:cNvSpPr>
            <p:nvPr/>
          </p:nvSpPr>
          <p:spPr bwMode="auto">
            <a:xfrm>
              <a:off x="5358911" y="1642248"/>
              <a:ext cx="221986" cy="22198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236329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e </a:t>
            </a:r>
            <a:r>
              <a:rPr lang="en-US" dirty="0" err="1"/>
              <a:t>tráfego</a:t>
            </a:r>
            <a:r>
              <a:rPr lang="en-US" dirty="0"/>
              <a:t> das </a:t>
            </a:r>
            <a:r>
              <a:rPr lang="en-US" dirty="0">
                <a:solidFill>
                  <a:srgbClr val="EC0000"/>
                </a:solidFill>
              </a:rPr>
              <a:t>redes </a:t>
            </a:r>
            <a:r>
              <a:rPr lang="en-US" dirty="0" err="1">
                <a:solidFill>
                  <a:srgbClr val="EC0000"/>
                </a:solidFill>
              </a:rPr>
              <a:t>sociai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93725" y="1867677"/>
            <a:ext cx="121496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Facebook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75805" y="2414587"/>
            <a:ext cx="5934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189K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3725" y="2424443"/>
            <a:ext cx="121496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Twitt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75805" y="2971353"/>
            <a:ext cx="5934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89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3725" y="2981210"/>
            <a:ext cx="121496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Whatsapp</a:t>
            </a:r>
            <a:endParaRPr lang="en-US" sz="800" b="1" dirty="0">
              <a:solidFill>
                <a:schemeClr val="accent4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75805" y="3528120"/>
            <a:ext cx="5934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24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93725" y="3537976"/>
            <a:ext cx="121496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stagram</a:t>
            </a:r>
            <a:endParaRPr lang="en-US" sz="800" b="1" dirty="0">
              <a:solidFill>
                <a:schemeClr val="accent4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75805" y="1857821"/>
            <a:ext cx="5934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256K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93725" y="2041677"/>
            <a:ext cx="2275487" cy="155850"/>
            <a:chOff x="593725" y="2041677"/>
            <a:chExt cx="2275487" cy="155850"/>
          </a:xfrm>
        </p:grpSpPr>
        <p:sp>
          <p:nvSpPr>
            <p:cNvPr id="95" name="Rectangle 94"/>
            <p:cNvSpPr/>
            <p:nvPr/>
          </p:nvSpPr>
          <p:spPr>
            <a:xfrm>
              <a:off x="593725" y="2041677"/>
              <a:ext cx="2275487" cy="15557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593725" y="2041952"/>
              <a:ext cx="1781133" cy="155575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93725" y="2599209"/>
            <a:ext cx="2275487" cy="155850"/>
            <a:chOff x="593725" y="2599209"/>
            <a:chExt cx="2275487" cy="155850"/>
          </a:xfrm>
        </p:grpSpPr>
        <p:sp>
          <p:nvSpPr>
            <p:cNvPr id="96" name="Rectangle 95"/>
            <p:cNvSpPr/>
            <p:nvPr/>
          </p:nvSpPr>
          <p:spPr>
            <a:xfrm>
              <a:off x="593725" y="2599209"/>
              <a:ext cx="2275487" cy="15557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3726" y="2599484"/>
              <a:ext cx="1408530" cy="155575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3725" y="3156741"/>
            <a:ext cx="2275487" cy="155850"/>
            <a:chOff x="593725" y="3156741"/>
            <a:chExt cx="2275487" cy="155850"/>
          </a:xfrm>
        </p:grpSpPr>
        <p:sp>
          <p:nvSpPr>
            <p:cNvPr id="97" name="Rectangle 96"/>
            <p:cNvSpPr/>
            <p:nvPr/>
          </p:nvSpPr>
          <p:spPr>
            <a:xfrm>
              <a:off x="593725" y="3156741"/>
              <a:ext cx="2275487" cy="15557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593726" y="3157016"/>
              <a:ext cx="975194" cy="155575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3725" y="3714274"/>
            <a:ext cx="2275487" cy="155850"/>
            <a:chOff x="593725" y="3714274"/>
            <a:chExt cx="2275487" cy="155850"/>
          </a:xfrm>
        </p:grpSpPr>
        <p:sp>
          <p:nvSpPr>
            <p:cNvPr id="98" name="Rectangle 97"/>
            <p:cNvSpPr/>
            <p:nvPr/>
          </p:nvSpPr>
          <p:spPr>
            <a:xfrm>
              <a:off x="593725" y="3714274"/>
              <a:ext cx="2275487" cy="15557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593726" y="3714549"/>
              <a:ext cx="526786" cy="155575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6946164" y="2148798"/>
            <a:ext cx="127089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cap="all" spc="40" dirty="0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56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946164" y="2537653"/>
            <a:ext cx="127089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err="1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Homens</a:t>
            </a:r>
            <a:r>
              <a:rPr lang="en-US" sz="800" b="1" dirty="0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b="1" dirty="0" err="1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nscritos</a:t>
            </a:r>
            <a:endParaRPr lang="en-US" sz="800" b="1" dirty="0">
              <a:solidFill>
                <a:schemeClr val="accent3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111" name="Freeform 110"/>
          <p:cNvSpPr>
            <a:spLocks noChangeArrowheads="1"/>
          </p:cNvSpPr>
          <p:nvPr/>
        </p:nvSpPr>
        <p:spPr bwMode="auto">
          <a:xfrm>
            <a:off x="6649103" y="2212299"/>
            <a:ext cx="196975" cy="502270"/>
          </a:xfrm>
          <a:custGeom>
            <a:avLst/>
            <a:gdLst>
              <a:gd name="connsiteX0" fmla="*/ 489359 w 1812925"/>
              <a:gd name="connsiteY0" fmla="*/ 865187 h 4622800"/>
              <a:gd name="connsiteX1" fmla="*/ 1323566 w 1812925"/>
              <a:gd name="connsiteY1" fmla="*/ 865187 h 4622800"/>
              <a:gd name="connsiteX2" fmla="*/ 1812925 w 1812925"/>
              <a:gd name="connsiteY2" fmla="*/ 1353801 h 4622800"/>
              <a:gd name="connsiteX3" fmla="*/ 1812925 w 1812925"/>
              <a:gd name="connsiteY3" fmla="*/ 1421388 h 4622800"/>
              <a:gd name="connsiteX4" fmla="*/ 1812925 w 1812925"/>
              <a:gd name="connsiteY4" fmla="*/ 1469754 h 4622800"/>
              <a:gd name="connsiteX5" fmla="*/ 1812925 w 1812925"/>
              <a:gd name="connsiteY5" fmla="*/ 2536271 h 4622800"/>
              <a:gd name="connsiteX6" fmla="*/ 1652286 w 1812925"/>
              <a:gd name="connsiteY6" fmla="*/ 2696869 h 4622800"/>
              <a:gd name="connsiteX7" fmla="*/ 1492268 w 1812925"/>
              <a:gd name="connsiteY7" fmla="*/ 2536271 h 4622800"/>
              <a:gd name="connsiteX8" fmla="*/ 1492268 w 1812925"/>
              <a:gd name="connsiteY8" fmla="*/ 1469754 h 4622800"/>
              <a:gd name="connsiteX9" fmla="*/ 1373184 w 1812925"/>
              <a:gd name="connsiteY9" fmla="*/ 1469754 h 4622800"/>
              <a:gd name="connsiteX10" fmla="*/ 1373184 w 1812925"/>
              <a:gd name="connsiteY10" fmla="*/ 2523869 h 4622800"/>
              <a:gd name="connsiteX11" fmla="*/ 1373184 w 1812925"/>
              <a:gd name="connsiteY11" fmla="*/ 2782438 h 4622800"/>
              <a:gd name="connsiteX12" fmla="*/ 1373184 w 1812925"/>
              <a:gd name="connsiteY12" fmla="*/ 4425618 h 4622800"/>
              <a:gd name="connsiteX13" fmla="*/ 1175952 w 1812925"/>
              <a:gd name="connsiteY13" fmla="*/ 4622800 h 4622800"/>
              <a:gd name="connsiteX14" fmla="*/ 978719 w 1812925"/>
              <a:gd name="connsiteY14" fmla="*/ 4425618 h 4622800"/>
              <a:gd name="connsiteX15" fmla="*/ 978719 w 1812925"/>
              <a:gd name="connsiteY15" fmla="*/ 2782438 h 4622800"/>
              <a:gd name="connsiteX16" fmla="*/ 834206 w 1812925"/>
              <a:gd name="connsiteY16" fmla="*/ 2782438 h 4622800"/>
              <a:gd name="connsiteX17" fmla="*/ 834206 w 1812925"/>
              <a:gd name="connsiteY17" fmla="*/ 4425618 h 4622800"/>
              <a:gd name="connsiteX18" fmla="*/ 636974 w 1812925"/>
              <a:gd name="connsiteY18" fmla="*/ 4622800 h 4622800"/>
              <a:gd name="connsiteX19" fmla="*/ 439741 w 1812925"/>
              <a:gd name="connsiteY19" fmla="*/ 4425618 h 4622800"/>
              <a:gd name="connsiteX20" fmla="*/ 439741 w 1812925"/>
              <a:gd name="connsiteY20" fmla="*/ 2782438 h 4622800"/>
              <a:gd name="connsiteX21" fmla="*/ 439741 w 1812925"/>
              <a:gd name="connsiteY21" fmla="*/ 2523869 h 4622800"/>
              <a:gd name="connsiteX22" fmla="*/ 439741 w 1812925"/>
              <a:gd name="connsiteY22" fmla="*/ 1469754 h 4622800"/>
              <a:gd name="connsiteX23" fmla="*/ 321278 w 1812925"/>
              <a:gd name="connsiteY23" fmla="*/ 1469754 h 4622800"/>
              <a:gd name="connsiteX24" fmla="*/ 321278 w 1812925"/>
              <a:gd name="connsiteY24" fmla="*/ 2536271 h 4622800"/>
              <a:gd name="connsiteX25" fmla="*/ 160639 w 1812925"/>
              <a:gd name="connsiteY25" fmla="*/ 2696869 h 4622800"/>
              <a:gd name="connsiteX26" fmla="*/ 0 w 1812925"/>
              <a:gd name="connsiteY26" fmla="*/ 2536271 h 4622800"/>
              <a:gd name="connsiteX27" fmla="*/ 0 w 1812925"/>
              <a:gd name="connsiteY27" fmla="*/ 1469754 h 4622800"/>
              <a:gd name="connsiteX28" fmla="*/ 0 w 1812925"/>
              <a:gd name="connsiteY28" fmla="*/ 1421388 h 4622800"/>
              <a:gd name="connsiteX29" fmla="*/ 0 w 1812925"/>
              <a:gd name="connsiteY29" fmla="*/ 1353801 h 4622800"/>
              <a:gd name="connsiteX30" fmla="*/ 489359 w 1812925"/>
              <a:gd name="connsiteY30" fmla="*/ 865187 h 4622800"/>
              <a:gd name="connsiteX31" fmla="*/ 906463 w 1812925"/>
              <a:gd name="connsiteY31" fmla="*/ 0 h 4622800"/>
              <a:gd name="connsiteX32" fmla="*/ 1287463 w 1812925"/>
              <a:gd name="connsiteY32" fmla="*/ 381000 h 4622800"/>
              <a:gd name="connsiteX33" fmla="*/ 906463 w 1812925"/>
              <a:gd name="connsiteY33" fmla="*/ 762000 h 4622800"/>
              <a:gd name="connsiteX34" fmla="*/ 525463 w 1812925"/>
              <a:gd name="connsiteY34" fmla="*/ 381000 h 4622800"/>
              <a:gd name="connsiteX35" fmla="*/ 906463 w 1812925"/>
              <a:gd name="connsiteY35" fmla="*/ 0 h 462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812925" h="4622800">
                <a:moveTo>
                  <a:pt x="489359" y="865187"/>
                </a:moveTo>
                <a:cubicBezTo>
                  <a:pt x="489359" y="865187"/>
                  <a:pt x="489359" y="865187"/>
                  <a:pt x="1323566" y="865187"/>
                </a:cubicBezTo>
                <a:cubicBezTo>
                  <a:pt x="1593985" y="865187"/>
                  <a:pt x="1812925" y="1084071"/>
                  <a:pt x="1812925" y="1353801"/>
                </a:cubicBezTo>
                <a:cubicBezTo>
                  <a:pt x="1812925" y="1353801"/>
                  <a:pt x="1812925" y="1353801"/>
                  <a:pt x="1812925" y="1421388"/>
                </a:cubicBezTo>
                <a:cubicBezTo>
                  <a:pt x="1812925" y="1421388"/>
                  <a:pt x="1812925" y="1421388"/>
                  <a:pt x="1812925" y="1469754"/>
                </a:cubicBezTo>
                <a:cubicBezTo>
                  <a:pt x="1812925" y="1469754"/>
                  <a:pt x="1812925" y="1469754"/>
                  <a:pt x="1812925" y="2536271"/>
                </a:cubicBezTo>
                <a:cubicBezTo>
                  <a:pt x="1812925" y="2624941"/>
                  <a:pt x="1740979" y="2696869"/>
                  <a:pt x="1652286" y="2696869"/>
                </a:cubicBezTo>
                <a:cubicBezTo>
                  <a:pt x="1563594" y="2696869"/>
                  <a:pt x="1492268" y="2624941"/>
                  <a:pt x="1492268" y="2536271"/>
                </a:cubicBezTo>
                <a:cubicBezTo>
                  <a:pt x="1492268" y="2536271"/>
                  <a:pt x="1492268" y="2536271"/>
                  <a:pt x="1492268" y="1469754"/>
                </a:cubicBezTo>
                <a:cubicBezTo>
                  <a:pt x="1492268" y="1469754"/>
                  <a:pt x="1492268" y="1469754"/>
                  <a:pt x="1373184" y="1469754"/>
                </a:cubicBezTo>
                <a:cubicBezTo>
                  <a:pt x="1373184" y="1469754"/>
                  <a:pt x="1373184" y="1469754"/>
                  <a:pt x="1373184" y="2523869"/>
                </a:cubicBezTo>
                <a:cubicBezTo>
                  <a:pt x="1373184" y="2523869"/>
                  <a:pt x="1373184" y="2523869"/>
                  <a:pt x="1373184" y="2782438"/>
                </a:cubicBezTo>
                <a:cubicBezTo>
                  <a:pt x="1373184" y="2782438"/>
                  <a:pt x="1373184" y="2782438"/>
                  <a:pt x="1373184" y="4425618"/>
                </a:cubicBezTo>
                <a:cubicBezTo>
                  <a:pt x="1373184" y="4534750"/>
                  <a:pt x="1284491" y="4622800"/>
                  <a:pt x="1175952" y="4622800"/>
                </a:cubicBezTo>
                <a:cubicBezTo>
                  <a:pt x="1066791" y="4622800"/>
                  <a:pt x="978719" y="4534750"/>
                  <a:pt x="978719" y="4425618"/>
                </a:cubicBezTo>
                <a:cubicBezTo>
                  <a:pt x="978719" y="4425618"/>
                  <a:pt x="978719" y="4425618"/>
                  <a:pt x="978719" y="2782438"/>
                </a:cubicBezTo>
                <a:cubicBezTo>
                  <a:pt x="978719" y="2782438"/>
                  <a:pt x="978719" y="2782438"/>
                  <a:pt x="834206" y="2782438"/>
                </a:cubicBezTo>
                <a:cubicBezTo>
                  <a:pt x="834206" y="2782438"/>
                  <a:pt x="834206" y="2782438"/>
                  <a:pt x="834206" y="4425618"/>
                </a:cubicBezTo>
                <a:cubicBezTo>
                  <a:pt x="834206" y="4534750"/>
                  <a:pt x="746134" y="4622800"/>
                  <a:pt x="636974" y="4622800"/>
                </a:cubicBezTo>
                <a:cubicBezTo>
                  <a:pt x="528434" y="4622800"/>
                  <a:pt x="439741" y="4534750"/>
                  <a:pt x="439741" y="4425618"/>
                </a:cubicBezTo>
                <a:cubicBezTo>
                  <a:pt x="439741" y="4425618"/>
                  <a:pt x="439741" y="4425618"/>
                  <a:pt x="439741" y="2782438"/>
                </a:cubicBezTo>
                <a:cubicBezTo>
                  <a:pt x="439741" y="2782438"/>
                  <a:pt x="439741" y="2782438"/>
                  <a:pt x="439741" y="2523869"/>
                </a:cubicBezTo>
                <a:cubicBezTo>
                  <a:pt x="439741" y="2523869"/>
                  <a:pt x="439741" y="2523869"/>
                  <a:pt x="439741" y="1469754"/>
                </a:cubicBezTo>
                <a:cubicBezTo>
                  <a:pt x="439741" y="1469754"/>
                  <a:pt x="439741" y="1469754"/>
                  <a:pt x="321278" y="1469754"/>
                </a:cubicBezTo>
                <a:cubicBezTo>
                  <a:pt x="321278" y="1469754"/>
                  <a:pt x="321278" y="1469754"/>
                  <a:pt x="321278" y="2536271"/>
                </a:cubicBezTo>
                <a:cubicBezTo>
                  <a:pt x="321278" y="2624941"/>
                  <a:pt x="249331" y="2696869"/>
                  <a:pt x="160639" y="2696869"/>
                </a:cubicBezTo>
                <a:cubicBezTo>
                  <a:pt x="71946" y="2696869"/>
                  <a:pt x="0" y="2624941"/>
                  <a:pt x="0" y="2536271"/>
                </a:cubicBezTo>
                <a:cubicBezTo>
                  <a:pt x="0" y="2536271"/>
                  <a:pt x="0" y="2536271"/>
                  <a:pt x="0" y="1469754"/>
                </a:cubicBezTo>
                <a:cubicBezTo>
                  <a:pt x="0" y="1469754"/>
                  <a:pt x="0" y="1469754"/>
                  <a:pt x="0" y="1421388"/>
                </a:cubicBezTo>
                <a:cubicBezTo>
                  <a:pt x="0" y="1421388"/>
                  <a:pt x="0" y="1421388"/>
                  <a:pt x="0" y="1353801"/>
                </a:cubicBezTo>
                <a:cubicBezTo>
                  <a:pt x="0" y="1084071"/>
                  <a:pt x="218940" y="865187"/>
                  <a:pt x="489359" y="865187"/>
                </a:cubicBezTo>
                <a:close/>
                <a:moveTo>
                  <a:pt x="906463" y="0"/>
                </a:moveTo>
                <a:cubicBezTo>
                  <a:pt x="1116883" y="0"/>
                  <a:pt x="1287463" y="170580"/>
                  <a:pt x="1287463" y="381000"/>
                </a:cubicBezTo>
                <a:cubicBezTo>
                  <a:pt x="1287463" y="591420"/>
                  <a:pt x="1116883" y="762000"/>
                  <a:pt x="906463" y="762000"/>
                </a:cubicBezTo>
                <a:cubicBezTo>
                  <a:pt x="696043" y="762000"/>
                  <a:pt x="525463" y="591420"/>
                  <a:pt x="525463" y="381000"/>
                </a:cubicBezTo>
                <a:cubicBezTo>
                  <a:pt x="525463" y="170580"/>
                  <a:pt x="696043" y="0"/>
                  <a:pt x="906463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112" name="Freeform 111"/>
          <p:cNvSpPr>
            <a:spLocks noChangeArrowheads="1"/>
          </p:cNvSpPr>
          <p:nvPr/>
        </p:nvSpPr>
        <p:spPr bwMode="auto">
          <a:xfrm>
            <a:off x="6612210" y="3104977"/>
            <a:ext cx="233868" cy="502270"/>
          </a:xfrm>
          <a:custGeom>
            <a:avLst/>
            <a:gdLst>
              <a:gd name="connsiteX0" fmla="*/ 818678 w 2152481"/>
              <a:gd name="connsiteY0" fmla="*/ 865187 h 4622800"/>
              <a:gd name="connsiteX1" fmla="*/ 1333803 w 2152481"/>
              <a:gd name="connsiteY1" fmla="*/ 865187 h 4622800"/>
              <a:gd name="connsiteX2" fmla="*/ 1812354 w 2152481"/>
              <a:gd name="connsiteY2" fmla="*/ 1255210 h 4622800"/>
              <a:gd name="connsiteX3" fmla="*/ 2145853 w 2152481"/>
              <a:gd name="connsiteY3" fmla="*/ 2342190 h 4622800"/>
              <a:gd name="connsiteX4" fmla="*/ 2047291 w 2152481"/>
              <a:gd name="connsiteY4" fmla="*/ 2528210 h 4622800"/>
              <a:gd name="connsiteX5" fmla="*/ 1861325 w 2152481"/>
              <a:gd name="connsiteY5" fmla="*/ 2429619 h 4622800"/>
              <a:gd name="connsiteX6" fmla="*/ 1539605 w 2152481"/>
              <a:gd name="connsiteY6" fmla="*/ 1380464 h 4622800"/>
              <a:gd name="connsiteX7" fmla="*/ 1431125 w 2152481"/>
              <a:gd name="connsiteY7" fmla="*/ 1380464 h 4622800"/>
              <a:gd name="connsiteX8" fmla="*/ 1846448 w 2152481"/>
              <a:gd name="connsiteY8" fmla="*/ 3116655 h 4622800"/>
              <a:gd name="connsiteX9" fmla="*/ 1469558 w 2152481"/>
              <a:gd name="connsiteY9" fmla="*/ 3116655 h 4622800"/>
              <a:gd name="connsiteX10" fmla="*/ 1469558 w 2152481"/>
              <a:gd name="connsiteY10" fmla="*/ 4458482 h 4622800"/>
              <a:gd name="connsiteX11" fmla="*/ 1305288 w 2152481"/>
              <a:gd name="connsiteY11" fmla="*/ 4622800 h 4622800"/>
              <a:gd name="connsiteX12" fmla="*/ 1141019 w 2152481"/>
              <a:gd name="connsiteY12" fmla="*/ 4458482 h 4622800"/>
              <a:gd name="connsiteX13" fmla="*/ 1141019 w 2152481"/>
              <a:gd name="connsiteY13" fmla="*/ 3116655 h 4622800"/>
              <a:gd name="connsiteX14" fmla="*/ 1075931 w 2152481"/>
              <a:gd name="connsiteY14" fmla="*/ 3116655 h 4622800"/>
              <a:gd name="connsiteX15" fmla="*/ 1011463 w 2152481"/>
              <a:gd name="connsiteY15" fmla="*/ 3116655 h 4622800"/>
              <a:gd name="connsiteX16" fmla="*/ 1011463 w 2152481"/>
              <a:gd name="connsiteY16" fmla="*/ 4458482 h 4622800"/>
              <a:gd name="connsiteX17" fmla="*/ 847193 w 2152481"/>
              <a:gd name="connsiteY17" fmla="*/ 4622800 h 4622800"/>
              <a:gd name="connsiteX18" fmla="*/ 682923 w 2152481"/>
              <a:gd name="connsiteY18" fmla="*/ 4458482 h 4622800"/>
              <a:gd name="connsiteX19" fmla="*/ 682923 w 2152481"/>
              <a:gd name="connsiteY19" fmla="*/ 3116655 h 4622800"/>
              <a:gd name="connsiteX20" fmla="*/ 306033 w 2152481"/>
              <a:gd name="connsiteY20" fmla="*/ 3116655 h 4622800"/>
              <a:gd name="connsiteX21" fmla="*/ 721356 w 2152481"/>
              <a:gd name="connsiteY21" fmla="*/ 1380464 h 4622800"/>
              <a:gd name="connsiteX22" fmla="*/ 612876 w 2152481"/>
              <a:gd name="connsiteY22" fmla="*/ 1380464 h 4622800"/>
              <a:gd name="connsiteX23" fmla="*/ 291156 w 2152481"/>
              <a:gd name="connsiteY23" fmla="*/ 2429619 h 4622800"/>
              <a:gd name="connsiteX24" fmla="*/ 105190 w 2152481"/>
              <a:gd name="connsiteY24" fmla="*/ 2528210 h 4622800"/>
              <a:gd name="connsiteX25" fmla="*/ 6628 w 2152481"/>
              <a:gd name="connsiteY25" fmla="*/ 2342190 h 4622800"/>
              <a:gd name="connsiteX26" fmla="*/ 340127 w 2152481"/>
              <a:gd name="connsiteY26" fmla="*/ 1255210 h 4622800"/>
              <a:gd name="connsiteX27" fmla="*/ 818678 w 2152481"/>
              <a:gd name="connsiteY27" fmla="*/ 865187 h 4622800"/>
              <a:gd name="connsiteX28" fmla="*/ 1076240 w 2152481"/>
              <a:gd name="connsiteY28" fmla="*/ 0 h 4622800"/>
              <a:gd name="connsiteX29" fmla="*/ 1457240 w 2152481"/>
              <a:gd name="connsiteY29" fmla="*/ 381000 h 4622800"/>
              <a:gd name="connsiteX30" fmla="*/ 1076240 w 2152481"/>
              <a:gd name="connsiteY30" fmla="*/ 762000 h 4622800"/>
              <a:gd name="connsiteX31" fmla="*/ 695240 w 2152481"/>
              <a:gd name="connsiteY31" fmla="*/ 381000 h 4622800"/>
              <a:gd name="connsiteX32" fmla="*/ 1076240 w 2152481"/>
              <a:gd name="connsiteY32" fmla="*/ 0 h 462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152481" h="4622800">
                <a:moveTo>
                  <a:pt x="818678" y="865187"/>
                </a:moveTo>
                <a:cubicBezTo>
                  <a:pt x="818678" y="865187"/>
                  <a:pt x="818678" y="865187"/>
                  <a:pt x="1333803" y="865187"/>
                </a:cubicBezTo>
                <a:cubicBezTo>
                  <a:pt x="1569979" y="865187"/>
                  <a:pt x="1767103" y="1032606"/>
                  <a:pt x="1812354" y="1255210"/>
                </a:cubicBezTo>
                <a:cubicBezTo>
                  <a:pt x="1812354" y="1255210"/>
                  <a:pt x="1812354" y="1255210"/>
                  <a:pt x="2145853" y="2342190"/>
                </a:cubicBezTo>
                <a:cubicBezTo>
                  <a:pt x="2170028" y="2420938"/>
                  <a:pt x="2126016" y="2504027"/>
                  <a:pt x="2047291" y="2528210"/>
                </a:cubicBezTo>
                <a:cubicBezTo>
                  <a:pt x="1968565" y="2552393"/>
                  <a:pt x="1885501" y="2507748"/>
                  <a:pt x="1861325" y="2429619"/>
                </a:cubicBezTo>
                <a:cubicBezTo>
                  <a:pt x="1861325" y="2429619"/>
                  <a:pt x="1861325" y="2429619"/>
                  <a:pt x="1539605" y="1380464"/>
                </a:cubicBezTo>
                <a:cubicBezTo>
                  <a:pt x="1539605" y="1380464"/>
                  <a:pt x="1539605" y="1380464"/>
                  <a:pt x="1431125" y="1380464"/>
                </a:cubicBezTo>
                <a:cubicBezTo>
                  <a:pt x="1431125" y="1380464"/>
                  <a:pt x="1431125" y="1380464"/>
                  <a:pt x="1846448" y="3116655"/>
                </a:cubicBezTo>
                <a:cubicBezTo>
                  <a:pt x="1846448" y="3116655"/>
                  <a:pt x="1846448" y="3116655"/>
                  <a:pt x="1469558" y="3116655"/>
                </a:cubicBezTo>
                <a:cubicBezTo>
                  <a:pt x="1469558" y="3116655"/>
                  <a:pt x="1469558" y="3116655"/>
                  <a:pt x="1469558" y="4458482"/>
                </a:cubicBezTo>
                <a:cubicBezTo>
                  <a:pt x="1469558" y="4549632"/>
                  <a:pt x="1396411" y="4622800"/>
                  <a:pt x="1305288" y="4622800"/>
                </a:cubicBezTo>
                <a:cubicBezTo>
                  <a:pt x="1214785" y="4622800"/>
                  <a:pt x="1141019" y="4549632"/>
                  <a:pt x="1141019" y="4458482"/>
                </a:cubicBezTo>
                <a:cubicBezTo>
                  <a:pt x="1141019" y="4458482"/>
                  <a:pt x="1141019" y="4458482"/>
                  <a:pt x="1141019" y="3116655"/>
                </a:cubicBezTo>
                <a:cubicBezTo>
                  <a:pt x="1141019" y="3116655"/>
                  <a:pt x="1141019" y="3116655"/>
                  <a:pt x="1075931" y="3116655"/>
                </a:cubicBezTo>
                <a:cubicBezTo>
                  <a:pt x="1075931" y="3116655"/>
                  <a:pt x="1075931" y="3116655"/>
                  <a:pt x="1011463" y="3116655"/>
                </a:cubicBezTo>
                <a:cubicBezTo>
                  <a:pt x="1011463" y="3116655"/>
                  <a:pt x="1011463" y="3116655"/>
                  <a:pt x="1011463" y="4458482"/>
                </a:cubicBezTo>
                <a:cubicBezTo>
                  <a:pt x="1011463" y="4549632"/>
                  <a:pt x="937696" y="4622800"/>
                  <a:pt x="847193" y="4622800"/>
                </a:cubicBezTo>
                <a:cubicBezTo>
                  <a:pt x="756070" y="4622800"/>
                  <a:pt x="682923" y="4549632"/>
                  <a:pt x="682923" y="4458482"/>
                </a:cubicBezTo>
                <a:cubicBezTo>
                  <a:pt x="682923" y="4458482"/>
                  <a:pt x="682923" y="4458482"/>
                  <a:pt x="682923" y="3116655"/>
                </a:cubicBezTo>
                <a:cubicBezTo>
                  <a:pt x="682923" y="3116655"/>
                  <a:pt x="682923" y="3116655"/>
                  <a:pt x="306033" y="3116655"/>
                </a:cubicBezTo>
                <a:cubicBezTo>
                  <a:pt x="306033" y="3116655"/>
                  <a:pt x="306033" y="3116655"/>
                  <a:pt x="721356" y="1380464"/>
                </a:cubicBezTo>
                <a:cubicBezTo>
                  <a:pt x="721356" y="1380464"/>
                  <a:pt x="721356" y="1380464"/>
                  <a:pt x="612876" y="1380464"/>
                </a:cubicBezTo>
                <a:cubicBezTo>
                  <a:pt x="612876" y="1380464"/>
                  <a:pt x="612876" y="1380464"/>
                  <a:pt x="291156" y="2429619"/>
                </a:cubicBezTo>
                <a:cubicBezTo>
                  <a:pt x="266980" y="2507748"/>
                  <a:pt x="183915" y="2552393"/>
                  <a:pt x="105190" y="2528210"/>
                </a:cubicBezTo>
                <a:cubicBezTo>
                  <a:pt x="26465" y="2504027"/>
                  <a:pt x="-17547" y="2420938"/>
                  <a:pt x="6628" y="2342190"/>
                </a:cubicBezTo>
                <a:cubicBezTo>
                  <a:pt x="6628" y="2342190"/>
                  <a:pt x="6628" y="2342190"/>
                  <a:pt x="340127" y="1255210"/>
                </a:cubicBezTo>
                <a:cubicBezTo>
                  <a:pt x="385378" y="1032606"/>
                  <a:pt x="582502" y="865187"/>
                  <a:pt x="818678" y="865187"/>
                </a:cubicBezTo>
                <a:close/>
                <a:moveTo>
                  <a:pt x="1076240" y="0"/>
                </a:moveTo>
                <a:cubicBezTo>
                  <a:pt x="1286660" y="0"/>
                  <a:pt x="1457240" y="170580"/>
                  <a:pt x="1457240" y="381000"/>
                </a:cubicBezTo>
                <a:cubicBezTo>
                  <a:pt x="1457240" y="591420"/>
                  <a:pt x="1286660" y="762000"/>
                  <a:pt x="1076240" y="762000"/>
                </a:cubicBezTo>
                <a:cubicBezTo>
                  <a:pt x="865820" y="762000"/>
                  <a:pt x="695240" y="591420"/>
                  <a:pt x="695240" y="381000"/>
                </a:cubicBezTo>
                <a:cubicBezTo>
                  <a:pt x="695240" y="170580"/>
                  <a:pt x="865820" y="0"/>
                  <a:pt x="1076240" y="0"/>
                </a:cubicBez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cxnSp>
        <p:nvCxnSpPr>
          <p:cNvPr id="115" name="Straight Connector 114"/>
          <p:cNvCxnSpPr/>
          <p:nvPr/>
        </p:nvCxnSpPr>
        <p:spPr>
          <a:xfrm>
            <a:off x="6612210" y="2919449"/>
            <a:ext cx="1253117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5" name="Chart 104"/>
          <p:cNvGraphicFramePr/>
          <p:nvPr>
            <p:extLst>
              <p:ext uri="{D42A27DB-BD31-4B8C-83A1-F6EECF244321}">
                <p14:modId xmlns:p14="http://schemas.microsoft.com/office/powerpoint/2010/main" val="3892299947"/>
              </p:ext>
            </p:extLst>
          </p:nvPr>
        </p:nvGraphicFramePr>
        <p:xfrm>
          <a:off x="3508971" y="1586700"/>
          <a:ext cx="2484610" cy="2554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18" name="Group 117"/>
          <p:cNvGrpSpPr/>
          <p:nvPr/>
        </p:nvGrpSpPr>
        <p:grpSpPr>
          <a:xfrm>
            <a:off x="4131510" y="2570396"/>
            <a:ext cx="1245278" cy="602021"/>
            <a:chOff x="4233551" y="2645416"/>
            <a:chExt cx="1245278" cy="602021"/>
          </a:xfrm>
        </p:grpSpPr>
        <p:sp>
          <p:nvSpPr>
            <p:cNvPr id="22" name="TextBox 21"/>
            <p:cNvSpPr txBox="1"/>
            <p:nvPr/>
          </p:nvSpPr>
          <p:spPr>
            <a:xfrm>
              <a:off x="4233551" y="2645416"/>
              <a:ext cx="124527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800" cap="all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856K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233551" y="2970438"/>
              <a:ext cx="1245278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INSCRITOS</a:t>
              </a:r>
            </a:p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ENSALMENTE</a:t>
              </a:r>
            </a:p>
          </p:txBody>
        </p:sp>
      </p:grpSp>
      <p:sp>
        <p:nvSpPr>
          <p:cNvPr id="122" name="TextBox 121"/>
          <p:cNvSpPr txBox="1"/>
          <p:nvPr/>
        </p:nvSpPr>
        <p:spPr>
          <a:xfrm>
            <a:off x="6946164" y="3059936"/>
            <a:ext cx="127089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400" cap="all" spc="40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44%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946164" y="3448791"/>
            <a:ext cx="127089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err="1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Mulheres</a:t>
            </a:r>
            <a:r>
              <a:rPr lang="en-US" sz="800" b="1" dirty="0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b="1" dirty="0" err="1">
                <a:solidFill>
                  <a:schemeClr val="accent3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nscritas</a:t>
            </a:r>
            <a:endParaRPr lang="en-US" sz="800" b="1" dirty="0">
              <a:solidFill>
                <a:schemeClr val="accent3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73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crescimento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anual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6" name="Freeform 39"/>
          <p:cNvSpPr>
            <a:spLocks noEditPoints="1"/>
          </p:cNvSpPr>
          <p:nvPr/>
        </p:nvSpPr>
        <p:spPr bwMode="auto">
          <a:xfrm rot="5400000">
            <a:off x="4332439" y="2401580"/>
            <a:ext cx="479123" cy="480890"/>
          </a:xfrm>
          <a:custGeom>
            <a:avLst/>
            <a:gdLst>
              <a:gd name="T0" fmla="*/ 0 w 352"/>
              <a:gd name="T1" fmla="*/ 193 h 353"/>
              <a:gd name="T2" fmla="*/ 21 w 352"/>
              <a:gd name="T3" fmla="*/ 221 h 353"/>
              <a:gd name="T4" fmla="*/ 21 w 352"/>
              <a:gd name="T5" fmla="*/ 133 h 353"/>
              <a:gd name="T6" fmla="*/ 0 w 352"/>
              <a:gd name="T7" fmla="*/ 161 h 353"/>
              <a:gd name="T8" fmla="*/ 21 w 352"/>
              <a:gd name="T9" fmla="*/ 133 h 353"/>
              <a:gd name="T10" fmla="*/ 82 w 352"/>
              <a:gd name="T11" fmla="*/ 27 h 353"/>
              <a:gd name="T12" fmla="*/ 67 w 352"/>
              <a:gd name="T13" fmla="*/ 58 h 353"/>
              <a:gd name="T14" fmla="*/ 18 w 352"/>
              <a:gd name="T15" fmla="*/ 256 h 353"/>
              <a:gd name="T16" fmla="*/ 47 w 352"/>
              <a:gd name="T17" fmla="*/ 274 h 353"/>
              <a:gd name="T18" fmla="*/ 18 w 352"/>
              <a:gd name="T19" fmla="*/ 256 h 353"/>
              <a:gd name="T20" fmla="*/ 208 w 352"/>
              <a:gd name="T21" fmla="*/ 3 h 353"/>
              <a:gd name="T22" fmla="*/ 176 w 352"/>
              <a:gd name="T23" fmla="*/ 0 h 353"/>
              <a:gd name="T24" fmla="*/ 175 w 352"/>
              <a:gd name="T25" fmla="*/ 16 h 353"/>
              <a:gd name="T26" fmla="*/ 57 w 352"/>
              <a:gd name="T27" fmla="*/ 307 h 353"/>
              <a:gd name="T28" fmla="*/ 91 w 352"/>
              <a:gd name="T29" fmla="*/ 314 h 353"/>
              <a:gd name="T30" fmla="*/ 57 w 352"/>
              <a:gd name="T31" fmla="*/ 307 h 353"/>
              <a:gd name="T32" fmla="*/ 34 w 352"/>
              <a:gd name="T33" fmla="*/ 71 h 353"/>
              <a:gd name="T34" fmla="*/ 31 w 352"/>
              <a:gd name="T35" fmla="*/ 105 h 353"/>
              <a:gd name="T36" fmla="*/ 268 w 352"/>
              <a:gd name="T37" fmla="*/ 27 h 353"/>
              <a:gd name="T38" fmla="*/ 234 w 352"/>
              <a:gd name="T39" fmla="*/ 27 h 353"/>
              <a:gd name="T40" fmla="*/ 268 w 352"/>
              <a:gd name="T41" fmla="*/ 27 h 353"/>
              <a:gd name="T42" fmla="*/ 142 w 352"/>
              <a:gd name="T43" fmla="*/ 3 h 353"/>
              <a:gd name="T44" fmla="*/ 117 w 352"/>
              <a:gd name="T45" fmla="*/ 27 h 353"/>
              <a:gd name="T46" fmla="*/ 345 w 352"/>
              <a:gd name="T47" fmla="*/ 128 h 353"/>
              <a:gd name="T48" fmla="*/ 320 w 352"/>
              <a:gd name="T49" fmla="*/ 105 h 353"/>
              <a:gd name="T50" fmla="*/ 345 w 352"/>
              <a:gd name="T51" fmla="*/ 128 h 353"/>
              <a:gd name="T52" fmla="*/ 333 w 352"/>
              <a:gd name="T53" fmla="*/ 255 h 353"/>
              <a:gd name="T54" fmla="*/ 330 w 352"/>
              <a:gd name="T55" fmla="*/ 220 h 353"/>
              <a:gd name="T56" fmla="*/ 112 w 352"/>
              <a:gd name="T57" fmla="*/ 341 h 353"/>
              <a:gd name="T58" fmla="*/ 146 w 352"/>
              <a:gd name="T59" fmla="*/ 335 h 353"/>
              <a:gd name="T60" fmla="*/ 112 w 352"/>
              <a:gd name="T61" fmla="*/ 341 h 353"/>
              <a:gd name="T62" fmla="*/ 316 w 352"/>
              <a:gd name="T63" fmla="*/ 70 h 353"/>
              <a:gd name="T64" fmla="*/ 284 w 352"/>
              <a:gd name="T65" fmla="*/ 58 h 353"/>
              <a:gd name="T66" fmla="*/ 351 w 352"/>
              <a:gd name="T67" fmla="*/ 160 h 353"/>
              <a:gd name="T68" fmla="*/ 336 w 352"/>
              <a:gd name="T69" fmla="*/ 177 h 353"/>
              <a:gd name="T70" fmla="*/ 351 w 352"/>
              <a:gd name="T71" fmla="*/ 193 h 353"/>
              <a:gd name="T72" fmla="*/ 351 w 352"/>
              <a:gd name="T73" fmla="*/ 160 h 353"/>
              <a:gd name="T74" fmla="*/ 294 w 352"/>
              <a:gd name="T75" fmla="*/ 307 h 353"/>
              <a:gd name="T76" fmla="*/ 304 w 352"/>
              <a:gd name="T77" fmla="*/ 273 h 353"/>
              <a:gd name="T78" fmla="*/ 184 w 352"/>
              <a:gd name="T79" fmla="*/ 265 h 353"/>
              <a:gd name="T80" fmla="*/ 234 w 352"/>
              <a:gd name="T81" fmla="*/ 158 h 353"/>
              <a:gd name="T82" fmla="*/ 248 w 352"/>
              <a:gd name="T83" fmla="*/ 153 h 353"/>
              <a:gd name="T84" fmla="*/ 182 w 352"/>
              <a:gd name="T85" fmla="*/ 83 h 353"/>
              <a:gd name="T86" fmla="*/ 170 w 352"/>
              <a:gd name="T87" fmla="*/ 83 h 353"/>
              <a:gd name="T88" fmla="*/ 104 w 352"/>
              <a:gd name="T89" fmla="*/ 153 h 353"/>
              <a:gd name="T90" fmla="*/ 117 w 352"/>
              <a:gd name="T91" fmla="*/ 158 h 353"/>
              <a:gd name="T92" fmla="*/ 168 w 352"/>
              <a:gd name="T93" fmla="*/ 265 h 353"/>
              <a:gd name="T94" fmla="*/ 184 w 352"/>
              <a:gd name="T95" fmla="*/ 265 h 353"/>
              <a:gd name="T96" fmla="*/ 239 w 352"/>
              <a:gd name="T97" fmla="*/ 341 h 353"/>
              <a:gd name="T98" fmla="*/ 260 w 352"/>
              <a:gd name="T99" fmla="*/ 313 h 353"/>
              <a:gd name="T100" fmla="*/ 176 w 352"/>
              <a:gd name="T101" fmla="*/ 338 h 353"/>
              <a:gd name="T102" fmla="*/ 208 w 352"/>
              <a:gd name="T103" fmla="*/ 350 h 353"/>
              <a:gd name="T104" fmla="*/ 176 w 352"/>
              <a:gd name="T105" fmla="*/ 33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2" h="353">
                <a:moveTo>
                  <a:pt x="15" y="192"/>
                </a:moveTo>
                <a:cubicBezTo>
                  <a:pt x="0" y="193"/>
                  <a:pt x="0" y="193"/>
                  <a:pt x="0" y="193"/>
                </a:cubicBezTo>
                <a:cubicBezTo>
                  <a:pt x="1" y="204"/>
                  <a:pt x="3" y="215"/>
                  <a:pt x="6" y="225"/>
                </a:cubicBezTo>
                <a:cubicBezTo>
                  <a:pt x="21" y="221"/>
                  <a:pt x="21" y="221"/>
                  <a:pt x="21" y="221"/>
                </a:cubicBezTo>
                <a:cubicBezTo>
                  <a:pt x="18" y="212"/>
                  <a:pt x="16" y="202"/>
                  <a:pt x="15" y="192"/>
                </a:cubicBezTo>
                <a:moveTo>
                  <a:pt x="21" y="133"/>
                </a:moveTo>
                <a:cubicBezTo>
                  <a:pt x="6" y="129"/>
                  <a:pt x="6" y="129"/>
                  <a:pt x="6" y="129"/>
                </a:cubicBezTo>
                <a:cubicBezTo>
                  <a:pt x="3" y="139"/>
                  <a:pt x="1" y="150"/>
                  <a:pt x="0" y="161"/>
                </a:cubicBezTo>
                <a:cubicBezTo>
                  <a:pt x="15" y="162"/>
                  <a:pt x="15" y="162"/>
                  <a:pt x="15" y="162"/>
                </a:cubicBezTo>
                <a:cubicBezTo>
                  <a:pt x="16" y="152"/>
                  <a:pt x="18" y="143"/>
                  <a:pt x="21" y="133"/>
                </a:cubicBezTo>
                <a:moveTo>
                  <a:pt x="90" y="40"/>
                </a:moveTo>
                <a:cubicBezTo>
                  <a:pt x="82" y="27"/>
                  <a:pt x="82" y="27"/>
                  <a:pt x="82" y="27"/>
                </a:cubicBezTo>
                <a:cubicBezTo>
                  <a:pt x="73" y="33"/>
                  <a:pt x="64" y="40"/>
                  <a:pt x="56" y="47"/>
                </a:cubicBezTo>
                <a:cubicBezTo>
                  <a:pt x="67" y="58"/>
                  <a:pt x="67" y="58"/>
                  <a:pt x="67" y="58"/>
                </a:cubicBezTo>
                <a:cubicBezTo>
                  <a:pt x="74" y="51"/>
                  <a:pt x="82" y="45"/>
                  <a:pt x="90" y="40"/>
                </a:cubicBezTo>
                <a:moveTo>
                  <a:pt x="18" y="256"/>
                </a:moveTo>
                <a:cubicBezTo>
                  <a:pt x="23" y="265"/>
                  <a:pt x="29" y="275"/>
                  <a:pt x="35" y="283"/>
                </a:cubicBezTo>
                <a:cubicBezTo>
                  <a:pt x="47" y="274"/>
                  <a:pt x="47" y="274"/>
                  <a:pt x="47" y="274"/>
                </a:cubicBezTo>
                <a:cubicBezTo>
                  <a:pt x="41" y="266"/>
                  <a:pt x="36" y="258"/>
                  <a:pt x="32" y="249"/>
                </a:cubicBezTo>
                <a:lnTo>
                  <a:pt x="18" y="256"/>
                </a:lnTo>
                <a:close/>
                <a:moveTo>
                  <a:pt x="205" y="18"/>
                </a:moveTo>
                <a:cubicBezTo>
                  <a:pt x="208" y="3"/>
                  <a:pt x="208" y="3"/>
                  <a:pt x="208" y="3"/>
                </a:cubicBezTo>
                <a:cubicBezTo>
                  <a:pt x="197" y="1"/>
                  <a:pt x="186" y="0"/>
                  <a:pt x="176" y="0"/>
                </a:cubicBezTo>
                <a:cubicBezTo>
                  <a:pt x="176" y="0"/>
                  <a:pt x="176" y="0"/>
                  <a:pt x="176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5" y="16"/>
                  <a:pt x="175" y="16"/>
                  <a:pt x="175" y="16"/>
                </a:cubicBezTo>
                <a:cubicBezTo>
                  <a:pt x="185" y="16"/>
                  <a:pt x="195" y="17"/>
                  <a:pt x="205" y="18"/>
                </a:cubicBezTo>
                <a:moveTo>
                  <a:pt x="57" y="307"/>
                </a:moveTo>
                <a:cubicBezTo>
                  <a:pt x="65" y="314"/>
                  <a:pt x="74" y="321"/>
                  <a:pt x="83" y="327"/>
                </a:cubicBezTo>
                <a:cubicBezTo>
                  <a:pt x="91" y="314"/>
                  <a:pt x="91" y="314"/>
                  <a:pt x="91" y="314"/>
                </a:cubicBezTo>
                <a:cubicBezTo>
                  <a:pt x="83" y="309"/>
                  <a:pt x="75" y="303"/>
                  <a:pt x="67" y="296"/>
                </a:cubicBezTo>
                <a:lnTo>
                  <a:pt x="57" y="307"/>
                </a:lnTo>
                <a:close/>
                <a:moveTo>
                  <a:pt x="47" y="80"/>
                </a:moveTo>
                <a:cubicBezTo>
                  <a:pt x="34" y="71"/>
                  <a:pt x="34" y="71"/>
                  <a:pt x="34" y="71"/>
                </a:cubicBezTo>
                <a:cubicBezTo>
                  <a:pt x="28" y="80"/>
                  <a:pt x="22" y="89"/>
                  <a:pt x="17" y="99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36" y="97"/>
                  <a:pt x="41" y="88"/>
                  <a:pt x="47" y="80"/>
                </a:cubicBezTo>
                <a:moveTo>
                  <a:pt x="268" y="27"/>
                </a:moveTo>
                <a:cubicBezTo>
                  <a:pt x="259" y="21"/>
                  <a:pt x="249" y="16"/>
                  <a:pt x="239" y="12"/>
                </a:cubicBezTo>
                <a:cubicBezTo>
                  <a:pt x="234" y="27"/>
                  <a:pt x="234" y="27"/>
                  <a:pt x="234" y="27"/>
                </a:cubicBezTo>
                <a:cubicBezTo>
                  <a:pt x="243" y="30"/>
                  <a:pt x="252" y="35"/>
                  <a:pt x="260" y="40"/>
                </a:cubicBezTo>
                <a:lnTo>
                  <a:pt x="268" y="27"/>
                </a:lnTo>
                <a:close/>
                <a:moveTo>
                  <a:pt x="145" y="19"/>
                </a:moveTo>
                <a:cubicBezTo>
                  <a:pt x="142" y="3"/>
                  <a:pt x="142" y="3"/>
                  <a:pt x="142" y="3"/>
                </a:cubicBezTo>
                <a:cubicBezTo>
                  <a:pt x="132" y="6"/>
                  <a:pt x="121" y="9"/>
                  <a:pt x="111" y="13"/>
                </a:cubicBezTo>
                <a:cubicBezTo>
                  <a:pt x="117" y="27"/>
                  <a:pt x="117" y="27"/>
                  <a:pt x="117" y="27"/>
                </a:cubicBezTo>
                <a:cubicBezTo>
                  <a:pt x="126" y="23"/>
                  <a:pt x="136" y="20"/>
                  <a:pt x="145" y="19"/>
                </a:cubicBezTo>
                <a:moveTo>
                  <a:pt x="345" y="128"/>
                </a:moveTo>
                <a:cubicBezTo>
                  <a:pt x="342" y="118"/>
                  <a:pt x="338" y="108"/>
                  <a:pt x="333" y="98"/>
                </a:cubicBezTo>
                <a:cubicBezTo>
                  <a:pt x="320" y="105"/>
                  <a:pt x="320" y="105"/>
                  <a:pt x="320" y="105"/>
                </a:cubicBezTo>
                <a:cubicBezTo>
                  <a:pt x="324" y="114"/>
                  <a:pt x="328" y="123"/>
                  <a:pt x="330" y="132"/>
                </a:cubicBezTo>
                <a:lnTo>
                  <a:pt x="345" y="128"/>
                </a:lnTo>
                <a:close/>
                <a:moveTo>
                  <a:pt x="320" y="248"/>
                </a:moveTo>
                <a:cubicBezTo>
                  <a:pt x="333" y="255"/>
                  <a:pt x="333" y="255"/>
                  <a:pt x="333" y="255"/>
                </a:cubicBezTo>
                <a:cubicBezTo>
                  <a:pt x="338" y="245"/>
                  <a:pt x="342" y="235"/>
                  <a:pt x="345" y="225"/>
                </a:cubicBezTo>
                <a:cubicBezTo>
                  <a:pt x="330" y="220"/>
                  <a:pt x="330" y="220"/>
                  <a:pt x="330" y="220"/>
                </a:cubicBezTo>
                <a:cubicBezTo>
                  <a:pt x="328" y="230"/>
                  <a:pt x="324" y="239"/>
                  <a:pt x="320" y="248"/>
                </a:cubicBezTo>
                <a:moveTo>
                  <a:pt x="112" y="341"/>
                </a:moveTo>
                <a:cubicBezTo>
                  <a:pt x="122" y="345"/>
                  <a:pt x="133" y="348"/>
                  <a:pt x="143" y="350"/>
                </a:cubicBezTo>
                <a:cubicBezTo>
                  <a:pt x="146" y="335"/>
                  <a:pt x="146" y="335"/>
                  <a:pt x="146" y="335"/>
                </a:cubicBezTo>
                <a:cubicBezTo>
                  <a:pt x="137" y="333"/>
                  <a:pt x="127" y="330"/>
                  <a:pt x="118" y="327"/>
                </a:cubicBezTo>
                <a:lnTo>
                  <a:pt x="112" y="341"/>
                </a:lnTo>
                <a:close/>
                <a:moveTo>
                  <a:pt x="304" y="80"/>
                </a:moveTo>
                <a:cubicBezTo>
                  <a:pt x="316" y="70"/>
                  <a:pt x="316" y="70"/>
                  <a:pt x="316" y="70"/>
                </a:cubicBezTo>
                <a:cubicBezTo>
                  <a:pt x="310" y="62"/>
                  <a:pt x="302" y="54"/>
                  <a:pt x="294" y="46"/>
                </a:cubicBezTo>
                <a:cubicBezTo>
                  <a:pt x="284" y="58"/>
                  <a:pt x="284" y="58"/>
                  <a:pt x="284" y="58"/>
                </a:cubicBezTo>
                <a:cubicBezTo>
                  <a:pt x="291" y="64"/>
                  <a:pt x="298" y="72"/>
                  <a:pt x="304" y="80"/>
                </a:cubicBezTo>
                <a:moveTo>
                  <a:pt x="351" y="160"/>
                </a:moveTo>
                <a:cubicBezTo>
                  <a:pt x="336" y="162"/>
                  <a:pt x="336" y="162"/>
                  <a:pt x="336" y="162"/>
                </a:cubicBezTo>
                <a:cubicBezTo>
                  <a:pt x="336" y="167"/>
                  <a:pt x="336" y="172"/>
                  <a:pt x="336" y="177"/>
                </a:cubicBezTo>
                <a:cubicBezTo>
                  <a:pt x="336" y="182"/>
                  <a:pt x="336" y="186"/>
                  <a:pt x="336" y="191"/>
                </a:cubicBezTo>
                <a:cubicBezTo>
                  <a:pt x="351" y="193"/>
                  <a:pt x="351" y="193"/>
                  <a:pt x="351" y="193"/>
                </a:cubicBezTo>
                <a:cubicBezTo>
                  <a:pt x="352" y="187"/>
                  <a:pt x="352" y="182"/>
                  <a:pt x="352" y="177"/>
                </a:cubicBezTo>
                <a:cubicBezTo>
                  <a:pt x="352" y="171"/>
                  <a:pt x="351" y="166"/>
                  <a:pt x="351" y="160"/>
                </a:cubicBezTo>
                <a:moveTo>
                  <a:pt x="284" y="295"/>
                </a:moveTo>
                <a:cubicBezTo>
                  <a:pt x="294" y="307"/>
                  <a:pt x="294" y="307"/>
                  <a:pt x="294" y="307"/>
                </a:cubicBezTo>
                <a:cubicBezTo>
                  <a:pt x="302" y="299"/>
                  <a:pt x="310" y="291"/>
                  <a:pt x="316" y="283"/>
                </a:cubicBezTo>
                <a:cubicBezTo>
                  <a:pt x="304" y="273"/>
                  <a:pt x="304" y="273"/>
                  <a:pt x="304" y="273"/>
                </a:cubicBezTo>
                <a:cubicBezTo>
                  <a:pt x="298" y="281"/>
                  <a:pt x="291" y="289"/>
                  <a:pt x="284" y="295"/>
                </a:cubicBezTo>
                <a:moveTo>
                  <a:pt x="184" y="265"/>
                </a:moveTo>
                <a:cubicBezTo>
                  <a:pt x="184" y="108"/>
                  <a:pt x="184" y="108"/>
                  <a:pt x="184" y="108"/>
                </a:cubicBezTo>
                <a:cubicBezTo>
                  <a:pt x="234" y="158"/>
                  <a:pt x="234" y="158"/>
                  <a:pt x="234" y="158"/>
                </a:cubicBezTo>
                <a:cubicBezTo>
                  <a:pt x="236" y="160"/>
                  <a:pt x="238" y="161"/>
                  <a:pt x="240" y="161"/>
                </a:cubicBezTo>
                <a:cubicBezTo>
                  <a:pt x="244" y="161"/>
                  <a:pt x="248" y="157"/>
                  <a:pt x="248" y="153"/>
                </a:cubicBezTo>
                <a:cubicBezTo>
                  <a:pt x="248" y="150"/>
                  <a:pt x="247" y="148"/>
                  <a:pt x="246" y="147"/>
                </a:cubicBezTo>
                <a:cubicBezTo>
                  <a:pt x="182" y="83"/>
                  <a:pt x="182" y="83"/>
                  <a:pt x="182" y="83"/>
                </a:cubicBezTo>
                <a:cubicBezTo>
                  <a:pt x="180" y="81"/>
                  <a:pt x="178" y="80"/>
                  <a:pt x="176" y="80"/>
                </a:cubicBezTo>
                <a:cubicBezTo>
                  <a:pt x="174" y="80"/>
                  <a:pt x="172" y="81"/>
                  <a:pt x="170" y="83"/>
                </a:cubicBezTo>
                <a:cubicBezTo>
                  <a:pt x="106" y="147"/>
                  <a:pt x="106" y="147"/>
                  <a:pt x="106" y="147"/>
                </a:cubicBezTo>
                <a:cubicBezTo>
                  <a:pt x="104" y="148"/>
                  <a:pt x="104" y="150"/>
                  <a:pt x="104" y="153"/>
                </a:cubicBezTo>
                <a:cubicBezTo>
                  <a:pt x="104" y="157"/>
                  <a:pt x="107" y="161"/>
                  <a:pt x="112" y="161"/>
                </a:cubicBezTo>
                <a:cubicBezTo>
                  <a:pt x="114" y="161"/>
                  <a:pt x="116" y="160"/>
                  <a:pt x="117" y="158"/>
                </a:cubicBezTo>
                <a:cubicBezTo>
                  <a:pt x="168" y="108"/>
                  <a:pt x="168" y="108"/>
                  <a:pt x="168" y="108"/>
                </a:cubicBezTo>
                <a:cubicBezTo>
                  <a:pt x="168" y="265"/>
                  <a:pt x="168" y="265"/>
                  <a:pt x="168" y="265"/>
                </a:cubicBezTo>
                <a:cubicBezTo>
                  <a:pt x="168" y="269"/>
                  <a:pt x="171" y="273"/>
                  <a:pt x="176" y="273"/>
                </a:cubicBezTo>
                <a:cubicBezTo>
                  <a:pt x="180" y="273"/>
                  <a:pt x="184" y="269"/>
                  <a:pt x="184" y="265"/>
                </a:cubicBezTo>
                <a:moveTo>
                  <a:pt x="234" y="327"/>
                </a:moveTo>
                <a:cubicBezTo>
                  <a:pt x="239" y="341"/>
                  <a:pt x="239" y="341"/>
                  <a:pt x="239" y="341"/>
                </a:cubicBezTo>
                <a:cubicBezTo>
                  <a:pt x="250" y="337"/>
                  <a:pt x="259" y="332"/>
                  <a:pt x="269" y="326"/>
                </a:cubicBezTo>
                <a:cubicBezTo>
                  <a:pt x="260" y="313"/>
                  <a:pt x="260" y="313"/>
                  <a:pt x="260" y="313"/>
                </a:cubicBezTo>
                <a:cubicBezTo>
                  <a:pt x="252" y="319"/>
                  <a:pt x="243" y="323"/>
                  <a:pt x="234" y="327"/>
                </a:cubicBezTo>
                <a:moveTo>
                  <a:pt x="176" y="338"/>
                </a:moveTo>
                <a:cubicBezTo>
                  <a:pt x="176" y="353"/>
                  <a:pt x="176" y="353"/>
                  <a:pt x="176" y="353"/>
                </a:cubicBezTo>
                <a:cubicBezTo>
                  <a:pt x="187" y="353"/>
                  <a:pt x="198" y="352"/>
                  <a:pt x="208" y="350"/>
                </a:cubicBezTo>
                <a:cubicBezTo>
                  <a:pt x="205" y="335"/>
                  <a:pt x="205" y="335"/>
                  <a:pt x="205" y="335"/>
                </a:cubicBezTo>
                <a:cubicBezTo>
                  <a:pt x="196" y="337"/>
                  <a:pt x="186" y="338"/>
                  <a:pt x="176" y="338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7" name="TextBox 16"/>
          <p:cNvSpPr txBox="1"/>
          <p:nvPr/>
        </p:nvSpPr>
        <p:spPr>
          <a:xfrm>
            <a:off x="3964520" y="2066060"/>
            <a:ext cx="121496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Em</a:t>
            </a: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2018</a:t>
            </a: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878137471"/>
              </p:ext>
            </p:extLst>
          </p:nvPr>
        </p:nvGraphicFramePr>
        <p:xfrm>
          <a:off x="1219161" y="1382753"/>
          <a:ext cx="2444365" cy="2513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1805898" y="2319254"/>
            <a:ext cx="1270890" cy="648503"/>
            <a:chOff x="1805898" y="2319254"/>
            <a:chExt cx="1270890" cy="648503"/>
          </a:xfrm>
        </p:grpSpPr>
        <p:sp>
          <p:nvSpPr>
            <p:cNvPr id="8" name="TextBox 7"/>
            <p:cNvSpPr txBox="1"/>
            <p:nvPr/>
          </p:nvSpPr>
          <p:spPr>
            <a:xfrm>
              <a:off x="1805898" y="2319254"/>
              <a:ext cx="1270890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0" b="1" cap="all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+56%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805898" y="2829258"/>
              <a:ext cx="12708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Novos</a:t>
              </a:r>
              <a:r>
                <a:rPr lang="en-US" sz="9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9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Inscritos</a:t>
              </a:r>
              <a:endParaRPr lang="en-US" sz="9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543136" y="3920022"/>
            <a:ext cx="1796415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3539593045"/>
              </p:ext>
            </p:extLst>
          </p:nvPr>
        </p:nvGraphicFramePr>
        <p:xfrm>
          <a:off x="5480475" y="1382753"/>
          <a:ext cx="2444365" cy="2513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5935830" y="2331851"/>
            <a:ext cx="1533653" cy="635906"/>
            <a:chOff x="5935830" y="2331851"/>
            <a:chExt cx="1533653" cy="635906"/>
          </a:xfrm>
        </p:grpSpPr>
        <p:sp>
          <p:nvSpPr>
            <p:cNvPr id="25" name="TextBox 24"/>
            <p:cNvSpPr txBox="1"/>
            <p:nvPr/>
          </p:nvSpPr>
          <p:spPr>
            <a:xfrm>
              <a:off x="5935830" y="2331851"/>
              <a:ext cx="1533653" cy="46166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0" b="1" cap="all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$86m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067212" y="2829258"/>
              <a:ext cx="127089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Lucro</a:t>
              </a:r>
              <a:r>
                <a:rPr lang="en-US" sz="9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9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nual</a:t>
              </a:r>
              <a:endParaRPr lang="en-US" sz="9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5804450" y="3920022"/>
            <a:ext cx="1796415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45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Chart 26"/>
          <p:cNvGraphicFramePr/>
          <p:nvPr>
            <p:extLst>
              <p:ext uri="{D42A27DB-BD31-4B8C-83A1-F6EECF244321}">
                <p14:modId xmlns:p14="http://schemas.microsoft.com/office/powerpoint/2010/main" val="1645192915"/>
              </p:ext>
            </p:extLst>
          </p:nvPr>
        </p:nvGraphicFramePr>
        <p:xfrm>
          <a:off x="3767555" y="1735438"/>
          <a:ext cx="1608890" cy="165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/>
          <p:cNvGraphicFramePr/>
          <p:nvPr>
            <p:extLst>
              <p:ext uri="{D42A27DB-BD31-4B8C-83A1-F6EECF244321}">
                <p14:modId xmlns:p14="http://schemas.microsoft.com/office/powerpoint/2010/main" val="2914479189"/>
              </p:ext>
            </p:extLst>
          </p:nvPr>
        </p:nvGraphicFramePr>
        <p:xfrm>
          <a:off x="1008904" y="1735438"/>
          <a:ext cx="1608890" cy="165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1940653628"/>
              </p:ext>
            </p:extLst>
          </p:nvPr>
        </p:nvGraphicFramePr>
        <p:xfrm>
          <a:off x="6526207" y="1735438"/>
          <a:ext cx="1608890" cy="165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NDIMENTO </a:t>
            </a:r>
            <a:r>
              <a:rPr lang="en-US" dirty="0">
                <a:solidFill>
                  <a:srgbClr val="EC0000"/>
                </a:solidFill>
              </a:rPr>
              <a:t>ANU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142978" y="2427662"/>
            <a:ext cx="8580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35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81994" y="1593355"/>
            <a:ext cx="158001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Receita</a:t>
            </a:r>
            <a:r>
              <a:rPr lang="en-US" sz="9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900" b="1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íquida</a:t>
            </a:r>
            <a:endParaRPr lang="en-US" sz="900" b="1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81994" y="3619857"/>
            <a:ext cx="15800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R$780.50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81994" y="3883815"/>
            <a:ext cx="1580012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84327" y="2427662"/>
            <a:ext cx="8580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56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29022" y="1593355"/>
            <a:ext cx="156865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Receita</a:t>
            </a:r>
            <a:endParaRPr lang="en-US" sz="900" b="1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23343" y="3619857"/>
            <a:ext cx="15800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R$1.478.500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23343" y="3883815"/>
            <a:ext cx="1580012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901630" y="2427662"/>
            <a:ext cx="8580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73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52005" y="1593355"/>
            <a:ext cx="155729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Balanço</a:t>
            </a:r>
            <a:r>
              <a:rPr lang="en-US" sz="9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Tota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40646" y="3619857"/>
            <a:ext cx="15800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rgbClr val="EC0000"/>
                </a:solidFill>
                <a:latin typeface="Lato Black" panose="020F0A02020204030203" pitchFamily="34" charset="0"/>
                <a:cs typeface="Poppins SemiBold" panose="02000000000000000000" pitchFamily="2" charset="0"/>
              </a:rPr>
              <a:t>R$2.785,350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540646" y="3883815"/>
            <a:ext cx="1580012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3205692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5938309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1813349" y="3310997"/>
            <a:ext cx="0" cy="19896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4572000" y="3310997"/>
            <a:ext cx="0" cy="19896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7330652" y="3310997"/>
            <a:ext cx="0" cy="198967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842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ARAÇÃO DE </a:t>
            </a:r>
            <a:r>
              <a:rPr lang="en-US" dirty="0">
                <a:solidFill>
                  <a:srgbClr val="EC0000"/>
                </a:solidFill>
              </a:rPr>
              <a:t>RECEIT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050543309"/>
              </p:ext>
            </p:extLst>
          </p:nvPr>
        </p:nvGraphicFramePr>
        <p:xfrm>
          <a:off x="593725" y="1405471"/>
          <a:ext cx="1543214" cy="1510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1134" y="3182463"/>
            <a:ext cx="1528396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7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01134" y="2960422"/>
            <a:ext cx="1528396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Primeiro</a:t>
            </a:r>
            <a:r>
              <a:rPr lang="en-US" sz="10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 </a:t>
            </a:r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trimestre</a:t>
            </a:r>
            <a:endParaRPr lang="en-US" sz="1000" cap="all" spc="20" dirty="0">
              <a:solidFill>
                <a:srgbClr val="EC0000"/>
              </a:solidFill>
              <a:latin typeface="Lato" panose="020F0502020204030203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5419" y="2022093"/>
            <a:ext cx="10198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5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457011" y="3956160"/>
            <a:ext cx="6229978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urab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ore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ligula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vam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ement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bero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nisi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r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inib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diam vitae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ulputat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verr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psum.</a:t>
            </a:r>
          </a:p>
        </p:txBody>
      </p:sp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val="3655357762"/>
              </p:ext>
            </p:extLst>
          </p:nvPr>
        </p:nvGraphicFramePr>
        <p:xfrm>
          <a:off x="6994362" y="1405471"/>
          <a:ext cx="1543214" cy="1510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7001771" y="3182463"/>
            <a:ext cx="1528396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7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25" name="Title 2"/>
          <p:cNvSpPr txBox="1">
            <a:spLocks/>
          </p:cNvSpPr>
          <p:nvPr/>
        </p:nvSpPr>
        <p:spPr>
          <a:xfrm>
            <a:off x="7001771" y="2960422"/>
            <a:ext cx="1528396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Quarto </a:t>
            </a:r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trimestre</a:t>
            </a:r>
            <a:endParaRPr lang="en-US" sz="1000" cap="all" spc="20" dirty="0">
              <a:solidFill>
                <a:srgbClr val="EC0000"/>
              </a:solidFill>
              <a:latin typeface="Lato" panose="020F0502020204030203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256056" y="2022093"/>
            <a:ext cx="10198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8%</a:t>
            </a:r>
          </a:p>
        </p:txBody>
      </p:sp>
      <p:graphicFrame>
        <p:nvGraphicFramePr>
          <p:cNvPr id="28" name="Chart 27"/>
          <p:cNvGraphicFramePr/>
          <p:nvPr>
            <p:extLst>
              <p:ext uri="{D42A27DB-BD31-4B8C-83A1-F6EECF244321}">
                <p14:modId xmlns:p14="http://schemas.microsoft.com/office/powerpoint/2010/main" val="2670984594"/>
              </p:ext>
            </p:extLst>
          </p:nvPr>
        </p:nvGraphicFramePr>
        <p:xfrm>
          <a:off x="4860817" y="1405471"/>
          <a:ext cx="1543214" cy="1510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4868226" y="3182463"/>
            <a:ext cx="1528396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7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30" name="Title 2"/>
          <p:cNvSpPr txBox="1">
            <a:spLocks/>
          </p:cNvSpPr>
          <p:nvPr/>
        </p:nvSpPr>
        <p:spPr>
          <a:xfrm>
            <a:off x="4868226" y="2960422"/>
            <a:ext cx="1528396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Terceiro</a:t>
            </a:r>
            <a:r>
              <a:rPr lang="en-US" sz="10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 </a:t>
            </a:r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trimestre</a:t>
            </a:r>
            <a:endParaRPr lang="en-US" sz="1000" cap="all" spc="20" dirty="0">
              <a:solidFill>
                <a:srgbClr val="EC0000"/>
              </a:solidFill>
              <a:latin typeface="Lato" panose="020F0502020204030203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122511" y="2022093"/>
            <a:ext cx="10198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8%</a:t>
            </a:r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val="1043063243"/>
              </p:ext>
            </p:extLst>
          </p:nvPr>
        </p:nvGraphicFramePr>
        <p:xfrm>
          <a:off x="2727271" y="1405471"/>
          <a:ext cx="1543214" cy="15102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2734680" y="3182463"/>
            <a:ext cx="1528396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Donec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li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ro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efficitur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obort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in,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imperdiet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quis</a:t>
            </a:r>
            <a:r>
              <a:rPr lang="en-US" sz="7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 </a:t>
            </a:r>
            <a:r>
              <a:rPr lang="en-US" sz="700" dirty="0" err="1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lacus</a:t>
            </a:r>
            <a:endParaRPr lang="en-US" sz="700" dirty="0">
              <a:solidFill>
                <a:schemeClr val="accent4"/>
              </a:solidFill>
              <a:latin typeface="Lato" panose="020F0502020204030203" pitchFamily="34" charset="0"/>
              <a:cs typeface="Poppins" panose="02000000000000000000" pitchFamily="2" charset="0"/>
            </a:endParaRP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2734680" y="2960422"/>
            <a:ext cx="1528396" cy="153888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Segundo </a:t>
            </a:r>
            <a:r>
              <a:rPr lang="en-US" sz="1000" cap="all" spc="20" dirty="0" err="1">
                <a:solidFill>
                  <a:srgbClr val="EC0000"/>
                </a:solidFill>
                <a:latin typeface="Lato" panose="020F0502020204030203" pitchFamily="34" charset="0"/>
              </a:rPr>
              <a:t>trimestre</a:t>
            </a:r>
            <a:endParaRPr lang="en-US" sz="1000" cap="all" spc="20" dirty="0">
              <a:solidFill>
                <a:srgbClr val="EC0000"/>
              </a:solidFill>
              <a:latin typeface="Lato" panose="020F0502020204030203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88965" y="2022093"/>
            <a:ext cx="101982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48%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4572000" y="1543050"/>
            <a:ext cx="0" cy="201718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2394479" y="1543050"/>
            <a:ext cx="0" cy="201718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6749521" y="1543050"/>
            <a:ext cx="0" cy="201718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68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NÁLISE DE </a:t>
            </a:r>
            <a:r>
              <a:rPr lang="en-US" dirty="0">
                <a:solidFill>
                  <a:srgbClr val="EC0000"/>
                </a:solidFill>
              </a:rPr>
              <a:t>RECEIT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83180" y="3147239"/>
            <a:ext cx="15108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rgbClr val="EC0000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90.2%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807582" y="1543050"/>
            <a:ext cx="1262063" cy="1262061"/>
            <a:chOff x="807582" y="1543050"/>
            <a:chExt cx="1262063" cy="1262061"/>
          </a:xfrm>
        </p:grpSpPr>
        <p:sp>
          <p:nvSpPr>
            <p:cNvPr id="6" name="Oval 5"/>
            <p:cNvSpPr/>
            <p:nvPr/>
          </p:nvSpPr>
          <p:spPr>
            <a:xfrm>
              <a:off x="807582" y="1543050"/>
              <a:ext cx="1262063" cy="126206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Oval 6"/>
            <p:cNvSpPr/>
            <p:nvPr/>
          </p:nvSpPr>
          <p:spPr>
            <a:xfrm>
              <a:off x="907119" y="1642586"/>
              <a:ext cx="1062990" cy="1062990"/>
            </a:xfrm>
            <a:prstGeom prst="ellipse">
              <a:avLst/>
            </a:prstGeom>
            <a:solidFill>
              <a:srgbClr val="F7F8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sp>
        <p:nvSpPr>
          <p:cNvPr id="8" name="Chord 7"/>
          <p:cNvSpPr/>
          <p:nvPr/>
        </p:nvSpPr>
        <p:spPr>
          <a:xfrm>
            <a:off x="907119" y="1642586"/>
            <a:ext cx="1062990" cy="1062990"/>
          </a:xfrm>
          <a:prstGeom prst="chord">
            <a:avLst>
              <a:gd name="adj1" fmla="val 19469359"/>
              <a:gd name="adj2" fmla="val 12942609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9" name="Straight Connector 8"/>
          <p:cNvCxnSpPr/>
          <p:nvPr/>
        </p:nvCxnSpPr>
        <p:spPr>
          <a:xfrm>
            <a:off x="1438614" y="2252661"/>
            <a:ext cx="0" cy="773906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974339" y="3147239"/>
            <a:ext cx="15108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rgbClr val="EC0000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85.8%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7098741" y="1543050"/>
            <a:ext cx="1262063" cy="1262061"/>
            <a:chOff x="7098741" y="1543050"/>
            <a:chExt cx="1262063" cy="1262061"/>
          </a:xfrm>
        </p:grpSpPr>
        <p:sp>
          <p:nvSpPr>
            <p:cNvPr id="12" name="Oval 11"/>
            <p:cNvSpPr/>
            <p:nvPr/>
          </p:nvSpPr>
          <p:spPr>
            <a:xfrm>
              <a:off x="7098741" y="1543050"/>
              <a:ext cx="1262063" cy="126206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Oval 12"/>
            <p:cNvSpPr/>
            <p:nvPr/>
          </p:nvSpPr>
          <p:spPr>
            <a:xfrm>
              <a:off x="7198278" y="1642586"/>
              <a:ext cx="1062990" cy="1062990"/>
            </a:xfrm>
            <a:prstGeom prst="ellipse">
              <a:avLst/>
            </a:prstGeom>
            <a:solidFill>
              <a:srgbClr val="F7F8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sp>
        <p:nvSpPr>
          <p:cNvPr id="14" name="Chord 13"/>
          <p:cNvSpPr/>
          <p:nvPr/>
        </p:nvSpPr>
        <p:spPr>
          <a:xfrm>
            <a:off x="7198278" y="1642586"/>
            <a:ext cx="1062990" cy="1062990"/>
          </a:xfrm>
          <a:prstGeom prst="chord">
            <a:avLst>
              <a:gd name="adj1" fmla="val 19964453"/>
              <a:gd name="adj2" fmla="val 12449844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15" name="Straight Connector 14"/>
          <p:cNvCxnSpPr/>
          <p:nvPr/>
        </p:nvCxnSpPr>
        <p:spPr>
          <a:xfrm>
            <a:off x="7729773" y="2252661"/>
            <a:ext cx="0" cy="773906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877286" y="3147239"/>
            <a:ext cx="15108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rgbClr val="EC0000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50.5%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5001688" y="1543050"/>
            <a:ext cx="1262063" cy="1262061"/>
            <a:chOff x="5001688" y="1543050"/>
            <a:chExt cx="1262063" cy="1262061"/>
          </a:xfrm>
        </p:grpSpPr>
        <p:sp>
          <p:nvSpPr>
            <p:cNvPr id="18" name="Oval 17"/>
            <p:cNvSpPr/>
            <p:nvPr/>
          </p:nvSpPr>
          <p:spPr>
            <a:xfrm>
              <a:off x="5001688" y="1543050"/>
              <a:ext cx="1262063" cy="126206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9" name="Oval 18"/>
            <p:cNvSpPr/>
            <p:nvPr/>
          </p:nvSpPr>
          <p:spPr>
            <a:xfrm>
              <a:off x="5101224" y="1642586"/>
              <a:ext cx="1062990" cy="1062990"/>
            </a:xfrm>
            <a:prstGeom prst="ellipse">
              <a:avLst/>
            </a:prstGeom>
            <a:solidFill>
              <a:srgbClr val="F7F8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sp>
        <p:nvSpPr>
          <p:cNvPr id="20" name="Chord 19"/>
          <p:cNvSpPr/>
          <p:nvPr/>
        </p:nvSpPr>
        <p:spPr>
          <a:xfrm>
            <a:off x="5101224" y="1642586"/>
            <a:ext cx="1062990" cy="1062990"/>
          </a:xfrm>
          <a:prstGeom prst="chord">
            <a:avLst>
              <a:gd name="adj1" fmla="val 21552497"/>
              <a:gd name="adj2" fmla="val 10820936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21" name="Straight Connector 20"/>
          <p:cNvCxnSpPr/>
          <p:nvPr/>
        </p:nvCxnSpPr>
        <p:spPr>
          <a:xfrm>
            <a:off x="5632719" y="2439680"/>
            <a:ext cx="0" cy="586887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780233" y="3147239"/>
            <a:ext cx="151086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cap="all" dirty="0">
                <a:solidFill>
                  <a:srgbClr val="EC0000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65.3%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2904635" y="1543050"/>
            <a:ext cx="1262063" cy="1262061"/>
            <a:chOff x="2904635" y="1543050"/>
            <a:chExt cx="1262063" cy="1262061"/>
          </a:xfrm>
        </p:grpSpPr>
        <p:sp>
          <p:nvSpPr>
            <p:cNvPr id="24" name="Oval 23"/>
            <p:cNvSpPr/>
            <p:nvPr/>
          </p:nvSpPr>
          <p:spPr>
            <a:xfrm>
              <a:off x="2904635" y="1543050"/>
              <a:ext cx="1262063" cy="1262061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5" name="Oval 24"/>
            <p:cNvSpPr/>
            <p:nvPr/>
          </p:nvSpPr>
          <p:spPr>
            <a:xfrm>
              <a:off x="3004172" y="1642586"/>
              <a:ext cx="1062990" cy="1062990"/>
            </a:xfrm>
            <a:prstGeom prst="ellipse">
              <a:avLst/>
            </a:prstGeom>
            <a:solidFill>
              <a:srgbClr val="F7F8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sp>
        <p:nvSpPr>
          <p:cNvPr id="26" name="Chord 25"/>
          <p:cNvSpPr/>
          <p:nvPr/>
        </p:nvSpPr>
        <p:spPr>
          <a:xfrm>
            <a:off x="3004172" y="1642586"/>
            <a:ext cx="1062990" cy="1062990"/>
          </a:xfrm>
          <a:prstGeom prst="chord">
            <a:avLst>
              <a:gd name="adj1" fmla="val 20666886"/>
              <a:gd name="adj2" fmla="val 1175560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27" name="Straight Connector 26"/>
          <p:cNvCxnSpPr/>
          <p:nvPr/>
        </p:nvCxnSpPr>
        <p:spPr>
          <a:xfrm>
            <a:off x="3535667" y="2311563"/>
            <a:ext cx="0" cy="715004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38"/>
          <p:cNvGrpSpPr/>
          <p:nvPr/>
        </p:nvGrpSpPr>
        <p:grpSpPr>
          <a:xfrm>
            <a:off x="683180" y="3556724"/>
            <a:ext cx="1510867" cy="517519"/>
            <a:chOff x="683180" y="3556724"/>
            <a:chExt cx="1510867" cy="517519"/>
          </a:xfrm>
        </p:grpSpPr>
        <p:sp>
          <p:nvSpPr>
            <p:cNvPr id="4" name="TextBox 3"/>
            <p:cNvSpPr txBox="1"/>
            <p:nvPr/>
          </p:nvSpPr>
          <p:spPr>
            <a:xfrm>
              <a:off x="683180" y="3770890"/>
              <a:ext cx="1510867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83180" y="3556724"/>
              <a:ext cx="1510867" cy="161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RANSAÇÕES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974339" y="3556724"/>
            <a:ext cx="1510867" cy="516108"/>
            <a:chOff x="6974339" y="3556724"/>
            <a:chExt cx="1510867" cy="516108"/>
          </a:xfrm>
        </p:grpSpPr>
        <p:sp>
          <p:nvSpPr>
            <p:cNvPr id="10" name="TextBox 9"/>
            <p:cNvSpPr txBox="1"/>
            <p:nvPr/>
          </p:nvSpPr>
          <p:spPr>
            <a:xfrm>
              <a:off x="6974339" y="3770890"/>
              <a:ext cx="1510867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974339" y="3556724"/>
              <a:ext cx="1510867" cy="161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DISTRIBUIÇÃO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877286" y="3556724"/>
            <a:ext cx="1510867" cy="516108"/>
            <a:chOff x="4877286" y="3556724"/>
            <a:chExt cx="1510867" cy="516108"/>
          </a:xfrm>
        </p:grpSpPr>
        <p:sp>
          <p:nvSpPr>
            <p:cNvPr id="16" name="TextBox 15"/>
            <p:cNvSpPr txBox="1"/>
            <p:nvPr/>
          </p:nvSpPr>
          <p:spPr>
            <a:xfrm>
              <a:off x="4877286" y="3770890"/>
              <a:ext cx="1510867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877286" y="3556724"/>
              <a:ext cx="1510867" cy="161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ONSULTORIA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780233" y="3556724"/>
            <a:ext cx="1510867" cy="516108"/>
            <a:chOff x="2780233" y="3556724"/>
            <a:chExt cx="1510867" cy="516108"/>
          </a:xfrm>
        </p:grpSpPr>
        <p:sp>
          <p:nvSpPr>
            <p:cNvPr id="22" name="TextBox 21"/>
            <p:cNvSpPr txBox="1"/>
            <p:nvPr/>
          </p:nvSpPr>
          <p:spPr>
            <a:xfrm>
              <a:off x="2780233" y="3770890"/>
              <a:ext cx="1510867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id 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780233" y="3556724"/>
              <a:ext cx="1510867" cy="1611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DIGIT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805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Straight Connector 35"/>
          <p:cNvCxnSpPr/>
          <p:nvPr/>
        </p:nvCxnSpPr>
        <p:spPr>
          <a:xfrm>
            <a:off x="1541783" y="2753141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1202947" y="2501067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14K</a:t>
            </a:r>
          </a:p>
        </p:txBody>
      </p:sp>
      <p:cxnSp>
        <p:nvCxnSpPr>
          <p:cNvPr id="44" name="Straight Connector 43"/>
          <p:cNvCxnSpPr/>
          <p:nvPr/>
        </p:nvCxnSpPr>
        <p:spPr>
          <a:xfrm>
            <a:off x="2753614" y="2281089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2414778" y="2029015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18K</a:t>
            </a:r>
          </a:p>
        </p:txBody>
      </p:sp>
      <p:cxnSp>
        <p:nvCxnSpPr>
          <p:cNvPr id="46" name="Straight Connector 45"/>
          <p:cNvCxnSpPr/>
          <p:nvPr/>
        </p:nvCxnSpPr>
        <p:spPr>
          <a:xfrm>
            <a:off x="3965445" y="1889229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626609" y="1637155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22K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5177277" y="1781227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838441" y="1529153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24K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6389108" y="2188288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6050272" y="1936214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19K</a:t>
            </a:r>
          </a:p>
        </p:txBody>
      </p:sp>
      <p:cxnSp>
        <p:nvCxnSpPr>
          <p:cNvPr id="52" name="Straight Connector 51"/>
          <p:cNvCxnSpPr/>
          <p:nvPr/>
        </p:nvCxnSpPr>
        <p:spPr>
          <a:xfrm>
            <a:off x="7600939" y="3031548"/>
            <a:ext cx="0" cy="21010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7262103" y="2779474"/>
            <a:ext cx="67767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dirty="0">
                <a:solidFill>
                  <a:schemeClr val="accent1"/>
                </a:solidFill>
                <a:latin typeface="Lato Black" panose="020F0A02020204030203" pitchFamily="34" charset="0"/>
                <a:cs typeface="Poppins" panose="02000000000000000000" pitchFamily="2" charset="0"/>
              </a:rPr>
              <a:t>r$9.7K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DESPESAS</a:t>
            </a:r>
            <a:r>
              <a:rPr lang="en-US" dirty="0"/>
              <a:t> INICIAI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3"/>
          <p:cNvSpPr/>
          <p:nvPr/>
        </p:nvSpPr>
        <p:spPr>
          <a:xfrm>
            <a:off x="744310" y="2955811"/>
            <a:ext cx="1594946" cy="1227413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Freeform 4"/>
          <p:cNvSpPr/>
          <p:nvPr/>
        </p:nvSpPr>
        <p:spPr>
          <a:xfrm>
            <a:off x="1956141" y="2474016"/>
            <a:ext cx="1594946" cy="1709209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Freeform 5"/>
          <p:cNvSpPr/>
          <p:nvPr/>
        </p:nvSpPr>
        <p:spPr>
          <a:xfrm>
            <a:off x="3167972" y="2089184"/>
            <a:ext cx="1594946" cy="2094041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Freeform 6"/>
          <p:cNvSpPr/>
          <p:nvPr/>
        </p:nvSpPr>
        <p:spPr>
          <a:xfrm>
            <a:off x="4379804" y="1986159"/>
            <a:ext cx="1594946" cy="2197066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Freeform 7"/>
          <p:cNvSpPr/>
          <p:nvPr/>
        </p:nvSpPr>
        <p:spPr>
          <a:xfrm>
            <a:off x="5591635" y="2386141"/>
            <a:ext cx="1594946" cy="1797084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Freeform 8"/>
          <p:cNvSpPr/>
          <p:nvPr/>
        </p:nvSpPr>
        <p:spPr>
          <a:xfrm>
            <a:off x="6803466" y="3234587"/>
            <a:ext cx="1594946" cy="948638"/>
          </a:xfrm>
          <a:custGeom>
            <a:avLst/>
            <a:gdLst>
              <a:gd name="connsiteX0" fmla="*/ 2188895 w 4377790"/>
              <a:gd name="connsiteY0" fmla="*/ 0 h 4318654"/>
              <a:gd name="connsiteX1" fmla="*/ 4377790 w 4377790"/>
              <a:gd name="connsiteY1" fmla="*/ 4318654 h 4318654"/>
              <a:gd name="connsiteX2" fmla="*/ 0 w 4377790"/>
              <a:gd name="connsiteY2" fmla="*/ 4318654 h 431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77790" h="4318654">
                <a:moveTo>
                  <a:pt x="2188895" y="0"/>
                </a:moveTo>
                <a:lnTo>
                  <a:pt x="4377790" y="4318654"/>
                </a:lnTo>
                <a:lnTo>
                  <a:pt x="0" y="4318654"/>
                </a:lnTo>
                <a:close/>
              </a:path>
            </a:pathLst>
          </a:cu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9" name="Rounded Rectangle 28"/>
          <p:cNvSpPr/>
          <p:nvPr/>
        </p:nvSpPr>
        <p:spPr>
          <a:xfrm>
            <a:off x="593725" y="4031403"/>
            <a:ext cx="7953375" cy="254847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989306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JANEIRO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201137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FEVEREIR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412968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MARÇO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624800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ABRIL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836631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MAIO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048461" y="4097271"/>
            <a:ext cx="11049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" panose="02000000000000000000" pitchFamily="2" charset="0"/>
              </a:rPr>
              <a:t>JUNHO</a:t>
            </a:r>
          </a:p>
        </p:txBody>
      </p:sp>
    </p:spTree>
    <p:extLst>
      <p:ext uri="{BB962C8B-B14F-4D97-AF65-F5344CB8AC3E}">
        <p14:creationId xmlns:p14="http://schemas.microsoft.com/office/powerpoint/2010/main" val="943928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>
            <a:endCxn id="11" idx="2"/>
          </p:cNvCxnSpPr>
          <p:nvPr/>
        </p:nvCxnSpPr>
        <p:spPr>
          <a:xfrm>
            <a:off x="1641351" y="3983964"/>
            <a:ext cx="136245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stCxn id="11" idx="6"/>
            <a:endCxn id="16" idx="2"/>
          </p:cNvCxnSpPr>
          <p:nvPr/>
        </p:nvCxnSpPr>
        <p:spPr>
          <a:xfrm>
            <a:off x="3140966" y="3983964"/>
            <a:ext cx="136245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16" idx="6"/>
            <a:endCxn id="21" idx="2"/>
          </p:cNvCxnSpPr>
          <p:nvPr/>
        </p:nvCxnSpPr>
        <p:spPr>
          <a:xfrm>
            <a:off x="4640580" y="3983964"/>
            <a:ext cx="1362455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>
            <a:stCxn id="21" idx="6"/>
            <a:endCxn id="26" idx="2"/>
          </p:cNvCxnSpPr>
          <p:nvPr/>
        </p:nvCxnSpPr>
        <p:spPr>
          <a:xfrm>
            <a:off x="6140195" y="3983964"/>
            <a:ext cx="136245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RESCIMENTO DE </a:t>
            </a:r>
            <a:r>
              <a:rPr lang="en-US" dirty="0">
                <a:solidFill>
                  <a:srgbClr val="EC0000"/>
                </a:solidFill>
              </a:rPr>
              <a:t>MERCAD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Pentagon 4"/>
          <p:cNvSpPr/>
          <p:nvPr/>
        </p:nvSpPr>
        <p:spPr>
          <a:xfrm rot="16200000">
            <a:off x="1059644" y="2516142"/>
            <a:ext cx="1026255" cy="956091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Pentagon 9"/>
          <p:cNvSpPr/>
          <p:nvPr/>
        </p:nvSpPr>
        <p:spPr>
          <a:xfrm rot="16200000">
            <a:off x="2394208" y="2351091"/>
            <a:ext cx="1356356" cy="956090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5" name="Pentagon 14"/>
          <p:cNvSpPr/>
          <p:nvPr/>
        </p:nvSpPr>
        <p:spPr>
          <a:xfrm rot="16200000">
            <a:off x="3785967" y="2243238"/>
            <a:ext cx="1572067" cy="956090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0" name="Pentagon 19"/>
          <p:cNvSpPr/>
          <p:nvPr/>
        </p:nvSpPr>
        <p:spPr>
          <a:xfrm rot="16200000">
            <a:off x="5182630" y="2140284"/>
            <a:ext cx="1777971" cy="956092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5" name="Pentagon 24"/>
          <p:cNvSpPr/>
          <p:nvPr/>
        </p:nvSpPr>
        <p:spPr>
          <a:xfrm rot="16200000">
            <a:off x="6589096" y="2047137"/>
            <a:ext cx="1964266" cy="956092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Oval 5"/>
          <p:cNvSpPr/>
          <p:nvPr/>
        </p:nvSpPr>
        <p:spPr>
          <a:xfrm>
            <a:off x="1504191" y="3915384"/>
            <a:ext cx="137160" cy="137160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20343" y="2829135"/>
            <a:ext cx="9048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4%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931588" y="4141533"/>
            <a:ext cx="128236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2014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1092332" y="3636712"/>
            <a:ext cx="960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r$70m</a:t>
            </a:r>
          </a:p>
        </p:txBody>
      </p:sp>
      <p:sp>
        <p:nvSpPr>
          <p:cNvPr id="11" name="Oval 10"/>
          <p:cNvSpPr/>
          <p:nvPr/>
        </p:nvSpPr>
        <p:spPr>
          <a:xfrm>
            <a:off x="3003806" y="3915384"/>
            <a:ext cx="137160" cy="137160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19957" y="2481059"/>
            <a:ext cx="9048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6%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2431202" y="4141533"/>
            <a:ext cx="128236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2015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2591946" y="3636712"/>
            <a:ext cx="960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R$78m</a:t>
            </a:r>
          </a:p>
        </p:txBody>
      </p:sp>
      <p:sp>
        <p:nvSpPr>
          <p:cNvPr id="16" name="Oval 15"/>
          <p:cNvSpPr/>
          <p:nvPr/>
        </p:nvSpPr>
        <p:spPr>
          <a:xfrm>
            <a:off x="4503420" y="3915384"/>
            <a:ext cx="137160" cy="137160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119572" y="2286995"/>
            <a:ext cx="9048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2%</a:t>
            </a:r>
          </a:p>
        </p:txBody>
      </p:sp>
      <p:sp>
        <p:nvSpPr>
          <p:cNvPr id="18" name="Title 2"/>
          <p:cNvSpPr txBox="1">
            <a:spLocks/>
          </p:cNvSpPr>
          <p:nvPr/>
        </p:nvSpPr>
        <p:spPr>
          <a:xfrm>
            <a:off x="3930817" y="4141533"/>
            <a:ext cx="128236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2016</a:t>
            </a:r>
          </a:p>
        </p:txBody>
      </p:sp>
      <p:sp>
        <p:nvSpPr>
          <p:cNvPr id="19" name="Title 2"/>
          <p:cNvSpPr txBox="1">
            <a:spLocks/>
          </p:cNvSpPr>
          <p:nvPr/>
        </p:nvSpPr>
        <p:spPr>
          <a:xfrm>
            <a:off x="4091561" y="3636712"/>
            <a:ext cx="960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R$86m</a:t>
            </a:r>
          </a:p>
        </p:txBody>
      </p:sp>
      <p:sp>
        <p:nvSpPr>
          <p:cNvPr id="21" name="Oval 20"/>
          <p:cNvSpPr/>
          <p:nvPr/>
        </p:nvSpPr>
        <p:spPr>
          <a:xfrm>
            <a:off x="6003035" y="3915384"/>
            <a:ext cx="137160" cy="137160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619186" y="2066418"/>
            <a:ext cx="9048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8%</a:t>
            </a:r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>
            <a:off x="5430431" y="4141533"/>
            <a:ext cx="128236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2017</a:t>
            </a:r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5591175" y="3636712"/>
            <a:ext cx="960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R$98m</a:t>
            </a:r>
          </a:p>
        </p:txBody>
      </p:sp>
      <p:sp>
        <p:nvSpPr>
          <p:cNvPr id="26" name="Oval 25"/>
          <p:cNvSpPr/>
          <p:nvPr/>
        </p:nvSpPr>
        <p:spPr>
          <a:xfrm>
            <a:off x="7502649" y="3915384"/>
            <a:ext cx="137160" cy="137160"/>
          </a:xfrm>
          <a:prstGeom prst="ellipse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118801" y="1853265"/>
            <a:ext cx="9048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3%</a:t>
            </a: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6930046" y="4141533"/>
            <a:ext cx="128236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b="0" spc="0" dirty="0">
                <a:solidFill>
                  <a:schemeClr val="accent4"/>
                </a:solidFill>
                <a:latin typeface="Lato" panose="020F0502020204030203" pitchFamily="34" charset="0"/>
              </a:rPr>
              <a:t>2018</a:t>
            </a:r>
          </a:p>
        </p:txBody>
      </p:sp>
      <p:sp>
        <p:nvSpPr>
          <p:cNvPr id="29" name="Title 2"/>
          <p:cNvSpPr txBox="1">
            <a:spLocks/>
          </p:cNvSpPr>
          <p:nvPr/>
        </p:nvSpPr>
        <p:spPr>
          <a:xfrm>
            <a:off x="7090790" y="3636712"/>
            <a:ext cx="96088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R$102m</a:t>
            </a:r>
          </a:p>
        </p:txBody>
      </p:sp>
    </p:spTree>
    <p:extLst>
      <p:ext uri="{BB962C8B-B14F-4D97-AF65-F5344CB8AC3E}">
        <p14:creationId xmlns:p14="http://schemas.microsoft.com/office/powerpoint/2010/main" val="220096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 9">
            <a:extLst>
              <a:ext uri="{FF2B5EF4-FFF2-40B4-BE49-F238E27FC236}">
                <a16:creationId xmlns:a16="http://schemas.microsoft.com/office/drawing/2014/main" id="{39B71666-1B43-414D-B8E0-F7DF3FBAAC08}"/>
              </a:ext>
            </a:extLst>
          </p:cNvPr>
          <p:cNvSpPr>
            <a:spLocks/>
          </p:cNvSpPr>
          <p:nvPr/>
        </p:nvSpPr>
        <p:spPr bwMode="auto">
          <a:xfrm>
            <a:off x="7532153" y="3847682"/>
            <a:ext cx="480941" cy="365485"/>
          </a:xfrm>
          <a:custGeom>
            <a:avLst/>
            <a:gdLst>
              <a:gd name="T0" fmla="*/ 1589 w 1590"/>
              <a:gd name="T1" fmla="*/ 232 h 1209"/>
              <a:gd name="T2" fmla="*/ 1573 w 1590"/>
              <a:gd name="T3" fmla="*/ 101 h 1209"/>
              <a:gd name="T4" fmla="*/ 1563 w 1590"/>
              <a:gd name="T5" fmla="*/ 77 h 1209"/>
              <a:gd name="T6" fmla="*/ 1549 w 1590"/>
              <a:gd name="T7" fmla="*/ 60 h 1209"/>
              <a:gd name="T8" fmla="*/ 1502 w 1590"/>
              <a:gd name="T9" fmla="*/ 19 h 1209"/>
              <a:gd name="T10" fmla="*/ 1433 w 1590"/>
              <a:gd name="T11" fmla="*/ 20 h 1209"/>
              <a:gd name="T12" fmla="*/ 1390 w 1590"/>
              <a:gd name="T13" fmla="*/ 60 h 1209"/>
              <a:gd name="T14" fmla="*/ 1324 w 1590"/>
              <a:gd name="T15" fmla="*/ 81 h 1209"/>
              <a:gd name="T16" fmla="*/ 1182 w 1590"/>
              <a:gd name="T17" fmla="*/ 43 h 1209"/>
              <a:gd name="T18" fmla="*/ 1042 w 1590"/>
              <a:gd name="T19" fmla="*/ 6 h 1209"/>
              <a:gd name="T20" fmla="*/ 931 w 1590"/>
              <a:gd name="T21" fmla="*/ 67 h 1209"/>
              <a:gd name="T22" fmla="*/ 792 w 1590"/>
              <a:gd name="T23" fmla="*/ 160 h 1209"/>
              <a:gd name="T24" fmla="*/ 722 w 1590"/>
              <a:gd name="T25" fmla="*/ 217 h 1209"/>
              <a:gd name="T26" fmla="*/ 638 w 1590"/>
              <a:gd name="T27" fmla="*/ 240 h 1209"/>
              <a:gd name="T28" fmla="*/ 499 w 1590"/>
              <a:gd name="T29" fmla="*/ 211 h 1209"/>
              <a:gd name="T30" fmla="*/ 465 w 1590"/>
              <a:gd name="T31" fmla="*/ 184 h 1209"/>
              <a:gd name="T32" fmla="*/ 428 w 1590"/>
              <a:gd name="T33" fmla="*/ 155 h 1209"/>
              <a:gd name="T34" fmla="*/ 319 w 1590"/>
              <a:gd name="T35" fmla="*/ 135 h 1209"/>
              <a:gd name="T36" fmla="*/ 196 w 1590"/>
              <a:gd name="T37" fmla="*/ 110 h 1209"/>
              <a:gd name="T38" fmla="*/ 77 w 1590"/>
              <a:gd name="T39" fmla="*/ 95 h 1209"/>
              <a:gd name="T40" fmla="*/ 57 w 1590"/>
              <a:gd name="T41" fmla="*/ 104 h 1209"/>
              <a:gd name="T42" fmla="*/ 30 w 1590"/>
              <a:gd name="T43" fmla="*/ 149 h 1209"/>
              <a:gd name="T44" fmla="*/ 30 w 1590"/>
              <a:gd name="T45" fmla="*/ 287 h 1209"/>
              <a:gd name="T46" fmla="*/ 30 w 1590"/>
              <a:gd name="T47" fmla="*/ 329 h 1209"/>
              <a:gd name="T48" fmla="*/ 4 w 1590"/>
              <a:gd name="T49" fmla="*/ 394 h 1209"/>
              <a:gd name="T50" fmla="*/ 0 w 1590"/>
              <a:gd name="T51" fmla="*/ 407 h 1209"/>
              <a:gd name="T52" fmla="*/ 258 w 1590"/>
              <a:gd name="T53" fmla="*/ 423 h 1209"/>
              <a:gd name="T54" fmla="*/ 260 w 1590"/>
              <a:gd name="T55" fmla="*/ 423 h 1209"/>
              <a:gd name="T56" fmla="*/ 525 w 1590"/>
              <a:gd name="T57" fmla="*/ 459 h 1209"/>
              <a:gd name="T58" fmla="*/ 543 w 1590"/>
              <a:gd name="T59" fmla="*/ 472 h 1209"/>
              <a:gd name="T60" fmla="*/ 561 w 1590"/>
              <a:gd name="T61" fmla="*/ 512 h 1209"/>
              <a:gd name="T62" fmla="*/ 575 w 1590"/>
              <a:gd name="T63" fmla="*/ 524 h 1209"/>
              <a:gd name="T64" fmla="*/ 705 w 1590"/>
              <a:gd name="T65" fmla="*/ 562 h 1209"/>
              <a:gd name="T66" fmla="*/ 716 w 1590"/>
              <a:gd name="T67" fmla="*/ 569 h 1209"/>
              <a:gd name="T68" fmla="*/ 887 w 1590"/>
              <a:gd name="T69" fmla="*/ 772 h 1209"/>
              <a:gd name="T70" fmla="*/ 892 w 1590"/>
              <a:gd name="T71" fmla="*/ 776 h 1209"/>
              <a:gd name="T72" fmla="*/ 991 w 1590"/>
              <a:gd name="T73" fmla="*/ 840 h 1209"/>
              <a:gd name="T74" fmla="*/ 998 w 1590"/>
              <a:gd name="T75" fmla="*/ 843 h 1209"/>
              <a:gd name="T76" fmla="*/ 1165 w 1590"/>
              <a:gd name="T77" fmla="*/ 883 h 1209"/>
              <a:gd name="T78" fmla="*/ 1180 w 1590"/>
              <a:gd name="T79" fmla="*/ 915 h 1209"/>
              <a:gd name="T80" fmla="*/ 1080 w 1590"/>
              <a:gd name="T81" fmla="*/ 1124 h 1209"/>
              <a:gd name="T82" fmla="*/ 1078 w 1590"/>
              <a:gd name="T83" fmla="*/ 1133 h 1209"/>
              <a:gd name="T84" fmla="*/ 1074 w 1590"/>
              <a:gd name="T85" fmla="*/ 1209 h 1209"/>
              <a:gd name="T86" fmla="*/ 1080 w 1590"/>
              <a:gd name="T87" fmla="*/ 1208 h 1209"/>
              <a:gd name="T88" fmla="*/ 1137 w 1590"/>
              <a:gd name="T89" fmla="*/ 1188 h 1209"/>
              <a:gd name="T90" fmla="*/ 1162 w 1590"/>
              <a:gd name="T91" fmla="*/ 1170 h 1209"/>
              <a:gd name="T92" fmla="*/ 1226 w 1590"/>
              <a:gd name="T93" fmla="*/ 1084 h 1209"/>
              <a:gd name="T94" fmla="*/ 1230 w 1590"/>
              <a:gd name="T95" fmla="*/ 1079 h 1209"/>
              <a:gd name="T96" fmla="*/ 1355 w 1590"/>
              <a:gd name="T97" fmla="*/ 950 h 1209"/>
              <a:gd name="T98" fmla="*/ 1387 w 1590"/>
              <a:gd name="T99" fmla="*/ 934 h 1209"/>
              <a:gd name="T100" fmla="*/ 1436 w 1590"/>
              <a:gd name="T101" fmla="*/ 929 h 1209"/>
              <a:gd name="T102" fmla="*/ 1472 w 1590"/>
              <a:gd name="T103" fmla="*/ 908 h 1209"/>
              <a:gd name="T104" fmla="*/ 1521 w 1590"/>
              <a:gd name="T105" fmla="*/ 841 h 1209"/>
              <a:gd name="T106" fmla="*/ 1528 w 1590"/>
              <a:gd name="T107" fmla="*/ 827 h 1209"/>
              <a:gd name="T108" fmla="*/ 1587 w 1590"/>
              <a:gd name="T109" fmla="*/ 652 h 1209"/>
              <a:gd name="T110" fmla="*/ 1590 w 1590"/>
              <a:gd name="T111" fmla="*/ 636 h 1209"/>
              <a:gd name="T112" fmla="*/ 1590 w 1590"/>
              <a:gd name="T113" fmla="*/ 377 h 1209"/>
              <a:gd name="T114" fmla="*/ 1590 w 1590"/>
              <a:gd name="T115" fmla="*/ 239 h 1209"/>
              <a:gd name="T116" fmla="*/ 1589 w 1590"/>
              <a:gd name="T117" fmla="*/ 232 h 1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590" h="1209">
                <a:moveTo>
                  <a:pt x="1589" y="232"/>
                </a:moveTo>
                <a:cubicBezTo>
                  <a:pt x="1573" y="101"/>
                  <a:pt x="1573" y="101"/>
                  <a:pt x="1573" y="101"/>
                </a:cubicBezTo>
                <a:cubicBezTo>
                  <a:pt x="1571" y="93"/>
                  <a:pt x="1568" y="84"/>
                  <a:pt x="1563" y="77"/>
                </a:cubicBezTo>
                <a:cubicBezTo>
                  <a:pt x="1558" y="70"/>
                  <a:pt x="1552" y="62"/>
                  <a:pt x="1549" y="60"/>
                </a:cubicBezTo>
                <a:cubicBezTo>
                  <a:pt x="1547" y="59"/>
                  <a:pt x="1523" y="38"/>
                  <a:pt x="1502" y="19"/>
                </a:cubicBezTo>
                <a:cubicBezTo>
                  <a:pt x="1483" y="2"/>
                  <a:pt x="1453" y="2"/>
                  <a:pt x="1433" y="20"/>
                </a:cubicBezTo>
                <a:cubicBezTo>
                  <a:pt x="1414" y="38"/>
                  <a:pt x="1392" y="57"/>
                  <a:pt x="1390" y="60"/>
                </a:cubicBezTo>
                <a:cubicBezTo>
                  <a:pt x="1385" y="67"/>
                  <a:pt x="1343" y="81"/>
                  <a:pt x="1324" y="81"/>
                </a:cubicBezTo>
                <a:cubicBezTo>
                  <a:pt x="1304" y="81"/>
                  <a:pt x="1189" y="43"/>
                  <a:pt x="1182" y="43"/>
                </a:cubicBezTo>
                <a:cubicBezTo>
                  <a:pt x="1176" y="43"/>
                  <a:pt x="1056" y="0"/>
                  <a:pt x="1042" y="6"/>
                </a:cubicBezTo>
                <a:cubicBezTo>
                  <a:pt x="1028" y="12"/>
                  <a:pt x="945" y="56"/>
                  <a:pt x="931" y="67"/>
                </a:cubicBezTo>
                <a:cubicBezTo>
                  <a:pt x="917" y="78"/>
                  <a:pt x="801" y="149"/>
                  <a:pt x="792" y="160"/>
                </a:cubicBezTo>
                <a:cubicBezTo>
                  <a:pt x="783" y="171"/>
                  <a:pt x="737" y="207"/>
                  <a:pt x="722" y="217"/>
                </a:cubicBezTo>
                <a:cubicBezTo>
                  <a:pt x="706" y="226"/>
                  <a:pt x="661" y="240"/>
                  <a:pt x="638" y="240"/>
                </a:cubicBezTo>
                <a:cubicBezTo>
                  <a:pt x="620" y="240"/>
                  <a:pt x="540" y="221"/>
                  <a:pt x="499" y="211"/>
                </a:cubicBezTo>
                <a:cubicBezTo>
                  <a:pt x="484" y="208"/>
                  <a:pt x="471" y="198"/>
                  <a:pt x="465" y="184"/>
                </a:cubicBezTo>
                <a:cubicBezTo>
                  <a:pt x="457" y="169"/>
                  <a:pt x="444" y="158"/>
                  <a:pt x="428" y="155"/>
                </a:cubicBezTo>
                <a:cubicBezTo>
                  <a:pt x="390" y="148"/>
                  <a:pt x="324" y="135"/>
                  <a:pt x="319" y="135"/>
                </a:cubicBezTo>
                <a:cubicBezTo>
                  <a:pt x="313" y="135"/>
                  <a:pt x="204" y="113"/>
                  <a:pt x="196" y="110"/>
                </a:cubicBezTo>
                <a:cubicBezTo>
                  <a:pt x="188" y="107"/>
                  <a:pt x="83" y="96"/>
                  <a:pt x="77" y="95"/>
                </a:cubicBezTo>
                <a:cubicBezTo>
                  <a:pt x="75" y="94"/>
                  <a:pt x="66" y="98"/>
                  <a:pt x="57" y="104"/>
                </a:cubicBezTo>
                <a:cubicBezTo>
                  <a:pt x="40" y="113"/>
                  <a:pt x="30" y="130"/>
                  <a:pt x="30" y="149"/>
                </a:cubicBezTo>
                <a:cubicBezTo>
                  <a:pt x="30" y="287"/>
                  <a:pt x="30" y="287"/>
                  <a:pt x="30" y="287"/>
                </a:cubicBezTo>
                <a:cubicBezTo>
                  <a:pt x="30" y="287"/>
                  <a:pt x="29" y="324"/>
                  <a:pt x="30" y="329"/>
                </a:cubicBezTo>
                <a:cubicBezTo>
                  <a:pt x="31" y="332"/>
                  <a:pt x="15" y="370"/>
                  <a:pt x="4" y="394"/>
                </a:cubicBezTo>
                <a:cubicBezTo>
                  <a:pt x="2" y="398"/>
                  <a:pt x="1" y="402"/>
                  <a:pt x="0" y="407"/>
                </a:cubicBezTo>
                <a:cubicBezTo>
                  <a:pt x="258" y="423"/>
                  <a:pt x="258" y="423"/>
                  <a:pt x="258" y="423"/>
                </a:cubicBezTo>
                <a:cubicBezTo>
                  <a:pt x="259" y="423"/>
                  <a:pt x="259" y="423"/>
                  <a:pt x="260" y="423"/>
                </a:cubicBezTo>
                <a:cubicBezTo>
                  <a:pt x="525" y="459"/>
                  <a:pt x="525" y="459"/>
                  <a:pt x="525" y="459"/>
                </a:cubicBezTo>
                <a:cubicBezTo>
                  <a:pt x="533" y="460"/>
                  <a:pt x="540" y="465"/>
                  <a:pt x="543" y="472"/>
                </a:cubicBezTo>
                <a:cubicBezTo>
                  <a:pt x="561" y="512"/>
                  <a:pt x="561" y="512"/>
                  <a:pt x="561" y="512"/>
                </a:cubicBezTo>
                <a:cubicBezTo>
                  <a:pt x="564" y="518"/>
                  <a:pt x="569" y="523"/>
                  <a:pt x="575" y="524"/>
                </a:cubicBezTo>
                <a:cubicBezTo>
                  <a:pt x="705" y="562"/>
                  <a:pt x="705" y="562"/>
                  <a:pt x="705" y="562"/>
                </a:cubicBezTo>
                <a:cubicBezTo>
                  <a:pt x="710" y="563"/>
                  <a:pt x="713" y="566"/>
                  <a:pt x="716" y="569"/>
                </a:cubicBezTo>
                <a:cubicBezTo>
                  <a:pt x="887" y="772"/>
                  <a:pt x="887" y="772"/>
                  <a:pt x="887" y="772"/>
                </a:cubicBezTo>
                <a:cubicBezTo>
                  <a:pt x="889" y="774"/>
                  <a:pt x="891" y="775"/>
                  <a:pt x="892" y="776"/>
                </a:cubicBezTo>
                <a:cubicBezTo>
                  <a:pt x="991" y="840"/>
                  <a:pt x="991" y="840"/>
                  <a:pt x="991" y="840"/>
                </a:cubicBezTo>
                <a:cubicBezTo>
                  <a:pt x="993" y="842"/>
                  <a:pt x="995" y="843"/>
                  <a:pt x="998" y="843"/>
                </a:cubicBezTo>
                <a:cubicBezTo>
                  <a:pt x="1165" y="883"/>
                  <a:pt x="1165" y="883"/>
                  <a:pt x="1165" y="883"/>
                </a:cubicBezTo>
                <a:cubicBezTo>
                  <a:pt x="1179" y="887"/>
                  <a:pt x="1186" y="902"/>
                  <a:pt x="1180" y="915"/>
                </a:cubicBezTo>
                <a:cubicBezTo>
                  <a:pt x="1080" y="1124"/>
                  <a:pt x="1080" y="1124"/>
                  <a:pt x="1080" y="1124"/>
                </a:cubicBezTo>
                <a:cubicBezTo>
                  <a:pt x="1079" y="1127"/>
                  <a:pt x="1078" y="1130"/>
                  <a:pt x="1078" y="1133"/>
                </a:cubicBezTo>
                <a:cubicBezTo>
                  <a:pt x="1074" y="1209"/>
                  <a:pt x="1074" y="1209"/>
                  <a:pt x="1074" y="1209"/>
                </a:cubicBezTo>
                <a:cubicBezTo>
                  <a:pt x="1076" y="1209"/>
                  <a:pt x="1078" y="1208"/>
                  <a:pt x="1080" y="1208"/>
                </a:cubicBezTo>
                <a:cubicBezTo>
                  <a:pt x="1137" y="1188"/>
                  <a:pt x="1137" y="1188"/>
                  <a:pt x="1137" y="1188"/>
                </a:cubicBezTo>
                <a:cubicBezTo>
                  <a:pt x="1147" y="1185"/>
                  <a:pt x="1156" y="1178"/>
                  <a:pt x="1162" y="1170"/>
                </a:cubicBezTo>
                <a:cubicBezTo>
                  <a:pt x="1226" y="1084"/>
                  <a:pt x="1226" y="1084"/>
                  <a:pt x="1226" y="1084"/>
                </a:cubicBezTo>
                <a:cubicBezTo>
                  <a:pt x="1227" y="1082"/>
                  <a:pt x="1228" y="1080"/>
                  <a:pt x="1230" y="1079"/>
                </a:cubicBezTo>
                <a:cubicBezTo>
                  <a:pt x="1355" y="950"/>
                  <a:pt x="1355" y="950"/>
                  <a:pt x="1355" y="950"/>
                </a:cubicBezTo>
                <a:cubicBezTo>
                  <a:pt x="1363" y="941"/>
                  <a:pt x="1375" y="935"/>
                  <a:pt x="1387" y="934"/>
                </a:cubicBezTo>
                <a:cubicBezTo>
                  <a:pt x="1436" y="929"/>
                  <a:pt x="1436" y="929"/>
                  <a:pt x="1436" y="929"/>
                </a:cubicBezTo>
                <a:cubicBezTo>
                  <a:pt x="1450" y="928"/>
                  <a:pt x="1463" y="920"/>
                  <a:pt x="1472" y="908"/>
                </a:cubicBezTo>
                <a:cubicBezTo>
                  <a:pt x="1521" y="841"/>
                  <a:pt x="1521" y="841"/>
                  <a:pt x="1521" y="841"/>
                </a:cubicBezTo>
                <a:cubicBezTo>
                  <a:pt x="1524" y="837"/>
                  <a:pt x="1527" y="832"/>
                  <a:pt x="1528" y="827"/>
                </a:cubicBezTo>
                <a:cubicBezTo>
                  <a:pt x="1587" y="652"/>
                  <a:pt x="1587" y="652"/>
                  <a:pt x="1587" y="652"/>
                </a:cubicBezTo>
                <a:cubicBezTo>
                  <a:pt x="1589" y="647"/>
                  <a:pt x="1590" y="641"/>
                  <a:pt x="1590" y="636"/>
                </a:cubicBezTo>
                <a:cubicBezTo>
                  <a:pt x="1590" y="377"/>
                  <a:pt x="1590" y="377"/>
                  <a:pt x="1590" y="377"/>
                </a:cubicBezTo>
                <a:cubicBezTo>
                  <a:pt x="1590" y="239"/>
                  <a:pt x="1590" y="239"/>
                  <a:pt x="1590" y="239"/>
                </a:cubicBezTo>
                <a:cubicBezTo>
                  <a:pt x="1590" y="236"/>
                  <a:pt x="1590" y="234"/>
                  <a:pt x="1589" y="232"/>
                </a:cubicBez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7" name="Freeform 14">
            <a:extLst>
              <a:ext uri="{FF2B5EF4-FFF2-40B4-BE49-F238E27FC236}">
                <a16:creationId xmlns:a16="http://schemas.microsoft.com/office/drawing/2014/main" id="{F99570B0-C1B9-4315-828D-7174CE837474}"/>
              </a:ext>
            </a:extLst>
          </p:cNvPr>
          <p:cNvSpPr>
            <a:spLocks/>
          </p:cNvSpPr>
          <p:nvPr/>
        </p:nvSpPr>
        <p:spPr bwMode="auto">
          <a:xfrm>
            <a:off x="5719021" y="3506908"/>
            <a:ext cx="1124747" cy="860954"/>
          </a:xfrm>
          <a:custGeom>
            <a:avLst/>
            <a:gdLst>
              <a:gd name="T0" fmla="*/ 3570 w 3716"/>
              <a:gd name="T1" fmla="*/ 610 h 2846"/>
              <a:gd name="T2" fmla="*/ 3463 w 3716"/>
              <a:gd name="T3" fmla="*/ 608 h 2846"/>
              <a:gd name="T4" fmla="*/ 3240 w 3716"/>
              <a:gd name="T5" fmla="*/ 457 h 2846"/>
              <a:gd name="T6" fmla="*/ 2969 w 3716"/>
              <a:gd name="T7" fmla="*/ 281 h 2846"/>
              <a:gd name="T8" fmla="*/ 2551 w 3716"/>
              <a:gd name="T9" fmla="*/ 144 h 2846"/>
              <a:gd name="T10" fmla="*/ 2448 w 3716"/>
              <a:gd name="T11" fmla="*/ 31 h 2846"/>
              <a:gd name="T12" fmla="*/ 2301 w 3716"/>
              <a:gd name="T13" fmla="*/ 1 h 2846"/>
              <a:gd name="T14" fmla="*/ 1946 w 3716"/>
              <a:gd name="T15" fmla="*/ 124 h 2846"/>
              <a:gd name="T16" fmla="*/ 1777 w 3716"/>
              <a:gd name="T17" fmla="*/ 206 h 2846"/>
              <a:gd name="T18" fmla="*/ 1654 w 3716"/>
              <a:gd name="T19" fmla="*/ 108 h 2846"/>
              <a:gd name="T20" fmla="*/ 1537 w 3716"/>
              <a:gd name="T21" fmla="*/ 140 h 2846"/>
              <a:gd name="T22" fmla="*/ 1408 w 3716"/>
              <a:gd name="T23" fmla="*/ 173 h 2846"/>
              <a:gd name="T24" fmla="*/ 1401 w 3716"/>
              <a:gd name="T25" fmla="*/ 271 h 2846"/>
              <a:gd name="T26" fmla="*/ 1283 w 3716"/>
              <a:gd name="T27" fmla="*/ 484 h 2846"/>
              <a:gd name="T28" fmla="*/ 1250 w 3716"/>
              <a:gd name="T29" fmla="*/ 711 h 2846"/>
              <a:gd name="T30" fmla="*/ 1309 w 3716"/>
              <a:gd name="T31" fmla="*/ 856 h 2846"/>
              <a:gd name="T32" fmla="*/ 1178 w 3716"/>
              <a:gd name="T33" fmla="*/ 995 h 2846"/>
              <a:gd name="T34" fmla="*/ 1274 w 3716"/>
              <a:gd name="T35" fmla="*/ 1084 h 2846"/>
              <a:gd name="T36" fmla="*/ 1223 w 3716"/>
              <a:gd name="T37" fmla="*/ 1269 h 2846"/>
              <a:gd name="T38" fmla="*/ 890 w 3716"/>
              <a:gd name="T39" fmla="*/ 1292 h 2846"/>
              <a:gd name="T40" fmla="*/ 727 w 3716"/>
              <a:gd name="T41" fmla="*/ 1271 h 2846"/>
              <a:gd name="T42" fmla="*/ 446 w 3716"/>
              <a:gd name="T43" fmla="*/ 1321 h 2846"/>
              <a:gd name="T44" fmla="*/ 195 w 3716"/>
              <a:gd name="T45" fmla="*/ 1426 h 2846"/>
              <a:gd name="T46" fmla="*/ 102 w 3716"/>
              <a:gd name="T47" fmla="*/ 1555 h 2846"/>
              <a:gd name="T48" fmla="*/ 24 w 3716"/>
              <a:gd name="T49" fmla="*/ 1748 h 2846"/>
              <a:gd name="T50" fmla="*/ 682 w 3716"/>
              <a:gd name="T51" fmla="*/ 1902 h 2846"/>
              <a:gd name="T52" fmla="*/ 1082 w 3716"/>
              <a:gd name="T53" fmla="*/ 1881 h 2846"/>
              <a:gd name="T54" fmla="*/ 1193 w 3716"/>
              <a:gd name="T55" fmla="*/ 1961 h 2846"/>
              <a:gd name="T56" fmla="*/ 1230 w 3716"/>
              <a:gd name="T57" fmla="*/ 2218 h 2846"/>
              <a:gd name="T58" fmla="*/ 1334 w 3716"/>
              <a:gd name="T59" fmla="*/ 2568 h 2846"/>
              <a:gd name="T60" fmla="*/ 1408 w 3716"/>
              <a:gd name="T61" fmla="*/ 2774 h 2846"/>
              <a:gd name="T62" fmla="*/ 1474 w 3716"/>
              <a:gd name="T63" fmla="*/ 2846 h 2846"/>
              <a:gd name="T64" fmla="*/ 1831 w 3716"/>
              <a:gd name="T65" fmla="*/ 2820 h 2846"/>
              <a:gd name="T66" fmla="*/ 2088 w 3716"/>
              <a:gd name="T67" fmla="*/ 2706 h 2846"/>
              <a:gd name="T68" fmla="*/ 2593 w 3716"/>
              <a:gd name="T69" fmla="*/ 2642 h 2846"/>
              <a:gd name="T70" fmla="*/ 2795 w 3716"/>
              <a:gd name="T71" fmla="*/ 2457 h 2846"/>
              <a:gd name="T72" fmla="*/ 3137 w 3716"/>
              <a:gd name="T73" fmla="*/ 2081 h 2846"/>
              <a:gd name="T74" fmla="*/ 3236 w 3716"/>
              <a:gd name="T75" fmla="*/ 1762 h 2846"/>
              <a:gd name="T76" fmla="*/ 3265 w 3716"/>
              <a:gd name="T77" fmla="*/ 1528 h 2846"/>
              <a:gd name="T78" fmla="*/ 3334 w 3716"/>
              <a:gd name="T79" fmla="*/ 1377 h 2846"/>
              <a:gd name="T80" fmla="*/ 3484 w 3716"/>
              <a:gd name="T81" fmla="*/ 1334 h 2846"/>
              <a:gd name="T82" fmla="*/ 3582 w 3716"/>
              <a:gd name="T83" fmla="*/ 1351 h 2846"/>
              <a:gd name="T84" fmla="*/ 3472 w 3716"/>
              <a:gd name="T85" fmla="*/ 1043 h 2846"/>
              <a:gd name="T86" fmla="*/ 3592 w 3716"/>
              <a:gd name="T87" fmla="*/ 981 h 2846"/>
              <a:gd name="T88" fmla="*/ 3697 w 3716"/>
              <a:gd name="T89" fmla="*/ 710 h 2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716" h="2846">
                <a:moveTo>
                  <a:pt x="3697" y="710"/>
                </a:moveTo>
                <a:cubicBezTo>
                  <a:pt x="3671" y="692"/>
                  <a:pt x="3632" y="665"/>
                  <a:pt x="3630" y="658"/>
                </a:cubicBezTo>
                <a:cubicBezTo>
                  <a:pt x="3628" y="649"/>
                  <a:pt x="3589" y="622"/>
                  <a:pt x="3570" y="610"/>
                </a:cubicBezTo>
                <a:cubicBezTo>
                  <a:pt x="3564" y="606"/>
                  <a:pt x="3557" y="604"/>
                  <a:pt x="3550" y="605"/>
                </a:cubicBezTo>
                <a:cubicBezTo>
                  <a:pt x="3474" y="609"/>
                  <a:pt x="3474" y="609"/>
                  <a:pt x="3474" y="609"/>
                </a:cubicBezTo>
                <a:cubicBezTo>
                  <a:pt x="3470" y="610"/>
                  <a:pt x="3467" y="609"/>
                  <a:pt x="3463" y="608"/>
                </a:cubicBezTo>
                <a:cubicBezTo>
                  <a:pt x="3434" y="601"/>
                  <a:pt x="3288" y="561"/>
                  <a:pt x="3277" y="553"/>
                </a:cubicBezTo>
                <a:cubicBezTo>
                  <a:pt x="3268" y="546"/>
                  <a:pt x="3254" y="494"/>
                  <a:pt x="3249" y="472"/>
                </a:cubicBezTo>
                <a:cubicBezTo>
                  <a:pt x="3248" y="466"/>
                  <a:pt x="3245" y="461"/>
                  <a:pt x="3240" y="457"/>
                </a:cubicBezTo>
                <a:cubicBezTo>
                  <a:pt x="3222" y="439"/>
                  <a:pt x="3173" y="390"/>
                  <a:pt x="3163" y="386"/>
                </a:cubicBezTo>
                <a:cubicBezTo>
                  <a:pt x="3152" y="380"/>
                  <a:pt x="3026" y="329"/>
                  <a:pt x="3008" y="323"/>
                </a:cubicBezTo>
                <a:cubicBezTo>
                  <a:pt x="2990" y="317"/>
                  <a:pt x="2987" y="305"/>
                  <a:pt x="2969" y="281"/>
                </a:cubicBezTo>
                <a:cubicBezTo>
                  <a:pt x="2951" y="257"/>
                  <a:pt x="2853" y="206"/>
                  <a:pt x="2823" y="164"/>
                </a:cubicBezTo>
                <a:cubicBezTo>
                  <a:pt x="2793" y="122"/>
                  <a:pt x="2643" y="131"/>
                  <a:pt x="2631" y="131"/>
                </a:cubicBezTo>
                <a:cubicBezTo>
                  <a:pt x="2622" y="131"/>
                  <a:pt x="2573" y="140"/>
                  <a:pt x="2551" y="144"/>
                </a:cubicBezTo>
                <a:cubicBezTo>
                  <a:pt x="2545" y="146"/>
                  <a:pt x="2538" y="145"/>
                  <a:pt x="2532" y="142"/>
                </a:cubicBezTo>
                <a:cubicBezTo>
                  <a:pt x="2507" y="131"/>
                  <a:pt x="2439" y="100"/>
                  <a:pt x="2446" y="93"/>
                </a:cubicBezTo>
                <a:cubicBezTo>
                  <a:pt x="2451" y="87"/>
                  <a:pt x="2450" y="55"/>
                  <a:pt x="2448" y="31"/>
                </a:cubicBezTo>
                <a:cubicBezTo>
                  <a:pt x="2447" y="13"/>
                  <a:pt x="2433" y="0"/>
                  <a:pt x="2416" y="0"/>
                </a:cubicBezTo>
                <a:cubicBezTo>
                  <a:pt x="2310" y="0"/>
                  <a:pt x="2310" y="0"/>
                  <a:pt x="2310" y="0"/>
                </a:cubicBezTo>
                <a:cubicBezTo>
                  <a:pt x="2307" y="0"/>
                  <a:pt x="2304" y="0"/>
                  <a:pt x="2301" y="1"/>
                </a:cubicBezTo>
                <a:cubicBezTo>
                  <a:pt x="2154" y="44"/>
                  <a:pt x="2154" y="44"/>
                  <a:pt x="2154" y="44"/>
                </a:cubicBezTo>
                <a:cubicBezTo>
                  <a:pt x="2153" y="45"/>
                  <a:pt x="2152" y="45"/>
                  <a:pt x="2152" y="45"/>
                </a:cubicBezTo>
                <a:cubicBezTo>
                  <a:pt x="1946" y="124"/>
                  <a:pt x="1946" y="124"/>
                  <a:pt x="1946" y="124"/>
                </a:cubicBezTo>
                <a:cubicBezTo>
                  <a:pt x="1944" y="125"/>
                  <a:pt x="1943" y="126"/>
                  <a:pt x="1941" y="127"/>
                </a:cubicBezTo>
                <a:cubicBezTo>
                  <a:pt x="1810" y="205"/>
                  <a:pt x="1810" y="205"/>
                  <a:pt x="1810" y="205"/>
                </a:cubicBezTo>
                <a:cubicBezTo>
                  <a:pt x="1800" y="211"/>
                  <a:pt x="1788" y="212"/>
                  <a:pt x="1777" y="206"/>
                </a:cubicBezTo>
                <a:cubicBezTo>
                  <a:pt x="1739" y="185"/>
                  <a:pt x="1739" y="185"/>
                  <a:pt x="1739" y="185"/>
                </a:cubicBezTo>
                <a:cubicBezTo>
                  <a:pt x="1736" y="183"/>
                  <a:pt x="1733" y="181"/>
                  <a:pt x="1731" y="178"/>
                </a:cubicBezTo>
                <a:cubicBezTo>
                  <a:pt x="1718" y="164"/>
                  <a:pt x="1671" y="115"/>
                  <a:pt x="1654" y="108"/>
                </a:cubicBezTo>
                <a:cubicBezTo>
                  <a:pt x="1642" y="103"/>
                  <a:pt x="1610" y="90"/>
                  <a:pt x="1582" y="80"/>
                </a:cubicBezTo>
                <a:cubicBezTo>
                  <a:pt x="1560" y="71"/>
                  <a:pt x="1537" y="87"/>
                  <a:pt x="1537" y="110"/>
                </a:cubicBezTo>
                <a:cubicBezTo>
                  <a:pt x="1537" y="140"/>
                  <a:pt x="1537" y="140"/>
                  <a:pt x="1537" y="140"/>
                </a:cubicBezTo>
                <a:cubicBezTo>
                  <a:pt x="1537" y="163"/>
                  <a:pt x="1514" y="179"/>
                  <a:pt x="1492" y="171"/>
                </a:cubicBezTo>
                <a:cubicBezTo>
                  <a:pt x="1482" y="167"/>
                  <a:pt x="1474" y="164"/>
                  <a:pt x="1472" y="164"/>
                </a:cubicBezTo>
                <a:cubicBezTo>
                  <a:pt x="1469" y="164"/>
                  <a:pt x="1436" y="169"/>
                  <a:pt x="1408" y="173"/>
                </a:cubicBezTo>
                <a:cubicBezTo>
                  <a:pt x="1388" y="176"/>
                  <a:pt x="1375" y="197"/>
                  <a:pt x="1382" y="216"/>
                </a:cubicBezTo>
                <a:cubicBezTo>
                  <a:pt x="1398" y="266"/>
                  <a:pt x="1398" y="266"/>
                  <a:pt x="1398" y="266"/>
                </a:cubicBezTo>
                <a:cubicBezTo>
                  <a:pt x="1399" y="268"/>
                  <a:pt x="1400" y="270"/>
                  <a:pt x="1401" y="271"/>
                </a:cubicBezTo>
                <a:cubicBezTo>
                  <a:pt x="1410" y="288"/>
                  <a:pt x="1463" y="387"/>
                  <a:pt x="1471" y="401"/>
                </a:cubicBezTo>
                <a:cubicBezTo>
                  <a:pt x="1480" y="415"/>
                  <a:pt x="1417" y="460"/>
                  <a:pt x="1390" y="466"/>
                </a:cubicBezTo>
                <a:cubicBezTo>
                  <a:pt x="1371" y="471"/>
                  <a:pt x="1314" y="479"/>
                  <a:pt x="1283" y="484"/>
                </a:cubicBezTo>
                <a:cubicBezTo>
                  <a:pt x="1270" y="486"/>
                  <a:pt x="1260" y="495"/>
                  <a:pt x="1256" y="507"/>
                </a:cubicBezTo>
                <a:cubicBezTo>
                  <a:pt x="1247" y="540"/>
                  <a:pt x="1227" y="604"/>
                  <a:pt x="1214" y="619"/>
                </a:cubicBezTo>
                <a:cubicBezTo>
                  <a:pt x="1196" y="640"/>
                  <a:pt x="1235" y="697"/>
                  <a:pt x="1250" y="711"/>
                </a:cubicBezTo>
                <a:cubicBezTo>
                  <a:pt x="1265" y="726"/>
                  <a:pt x="1271" y="709"/>
                  <a:pt x="1280" y="711"/>
                </a:cubicBezTo>
                <a:cubicBezTo>
                  <a:pt x="1287" y="714"/>
                  <a:pt x="1308" y="790"/>
                  <a:pt x="1317" y="826"/>
                </a:cubicBezTo>
                <a:cubicBezTo>
                  <a:pt x="1320" y="837"/>
                  <a:pt x="1317" y="848"/>
                  <a:pt x="1309" y="856"/>
                </a:cubicBezTo>
                <a:cubicBezTo>
                  <a:pt x="1292" y="875"/>
                  <a:pt x="1261" y="907"/>
                  <a:pt x="1253" y="909"/>
                </a:cubicBezTo>
                <a:cubicBezTo>
                  <a:pt x="1244" y="911"/>
                  <a:pt x="1207" y="946"/>
                  <a:pt x="1187" y="965"/>
                </a:cubicBezTo>
                <a:cubicBezTo>
                  <a:pt x="1180" y="973"/>
                  <a:pt x="1176" y="984"/>
                  <a:pt x="1178" y="995"/>
                </a:cubicBezTo>
                <a:cubicBezTo>
                  <a:pt x="1183" y="1025"/>
                  <a:pt x="1183" y="1025"/>
                  <a:pt x="1183" y="1025"/>
                </a:cubicBezTo>
                <a:cubicBezTo>
                  <a:pt x="1187" y="1046"/>
                  <a:pt x="1209" y="1058"/>
                  <a:pt x="1228" y="1050"/>
                </a:cubicBezTo>
                <a:cubicBezTo>
                  <a:pt x="1252" y="1040"/>
                  <a:pt x="1277" y="1059"/>
                  <a:pt x="1274" y="1084"/>
                </a:cubicBezTo>
                <a:cubicBezTo>
                  <a:pt x="1269" y="1123"/>
                  <a:pt x="1262" y="1174"/>
                  <a:pt x="1256" y="1202"/>
                </a:cubicBezTo>
                <a:cubicBezTo>
                  <a:pt x="1247" y="1239"/>
                  <a:pt x="1235" y="1257"/>
                  <a:pt x="1229" y="1264"/>
                </a:cubicBezTo>
                <a:cubicBezTo>
                  <a:pt x="1228" y="1266"/>
                  <a:pt x="1226" y="1268"/>
                  <a:pt x="1223" y="1269"/>
                </a:cubicBezTo>
                <a:cubicBezTo>
                  <a:pt x="1207" y="1281"/>
                  <a:pt x="1123" y="1339"/>
                  <a:pt x="1115" y="1339"/>
                </a:cubicBezTo>
                <a:cubicBezTo>
                  <a:pt x="1106" y="1339"/>
                  <a:pt x="1005" y="1318"/>
                  <a:pt x="996" y="1318"/>
                </a:cubicBezTo>
                <a:cubicBezTo>
                  <a:pt x="987" y="1318"/>
                  <a:pt x="903" y="1296"/>
                  <a:pt x="890" y="1292"/>
                </a:cubicBezTo>
                <a:cubicBezTo>
                  <a:pt x="889" y="1292"/>
                  <a:pt x="887" y="1291"/>
                  <a:pt x="886" y="1291"/>
                </a:cubicBezTo>
                <a:cubicBezTo>
                  <a:pt x="745" y="1269"/>
                  <a:pt x="745" y="1269"/>
                  <a:pt x="745" y="1269"/>
                </a:cubicBezTo>
                <a:cubicBezTo>
                  <a:pt x="739" y="1268"/>
                  <a:pt x="733" y="1269"/>
                  <a:pt x="727" y="1271"/>
                </a:cubicBezTo>
                <a:cubicBezTo>
                  <a:pt x="613" y="1319"/>
                  <a:pt x="613" y="1319"/>
                  <a:pt x="613" y="1319"/>
                </a:cubicBezTo>
                <a:cubicBezTo>
                  <a:pt x="609" y="1321"/>
                  <a:pt x="605" y="1321"/>
                  <a:pt x="600" y="1321"/>
                </a:cubicBezTo>
                <a:cubicBezTo>
                  <a:pt x="446" y="1321"/>
                  <a:pt x="446" y="1321"/>
                  <a:pt x="446" y="1321"/>
                </a:cubicBezTo>
                <a:cubicBezTo>
                  <a:pt x="331" y="1321"/>
                  <a:pt x="331" y="1321"/>
                  <a:pt x="331" y="1321"/>
                </a:cubicBezTo>
                <a:cubicBezTo>
                  <a:pt x="323" y="1321"/>
                  <a:pt x="315" y="1324"/>
                  <a:pt x="309" y="1329"/>
                </a:cubicBezTo>
                <a:cubicBezTo>
                  <a:pt x="195" y="1426"/>
                  <a:pt x="195" y="1426"/>
                  <a:pt x="195" y="1426"/>
                </a:cubicBezTo>
                <a:cubicBezTo>
                  <a:pt x="193" y="1428"/>
                  <a:pt x="191" y="1430"/>
                  <a:pt x="189" y="1433"/>
                </a:cubicBezTo>
                <a:cubicBezTo>
                  <a:pt x="112" y="1546"/>
                  <a:pt x="112" y="1546"/>
                  <a:pt x="112" y="1546"/>
                </a:cubicBezTo>
                <a:cubicBezTo>
                  <a:pt x="109" y="1550"/>
                  <a:pt x="106" y="1553"/>
                  <a:pt x="102" y="1555"/>
                </a:cubicBezTo>
                <a:cubicBezTo>
                  <a:pt x="26" y="1603"/>
                  <a:pt x="26" y="1603"/>
                  <a:pt x="26" y="1603"/>
                </a:cubicBezTo>
                <a:cubicBezTo>
                  <a:pt x="26" y="1742"/>
                  <a:pt x="26" y="1742"/>
                  <a:pt x="26" y="1742"/>
                </a:cubicBezTo>
                <a:cubicBezTo>
                  <a:pt x="26" y="1744"/>
                  <a:pt x="25" y="1746"/>
                  <a:pt x="24" y="1748"/>
                </a:cubicBezTo>
                <a:cubicBezTo>
                  <a:pt x="0" y="1794"/>
                  <a:pt x="0" y="1794"/>
                  <a:pt x="0" y="1794"/>
                </a:cubicBezTo>
                <a:cubicBezTo>
                  <a:pt x="272" y="1842"/>
                  <a:pt x="272" y="1842"/>
                  <a:pt x="272" y="1842"/>
                </a:cubicBezTo>
                <a:cubicBezTo>
                  <a:pt x="272" y="1842"/>
                  <a:pt x="637" y="1893"/>
                  <a:pt x="682" y="1902"/>
                </a:cubicBezTo>
                <a:cubicBezTo>
                  <a:pt x="723" y="1910"/>
                  <a:pt x="873" y="1915"/>
                  <a:pt x="899" y="1916"/>
                </a:cubicBezTo>
                <a:cubicBezTo>
                  <a:pt x="902" y="1916"/>
                  <a:pt x="904" y="1916"/>
                  <a:pt x="907" y="1916"/>
                </a:cubicBezTo>
                <a:cubicBezTo>
                  <a:pt x="1082" y="1881"/>
                  <a:pt x="1082" y="1881"/>
                  <a:pt x="1082" y="1881"/>
                </a:cubicBezTo>
                <a:cubicBezTo>
                  <a:pt x="1092" y="1879"/>
                  <a:pt x="1102" y="1881"/>
                  <a:pt x="1109" y="1887"/>
                </a:cubicBezTo>
                <a:cubicBezTo>
                  <a:pt x="1183" y="1946"/>
                  <a:pt x="1183" y="1946"/>
                  <a:pt x="1183" y="1946"/>
                </a:cubicBezTo>
                <a:cubicBezTo>
                  <a:pt x="1188" y="1950"/>
                  <a:pt x="1191" y="1955"/>
                  <a:pt x="1193" y="1961"/>
                </a:cubicBezTo>
                <a:cubicBezTo>
                  <a:pt x="1226" y="2054"/>
                  <a:pt x="1226" y="2054"/>
                  <a:pt x="1226" y="2054"/>
                </a:cubicBezTo>
                <a:cubicBezTo>
                  <a:pt x="1248" y="2118"/>
                  <a:pt x="1237" y="2158"/>
                  <a:pt x="1225" y="2179"/>
                </a:cubicBezTo>
                <a:cubicBezTo>
                  <a:pt x="1218" y="2192"/>
                  <a:pt x="1220" y="2207"/>
                  <a:pt x="1230" y="2218"/>
                </a:cubicBezTo>
                <a:cubicBezTo>
                  <a:pt x="1340" y="2335"/>
                  <a:pt x="1340" y="2335"/>
                  <a:pt x="1340" y="2335"/>
                </a:cubicBezTo>
                <a:cubicBezTo>
                  <a:pt x="1340" y="2335"/>
                  <a:pt x="1432" y="2431"/>
                  <a:pt x="1432" y="2443"/>
                </a:cubicBezTo>
                <a:cubicBezTo>
                  <a:pt x="1432" y="2455"/>
                  <a:pt x="1346" y="2559"/>
                  <a:pt x="1334" y="2568"/>
                </a:cubicBezTo>
                <a:cubicBezTo>
                  <a:pt x="1323" y="2576"/>
                  <a:pt x="1348" y="2660"/>
                  <a:pt x="1353" y="2678"/>
                </a:cubicBezTo>
                <a:cubicBezTo>
                  <a:pt x="1354" y="2681"/>
                  <a:pt x="1355" y="2683"/>
                  <a:pt x="1356" y="2685"/>
                </a:cubicBezTo>
                <a:cubicBezTo>
                  <a:pt x="1408" y="2774"/>
                  <a:pt x="1408" y="2774"/>
                  <a:pt x="1408" y="2774"/>
                </a:cubicBezTo>
                <a:cubicBezTo>
                  <a:pt x="1408" y="2774"/>
                  <a:pt x="1409" y="2775"/>
                  <a:pt x="1409" y="2775"/>
                </a:cubicBezTo>
                <a:cubicBezTo>
                  <a:pt x="1446" y="2832"/>
                  <a:pt x="1446" y="2832"/>
                  <a:pt x="1446" y="2832"/>
                </a:cubicBezTo>
                <a:cubicBezTo>
                  <a:pt x="1452" y="2841"/>
                  <a:pt x="1463" y="2846"/>
                  <a:pt x="1474" y="2846"/>
                </a:cubicBezTo>
                <a:cubicBezTo>
                  <a:pt x="1622" y="2846"/>
                  <a:pt x="1622" y="2846"/>
                  <a:pt x="1622" y="2846"/>
                </a:cubicBezTo>
                <a:cubicBezTo>
                  <a:pt x="1623" y="2846"/>
                  <a:pt x="1624" y="2846"/>
                  <a:pt x="1626" y="2846"/>
                </a:cubicBezTo>
                <a:cubicBezTo>
                  <a:pt x="1831" y="2820"/>
                  <a:pt x="1831" y="2820"/>
                  <a:pt x="1831" y="2820"/>
                </a:cubicBezTo>
                <a:cubicBezTo>
                  <a:pt x="1834" y="2820"/>
                  <a:pt x="1837" y="2819"/>
                  <a:pt x="1841" y="2817"/>
                </a:cubicBezTo>
                <a:cubicBezTo>
                  <a:pt x="2074" y="2709"/>
                  <a:pt x="2074" y="2709"/>
                  <a:pt x="2074" y="2709"/>
                </a:cubicBezTo>
                <a:cubicBezTo>
                  <a:pt x="2079" y="2707"/>
                  <a:pt x="2084" y="2706"/>
                  <a:pt x="2088" y="2706"/>
                </a:cubicBezTo>
                <a:cubicBezTo>
                  <a:pt x="2322" y="2706"/>
                  <a:pt x="2322" y="2706"/>
                  <a:pt x="2322" y="2706"/>
                </a:cubicBezTo>
                <a:cubicBezTo>
                  <a:pt x="2325" y="2706"/>
                  <a:pt x="2328" y="2706"/>
                  <a:pt x="2330" y="2705"/>
                </a:cubicBezTo>
                <a:cubicBezTo>
                  <a:pt x="2593" y="2642"/>
                  <a:pt x="2593" y="2642"/>
                  <a:pt x="2593" y="2642"/>
                </a:cubicBezTo>
                <a:cubicBezTo>
                  <a:pt x="2598" y="2641"/>
                  <a:pt x="2604" y="2638"/>
                  <a:pt x="2608" y="2635"/>
                </a:cubicBezTo>
                <a:cubicBezTo>
                  <a:pt x="2788" y="2468"/>
                  <a:pt x="2788" y="2468"/>
                  <a:pt x="2788" y="2468"/>
                </a:cubicBezTo>
                <a:cubicBezTo>
                  <a:pt x="2791" y="2465"/>
                  <a:pt x="2794" y="2462"/>
                  <a:pt x="2795" y="2457"/>
                </a:cubicBezTo>
                <a:cubicBezTo>
                  <a:pt x="2891" y="2239"/>
                  <a:pt x="2891" y="2239"/>
                  <a:pt x="2891" y="2239"/>
                </a:cubicBezTo>
                <a:cubicBezTo>
                  <a:pt x="2891" y="2239"/>
                  <a:pt x="2936" y="2147"/>
                  <a:pt x="2951" y="2123"/>
                </a:cubicBezTo>
                <a:cubicBezTo>
                  <a:pt x="2966" y="2099"/>
                  <a:pt x="3107" y="2099"/>
                  <a:pt x="3137" y="2081"/>
                </a:cubicBezTo>
                <a:cubicBezTo>
                  <a:pt x="3166" y="2063"/>
                  <a:pt x="3193" y="1955"/>
                  <a:pt x="3232" y="1866"/>
                </a:cubicBezTo>
                <a:cubicBezTo>
                  <a:pt x="3258" y="1806"/>
                  <a:pt x="3252" y="1787"/>
                  <a:pt x="3245" y="1782"/>
                </a:cubicBezTo>
                <a:cubicBezTo>
                  <a:pt x="3240" y="1777"/>
                  <a:pt x="3237" y="1770"/>
                  <a:pt x="3236" y="1762"/>
                </a:cubicBezTo>
                <a:cubicBezTo>
                  <a:pt x="3232" y="1729"/>
                  <a:pt x="3224" y="1657"/>
                  <a:pt x="3226" y="1650"/>
                </a:cubicBezTo>
                <a:cubicBezTo>
                  <a:pt x="3229" y="1641"/>
                  <a:pt x="3313" y="1629"/>
                  <a:pt x="3310" y="1591"/>
                </a:cubicBezTo>
                <a:cubicBezTo>
                  <a:pt x="3307" y="1552"/>
                  <a:pt x="3283" y="1549"/>
                  <a:pt x="3265" y="1528"/>
                </a:cubicBezTo>
                <a:cubicBezTo>
                  <a:pt x="3247" y="1507"/>
                  <a:pt x="3232" y="1450"/>
                  <a:pt x="3226" y="1405"/>
                </a:cubicBezTo>
                <a:cubicBezTo>
                  <a:pt x="3221" y="1369"/>
                  <a:pt x="3290" y="1376"/>
                  <a:pt x="3316" y="1380"/>
                </a:cubicBezTo>
                <a:cubicBezTo>
                  <a:pt x="3322" y="1381"/>
                  <a:pt x="3328" y="1380"/>
                  <a:pt x="3334" y="1377"/>
                </a:cubicBezTo>
                <a:cubicBezTo>
                  <a:pt x="3355" y="1367"/>
                  <a:pt x="3403" y="1344"/>
                  <a:pt x="3427" y="1330"/>
                </a:cubicBezTo>
                <a:cubicBezTo>
                  <a:pt x="3446" y="1319"/>
                  <a:pt x="3464" y="1322"/>
                  <a:pt x="3473" y="1326"/>
                </a:cubicBezTo>
                <a:cubicBezTo>
                  <a:pt x="3477" y="1328"/>
                  <a:pt x="3481" y="1331"/>
                  <a:pt x="3484" y="1334"/>
                </a:cubicBezTo>
                <a:cubicBezTo>
                  <a:pt x="3525" y="1379"/>
                  <a:pt x="3525" y="1379"/>
                  <a:pt x="3525" y="1379"/>
                </a:cubicBezTo>
                <a:cubicBezTo>
                  <a:pt x="3545" y="1401"/>
                  <a:pt x="3582" y="1387"/>
                  <a:pt x="3582" y="1357"/>
                </a:cubicBezTo>
                <a:cubicBezTo>
                  <a:pt x="3582" y="1355"/>
                  <a:pt x="3582" y="1353"/>
                  <a:pt x="3582" y="1351"/>
                </a:cubicBezTo>
                <a:cubicBezTo>
                  <a:pt x="3582" y="1330"/>
                  <a:pt x="3579" y="1277"/>
                  <a:pt x="3555" y="1232"/>
                </a:cubicBezTo>
                <a:cubicBezTo>
                  <a:pt x="3531" y="1187"/>
                  <a:pt x="3495" y="1142"/>
                  <a:pt x="3483" y="1133"/>
                </a:cubicBezTo>
                <a:cubicBezTo>
                  <a:pt x="3475" y="1127"/>
                  <a:pt x="3473" y="1077"/>
                  <a:pt x="3472" y="1043"/>
                </a:cubicBezTo>
                <a:cubicBezTo>
                  <a:pt x="3471" y="1026"/>
                  <a:pt x="3484" y="1012"/>
                  <a:pt x="3501" y="1010"/>
                </a:cubicBezTo>
                <a:cubicBezTo>
                  <a:pt x="3566" y="1001"/>
                  <a:pt x="3566" y="1001"/>
                  <a:pt x="3566" y="1001"/>
                </a:cubicBezTo>
                <a:cubicBezTo>
                  <a:pt x="3578" y="999"/>
                  <a:pt x="3588" y="992"/>
                  <a:pt x="3592" y="981"/>
                </a:cubicBezTo>
                <a:cubicBezTo>
                  <a:pt x="3609" y="943"/>
                  <a:pt x="3647" y="855"/>
                  <a:pt x="3657" y="843"/>
                </a:cubicBezTo>
                <a:cubicBezTo>
                  <a:pt x="3665" y="833"/>
                  <a:pt x="3691" y="784"/>
                  <a:pt x="3708" y="753"/>
                </a:cubicBezTo>
                <a:cubicBezTo>
                  <a:pt x="3716" y="738"/>
                  <a:pt x="3712" y="719"/>
                  <a:pt x="3697" y="710"/>
                </a:cubicBez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2" name="Freeform 8">
            <a:extLst>
              <a:ext uri="{FF2B5EF4-FFF2-40B4-BE49-F238E27FC236}">
                <a16:creationId xmlns:a16="http://schemas.microsoft.com/office/drawing/2014/main" id="{00954B42-F28E-4716-AF7E-CED3D681C7A1}"/>
              </a:ext>
            </a:extLst>
          </p:cNvPr>
          <p:cNvSpPr>
            <a:spLocks noEditPoints="1"/>
          </p:cNvSpPr>
          <p:nvPr/>
        </p:nvSpPr>
        <p:spPr bwMode="auto">
          <a:xfrm>
            <a:off x="4153574" y="3670213"/>
            <a:ext cx="707268" cy="677446"/>
          </a:xfrm>
          <a:custGeom>
            <a:avLst/>
            <a:gdLst>
              <a:gd name="T0" fmla="*/ 2149 w 2337"/>
              <a:gd name="T1" fmla="*/ 437 h 2238"/>
              <a:gd name="T2" fmla="*/ 2043 w 2337"/>
              <a:gd name="T3" fmla="*/ 370 h 2238"/>
              <a:gd name="T4" fmla="*/ 1867 w 2337"/>
              <a:gd name="T5" fmla="*/ 163 h 2238"/>
              <a:gd name="T6" fmla="*/ 1726 w 2337"/>
              <a:gd name="T7" fmla="*/ 118 h 2238"/>
              <a:gd name="T8" fmla="*/ 1694 w 2337"/>
              <a:gd name="T9" fmla="*/ 66 h 2238"/>
              <a:gd name="T10" fmla="*/ 1411 w 2337"/>
              <a:gd name="T11" fmla="*/ 17 h 2238"/>
              <a:gd name="T12" fmla="*/ 1150 w 2337"/>
              <a:gd name="T13" fmla="*/ 0 h 2238"/>
              <a:gd name="T14" fmla="*/ 1020 w 2337"/>
              <a:gd name="T15" fmla="*/ 54 h 2238"/>
              <a:gd name="T16" fmla="*/ 865 w 2337"/>
              <a:gd name="T17" fmla="*/ 92 h 2238"/>
              <a:gd name="T18" fmla="*/ 570 w 2337"/>
              <a:gd name="T19" fmla="*/ 326 h 2238"/>
              <a:gd name="T20" fmla="*/ 345 w 2337"/>
              <a:gd name="T21" fmla="*/ 549 h 2238"/>
              <a:gd name="T22" fmla="*/ 192 w 2337"/>
              <a:gd name="T23" fmla="*/ 762 h 2238"/>
              <a:gd name="T24" fmla="*/ 10 w 2337"/>
              <a:gd name="T25" fmla="*/ 975 h 2238"/>
              <a:gd name="T26" fmla="*/ 34 w 2337"/>
              <a:gd name="T27" fmla="*/ 1017 h 2238"/>
              <a:gd name="T28" fmla="*/ 98 w 2337"/>
              <a:gd name="T29" fmla="*/ 979 h 2238"/>
              <a:gd name="T30" fmla="*/ 184 w 2337"/>
              <a:gd name="T31" fmla="*/ 964 h 2238"/>
              <a:gd name="T32" fmla="*/ 302 w 2337"/>
              <a:gd name="T33" fmla="*/ 1047 h 2238"/>
              <a:gd name="T34" fmla="*/ 300 w 2337"/>
              <a:gd name="T35" fmla="*/ 1123 h 2238"/>
              <a:gd name="T36" fmla="*/ 370 w 2337"/>
              <a:gd name="T37" fmla="*/ 1120 h 2238"/>
              <a:gd name="T38" fmla="*/ 479 w 2337"/>
              <a:gd name="T39" fmla="*/ 1270 h 2238"/>
              <a:gd name="T40" fmla="*/ 592 w 2337"/>
              <a:gd name="T41" fmla="*/ 1247 h 2238"/>
              <a:gd name="T42" fmla="*/ 752 w 2337"/>
              <a:gd name="T43" fmla="*/ 1402 h 2238"/>
              <a:gd name="T44" fmla="*/ 851 w 2337"/>
              <a:gd name="T45" fmla="*/ 1444 h 2238"/>
              <a:gd name="T46" fmla="*/ 991 w 2337"/>
              <a:gd name="T47" fmla="*/ 1593 h 2238"/>
              <a:gd name="T48" fmla="*/ 1063 w 2337"/>
              <a:gd name="T49" fmla="*/ 1628 h 2238"/>
              <a:gd name="T50" fmla="*/ 1113 w 2337"/>
              <a:gd name="T51" fmla="*/ 1687 h 2238"/>
              <a:gd name="T52" fmla="*/ 1122 w 2337"/>
              <a:gd name="T53" fmla="*/ 1783 h 2238"/>
              <a:gd name="T54" fmla="*/ 1259 w 2337"/>
              <a:gd name="T55" fmla="*/ 1869 h 2238"/>
              <a:gd name="T56" fmla="*/ 1460 w 2337"/>
              <a:gd name="T57" fmla="*/ 1763 h 2238"/>
              <a:gd name="T58" fmla="*/ 1401 w 2337"/>
              <a:gd name="T59" fmla="*/ 1922 h 2238"/>
              <a:gd name="T60" fmla="*/ 1330 w 2337"/>
              <a:gd name="T61" fmla="*/ 1936 h 2238"/>
              <a:gd name="T62" fmla="*/ 1216 w 2337"/>
              <a:gd name="T63" fmla="*/ 2018 h 2238"/>
              <a:gd name="T64" fmla="*/ 1176 w 2337"/>
              <a:gd name="T65" fmla="*/ 2203 h 2238"/>
              <a:gd name="T66" fmla="*/ 1209 w 2337"/>
              <a:gd name="T67" fmla="*/ 2228 h 2238"/>
              <a:gd name="T68" fmla="*/ 1271 w 2337"/>
              <a:gd name="T69" fmla="*/ 2187 h 2238"/>
              <a:gd name="T70" fmla="*/ 1472 w 2337"/>
              <a:gd name="T71" fmla="*/ 1943 h 2238"/>
              <a:gd name="T72" fmla="*/ 1548 w 2337"/>
              <a:gd name="T73" fmla="*/ 1761 h 2238"/>
              <a:gd name="T74" fmla="*/ 1574 w 2337"/>
              <a:gd name="T75" fmla="*/ 1679 h 2238"/>
              <a:gd name="T76" fmla="*/ 1953 w 2337"/>
              <a:gd name="T77" fmla="*/ 1431 h 2238"/>
              <a:gd name="T78" fmla="*/ 2044 w 2337"/>
              <a:gd name="T79" fmla="*/ 1319 h 2238"/>
              <a:gd name="T80" fmla="*/ 2171 w 2337"/>
              <a:gd name="T81" fmla="*/ 1032 h 2238"/>
              <a:gd name="T82" fmla="*/ 2223 w 2337"/>
              <a:gd name="T83" fmla="*/ 831 h 2238"/>
              <a:gd name="T84" fmla="*/ 2229 w 2337"/>
              <a:gd name="T85" fmla="*/ 727 h 2238"/>
              <a:gd name="T86" fmla="*/ 2331 w 2337"/>
              <a:gd name="T87" fmla="*/ 509 h 2238"/>
              <a:gd name="T88" fmla="*/ 2082 w 2337"/>
              <a:gd name="T89" fmla="*/ 1164 h 2238"/>
              <a:gd name="T90" fmla="*/ 1980 w 2337"/>
              <a:gd name="T91" fmla="*/ 1338 h 2238"/>
              <a:gd name="T92" fmla="*/ 1909 w 2337"/>
              <a:gd name="T93" fmla="*/ 1414 h 2238"/>
              <a:gd name="T94" fmla="*/ 1558 w 2337"/>
              <a:gd name="T95" fmla="*/ 1633 h 2238"/>
              <a:gd name="T96" fmla="*/ 1549 w 2337"/>
              <a:gd name="T97" fmla="*/ 1598 h 2238"/>
              <a:gd name="T98" fmla="*/ 1570 w 2337"/>
              <a:gd name="T99" fmla="*/ 1507 h 2238"/>
              <a:gd name="T100" fmla="*/ 1724 w 2337"/>
              <a:gd name="T101" fmla="*/ 1421 h 2238"/>
              <a:gd name="T102" fmla="*/ 1781 w 2337"/>
              <a:gd name="T103" fmla="*/ 1334 h 2238"/>
              <a:gd name="T104" fmla="*/ 1810 w 2337"/>
              <a:gd name="T105" fmla="*/ 1242 h 2238"/>
              <a:gd name="T106" fmla="*/ 2024 w 2337"/>
              <a:gd name="T107" fmla="*/ 1135 h 2238"/>
              <a:gd name="T108" fmla="*/ 2082 w 2337"/>
              <a:gd name="T109" fmla="*/ 1164 h 2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337" h="2238">
                <a:moveTo>
                  <a:pt x="2316" y="477"/>
                </a:moveTo>
                <a:cubicBezTo>
                  <a:pt x="2149" y="437"/>
                  <a:pt x="2149" y="437"/>
                  <a:pt x="2149" y="437"/>
                </a:cubicBezTo>
                <a:cubicBezTo>
                  <a:pt x="2146" y="437"/>
                  <a:pt x="2144" y="436"/>
                  <a:pt x="2142" y="434"/>
                </a:cubicBezTo>
                <a:cubicBezTo>
                  <a:pt x="2043" y="370"/>
                  <a:pt x="2043" y="370"/>
                  <a:pt x="2043" y="370"/>
                </a:cubicBezTo>
                <a:cubicBezTo>
                  <a:pt x="2042" y="369"/>
                  <a:pt x="2040" y="368"/>
                  <a:pt x="2038" y="366"/>
                </a:cubicBezTo>
                <a:cubicBezTo>
                  <a:pt x="1867" y="163"/>
                  <a:pt x="1867" y="163"/>
                  <a:pt x="1867" y="163"/>
                </a:cubicBezTo>
                <a:cubicBezTo>
                  <a:pt x="1864" y="160"/>
                  <a:pt x="1861" y="157"/>
                  <a:pt x="1856" y="156"/>
                </a:cubicBezTo>
                <a:cubicBezTo>
                  <a:pt x="1726" y="118"/>
                  <a:pt x="1726" y="118"/>
                  <a:pt x="1726" y="118"/>
                </a:cubicBezTo>
                <a:cubicBezTo>
                  <a:pt x="1720" y="117"/>
                  <a:pt x="1715" y="112"/>
                  <a:pt x="1712" y="106"/>
                </a:cubicBezTo>
                <a:cubicBezTo>
                  <a:pt x="1694" y="66"/>
                  <a:pt x="1694" y="66"/>
                  <a:pt x="1694" y="66"/>
                </a:cubicBezTo>
                <a:cubicBezTo>
                  <a:pt x="1691" y="59"/>
                  <a:pt x="1684" y="54"/>
                  <a:pt x="1676" y="53"/>
                </a:cubicBezTo>
                <a:cubicBezTo>
                  <a:pt x="1411" y="17"/>
                  <a:pt x="1411" y="17"/>
                  <a:pt x="1411" y="17"/>
                </a:cubicBezTo>
                <a:cubicBezTo>
                  <a:pt x="1410" y="17"/>
                  <a:pt x="1410" y="17"/>
                  <a:pt x="1409" y="17"/>
                </a:cubicBezTo>
                <a:cubicBezTo>
                  <a:pt x="1150" y="0"/>
                  <a:pt x="1150" y="0"/>
                  <a:pt x="1150" y="0"/>
                </a:cubicBezTo>
                <a:cubicBezTo>
                  <a:pt x="1146" y="0"/>
                  <a:pt x="1143" y="1"/>
                  <a:pt x="1139" y="2"/>
                </a:cubicBezTo>
                <a:cubicBezTo>
                  <a:pt x="1020" y="54"/>
                  <a:pt x="1020" y="54"/>
                  <a:pt x="1020" y="54"/>
                </a:cubicBezTo>
                <a:cubicBezTo>
                  <a:pt x="1019" y="55"/>
                  <a:pt x="1017" y="55"/>
                  <a:pt x="1016" y="56"/>
                </a:cubicBezTo>
                <a:cubicBezTo>
                  <a:pt x="865" y="92"/>
                  <a:pt x="865" y="92"/>
                  <a:pt x="865" y="92"/>
                </a:cubicBezTo>
                <a:cubicBezTo>
                  <a:pt x="862" y="93"/>
                  <a:pt x="859" y="95"/>
                  <a:pt x="856" y="97"/>
                </a:cubicBezTo>
                <a:cubicBezTo>
                  <a:pt x="570" y="326"/>
                  <a:pt x="570" y="326"/>
                  <a:pt x="570" y="326"/>
                </a:cubicBezTo>
                <a:cubicBezTo>
                  <a:pt x="569" y="326"/>
                  <a:pt x="569" y="327"/>
                  <a:pt x="568" y="327"/>
                </a:cubicBezTo>
                <a:cubicBezTo>
                  <a:pt x="345" y="549"/>
                  <a:pt x="345" y="549"/>
                  <a:pt x="345" y="549"/>
                </a:cubicBezTo>
                <a:cubicBezTo>
                  <a:pt x="344" y="549"/>
                  <a:pt x="343" y="550"/>
                  <a:pt x="342" y="551"/>
                </a:cubicBezTo>
                <a:cubicBezTo>
                  <a:pt x="192" y="762"/>
                  <a:pt x="192" y="762"/>
                  <a:pt x="192" y="762"/>
                </a:cubicBezTo>
                <a:cubicBezTo>
                  <a:pt x="192" y="762"/>
                  <a:pt x="191" y="763"/>
                  <a:pt x="191" y="763"/>
                </a:cubicBezTo>
                <a:cubicBezTo>
                  <a:pt x="10" y="975"/>
                  <a:pt x="10" y="975"/>
                  <a:pt x="10" y="975"/>
                </a:cubicBezTo>
                <a:cubicBezTo>
                  <a:pt x="0" y="987"/>
                  <a:pt x="4" y="1005"/>
                  <a:pt x="18" y="1011"/>
                </a:cubicBezTo>
                <a:cubicBezTo>
                  <a:pt x="34" y="1017"/>
                  <a:pt x="34" y="1017"/>
                  <a:pt x="34" y="1017"/>
                </a:cubicBezTo>
                <a:cubicBezTo>
                  <a:pt x="42" y="1021"/>
                  <a:pt x="51" y="1019"/>
                  <a:pt x="57" y="1014"/>
                </a:cubicBezTo>
                <a:cubicBezTo>
                  <a:pt x="98" y="979"/>
                  <a:pt x="98" y="979"/>
                  <a:pt x="98" y="979"/>
                </a:cubicBezTo>
                <a:cubicBezTo>
                  <a:pt x="102" y="977"/>
                  <a:pt x="106" y="975"/>
                  <a:pt x="110" y="974"/>
                </a:cubicBezTo>
                <a:cubicBezTo>
                  <a:pt x="184" y="964"/>
                  <a:pt x="184" y="964"/>
                  <a:pt x="184" y="964"/>
                </a:cubicBezTo>
                <a:cubicBezTo>
                  <a:pt x="190" y="963"/>
                  <a:pt x="196" y="964"/>
                  <a:pt x="201" y="968"/>
                </a:cubicBezTo>
                <a:cubicBezTo>
                  <a:pt x="302" y="1047"/>
                  <a:pt x="302" y="1047"/>
                  <a:pt x="302" y="1047"/>
                </a:cubicBezTo>
                <a:cubicBezTo>
                  <a:pt x="308" y="1053"/>
                  <a:pt x="311" y="1061"/>
                  <a:pt x="310" y="1069"/>
                </a:cubicBezTo>
                <a:cubicBezTo>
                  <a:pt x="300" y="1123"/>
                  <a:pt x="300" y="1123"/>
                  <a:pt x="300" y="1123"/>
                </a:cubicBezTo>
                <a:cubicBezTo>
                  <a:pt x="297" y="1144"/>
                  <a:pt x="320" y="1158"/>
                  <a:pt x="336" y="1145"/>
                </a:cubicBezTo>
                <a:cubicBezTo>
                  <a:pt x="370" y="1120"/>
                  <a:pt x="370" y="1120"/>
                  <a:pt x="370" y="1120"/>
                </a:cubicBezTo>
                <a:cubicBezTo>
                  <a:pt x="381" y="1111"/>
                  <a:pt x="397" y="1115"/>
                  <a:pt x="404" y="1127"/>
                </a:cubicBezTo>
                <a:cubicBezTo>
                  <a:pt x="479" y="1270"/>
                  <a:pt x="479" y="1270"/>
                  <a:pt x="479" y="1270"/>
                </a:cubicBezTo>
                <a:cubicBezTo>
                  <a:pt x="484" y="1281"/>
                  <a:pt x="496" y="1285"/>
                  <a:pt x="507" y="1281"/>
                </a:cubicBezTo>
                <a:cubicBezTo>
                  <a:pt x="592" y="1247"/>
                  <a:pt x="592" y="1247"/>
                  <a:pt x="592" y="1247"/>
                </a:cubicBezTo>
                <a:cubicBezTo>
                  <a:pt x="601" y="1243"/>
                  <a:pt x="612" y="1246"/>
                  <a:pt x="618" y="1253"/>
                </a:cubicBezTo>
                <a:cubicBezTo>
                  <a:pt x="650" y="1291"/>
                  <a:pt x="746" y="1402"/>
                  <a:pt x="752" y="1402"/>
                </a:cubicBezTo>
                <a:cubicBezTo>
                  <a:pt x="759" y="1402"/>
                  <a:pt x="825" y="1431"/>
                  <a:pt x="843" y="1439"/>
                </a:cubicBezTo>
                <a:cubicBezTo>
                  <a:pt x="846" y="1440"/>
                  <a:pt x="849" y="1442"/>
                  <a:pt x="851" y="1444"/>
                </a:cubicBezTo>
                <a:cubicBezTo>
                  <a:pt x="984" y="1588"/>
                  <a:pt x="984" y="1588"/>
                  <a:pt x="984" y="1588"/>
                </a:cubicBezTo>
                <a:cubicBezTo>
                  <a:pt x="986" y="1590"/>
                  <a:pt x="988" y="1592"/>
                  <a:pt x="991" y="1593"/>
                </a:cubicBezTo>
                <a:cubicBezTo>
                  <a:pt x="1057" y="1624"/>
                  <a:pt x="1057" y="1624"/>
                  <a:pt x="1057" y="1624"/>
                </a:cubicBezTo>
                <a:cubicBezTo>
                  <a:pt x="1059" y="1625"/>
                  <a:pt x="1061" y="1627"/>
                  <a:pt x="1063" y="1628"/>
                </a:cubicBezTo>
                <a:cubicBezTo>
                  <a:pt x="1106" y="1670"/>
                  <a:pt x="1106" y="1670"/>
                  <a:pt x="1106" y="1670"/>
                </a:cubicBezTo>
                <a:cubicBezTo>
                  <a:pt x="1111" y="1675"/>
                  <a:pt x="1113" y="1681"/>
                  <a:pt x="1113" y="1687"/>
                </a:cubicBezTo>
                <a:cubicBezTo>
                  <a:pt x="1113" y="1765"/>
                  <a:pt x="1113" y="1765"/>
                  <a:pt x="1113" y="1765"/>
                </a:cubicBezTo>
                <a:cubicBezTo>
                  <a:pt x="1113" y="1772"/>
                  <a:pt x="1116" y="1779"/>
                  <a:pt x="1122" y="1783"/>
                </a:cubicBezTo>
                <a:cubicBezTo>
                  <a:pt x="1231" y="1869"/>
                  <a:pt x="1231" y="1869"/>
                  <a:pt x="1231" y="1869"/>
                </a:cubicBezTo>
                <a:cubicBezTo>
                  <a:pt x="1239" y="1876"/>
                  <a:pt x="1251" y="1876"/>
                  <a:pt x="1259" y="1869"/>
                </a:cubicBezTo>
                <a:cubicBezTo>
                  <a:pt x="1291" y="1844"/>
                  <a:pt x="1370" y="1780"/>
                  <a:pt x="1424" y="1739"/>
                </a:cubicBezTo>
                <a:cubicBezTo>
                  <a:pt x="1442" y="1725"/>
                  <a:pt x="1466" y="1742"/>
                  <a:pt x="1460" y="1763"/>
                </a:cubicBezTo>
                <a:cubicBezTo>
                  <a:pt x="1451" y="1792"/>
                  <a:pt x="1442" y="1822"/>
                  <a:pt x="1441" y="1826"/>
                </a:cubicBezTo>
                <a:cubicBezTo>
                  <a:pt x="1440" y="1831"/>
                  <a:pt x="1413" y="1894"/>
                  <a:pt x="1401" y="1922"/>
                </a:cubicBezTo>
                <a:cubicBezTo>
                  <a:pt x="1398" y="1930"/>
                  <a:pt x="1390" y="1936"/>
                  <a:pt x="1381" y="1936"/>
                </a:cubicBezTo>
                <a:cubicBezTo>
                  <a:pt x="1330" y="1936"/>
                  <a:pt x="1330" y="1936"/>
                  <a:pt x="1330" y="1936"/>
                </a:cubicBezTo>
                <a:cubicBezTo>
                  <a:pt x="1325" y="1936"/>
                  <a:pt x="1320" y="1937"/>
                  <a:pt x="1316" y="1940"/>
                </a:cubicBezTo>
                <a:cubicBezTo>
                  <a:pt x="1295" y="1956"/>
                  <a:pt x="1227" y="2009"/>
                  <a:pt x="1216" y="2018"/>
                </a:cubicBezTo>
                <a:cubicBezTo>
                  <a:pt x="1203" y="2029"/>
                  <a:pt x="1188" y="2075"/>
                  <a:pt x="1188" y="2080"/>
                </a:cubicBezTo>
                <a:cubicBezTo>
                  <a:pt x="1188" y="2086"/>
                  <a:pt x="1177" y="2196"/>
                  <a:pt x="1176" y="2203"/>
                </a:cubicBezTo>
                <a:cubicBezTo>
                  <a:pt x="1176" y="2203"/>
                  <a:pt x="1176" y="2203"/>
                  <a:pt x="1176" y="2203"/>
                </a:cubicBezTo>
                <a:cubicBezTo>
                  <a:pt x="1171" y="2223"/>
                  <a:pt x="1192" y="2238"/>
                  <a:pt x="1209" y="2228"/>
                </a:cubicBezTo>
                <a:cubicBezTo>
                  <a:pt x="1266" y="2192"/>
                  <a:pt x="1266" y="2192"/>
                  <a:pt x="1266" y="2192"/>
                </a:cubicBezTo>
                <a:cubicBezTo>
                  <a:pt x="1268" y="2191"/>
                  <a:pt x="1270" y="2189"/>
                  <a:pt x="1271" y="2187"/>
                </a:cubicBezTo>
                <a:cubicBezTo>
                  <a:pt x="1469" y="1949"/>
                  <a:pt x="1469" y="1949"/>
                  <a:pt x="1469" y="1949"/>
                </a:cubicBezTo>
                <a:cubicBezTo>
                  <a:pt x="1470" y="1947"/>
                  <a:pt x="1471" y="1945"/>
                  <a:pt x="1472" y="1943"/>
                </a:cubicBezTo>
                <a:cubicBezTo>
                  <a:pt x="1547" y="1765"/>
                  <a:pt x="1547" y="1765"/>
                  <a:pt x="1547" y="1765"/>
                </a:cubicBezTo>
                <a:cubicBezTo>
                  <a:pt x="1547" y="1764"/>
                  <a:pt x="1548" y="1763"/>
                  <a:pt x="1548" y="1761"/>
                </a:cubicBezTo>
                <a:cubicBezTo>
                  <a:pt x="1564" y="1692"/>
                  <a:pt x="1564" y="1692"/>
                  <a:pt x="1564" y="1692"/>
                </a:cubicBezTo>
                <a:cubicBezTo>
                  <a:pt x="1565" y="1687"/>
                  <a:pt x="1569" y="1682"/>
                  <a:pt x="1574" y="1679"/>
                </a:cubicBezTo>
                <a:cubicBezTo>
                  <a:pt x="1948" y="1435"/>
                  <a:pt x="1948" y="1435"/>
                  <a:pt x="1948" y="1435"/>
                </a:cubicBezTo>
                <a:cubicBezTo>
                  <a:pt x="1950" y="1434"/>
                  <a:pt x="1952" y="1432"/>
                  <a:pt x="1953" y="1431"/>
                </a:cubicBezTo>
                <a:cubicBezTo>
                  <a:pt x="2041" y="1324"/>
                  <a:pt x="2041" y="1324"/>
                  <a:pt x="2041" y="1324"/>
                </a:cubicBezTo>
                <a:cubicBezTo>
                  <a:pt x="2042" y="1322"/>
                  <a:pt x="2043" y="1321"/>
                  <a:pt x="2044" y="1319"/>
                </a:cubicBezTo>
                <a:cubicBezTo>
                  <a:pt x="2170" y="1035"/>
                  <a:pt x="2170" y="1035"/>
                  <a:pt x="2170" y="1035"/>
                </a:cubicBezTo>
                <a:cubicBezTo>
                  <a:pt x="2171" y="1034"/>
                  <a:pt x="2171" y="1033"/>
                  <a:pt x="2171" y="1032"/>
                </a:cubicBezTo>
                <a:cubicBezTo>
                  <a:pt x="2200" y="927"/>
                  <a:pt x="2200" y="927"/>
                  <a:pt x="2200" y="927"/>
                </a:cubicBezTo>
                <a:cubicBezTo>
                  <a:pt x="2223" y="831"/>
                  <a:pt x="2223" y="831"/>
                  <a:pt x="2223" y="831"/>
                </a:cubicBezTo>
                <a:cubicBezTo>
                  <a:pt x="2224" y="829"/>
                  <a:pt x="2224" y="828"/>
                  <a:pt x="2224" y="826"/>
                </a:cubicBezTo>
                <a:cubicBezTo>
                  <a:pt x="2229" y="727"/>
                  <a:pt x="2229" y="727"/>
                  <a:pt x="2229" y="727"/>
                </a:cubicBezTo>
                <a:cubicBezTo>
                  <a:pt x="2229" y="724"/>
                  <a:pt x="2230" y="721"/>
                  <a:pt x="2231" y="718"/>
                </a:cubicBezTo>
                <a:cubicBezTo>
                  <a:pt x="2331" y="509"/>
                  <a:pt x="2331" y="509"/>
                  <a:pt x="2331" y="509"/>
                </a:cubicBezTo>
                <a:cubicBezTo>
                  <a:pt x="2337" y="496"/>
                  <a:pt x="2330" y="481"/>
                  <a:pt x="2316" y="477"/>
                </a:cubicBezTo>
                <a:close/>
                <a:moveTo>
                  <a:pt x="2082" y="1164"/>
                </a:moveTo>
                <a:cubicBezTo>
                  <a:pt x="1983" y="1334"/>
                  <a:pt x="1983" y="1334"/>
                  <a:pt x="1983" y="1334"/>
                </a:cubicBezTo>
                <a:cubicBezTo>
                  <a:pt x="1982" y="1335"/>
                  <a:pt x="1981" y="1337"/>
                  <a:pt x="1980" y="1338"/>
                </a:cubicBezTo>
                <a:cubicBezTo>
                  <a:pt x="1912" y="1412"/>
                  <a:pt x="1912" y="1412"/>
                  <a:pt x="1912" y="1412"/>
                </a:cubicBezTo>
                <a:cubicBezTo>
                  <a:pt x="1911" y="1413"/>
                  <a:pt x="1910" y="1414"/>
                  <a:pt x="1909" y="1414"/>
                </a:cubicBezTo>
                <a:cubicBezTo>
                  <a:pt x="1592" y="1644"/>
                  <a:pt x="1592" y="1644"/>
                  <a:pt x="1592" y="1644"/>
                </a:cubicBezTo>
                <a:cubicBezTo>
                  <a:pt x="1580" y="1653"/>
                  <a:pt x="1562" y="1647"/>
                  <a:pt x="1558" y="1633"/>
                </a:cubicBezTo>
                <a:cubicBezTo>
                  <a:pt x="1549" y="1609"/>
                  <a:pt x="1549" y="1609"/>
                  <a:pt x="1549" y="1609"/>
                </a:cubicBezTo>
                <a:cubicBezTo>
                  <a:pt x="1548" y="1606"/>
                  <a:pt x="1548" y="1602"/>
                  <a:pt x="1549" y="1598"/>
                </a:cubicBezTo>
                <a:cubicBezTo>
                  <a:pt x="1561" y="1521"/>
                  <a:pt x="1561" y="1521"/>
                  <a:pt x="1561" y="1521"/>
                </a:cubicBezTo>
                <a:cubicBezTo>
                  <a:pt x="1562" y="1515"/>
                  <a:pt x="1565" y="1510"/>
                  <a:pt x="1570" y="1507"/>
                </a:cubicBezTo>
                <a:cubicBezTo>
                  <a:pt x="1586" y="1494"/>
                  <a:pt x="1624" y="1466"/>
                  <a:pt x="1628" y="1464"/>
                </a:cubicBezTo>
                <a:cubicBezTo>
                  <a:pt x="1634" y="1463"/>
                  <a:pt x="1713" y="1422"/>
                  <a:pt x="1724" y="1421"/>
                </a:cubicBezTo>
                <a:cubicBezTo>
                  <a:pt x="1734" y="1419"/>
                  <a:pt x="1772" y="1351"/>
                  <a:pt x="1779" y="1338"/>
                </a:cubicBezTo>
                <a:cubicBezTo>
                  <a:pt x="1780" y="1337"/>
                  <a:pt x="1781" y="1335"/>
                  <a:pt x="1781" y="1334"/>
                </a:cubicBezTo>
                <a:cubicBezTo>
                  <a:pt x="1807" y="1248"/>
                  <a:pt x="1807" y="1248"/>
                  <a:pt x="1807" y="1248"/>
                </a:cubicBezTo>
                <a:cubicBezTo>
                  <a:pt x="1808" y="1246"/>
                  <a:pt x="1808" y="1244"/>
                  <a:pt x="1810" y="1242"/>
                </a:cubicBezTo>
                <a:cubicBezTo>
                  <a:pt x="1821" y="1225"/>
                  <a:pt x="1880" y="1136"/>
                  <a:pt x="1885" y="1127"/>
                </a:cubicBezTo>
                <a:cubicBezTo>
                  <a:pt x="1890" y="1118"/>
                  <a:pt x="2015" y="1136"/>
                  <a:pt x="2024" y="1135"/>
                </a:cubicBezTo>
                <a:cubicBezTo>
                  <a:pt x="2028" y="1134"/>
                  <a:pt x="2044" y="1132"/>
                  <a:pt x="2060" y="1130"/>
                </a:cubicBezTo>
                <a:cubicBezTo>
                  <a:pt x="2079" y="1128"/>
                  <a:pt x="2092" y="1148"/>
                  <a:pt x="2082" y="1164"/>
                </a:cubicBez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3" name="Freeform 64">
            <a:extLst>
              <a:ext uri="{FF2B5EF4-FFF2-40B4-BE49-F238E27FC236}">
                <a16:creationId xmlns:a16="http://schemas.microsoft.com/office/drawing/2014/main" id="{B80AFDD5-96F4-4BAB-B90B-DB5283BADACC}"/>
              </a:ext>
            </a:extLst>
          </p:cNvPr>
          <p:cNvSpPr>
            <a:spLocks noEditPoints="1"/>
          </p:cNvSpPr>
          <p:nvPr/>
        </p:nvSpPr>
        <p:spPr bwMode="auto">
          <a:xfrm>
            <a:off x="2682536" y="3819100"/>
            <a:ext cx="370979" cy="275540"/>
          </a:xfrm>
          <a:custGeom>
            <a:avLst/>
            <a:gdLst>
              <a:gd name="T0" fmla="*/ 1203 w 1218"/>
              <a:gd name="T1" fmla="*/ 464 h 906"/>
              <a:gd name="T2" fmla="*/ 1096 w 1218"/>
              <a:gd name="T3" fmla="*/ 530 h 906"/>
              <a:gd name="T4" fmla="*/ 976 w 1218"/>
              <a:gd name="T5" fmla="*/ 601 h 906"/>
              <a:gd name="T6" fmla="*/ 904 w 1218"/>
              <a:gd name="T7" fmla="*/ 715 h 906"/>
              <a:gd name="T8" fmla="*/ 787 w 1218"/>
              <a:gd name="T9" fmla="*/ 776 h 906"/>
              <a:gd name="T10" fmla="*/ 636 w 1218"/>
              <a:gd name="T11" fmla="*/ 788 h 906"/>
              <a:gd name="T12" fmla="*/ 439 w 1218"/>
              <a:gd name="T13" fmla="*/ 787 h 906"/>
              <a:gd name="T14" fmla="*/ 214 w 1218"/>
              <a:gd name="T15" fmla="*/ 761 h 906"/>
              <a:gd name="T16" fmla="*/ 162 w 1218"/>
              <a:gd name="T17" fmla="*/ 695 h 906"/>
              <a:gd name="T18" fmla="*/ 199 w 1218"/>
              <a:gd name="T19" fmla="*/ 628 h 906"/>
              <a:gd name="T20" fmla="*/ 149 w 1218"/>
              <a:gd name="T21" fmla="*/ 601 h 906"/>
              <a:gd name="T22" fmla="*/ 0 w 1218"/>
              <a:gd name="T23" fmla="*/ 543 h 906"/>
              <a:gd name="T24" fmla="*/ 171 w 1218"/>
              <a:gd name="T25" fmla="*/ 467 h 906"/>
              <a:gd name="T26" fmla="*/ 413 w 1218"/>
              <a:gd name="T27" fmla="*/ 466 h 906"/>
              <a:gd name="T28" fmla="*/ 691 w 1218"/>
              <a:gd name="T29" fmla="*/ 396 h 906"/>
              <a:gd name="T30" fmla="*/ 878 w 1218"/>
              <a:gd name="T31" fmla="*/ 218 h 906"/>
              <a:gd name="T32" fmla="*/ 965 w 1218"/>
              <a:gd name="T33" fmla="*/ 21 h 906"/>
              <a:gd name="T34" fmla="*/ 1062 w 1218"/>
              <a:gd name="T35" fmla="*/ 171 h 906"/>
              <a:gd name="T36" fmla="*/ 1104 w 1218"/>
              <a:gd name="T37" fmla="*/ 236 h 906"/>
              <a:gd name="T38" fmla="*/ 1153 w 1218"/>
              <a:gd name="T39" fmla="*/ 290 h 906"/>
              <a:gd name="T40" fmla="*/ 1187 w 1218"/>
              <a:gd name="T41" fmla="*/ 304 h 906"/>
              <a:gd name="T42" fmla="*/ 1204 w 1218"/>
              <a:gd name="T43" fmla="*/ 379 h 906"/>
              <a:gd name="T44" fmla="*/ 266 w 1218"/>
              <a:gd name="T45" fmla="*/ 884 h 906"/>
              <a:gd name="T46" fmla="*/ 286 w 1218"/>
              <a:gd name="T47" fmla="*/ 867 h 906"/>
              <a:gd name="T48" fmla="*/ 238 w 1218"/>
              <a:gd name="T49" fmla="*/ 847 h 906"/>
              <a:gd name="T50" fmla="*/ 223 w 1218"/>
              <a:gd name="T51" fmla="*/ 862 h 906"/>
              <a:gd name="T52" fmla="*/ 97 w 1218"/>
              <a:gd name="T53" fmla="*/ 896 h 906"/>
              <a:gd name="T54" fmla="*/ 145 w 1218"/>
              <a:gd name="T55" fmla="*/ 894 h 906"/>
              <a:gd name="T56" fmla="*/ 134 w 1218"/>
              <a:gd name="T57" fmla="*/ 867 h 906"/>
              <a:gd name="T58" fmla="*/ 85 w 1218"/>
              <a:gd name="T59" fmla="*/ 882 h 906"/>
              <a:gd name="T60" fmla="*/ 97 w 1218"/>
              <a:gd name="T61" fmla="*/ 896 h 906"/>
              <a:gd name="T62" fmla="*/ 427 w 1218"/>
              <a:gd name="T63" fmla="*/ 864 h 906"/>
              <a:gd name="T64" fmla="*/ 440 w 1218"/>
              <a:gd name="T65" fmla="*/ 863 h 906"/>
              <a:gd name="T66" fmla="*/ 403 w 1218"/>
              <a:gd name="T67" fmla="*/ 823 h 906"/>
              <a:gd name="T68" fmla="*/ 383 w 1218"/>
              <a:gd name="T69" fmla="*/ 837 h 9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218" h="906">
                <a:moveTo>
                  <a:pt x="1204" y="379"/>
                </a:moveTo>
                <a:cubicBezTo>
                  <a:pt x="1202" y="386"/>
                  <a:pt x="1203" y="432"/>
                  <a:pt x="1203" y="464"/>
                </a:cubicBezTo>
                <a:cubicBezTo>
                  <a:pt x="1203" y="483"/>
                  <a:pt x="1192" y="499"/>
                  <a:pt x="1174" y="505"/>
                </a:cubicBezTo>
                <a:cubicBezTo>
                  <a:pt x="1096" y="530"/>
                  <a:pt x="1096" y="530"/>
                  <a:pt x="1096" y="530"/>
                </a:cubicBezTo>
                <a:cubicBezTo>
                  <a:pt x="1093" y="531"/>
                  <a:pt x="1090" y="532"/>
                  <a:pt x="1088" y="534"/>
                </a:cubicBezTo>
                <a:cubicBezTo>
                  <a:pt x="976" y="601"/>
                  <a:pt x="976" y="601"/>
                  <a:pt x="976" y="601"/>
                </a:cubicBezTo>
                <a:cubicBezTo>
                  <a:pt x="969" y="605"/>
                  <a:pt x="963" y="611"/>
                  <a:pt x="960" y="618"/>
                </a:cubicBezTo>
                <a:cubicBezTo>
                  <a:pt x="946" y="645"/>
                  <a:pt x="913" y="711"/>
                  <a:pt x="904" y="715"/>
                </a:cubicBezTo>
                <a:cubicBezTo>
                  <a:pt x="896" y="718"/>
                  <a:pt x="829" y="756"/>
                  <a:pt x="805" y="770"/>
                </a:cubicBezTo>
                <a:cubicBezTo>
                  <a:pt x="800" y="773"/>
                  <a:pt x="794" y="775"/>
                  <a:pt x="787" y="776"/>
                </a:cubicBezTo>
                <a:cubicBezTo>
                  <a:pt x="639" y="788"/>
                  <a:pt x="639" y="788"/>
                  <a:pt x="639" y="788"/>
                </a:cubicBezTo>
                <a:cubicBezTo>
                  <a:pt x="638" y="788"/>
                  <a:pt x="637" y="788"/>
                  <a:pt x="636" y="788"/>
                </a:cubicBezTo>
                <a:cubicBezTo>
                  <a:pt x="449" y="788"/>
                  <a:pt x="449" y="788"/>
                  <a:pt x="449" y="788"/>
                </a:cubicBezTo>
                <a:cubicBezTo>
                  <a:pt x="446" y="788"/>
                  <a:pt x="442" y="787"/>
                  <a:pt x="439" y="787"/>
                </a:cubicBezTo>
                <a:cubicBezTo>
                  <a:pt x="111" y="815"/>
                  <a:pt x="111" y="815"/>
                  <a:pt x="111" y="815"/>
                </a:cubicBezTo>
                <a:cubicBezTo>
                  <a:pt x="214" y="761"/>
                  <a:pt x="214" y="761"/>
                  <a:pt x="214" y="761"/>
                </a:cubicBezTo>
                <a:cubicBezTo>
                  <a:pt x="202" y="758"/>
                  <a:pt x="192" y="751"/>
                  <a:pt x="186" y="740"/>
                </a:cubicBezTo>
                <a:cubicBezTo>
                  <a:pt x="162" y="695"/>
                  <a:pt x="162" y="695"/>
                  <a:pt x="162" y="695"/>
                </a:cubicBezTo>
                <a:cubicBezTo>
                  <a:pt x="161" y="693"/>
                  <a:pt x="160" y="691"/>
                  <a:pt x="160" y="689"/>
                </a:cubicBezTo>
                <a:cubicBezTo>
                  <a:pt x="199" y="628"/>
                  <a:pt x="199" y="628"/>
                  <a:pt x="199" y="628"/>
                </a:cubicBezTo>
                <a:cubicBezTo>
                  <a:pt x="199" y="628"/>
                  <a:pt x="199" y="628"/>
                  <a:pt x="199" y="628"/>
                </a:cubicBezTo>
                <a:cubicBezTo>
                  <a:pt x="191" y="608"/>
                  <a:pt x="170" y="596"/>
                  <a:pt x="149" y="601"/>
                </a:cubicBezTo>
                <a:cubicBezTo>
                  <a:pt x="128" y="607"/>
                  <a:pt x="104" y="611"/>
                  <a:pt x="100" y="607"/>
                </a:cubicBezTo>
                <a:cubicBezTo>
                  <a:pt x="95" y="604"/>
                  <a:pt x="46" y="572"/>
                  <a:pt x="0" y="543"/>
                </a:cubicBezTo>
                <a:cubicBezTo>
                  <a:pt x="157" y="470"/>
                  <a:pt x="157" y="470"/>
                  <a:pt x="157" y="470"/>
                </a:cubicBezTo>
                <a:cubicBezTo>
                  <a:pt x="162" y="468"/>
                  <a:pt x="167" y="467"/>
                  <a:pt x="171" y="467"/>
                </a:cubicBezTo>
                <a:cubicBezTo>
                  <a:pt x="405" y="467"/>
                  <a:pt x="405" y="467"/>
                  <a:pt x="405" y="467"/>
                </a:cubicBezTo>
                <a:cubicBezTo>
                  <a:pt x="408" y="467"/>
                  <a:pt x="411" y="467"/>
                  <a:pt x="413" y="466"/>
                </a:cubicBezTo>
                <a:cubicBezTo>
                  <a:pt x="676" y="403"/>
                  <a:pt x="676" y="403"/>
                  <a:pt x="676" y="403"/>
                </a:cubicBezTo>
                <a:cubicBezTo>
                  <a:pt x="681" y="402"/>
                  <a:pt x="687" y="399"/>
                  <a:pt x="691" y="396"/>
                </a:cubicBezTo>
                <a:cubicBezTo>
                  <a:pt x="871" y="229"/>
                  <a:pt x="871" y="229"/>
                  <a:pt x="871" y="229"/>
                </a:cubicBezTo>
                <a:cubicBezTo>
                  <a:pt x="874" y="226"/>
                  <a:pt x="877" y="223"/>
                  <a:pt x="878" y="218"/>
                </a:cubicBezTo>
                <a:cubicBezTo>
                  <a:pt x="974" y="0"/>
                  <a:pt x="974" y="0"/>
                  <a:pt x="974" y="0"/>
                </a:cubicBezTo>
                <a:cubicBezTo>
                  <a:pt x="965" y="21"/>
                  <a:pt x="965" y="21"/>
                  <a:pt x="965" y="21"/>
                </a:cubicBezTo>
                <a:cubicBezTo>
                  <a:pt x="985" y="57"/>
                  <a:pt x="1021" y="122"/>
                  <a:pt x="1021" y="131"/>
                </a:cubicBezTo>
                <a:cubicBezTo>
                  <a:pt x="1021" y="141"/>
                  <a:pt x="1048" y="161"/>
                  <a:pt x="1062" y="171"/>
                </a:cubicBezTo>
                <a:cubicBezTo>
                  <a:pt x="1067" y="175"/>
                  <a:pt x="1072" y="180"/>
                  <a:pt x="1075" y="186"/>
                </a:cubicBezTo>
                <a:cubicBezTo>
                  <a:pt x="1104" y="236"/>
                  <a:pt x="1104" y="236"/>
                  <a:pt x="1104" y="236"/>
                </a:cubicBezTo>
                <a:cubicBezTo>
                  <a:pt x="1106" y="239"/>
                  <a:pt x="1108" y="243"/>
                  <a:pt x="1111" y="245"/>
                </a:cubicBezTo>
                <a:cubicBezTo>
                  <a:pt x="1153" y="290"/>
                  <a:pt x="1153" y="290"/>
                  <a:pt x="1153" y="290"/>
                </a:cubicBezTo>
                <a:cubicBezTo>
                  <a:pt x="1162" y="298"/>
                  <a:pt x="1174" y="304"/>
                  <a:pt x="1186" y="304"/>
                </a:cubicBezTo>
                <a:cubicBezTo>
                  <a:pt x="1187" y="304"/>
                  <a:pt x="1187" y="304"/>
                  <a:pt x="1187" y="304"/>
                </a:cubicBezTo>
                <a:cubicBezTo>
                  <a:pt x="1198" y="304"/>
                  <a:pt x="1210" y="299"/>
                  <a:pt x="1218" y="291"/>
                </a:cubicBezTo>
                <a:cubicBezTo>
                  <a:pt x="1211" y="333"/>
                  <a:pt x="1205" y="374"/>
                  <a:pt x="1204" y="379"/>
                </a:cubicBezTo>
                <a:close/>
                <a:moveTo>
                  <a:pt x="234" y="876"/>
                </a:moveTo>
                <a:cubicBezTo>
                  <a:pt x="266" y="884"/>
                  <a:pt x="266" y="884"/>
                  <a:pt x="266" y="884"/>
                </a:cubicBezTo>
                <a:cubicBezTo>
                  <a:pt x="273" y="886"/>
                  <a:pt x="281" y="881"/>
                  <a:pt x="283" y="874"/>
                </a:cubicBezTo>
                <a:cubicBezTo>
                  <a:pt x="286" y="867"/>
                  <a:pt x="286" y="867"/>
                  <a:pt x="286" y="867"/>
                </a:cubicBezTo>
                <a:cubicBezTo>
                  <a:pt x="289" y="857"/>
                  <a:pt x="282" y="847"/>
                  <a:pt x="272" y="847"/>
                </a:cubicBezTo>
                <a:cubicBezTo>
                  <a:pt x="238" y="847"/>
                  <a:pt x="238" y="847"/>
                  <a:pt x="238" y="847"/>
                </a:cubicBezTo>
                <a:cubicBezTo>
                  <a:pt x="229" y="847"/>
                  <a:pt x="223" y="854"/>
                  <a:pt x="223" y="862"/>
                </a:cubicBezTo>
                <a:cubicBezTo>
                  <a:pt x="223" y="862"/>
                  <a:pt x="223" y="862"/>
                  <a:pt x="223" y="862"/>
                </a:cubicBezTo>
                <a:cubicBezTo>
                  <a:pt x="223" y="869"/>
                  <a:pt x="228" y="875"/>
                  <a:pt x="234" y="876"/>
                </a:cubicBezTo>
                <a:close/>
                <a:moveTo>
                  <a:pt x="97" y="896"/>
                </a:moveTo>
                <a:cubicBezTo>
                  <a:pt x="128" y="904"/>
                  <a:pt x="128" y="904"/>
                  <a:pt x="128" y="904"/>
                </a:cubicBezTo>
                <a:cubicBezTo>
                  <a:pt x="135" y="906"/>
                  <a:pt x="143" y="901"/>
                  <a:pt x="145" y="894"/>
                </a:cubicBezTo>
                <a:cubicBezTo>
                  <a:pt x="148" y="887"/>
                  <a:pt x="148" y="887"/>
                  <a:pt x="148" y="887"/>
                </a:cubicBezTo>
                <a:cubicBezTo>
                  <a:pt x="151" y="877"/>
                  <a:pt x="144" y="867"/>
                  <a:pt x="134" y="867"/>
                </a:cubicBezTo>
                <a:cubicBezTo>
                  <a:pt x="100" y="867"/>
                  <a:pt x="100" y="867"/>
                  <a:pt x="100" y="867"/>
                </a:cubicBezTo>
                <a:cubicBezTo>
                  <a:pt x="92" y="867"/>
                  <a:pt x="85" y="874"/>
                  <a:pt x="85" y="882"/>
                </a:cubicBezTo>
                <a:cubicBezTo>
                  <a:pt x="85" y="882"/>
                  <a:pt x="85" y="882"/>
                  <a:pt x="85" y="882"/>
                </a:cubicBezTo>
                <a:cubicBezTo>
                  <a:pt x="85" y="889"/>
                  <a:pt x="90" y="895"/>
                  <a:pt x="97" y="896"/>
                </a:cubicBezTo>
                <a:close/>
                <a:moveTo>
                  <a:pt x="392" y="851"/>
                </a:moveTo>
                <a:cubicBezTo>
                  <a:pt x="427" y="864"/>
                  <a:pt x="427" y="864"/>
                  <a:pt x="427" y="864"/>
                </a:cubicBezTo>
                <a:cubicBezTo>
                  <a:pt x="431" y="866"/>
                  <a:pt x="436" y="865"/>
                  <a:pt x="440" y="863"/>
                </a:cubicBezTo>
                <a:cubicBezTo>
                  <a:pt x="440" y="863"/>
                  <a:pt x="440" y="863"/>
                  <a:pt x="440" y="863"/>
                </a:cubicBezTo>
                <a:cubicBezTo>
                  <a:pt x="451" y="856"/>
                  <a:pt x="449" y="841"/>
                  <a:pt x="438" y="836"/>
                </a:cubicBezTo>
                <a:cubicBezTo>
                  <a:pt x="403" y="823"/>
                  <a:pt x="403" y="823"/>
                  <a:pt x="403" y="823"/>
                </a:cubicBezTo>
                <a:cubicBezTo>
                  <a:pt x="393" y="819"/>
                  <a:pt x="383" y="826"/>
                  <a:pt x="383" y="837"/>
                </a:cubicBezTo>
                <a:cubicBezTo>
                  <a:pt x="383" y="837"/>
                  <a:pt x="383" y="837"/>
                  <a:pt x="383" y="837"/>
                </a:cubicBezTo>
                <a:cubicBezTo>
                  <a:pt x="383" y="843"/>
                  <a:pt x="387" y="848"/>
                  <a:pt x="392" y="851"/>
                </a:cubicBez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4" name="Freeform 65">
            <a:extLst>
              <a:ext uri="{FF2B5EF4-FFF2-40B4-BE49-F238E27FC236}">
                <a16:creationId xmlns:a16="http://schemas.microsoft.com/office/drawing/2014/main" id="{B8305334-88CC-4A90-A7C2-0A6340E6759C}"/>
              </a:ext>
            </a:extLst>
          </p:cNvPr>
          <p:cNvSpPr>
            <a:spLocks noEditPoints="1"/>
          </p:cNvSpPr>
          <p:nvPr/>
        </p:nvSpPr>
        <p:spPr bwMode="auto">
          <a:xfrm>
            <a:off x="872423" y="3650541"/>
            <a:ext cx="835858" cy="562626"/>
          </a:xfrm>
          <a:custGeom>
            <a:avLst/>
            <a:gdLst>
              <a:gd name="T0" fmla="*/ 2611 w 2746"/>
              <a:gd name="T1" fmla="*/ 1277 h 1847"/>
              <a:gd name="T2" fmla="*/ 2416 w 2746"/>
              <a:gd name="T3" fmla="*/ 1367 h 1847"/>
              <a:gd name="T4" fmla="*/ 2306 w 2746"/>
              <a:gd name="T5" fmla="*/ 1437 h 1847"/>
              <a:gd name="T6" fmla="*/ 2260 w 2746"/>
              <a:gd name="T7" fmla="*/ 1424 h 1847"/>
              <a:gd name="T8" fmla="*/ 2023 w 2746"/>
              <a:gd name="T9" fmla="*/ 1508 h 1847"/>
              <a:gd name="T10" fmla="*/ 1874 w 2746"/>
              <a:gd name="T11" fmla="*/ 1509 h 1847"/>
              <a:gd name="T12" fmla="*/ 1519 w 2746"/>
              <a:gd name="T13" fmla="*/ 1791 h 1847"/>
              <a:gd name="T14" fmla="*/ 1417 w 2746"/>
              <a:gd name="T15" fmla="*/ 1847 h 1847"/>
              <a:gd name="T16" fmla="*/ 1388 w 2746"/>
              <a:gd name="T17" fmla="*/ 1781 h 1847"/>
              <a:gd name="T18" fmla="*/ 1270 w 2746"/>
              <a:gd name="T19" fmla="*/ 1687 h 1847"/>
              <a:gd name="T20" fmla="*/ 1108 w 2746"/>
              <a:gd name="T21" fmla="*/ 1631 h 1847"/>
              <a:gd name="T22" fmla="*/ 1105 w 2746"/>
              <a:gd name="T23" fmla="*/ 1563 h 1847"/>
              <a:gd name="T24" fmla="*/ 1028 w 2746"/>
              <a:gd name="T25" fmla="*/ 1272 h 1847"/>
              <a:gd name="T26" fmla="*/ 1014 w 2746"/>
              <a:gd name="T27" fmla="*/ 1111 h 1847"/>
              <a:gd name="T28" fmla="*/ 935 w 2746"/>
              <a:gd name="T29" fmla="*/ 1058 h 1847"/>
              <a:gd name="T30" fmla="*/ 751 w 2746"/>
              <a:gd name="T31" fmla="*/ 1043 h 1847"/>
              <a:gd name="T32" fmla="*/ 589 w 2746"/>
              <a:gd name="T33" fmla="*/ 977 h 1847"/>
              <a:gd name="T34" fmla="*/ 0 w 2746"/>
              <a:gd name="T35" fmla="*/ 847 h 1847"/>
              <a:gd name="T36" fmla="*/ 115 w 2746"/>
              <a:gd name="T37" fmla="*/ 754 h 1847"/>
              <a:gd name="T38" fmla="*/ 257 w 2746"/>
              <a:gd name="T39" fmla="*/ 596 h 1847"/>
              <a:gd name="T40" fmla="*/ 378 w 2746"/>
              <a:gd name="T41" fmla="*/ 370 h 1847"/>
              <a:gd name="T42" fmla="*/ 477 w 2746"/>
              <a:gd name="T43" fmla="*/ 264 h 1847"/>
              <a:gd name="T44" fmla="*/ 578 w 2746"/>
              <a:gd name="T45" fmla="*/ 139 h 1847"/>
              <a:gd name="T46" fmla="*/ 599 w 2746"/>
              <a:gd name="T47" fmla="*/ 55 h 1847"/>
              <a:gd name="T48" fmla="*/ 900 w 2746"/>
              <a:gd name="T49" fmla="*/ 48 h 1847"/>
              <a:gd name="T50" fmla="*/ 1527 w 2746"/>
              <a:gd name="T51" fmla="*/ 122 h 1847"/>
              <a:gd name="T52" fmla="*/ 1710 w 2746"/>
              <a:gd name="T53" fmla="*/ 87 h 1847"/>
              <a:gd name="T54" fmla="*/ 1811 w 2746"/>
              <a:gd name="T55" fmla="*/ 152 h 1847"/>
              <a:gd name="T56" fmla="*/ 1854 w 2746"/>
              <a:gd name="T57" fmla="*/ 260 h 1847"/>
              <a:gd name="T58" fmla="*/ 1858 w 2746"/>
              <a:gd name="T59" fmla="*/ 424 h 1847"/>
              <a:gd name="T60" fmla="*/ 2060 w 2746"/>
              <a:gd name="T61" fmla="*/ 649 h 1847"/>
              <a:gd name="T62" fmla="*/ 1981 w 2746"/>
              <a:gd name="T63" fmla="*/ 884 h 1847"/>
              <a:gd name="T64" fmla="*/ 2036 w 2746"/>
              <a:gd name="T65" fmla="*/ 980 h 1847"/>
              <a:gd name="T66" fmla="*/ 2074 w 2746"/>
              <a:gd name="T67" fmla="*/ 1038 h 1847"/>
              <a:gd name="T68" fmla="*/ 2250 w 2746"/>
              <a:gd name="T69" fmla="*/ 1052 h 1847"/>
              <a:gd name="T70" fmla="*/ 2459 w 2746"/>
              <a:gd name="T71" fmla="*/ 1026 h 1847"/>
              <a:gd name="T72" fmla="*/ 2545 w 2746"/>
              <a:gd name="T73" fmla="*/ 988 h 1847"/>
              <a:gd name="T74" fmla="*/ 2694 w 2746"/>
              <a:gd name="T75" fmla="*/ 1046 h 1847"/>
              <a:gd name="T76" fmla="*/ 2744 w 2746"/>
              <a:gd name="T77" fmla="*/ 1073 h 1847"/>
              <a:gd name="T78" fmla="*/ 2707 w 2746"/>
              <a:gd name="T79" fmla="*/ 1140 h 1847"/>
              <a:gd name="T80" fmla="*/ 2746 w 2746"/>
              <a:gd name="T81" fmla="*/ 1201 h 1847"/>
              <a:gd name="T82" fmla="*/ 2367 w 2746"/>
              <a:gd name="T83" fmla="*/ 1491 h 1847"/>
              <a:gd name="T84" fmla="*/ 2348 w 2746"/>
              <a:gd name="T85" fmla="*/ 1493 h 1847"/>
              <a:gd name="T86" fmla="*/ 2352 w 2746"/>
              <a:gd name="T87" fmla="*/ 1531 h 1847"/>
              <a:gd name="T88" fmla="*/ 2380 w 2746"/>
              <a:gd name="T89" fmla="*/ 1556 h 1847"/>
              <a:gd name="T90" fmla="*/ 2413 w 2746"/>
              <a:gd name="T91" fmla="*/ 1537 h 1847"/>
              <a:gd name="T92" fmla="*/ 2399 w 2746"/>
              <a:gd name="T93" fmla="*/ 1501 h 18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746" h="1847">
                <a:moveTo>
                  <a:pt x="2746" y="1201"/>
                </a:moveTo>
                <a:cubicBezTo>
                  <a:pt x="2611" y="1277"/>
                  <a:pt x="2611" y="1277"/>
                  <a:pt x="2611" y="1277"/>
                </a:cubicBezTo>
                <a:cubicBezTo>
                  <a:pt x="2610" y="1277"/>
                  <a:pt x="2608" y="1278"/>
                  <a:pt x="2607" y="1279"/>
                </a:cubicBezTo>
                <a:cubicBezTo>
                  <a:pt x="2586" y="1288"/>
                  <a:pt x="2420" y="1363"/>
                  <a:pt x="2416" y="1367"/>
                </a:cubicBezTo>
                <a:cubicBezTo>
                  <a:pt x="2414" y="1370"/>
                  <a:pt x="2400" y="1394"/>
                  <a:pt x="2387" y="1420"/>
                </a:cubicBezTo>
                <a:cubicBezTo>
                  <a:pt x="2371" y="1449"/>
                  <a:pt x="2332" y="1458"/>
                  <a:pt x="2306" y="1437"/>
                </a:cubicBezTo>
                <a:cubicBezTo>
                  <a:pt x="2304" y="1435"/>
                  <a:pt x="2304" y="1435"/>
                  <a:pt x="2304" y="1435"/>
                </a:cubicBezTo>
                <a:cubicBezTo>
                  <a:pt x="2292" y="1425"/>
                  <a:pt x="2276" y="1421"/>
                  <a:pt x="2260" y="1424"/>
                </a:cubicBezTo>
                <a:cubicBezTo>
                  <a:pt x="2234" y="1429"/>
                  <a:pt x="2194" y="1438"/>
                  <a:pt x="2176" y="1447"/>
                </a:cubicBezTo>
                <a:cubicBezTo>
                  <a:pt x="2149" y="1461"/>
                  <a:pt x="2028" y="1508"/>
                  <a:pt x="2023" y="1508"/>
                </a:cubicBezTo>
                <a:cubicBezTo>
                  <a:pt x="2020" y="1508"/>
                  <a:pt x="1949" y="1501"/>
                  <a:pt x="1912" y="1497"/>
                </a:cubicBezTo>
                <a:cubicBezTo>
                  <a:pt x="1898" y="1496"/>
                  <a:pt x="1885" y="1500"/>
                  <a:pt x="1874" y="1509"/>
                </a:cubicBezTo>
                <a:cubicBezTo>
                  <a:pt x="1525" y="1786"/>
                  <a:pt x="1525" y="1786"/>
                  <a:pt x="1525" y="1786"/>
                </a:cubicBezTo>
                <a:cubicBezTo>
                  <a:pt x="1523" y="1788"/>
                  <a:pt x="1521" y="1789"/>
                  <a:pt x="1519" y="1791"/>
                </a:cubicBezTo>
                <a:cubicBezTo>
                  <a:pt x="1430" y="1842"/>
                  <a:pt x="1430" y="1842"/>
                  <a:pt x="1430" y="1842"/>
                </a:cubicBezTo>
                <a:cubicBezTo>
                  <a:pt x="1426" y="1844"/>
                  <a:pt x="1422" y="1846"/>
                  <a:pt x="1417" y="1847"/>
                </a:cubicBezTo>
                <a:cubicBezTo>
                  <a:pt x="1425" y="1835"/>
                  <a:pt x="1423" y="1818"/>
                  <a:pt x="1413" y="1808"/>
                </a:cubicBezTo>
                <a:cubicBezTo>
                  <a:pt x="1388" y="1781"/>
                  <a:pt x="1388" y="1781"/>
                  <a:pt x="1388" y="1781"/>
                </a:cubicBezTo>
                <a:cubicBezTo>
                  <a:pt x="1385" y="1779"/>
                  <a:pt x="1383" y="1777"/>
                  <a:pt x="1380" y="1775"/>
                </a:cubicBezTo>
                <a:cubicBezTo>
                  <a:pt x="1356" y="1762"/>
                  <a:pt x="1276" y="1687"/>
                  <a:pt x="1270" y="1687"/>
                </a:cubicBezTo>
                <a:cubicBezTo>
                  <a:pt x="1264" y="1687"/>
                  <a:pt x="1165" y="1676"/>
                  <a:pt x="1129" y="1662"/>
                </a:cubicBezTo>
                <a:cubicBezTo>
                  <a:pt x="1116" y="1657"/>
                  <a:pt x="1108" y="1645"/>
                  <a:pt x="1108" y="1631"/>
                </a:cubicBezTo>
                <a:cubicBezTo>
                  <a:pt x="1108" y="1577"/>
                  <a:pt x="1108" y="1577"/>
                  <a:pt x="1108" y="1577"/>
                </a:cubicBezTo>
                <a:cubicBezTo>
                  <a:pt x="1108" y="1573"/>
                  <a:pt x="1107" y="1568"/>
                  <a:pt x="1105" y="1563"/>
                </a:cubicBezTo>
                <a:cubicBezTo>
                  <a:pt x="1090" y="1532"/>
                  <a:pt x="1029" y="1402"/>
                  <a:pt x="1019" y="1377"/>
                </a:cubicBezTo>
                <a:cubicBezTo>
                  <a:pt x="1007" y="1348"/>
                  <a:pt x="1033" y="1279"/>
                  <a:pt x="1028" y="1272"/>
                </a:cubicBezTo>
                <a:cubicBezTo>
                  <a:pt x="1025" y="1266"/>
                  <a:pt x="1027" y="1177"/>
                  <a:pt x="1028" y="1138"/>
                </a:cubicBezTo>
                <a:cubicBezTo>
                  <a:pt x="1028" y="1128"/>
                  <a:pt x="1023" y="1117"/>
                  <a:pt x="1014" y="1111"/>
                </a:cubicBezTo>
                <a:cubicBezTo>
                  <a:pt x="953" y="1065"/>
                  <a:pt x="953" y="1065"/>
                  <a:pt x="953" y="1065"/>
                </a:cubicBezTo>
                <a:cubicBezTo>
                  <a:pt x="948" y="1061"/>
                  <a:pt x="942" y="1059"/>
                  <a:pt x="935" y="1058"/>
                </a:cubicBezTo>
                <a:cubicBezTo>
                  <a:pt x="761" y="1045"/>
                  <a:pt x="761" y="1045"/>
                  <a:pt x="761" y="1045"/>
                </a:cubicBezTo>
                <a:cubicBezTo>
                  <a:pt x="758" y="1045"/>
                  <a:pt x="755" y="1044"/>
                  <a:pt x="751" y="1043"/>
                </a:cubicBezTo>
                <a:cubicBezTo>
                  <a:pt x="594" y="979"/>
                  <a:pt x="594" y="979"/>
                  <a:pt x="594" y="979"/>
                </a:cubicBezTo>
                <a:cubicBezTo>
                  <a:pt x="592" y="978"/>
                  <a:pt x="591" y="978"/>
                  <a:pt x="589" y="977"/>
                </a:cubicBezTo>
                <a:cubicBezTo>
                  <a:pt x="248" y="902"/>
                  <a:pt x="248" y="902"/>
                  <a:pt x="248" y="902"/>
                </a:cubicBezTo>
                <a:cubicBezTo>
                  <a:pt x="0" y="847"/>
                  <a:pt x="0" y="847"/>
                  <a:pt x="0" y="847"/>
                </a:cubicBezTo>
                <a:cubicBezTo>
                  <a:pt x="1" y="846"/>
                  <a:pt x="2" y="845"/>
                  <a:pt x="3" y="843"/>
                </a:cubicBezTo>
                <a:cubicBezTo>
                  <a:pt x="115" y="754"/>
                  <a:pt x="115" y="754"/>
                  <a:pt x="115" y="754"/>
                </a:cubicBezTo>
                <a:cubicBezTo>
                  <a:pt x="116" y="754"/>
                  <a:pt x="117" y="753"/>
                  <a:pt x="117" y="753"/>
                </a:cubicBezTo>
                <a:cubicBezTo>
                  <a:pt x="128" y="740"/>
                  <a:pt x="250" y="598"/>
                  <a:pt x="257" y="596"/>
                </a:cubicBezTo>
                <a:cubicBezTo>
                  <a:pt x="264" y="594"/>
                  <a:pt x="365" y="394"/>
                  <a:pt x="376" y="373"/>
                </a:cubicBezTo>
                <a:cubicBezTo>
                  <a:pt x="376" y="372"/>
                  <a:pt x="377" y="371"/>
                  <a:pt x="378" y="370"/>
                </a:cubicBezTo>
                <a:cubicBezTo>
                  <a:pt x="477" y="264"/>
                  <a:pt x="477" y="264"/>
                  <a:pt x="477" y="264"/>
                </a:cubicBezTo>
                <a:cubicBezTo>
                  <a:pt x="477" y="264"/>
                  <a:pt x="477" y="264"/>
                  <a:pt x="477" y="264"/>
                </a:cubicBezTo>
                <a:cubicBezTo>
                  <a:pt x="575" y="145"/>
                  <a:pt x="575" y="145"/>
                  <a:pt x="575" y="145"/>
                </a:cubicBezTo>
                <a:cubicBezTo>
                  <a:pt x="577" y="143"/>
                  <a:pt x="577" y="141"/>
                  <a:pt x="578" y="139"/>
                </a:cubicBezTo>
                <a:cubicBezTo>
                  <a:pt x="598" y="58"/>
                  <a:pt x="598" y="58"/>
                  <a:pt x="598" y="58"/>
                </a:cubicBezTo>
                <a:cubicBezTo>
                  <a:pt x="599" y="57"/>
                  <a:pt x="599" y="56"/>
                  <a:pt x="599" y="55"/>
                </a:cubicBezTo>
                <a:cubicBezTo>
                  <a:pt x="628" y="0"/>
                  <a:pt x="628" y="0"/>
                  <a:pt x="628" y="0"/>
                </a:cubicBezTo>
                <a:cubicBezTo>
                  <a:pt x="900" y="48"/>
                  <a:pt x="900" y="48"/>
                  <a:pt x="900" y="48"/>
                </a:cubicBezTo>
                <a:cubicBezTo>
                  <a:pt x="900" y="48"/>
                  <a:pt x="1265" y="99"/>
                  <a:pt x="1310" y="108"/>
                </a:cubicBezTo>
                <a:cubicBezTo>
                  <a:pt x="1351" y="116"/>
                  <a:pt x="1501" y="121"/>
                  <a:pt x="1527" y="122"/>
                </a:cubicBezTo>
                <a:cubicBezTo>
                  <a:pt x="1530" y="122"/>
                  <a:pt x="1532" y="122"/>
                  <a:pt x="1535" y="122"/>
                </a:cubicBezTo>
                <a:cubicBezTo>
                  <a:pt x="1710" y="87"/>
                  <a:pt x="1710" y="87"/>
                  <a:pt x="1710" y="87"/>
                </a:cubicBezTo>
                <a:cubicBezTo>
                  <a:pt x="1720" y="85"/>
                  <a:pt x="1730" y="87"/>
                  <a:pt x="1737" y="93"/>
                </a:cubicBezTo>
                <a:cubicBezTo>
                  <a:pt x="1811" y="152"/>
                  <a:pt x="1811" y="152"/>
                  <a:pt x="1811" y="152"/>
                </a:cubicBezTo>
                <a:cubicBezTo>
                  <a:pt x="1816" y="156"/>
                  <a:pt x="1819" y="161"/>
                  <a:pt x="1821" y="167"/>
                </a:cubicBezTo>
                <a:cubicBezTo>
                  <a:pt x="1854" y="260"/>
                  <a:pt x="1854" y="260"/>
                  <a:pt x="1854" y="260"/>
                </a:cubicBezTo>
                <a:cubicBezTo>
                  <a:pt x="1876" y="324"/>
                  <a:pt x="1865" y="364"/>
                  <a:pt x="1853" y="385"/>
                </a:cubicBezTo>
                <a:cubicBezTo>
                  <a:pt x="1846" y="398"/>
                  <a:pt x="1848" y="413"/>
                  <a:pt x="1858" y="424"/>
                </a:cubicBezTo>
                <a:cubicBezTo>
                  <a:pt x="1968" y="541"/>
                  <a:pt x="1968" y="541"/>
                  <a:pt x="1968" y="541"/>
                </a:cubicBezTo>
                <a:cubicBezTo>
                  <a:pt x="1968" y="541"/>
                  <a:pt x="2060" y="637"/>
                  <a:pt x="2060" y="649"/>
                </a:cubicBezTo>
                <a:cubicBezTo>
                  <a:pt x="2060" y="661"/>
                  <a:pt x="1974" y="765"/>
                  <a:pt x="1962" y="774"/>
                </a:cubicBezTo>
                <a:cubicBezTo>
                  <a:pt x="1951" y="782"/>
                  <a:pt x="1976" y="866"/>
                  <a:pt x="1981" y="884"/>
                </a:cubicBezTo>
                <a:cubicBezTo>
                  <a:pt x="1982" y="887"/>
                  <a:pt x="1983" y="889"/>
                  <a:pt x="1984" y="891"/>
                </a:cubicBezTo>
                <a:cubicBezTo>
                  <a:pt x="2036" y="980"/>
                  <a:pt x="2036" y="980"/>
                  <a:pt x="2036" y="980"/>
                </a:cubicBezTo>
                <a:cubicBezTo>
                  <a:pt x="2036" y="980"/>
                  <a:pt x="2037" y="981"/>
                  <a:pt x="2037" y="981"/>
                </a:cubicBezTo>
                <a:cubicBezTo>
                  <a:pt x="2074" y="1038"/>
                  <a:pt x="2074" y="1038"/>
                  <a:pt x="2074" y="1038"/>
                </a:cubicBezTo>
                <a:cubicBezTo>
                  <a:pt x="2080" y="1047"/>
                  <a:pt x="2091" y="1052"/>
                  <a:pt x="2102" y="1052"/>
                </a:cubicBezTo>
                <a:cubicBezTo>
                  <a:pt x="2250" y="1052"/>
                  <a:pt x="2250" y="1052"/>
                  <a:pt x="2250" y="1052"/>
                </a:cubicBezTo>
                <a:cubicBezTo>
                  <a:pt x="2251" y="1052"/>
                  <a:pt x="2252" y="1052"/>
                  <a:pt x="2254" y="1052"/>
                </a:cubicBezTo>
                <a:cubicBezTo>
                  <a:pt x="2459" y="1026"/>
                  <a:pt x="2459" y="1026"/>
                  <a:pt x="2459" y="1026"/>
                </a:cubicBezTo>
                <a:cubicBezTo>
                  <a:pt x="2462" y="1026"/>
                  <a:pt x="2465" y="1025"/>
                  <a:pt x="2469" y="1023"/>
                </a:cubicBezTo>
                <a:cubicBezTo>
                  <a:pt x="2545" y="988"/>
                  <a:pt x="2545" y="988"/>
                  <a:pt x="2545" y="988"/>
                </a:cubicBezTo>
                <a:cubicBezTo>
                  <a:pt x="2591" y="1017"/>
                  <a:pt x="2640" y="1049"/>
                  <a:pt x="2645" y="1052"/>
                </a:cubicBezTo>
                <a:cubicBezTo>
                  <a:pt x="2649" y="1056"/>
                  <a:pt x="2673" y="1052"/>
                  <a:pt x="2694" y="1046"/>
                </a:cubicBezTo>
                <a:cubicBezTo>
                  <a:pt x="2715" y="1041"/>
                  <a:pt x="2736" y="1053"/>
                  <a:pt x="2744" y="1073"/>
                </a:cubicBezTo>
                <a:cubicBezTo>
                  <a:pt x="2744" y="1073"/>
                  <a:pt x="2744" y="1073"/>
                  <a:pt x="2744" y="1073"/>
                </a:cubicBezTo>
                <a:cubicBezTo>
                  <a:pt x="2705" y="1134"/>
                  <a:pt x="2705" y="1134"/>
                  <a:pt x="2705" y="1134"/>
                </a:cubicBezTo>
                <a:cubicBezTo>
                  <a:pt x="2705" y="1136"/>
                  <a:pt x="2706" y="1138"/>
                  <a:pt x="2707" y="1140"/>
                </a:cubicBezTo>
                <a:cubicBezTo>
                  <a:pt x="2731" y="1185"/>
                  <a:pt x="2731" y="1185"/>
                  <a:pt x="2731" y="1185"/>
                </a:cubicBezTo>
                <a:cubicBezTo>
                  <a:pt x="2735" y="1191"/>
                  <a:pt x="2740" y="1197"/>
                  <a:pt x="2746" y="1201"/>
                </a:cubicBezTo>
                <a:close/>
                <a:moveTo>
                  <a:pt x="2399" y="1501"/>
                </a:moveTo>
                <a:cubicBezTo>
                  <a:pt x="2367" y="1491"/>
                  <a:pt x="2367" y="1491"/>
                  <a:pt x="2367" y="1491"/>
                </a:cubicBezTo>
                <a:cubicBezTo>
                  <a:pt x="2363" y="1490"/>
                  <a:pt x="2359" y="1490"/>
                  <a:pt x="2355" y="1491"/>
                </a:cubicBezTo>
                <a:cubicBezTo>
                  <a:pt x="2348" y="1493"/>
                  <a:pt x="2348" y="1493"/>
                  <a:pt x="2348" y="1493"/>
                </a:cubicBezTo>
                <a:cubicBezTo>
                  <a:pt x="2329" y="1499"/>
                  <a:pt x="2329" y="1526"/>
                  <a:pt x="2347" y="1531"/>
                </a:cubicBezTo>
                <a:cubicBezTo>
                  <a:pt x="2349" y="1531"/>
                  <a:pt x="2351" y="1531"/>
                  <a:pt x="2352" y="1531"/>
                </a:cubicBezTo>
                <a:cubicBezTo>
                  <a:pt x="2356" y="1529"/>
                  <a:pt x="2359" y="1535"/>
                  <a:pt x="2361" y="1542"/>
                </a:cubicBezTo>
                <a:cubicBezTo>
                  <a:pt x="2364" y="1551"/>
                  <a:pt x="2372" y="1556"/>
                  <a:pt x="2380" y="1556"/>
                </a:cubicBezTo>
                <a:cubicBezTo>
                  <a:pt x="2393" y="1556"/>
                  <a:pt x="2393" y="1556"/>
                  <a:pt x="2393" y="1556"/>
                </a:cubicBezTo>
                <a:cubicBezTo>
                  <a:pt x="2404" y="1556"/>
                  <a:pt x="2413" y="1547"/>
                  <a:pt x="2413" y="1537"/>
                </a:cubicBezTo>
                <a:cubicBezTo>
                  <a:pt x="2413" y="1520"/>
                  <a:pt x="2413" y="1520"/>
                  <a:pt x="2413" y="1520"/>
                </a:cubicBezTo>
                <a:cubicBezTo>
                  <a:pt x="2413" y="1511"/>
                  <a:pt x="2407" y="1504"/>
                  <a:pt x="2399" y="1501"/>
                </a:cubicBezTo>
                <a:close/>
              </a:path>
            </a:pathLst>
          </a:custGeom>
          <a:solidFill>
            <a:schemeClr val="accent6"/>
          </a:solidFill>
          <a:ln w="3175" cap="flat">
            <a:solidFill>
              <a:schemeClr val="accent5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SO DE DISPOSITIVOS NO </a:t>
            </a:r>
            <a:r>
              <a:rPr lang="en-US" dirty="0">
                <a:solidFill>
                  <a:srgbClr val="EC0000"/>
                </a:solidFill>
              </a:rPr>
              <a:t>BRAS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89189" y="3875550"/>
            <a:ext cx="966945" cy="169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ão </a:t>
            </a:r>
            <a:r>
              <a:rPr lang="en-US" sz="900" b="1" cap="all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ulo</a:t>
            </a:r>
            <a:endParaRPr lang="en-US" sz="900" b="1" cap="all" spc="19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26595" y="3875550"/>
            <a:ext cx="966945" cy="169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o de </a:t>
            </a:r>
            <a:r>
              <a:rPr lang="en-US" sz="900" b="1" cap="all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eiro</a:t>
            </a:r>
            <a:endParaRPr lang="en-US" sz="900" b="1" cap="all" spc="19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064001" y="3789219"/>
            <a:ext cx="966945" cy="3654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O GRANDE</a:t>
            </a:r>
          </a:p>
          <a:p>
            <a:pPr algn="ctr">
              <a:lnSpc>
                <a:spcPct val="140000"/>
              </a:lnSpc>
            </a:pPr>
            <a:r>
              <a:rPr lang="en-US" sz="900" b="1" cap="all" spc="19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 SUL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634433" y="3875550"/>
            <a:ext cx="1188477" cy="1715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as </a:t>
            </a:r>
            <a:r>
              <a:rPr lang="en-US" sz="900" b="1" cap="all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rais</a:t>
            </a:r>
            <a:endParaRPr lang="en-US" sz="900" b="1" cap="all" spc="19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243787" y="3871077"/>
            <a:ext cx="1284189" cy="1715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anta </a:t>
            </a:r>
            <a:r>
              <a:rPr lang="en-US" sz="900" b="1" cap="all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arina</a:t>
            </a:r>
            <a:endParaRPr lang="en-US" sz="900" b="1" cap="all" spc="19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593725" y="1544816"/>
            <a:ext cx="1324537" cy="1787090"/>
            <a:chOff x="593725" y="1544816"/>
            <a:chExt cx="1324537" cy="1787090"/>
          </a:xfrm>
        </p:grpSpPr>
        <p:sp>
          <p:nvSpPr>
            <p:cNvPr id="55" name="TextBox 54"/>
            <p:cNvSpPr txBox="1"/>
            <p:nvPr/>
          </p:nvSpPr>
          <p:spPr>
            <a:xfrm>
              <a:off x="1532938" y="2723806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8%</a:t>
              </a:r>
            </a:p>
          </p:txBody>
        </p:sp>
        <p:cxnSp>
          <p:nvCxnSpPr>
            <p:cNvPr id="136" name="Straight Connector 135"/>
            <p:cNvCxnSpPr/>
            <p:nvPr/>
          </p:nvCxnSpPr>
          <p:spPr>
            <a:xfrm flipV="1">
              <a:off x="1352844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/>
            <p:cNvCxnSpPr/>
            <p:nvPr/>
          </p:nvCxnSpPr>
          <p:spPr>
            <a:xfrm flipV="1">
              <a:off x="1161644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Freeform 21"/>
            <p:cNvSpPr>
              <a:spLocks noEditPoints="1"/>
            </p:cNvSpPr>
            <p:nvPr/>
          </p:nvSpPr>
          <p:spPr bwMode="auto">
            <a:xfrm>
              <a:off x="843297" y="1921059"/>
              <a:ext cx="135752" cy="24872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57" name="Freeform 24"/>
            <p:cNvSpPr>
              <a:spLocks noEditPoints="1"/>
            </p:cNvSpPr>
            <p:nvPr/>
          </p:nvSpPr>
          <p:spPr bwMode="auto">
            <a:xfrm>
              <a:off x="1532938" y="2909607"/>
              <a:ext cx="248726" cy="24872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593725" y="1721520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89%</a:t>
              </a:r>
            </a:p>
          </p:txBody>
        </p:sp>
        <p:sp>
          <p:nvSpPr>
            <p:cNvPr id="86" name="Rectangle 85"/>
            <p:cNvSpPr/>
            <p:nvPr/>
          </p:nvSpPr>
          <p:spPr>
            <a:xfrm rot="16200000">
              <a:off x="1049133" y="2931716"/>
              <a:ext cx="608099" cy="1922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Rectangle 88"/>
            <p:cNvSpPr/>
            <p:nvPr/>
          </p:nvSpPr>
          <p:spPr>
            <a:xfrm rot="16200000">
              <a:off x="373175" y="2446958"/>
              <a:ext cx="1577615" cy="19227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222563" y="1544816"/>
            <a:ext cx="1324537" cy="1787090"/>
            <a:chOff x="7222563" y="1544816"/>
            <a:chExt cx="1324537" cy="1787090"/>
          </a:xfrm>
        </p:grpSpPr>
        <p:cxnSp>
          <p:nvCxnSpPr>
            <p:cNvPr id="152" name="Straight Connector 151"/>
            <p:cNvCxnSpPr/>
            <p:nvPr/>
          </p:nvCxnSpPr>
          <p:spPr>
            <a:xfrm flipV="1">
              <a:off x="798168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 flipV="1">
              <a:off x="779048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TextBox 153"/>
            <p:cNvSpPr txBox="1"/>
            <p:nvPr/>
          </p:nvSpPr>
          <p:spPr>
            <a:xfrm>
              <a:off x="8161776" y="1983982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78%</a:t>
              </a:r>
            </a:p>
          </p:txBody>
        </p:sp>
        <p:sp>
          <p:nvSpPr>
            <p:cNvPr id="155" name="Freeform 21"/>
            <p:cNvSpPr>
              <a:spLocks noEditPoints="1"/>
            </p:cNvSpPr>
            <p:nvPr/>
          </p:nvSpPr>
          <p:spPr bwMode="auto">
            <a:xfrm>
              <a:off x="7472135" y="2753331"/>
              <a:ext cx="135752" cy="24872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 dirty="0"/>
            </a:p>
          </p:txBody>
        </p:sp>
        <p:sp>
          <p:nvSpPr>
            <p:cNvPr id="156" name="Freeform 24"/>
            <p:cNvSpPr>
              <a:spLocks noEditPoints="1"/>
            </p:cNvSpPr>
            <p:nvPr/>
          </p:nvSpPr>
          <p:spPr bwMode="auto">
            <a:xfrm>
              <a:off x="8161776" y="2169783"/>
              <a:ext cx="248726" cy="24872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7222563" y="2553792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41%</a:t>
              </a:r>
            </a:p>
          </p:txBody>
        </p:sp>
        <p:sp>
          <p:nvSpPr>
            <p:cNvPr id="158" name="Rectangle 157"/>
            <p:cNvSpPr/>
            <p:nvPr/>
          </p:nvSpPr>
          <p:spPr>
            <a:xfrm rot="16200000">
              <a:off x="7320233" y="2573977"/>
              <a:ext cx="1323576" cy="1922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Rectangle 158"/>
            <p:cNvSpPr/>
            <p:nvPr/>
          </p:nvSpPr>
          <p:spPr>
            <a:xfrm rot="16200000">
              <a:off x="7401603" y="2846546"/>
              <a:ext cx="778436" cy="19227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565353" y="1544816"/>
            <a:ext cx="1324537" cy="1797468"/>
            <a:chOff x="5565353" y="1544816"/>
            <a:chExt cx="1324537" cy="1797468"/>
          </a:xfrm>
        </p:grpSpPr>
        <p:sp>
          <p:nvSpPr>
            <p:cNvPr id="163" name="TextBox 162"/>
            <p:cNvSpPr txBox="1"/>
            <p:nvPr/>
          </p:nvSpPr>
          <p:spPr>
            <a:xfrm>
              <a:off x="6504566" y="1720623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3%</a:t>
              </a:r>
            </a:p>
          </p:txBody>
        </p:sp>
        <p:cxnSp>
          <p:nvCxnSpPr>
            <p:cNvPr id="161" name="Straight Connector 160"/>
            <p:cNvCxnSpPr/>
            <p:nvPr/>
          </p:nvCxnSpPr>
          <p:spPr>
            <a:xfrm flipV="1">
              <a:off x="632447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/>
          </p:nvCxnSpPr>
          <p:spPr>
            <a:xfrm flipV="1">
              <a:off x="613327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Freeform 21"/>
            <p:cNvSpPr>
              <a:spLocks noEditPoints="1"/>
            </p:cNvSpPr>
            <p:nvPr/>
          </p:nvSpPr>
          <p:spPr bwMode="auto">
            <a:xfrm>
              <a:off x="5814925" y="3093558"/>
              <a:ext cx="135752" cy="24872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 dirty="0"/>
            </a:p>
          </p:txBody>
        </p:sp>
        <p:sp>
          <p:nvSpPr>
            <p:cNvPr id="165" name="Freeform 24"/>
            <p:cNvSpPr>
              <a:spLocks noEditPoints="1"/>
            </p:cNvSpPr>
            <p:nvPr/>
          </p:nvSpPr>
          <p:spPr bwMode="auto">
            <a:xfrm>
              <a:off x="6504566" y="1906424"/>
              <a:ext cx="248726" cy="24872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5565353" y="2894019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15%</a:t>
              </a:r>
            </a:p>
          </p:txBody>
        </p:sp>
        <p:sp>
          <p:nvSpPr>
            <p:cNvPr id="167" name="Rectangle 166"/>
            <p:cNvSpPr/>
            <p:nvPr/>
          </p:nvSpPr>
          <p:spPr>
            <a:xfrm rot="16200000">
              <a:off x="5519619" y="2430573"/>
              <a:ext cx="1610384" cy="1922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Rectangle 167"/>
            <p:cNvSpPr/>
            <p:nvPr/>
          </p:nvSpPr>
          <p:spPr>
            <a:xfrm rot="16200000">
              <a:off x="5922462" y="3024616"/>
              <a:ext cx="422297" cy="19227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908143" y="1544816"/>
            <a:ext cx="1324537" cy="1787090"/>
            <a:chOff x="3908143" y="1544816"/>
            <a:chExt cx="1324537" cy="1787090"/>
          </a:xfrm>
        </p:grpSpPr>
        <p:cxnSp>
          <p:nvCxnSpPr>
            <p:cNvPr id="170" name="Straight Connector 169"/>
            <p:cNvCxnSpPr/>
            <p:nvPr/>
          </p:nvCxnSpPr>
          <p:spPr>
            <a:xfrm flipV="1">
              <a:off x="466726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V="1">
              <a:off x="4476062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TextBox 171"/>
            <p:cNvSpPr txBox="1"/>
            <p:nvPr/>
          </p:nvSpPr>
          <p:spPr>
            <a:xfrm>
              <a:off x="4847356" y="2092839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73%</a:t>
              </a:r>
            </a:p>
          </p:txBody>
        </p:sp>
        <p:sp>
          <p:nvSpPr>
            <p:cNvPr id="173" name="Freeform 21"/>
            <p:cNvSpPr>
              <a:spLocks noEditPoints="1"/>
            </p:cNvSpPr>
            <p:nvPr/>
          </p:nvSpPr>
          <p:spPr bwMode="auto">
            <a:xfrm>
              <a:off x="4157715" y="2553468"/>
              <a:ext cx="135752" cy="24872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 dirty="0"/>
            </a:p>
          </p:txBody>
        </p:sp>
        <p:sp>
          <p:nvSpPr>
            <p:cNvPr id="174" name="Freeform 24"/>
            <p:cNvSpPr>
              <a:spLocks noEditPoints="1"/>
            </p:cNvSpPr>
            <p:nvPr/>
          </p:nvSpPr>
          <p:spPr bwMode="auto">
            <a:xfrm>
              <a:off x="4847356" y="2278640"/>
              <a:ext cx="248726" cy="24872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175" name="TextBox 174"/>
            <p:cNvSpPr txBox="1"/>
            <p:nvPr/>
          </p:nvSpPr>
          <p:spPr>
            <a:xfrm>
              <a:off x="3908143" y="2353929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52%</a:t>
              </a:r>
            </a:p>
          </p:txBody>
        </p:sp>
        <p:sp>
          <p:nvSpPr>
            <p:cNvPr id="176" name="Rectangle 175"/>
            <p:cNvSpPr/>
            <p:nvPr/>
          </p:nvSpPr>
          <p:spPr>
            <a:xfrm rot="16200000">
              <a:off x="4047863" y="2616027"/>
              <a:ext cx="1239477" cy="1922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Rectangle 176"/>
            <p:cNvSpPr/>
            <p:nvPr/>
          </p:nvSpPr>
          <p:spPr>
            <a:xfrm rot="16200000">
              <a:off x="3991599" y="2750962"/>
              <a:ext cx="969604" cy="19227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250934" y="1544816"/>
            <a:ext cx="1324537" cy="1787090"/>
            <a:chOff x="2250934" y="1544816"/>
            <a:chExt cx="1324537" cy="1787090"/>
          </a:xfrm>
        </p:grpSpPr>
        <p:sp>
          <p:nvSpPr>
            <p:cNvPr id="184" name="TextBox 183"/>
            <p:cNvSpPr txBox="1"/>
            <p:nvPr/>
          </p:nvSpPr>
          <p:spPr>
            <a:xfrm>
              <a:off x="2250934" y="2326282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55%</a:t>
              </a:r>
            </a:p>
          </p:txBody>
        </p:sp>
        <p:cxnSp>
          <p:nvCxnSpPr>
            <p:cNvPr id="179" name="Straight Connector 178"/>
            <p:cNvCxnSpPr/>
            <p:nvPr/>
          </p:nvCxnSpPr>
          <p:spPr>
            <a:xfrm flipV="1">
              <a:off x="3010053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 flipV="1">
              <a:off x="2818853" y="1544816"/>
              <a:ext cx="0" cy="1787090"/>
            </a:xfrm>
            <a:prstGeom prst="line">
              <a:avLst/>
            </a:prstGeom>
            <a:ln w="127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1" name="TextBox 180"/>
            <p:cNvSpPr txBox="1"/>
            <p:nvPr/>
          </p:nvSpPr>
          <p:spPr>
            <a:xfrm>
              <a:off x="3190147" y="2155150"/>
              <a:ext cx="38532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65%</a:t>
              </a:r>
            </a:p>
          </p:txBody>
        </p:sp>
        <p:sp>
          <p:nvSpPr>
            <p:cNvPr id="182" name="Freeform 21"/>
            <p:cNvSpPr>
              <a:spLocks noEditPoints="1"/>
            </p:cNvSpPr>
            <p:nvPr/>
          </p:nvSpPr>
          <p:spPr bwMode="auto">
            <a:xfrm>
              <a:off x="2500506" y="2525821"/>
              <a:ext cx="135752" cy="248726"/>
            </a:xfrm>
            <a:custGeom>
              <a:avLst/>
              <a:gdLst>
                <a:gd name="T0" fmla="*/ 96 w 193"/>
                <a:gd name="T1" fmla="*/ 329 h 353"/>
                <a:gd name="T2" fmla="*/ 105 w 193"/>
                <a:gd name="T3" fmla="*/ 321 h 353"/>
                <a:gd name="T4" fmla="*/ 96 w 193"/>
                <a:gd name="T5" fmla="*/ 313 h 353"/>
                <a:gd name="T6" fmla="*/ 88 w 193"/>
                <a:gd name="T7" fmla="*/ 321 h 353"/>
                <a:gd name="T8" fmla="*/ 96 w 193"/>
                <a:gd name="T9" fmla="*/ 329 h 353"/>
                <a:gd name="T10" fmla="*/ 161 w 193"/>
                <a:gd name="T11" fmla="*/ 0 h 353"/>
                <a:gd name="T12" fmla="*/ 32 w 193"/>
                <a:gd name="T13" fmla="*/ 0 h 353"/>
                <a:gd name="T14" fmla="*/ 0 w 193"/>
                <a:gd name="T15" fmla="*/ 32 h 353"/>
                <a:gd name="T16" fmla="*/ 0 w 193"/>
                <a:gd name="T17" fmla="*/ 321 h 353"/>
                <a:gd name="T18" fmla="*/ 32 w 193"/>
                <a:gd name="T19" fmla="*/ 353 h 353"/>
                <a:gd name="T20" fmla="*/ 161 w 193"/>
                <a:gd name="T21" fmla="*/ 353 h 353"/>
                <a:gd name="T22" fmla="*/ 193 w 193"/>
                <a:gd name="T23" fmla="*/ 321 h 353"/>
                <a:gd name="T24" fmla="*/ 193 w 193"/>
                <a:gd name="T25" fmla="*/ 32 h 353"/>
                <a:gd name="T26" fmla="*/ 161 w 193"/>
                <a:gd name="T27" fmla="*/ 0 h 353"/>
                <a:gd name="T28" fmla="*/ 177 w 193"/>
                <a:gd name="T29" fmla="*/ 321 h 353"/>
                <a:gd name="T30" fmla="*/ 161 w 193"/>
                <a:gd name="T31" fmla="*/ 337 h 353"/>
                <a:gd name="T32" fmla="*/ 32 w 193"/>
                <a:gd name="T33" fmla="*/ 337 h 353"/>
                <a:gd name="T34" fmla="*/ 16 w 193"/>
                <a:gd name="T35" fmla="*/ 321 h 353"/>
                <a:gd name="T36" fmla="*/ 16 w 193"/>
                <a:gd name="T37" fmla="*/ 305 h 353"/>
                <a:gd name="T38" fmla="*/ 177 w 193"/>
                <a:gd name="T39" fmla="*/ 305 h 353"/>
                <a:gd name="T40" fmla="*/ 177 w 193"/>
                <a:gd name="T41" fmla="*/ 321 h 353"/>
                <a:gd name="T42" fmla="*/ 177 w 193"/>
                <a:gd name="T43" fmla="*/ 289 h 353"/>
                <a:gd name="T44" fmla="*/ 16 w 193"/>
                <a:gd name="T45" fmla="*/ 289 h 353"/>
                <a:gd name="T46" fmla="*/ 16 w 193"/>
                <a:gd name="T47" fmla="*/ 64 h 353"/>
                <a:gd name="T48" fmla="*/ 177 w 193"/>
                <a:gd name="T49" fmla="*/ 64 h 353"/>
                <a:gd name="T50" fmla="*/ 177 w 193"/>
                <a:gd name="T51" fmla="*/ 289 h 353"/>
                <a:gd name="T52" fmla="*/ 177 w 193"/>
                <a:gd name="T53" fmla="*/ 48 h 353"/>
                <a:gd name="T54" fmla="*/ 16 w 193"/>
                <a:gd name="T55" fmla="*/ 48 h 353"/>
                <a:gd name="T56" fmla="*/ 16 w 193"/>
                <a:gd name="T57" fmla="*/ 32 h 353"/>
                <a:gd name="T58" fmla="*/ 32 w 193"/>
                <a:gd name="T59" fmla="*/ 16 h 353"/>
                <a:gd name="T60" fmla="*/ 161 w 193"/>
                <a:gd name="T61" fmla="*/ 16 h 353"/>
                <a:gd name="T62" fmla="*/ 177 w 193"/>
                <a:gd name="T63" fmla="*/ 32 h 353"/>
                <a:gd name="T64" fmla="*/ 177 w 193"/>
                <a:gd name="T65" fmla="*/ 48 h 353"/>
                <a:gd name="T66" fmla="*/ 105 w 193"/>
                <a:gd name="T67" fmla="*/ 24 h 353"/>
                <a:gd name="T68" fmla="*/ 88 w 193"/>
                <a:gd name="T69" fmla="*/ 24 h 353"/>
                <a:gd name="T70" fmla="*/ 80 w 193"/>
                <a:gd name="T71" fmla="*/ 32 h 353"/>
                <a:gd name="T72" fmla="*/ 88 w 193"/>
                <a:gd name="T73" fmla="*/ 40 h 353"/>
                <a:gd name="T74" fmla="*/ 105 w 193"/>
                <a:gd name="T75" fmla="*/ 40 h 353"/>
                <a:gd name="T76" fmla="*/ 113 w 193"/>
                <a:gd name="T77" fmla="*/ 32 h 353"/>
                <a:gd name="T78" fmla="*/ 105 w 193"/>
                <a:gd name="T79" fmla="*/ 2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3" h="353">
                  <a:moveTo>
                    <a:pt x="96" y="329"/>
                  </a:moveTo>
                  <a:cubicBezTo>
                    <a:pt x="101" y="329"/>
                    <a:pt x="105" y="326"/>
                    <a:pt x="105" y="321"/>
                  </a:cubicBezTo>
                  <a:cubicBezTo>
                    <a:pt x="105" y="317"/>
                    <a:pt x="101" y="313"/>
                    <a:pt x="96" y="313"/>
                  </a:cubicBezTo>
                  <a:cubicBezTo>
                    <a:pt x="92" y="313"/>
                    <a:pt x="88" y="317"/>
                    <a:pt x="88" y="321"/>
                  </a:cubicBezTo>
                  <a:cubicBezTo>
                    <a:pt x="88" y="326"/>
                    <a:pt x="92" y="329"/>
                    <a:pt x="96" y="329"/>
                  </a:cubicBezTo>
                  <a:moveTo>
                    <a:pt x="16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161" y="353"/>
                    <a:pt x="161" y="353"/>
                    <a:pt x="161" y="353"/>
                  </a:cubicBezTo>
                  <a:cubicBezTo>
                    <a:pt x="178" y="353"/>
                    <a:pt x="193" y="339"/>
                    <a:pt x="193" y="321"/>
                  </a:cubicBezTo>
                  <a:cubicBezTo>
                    <a:pt x="193" y="32"/>
                    <a:pt x="193" y="32"/>
                    <a:pt x="193" y="32"/>
                  </a:cubicBezTo>
                  <a:cubicBezTo>
                    <a:pt x="193" y="14"/>
                    <a:pt x="178" y="0"/>
                    <a:pt x="161" y="0"/>
                  </a:cubicBezTo>
                  <a:moveTo>
                    <a:pt x="177" y="321"/>
                  </a:moveTo>
                  <a:cubicBezTo>
                    <a:pt x="177" y="330"/>
                    <a:pt x="170" y="337"/>
                    <a:pt x="16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305"/>
                    <a:pt x="16" y="305"/>
                    <a:pt x="16" y="305"/>
                  </a:cubicBezTo>
                  <a:cubicBezTo>
                    <a:pt x="177" y="305"/>
                    <a:pt x="177" y="305"/>
                    <a:pt x="177" y="305"/>
                  </a:cubicBezTo>
                  <a:lnTo>
                    <a:pt x="177" y="321"/>
                  </a:lnTo>
                  <a:close/>
                  <a:moveTo>
                    <a:pt x="177" y="289"/>
                  </a:moveTo>
                  <a:cubicBezTo>
                    <a:pt x="16" y="289"/>
                    <a:pt x="16" y="289"/>
                    <a:pt x="16" y="289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7" y="64"/>
                    <a:pt x="177" y="64"/>
                    <a:pt x="177" y="64"/>
                  </a:cubicBezTo>
                  <a:lnTo>
                    <a:pt x="177" y="289"/>
                  </a:lnTo>
                  <a:close/>
                  <a:moveTo>
                    <a:pt x="17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161" y="16"/>
                    <a:pt x="161" y="16"/>
                    <a:pt x="161" y="16"/>
                  </a:cubicBezTo>
                  <a:cubicBezTo>
                    <a:pt x="170" y="16"/>
                    <a:pt x="177" y="23"/>
                    <a:pt x="177" y="32"/>
                  </a:cubicBezTo>
                  <a:lnTo>
                    <a:pt x="177" y="48"/>
                  </a:lnTo>
                  <a:close/>
                  <a:moveTo>
                    <a:pt x="105" y="24"/>
                  </a:moveTo>
                  <a:cubicBezTo>
                    <a:pt x="88" y="24"/>
                    <a:pt x="88" y="24"/>
                    <a:pt x="88" y="24"/>
                  </a:cubicBezTo>
                  <a:cubicBezTo>
                    <a:pt x="84" y="24"/>
                    <a:pt x="80" y="28"/>
                    <a:pt x="80" y="32"/>
                  </a:cubicBezTo>
                  <a:cubicBezTo>
                    <a:pt x="80" y="37"/>
                    <a:pt x="84" y="40"/>
                    <a:pt x="88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9" y="40"/>
                    <a:pt x="113" y="37"/>
                    <a:pt x="113" y="32"/>
                  </a:cubicBezTo>
                  <a:cubicBezTo>
                    <a:pt x="113" y="28"/>
                    <a:pt x="109" y="24"/>
                    <a:pt x="105" y="24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183" name="Freeform 24"/>
            <p:cNvSpPr>
              <a:spLocks noEditPoints="1"/>
            </p:cNvSpPr>
            <p:nvPr/>
          </p:nvSpPr>
          <p:spPr bwMode="auto">
            <a:xfrm>
              <a:off x="3190147" y="2340951"/>
              <a:ext cx="248726" cy="248726"/>
            </a:xfrm>
            <a:custGeom>
              <a:avLst/>
              <a:gdLst>
                <a:gd name="T0" fmla="*/ 321 w 353"/>
                <a:gd name="T1" fmla="*/ 0 h 353"/>
                <a:gd name="T2" fmla="*/ 32 w 353"/>
                <a:gd name="T3" fmla="*/ 0 h 353"/>
                <a:gd name="T4" fmla="*/ 0 w 353"/>
                <a:gd name="T5" fmla="*/ 32 h 353"/>
                <a:gd name="T6" fmla="*/ 0 w 353"/>
                <a:gd name="T7" fmla="*/ 273 h 353"/>
                <a:gd name="T8" fmla="*/ 32 w 353"/>
                <a:gd name="T9" fmla="*/ 305 h 353"/>
                <a:gd name="T10" fmla="*/ 144 w 353"/>
                <a:gd name="T11" fmla="*/ 305 h 353"/>
                <a:gd name="T12" fmla="*/ 144 w 353"/>
                <a:gd name="T13" fmla="*/ 337 h 353"/>
                <a:gd name="T14" fmla="*/ 120 w 353"/>
                <a:gd name="T15" fmla="*/ 337 h 353"/>
                <a:gd name="T16" fmla="*/ 112 w 353"/>
                <a:gd name="T17" fmla="*/ 345 h 353"/>
                <a:gd name="T18" fmla="*/ 120 w 353"/>
                <a:gd name="T19" fmla="*/ 353 h 353"/>
                <a:gd name="T20" fmla="*/ 233 w 353"/>
                <a:gd name="T21" fmla="*/ 353 h 353"/>
                <a:gd name="T22" fmla="*/ 241 w 353"/>
                <a:gd name="T23" fmla="*/ 345 h 353"/>
                <a:gd name="T24" fmla="*/ 233 w 353"/>
                <a:gd name="T25" fmla="*/ 337 h 353"/>
                <a:gd name="T26" fmla="*/ 209 w 353"/>
                <a:gd name="T27" fmla="*/ 337 h 353"/>
                <a:gd name="T28" fmla="*/ 209 w 353"/>
                <a:gd name="T29" fmla="*/ 305 h 353"/>
                <a:gd name="T30" fmla="*/ 321 w 353"/>
                <a:gd name="T31" fmla="*/ 305 h 353"/>
                <a:gd name="T32" fmla="*/ 353 w 353"/>
                <a:gd name="T33" fmla="*/ 273 h 353"/>
                <a:gd name="T34" fmla="*/ 353 w 353"/>
                <a:gd name="T35" fmla="*/ 32 h 353"/>
                <a:gd name="T36" fmla="*/ 321 w 353"/>
                <a:gd name="T37" fmla="*/ 0 h 353"/>
                <a:gd name="T38" fmla="*/ 193 w 353"/>
                <a:gd name="T39" fmla="*/ 337 h 353"/>
                <a:gd name="T40" fmla="*/ 160 w 353"/>
                <a:gd name="T41" fmla="*/ 337 h 353"/>
                <a:gd name="T42" fmla="*/ 160 w 353"/>
                <a:gd name="T43" fmla="*/ 305 h 353"/>
                <a:gd name="T44" fmla="*/ 193 w 353"/>
                <a:gd name="T45" fmla="*/ 305 h 353"/>
                <a:gd name="T46" fmla="*/ 193 w 353"/>
                <a:gd name="T47" fmla="*/ 337 h 353"/>
                <a:gd name="T48" fmla="*/ 337 w 353"/>
                <a:gd name="T49" fmla="*/ 273 h 353"/>
                <a:gd name="T50" fmla="*/ 321 w 353"/>
                <a:gd name="T51" fmla="*/ 289 h 353"/>
                <a:gd name="T52" fmla="*/ 32 w 353"/>
                <a:gd name="T53" fmla="*/ 289 h 353"/>
                <a:gd name="T54" fmla="*/ 16 w 353"/>
                <a:gd name="T55" fmla="*/ 273 h 353"/>
                <a:gd name="T56" fmla="*/ 16 w 353"/>
                <a:gd name="T57" fmla="*/ 257 h 353"/>
                <a:gd name="T58" fmla="*/ 337 w 353"/>
                <a:gd name="T59" fmla="*/ 257 h 353"/>
                <a:gd name="T60" fmla="*/ 337 w 353"/>
                <a:gd name="T61" fmla="*/ 273 h 353"/>
                <a:gd name="T62" fmla="*/ 337 w 353"/>
                <a:gd name="T63" fmla="*/ 241 h 353"/>
                <a:gd name="T64" fmla="*/ 16 w 353"/>
                <a:gd name="T65" fmla="*/ 241 h 353"/>
                <a:gd name="T66" fmla="*/ 16 w 353"/>
                <a:gd name="T67" fmla="*/ 32 h 353"/>
                <a:gd name="T68" fmla="*/ 32 w 353"/>
                <a:gd name="T69" fmla="*/ 16 h 353"/>
                <a:gd name="T70" fmla="*/ 321 w 353"/>
                <a:gd name="T71" fmla="*/ 16 h 353"/>
                <a:gd name="T72" fmla="*/ 337 w 353"/>
                <a:gd name="T73" fmla="*/ 32 h 353"/>
                <a:gd name="T74" fmla="*/ 337 w 353"/>
                <a:gd name="T75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321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291"/>
                    <a:pt x="14" y="305"/>
                    <a:pt x="32" y="305"/>
                  </a:cubicBezTo>
                  <a:cubicBezTo>
                    <a:pt x="144" y="305"/>
                    <a:pt x="144" y="305"/>
                    <a:pt x="144" y="305"/>
                  </a:cubicBezTo>
                  <a:cubicBezTo>
                    <a:pt x="144" y="337"/>
                    <a:pt x="144" y="337"/>
                    <a:pt x="144" y="337"/>
                  </a:cubicBezTo>
                  <a:cubicBezTo>
                    <a:pt x="120" y="337"/>
                    <a:pt x="120" y="337"/>
                    <a:pt x="120" y="337"/>
                  </a:cubicBezTo>
                  <a:cubicBezTo>
                    <a:pt x="116" y="337"/>
                    <a:pt x="112" y="341"/>
                    <a:pt x="112" y="345"/>
                  </a:cubicBezTo>
                  <a:cubicBezTo>
                    <a:pt x="112" y="350"/>
                    <a:pt x="116" y="353"/>
                    <a:pt x="120" y="353"/>
                  </a:cubicBezTo>
                  <a:cubicBezTo>
                    <a:pt x="233" y="353"/>
                    <a:pt x="233" y="353"/>
                    <a:pt x="233" y="353"/>
                  </a:cubicBezTo>
                  <a:cubicBezTo>
                    <a:pt x="237" y="353"/>
                    <a:pt x="241" y="350"/>
                    <a:pt x="241" y="345"/>
                  </a:cubicBezTo>
                  <a:cubicBezTo>
                    <a:pt x="241" y="341"/>
                    <a:pt x="237" y="337"/>
                    <a:pt x="233" y="337"/>
                  </a:cubicBezTo>
                  <a:cubicBezTo>
                    <a:pt x="209" y="337"/>
                    <a:pt x="209" y="337"/>
                    <a:pt x="209" y="337"/>
                  </a:cubicBezTo>
                  <a:cubicBezTo>
                    <a:pt x="209" y="305"/>
                    <a:pt x="209" y="305"/>
                    <a:pt x="209" y="305"/>
                  </a:cubicBezTo>
                  <a:cubicBezTo>
                    <a:pt x="321" y="305"/>
                    <a:pt x="321" y="305"/>
                    <a:pt x="321" y="305"/>
                  </a:cubicBezTo>
                  <a:cubicBezTo>
                    <a:pt x="339" y="305"/>
                    <a:pt x="353" y="291"/>
                    <a:pt x="353" y="273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4"/>
                    <a:pt x="339" y="0"/>
                    <a:pt x="321" y="0"/>
                  </a:cubicBezTo>
                  <a:moveTo>
                    <a:pt x="193" y="337"/>
                  </a:moveTo>
                  <a:cubicBezTo>
                    <a:pt x="160" y="337"/>
                    <a:pt x="160" y="337"/>
                    <a:pt x="160" y="337"/>
                  </a:cubicBezTo>
                  <a:cubicBezTo>
                    <a:pt x="160" y="305"/>
                    <a:pt x="160" y="305"/>
                    <a:pt x="160" y="305"/>
                  </a:cubicBezTo>
                  <a:cubicBezTo>
                    <a:pt x="193" y="305"/>
                    <a:pt x="193" y="305"/>
                    <a:pt x="193" y="305"/>
                  </a:cubicBezTo>
                  <a:lnTo>
                    <a:pt x="193" y="337"/>
                  </a:lnTo>
                  <a:close/>
                  <a:moveTo>
                    <a:pt x="337" y="273"/>
                  </a:moveTo>
                  <a:cubicBezTo>
                    <a:pt x="337" y="282"/>
                    <a:pt x="330" y="289"/>
                    <a:pt x="321" y="289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3" y="289"/>
                    <a:pt x="16" y="282"/>
                    <a:pt x="16" y="273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337" y="257"/>
                    <a:pt x="337" y="257"/>
                    <a:pt x="337" y="257"/>
                  </a:cubicBezTo>
                  <a:lnTo>
                    <a:pt x="337" y="273"/>
                  </a:lnTo>
                  <a:close/>
                  <a:moveTo>
                    <a:pt x="337" y="241"/>
                  </a:moveTo>
                  <a:cubicBezTo>
                    <a:pt x="16" y="241"/>
                    <a:pt x="16" y="241"/>
                    <a:pt x="16" y="241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3"/>
                    <a:pt x="23" y="16"/>
                    <a:pt x="32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3"/>
                    <a:pt x="337" y="32"/>
                  </a:cubicBezTo>
                  <a:lnTo>
                    <a:pt x="337" y="24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cap="all"/>
            </a:p>
          </p:txBody>
        </p:sp>
        <p:sp>
          <p:nvSpPr>
            <p:cNvPr id="185" name="Rectangle 184"/>
            <p:cNvSpPr/>
            <p:nvPr/>
          </p:nvSpPr>
          <p:spPr>
            <a:xfrm rot="16200000">
              <a:off x="2429332" y="2654705"/>
              <a:ext cx="1162119" cy="1922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Rectangle 185"/>
            <p:cNvSpPr/>
            <p:nvPr/>
          </p:nvSpPr>
          <p:spPr>
            <a:xfrm rot="16200000">
              <a:off x="2334391" y="2750963"/>
              <a:ext cx="969601" cy="19227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3317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46600" y="0"/>
            <a:ext cx="4597400" cy="514350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106670" y="1485751"/>
            <a:ext cx="3477260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“A MÁQUINA DE CARTÃO </a:t>
            </a:r>
          </a:p>
          <a:p>
            <a:pPr algn="ctr"/>
            <a:r>
              <a:rPr lang="en-US" sz="32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E COMBINA COM SEU NEGÓCIO.”</a:t>
            </a: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581029" y="569549"/>
            <a:ext cx="3279771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valores</a:t>
            </a:r>
            <a:endParaRPr lang="en-US" dirty="0">
              <a:solidFill>
                <a:srgbClr val="EC0000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90552" y="485775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/>
          <p:cNvSpPr txBox="1">
            <a:spLocks/>
          </p:cNvSpPr>
          <p:nvPr/>
        </p:nvSpPr>
        <p:spPr>
          <a:xfrm>
            <a:off x="590552" y="960189"/>
            <a:ext cx="3279771" cy="1415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explicação</a:t>
            </a:r>
            <a:r>
              <a:rPr lang="en-US" dirty="0"/>
              <a:t> d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1141288" y="1593877"/>
            <a:ext cx="2248683" cy="528314"/>
            <a:chOff x="1141288" y="1593877"/>
            <a:chExt cx="2248683" cy="528314"/>
          </a:xfrm>
        </p:grpSpPr>
        <p:sp>
          <p:nvSpPr>
            <p:cNvPr id="7" name="TextBox 6"/>
            <p:cNvSpPr txBox="1"/>
            <p:nvPr/>
          </p:nvSpPr>
          <p:spPr>
            <a:xfrm>
              <a:off x="1141288" y="1818838"/>
              <a:ext cx="224868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ui, lacinia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lesuad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ulvina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141288" y="1593877"/>
              <a:ext cx="224868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mpo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ert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141288" y="2639914"/>
            <a:ext cx="2248683" cy="528315"/>
            <a:chOff x="1141288" y="2639914"/>
            <a:chExt cx="2248683" cy="528315"/>
          </a:xfrm>
        </p:grpSpPr>
        <p:sp>
          <p:nvSpPr>
            <p:cNvPr id="9" name="TextBox 8"/>
            <p:cNvSpPr txBox="1"/>
            <p:nvPr/>
          </p:nvSpPr>
          <p:spPr>
            <a:xfrm>
              <a:off x="1141288" y="2864876"/>
              <a:ext cx="224868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ui, lacinia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lesuad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ulvina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141288" y="2639914"/>
              <a:ext cx="224868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sponsabilidade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141288" y="3685951"/>
            <a:ext cx="2248683" cy="528315"/>
            <a:chOff x="1141288" y="3685951"/>
            <a:chExt cx="2248683" cy="528315"/>
          </a:xfrm>
        </p:grpSpPr>
        <p:sp>
          <p:nvSpPr>
            <p:cNvPr id="11" name="TextBox 10"/>
            <p:cNvSpPr txBox="1"/>
            <p:nvPr/>
          </p:nvSpPr>
          <p:spPr>
            <a:xfrm>
              <a:off x="1141288" y="3910913"/>
              <a:ext cx="224868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ui, lacinia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lesuad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ulvina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141288" y="3685951"/>
              <a:ext cx="224868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ficiência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3" name="Freeform 45"/>
          <p:cNvSpPr>
            <a:spLocks noEditPoints="1"/>
          </p:cNvSpPr>
          <p:nvPr/>
        </p:nvSpPr>
        <p:spPr bwMode="auto">
          <a:xfrm>
            <a:off x="611505" y="2639914"/>
            <a:ext cx="328747" cy="329959"/>
          </a:xfrm>
          <a:custGeom>
            <a:avLst/>
            <a:gdLst>
              <a:gd name="T0" fmla="*/ 0 w 353"/>
              <a:gd name="T1" fmla="*/ 177 h 354"/>
              <a:gd name="T2" fmla="*/ 353 w 353"/>
              <a:gd name="T3" fmla="*/ 177 h 354"/>
              <a:gd name="T4" fmla="*/ 129 w 353"/>
              <a:gd name="T5" fmla="*/ 24 h 354"/>
              <a:gd name="T6" fmla="*/ 118 w 353"/>
              <a:gd name="T7" fmla="*/ 37 h 354"/>
              <a:gd name="T8" fmla="*/ 100 w 353"/>
              <a:gd name="T9" fmla="*/ 69 h 354"/>
              <a:gd name="T10" fmla="*/ 73 w 353"/>
              <a:gd name="T11" fmla="*/ 55 h 354"/>
              <a:gd name="T12" fmla="*/ 61 w 353"/>
              <a:gd name="T13" fmla="*/ 65 h 354"/>
              <a:gd name="T14" fmla="*/ 93 w 353"/>
              <a:gd name="T15" fmla="*/ 89 h 354"/>
              <a:gd name="T16" fmla="*/ 83 w 353"/>
              <a:gd name="T17" fmla="*/ 133 h 354"/>
              <a:gd name="T18" fmla="*/ 81 w 353"/>
              <a:gd name="T19" fmla="*/ 155 h 354"/>
              <a:gd name="T20" fmla="*/ 16 w 353"/>
              <a:gd name="T21" fmla="*/ 169 h 354"/>
              <a:gd name="T22" fmla="*/ 16 w 353"/>
              <a:gd name="T23" fmla="*/ 185 h 354"/>
              <a:gd name="T24" fmla="*/ 81 w 353"/>
              <a:gd name="T25" fmla="*/ 199 h 354"/>
              <a:gd name="T26" fmla="*/ 83 w 353"/>
              <a:gd name="T27" fmla="*/ 221 h 354"/>
              <a:gd name="T28" fmla="*/ 93 w 353"/>
              <a:gd name="T29" fmla="*/ 265 h 354"/>
              <a:gd name="T30" fmla="*/ 61 w 353"/>
              <a:gd name="T31" fmla="*/ 288 h 354"/>
              <a:gd name="T32" fmla="*/ 73 w 353"/>
              <a:gd name="T33" fmla="*/ 299 h 354"/>
              <a:gd name="T34" fmla="*/ 100 w 353"/>
              <a:gd name="T35" fmla="*/ 284 h 354"/>
              <a:gd name="T36" fmla="*/ 118 w 353"/>
              <a:gd name="T37" fmla="*/ 317 h 354"/>
              <a:gd name="T38" fmla="*/ 129 w 353"/>
              <a:gd name="T39" fmla="*/ 330 h 354"/>
              <a:gd name="T40" fmla="*/ 168 w 353"/>
              <a:gd name="T41" fmla="*/ 337 h 354"/>
              <a:gd name="T42" fmla="*/ 168 w 353"/>
              <a:gd name="T43" fmla="*/ 266 h 354"/>
              <a:gd name="T44" fmla="*/ 168 w 353"/>
              <a:gd name="T45" fmla="*/ 250 h 354"/>
              <a:gd name="T46" fmla="*/ 96 w 353"/>
              <a:gd name="T47" fmla="*/ 185 h 354"/>
              <a:gd name="T48" fmla="*/ 168 w 353"/>
              <a:gd name="T49" fmla="*/ 250 h 354"/>
              <a:gd name="T50" fmla="*/ 96 w 353"/>
              <a:gd name="T51" fmla="*/ 169 h 354"/>
              <a:gd name="T52" fmla="*/ 168 w 353"/>
              <a:gd name="T53" fmla="*/ 104 h 354"/>
              <a:gd name="T54" fmla="*/ 168 w 353"/>
              <a:gd name="T55" fmla="*/ 88 h 354"/>
              <a:gd name="T56" fmla="*/ 168 w 353"/>
              <a:gd name="T57" fmla="*/ 17 h 354"/>
              <a:gd name="T58" fmla="*/ 337 w 353"/>
              <a:gd name="T59" fmla="*/ 169 h 354"/>
              <a:gd name="T60" fmla="*/ 272 w 353"/>
              <a:gd name="T61" fmla="*/ 155 h 354"/>
              <a:gd name="T62" fmla="*/ 270 w 353"/>
              <a:gd name="T63" fmla="*/ 133 h 354"/>
              <a:gd name="T64" fmla="*/ 260 w 353"/>
              <a:gd name="T65" fmla="*/ 89 h 354"/>
              <a:gd name="T66" fmla="*/ 292 w 353"/>
              <a:gd name="T67" fmla="*/ 65 h 354"/>
              <a:gd name="T68" fmla="*/ 280 w 353"/>
              <a:gd name="T69" fmla="*/ 55 h 354"/>
              <a:gd name="T70" fmla="*/ 253 w 353"/>
              <a:gd name="T71" fmla="*/ 69 h 354"/>
              <a:gd name="T72" fmla="*/ 235 w 353"/>
              <a:gd name="T73" fmla="*/ 37 h 354"/>
              <a:gd name="T74" fmla="*/ 224 w 353"/>
              <a:gd name="T75" fmla="*/ 24 h 354"/>
              <a:gd name="T76" fmla="*/ 185 w 353"/>
              <a:gd name="T77" fmla="*/ 17 h 354"/>
              <a:gd name="T78" fmla="*/ 185 w 353"/>
              <a:gd name="T79" fmla="*/ 88 h 354"/>
              <a:gd name="T80" fmla="*/ 185 w 353"/>
              <a:gd name="T81" fmla="*/ 104 h 354"/>
              <a:gd name="T82" fmla="*/ 257 w 353"/>
              <a:gd name="T83" fmla="*/ 169 h 354"/>
              <a:gd name="T84" fmla="*/ 185 w 353"/>
              <a:gd name="T85" fmla="*/ 104 h 354"/>
              <a:gd name="T86" fmla="*/ 257 w 353"/>
              <a:gd name="T87" fmla="*/ 185 h 354"/>
              <a:gd name="T88" fmla="*/ 185 w 353"/>
              <a:gd name="T89" fmla="*/ 250 h 354"/>
              <a:gd name="T90" fmla="*/ 185 w 353"/>
              <a:gd name="T91" fmla="*/ 337 h 354"/>
              <a:gd name="T92" fmla="*/ 240 w 353"/>
              <a:gd name="T93" fmla="*/ 276 h 354"/>
              <a:gd name="T94" fmla="*/ 224 w 353"/>
              <a:gd name="T95" fmla="*/ 330 h 354"/>
              <a:gd name="T96" fmla="*/ 235 w 353"/>
              <a:gd name="T97" fmla="*/ 317 h 354"/>
              <a:gd name="T98" fmla="*/ 253 w 353"/>
              <a:gd name="T99" fmla="*/ 284 h 354"/>
              <a:gd name="T100" fmla="*/ 280 w 353"/>
              <a:gd name="T101" fmla="*/ 299 h 354"/>
              <a:gd name="T102" fmla="*/ 292 w 353"/>
              <a:gd name="T103" fmla="*/ 288 h 354"/>
              <a:gd name="T104" fmla="*/ 260 w 353"/>
              <a:gd name="T105" fmla="*/ 265 h 354"/>
              <a:gd name="T106" fmla="*/ 270 w 353"/>
              <a:gd name="T107" fmla="*/ 221 h 354"/>
              <a:gd name="T108" fmla="*/ 272 w 353"/>
              <a:gd name="T109" fmla="*/ 199 h 354"/>
              <a:gd name="T110" fmla="*/ 337 w 353"/>
              <a:gd name="T111" fmla="*/ 1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3" h="354">
                <a:moveTo>
                  <a:pt x="177" y="0"/>
                </a:move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4"/>
                  <a:pt x="177" y="354"/>
                </a:cubicBezTo>
                <a:cubicBezTo>
                  <a:pt x="274" y="354"/>
                  <a:pt x="353" y="274"/>
                  <a:pt x="353" y="177"/>
                </a:cubicBezTo>
                <a:cubicBezTo>
                  <a:pt x="353" y="79"/>
                  <a:pt x="274" y="0"/>
                  <a:pt x="177" y="0"/>
                </a:cubicBezTo>
                <a:moveTo>
                  <a:pt x="129" y="24"/>
                </a:moveTo>
                <a:cubicBezTo>
                  <a:pt x="125" y="27"/>
                  <a:pt x="122" y="31"/>
                  <a:pt x="119" y="36"/>
                </a:cubicBezTo>
                <a:cubicBezTo>
                  <a:pt x="119" y="36"/>
                  <a:pt x="118" y="36"/>
                  <a:pt x="118" y="37"/>
                </a:cubicBezTo>
                <a:cubicBezTo>
                  <a:pt x="112" y="46"/>
                  <a:pt x="106" y="56"/>
                  <a:pt x="101" y="68"/>
                </a:cubicBezTo>
                <a:cubicBezTo>
                  <a:pt x="101" y="68"/>
                  <a:pt x="100" y="69"/>
                  <a:pt x="100" y="69"/>
                </a:cubicBezTo>
                <a:cubicBezTo>
                  <a:pt x="100" y="70"/>
                  <a:pt x="100" y="71"/>
                  <a:pt x="99" y="72"/>
                </a:cubicBezTo>
                <a:cubicBezTo>
                  <a:pt x="89" y="67"/>
                  <a:pt x="81" y="61"/>
                  <a:pt x="73" y="55"/>
                </a:cubicBezTo>
                <a:cubicBezTo>
                  <a:pt x="89" y="41"/>
                  <a:pt x="108" y="30"/>
                  <a:pt x="129" y="24"/>
                </a:cubicBezTo>
                <a:moveTo>
                  <a:pt x="61" y="65"/>
                </a:moveTo>
                <a:cubicBezTo>
                  <a:pt x="71" y="74"/>
                  <a:pt x="82" y="81"/>
                  <a:pt x="94" y="87"/>
                </a:cubicBezTo>
                <a:cubicBezTo>
                  <a:pt x="94" y="87"/>
                  <a:pt x="93" y="88"/>
                  <a:pt x="93" y="89"/>
                </a:cubicBezTo>
                <a:cubicBezTo>
                  <a:pt x="89" y="101"/>
                  <a:pt x="86" y="114"/>
                  <a:pt x="84" y="128"/>
                </a:cubicBezTo>
                <a:cubicBezTo>
                  <a:pt x="84" y="129"/>
                  <a:pt x="84" y="131"/>
                  <a:pt x="83" y="133"/>
                </a:cubicBezTo>
                <a:cubicBezTo>
                  <a:pt x="83" y="138"/>
                  <a:pt x="82" y="144"/>
                  <a:pt x="81" y="149"/>
                </a:cubicBezTo>
                <a:cubicBezTo>
                  <a:pt x="81" y="151"/>
                  <a:pt x="81" y="153"/>
                  <a:pt x="81" y="155"/>
                </a:cubicBezTo>
                <a:cubicBezTo>
                  <a:pt x="81" y="160"/>
                  <a:pt x="81" y="164"/>
                  <a:pt x="80" y="169"/>
                </a:cubicBezTo>
                <a:cubicBezTo>
                  <a:pt x="16" y="169"/>
                  <a:pt x="16" y="169"/>
                  <a:pt x="16" y="169"/>
                </a:cubicBezTo>
                <a:cubicBezTo>
                  <a:pt x="18" y="129"/>
                  <a:pt x="35" y="93"/>
                  <a:pt x="61" y="65"/>
                </a:cubicBezTo>
                <a:moveTo>
                  <a:pt x="16" y="185"/>
                </a:moveTo>
                <a:cubicBezTo>
                  <a:pt x="80" y="185"/>
                  <a:pt x="80" y="185"/>
                  <a:pt x="80" y="185"/>
                </a:cubicBezTo>
                <a:cubicBezTo>
                  <a:pt x="81" y="190"/>
                  <a:pt x="81" y="194"/>
                  <a:pt x="81" y="199"/>
                </a:cubicBezTo>
                <a:cubicBezTo>
                  <a:pt x="81" y="201"/>
                  <a:pt x="81" y="203"/>
                  <a:pt x="81" y="205"/>
                </a:cubicBezTo>
                <a:cubicBezTo>
                  <a:pt x="82" y="210"/>
                  <a:pt x="83" y="216"/>
                  <a:pt x="83" y="221"/>
                </a:cubicBezTo>
                <a:cubicBezTo>
                  <a:pt x="84" y="223"/>
                  <a:pt x="84" y="224"/>
                  <a:pt x="84" y="226"/>
                </a:cubicBezTo>
                <a:cubicBezTo>
                  <a:pt x="86" y="240"/>
                  <a:pt x="89" y="253"/>
                  <a:pt x="93" y="265"/>
                </a:cubicBezTo>
                <a:cubicBezTo>
                  <a:pt x="93" y="266"/>
                  <a:pt x="94" y="267"/>
                  <a:pt x="94" y="267"/>
                </a:cubicBezTo>
                <a:cubicBezTo>
                  <a:pt x="82" y="273"/>
                  <a:pt x="71" y="280"/>
                  <a:pt x="61" y="288"/>
                </a:cubicBezTo>
                <a:cubicBezTo>
                  <a:pt x="35" y="261"/>
                  <a:pt x="18" y="225"/>
                  <a:pt x="16" y="185"/>
                </a:cubicBezTo>
                <a:moveTo>
                  <a:pt x="73" y="299"/>
                </a:moveTo>
                <a:cubicBezTo>
                  <a:pt x="81" y="293"/>
                  <a:pt x="89" y="287"/>
                  <a:pt x="99" y="282"/>
                </a:cubicBezTo>
                <a:cubicBezTo>
                  <a:pt x="100" y="283"/>
                  <a:pt x="100" y="284"/>
                  <a:pt x="100" y="284"/>
                </a:cubicBezTo>
                <a:cubicBezTo>
                  <a:pt x="100" y="285"/>
                  <a:pt x="101" y="286"/>
                  <a:pt x="101" y="286"/>
                </a:cubicBezTo>
                <a:cubicBezTo>
                  <a:pt x="106" y="298"/>
                  <a:pt x="112" y="308"/>
                  <a:pt x="118" y="317"/>
                </a:cubicBezTo>
                <a:cubicBezTo>
                  <a:pt x="118" y="317"/>
                  <a:pt x="119" y="318"/>
                  <a:pt x="119" y="318"/>
                </a:cubicBezTo>
                <a:cubicBezTo>
                  <a:pt x="122" y="323"/>
                  <a:pt x="125" y="327"/>
                  <a:pt x="129" y="330"/>
                </a:cubicBezTo>
                <a:cubicBezTo>
                  <a:pt x="108" y="324"/>
                  <a:pt x="89" y="313"/>
                  <a:pt x="73" y="299"/>
                </a:cubicBezTo>
                <a:moveTo>
                  <a:pt x="168" y="337"/>
                </a:moveTo>
                <a:cubicBezTo>
                  <a:pt x="146" y="332"/>
                  <a:pt x="127" y="310"/>
                  <a:pt x="113" y="276"/>
                </a:cubicBezTo>
                <a:cubicBezTo>
                  <a:pt x="130" y="270"/>
                  <a:pt x="149" y="266"/>
                  <a:pt x="168" y="266"/>
                </a:cubicBezTo>
                <a:lnTo>
                  <a:pt x="168" y="337"/>
                </a:lnTo>
                <a:close/>
                <a:moveTo>
                  <a:pt x="168" y="250"/>
                </a:moveTo>
                <a:cubicBezTo>
                  <a:pt x="147" y="250"/>
                  <a:pt x="127" y="254"/>
                  <a:pt x="108" y="261"/>
                </a:cubicBezTo>
                <a:cubicBezTo>
                  <a:pt x="101" y="239"/>
                  <a:pt x="97" y="213"/>
                  <a:pt x="96" y="185"/>
                </a:cubicBezTo>
                <a:cubicBezTo>
                  <a:pt x="168" y="185"/>
                  <a:pt x="168" y="185"/>
                  <a:pt x="168" y="185"/>
                </a:cubicBezTo>
                <a:lnTo>
                  <a:pt x="168" y="250"/>
                </a:lnTo>
                <a:close/>
                <a:moveTo>
                  <a:pt x="168" y="169"/>
                </a:moveTo>
                <a:cubicBezTo>
                  <a:pt x="96" y="169"/>
                  <a:pt x="96" y="169"/>
                  <a:pt x="96" y="169"/>
                </a:cubicBezTo>
                <a:cubicBezTo>
                  <a:pt x="97" y="141"/>
                  <a:pt x="101" y="115"/>
                  <a:pt x="108" y="93"/>
                </a:cubicBezTo>
                <a:cubicBezTo>
                  <a:pt x="127" y="100"/>
                  <a:pt x="147" y="103"/>
                  <a:pt x="168" y="104"/>
                </a:cubicBezTo>
                <a:lnTo>
                  <a:pt x="168" y="169"/>
                </a:lnTo>
                <a:close/>
                <a:moveTo>
                  <a:pt x="168" y="88"/>
                </a:moveTo>
                <a:cubicBezTo>
                  <a:pt x="149" y="87"/>
                  <a:pt x="130" y="84"/>
                  <a:pt x="113" y="78"/>
                </a:cubicBezTo>
                <a:cubicBezTo>
                  <a:pt x="127" y="44"/>
                  <a:pt x="146" y="22"/>
                  <a:pt x="168" y="17"/>
                </a:cubicBezTo>
                <a:lnTo>
                  <a:pt x="168" y="88"/>
                </a:lnTo>
                <a:close/>
                <a:moveTo>
                  <a:pt x="337" y="169"/>
                </a:moveTo>
                <a:cubicBezTo>
                  <a:pt x="273" y="169"/>
                  <a:pt x="273" y="169"/>
                  <a:pt x="273" y="169"/>
                </a:cubicBezTo>
                <a:cubicBezTo>
                  <a:pt x="272" y="164"/>
                  <a:pt x="272" y="160"/>
                  <a:pt x="272" y="155"/>
                </a:cubicBezTo>
                <a:cubicBezTo>
                  <a:pt x="272" y="153"/>
                  <a:pt x="272" y="151"/>
                  <a:pt x="272" y="149"/>
                </a:cubicBezTo>
                <a:cubicBezTo>
                  <a:pt x="271" y="144"/>
                  <a:pt x="270" y="138"/>
                  <a:pt x="270" y="133"/>
                </a:cubicBezTo>
                <a:cubicBezTo>
                  <a:pt x="269" y="131"/>
                  <a:pt x="269" y="129"/>
                  <a:pt x="269" y="128"/>
                </a:cubicBezTo>
                <a:cubicBezTo>
                  <a:pt x="267" y="114"/>
                  <a:pt x="264" y="101"/>
                  <a:pt x="260" y="89"/>
                </a:cubicBezTo>
                <a:cubicBezTo>
                  <a:pt x="260" y="88"/>
                  <a:pt x="259" y="87"/>
                  <a:pt x="259" y="87"/>
                </a:cubicBezTo>
                <a:cubicBezTo>
                  <a:pt x="271" y="81"/>
                  <a:pt x="282" y="74"/>
                  <a:pt x="292" y="65"/>
                </a:cubicBezTo>
                <a:cubicBezTo>
                  <a:pt x="318" y="93"/>
                  <a:pt x="335" y="129"/>
                  <a:pt x="337" y="169"/>
                </a:cubicBezTo>
                <a:moveTo>
                  <a:pt x="280" y="55"/>
                </a:moveTo>
                <a:cubicBezTo>
                  <a:pt x="272" y="61"/>
                  <a:pt x="264" y="67"/>
                  <a:pt x="254" y="72"/>
                </a:cubicBezTo>
                <a:cubicBezTo>
                  <a:pt x="253" y="71"/>
                  <a:pt x="253" y="70"/>
                  <a:pt x="253" y="69"/>
                </a:cubicBezTo>
                <a:cubicBezTo>
                  <a:pt x="253" y="69"/>
                  <a:pt x="252" y="68"/>
                  <a:pt x="252" y="68"/>
                </a:cubicBezTo>
                <a:cubicBezTo>
                  <a:pt x="247" y="56"/>
                  <a:pt x="241" y="46"/>
                  <a:pt x="235" y="37"/>
                </a:cubicBezTo>
                <a:cubicBezTo>
                  <a:pt x="235" y="36"/>
                  <a:pt x="234" y="36"/>
                  <a:pt x="234" y="36"/>
                </a:cubicBezTo>
                <a:cubicBezTo>
                  <a:pt x="231" y="31"/>
                  <a:pt x="228" y="27"/>
                  <a:pt x="224" y="24"/>
                </a:cubicBezTo>
                <a:cubicBezTo>
                  <a:pt x="245" y="30"/>
                  <a:pt x="264" y="41"/>
                  <a:pt x="280" y="55"/>
                </a:cubicBezTo>
                <a:moveTo>
                  <a:pt x="185" y="17"/>
                </a:moveTo>
                <a:cubicBezTo>
                  <a:pt x="207" y="22"/>
                  <a:pt x="226" y="44"/>
                  <a:pt x="240" y="78"/>
                </a:cubicBezTo>
                <a:cubicBezTo>
                  <a:pt x="223" y="84"/>
                  <a:pt x="204" y="87"/>
                  <a:pt x="185" y="88"/>
                </a:cubicBezTo>
                <a:lnTo>
                  <a:pt x="185" y="17"/>
                </a:lnTo>
                <a:close/>
                <a:moveTo>
                  <a:pt x="185" y="104"/>
                </a:moveTo>
                <a:cubicBezTo>
                  <a:pt x="206" y="103"/>
                  <a:pt x="226" y="100"/>
                  <a:pt x="245" y="93"/>
                </a:cubicBezTo>
                <a:cubicBezTo>
                  <a:pt x="252" y="115"/>
                  <a:pt x="256" y="141"/>
                  <a:pt x="257" y="169"/>
                </a:cubicBezTo>
                <a:cubicBezTo>
                  <a:pt x="185" y="169"/>
                  <a:pt x="185" y="169"/>
                  <a:pt x="185" y="169"/>
                </a:cubicBezTo>
                <a:lnTo>
                  <a:pt x="185" y="104"/>
                </a:lnTo>
                <a:close/>
                <a:moveTo>
                  <a:pt x="185" y="185"/>
                </a:moveTo>
                <a:cubicBezTo>
                  <a:pt x="257" y="185"/>
                  <a:pt x="257" y="185"/>
                  <a:pt x="257" y="185"/>
                </a:cubicBezTo>
                <a:cubicBezTo>
                  <a:pt x="256" y="213"/>
                  <a:pt x="252" y="239"/>
                  <a:pt x="245" y="261"/>
                </a:cubicBezTo>
                <a:cubicBezTo>
                  <a:pt x="226" y="254"/>
                  <a:pt x="206" y="250"/>
                  <a:pt x="185" y="250"/>
                </a:cubicBezTo>
                <a:lnTo>
                  <a:pt x="185" y="185"/>
                </a:lnTo>
                <a:close/>
                <a:moveTo>
                  <a:pt x="185" y="337"/>
                </a:moveTo>
                <a:cubicBezTo>
                  <a:pt x="185" y="266"/>
                  <a:pt x="185" y="266"/>
                  <a:pt x="185" y="266"/>
                </a:cubicBezTo>
                <a:cubicBezTo>
                  <a:pt x="204" y="266"/>
                  <a:pt x="223" y="270"/>
                  <a:pt x="240" y="276"/>
                </a:cubicBezTo>
                <a:cubicBezTo>
                  <a:pt x="226" y="310"/>
                  <a:pt x="207" y="332"/>
                  <a:pt x="185" y="337"/>
                </a:cubicBezTo>
                <a:moveTo>
                  <a:pt x="224" y="330"/>
                </a:moveTo>
                <a:cubicBezTo>
                  <a:pt x="228" y="327"/>
                  <a:pt x="231" y="323"/>
                  <a:pt x="234" y="318"/>
                </a:cubicBezTo>
                <a:cubicBezTo>
                  <a:pt x="234" y="318"/>
                  <a:pt x="235" y="317"/>
                  <a:pt x="235" y="317"/>
                </a:cubicBezTo>
                <a:cubicBezTo>
                  <a:pt x="241" y="308"/>
                  <a:pt x="247" y="298"/>
                  <a:pt x="252" y="286"/>
                </a:cubicBezTo>
                <a:cubicBezTo>
                  <a:pt x="252" y="286"/>
                  <a:pt x="253" y="285"/>
                  <a:pt x="253" y="284"/>
                </a:cubicBezTo>
                <a:cubicBezTo>
                  <a:pt x="253" y="284"/>
                  <a:pt x="253" y="283"/>
                  <a:pt x="254" y="282"/>
                </a:cubicBezTo>
                <a:cubicBezTo>
                  <a:pt x="264" y="287"/>
                  <a:pt x="272" y="293"/>
                  <a:pt x="280" y="299"/>
                </a:cubicBezTo>
                <a:cubicBezTo>
                  <a:pt x="264" y="313"/>
                  <a:pt x="245" y="324"/>
                  <a:pt x="224" y="330"/>
                </a:cubicBezTo>
                <a:moveTo>
                  <a:pt x="292" y="288"/>
                </a:moveTo>
                <a:cubicBezTo>
                  <a:pt x="282" y="280"/>
                  <a:pt x="271" y="273"/>
                  <a:pt x="259" y="267"/>
                </a:cubicBezTo>
                <a:cubicBezTo>
                  <a:pt x="259" y="267"/>
                  <a:pt x="260" y="266"/>
                  <a:pt x="260" y="265"/>
                </a:cubicBezTo>
                <a:cubicBezTo>
                  <a:pt x="264" y="253"/>
                  <a:pt x="267" y="240"/>
                  <a:pt x="269" y="226"/>
                </a:cubicBezTo>
                <a:cubicBezTo>
                  <a:pt x="269" y="224"/>
                  <a:pt x="269" y="223"/>
                  <a:pt x="270" y="221"/>
                </a:cubicBezTo>
                <a:cubicBezTo>
                  <a:pt x="270" y="216"/>
                  <a:pt x="271" y="210"/>
                  <a:pt x="272" y="205"/>
                </a:cubicBezTo>
                <a:cubicBezTo>
                  <a:pt x="272" y="203"/>
                  <a:pt x="272" y="201"/>
                  <a:pt x="272" y="199"/>
                </a:cubicBezTo>
                <a:cubicBezTo>
                  <a:pt x="272" y="194"/>
                  <a:pt x="272" y="190"/>
                  <a:pt x="273" y="185"/>
                </a:cubicBezTo>
                <a:cubicBezTo>
                  <a:pt x="337" y="185"/>
                  <a:pt x="337" y="185"/>
                  <a:pt x="337" y="185"/>
                </a:cubicBezTo>
                <a:cubicBezTo>
                  <a:pt x="335" y="225"/>
                  <a:pt x="318" y="261"/>
                  <a:pt x="292" y="288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628650" y="1625727"/>
            <a:ext cx="333849" cy="333849"/>
          </a:xfrm>
          <a:custGeom>
            <a:avLst/>
            <a:gdLst>
              <a:gd name="T0" fmla="*/ 289 w 353"/>
              <a:gd name="T1" fmla="*/ 176 h 353"/>
              <a:gd name="T2" fmla="*/ 305 w 353"/>
              <a:gd name="T3" fmla="*/ 176 h 353"/>
              <a:gd name="T4" fmla="*/ 121 w 353"/>
              <a:gd name="T5" fmla="*/ 274 h 353"/>
              <a:gd name="T6" fmla="*/ 113 w 353"/>
              <a:gd name="T7" fmla="*/ 288 h 353"/>
              <a:gd name="T8" fmla="*/ 121 w 353"/>
              <a:gd name="T9" fmla="*/ 274 h 353"/>
              <a:gd name="T10" fmla="*/ 66 w 353"/>
              <a:gd name="T11" fmla="*/ 241 h 353"/>
              <a:gd name="T12" fmla="*/ 80 w 353"/>
              <a:gd name="T13" fmla="*/ 233 h 353"/>
              <a:gd name="T14" fmla="*/ 113 w 353"/>
              <a:gd name="T15" fmla="*/ 65 h 353"/>
              <a:gd name="T16" fmla="*/ 121 w 353"/>
              <a:gd name="T17" fmla="*/ 79 h 353"/>
              <a:gd name="T18" fmla="*/ 113 w 353"/>
              <a:gd name="T19" fmla="*/ 65 h 353"/>
              <a:gd name="T20" fmla="*/ 48 w 353"/>
              <a:gd name="T21" fmla="*/ 176 h 353"/>
              <a:gd name="T22" fmla="*/ 64 w 353"/>
              <a:gd name="T23" fmla="*/ 176 h 353"/>
              <a:gd name="T24" fmla="*/ 233 w 353"/>
              <a:gd name="T25" fmla="*/ 79 h 353"/>
              <a:gd name="T26" fmla="*/ 241 w 353"/>
              <a:gd name="T27" fmla="*/ 65 h 353"/>
              <a:gd name="T28" fmla="*/ 233 w 353"/>
              <a:gd name="T29" fmla="*/ 79 h 353"/>
              <a:gd name="T30" fmla="*/ 66 w 353"/>
              <a:gd name="T31" fmla="*/ 112 h 353"/>
              <a:gd name="T32" fmla="*/ 80 w 353"/>
              <a:gd name="T33" fmla="*/ 120 h 353"/>
              <a:gd name="T34" fmla="*/ 285 w 353"/>
              <a:gd name="T35" fmla="*/ 230 h 353"/>
              <a:gd name="T36" fmla="*/ 277 w 353"/>
              <a:gd name="T37" fmla="*/ 244 h 353"/>
              <a:gd name="T38" fmla="*/ 285 w 353"/>
              <a:gd name="T39" fmla="*/ 230 h 353"/>
              <a:gd name="T40" fmla="*/ 169 w 353"/>
              <a:gd name="T41" fmla="*/ 297 h 353"/>
              <a:gd name="T42" fmla="*/ 185 w 353"/>
              <a:gd name="T43" fmla="*/ 297 h 353"/>
              <a:gd name="T44" fmla="*/ 277 w 353"/>
              <a:gd name="T45" fmla="*/ 109 h 353"/>
              <a:gd name="T46" fmla="*/ 285 w 353"/>
              <a:gd name="T47" fmla="*/ 123 h 353"/>
              <a:gd name="T48" fmla="*/ 277 w 353"/>
              <a:gd name="T49" fmla="*/ 109 h 353"/>
              <a:gd name="T50" fmla="*/ 208 w 353"/>
              <a:gd name="T51" fmla="*/ 168 h 353"/>
              <a:gd name="T52" fmla="*/ 185 w 353"/>
              <a:gd name="T53" fmla="*/ 56 h 353"/>
              <a:gd name="T54" fmla="*/ 169 w 353"/>
              <a:gd name="T55" fmla="*/ 56 h 353"/>
              <a:gd name="T56" fmla="*/ 145 w 353"/>
              <a:gd name="T57" fmla="*/ 176 h 353"/>
              <a:gd name="T58" fmla="*/ 208 w 353"/>
              <a:gd name="T59" fmla="*/ 184 h 353"/>
              <a:gd name="T60" fmla="*/ 257 w 353"/>
              <a:gd name="T61" fmla="*/ 176 h 353"/>
              <a:gd name="T62" fmla="*/ 177 w 353"/>
              <a:gd name="T63" fmla="*/ 192 h 353"/>
              <a:gd name="T64" fmla="*/ 177 w 353"/>
              <a:gd name="T65" fmla="*/ 160 h 353"/>
              <a:gd name="T66" fmla="*/ 177 w 353"/>
              <a:gd name="T67" fmla="*/ 192 h 353"/>
              <a:gd name="T68" fmla="*/ 230 w 353"/>
              <a:gd name="T69" fmla="*/ 285 h 353"/>
              <a:gd name="T70" fmla="*/ 244 w 353"/>
              <a:gd name="T71" fmla="*/ 277 h 353"/>
              <a:gd name="T72" fmla="*/ 177 w 353"/>
              <a:gd name="T73" fmla="*/ 0 h 353"/>
              <a:gd name="T74" fmla="*/ 177 w 353"/>
              <a:gd name="T75" fmla="*/ 353 h 353"/>
              <a:gd name="T76" fmla="*/ 177 w 353"/>
              <a:gd name="T77" fmla="*/ 0 h 353"/>
              <a:gd name="T78" fmla="*/ 16 w 353"/>
              <a:gd name="T79" fmla="*/ 176 h 353"/>
              <a:gd name="T80" fmla="*/ 337 w 353"/>
              <a:gd name="T81" fmla="*/ 176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53" h="353">
                <a:moveTo>
                  <a:pt x="297" y="168"/>
                </a:moveTo>
                <a:cubicBezTo>
                  <a:pt x="293" y="168"/>
                  <a:pt x="289" y="172"/>
                  <a:pt x="289" y="176"/>
                </a:cubicBezTo>
                <a:cubicBezTo>
                  <a:pt x="289" y="181"/>
                  <a:pt x="293" y="184"/>
                  <a:pt x="297" y="184"/>
                </a:cubicBezTo>
                <a:cubicBezTo>
                  <a:pt x="302" y="184"/>
                  <a:pt x="305" y="181"/>
                  <a:pt x="305" y="176"/>
                </a:cubicBezTo>
                <a:cubicBezTo>
                  <a:pt x="305" y="172"/>
                  <a:pt x="302" y="168"/>
                  <a:pt x="297" y="168"/>
                </a:cubicBezTo>
                <a:moveTo>
                  <a:pt x="121" y="274"/>
                </a:moveTo>
                <a:cubicBezTo>
                  <a:pt x="117" y="271"/>
                  <a:pt x="112" y="273"/>
                  <a:pt x="110" y="277"/>
                </a:cubicBezTo>
                <a:cubicBezTo>
                  <a:pt x="107" y="280"/>
                  <a:pt x="109" y="285"/>
                  <a:pt x="113" y="288"/>
                </a:cubicBezTo>
                <a:cubicBezTo>
                  <a:pt x="116" y="290"/>
                  <a:pt x="121" y="289"/>
                  <a:pt x="124" y="285"/>
                </a:cubicBezTo>
                <a:cubicBezTo>
                  <a:pt x="126" y="281"/>
                  <a:pt x="124" y="276"/>
                  <a:pt x="121" y="274"/>
                </a:cubicBezTo>
                <a:moveTo>
                  <a:pt x="69" y="230"/>
                </a:moveTo>
                <a:cubicBezTo>
                  <a:pt x="65" y="232"/>
                  <a:pt x="63" y="237"/>
                  <a:pt x="66" y="241"/>
                </a:cubicBezTo>
                <a:cubicBezTo>
                  <a:pt x="68" y="244"/>
                  <a:pt x="73" y="246"/>
                  <a:pt x="77" y="244"/>
                </a:cubicBezTo>
                <a:cubicBezTo>
                  <a:pt x="80" y="241"/>
                  <a:pt x="82" y="236"/>
                  <a:pt x="80" y="233"/>
                </a:cubicBezTo>
                <a:cubicBezTo>
                  <a:pt x="77" y="229"/>
                  <a:pt x="72" y="227"/>
                  <a:pt x="69" y="230"/>
                </a:cubicBezTo>
                <a:moveTo>
                  <a:pt x="113" y="65"/>
                </a:moveTo>
                <a:cubicBezTo>
                  <a:pt x="109" y="67"/>
                  <a:pt x="107" y="72"/>
                  <a:pt x="110" y="76"/>
                </a:cubicBezTo>
                <a:cubicBezTo>
                  <a:pt x="112" y="80"/>
                  <a:pt x="117" y="81"/>
                  <a:pt x="121" y="79"/>
                </a:cubicBezTo>
                <a:cubicBezTo>
                  <a:pt x="124" y="77"/>
                  <a:pt x="126" y="72"/>
                  <a:pt x="124" y="68"/>
                </a:cubicBezTo>
                <a:cubicBezTo>
                  <a:pt x="121" y="64"/>
                  <a:pt x="116" y="63"/>
                  <a:pt x="113" y="65"/>
                </a:cubicBezTo>
                <a:moveTo>
                  <a:pt x="56" y="168"/>
                </a:moveTo>
                <a:cubicBezTo>
                  <a:pt x="52" y="168"/>
                  <a:pt x="48" y="172"/>
                  <a:pt x="48" y="176"/>
                </a:cubicBezTo>
                <a:cubicBezTo>
                  <a:pt x="48" y="181"/>
                  <a:pt x="52" y="184"/>
                  <a:pt x="56" y="184"/>
                </a:cubicBezTo>
                <a:cubicBezTo>
                  <a:pt x="61" y="184"/>
                  <a:pt x="64" y="181"/>
                  <a:pt x="64" y="176"/>
                </a:cubicBezTo>
                <a:cubicBezTo>
                  <a:pt x="64" y="172"/>
                  <a:pt x="61" y="168"/>
                  <a:pt x="56" y="168"/>
                </a:cubicBezTo>
                <a:moveTo>
                  <a:pt x="233" y="79"/>
                </a:moveTo>
                <a:cubicBezTo>
                  <a:pt x="237" y="81"/>
                  <a:pt x="242" y="80"/>
                  <a:pt x="244" y="76"/>
                </a:cubicBezTo>
                <a:cubicBezTo>
                  <a:pt x="246" y="72"/>
                  <a:pt x="245" y="67"/>
                  <a:pt x="241" y="65"/>
                </a:cubicBezTo>
                <a:cubicBezTo>
                  <a:pt x="237" y="63"/>
                  <a:pt x="232" y="64"/>
                  <a:pt x="230" y="68"/>
                </a:cubicBezTo>
                <a:cubicBezTo>
                  <a:pt x="228" y="72"/>
                  <a:pt x="229" y="77"/>
                  <a:pt x="233" y="79"/>
                </a:cubicBezTo>
                <a:moveTo>
                  <a:pt x="77" y="109"/>
                </a:moveTo>
                <a:cubicBezTo>
                  <a:pt x="73" y="107"/>
                  <a:pt x="68" y="108"/>
                  <a:pt x="66" y="112"/>
                </a:cubicBezTo>
                <a:cubicBezTo>
                  <a:pt x="63" y="116"/>
                  <a:pt x="65" y="121"/>
                  <a:pt x="69" y="123"/>
                </a:cubicBezTo>
                <a:cubicBezTo>
                  <a:pt x="72" y="125"/>
                  <a:pt x="77" y="124"/>
                  <a:pt x="80" y="120"/>
                </a:cubicBezTo>
                <a:cubicBezTo>
                  <a:pt x="82" y="116"/>
                  <a:pt x="80" y="111"/>
                  <a:pt x="77" y="109"/>
                </a:cubicBezTo>
                <a:moveTo>
                  <a:pt x="285" y="230"/>
                </a:moveTo>
                <a:cubicBezTo>
                  <a:pt x="281" y="227"/>
                  <a:pt x="276" y="229"/>
                  <a:pt x="274" y="233"/>
                </a:cubicBezTo>
                <a:cubicBezTo>
                  <a:pt x="272" y="236"/>
                  <a:pt x="273" y="241"/>
                  <a:pt x="277" y="244"/>
                </a:cubicBezTo>
                <a:cubicBezTo>
                  <a:pt x="281" y="246"/>
                  <a:pt x="286" y="244"/>
                  <a:pt x="288" y="241"/>
                </a:cubicBezTo>
                <a:cubicBezTo>
                  <a:pt x="290" y="237"/>
                  <a:pt x="289" y="232"/>
                  <a:pt x="285" y="230"/>
                </a:cubicBezTo>
                <a:moveTo>
                  <a:pt x="177" y="289"/>
                </a:moveTo>
                <a:cubicBezTo>
                  <a:pt x="172" y="289"/>
                  <a:pt x="169" y="292"/>
                  <a:pt x="169" y="297"/>
                </a:cubicBezTo>
                <a:cubicBezTo>
                  <a:pt x="169" y="301"/>
                  <a:pt x="172" y="305"/>
                  <a:pt x="177" y="305"/>
                </a:cubicBezTo>
                <a:cubicBezTo>
                  <a:pt x="181" y="305"/>
                  <a:pt x="185" y="301"/>
                  <a:pt x="185" y="297"/>
                </a:cubicBezTo>
                <a:cubicBezTo>
                  <a:pt x="185" y="292"/>
                  <a:pt x="181" y="289"/>
                  <a:pt x="177" y="289"/>
                </a:cubicBezTo>
                <a:moveTo>
                  <a:pt x="277" y="109"/>
                </a:moveTo>
                <a:cubicBezTo>
                  <a:pt x="273" y="111"/>
                  <a:pt x="272" y="116"/>
                  <a:pt x="274" y="120"/>
                </a:cubicBezTo>
                <a:cubicBezTo>
                  <a:pt x="276" y="124"/>
                  <a:pt x="281" y="125"/>
                  <a:pt x="285" y="123"/>
                </a:cubicBezTo>
                <a:cubicBezTo>
                  <a:pt x="289" y="121"/>
                  <a:pt x="290" y="116"/>
                  <a:pt x="288" y="112"/>
                </a:cubicBezTo>
                <a:cubicBezTo>
                  <a:pt x="286" y="108"/>
                  <a:pt x="281" y="107"/>
                  <a:pt x="277" y="109"/>
                </a:cubicBezTo>
                <a:moveTo>
                  <a:pt x="249" y="168"/>
                </a:moveTo>
                <a:cubicBezTo>
                  <a:pt x="208" y="168"/>
                  <a:pt x="208" y="168"/>
                  <a:pt x="208" y="168"/>
                </a:cubicBezTo>
                <a:cubicBezTo>
                  <a:pt x="205" y="157"/>
                  <a:pt x="196" y="148"/>
                  <a:pt x="185" y="145"/>
                </a:cubicBezTo>
                <a:cubicBezTo>
                  <a:pt x="185" y="56"/>
                  <a:pt x="185" y="56"/>
                  <a:pt x="185" y="56"/>
                </a:cubicBezTo>
                <a:cubicBezTo>
                  <a:pt x="185" y="52"/>
                  <a:pt x="181" y="48"/>
                  <a:pt x="177" y="48"/>
                </a:cubicBezTo>
                <a:cubicBezTo>
                  <a:pt x="172" y="48"/>
                  <a:pt x="169" y="52"/>
                  <a:pt x="169" y="56"/>
                </a:cubicBezTo>
                <a:cubicBezTo>
                  <a:pt x="169" y="145"/>
                  <a:pt x="169" y="145"/>
                  <a:pt x="169" y="145"/>
                </a:cubicBezTo>
                <a:cubicBezTo>
                  <a:pt x="155" y="149"/>
                  <a:pt x="145" y="161"/>
                  <a:pt x="145" y="176"/>
                </a:cubicBezTo>
                <a:cubicBezTo>
                  <a:pt x="145" y="194"/>
                  <a:pt x="159" y="208"/>
                  <a:pt x="177" y="208"/>
                </a:cubicBezTo>
                <a:cubicBezTo>
                  <a:pt x="192" y="208"/>
                  <a:pt x="204" y="198"/>
                  <a:pt x="208" y="184"/>
                </a:cubicBezTo>
                <a:cubicBezTo>
                  <a:pt x="249" y="184"/>
                  <a:pt x="249" y="184"/>
                  <a:pt x="249" y="184"/>
                </a:cubicBezTo>
                <a:cubicBezTo>
                  <a:pt x="254" y="184"/>
                  <a:pt x="257" y="181"/>
                  <a:pt x="257" y="176"/>
                </a:cubicBezTo>
                <a:cubicBezTo>
                  <a:pt x="257" y="172"/>
                  <a:pt x="254" y="168"/>
                  <a:pt x="249" y="168"/>
                </a:cubicBezTo>
                <a:moveTo>
                  <a:pt x="177" y="192"/>
                </a:moveTo>
                <a:cubicBezTo>
                  <a:pt x="168" y="192"/>
                  <a:pt x="161" y="185"/>
                  <a:pt x="161" y="176"/>
                </a:cubicBez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moveTo>
                  <a:pt x="233" y="274"/>
                </a:moveTo>
                <a:cubicBezTo>
                  <a:pt x="229" y="276"/>
                  <a:pt x="228" y="281"/>
                  <a:pt x="230" y="285"/>
                </a:cubicBezTo>
                <a:cubicBezTo>
                  <a:pt x="232" y="289"/>
                  <a:pt x="237" y="290"/>
                  <a:pt x="241" y="288"/>
                </a:cubicBezTo>
                <a:cubicBezTo>
                  <a:pt x="245" y="285"/>
                  <a:pt x="246" y="280"/>
                  <a:pt x="244" y="277"/>
                </a:cubicBezTo>
                <a:cubicBezTo>
                  <a:pt x="242" y="273"/>
                  <a:pt x="237" y="271"/>
                  <a:pt x="233" y="274"/>
                </a:cubicBezTo>
                <a:moveTo>
                  <a:pt x="177" y="0"/>
                </a:moveTo>
                <a:cubicBezTo>
                  <a:pt x="79" y="0"/>
                  <a:pt x="0" y="79"/>
                  <a:pt x="0" y="176"/>
                </a:cubicBezTo>
                <a:cubicBezTo>
                  <a:pt x="0" y="274"/>
                  <a:pt x="79" y="353"/>
                  <a:pt x="177" y="353"/>
                </a:cubicBezTo>
                <a:cubicBezTo>
                  <a:pt x="274" y="353"/>
                  <a:pt x="353" y="274"/>
                  <a:pt x="353" y="176"/>
                </a:cubicBezTo>
                <a:cubicBezTo>
                  <a:pt x="353" y="79"/>
                  <a:pt x="274" y="0"/>
                  <a:pt x="177" y="0"/>
                </a:cubicBezTo>
                <a:moveTo>
                  <a:pt x="177" y="337"/>
                </a:moveTo>
                <a:cubicBezTo>
                  <a:pt x="88" y="337"/>
                  <a:pt x="16" y="265"/>
                  <a:pt x="16" y="176"/>
                </a:cubicBezTo>
                <a:cubicBezTo>
                  <a:pt x="16" y="88"/>
                  <a:pt x="88" y="16"/>
                  <a:pt x="177" y="16"/>
                </a:cubicBezTo>
                <a:cubicBezTo>
                  <a:pt x="266" y="16"/>
                  <a:pt x="337" y="88"/>
                  <a:pt x="337" y="176"/>
                </a:cubicBezTo>
                <a:cubicBezTo>
                  <a:pt x="337" y="265"/>
                  <a:pt x="266" y="337"/>
                  <a:pt x="177" y="337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" name="Freeform 10"/>
          <p:cNvSpPr>
            <a:spLocks noEditPoints="1"/>
          </p:cNvSpPr>
          <p:nvPr/>
        </p:nvSpPr>
        <p:spPr bwMode="auto">
          <a:xfrm>
            <a:off x="726898" y="3698081"/>
            <a:ext cx="168833" cy="309339"/>
          </a:xfrm>
          <a:custGeom>
            <a:avLst/>
            <a:gdLst>
              <a:gd name="T0" fmla="*/ 193 w 193"/>
              <a:gd name="T1" fmla="*/ 136 h 353"/>
              <a:gd name="T2" fmla="*/ 184 w 193"/>
              <a:gd name="T3" fmla="*/ 128 h 353"/>
              <a:gd name="T4" fmla="*/ 121 w 193"/>
              <a:gd name="T5" fmla="*/ 128 h 353"/>
              <a:gd name="T6" fmla="*/ 160 w 193"/>
              <a:gd name="T7" fmla="*/ 10 h 353"/>
              <a:gd name="T8" fmla="*/ 160 w 193"/>
              <a:gd name="T9" fmla="*/ 10 h 353"/>
              <a:gd name="T10" fmla="*/ 160 w 193"/>
              <a:gd name="T11" fmla="*/ 8 h 353"/>
              <a:gd name="T12" fmla="*/ 152 w 193"/>
              <a:gd name="T13" fmla="*/ 0 h 353"/>
              <a:gd name="T14" fmla="*/ 72 w 193"/>
              <a:gd name="T15" fmla="*/ 0 h 353"/>
              <a:gd name="T16" fmla="*/ 65 w 193"/>
              <a:gd name="T17" fmla="*/ 5 h 353"/>
              <a:gd name="T18" fmla="*/ 64 w 193"/>
              <a:gd name="T19" fmla="*/ 5 h 353"/>
              <a:gd name="T20" fmla="*/ 0 w 193"/>
              <a:gd name="T21" fmla="*/ 198 h 353"/>
              <a:gd name="T22" fmla="*/ 0 w 193"/>
              <a:gd name="T23" fmla="*/ 198 h 353"/>
              <a:gd name="T24" fmla="*/ 0 w 193"/>
              <a:gd name="T25" fmla="*/ 200 h 353"/>
              <a:gd name="T26" fmla="*/ 8 w 193"/>
              <a:gd name="T27" fmla="*/ 208 h 353"/>
              <a:gd name="T28" fmla="*/ 79 w 193"/>
              <a:gd name="T29" fmla="*/ 208 h 353"/>
              <a:gd name="T30" fmla="*/ 64 w 193"/>
              <a:gd name="T31" fmla="*/ 344 h 353"/>
              <a:gd name="T32" fmla="*/ 64 w 193"/>
              <a:gd name="T33" fmla="*/ 344 h 353"/>
              <a:gd name="T34" fmla="*/ 64 w 193"/>
              <a:gd name="T35" fmla="*/ 345 h 353"/>
              <a:gd name="T36" fmla="*/ 72 w 193"/>
              <a:gd name="T37" fmla="*/ 353 h 353"/>
              <a:gd name="T38" fmla="*/ 79 w 193"/>
              <a:gd name="T39" fmla="*/ 348 h 353"/>
              <a:gd name="T40" fmla="*/ 79 w 193"/>
              <a:gd name="T41" fmla="*/ 348 h 353"/>
              <a:gd name="T42" fmla="*/ 192 w 193"/>
              <a:gd name="T43" fmla="*/ 139 h 353"/>
              <a:gd name="T44" fmla="*/ 192 w 193"/>
              <a:gd name="T45" fmla="*/ 139 h 353"/>
              <a:gd name="T46" fmla="*/ 193 w 193"/>
              <a:gd name="T47" fmla="*/ 136 h 353"/>
              <a:gd name="T48" fmla="*/ 85 w 193"/>
              <a:gd name="T49" fmla="*/ 305 h 353"/>
              <a:gd name="T50" fmla="*/ 96 w 193"/>
              <a:gd name="T51" fmla="*/ 201 h 353"/>
              <a:gd name="T52" fmla="*/ 96 w 193"/>
              <a:gd name="T53" fmla="*/ 201 h 353"/>
              <a:gd name="T54" fmla="*/ 96 w 193"/>
              <a:gd name="T55" fmla="*/ 200 h 353"/>
              <a:gd name="T56" fmla="*/ 88 w 193"/>
              <a:gd name="T57" fmla="*/ 192 h 353"/>
              <a:gd name="T58" fmla="*/ 19 w 193"/>
              <a:gd name="T59" fmla="*/ 192 h 353"/>
              <a:gd name="T60" fmla="*/ 78 w 193"/>
              <a:gd name="T61" fmla="*/ 16 h 353"/>
              <a:gd name="T62" fmla="*/ 141 w 193"/>
              <a:gd name="T63" fmla="*/ 16 h 353"/>
              <a:gd name="T64" fmla="*/ 102 w 193"/>
              <a:gd name="T65" fmla="*/ 134 h 353"/>
              <a:gd name="T66" fmla="*/ 102 w 193"/>
              <a:gd name="T67" fmla="*/ 134 h 353"/>
              <a:gd name="T68" fmla="*/ 101 w 193"/>
              <a:gd name="T69" fmla="*/ 136 h 353"/>
              <a:gd name="T70" fmla="*/ 109 w 193"/>
              <a:gd name="T71" fmla="*/ 144 h 353"/>
              <a:gd name="T72" fmla="*/ 171 w 193"/>
              <a:gd name="T73" fmla="*/ 144 h 353"/>
              <a:gd name="T74" fmla="*/ 85 w 193"/>
              <a:gd name="T75" fmla="*/ 305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93" h="353">
                <a:moveTo>
                  <a:pt x="193" y="136"/>
                </a:moveTo>
                <a:cubicBezTo>
                  <a:pt x="193" y="132"/>
                  <a:pt x="189" y="128"/>
                  <a:pt x="184" y="128"/>
                </a:cubicBezTo>
                <a:cubicBezTo>
                  <a:pt x="121" y="128"/>
                  <a:pt x="121" y="128"/>
                  <a:pt x="121" y="128"/>
                </a:cubicBezTo>
                <a:cubicBezTo>
                  <a:pt x="160" y="10"/>
                  <a:pt x="160" y="10"/>
                  <a:pt x="160" y="10"/>
                </a:cubicBezTo>
                <a:cubicBezTo>
                  <a:pt x="160" y="10"/>
                  <a:pt x="160" y="10"/>
                  <a:pt x="160" y="10"/>
                </a:cubicBezTo>
                <a:cubicBezTo>
                  <a:pt x="160" y="9"/>
                  <a:pt x="160" y="9"/>
                  <a:pt x="160" y="8"/>
                </a:cubicBezTo>
                <a:cubicBezTo>
                  <a:pt x="160" y="3"/>
                  <a:pt x="157" y="0"/>
                  <a:pt x="152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69" y="0"/>
                  <a:pt x="66" y="2"/>
                  <a:pt x="65" y="5"/>
                </a:cubicBezTo>
                <a:cubicBezTo>
                  <a:pt x="64" y="5"/>
                  <a:pt x="64" y="5"/>
                  <a:pt x="64" y="5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198"/>
                  <a:pt x="0" y="198"/>
                  <a:pt x="0" y="198"/>
                </a:cubicBezTo>
                <a:cubicBezTo>
                  <a:pt x="0" y="199"/>
                  <a:pt x="0" y="199"/>
                  <a:pt x="0" y="200"/>
                </a:cubicBezTo>
                <a:cubicBezTo>
                  <a:pt x="0" y="205"/>
                  <a:pt x="3" y="208"/>
                  <a:pt x="8" y="208"/>
                </a:cubicBezTo>
                <a:cubicBezTo>
                  <a:pt x="79" y="208"/>
                  <a:pt x="79" y="208"/>
                  <a:pt x="79" y="208"/>
                </a:cubicBezTo>
                <a:cubicBezTo>
                  <a:pt x="64" y="344"/>
                  <a:pt x="64" y="344"/>
                  <a:pt x="64" y="344"/>
                </a:cubicBezTo>
                <a:cubicBezTo>
                  <a:pt x="64" y="344"/>
                  <a:pt x="64" y="344"/>
                  <a:pt x="64" y="344"/>
                </a:cubicBezTo>
                <a:cubicBezTo>
                  <a:pt x="64" y="344"/>
                  <a:pt x="64" y="344"/>
                  <a:pt x="64" y="345"/>
                </a:cubicBezTo>
                <a:cubicBezTo>
                  <a:pt x="64" y="349"/>
                  <a:pt x="68" y="353"/>
                  <a:pt x="72" y="353"/>
                </a:cubicBezTo>
                <a:cubicBezTo>
                  <a:pt x="75" y="353"/>
                  <a:pt x="78" y="351"/>
                  <a:pt x="79" y="348"/>
                </a:cubicBezTo>
                <a:cubicBezTo>
                  <a:pt x="79" y="348"/>
                  <a:pt x="79" y="348"/>
                  <a:pt x="79" y="348"/>
                </a:cubicBezTo>
                <a:cubicBezTo>
                  <a:pt x="192" y="139"/>
                  <a:pt x="192" y="139"/>
                  <a:pt x="192" y="139"/>
                </a:cubicBezTo>
                <a:cubicBezTo>
                  <a:pt x="192" y="139"/>
                  <a:pt x="192" y="139"/>
                  <a:pt x="192" y="139"/>
                </a:cubicBezTo>
                <a:cubicBezTo>
                  <a:pt x="192" y="138"/>
                  <a:pt x="193" y="137"/>
                  <a:pt x="193" y="136"/>
                </a:cubicBezTo>
                <a:moveTo>
                  <a:pt x="85" y="305"/>
                </a:moveTo>
                <a:cubicBezTo>
                  <a:pt x="96" y="201"/>
                  <a:pt x="96" y="201"/>
                  <a:pt x="96" y="201"/>
                </a:cubicBezTo>
                <a:cubicBezTo>
                  <a:pt x="96" y="201"/>
                  <a:pt x="96" y="201"/>
                  <a:pt x="96" y="201"/>
                </a:cubicBezTo>
                <a:cubicBezTo>
                  <a:pt x="96" y="201"/>
                  <a:pt x="96" y="201"/>
                  <a:pt x="96" y="200"/>
                </a:cubicBezTo>
                <a:cubicBezTo>
                  <a:pt x="96" y="196"/>
                  <a:pt x="93" y="192"/>
                  <a:pt x="88" y="192"/>
                </a:cubicBezTo>
                <a:cubicBezTo>
                  <a:pt x="19" y="192"/>
                  <a:pt x="19" y="192"/>
                  <a:pt x="19" y="192"/>
                </a:cubicBezTo>
                <a:cubicBezTo>
                  <a:pt x="78" y="16"/>
                  <a:pt x="78" y="16"/>
                  <a:pt x="78" y="16"/>
                </a:cubicBezTo>
                <a:cubicBezTo>
                  <a:pt x="141" y="16"/>
                  <a:pt x="141" y="16"/>
                  <a:pt x="141" y="16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34"/>
                  <a:pt x="102" y="134"/>
                  <a:pt x="102" y="134"/>
                </a:cubicBezTo>
                <a:cubicBezTo>
                  <a:pt x="102" y="134"/>
                  <a:pt x="101" y="135"/>
                  <a:pt x="101" y="136"/>
                </a:cubicBezTo>
                <a:cubicBezTo>
                  <a:pt x="101" y="140"/>
                  <a:pt x="105" y="144"/>
                  <a:pt x="109" y="144"/>
                </a:cubicBezTo>
                <a:cubicBezTo>
                  <a:pt x="171" y="144"/>
                  <a:pt x="171" y="144"/>
                  <a:pt x="171" y="144"/>
                </a:cubicBezTo>
                <a:lnTo>
                  <a:pt x="85" y="305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pic>
        <p:nvPicPr>
          <p:cNvPr id="20" name="Gráfico 19">
            <a:extLst>
              <a:ext uri="{FF2B5EF4-FFF2-40B4-BE49-F238E27FC236}">
                <a16:creationId xmlns:a16="http://schemas.microsoft.com/office/drawing/2014/main" id="{5C4C8E2F-41C6-491C-A818-5D8D779CCF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24" y="4626983"/>
            <a:ext cx="456809" cy="33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48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eceita</a:t>
            </a:r>
            <a:r>
              <a:rPr lang="en-US" dirty="0"/>
              <a:t> vs </a:t>
            </a:r>
            <a:r>
              <a:rPr lang="en-US" dirty="0" err="1">
                <a:solidFill>
                  <a:srgbClr val="EC0000"/>
                </a:solidFill>
              </a:rPr>
              <a:t>lucro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líquid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547004"/>
              </p:ext>
            </p:extLst>
          </p:nvPr>
        </p:nvGraphicFramePr>
        <p:xfrm>
          <a:off x="628650" y="1407033"/>
          <a:ext cx="8044434" cy="2949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064134" y="1821426"/>
            <a:ext cx="575085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H="1">
            <a:off x="3075782" y="2174542"/>
            <a:ext cx="988352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814196" y="1702711"/>
            <a:ext cx="1344510" cy="2412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1350"/>
              </a:spcAft>
            </a:pPr>
            <a:r>
              <a:rPr lang="en-US" sz="14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125M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14196" y="1986710"/>
            <a:ext cx="1344510" cy="150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Aft>
                <a:spcPts val="1350"/>
              </a:spcAft>
            </a:pP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IT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94747" y="2059534"/>
            <a:ext cx="1344510" cy="2412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  <a:spcAft>
                <a:spcPts val="1350"/>
              </a:spcAft>
            </a:pPr>
            <a:r>
              <a:rPr lang="en-US" sz="1400" b="1" cap="all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105M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94747" y="2343533"/>
            <a:ext cx="1344510" cy="150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20000"/>
              </a:lnSpc>
              <a:spcAft>
                <a:spcPts val="1350"/>
              </a:spcAft>
            </a:pP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UCRO LÍQUIDO</a:t>
            </a:r>
          </a:p>
        </p:txBody>
      </p:sp>
    </p:spTree>
    <p:extLst>
      <p:ext uri="{BB962C8B-B14F-4D97-AF65-F5344CB8AC3E}">
        <p14:creationId xmlns:p14="http://schemas.microsoft.com/office/powerpoint/2010/main" val="29554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omparação</a:t>
            </a:r>
            <a:r>
              <a:rPr lang="en-US" dirty="0"/>
              <a:t> das </a:t>
            </a:r>
            <a:r>
              <a:rPr lang="en-US" dirty="0" err="1">
                <a:solidFill>
                  <a:srgbClr val="EC0000"/>
                </a:solidFill>
              </a:rPr>
              <a:t>vendas</a:t>
            </a:r>
            <a:r>
              <a:rPr lang="en-US" dirty="0">
                <a:solidFill>
                  <a:srgbClr val="EC0000"/>
                </a:solidFill>
              </a:rPr>
              <a:t> on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929750714"/>
              </p:ext>
            </p:extLst>
          </p:nvPr>
        </p:nvGraphicFramePr>
        <p:xfrm>
          <a:off x="593725" y="1289049"/>
          <a:ext cx="7921625" cy="29972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3416299" y="1763288"/>
            <a:ext cx="293610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863107" y="1623403"/>
            <a:ext cx="13445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cap="all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56K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863107" y="1903701"/>
            <a:ext cx="13445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DAS EM 2018</a:t>
            </a:r>
          </a:p>
        </p:txBody>
      </p:sp>
    </p:spTree>
    <p:extLst>
      <p:ext uri="{BB962C8B-B14F-4D97-AF65-F5344CB8AC3E}">
        <p14:creationId xmlns:p14="http://schemas.microsoft.com/office/powerpoint/2010/main" val="350988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lucro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líquid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611646989"/>
              </p:ext>
            </p:extLst>
          </p:nvPr>
        </p:nvGraphicFramePr>
        <p:xfrm>
          <a:off x="593725" y="1346200"/>
          <a:ext cx="7943851" cy="28997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5055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MPARAÇÃO </a:t>
            </a:r>
            <a:r>
              <a:rPr lang="en-US" dirty="0">
                <a:solidFill>
                  <a:srgbClr val="EC0000"/>
                </a:solidFill>
              </a:rPr>
              <a:t>GEOGRÁFIC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772714407"/>
              </p:ext>
            </p:extLst>
          </p:nvPr>
        </p:nvGraphicFramePr>
        <p:xfrm>
          <a:off x="593725" y="1341734"/>
          <a:ext cx="7953374" cy="2886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618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UCROS </a:t>
            </a:r>
            <a:r>
              <a:rPr lang="en-US" dirty="0">
                <a:solidFill>
                  <a:srgbClr val="EC0000"/>
                </a:solidFill>
              </a:rPr>
              <a:t>PREVIST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643082617"/>
              </p:ext>
            </p:extLst>
          </p:nvPr>
        </p:nvGraphicFramePr>
        <p:xfrm>
          <a:off x="884767" y="1507067"/>
          <a:ext cx="7630583" cy="2779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 rot="16200000">
            <a:off x="26434" y="2590027"/>
            <a:ext cx="138217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25" cap="all" dirty="0">
                <a:solidFill>
                  <a:schemeClr val="accent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$ MILHÕES</a:t>
            </a:r>
            <a:endParaRPr lang="en-US" sz="825" cap="all" spc="19" dirty="0">
              <a:solidFill>
                <a:schemeClr val="accent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5040138" y="1878146"/>
            <a:ext cx="643112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547008" y="1739646"/>
            <a:ext cx="13445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800" cap="all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85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47008" y="2041109"/>
            <a:ext cx="13445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ucro</a:t>
            </a: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visto</a:t>
            </a:r>
            <a:endParaRPr lang="en-US" sz="900" b="1" cap="all" spc="20" dirty="0">
              <a:solidFill>
                <a:schemeClr val="accent1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82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omparaçã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venda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398879856"/>
              </p:ext>
            </p:extLst>
          </p:nvPr>
        </p:nvGraphicFramePr>
        <p:xfrm>
          <a:off x="1314450" y="1437098"/>
          <a:ext cx="6515100" cy="2889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048722" y="2590799"/>
            <a:ext cx="575085" cy="0"/>
          </a:xfrm>
          <a:prstGeom prst="line">
            <a:avLst/>
          </a:prstGeom>
          <a:ln w="9525">
            <a:solidFill>
              <a:schemeClr val="accent5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4759251" y="2452299"/>
            <a:ext cx="13445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cap="all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186k</a:t>
            </a:r>
          </a:p>
        </p:txBody>
      </p:sp>
    </p:spTree>
    <p:extLst>
      <p:ext uri="{BB962C8B-B14F-4D97-AF65-F5344CB8AC3E}">
        <p14:creationId xmlns:p14="http://schemas.microsoft.com/office/powerpoint/2010/main" val="201916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Margens</a:t>
            </a:r>
            <a:r>
              <a:rPr lang="en-US" dirty="0"/>
              <a:t> de </a:t>
            </a:r>
            <a:r>
              <a:rPr lang="en-US" dirty="0" err="1"/>
              <a:t>trabalh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2290118225"/>
              </p:ext>
            </p:extLst>
          </p:nvPr>
        </p:nvGraphicFramePr>
        <p:xfrm>
          <a:off x="619125" y="1314451"/>
          <a:ext cx="7905750" cy="297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Arrow Connector 4"/>
          <p:cNvCxnSpPr/>
          <p:nvPr/>
        </p:nvCxnSpPr>
        <p:spPr>
          <a:xfrm flipV="1">
            <a:off x="5874569" y="1942774"/>
            <a:ext cx="0" cy="2078893"/>
          </a:xfrm>
          <a:prstGeom prst="straightConnector1">
            <a:avLst/>
          </a:prstGeom>
          <a:ln w="12700">
            <a:solidFill>
              <a:schemeClr val="accent5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2"/>
          <p:cNvSpPr txBox="1">
            <a:spLocks/>
          </p:cNvSpPr>
          <p:nvPr/>
        </p:nvSpPr>
        <p:spPr>
          <a:xfrm>
            <a:off x="5111271" y="1543050"/>
            <a:ext cx="1526596" cy="307777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 err="1">
                <a:solidFill>
                  <a:schemeClr val="accent1"/>
                </a:solidFill>
                <a:latin typeface="Lato" panose="020F0502020204030203" pitchFamily="34" charset="0"/>
              </a:rPr>
              <a:t>Lançamento</a:t>
            </a:r>
            <a:r>
              <a: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 do novo e-commerce</a:t>
            </a:r>
          </a:p>
        </p:txBody>
      </p:sp>
    </p:spTree>
    <p:extLst>
      <p:ext uri="{BB962C8B-B14F-4D97-AF65-F5344CB8AC3E}">
        <p14:creationId xmlns:p14="http://schemas.microsoft.com/office/powerpoint/2010/main" val="1088558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RÁFICO DE </a:t>
            </a:r>
            <a:r>
              <a:rPr lang="en-US" dirty="0">
                <a:solidFill>
                  <a:srgbClr val="EC0000"/>
                </a:solidFill>
              </a:rPr>
              <a:t>COLUNAS INTELIGEN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918300583"/>
              </p:ext>
            </p:extLst>
          </p:nvPr>
        </p:nvGraphicFramePr>
        <p:xfrm>
          <a:off x="550127" y="1715937"/>
          <a:ext cx="8043746" cy="24191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Freeform 5"/>
          <p:cNvSpPr/>
          <p:nvPr/>
        </p:nvSpPr>
        <p:spPr>
          <a:xfrm>
            <a:off x="967854" y="1961381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TextBox 6"/>
          <p:cNvSpPr txBox="1"/>
          <p:nvPr/>
        </p:nvSpPr>
        <p:spPr>
          <a:xfrm>
            <a:off x="1014765" y="2008846"/>
            <a:ext cx="4947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2.3M</a:t>
            </a:r>
          </a:p>
        </p:txBody>
      </p:sp>
      <p:sp>
        <p:nvSpPr>
          <p:cNvPr id="8" name="Freeform 7"/>
          <p:cNvSpPr/>
          <p:nvPr/>
        </p:nvSpPr>
        <p:spPr>
          <a:xfrm>
            <a:off x="2461638" y="1715937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TextBox 8"/>
          <p:cNvSpPr txBox="1"/>
          <p:nvPr/>
        </p:nvSpPr>
        <p:spPr>
          <a:xfrm>
            <a:off x="2508549" y="1763402"/>
            <a:ext cx="4947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2.3M</a:t>
            </a:r>
          </a:p>
        </p:txBody>
      </p:sp>
      <p:sp>
        <p:nvSpPr>
          <p:cNvPr id="10" name="Freeform 9"/>
          <p:cNvSpPr/>
          <p:nvPr/>
        </p:nvSpPr>
        <p:spPr>
          <a:xfrm>
            <a:off x="4790286" y="1901546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1" name="TextBox 10"/>
          <p:cNvSpPr txBox="1"/>
          <p:nvPr/>
        </p:nvSpPr>
        <p:spPr>
          <a:xfrm>
            <a:off x="4837197" y="1949011"/>
            <a:ext cx="4947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4.6M</a:t>
            </a:r>
          </a:p>
        </p:txBody>
      </p:sp>
      <p:sp>
        <p:nvSpPr>
          <p:cNvPr id="12" name="Freeform 11"/>
          <p:cNvSpPr/>
          <p:nvPr/>
        </p:nvSpPr>
        <p:spPr>
          <a:xfrm>
            <a:off x="6295221" y="1715937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3" name="TextBox 12"/>
          <p:cNvSpPr txBox="1"/>
          <p:nvPr/>
        </p:nvSpPr>
        <p:spPr>
          <a:xfrm>
            <a:off x="6342132" y="1763402"/>
            <a:ext cx="4947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4.2M</a:t>
            </a:r>
          </a:p>
        </p:txBody>
      </p:sp>
      <p:sp>
        <p:nvSpPr>
          <p:cNvPr id="14" name="Freeform 13"/>
          <p:cNvSpPr/>
          <p:nvPr/>
        </p:nvSpPr>
        <p:spPr>
          <a:xfrm>
            <a:off x="7818742" y="2066276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5" name="TextBox 14"/>
          <p:cNvSpPr txBox="1"/>
          <p:nvPr/>
        </p:nvSpPr>
        <p:spPr>
          <a:xfrm>
            <a:off x="7865653" y="2113741"/>
            <a:ext cx="4947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67.3M</a:t>
            </a:r>
          </a:p>
        </p:txBody>
      </p:sp>
    </p:spTree>
    <p:extLst>
      <p:ext uri="{BB962C8B-B14F-4D97-AF65-F5344CB8AC3E}">
        <p14:creationId xmlns:p14="http://schemas.microsoft.com/office/powerpoint/2010/main" val="406669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RÁFICOS </a:t>
            </a:r>
            <a:r>
              <a:rPr lang="en-US" dirty="0" err="1">
                <a:solidFill>
                  <a:srgbClr val="EC0000"/>
                </a:solidFill>
              </a:rPr>
              <a:t>comparativ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135489031"/>
              </p:ext>
            </p:extLst>
          </p:nvPr>
        </p:nvGraphicFramePr>
        <p:xfrm>
          <a:off x="986267" y="1692418"/>
          <a:ext cx="2532793" cy="1774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Freeform 8"/>
          <p:cNvSpPr/>
          <p:nvPr/>
        </p:nvSpPr>
        <p:spPr>
          <a:xfrm>
            <a:off x="2201256" y="1606239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TextBox 9"/>
          <p:cNvSpPr txBox="1"/>
          <p:nvPr/>
        </p:nvSpPr>
        <p:spPr>
          <a:xfrm>
            <a:off x="2248167" y="1642553"/>
            <a:ext cx="4947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2.3M</a:t>
            </a: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593373150"/>
              </p:ext>
            </p:extLst>
          </p:nvPr>
        </p:nvGraphicFramePr>
        <p:xfrm>
          <a:off x="5624942" y="1692418"/>
          <a:ext cx="2532793" cy="1774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Freeform 14"/>
          <p:cNvSpPr/>
          <p:nvPr/>
        </p:nvSpPr>
        <p:spPr>
          <a:xfrm>
            <a:off x="7169798" y="1549427"/>
            <a:ext cx="588529" cy="317225"/>
          </a:xfrm>
          <a:custGeom>
            <a:avLst/>
            <a:gdLst>
              <a:gd name="connsiteX0" fmla="*/ 216611 w 2205566"/>
              <a:gd name="connsiteY0" fmla="*/ 0 h 1188834"/>
              <a:gd name="connsiteX1" fmla="*/ 1988955 w 2205566"/>
              <a:gd name="connsiteY1" fmla="*/ 0 h 1188834"/>
              <a:gd name="connsiteX2" fmla="*/ 2205566 w 2205566"/>
              <a:gd name="connsiteY2" fmla="*/ 216611 h 1188834"/>
              <a:gd name="connsiteX3" fmla="*/ 2205566 w 2205566"/>
              <a:gd name="connsiteY3" fmla="*/ 651223 h 1188834"/>
              <a:gd name="connsiteX4" fmla="*/ 1988955 w 2205566"/>
              <a:gd name="connsiteY4" fmla="*/ 867834 h 1188834"/>
              <a:gd name="connsiteX5" fmla="*/ 1288964 w 2205566"/>
              <a:gd name="connsiteY5" fmla="*/ 867834 h 1188834"/>
              <a:gd name="connsiteX6" fmla="*/ 1102783 w 2205566"/>
              <a:gd name="connsiteY6" fmla="*/ 1188834 h 1188834"/>
              <a:gd name="connsiteX7" fmla="*/ 916603 w 2205566"/>
              <a:gd name="connsiteY7" fmla="*/ 867834 h 1188834"/>
              <a:gd name="connsiteX8" fmla="*/ 216611 w 2205566"/>
              <a:gd name="connsiteY8" fmla="*/ 867834 h 1188834"/>
              <a:gd name="connsiteX9" fmla="*/ 0 w 2205566"/>
              <a:gd name="connsiteY9" fmla="*/ 651223 h 1188834"/>
              <a:gd name="connsiteX10" fmla="*/ 0 w 2205566"/>
              <a:gd name="connsiteY10" fmla="*/ 216611 h 1188834"/>
              <a:gd name="connsiteX11" fmla="*/ 216611 w 2205566"/>
              <a:gd name="connsiteY11" fmla="*/ 0 h 118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05566" h="1188834">
                <a:moveTo>
                  <a:pt x="216611" y="0"/>
                </a:moveTo>
                <a:lnTo>
                  <a:pt x="1988955" y="0"/>
                </a:lnTo>
                <a:cubicBezTo>
                  <a:pt x="2108586" y="0"/>
                  <a:pt x="2205566" y="96980"/>
                  <a:pt x="2205566" y="216611"/>
                </a:cubicBezTo>
                <a:lnTo>
                  <a:pt x="2205566" y="651223"/>
                </a:lnTo>
                <a:cubicBezTo>
                  <a:pt x="2205566" y="770854"/>
                  <a:pt x="2108586" y="867834"/>
                  <a:pt x="1988955" y="867834"/>
                </a:cubicBezTo>
                <a:lnTo>
                  <a:pt x="1288964" y="867834"/>
                </a:lnTo>
                <a:lnTo>
                  <a:pt x="1102783" y="1188834"/>
                </a:lnTo>
                <a:lnTo>
                  <a:pt x="916603" y="867834"/>
                </a:lnTo>
                <a:lnTo>
                  <a:pt x="216611" y="867834"/>
                </a:lnTo>
                <a:cubicBezTo>
                  <a:pt x="96980" y="867834"/>
                  <a:pt x="0" y="770854"/>
                  <a:pt x="0" y="651223"/>
                </a:cubicBezTo>
                <a:lnTo>
                  <a:pt x="0" y="216611"/>
                </a:lnTo>
                <a:cubicBezTo>
                  <a:pt x="0" y="96980"/>
                  <a:pt x="96980" y="0"/>
                  <a:pt x="21661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TextBox 15"/>
          <p:cNvSpPr txBox="1"/>
          <p:nvPr/>
        </p:nvSpPr>
        <p:spPr>
          <a:xfrm>
            <a:off x="7216709" y="1585741"/>
            <a:ext cx="49470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74.8M</a:t>
            </a:r>
          </a:p>
        </p:txBody>
      </p:sp>
      <p:cxnSp>
        <p:nvCxnSpPr>
          <p:cNvPr id="23" name="Straight Connector 22"/>
          <p:cNvCxnSpPr/>
          <p:nvPr/>
        </p:nvCxnSpPr>
        <p:spPr>
          <a:xfrm>
            <a:off x="4572000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417344" y="3984308"/>
            <a:ext cx="2947988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r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ulputat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lore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ltric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no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qu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ti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rpis</a:t>
            </a:r>
            <a:endParaRPr lang="en-US" sz="80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17344" y="3776880"/>
            <a:ext cx="2947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PROJETO FASE 02</a:t>
            </a:r>
            <a:endParaRPr lang="en-US" sz="10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78669" y="3984308"/>
            <a:ext cx="2947988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r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ulputat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lore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ltric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no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qu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ti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rpis</a:t>
            </a:r>
            <a:endParaRPr lang="en-US" sz="80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78669" y="3776880"/>
            <a:ext cx="2947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PROJETO FASE 01</a:t>
            </a:r>
            <a:endParaRPr lang="en-US" sz="10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244428" y="2214804"/>
            <a:ext cx="655144" cy="65514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7" name="TextBox 26"/>
          <p:cNvSpPr txBox="1"/>
          <p:nvPr/>
        </p:nvSpPr>
        <p:spPr>
          <a:xfrm>
            <a:off x="4324647" y="2369252"/>
            <a:ext cx="494707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cap="all" spc="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417865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Comparação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dos </a:t>
            </a:r>
            <a:r>
              <a:rPr lang="en-US" dirty="0" err="1"/>
              <a:t>projeto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989809009"/>
              </p:ext>
            </p:extLst>
          </p:nvPr>
        </p:nvGraphicFramePr>
        <p:xfrm>
          <a:off x="628650" y="1427198"/>
          <a:ext cx="3248025" cy="196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572000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893129672"/>
              </p:ext>
            </p:extLst>
          </p:nvPr>
        </p:nvGraphicFramePr>
        <p:xfrm>
          <a:off x="5267325" y="1427198"/>
          <a:ext cx="3248025" cy="196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417344" y="3984308"/>
            <a:ext cx="2947988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r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ulputat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lore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ltric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no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qu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ti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rpis</a:t>
            </a:r>
            <a:endParaRPr lang="en-US" sz="80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4244428" y="2214804"/>
            <a:ext cx="655144" cy="655144"/>
          </a:xfrm>
          <a:prstGeom prst="ellipse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TextBox 13"/>
          <p:cNvSpPr txBox="1"/>
          <p:nvPr/>
        </p:nvSpPr>
        <p:spPr>
          <a:xfrm>
            <a:off x="4324647" y="2369252"/>
            <a:ext cx="494707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200" b="1" cap="all" spc="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417344" y="3776880"/>
            <a:ext cx="2947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PROJETO FASE 02</a:t>
            </a:r>
            <a:endParaRPr lang="en-US" sz="10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78669" y="3984308"/>
            <a:ext cx="2947988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r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ulputat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id lore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ltric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no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equ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ti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urpis</a:t>
            </a:r>
            <a:endParaRPr lang="en-US" sz="80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78669" y="3776880"/>
            <a:ext cx="294798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PROJETO FASE 01</a:t>
            </a:r>
            <a:endParaRPr lang="en-US" sz="10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864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593724" y="1144243"/>
            <a:ext cx="7953375" cy="19389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7800" b="1" kern="1200" cap="all" baseline="0">
                <a:solidFill>
                  <a:schemeClr val="accent1"/>
                </a:solidFill>
                <a:latin typeface="Lato" panose="020F0502020204030203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sz="4200" b="0" dirty="0">
                <a:solidFill>
                  <a:srgbClr val="EC0000"/>
                </a:solidFill>
                <a:latin typeface="Lato Black" panose="020F0A02020204030203" pitchFamily="34" charset="0"/>
              </a:rPr>
              <a:t>Vestibulum et </a:t>
            </a:r>
            <a:r>
              <a:rPr lang="en-US" sz="4200" b="0" dirty="0" err="1">
                <a:solidFill>
                  <a:srgbClr val="EC0000"/>
                </a:solidFill>
                <a:latin typeface="Lato Black" panose="020F0A02020204030203" pitchFamily="34" charset="0"/>
              </a:rPr>
              <a:t>consectetur</a:t>
            </a:r>
            <a:r>
              <a:rPr lang="en-US" sz="4200" b="0" dirty="0">
                <a:solidFill>
                  <a:srgbClr val="EC0000"/>
                </a:solidFill>
                <a:latin typeface="Lato Black" panose="020F0A02020204030203" pitchFamily="34" charset="0"/>
              </a:rPr>
              <a:t> </a:t>
            </a:r>
            <a:r>
              <a:rPr lang="en-US" sz="4200" b="0" dirty="0" err="1">
                <a:latin typeface="Lato Black" panose="020F0A02020204030203" pitchFamily="34" charset="0"/>
              </a:rPr>
              <a:t>sapien</a:t>
            </a:r>
            <a:r>
              <a:rPr lang="en-US" sz="4200" b="0" dirty="0">
                <a:latin typeface="Lato Black" panose="020F0A02020204030203" pitchFamily="34" charset="0"/>
              </a:rPr>
              <a:t>. </a:t>
            </a:r>
            <a:r>
              <a:rPr lang="en-US" sz="4200" b="0" dirty="0" err="1">
                <a:latin typeface="Lato Black" panose="020F0A02020204030203" pitchFamily="34" charset="0"/>
              </a:rPr>
              <a:t>Proin</a:t>
            </a:r>
            <a:r>
              <a:rPr lang="en-US" sz="4200" b="0" dirty="0">
                <a:latin typeface="Lato Black" panose="020F0A02020204030203" pitchFamily="34" charset="0"/>
              </a:rPr>
              <a:t> sit </a:t>
            </a:r>
            <a:r>
              <a:rPr lang="en-US" sz="4200" b="0" dirty="0" err="1">
                <a:latin typeface="Lato Black" panose="020F0A02020204030203" pitchFamily="34" charset="0"/>
              </a:rPr>
              <a:t>amet</a:t>
            </a:r>
            <a:r>
              <a:rPr lang="en-US" sz="4200" b="0" dirty="0">
                <a:latin typeface="Lato Black" panose="020F0A02020204030203" pitchFamily="34" charset="0"/>
              </a:rPr>
              <a:t> </a:t>
            </a:r>
            <a:r>
              <a:rPr lang="en-US" sz="4200" b="0" dirty="0" err="1">
                <a:latin typeface="Lato Black" panose="020F0A02020204030203" pitchFamily="34" charset="0"/>
              </a:rPr>
              <a:t>justo</a:t>
            </a:r>
            <a:r>
              <a:rPr lang="en-US" sz="4200" b="0" dirty="0">
                <a:latin typeface="Lato Black" panose="020F0A02020204030203" pitchFamily="34" charset="0"/>
              </a:rPr>
              <a:t> ac </a:t>
            </a:r>
            <a:r>
              <a:rPr lang="en-US" sz="4200" b="0" dirty="0" err="1">
                <a:latin typeface="Lato Black" panose="020F0A02020204030203" pitchFamily="34" charset="0"/>
              </a:rPr>
              <a:t>mauris</a:t>
            </a:r>
            <a:r>
              <a:rPr lang="en-US" sz="4200" b="0" dirty="0">
                <a:latin typeface="Lato Black" panose="020F0A02020204030203" pitchFamily="34" charset="0"/>
              </a:rPr>
              <a:t> porta.</a:t>
            </a:r>
            <a:endParaRPr lang="en-US" sz="4200" b="0" dirty="0">
              <a:solidFill>
                <a:schemeClr val="accent2"/>
              </a:solidFill>
              <a:latin typeface="Lato Black" panose="020F0A02020204030203" pitchFamily="34" charset="0"/>
            </a:endParaRPr>
          </a:p>
        </p:txBody>
      </p:sp>
      <p:sp>
        <p:nvSpPr>
          <p:cNvPr id="5" name="Freeform 5"/>
          <p:cNvSpPr>
            <a:spLocks noEditPoints="1"/>
          </p:cNvSpPr>
          <p:nvPr/>
        </p:nvSpPr>
        <p:spPr bwMode="auto">
          <a:xfrm>
            <a:off x="5903357" y="3083235"/>
            <a:ext cx="450596" cy="399400"/>
          </a:xfrm>
          <a:custGeom>
            <a:avLst/>
            <a:gdLst>
              <a:gd name="T0" fmla="*/ 1526 w 1526"/>
              <a:gd name="T1" fmla="*/ 453 h 1352"/>
              <a:gd name="T2" fmla="*/ 1236 w 1526"/>
              <a:gd name="T3" fmla="*/ 1209 h 1352"/>
              <a:gd name="T4" fmla="*/ 1051 w 1526"/>
              <a:gd name="T5" fmla="*/ 1352 h 1352"/>
              <a:gd name="T6" fmla="*/ 964 w 1526"/>
              <a:gd name="T7" fmla="*/ 1260 h 1352"/>
              <a:gd name="T8" fmla="*/ 1014 w 1526"/>
              <a:gd name="T9" fmla="*/ 1158 h 1352"/>
              <a:gd name="T10" fmla="*/ 1176 w 1526"/>
              <a:gd name="T11" fmla="*/ 891 h 1352"/>
              <a:gd name="T12" fmla="*/ 1250 w 1526"/>
              <a:gd name="T13" fmla="*/ 665 h 1352"/>
              <a:gd name="T14" fmla="*/ 1167 w 1526"/>
              <a:gd name="T15" fmla="*/ 586 h 1352"/>
              <a:gd name="T16" fmla="*/ 1074 w 1526"/>
              <a:gd name="T17" fmla="*/ 586 h 1352"/>
              <a:gd name="T18" fmla="*/ 906 w 1526"/>
              <a:gd name="T19" fmla="*/ 500 h 1352"/>
              <a:gd name="T20" fmla="*/ 834 w 1526"/>
              <a:gd name="T21" fmla="*/ 307 h 1352"/>
              <a:gd name="T22" fmla="*/ 927 w 1526"/>
              <a:gd name="T23" fmla="*/ 89 h 1352"/>
              <a:gd name="T24" fmla="*/ 1157 w 1526"/>
              <a:gd name="T25" fmla="*/ 0 h 1352"/>
              <a:gd name="T26" fmla="*/ 1423 w 1526"/>
              <a:gd name="T27" fmla="*/ 127 h 1352"/>
              <a:gd name="T28" fmla="*/ 1526 w 1526"/>
              <a:gd name="T29" fmla="*/ 453 h 1352"/>
              <a:gd name="T30" fmla="*/ 322 w 1526"/>
              <a:gd name="T31" fmla="*/ 0 h 1352"/>
              <a:gd name="T32" fmla="*/ 92 w 1526"/>
              <a:gd name="T33" fmla="*/ 89 h 1352"/>
              <a:gd name="T34" fmla="*/ 0 w 1526"/>
              <a:gd name="T35" fmla="*/ 307 h 1352"/>
              <a:gd name="T36" fmla="*/ 71 w 1526"/>
              <a:gd name="T37" fmla="*/ 500 h 1352"/>
              <a:gd name="T38" fmla="*/ 235 w 1526"/>
              <a:gd name="T39" fmla="*/ 586 h 1352"/>
              <a:gd name="T40" fmla="*/ 327 w 1526"/>
              <a:gd name="T41" fmla="*/ 586 h 1352"/>
              <a:gd name="T42" fmla="*/ 415 w 1526"/>
              <a:gd name="T43" fmla="*/ 665 h 1352"/>
              <a:gd name="T44" fmla="*/ 341 w 1526"/>
              <a:gd name="T45" fmla="*/ 891 h 1352"/>
              <a:gd name="T46" fmla="*/ 175 w 1526"/>
              <a:gd name="T47" fmla="*/ 1158 h 1352"/>
              <a:gd name="T48" fmla="*/ 124 w 1526"/>
              <a:gd name="T49" fmla="*/ 1260 h 1352"/>
              <a:gd name="T50" fmla="*/ 216 w 1526"/>
              <a:gd name="T51" fmla="*/ 1352 h 1352"/>
              <a:gd name="T52" fmla="*/ 401 w 1526"/>
              <a:gd name="T53" fmla="*/ 1209 h 1352"/>
              <a:gd name="T54" fmla="*/ 687 w 1526"/>
              <a:gd name="T55" fmla="*/ 453 h 1352"/>
              <a:gd name="T56" fmla="*/ 583 w 1526"/>
              <a:gd name="T57" fmla="*/ 127 h 1352"/>
              <a:gd name="T58" fmla="*/ 322 w 1526"/>
              <a:gd name="T59" fmla="*/ 0 h 1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26" h="1352">
                <a:moveTo>
                  <a:pt x="1526" y="453"/>
                </a:moveTo>
                <a:cubicBezTo>
                  <a:pt x="1526" y="702"/>
                  <a:pt x="1429" y="954"/>
                  <a:pt x="1236" y="1209"/>
                </a:cubicBezTo>
                <a:cubicBezTo>
                  <a:pt x="1162" y="1304"/>
                  <a:pt x="1100" y="1352"/>
                  <a:pt x="1051" y="1352"/>
                </a:cubicBezTo>
                <a:cubicBezTo>
                  <a:pt x="993" y="1352"/>
                  <a:pt x="964" y="1321"/>
                  <a:pt x="964" y="1260"/>
                </a:cubicBezTo>
                <a:cubicBezTo>
                  <a:pt x="964" y="1235"/>
                  <a:pt x="980" y="1201"/>
                  <a:pt x="1014" y="1158"/>
                </a:cubicBezTo>
                <a:cubicBezTo>
                  <a:pt x="1073" y="1081"/>
                  <a:pt x="1127" y="992"/>
                  <a:pt x="1176" y="891"/>
                </a:cubicBezTo>
                <a:cubicBezTo>
                  <a:pt x="1225" y="789"/>
                  <a:pt x="1250" y="714"/>
                  <a:pt x="1250" y="665"/>
                </a:cubicBezTo>
                <a:cubicBezTo>
                  <a:pt x="1250" y="616"/>
                  <a:pt x="1222" y="589"/>
                  <a:pt x="1167" y="586"/>
                </a:cubicBezTo>
                <a:cubicBezTo>
                  <a:pt x="1074" y="586"/>
                  <a:pt x="1074" y="586"/>
                  <a:pt x="1074" y="586"/>
                </a:cubicBezTo>
                <a:cubicBezTo>
                  <a:pt x="1010" y="583"/>
                  <a:pt x="954" y="554"/>
                  <a:pt x="906" y="500"/>
                </a:cubicBezTo>
                <a:cubicBezTo>
                  <a:pt x="858" y="446"/>
                  <a:pt x="834" y="382"/>
                  <a:pt x="834" y="307"/>
                </a:cubicBezTo>
                <a:cubicBezTo>
                  <a:pt x="834" y="221"/>
                  <a:pt x="865" y="148"/>
                  <a:pt x="927" y="89"/>
                </a:cubicBezTo>
                <a:cubicBezTo>
                  <a:pt x="988" y="30"/>
                  <a:pt x="1065" y="0"/>
                  <a:pt x="1157" y="0"/>
                </a:cubicBezTo>
                <a:cubicBezTo>
                  <a:pt x="1265" y="0"/>
                  <a:pt x="1353" y="43"/>
                  <a:pt x="1423" y="127"/>
                </a:cubicBezTo>
                <a:cubicBezTo>
                  <a:pt x="1492" y="212"/>
                  <a:pt x="1526" y="320"/>
                  <a:pt x="1526" y="453"/>
                </a:cubicBezTo>
                <a:close/>
                <a:moveTo>
                  <a:pt x="322" y="0"/>
                </a:moveTo>
                <a:cubicBezTo>
                  <a:pt x="230" y="0"/>
                  <a:pt x="153" y="30"/>
                  <a:pt x="92" y="89"/>
                </a:cubicBezTo>
                <a:cubicBezTo>
                  <a:pt x="30" y="148"/>
                  <a:pt x="0" y="221"/>
                  <a:pt x="0" y="307"/>
                </a:cubicBezTo>
                <a:cubicBezTo>
                  <a:pt x="0" y="382"/>
                  <a:pt x="23" y="446"/>
                  <a:pt x="71" y="500"/>
                </a:cubicBezTo>
                <a:cubicBezTo>
                  <a:pt x="119" y="554"/>
                  <a:pt x="173" y="583"/>
                  <a:pt x="235" y="586"/>
                </a:cubicBezTo>
                <a:cubicBezTo>
                  <a:pt x="327" y="586"/>
                  <a:pt x="327" y="586"/>
                  <a:pt x="327" y="586"/>
                </a:cubicBezTo>
                <a:cubicBezTo>
                  <a:pt x="385" y="589"/>
                  <a:pt x="415" y="616"/>
                  <a:pt x="415" y="665"/>
                </a:cubicBezTo>
                <a:cubicBezTo>
                  <a:pt x="415" y="714"/>
                  <a:pt x="390" y="789"/>
                  <a:pt x="341" y="891"/>
                </a:cubicBezTo>
                <a:cubicBezTo>
                  <a:pt x="292" y="992"/>
                  <a:pt x="236" y="1081"/>
                  <a:pt x="175" y="1158"/>
                </a:cubicBezTo>
                <a:cubicBezTo>
                  <a:pt x="141" y="1201"/>
                  <a:pt x="124" y="1235"/>
                  <a:pt x="124" y="1260"/>
                </a:cubicBezTo>
                <a:cubicBezTo>
                  <a:pt x="124" y="1321"/>
                  <a:pt x="155" y="1352"/>
                  <a:pt x="216" y="1352"/>
                </a:cubicBezTo>
                <a:cubicBezTo>
                  <a:pt x="269" y="1352"/>
                  <a:pt x="330" y="1304"/>
                  <a:pt x="401" y="1209"/>
                </a:cubicBezTo>
                <a:cubicBezTo>
                  <a:pt x="592" y="957"/>
                  <a:pt x="687" y="705"/>
                  <a:pt x="687" y="453"/>
                </a:cubicBezTo>
                <a:cubicBezTo>
                  <a:pt x="687" y="320"/>
                  <a:pt x="652" y="212"/>
                  <a:pt x="583" y="127"/>
                </a:cubicBezTo>
                <a:cubicBezTo>
                  <a:pt x="514" y="43"/>
                  <a:pt x="427" y="0"/>
                  <a:pt x="32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6"/>
          <p:cNvSpPr>
            <a:spLocks noEditPoints="1"/>
          </p:cNvSpPr>
          <p:nvPr/>
        </p:nvSpPr>
        <p:spPr bwMode="auto">
          <a:xfrm>
            <a:off x="593726" y="655183"/>
            <a:ext cx="450986" cy="399009"/>
          </a:xfrm>
          <a:custGeom>
            <a:avLst/>
            <a:gdLst>
              <a:gd name="T0" fmla="*/ 1527 w 1527"/>
              <a:gd name="T1" fmla="*/ 1044 h 1351"/>
              <a:gd name="T2" fmla="*/ 1435 w 1527"/>
              <a:gd name="T3" fmla="*/ 1263 h 1351"/>
              <a:gd name="T4" fmla="*/ 1204 w 1527"/>
              <a:gd name="T5" fmla="*/ 1351 h 1351"/>
              <a:gd name="T6" fmla="*/ 944 w 1527"/>
              <a:gd name="T7" fmla="*/ 1224 h 1351"/>
              <a:gd name="T8" fmla="*/ 840 w 1527"/>
              <a:gd name="T9" fmla="*/ 899 h 1351"/>
              <a:gd name="T10" fmla="*/ 1126 w 1527"/>
              <a:gd name="T11" fmla="*/ 143 h 1351"/>
              <a:gd name="T12" fmla="*/ 1310 w 1527"/>
              <a:gd name="T13" fmla="*/ 0 h 1351"/>
              <a:gd name="T14" fmla="*/ 1402 w 1527"/>
              <a:gd name="T15" fmla="*/ 92 h 1351"/>
              <a:gd name="T16" fmla="*/ 1352 w 1527"/>
              <a:gd name="T17" fmla="*/ 193 h 1351"/>
              <a:gd name="T18" fmla="*/ 1186 w 1527"/>
              <a:gd name="T19" fmla="*/ 461 h 1351"/>
              <a:gd name="T20" fmla="*/ 1112 w 1527"/>
              <a:gd name="T21" fmla="*/ 687 h 1351"/>
              <a:gd name="T22" fmla="*/ 1200 w 1527"/>
              <a:gd name="T23" fmla="*/ 765 h 1351"/>
              <a:gd name="T24" fmla="*/ 1292 w 1527"/>
              <a:gd name="T25" fmla="*/ 765 h 1351"/>
              <a:gd name="T26" fmla="*/ 1456 w 1527"/>
              <a:gd name="T27" fmla="*/ 851 h 1351"/>
              <a:gd name="T28" fmla="*/ 1527 w 1527"/>
              <a:gd name="T29" fmla="*/ 1044 h 1351"/>
              <a:gd name="T30" fmla="*/ 452 w 1527"/>
              <a:gd name="T31" fmla="*/ 765 h 1351"/>
              <a:gd name="T32" fmla="*/ 360 w 1527"/>
              <a:gd name="T33" fmla="*/ 765 h 1351"/>
              <a:gd name="T34" fmla="*/ 277 w 1527"/>
              <a:gd name="T35" fmla="*/ 687 h 1351"/>
              <a:gd name="T36" fmla="*/ 351 w 1527"/>
              <a:gd name="T37" fmla="*/ 461 h 1351"/>
              <a:gd name="T38" fmla="*/ 512 w 1527"/>
              <a:gd name="T39" fmla="*/ 193 h 1351"/>
              <a:gd name="T40" fmla="*/ 563 w 1527"/>
              <a:gd name="T41" fmla="*/ 92 h 1351"/>
              <a:gd name="T42" fmla="*/ 475 w 1527"/>
              <a:gd name="T43" fmla="*/ 0 h 1351"/>
              <a:gd name="T44" fmla="*/ 291 w 1527"/>
              <a:gd name="T45" fmla="*/ 143 h 1351"/>
              <a:gd name="T46" fmla="*/ 0 w 1527"/>
              <a:gd name="T47" fmla="*/ 899 h 1351"/>
              <a:gd name="T48" fmla="*/ 104 w 1527"/>
              <a:gd name="T49" fmla="*/ 1224 h 1351"/>
              <a:gd name="T50" fmla="*/ 369 w 1527"/>
              <a:gd name="T51" fmla="*/ 1351 h 1351"/>
              <a:gd name="T52" fmla="*/ 600 w 1527"/>
              <a:gd name="T53" fmla="*/ 1263 h 1351"/>
              <a:gd name="T54" fmla="*/ 692 w 1527"/>
              <a:gd name="T55" fmla="*/ 1044 h 1351"/>
              <a:gd name="T56" fmla="*/ 621 w 1527"/>
              <a:gd name="T57" fmla="*/ 851 h 1351"/>
              <a:gd name="T58" fmla="*/ 452 w 1527"/>
              <a:gd name="T59" fmla="*/ 765 h 1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527" h="1351">
                <a:moveTo>
                  <a:pt x="1527" y="1044"/>
                </a:moveTo>
                <a:cubicBezTo>
                  <a:pt x="1527" y="1131"/>
                  <a:pt x="1496" y="1204"/>
                  <a:pt x="1435" y="1263"/>
                </a:cubicBezTo>
                <a:cubicBezTo>
                  <a:pt x="1373" y="1322"/>
                  <a:pt x="1296" y="1351"/>
                  <a:pt x="1204" y="1351"/>
                </a:cubicBezTo>
                <a:cubicBezTo>
                  <a:pt x="1100" y="1351"/>
                  <a:pt x="1013" y="1309"/>
                  <a:pt x="944" y="1224"/>
                </a:cubicBezTo>
                <a:cubicBezTo>
                  <a:pt x="874" y="1140"/>
                  <a:pt x="840" y="1031"/>
                  <a:pt x="840" y="899"/>
                </a:cubicBezTo>
                <a:cubicBezTo>
                  <a:pt x="840" y="647"/>
                  <a:pt x="935" y="395"/>
                  <a:pt x="1126" y="143"/>
                </a:cubicBezTo>
                <a:cubicBezTo>
                  <a:pt x="1196" y="47"/>
                  <a:pt x="1258" y="0"/>
                  <a:pt x="1310" y="0"/>
                </a:cubicBezTo>
                <a:cubicBezTo>
                  <a:pt x="1372" y="0"/>
                  <a:pt x="1402" y="30"/>
                  <a:pt x="1402" y="92"/>
                </a:cubicBezTo>
                <a:cubicBezTo>
                  <a:pt x="1402" y="117"/>
                  <a:pt x="1386" y="150"/>
                  <a:pt x="1352" y="193"/>
                </a:cubicBezTo>
                <a:cubicBezTo>
                  <a:pt x="1290" y="270"/>
                  <a:pt x="1235" y="360"/>
                  <a:pt x="1186" y="461"/>
                </a:cubicBezTo>
                <a:cubicBezTo>
                  <a:pt x="1137" y="563"/>
                  <a:pt x="1112" y="638"/>
                  <a:pt x="1112" y="687"/>
                </a:cubicBezTo>
                <a:cubicBezTo>
                  <a:pt x="1112" y="736"/>
                  <a:pt x="1141" y="762"/>
                  <a:pt x="1200" y="765"/>
                </a:cubicBezTo>
                <a:cubicBezTo>
                  <a:pt x="1292" y="765"/>
                  <a:pt x="1292" y="765"/>
                  <a:pt x="1292" y="765"/>
                </a:cubicBezTo>
                <a:cubicBezTo>
                  <a:pt x="1353" y="769"/>
                  <a:pt x="1408" y="797"/>
                  <a:pt x="1456" y="851"/>
                </a:cubicBezTo>
                <a:cubicBezTo>
                  <a:pt x="1503" y="906"/>
                  <a:pt x="1527" y="970"/>
                  <a:pt x="1527" y="1044"/>
                </a:cubicBezTo>
                <a:close/>
                <a:moveTo>
                  <a:pt x="452" y="765"/>
                </a:moveTo>
                <a:cubicBezTo>
                  <a:pt x="360" y="765"/>
                  <a:pt x="360" y="765"/>
                  <a:pt x="360" y="765"/>
                </a:cubicBezTo>
                <a:cubicBezTo>
                  <a:pt x="305" y="762"/>
                  <a:pt x="277" y="736"/>
                  <a:pt x="277" y="687"/>
                </a:cubicBezTo>
                <a:cubicBezTo>
                  <a:pt x="277" y="638"/>
                  <a:pt x="302" y="563"/>
                  <a:pt x="351" y="461"/>
                </a:cubicBezTo>
                <a:cubicBezTo>
                  <a:pt x="400" y="360"/>
                  <a:pt x="454" y="270"/>
                  <a:pt x="512" y="193"/>
                </a:cubicBezTo>
                <a:cubicBezTo>
                  <a:pt x="546" y="150"/>
                  <a:pt x="563" y="117"/>
                  <a:pt x="563" y="92"/>
                </a:cubicBezTo>
                <a:cubicBezTo>
                  <a:pt x="563" y="30"/>
                  <a:pt x="534" y="0"/>
                  <a:pt x="475" y="0"/>
                </a:cubicBezTo>
                <a:cubicBezTo>
                  <a:pt x="426" y="0"/>
                  <a:pt x="365" y="47"/>
                  <a:pt x="291" y="143"/>
                </a:cubicBezTo>
                <a:cubicBezTo>
                  <a:pt x="97" y="398"/>
                  <a:pt x="0" y="650"/>
                  <a:pt x="0" y="899"/>
                </a:cubicBezTo>
                <a:cubicBezTo>
                  <a:pt x="0" y="1031"/>
                  <a:pt x="35" y="1140"/>
                  <a:pt x="104" y="1224"/>
                </a:cubicBezTo>
                <a:cubicBezTo>
                  <a:pt x="173" y="1309"/>
                  <a:pt x="262" y="1351"/>
                  <a:pt x="369" y="1351"/>
                </a:cubicBezTo>
                <a:cubicBezTo>
                  <a:pt x="462" y="1351"/>
                  <a:pt x="538" y="1322"/>
                  <a:pt x="600" y="1263"/>
                </a:cubicBezTo>
                <a:cubicBezTo>
                  <a:pt x="661" y="1204"/>
                  <a:pt x="692" y="1131"/>
                  <a:pt x="692" y="1044"/>
                </a:cubicBezTo>
                <a:cubicBezTo>
                  <a:pt x="692" y="970"/>
                  <a:pt x="668" y="906"/>
                  <a:pt x="621" y="851"/>
                </a:cubicBezTo>
                <a:cubicBezTo>
                  <a:pt x="573" y="797"/>
                  <a:pt x="517" y="769"/>
                  <a:pt x="452" y="765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TextBox 9"/>
          <p:cNvSpPr txBox="1"/>
          <p:nvPr/>
        </p:nvSpPr>
        <p:spPr>
          <a:xfrm>
            <a:off x="6715126" y="4035384"/>
            <a:ext cx="1436382" cy="1508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TOR</a:t>
            </a:r>
            <a:endParaRPr lang="en-US" sz="900" b="1" spc="20" dirty="0">
              <a:solidFill>
                <a:schemeClr val="accent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6715125" y="3958859"/>
            <a:ext cx="498699" cy="0"/>
          </a:xfrm>
          <a:prstGeom prst="line">
            <a:avLst/>
          </a:prstGeom>
          <a:ln w="1905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21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Gráfico</a:t>
            </a:r>
            <a:r>
              <a:rPr lang="en-US" dirty="0"/>
              <a:t> de </a:t>
            </a:r>
            <a:r>
              <a:rPr lang="en-US" dirty="0">
                <a:solidFill>
                  <a:srgbClr val="EC0000"/>
                </a:solidFill>
              </a:rPr>
              <a:t>dad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1193471" y="1537949"/>
            <a:ext cx="5725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42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819570" y="1537949"/>
            <a:ext cx="5725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79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445668" y="1537949"/>
            <a:ext cx="5725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47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071767" y="1537949"/>
            <a:ext cx="5725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93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697867" y="1537949"/>
            <a:ext cx="57251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54%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93471" y="4138517"/>
            <a:ext cx="572514" cy="1477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b="1" cap="all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4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819570" y="4138517"/>
            <a:ext cx="572514" cy="1477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b="1" cap="all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45668" y="4138517"/>
            <a:ext cx="572514" cy="1477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b="1" cap="all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6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071767" y="4138517"/>
            <a:ext cx="572514" cy="1477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b="1" cap="all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7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697867" y="4138517"/>
            <a:ext cx="572514" cy="14773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b="1" cap="all" dirty="0">
                <a:solidFill>
                  <a:schemeClr val="accent4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8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691745" y="1772487"/>
            <a:ext cx="3681288" cy="2289567"/>
            <a:chOff x="691745" y="1772487"/>
            <a:chExt cx="3681288" cy="2289567"/>
          </a:xfrm>
        </p:grpSpPr>
        <p:grpSp>
          <p:nvGrpSpPr>
            <p:cNvPr id="4" name="Group 3"/>
            <p:cNvGrpSpPr/>
            <p:nvPr/>
          </p:nvGrpSpPr>
          <p:grpSpPr>
            <a:xfrm>
              <a:off x="1057369" y="1822708"/>
              <a:ext cx="3314810" cy="2084759"/>
              <a:chOff x="2931747" y="4703236"/>
              <a:chExt cx="11206283" cy="6067177"/>
            </a:xfrm>
          </p:grpSpPr>
          <p:cxnSp>
            <p:nvCxnSpPr>
              <p:cNvPr id="5" name="Straight Connector 4"/>
              <p:cNvCxnSpPr/>
              <p:nvPr/>
            </p:nvCxnSpPr>
            <p:spPr>
              <a:xfrm>
                <a:off x="2931747" y="4703236"/>
                <a:ext cx="11206283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Straight Connector 5"/>
              <p:cNvCxnSpPr/>
              <p:nvPr/>
            </p:nvCxnSpPr>
            <p:spPr>
              <a:xfrm>
                <a:off x="2931747" y="6220030"/>
                <a:ext cx="11206283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" name="Straight Connector 6"/>
              <p:cNvCxnSpPr/>
              <p:nvPr/>
            </p:nvCxnSpPr>
            <p:spPr>
              <a:xfrm>
                <a:off x="2931747" y="7736824"/>
                <a:ext cx="11206283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7"/>
              <p:cNvCxnSpPr/>
              <p:nvPr/>
            </p:nvCxnSpPr>
            <p:spPr>
              <a:xfrm>
                <a:off x="2931747" y="9253618"/>
                <a:ext cx="11206283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/>
              <p:cNvCxnSpPr/>
              <p:nvPr/>
            </p:nvCxnSpPr>
            <p:spPr>
              <a:xfrm>
                <a:off x="2955925" y="10770413"/>
                <a:ext cx="11182105" cy="0"/>
              </a:xfrm>
              <a:prstGeom prst="line">
                <a:avLst/>
              </a:prstGeom>
              <a:ln w="63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Rounded Rectangle 9"/>
            <p:cNvSpPr/>
            <p:nvPr/>
          </p:nvSpPr>
          <p:spPr>
            <a:xfrm rot="5400000">
              <a:off x="430847" y="2795457"/>
              <a:ext cx="2097764" cy="14221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1" name="Rounded Rectangle 10"/>
            <p:cNvSpPr/>
            <p:nvPr/>
          </p:nvSpPr>
          <p:spPr>
            <a:xfrm rot="5400000">
              <a:off x="1056946" y="2795457"/>
              <a:ext cx="2097764" cy="14221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2" name="Rounded Rectangle 11"/>
            <p:cNvSpPr/>
            <p:nvPr/>
          </p:nvSpPr>
          <p:spPr>
            <a:xfrm rot="5400000">
              <a:off x="1683044" y="2795457"/>
              <a:ext cx="2097764" cy="14221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Rounded Rectangle 12"/>
            <p:cNvSpPr/>
            <p:nvPr/>
          </p:nvSpPr>
          <p:spPr>
            <a:xfrm rot="5400000">
              <a:off x="2309143" y="2795457"/>
              <a:ext cx="2097764" cy="14221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4" name="Rounded Rectangle 13"/>
            <p:cNvSpPr/>
            <p:nvPr/>
          </p:nvSpPr>
          <p:spPr>
            <a:xfrm rot="5400000">
              <a:off x="2935242" y="2795457"/>
              <a:ext cx="2097764" cy="142211"/>
            </a:xfrm>
            <a:prstGeom prst="roundRect">
              <a:avLst>
                <a:gd name="adj" fmla="val 5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9" name="Freeform 5"/>
            <p:cNvSpPr>
              <a:spLocks/>
            </p:cNvSpPr>
            <p:nvPr/>
          </p:nvSpPr>
          <p:spPr bwMode="auto">
            <a:xfrm>
              <a:off x="1057368" y="1817680"/>
              <a:ext cx="3315665" cy="2244374"/>
            </a:xfrm>
            <a:custGeom>
              <a:avLst/>
              <a:gdLst>
                <a:gd name="T0" fmla="*/ 0 w 1733"/>
                <a:gd name="T1" fmla="*/ 0 h 1015"/>
                <a:gd name="T2" fmla="*/ 0 w 1733"/>
                <a:gd name="T3" fmla="*/ 916 h 1015"/>
                <a:gd name="T4" fmla="*/ 99 w 1733"/>
                <a:gd name="T5" fmla="*/ 1015 h 1015"/>
                <a:gd name="T6" fmla="*/ 1733 w 1733"/>
                <a:gd name="T7" fmla="*/ 1015 h 1015"/>
                <a:gd name="connsiteX0" fmla="*/ 0 w 9164"/>
                <a:gd name="connsiteY0" fmla="*/ 0 h 10000"/>
                <a:gd name="connsiteX1" fmla="*/ 0 w 9164"/>
                <a:gd name="connsiteY1" fmla="*/ 9025 h 10000"/>
                <a:gd name="connsiteX2" fmla="*/ 571 w 9164"/>
                <a:gd name="connsiteY2" fmla="*/ 10000 h 10000"/>
                <a:gd name="connsiteX3" fmla="*/ 9164 w 9164"/>
                <a:gd name="connsiteY3" fmla="*/ 9998 h 10000"/>
                <a:gd name="connsiteX0" fmla="*/ 0 w 9454"/>
                <a:gd name="connsiteY0" fmla="*/ 0 h 10000"/>
                <a:gd name="connsiteX1" fmla="*/ 0 w 9454"/>
                <a:gd name="connsiteY1" fmla="*/ 9025 h 10000"/>
                <a:gd name="connsiteX2" fmla="*/ 623 w 9454"/>
                <a:gd name="connsiteY2" fmla="*/ 10000 h 10000"/>
                <a:gd name="connsiteX3" fmla="*/ 9454 w 9454"/>
                <a:gd name="connsiteY3" fmla="*/ 999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54" h="10000">
                  <a:moveTo>
                    <a:pt x="0" y="0"/>
                  </a:moveTo>
                  <a:lnTo>
                    <a:pt x="0" y="9025"/>
                  </a:lnTo>
                  <a:cubicBezTo>
                    <a:pt x="0" y="9567"/>
                    <a:pt x="284" y="10000"/>
                    <a:pt x="623" y="10000"/>
                  </a:cubicBezTo>
                  <a:lnTo>
                    <a:pt x="9454" y="9998"/>
                  </a:lnTo>
                </a:path>
              </a:pathLst>
            </a:custGeom>
            <a:noFill/>
            <a:ln w="12700" cap="flat">
              <a:solidFill>
                <a:schemeClr val="accent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91745" y="1772487"/>
              <a:ext cx="251559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100%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91745" y="2277326"/>
              <a:ext cx="251559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75%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91745" y="2782166"/>
              <a:ext cx="251559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50%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91745" y="3287006"/>
              <a:ext cx="251559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25%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91745" y="3791846"/>
              <a:ext cx="251559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%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333956" y="2827403"/>
            <a:ext cx="2203619" cy="468665"/>
            <a:chOff x="5962480" y="2827403"/>
            <a:chExt cx="2203619" cy="468665"/>
          </a:xfrm>
        </p:grpSpPr>
        <p:sp>
          <p:nvSpPr>
            <p:cNvPr id="59" name="TextBox 58"/>
            <p:cNvSpPr txBox="1"/>
            <p:nvPr/>
          </p:nvSpPr>
          <p:spPr>
            <a:xfrm>
              <a:off x="5962509" y="2827403"/>
              <a:ext cx="220352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OV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962480" y="3011759"/>
              <a:ext cx="22036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, lacinia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333956" y="3680809"/>
            <a:ext cx="2203619" cy="467447"/>
            <a:chOff x="5962480" y="3680809"/>
            <a:chExt cx="2203619" cy="467447"/>
          </a:xfrm>
        </p:grpSpPr>
        <p:sp>
          <p:nvSpPr>
            <p:cNvPr id="61" name="TextBox 60"/>
            <p:cNvSpPr txBox="1"/>
            <p:nvPr/>
          </p:nvSpPr>
          <p:spPr>
            <a:xfrm>
              <a:off x="5962509" y="3680809"/>
              <a:ext cx="220352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QUALIDAD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962480" y="3865165"/>
              <a:ext cx="2203619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utr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usc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psum, lacinia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</a:t>
              </a: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702215" y="1520936"/>
            <a:ext cx="3022685" cy="878224"/>
            <a:chOff x="5702215" y="1520936"/>
            <a:chExt cx="3022685" cy="878224"/>
          </a:xfrm>
        </p:grpSpPr>
        <p:sp>
          <p:nvSpPr>
            <p:cNvPr id="63" name="TextBox 62"/>
            <p:cNvSpPr txBox="1"/>
            <p:nvPr/>
          </p:nvSpPr>
          <p:spPr>
            <a:xfrm>
              <a:off x="5702215" y="1758985"/>
              <a:ext cx="2835361" cy="6401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urp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el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ibero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in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 diam vitae.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5702215" y="1520936"/>
              <a:ext cx="302268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cap="all" spc="20" dirty="0">
                  <a:solidFill>
                    <a:srgbClr val="EC0000"/>
                  </a:solidFill>
                  <a:latin typeface="Lato Black" panose="020F0A02020204030203" pitchFamily="34" charset="0"/>
                </a:rPr>
                <a:t>Taxa de </a:t>
              </a:r>
              <a:r>
                <a:rPr lang="en-US" sz="1200" cap="all" spc="20" dirty="0" err="1">
                  <a:solidFill>
                    <a:srgbClr val="EC0000"/>
                  </a:solidFill>
                  <a:latin typeface="Lato Black" panose="020F0A02020204030203" pitchFamily="34" charset="0"/>
                </a:rPr>
                <a:t>satisfação</a:t>
              </a:r>
              <a:r>
                <a:rPr lang="en-US" sz="1200" cap="all" spc="20" dirty="0">
                  <a:solidFill>
                    <a:srgbClr val="EC0000"/>
                  </a:solidFill>
                  <a:latin typeface="Lato Black" panose="020F0A02020204030203" pitchFamily="34" charset="0"/>
                </a:rPr>
                <a:t> do </a:t>
              </a:r>
              <a:r>
                <a:rPr lang="en-US" sz="1200" cap="all" spc="20" dirty="0" err="1">
                  <a:solidFill>
                    <a:srgbClr val="EC0000"/>
                  </a:solidFill>
                  <a:latin typeface="Lato Black" panose="020F0A02020204030203" pitchFamily="34" charset="0"/>
                </a:rPr>
                <a:t>consumidor</a:t>
              </a:r>
              <a:endParaRPr lang="en-US" sz="1200" cap="all" spc="20" dirty="0">
                <a:solidFill>
                  <a:srgbClr val="EC0000"/>
                </a:solidFill>
                <a:latin typeface="Lato Black" panose="020F0A02020204030203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5685367" y="2841690"/>
            <a:ext cx="475461" cy="475461"/>
            <a:chOff x="5313891" y="2841690"/>
            <a:chExt cx="475461" cy="475461"/>
          </a:xfrm>
        </p:grpSpPr>
        <p:sp>
          <p:nvSpPr>
            <p:cNvPr id="72" name="Oval 71"/>
            <p:cNvSpPr/>
            <p:nvPr/>
          </p:nvSpPr>
          <p:spPr>
            <a:xfrm>
              <a:off x="5313891" y="2841690"/>
              <a:ext cx="475461" cy="47546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5359865" y="2987087"/>
              <a:ext cx="38351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58%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5685367" y="3695096"/>
            <a:ext cx="475461" cy="475461"/>
            <a:chOff x="5313891" y="3695096"/>
            <a:chExt cx="475461" cy="475461"/>
          </a:xfrm>
          <a:solidFill>
            <a:srgbClr val="EC1C24"/>
          </a:solidFill>
        </p:grpSpPr>
        <p:sp>
          <p:nvSpPr>
            <p:cNvPr id="66" name="Oval 65"/>
            <p:cNvSpPr/>
            <p:nvPr/>
          </p:nvSpPr>
          <p:spPr>
            <a:xfrm>
              <a:off x="5313891" y="3695096"/>
              <a:ext cx="475461" cy="47546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5359865" y="3834697"/>
              <a:ext cx="383512" cy="184666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42%</a:t>
              </a:r>
            </a:p>
          </p:txBody>
        </p:sp>
      </p:grpSp>
      <p:sp>
        <p:nvSpPr>
          <p:cNvPr id="52" name="Rounded Rectangle 51"/>
          <p:cNvSpPr/>
          <p:nvPr/>
        </p:nvSpPr>
        <p:spPr>
          <a:xfrm rot="5400000">
            <a:off x="1037732" y="3402341"/>
            <a:ext cx="883994" cy="142211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3" name="Oval 52"/>
          <p:cNvSpPr/>
          <p:nvPr/>
        </p:nvSpPr>
        <p:spPr>
          <a:xfrm>
            <a:off x="1358521" y="3782049"/>
            <a:ext cx="242414" cy="242414"/>
          </a:xfrm>
          <a:prstGeom prst="ellips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4" name="Rounded Rectangle 53"/>
          <p:cNvSpPr/>
          <p:nvPr/>
        </p:nvSpPr>
        <p:spPr>
          <a:xfrm rot="5400000">
            <a:off x="1203627" y="2942139"/>
            <a:ext cx="1804399" cy="142211"/>
          </a:xfrm>
          <a:prstGeom prst="roundRect">
            <a:avLst>
              <a:gd name="adj" fmla="val 50000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5" name="Oval 54"/>
          <p:cNvSpPr/>
          <p:nvPr/>
        </p:nvSpPr>
        <p:spPr>
          <a:xfrm>
            <a:off x="1984620" y="3782049"/>
            <a:ext cx="242414" cy="242414"/>
          </a:xfrm>
          <a:prstGeom prst="ellipse">
            <a:avLst/>
          </a:prstGeom>
          <a:solidFill>
            <a:srgbClr val="EC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6" name="Rounded Rectangle 55"/>
          <p:cNvSpPr/>
          <p:nvPr/>
        </p:nvSpPr>
        <p:spPr>
          <a:xfrm rot="5400000">
            <a:off x="2255413" y="3367827"/>
            <a:ext cx="953025" cy="14221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7" name="Oval 56"/>
          <p:cNvSpPr/>
          <p:nvPr/>
        </p:nvSpPr>
        <p:spPr>
          <a:xfrm>
            <a:off x="2610719" y="3782049"/>
            <a:ext cx="242414" cy="242414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8" name="Rounded Rectangle 57"/>
          <p:cNvSpPr/>
          <p:nvPr/>
        </p:nvSpPr>
        <p:spPr>
          <a:xfrm rot="5400000">
            <a:off x="2398299" y="2884614"/>
            <a:ext cx="1919450" cy="142211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5" name="Oval 64"/>
          <p:cNvSpPr/>
          <p:nvPr/>
        </p:nvSpPr>
        <p:spPr>
          <a:xfrm>
            <a:off x="3236817" y="3782049"/>
            <a:ext cx="242414" cy="2424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7" name="Rounded Rectangle 66"/>
          <p:cNvSpPr/>
          <p:nvPr/>
        </p:nvSpPr>
        <p:spPr>
          <a:xfrm rot="5400000">
            <a:off x="3382771" y="3242986"/>
            <a:ext cx="1202704" cy="14221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8" name="Oval 67"/>
          <p:cNvSpPr/>
          <p:nvPr/>
        </p:nvSpPr>
        <p:spPr>
          <a:xfrm>
            <a:off x="3862916" y="3782049"/>
            <a:ext cx="242414" cy="242414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403070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elatóri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receita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53" name="Group 52"/>
          <p:cNvGrpSpPr/>
          <p:nvPr/>
        </p:nvGrpSpPr>
        <p:grpSpPr>
          <a:xfrm>
            <a:off x="593725" y="1543050"/>
            <a:ext cx="445949" cy="2753033"/>
            <a:chOff x="593725" y="1543050"/>
            <a:chExt cx="445949" cy="2753033"/>
          </a:xfrm>
        </p:grpSpPr>
        <p:grpSp>
          <p:nvGrpSpPr>
            <p:cNvPr id="162" name="Group 161"/>
            <p:cNvGrpSpPr/>
            <p:nvPr/>
          </p:nvGrpSpPr>
          <p:grpSpPr>
            <a:xfrm>
              <a:off x="596066" y="1828691"/>
              <a:ext cx="441269" cy="2252741"/>
              <a:chOff x="595995" y="1903214"/>
              <a:chExt cx="427941" cy="2184701"/>
            </a:xfrm>
          </p:grpSpPr>
          <p:sp>
            <p:nvSpPr>
              <p:cNvPr id="8" name="Rounded Rectangle 7"/>
              <p:cNvSpPr/>
              <p:nvPr/>
            </p:nvSpPr>
            <p:spPr>
              <a:xfrm>
                <a:off x="595995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" name="Rounded Rectangle 8"/>
              <p:cNvSpPr/>
              <p:nvPr/>
            </p:nvSpPr>
            <p:spPr>
              <a:xfrm>
                <a:off x="595995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" name="Rounded Rectangle 9"/>
              <p:cNvSpPr/>
              <p:nvPr/>
            </p:nvSpPr>
            <p:spPr>
              <a:xfrm>
                <a:off x="595995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" name="Rounded Rectangle 10"/>
              <p:cNvSpPr/>
              <p:nvPr/>
            </p:nvSpPr>
            <p:spPr>
              <a:xfrm>
                <a:off x="595995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595995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" name="Rounded Rectangle 12"/>
              <p:cNvSpPr/>
              <p:nvPr/>
            </p:nvSpPr>
            <p:spPr>
              <a:xfrm>
                <a:off x="595995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" name="Rounded Rectangle 13"/>
              <p:cNvSpPr/>
              <p:nvPr/>
            </p:nvSpPr>
            <p:spPr>
              <a:xfrm>
                <a:off x="595995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5" name="Rounded Rectangle 14"/>
              <p:cNvSpPr/>
              <p:nvPr/>
            </p:nvSpPr>
            <p:spPr>
              <a:xfrm>
                <a:off x="595995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6" name="Rounded Rectangle 15"/>
              <p:cNvSpPr/>
              <p:nvPr/>
            </p:nvSpPr>
            <p:spPr>
              <a:xfrm>
                <a:off x="595995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7" name="Rounded Rectangle 16"/>
              <p:cNvSpPr/>
              <p:nvPr/>
            </p:nvSpPr>
            <p:spPr>
              <a:xfrm>
                <a:off x="595995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8" name="Rounded Rectangle 17"/>
              <p:cNvSpPr/>
              <p:nvPr/>
            </p:nvSpPr>
            <p:spPr>
              <a:xfrm>
                <a:off x="595995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9" name="Rounded Rectangle 18"/>
              <p:cNvSpPr/>
              <p:nvPr/>
            </p:nvSpPr>
            <p:spPr>
              <a:xfrm>
                <a:off x="595995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0" name="Rounded Rectangle 19"/>
              <p:cNvSpPr/>
              <p:nvPr/>
            </p:nvSpPr>
            <p:spPr>
              <a:xfrm>
                <a:off x="595995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1" name="Rounded Rectangle 20"/>
              <p:cNvSpPr/>
              <p:nvPr/>
            </p:nvSpPr>
            <p:spPr>
              <a:xfrm>
                <a:off x="595995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595995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3" name="Rounded Rectangle 22"/>
              <p:cNvSpPr/>
              <p:nvPr/>
            </p:nvSpPr>
            <p:spPr>
              <a:xfrm>
                <a:off x="595995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4" name="Rounded Rectangle 23"/>
              <p:cNvSpPr/>
              <p:nvPr/>
            </p:nvSpPr>
            <p:spPr>
              <a:xfrm>
                <a:off x="595995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5" name="Rounded Rectangle 24"/>
              <p:cNvSpPr/>
              <p:nvPr/>
            </p:nvSpPr>
            <p:spPr>
              <a:xfrm>
                <a:off x="595995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6" name="Rounded Rectangle 25"/>
              <p:cNvSpPr/>
              <p:nvPr/>
            </p:nvSpPr>
            <p:spPr>
              <a:xfrm>
                <a:off x="595995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7" name="Rounded Rectangle 26"/>
              <p:cNvSpPr/>
              <p:nvPr/>
            </p:nvSpPr>
            <p:spPr>
              <a:xfrm>
                <a:off x="595995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593725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40%</a:t>
              </a:r>
            </a:p>
          </p:txBody>
        </p:sp>
        <p:sp>
          <p:nvSpPr>
            <p:cNvPr id="7" name="Title 2"/>
            <p:cNvSpPr txBox="1">
              <a:spLocks/>
            </p:cNvSpPr>
            <p:nvPr/>
          </p:nvSpPr>
          <p:spPr>
            <a:xfrm>
              <a:off x="602065" y="4165171"/>
              <a:ext cx="429269" cy="13091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>
                  <a:solidFill>
                    <a:schemeClr val="accent4"/>
                  </a:solidFill>
                  <a:latin typeface="Lato" panose="020F0502020204030203" pitchFamily="34" charset="0"/>
                </a:rPr>
                <a:t>Jan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1266015" y="1543050"/>
            <a:ext cx="445949" cy="2745232"/>
            <a:chOff x="1334267" y="1543050"/>
            <a:chExt cx="445949" cy="2745232"/>
          </a:xfrm>
        </p:grpSpPr>
        <p:grpSp>
          <p:nvGrpSpPr>
            <p:cNvPr id="163" name="Group 162"/>
            <p:cNvGrpSpPr/>
            <p:nvPr/>
          </p:nvGrpSpPr>
          <p:grpSpPr>
            <a:xfrm>
              <a:off x="1336607" y="1828691"/>
              <a:ext cx="441269" cy="2252741"/>
              <a:chOff x="1273913" y="1903214"/>
              <a:chExt cx="427941" cy="2184701"/>
            </a:xfrm>
          </p:grpSpPr>
          <p:sp>
            <p:nvSpPr>
              <p:cNvPr id="32" name="Rounded Rectangle 31"/>
              <p:cNvSpPr/>
              <p:nvPr/>
            </p:nvSpPr>
            <p:spPr>
              <a:xfrm>
                <a:off x="1273913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3" name="Rounded Rectangle 32"/>
              <p:cNvSpPr/>
              <p:nvPr/>
            </p:nvSpPr>
            <p:spPr>
              <a:xfrm>
                <a:off x="1273913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4" name="Rounded Rectangle 33"/>
              <p:cNvSpPr/>
              <p:nvPr/>
            </p:nvSpPr>
            <p:spPr>
              <a:xfrm>
                <a:off x="1273913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5" name="Rounded Rectangle 34"/>
              <p:cNvSpPr/>
              <p:nvPr/>
            </p:nvSpPr>
            <p:spPr>
              <a:xfrm>
                <a:off x="1273913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1273913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1273913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8" name="Rounded Rectangle 37"/>
              <p:cNvSpPr/>
              <p:nvPr/>
            </p:nvSpPr>
            <p:spPr>
              <a:xfrm>
                <a:off x="1273913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9" name="Rounded Rectangle 38"/>
              <p:cNvSpPr/>
              <p:nvPr/>
            </p:nvSpPr>
            <p:spPr>
              <a:xfrm>
                <a:off x="1273913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0" name="Rounded Rectangle 39"/>
              <p:cNvSpPr/>
              <p:nvPr/>
            </p:nvSpPr>
            <p:spPr>
              <a:xfrm>
                <a:off x="1273913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1" name="Rounded Rectangle 40"/>
              <p:cNvSpPr/>
              <p:nvPr/>
            </p:nvSpPr>
            <p:spPr>
              <a:xfrm>
                <a:off x="1273913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2" name="Rounded Rectangle 41"/>
              <p:cNvSpPr/>
              <p:nvPr/>
            </p:nvSpPr>
            <p:spPr>
              <a:xfrm>
                <a:off x="1273913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3" name="Rounded Rectangle 42"/>
              <p:cNvSpPr/>
              <p:nvPr/>
            </p:nvSpPr>
            <p:spPr>
              <a:xfrm>
                <a:off x="1273913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4" name="Rounded Rectangle 43"/>
              <p:cNvSpPr/>
              <p:nvPr/>
            </p:nvSpPr>
            <p:spPr>
              <a:xfrm>
                <a:off x="1273913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5" name="Rounded Rectangle 44"/>
              <p:cNvSpPr/>
              <p:nvPr/>
            </p:nvSpPr>
            <p:spPr>
              <a:xfrm>
                <a:off x="1273913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1273913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7" name="Rounded Rectangle 46"/>
              <p:cNvSpPr/>
              <p:nvPr/>
            </p:nvSpPr>
            <p:spPr>
              <a:xfrm>
                <a:off x="1273913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8" name="Rounded Rectangle 47"/>
              <p:cNvSpPr/>
              <p:nvPr/>
            </p:nvSpPr>
            <p:spPr>
              <a:xfrm>
                <a:off x="1273913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9" name="Rounded Rectangle 48"/>
              <p:cNvSpPr/>
              <p:nvPr/>
            </p:nvSpPr>
            <p:spPr>
              <a:xfrm>
                <a:off x="1273913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0" name="Rounded Rectangle 49"/>
              <p:cNvSpPr/>
              <p:nvPr/>
            </p:nvSpPr>
            <p:spPr>
              <a:xfrm>
                <a:off x="1273913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1" name="Rounded Rectangle 50"/>
              <p:cNvSpPr/>
              <p:nvPr/>
            </p:nvSpPr>
            <p:spPr>
              <a:xfrm>
                <a:off x="1273913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30" name="TextBox 29"/>
            <p:cNvSpPr txBox="1"/>
            <p:nvPr/>
          </p:nvSpPr>
          <p:spPr>
            <a:xfrm>
              <a:off x="1334267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5%</a:t>
              </a:r>
            </a:p>
          </p:txBody>
        </p:sp>
        <p:sp>
          <p:nvSpPr>
            <p:cNvPr id="31" name="Title 2"/>
            <p:cNvSpPr txBox="1">
              <a:spLocks/>
            </p:cNvSpPr>
            <p:nvPr/>
          </p:nvSpPr>
          <p:spPr>
            <a:xfrm>
              <a:off x="1342607" y="4165171"/>
              <a:ext cx="429269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>
                  <a:solidFill>
                    <a:schemeClr val="accent4"/>
                  </a:solidFill>
                  <a:latin typeface="Lato" panose="020F0502020204030203" pitchFamily="34" charset="0"/>
                </a:rPr>
                <a:t>FEV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2610595" y="1543050"/>
            <a:ext cx="445949" cy="2745232"/>
            <a:chOff x="2815351" y="1543050"/>
            <a:chExt cx="445949" cy="2745232"/>
          </a:xfrm>
        </p:grpSpPr>
        <p:grpSp>
          <p:nvGrpSpPr>
            <p:cNvPr id="165" name="Group 164"/>
            <p:cNvGrpSpPr/>
            <p:nvPr/>
          </p:nvGrpSpPr>
          <p:grpSpPr>
            <a:xfrm>
              <a:off x="2817692" y="1828691"/>
              <a:ext cx="441269" cy="2252741"/>
              <a:chOff x="2629751" y="1903214"/>
              <a:chExt cx="427941" cy="2184701"/>
            </a:xfrm>
          </p:grpSpPr>
          <p:sp>
            <p:nvSpPr>
              <p:cNvPr id="56" name="Rounded Rectangle 55"/>
              <p:cNvSpPr/>
              <p:nvPr/>
            </p:nvSpPr>
            <p:spPr>
              <a:xfrm>
                <a:off x="2629751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2629751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8" name="Rounded Rectangle 57"/>
              <p:cNvSpPr/>
              <p:nvPr/>
            </p:nvSpPr>
            <p:spPr>
              <a:xfrm>
                <a:off x="2629751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9" name="Rounded Rectangle 58"/>
              <p:cNvSpPr/>
              <p:nvPr/>
            </p:nvSpPr>
            <p:spPr>
              <a:xfrm>
                <a:off x="2629751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0" name="Rounded Rectangle 59"/>
              <p:cNvSpPr/>
              <p:nvPr/>
            </p:nvSpPr>
            <p:spPr>
              <a:xfrm>
                <a:off x="2629751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1" name="Rounded Rectangle 60"/>
              <p:cNvSpPr/>
              <p:nvPr/>
            </p:nvSpPr>
            <p:spPr>
              <a:xfrm>
                <a:off x="2629751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2" name="Rounded Rectangle 61"/>
              <p:cNvSpPr/>
              <p:nvPr/>
            </p:nvSpPr>
            <p:spPr>
              <a:xfrm>
                <a:off x="2629751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3" name="Rounded Rectangle 62"/>
              <p:cNvSpPr/>
              <p:nvPr/>
            </p:nvSpPr>
            <p:spPr>
              <a:xfrm>
                <a:off x="2629751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4" name="Rounded Rectangle 63"/>
              <p:cNvSpPr/>
              <p:nvPr/>
            </p:nvSpPr>
            <p:spPr>
              <a:xfrm>
                <a:off x="2629751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5" name="Rounded Rectangle 64"/>
              <p:cNvSpPr/>
              <p:nvPr/>
            </p:nvSpPr>
            <p:spPr>
              <a:xfrm>
                <a:off x="2629751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6" name="Rounded Rectangle 65"/>
              <p:cNvSpPr/>
              <p:nvPr/>
            </p:nvSpPr>
            <p:spPr>
              <a:xfrm>
                <a:off x="2629751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7" name="Rounded Rectangle 66"/>
              <p:cNvSpPr/>
              <p:nvPr/>
            </p:nvSpPr>
            <p:spPr>
              <a:xfrm>
                <a:off x="2629751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8" name="Rounded Rectangle 67"/>
              <p:cNvSpPr/>
              <p:nvPr/>
            </p:nvSpPr>
            <p:spPr>
              <a:xfrm>
                <a:off x="2629751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69" name="Rounded Rectangle 68"/>
              <p:cNvSpPr/>
              <p:nvPr/>
            </p:nvSpPr>
            <p:spPr>
              <a:xfrm>
                <a:off x="2629751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0" name="Rounded Rectangle 69"/>
              <p:cNvSpPr/>
              <p:nvPr/>
            </p:nvSpPr>
            <p:spPr>
              <a:xfrm>
                <a:off x="2629751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1" name="Rounded Rectangle 70"/>
              <p:cNvSpPr/>
              <p:nvPr/>
            </p:nvSpPr>
            <p:spPr>
              <a:xfrm>
                <a:off x="2629751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2" name="Rounded Rectangle 71"/>
              <p:cNvSpPr/>
              <p:nvPr/>
            </p:nvSpPr>
            <p:spPr>
              <a:xfrm>
                <a:off x="2629751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3" name="Rounded Rectangle 72"/>
              <p:cNvSpPr/>
              <p:nvPr/>
            </p:nvSpPr>
            <p:spPr>
              <a:xfrm>
                <a:off x="2629751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4" name="Rounded Rectangle 73"/>
              <p:cNvSpPr/>
              <p:nvPr/>
            </p:nvSpPr>
            <p:spPr>
              <a:xfrm>
                <a:off x="2629751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5" name="Rounded Rectangle 74"/>
              <p:cNvSpPr/>
              <p:nvPr/>
            </p:nvSpPr>
            <p:spPr>
              <a:xfrm>
                <a:off x="2629751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76" name="Rounded Rectangle 75"/>
              <p:cNvSpPr/>
              <p:nvPr/>
            </p:nvSpPr>
            <p:spPr>
              <a:xfrm>
                <a:off x="2629751" y="3128358"/>
                <a:ext cx="313682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54" name="TextBox 53"/>
            <p:cNvSpPr txBox="1"/>
            <p:nvPr/>
          </p:nvSpPr>
          <p:spPr>
            <a:xfrm>
              <a:off x="2815351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43%</a:t>
              </a:r>
            </a:p>
          </p:txBody>
        </p:sp>
        <p:sp>
          <p:nvSpPr>
            <p:cNvPr id="55" name="Title 2"/>
            <p:cNvSpPr txBox="1">
              <a:spLocks/>
            </p:cNvSpPr>
            <p:nvPr/>
          </p:nvSpPr>
          <p:spPr>
            <a:xfrm>
              <a:off x="2823691" y="4165171"/>
              <a:ext cx="429269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>
                  <a:solidFill>
                    <a:schemeClr val="accent4"/>
                  </a:solidFill>
                  <a:latin typeface="Lato" panose="020F0502020204030203" pitchFamily="34" charset="0"/>
                </a:rPr>
                <a:t>ABR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282885" y="1543050"/>
            <a:ext cx="445949" cy="2745232"/>
            <a:chOff x="3555893" y="1543050"/>
            <a:chExt cx="445949" cy="2745232"/>
          </a:xfrm>
        </p:grpSpPr>
        <p:grpSp>
          <p:nvGrpSpPr>
            <p:cNvPr id="166" name="Group 165"/>
            <p:cNvGrpSpPr/>
            <p:nvPr/>
          </p:nvGrpSpPr>
          <p:grpSpPr>
            <a:xfrm>
              <a:off x="3558234" y="1828691"/>
              <a:ext cx="441269" cy="2252741"/>
              <a:chOff x="3307669" y="1903214"/>
              <a:chExt cx="427941" cy="2184701"/>
            </a:xfrm>
          </p:grpSpPr>
          <p:sp>
            <p:nvSpPr>
              <p:cNvPr id="81" name="Rounded Rectangle 80"/>
              <p:cNvSpPr/>
              <p:nvPr/>
            </p:nvSpPr>
            <p:spPr>
              <a:xfrm>
                <a:off x="3307669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2" name="Rounded Rectangle 81"/>
              <p:cNvSpPr/>
              <p:nvPr/>
            </p:nvSpPr>
            <p:spPr>
              <a:xfrm>
                <a:off x="3307669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3" name="Rounded Rectangle 82"/>
              <p:cNvSpPr/>
              <p:nvPr/>
            </p:nvSpPr>
            <p:spPr>
              <a:xfrm>
                <a:off x="3307669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4" name="Rounded Rectangle 83"/>
              <p:cNvSpPr/>
              <p:nvPr/>
            </p:nvSpPr>
            <p:spPr>
              <a:xfrm>
                <a:off x="3307669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5" name="Rounded Rectangle 84"/>
              <p:cNvSpPr/>
              <p:nvPr/>
            </p:nvSpPr>
            <p:spPr>
              <a:xfrm>
                <a:off x="3307669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6" name="Rounded Rectangle 85"/>
              <p:cNvSpPr/>
              <p:nvPr/>
            </p:nvSpPr>
            <p:spPr>
              <a:xfrm>
                <a:off x="3307669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7" name="Rounded Rectangle 86"/>
              <p:cNvSpPr/>
              <p:nvPr/>
            </p:nvSpPr>
            <p:spPr>
              <a:xfrm>
                <a:off x="3307669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8" name="Rounded Rectangle 87"/>
              <p:cNvSpPr/>
              <p:nvPr/>
            </p:nvSpPr>
            <p:spPr>
              <a:xfrm>
                <a:off x="3307669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89" name="Rounded Rectangle 88"/>
              <p:cNvSpPr/>
              <p:nvPr/>
            </p:nvSpPr>
            <p:spPr>
              <a:xfrm>
                <a:off x="3307669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0" name="Rounded Rectangle 89"/>
              <p:cNvSpPr/>
              <p:nvPr/>
            </p:nvSpPr>
            <p:spPr>
              <a:xfrm>
                <a:off x="3307669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1" name="Rounded Rectangle 90"/>
              <p:cNvSpPr/>
              <p:nvPr/>
            </p:nvSpPr>
            <p:spPr>
              <a:xfrm>
                <a:off x="3307669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2" name="Rounded Rectangle 91"/>
              <p:cNvSpPr/>
              <p:nvPr/>
            </p:nvSpPr>
            <p:spPr>
              <a:xfrm>
                <a:off x="3307669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3" name="Rounded Rectangle 92"/>
              <p:cNvSpPr/>
              <p:nvPr/>
            </p:nvSpPr>
            <p:spPr>
              <a:xfrm>
                <a:off x="3307669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4" name="Rounded Rectangle 93"/>
              <p:cNvSpPr/>
              <p:nvPr/>
            </p:nvSpPr>
            <p:spPr>
              <a:xfrm>
                <a:off x="3307669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5" name="Rounded Rectangle 94"/>
              <p:cNvSpPr/>
              <p:nvPr/>
            </p:nvSpPr>
            <p:spPr>
              <a:xfrm>
                <a:off x="3307669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6" name="Rounded Rectangle 95"/>
              <p:cNvSpPr/>
              <p:nvPr/>
            </p:nvSpPr>
            <p:spPr>
              <a:xfrm>
                <a:off x="3307669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7" name="Rounded Rectangle 96"/>
              <p:cNvSpPr/>
              <p:nvPr/>
            </p:nvSpPr>
            <p:spPr>
              <a:xfrm>
                <a:off x="3307669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8" name="Rounded Rectangle 97"/>
              <p:cNvSpPr/>
              <p:nvPr/>
            </p:nvSpPr>
            <p:spPr>
              <a:xfrm>
                <a:off x="3307669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99" name="Rounded Rectangle 98"/>
              <p:cNvSpPr/>
              <p:nvPr/>
            </p:nvSpPr>
            <p:spPr>
              <a:xfrm>
                <a:off x="3307669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0" name="Rounded Rectangle 99"/>
              <p:cNvSpPr/>
              <p:nvPr/>
            </p:nvSpPr>
            <p:spPr>
              <a:xfrm>
                <a:off x="3307669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1" name="Rounded Rectangle 100"/>
              <p:cNvSpPr/>
              <p:nvPr/>
            </p:nvSpPr>
            <p:spPr>
              <a:xfrm>
                <a:off x="3307669" y="2237344"/>
                <a:ext cx="228584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3555893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83%</a:t>
              </a:r>
            </a:p>
          </p:txBody>
        </p:sp>
        <p:sp>
          <p:nvSpPr>
            <p:cNvPr id="80" name="Title 2"/>
            <p:cNvSpPr txBox="1">
              <a:spLocks/>
            </p:cNvSpPr>
            <p:nvPr/>
          </p:nvSpPr>
          <p:spPr>
            <a:xfrm>
              <a:off x="3564233" y="4165171"/>
              <a:ext cx="429269" cy="12311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i</a:t>
              </a:r>
              <a:endParaRPr lang="en-US" sz="800" cap="all" spc="2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955173" y="1543050"/>
            <a:ext cx="445949" cy="2753033"/>
            <a:chOff x="4296435" y="1543050"/>
            <a:chExt cx="445949" cy="2753033"/>
          </a:xfrm>
        </p:grpSpPr>
        <p:grpSp>
          <p:nvGrpSpPr>
            <p:cNvPr id="167" name="Group 166"/>
            <p:cNvGrpSpPr/>
            <p:nvPr/>
          </p:nvGrpSpPr>
          <p:grpSpPr>
            <a:xfrm>
              <a:off x="4298776" y="1828691"/>
              <a:ext cx="441269" cy="2252741"/>
              <a:chOff x="3985588" y="1903214"/>
              <a:chExt cx="427941" cy="2184701"/>
            </a:xfrm>
          </p:grpSpPr>
          <p:sp>
            <p:nvSpPr>
              <p:cNvPr id="106" name="Rounded Rectangle 105"/>
              <p:cNvSpPr/>
              <p:nvPr/>
            </p:nvSpPr>
            <p:spPr>
              <a:xfrm>
                <a:off x="3985588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7" name="Rounded Rectangle 106"/>
              <p:cNvSpPr/>
              <p:nvPr/>
            </p:nvSpPr>
            <p:spPr>
              <a:xfrm>
                <a:off x="3985588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8" name="Rounded Rectangle 107"/>
              <p:cNvSpPr/>
              <p:nvPr/>
            </p:nvSpPr>
            <p:spPr>
              <a:xfrm>
                <a:off x="3985588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9" name="Rounded Rectangle 108"/>
              <p:cNvSpPr/>
              <p:nvPr/>
            </p:nvSpPr>
            <p:spPr>
              <a:xfrm>
                <a:off x="3985588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0" name="Rounded Rectangle 109"/>
              <p:cNvSpPr/>
              <p:nvPr/>
            </p:nvSpPr>
            <p:spPr>
              <a:xfrm>
                <a:off x="3985588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1" name="Rounded Rectangle 110"/>
              <p:cNvSpPr/>
              <p:nvPr/>
            </p:nvSpPr>
            <p:spPr>
              <a:xfrm>
                <a:off x="3985588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2" name="Rounded Rectangle 111"/>
              <p:cNvSpPr/>
              <p:nvPr/>
            </p:nvSpPr>
            <p:spPr>
              <a:xfrm>
                <a:off x="3985588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3" name="Rounded Rectangle 112"/>
              <p:cNvSpPr/>
              <p:nvPr/>
            </p:nvSpPr>
            <p:spPr>
              <a:xfrm>
                <a:off x="3985588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4" name="Rounded Rectangle 113"/>
              <p:cNvSpPr/>
              <p:nvPr/>
            </p:nvSpPr>
            <p:spPr>
              <a:xfrm>
                <a:off x="3985588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5" name="Rounded Rectangle 114"/>
              <p:cNvSpPr/>
              <p:nvPr/>
            </p:nvSpPr>
            <p:spPr>
              <a:xfrm>
                <a:off x="3985588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6" name="Rounded Rectangle 115"/>
              <p:cNvSpPr/>
              <p:nvPr/>
            </p:nvSpPr>
            <p:spPr>
              <a:xfrm>
                <a:off x="3985588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7" name="Rounded Rectangle 116"/>
              <p:cNvSpPr/>
              <p:nvPr/>
            </p:nvSpPr>
            <p:spPr>
              <a:xfrm>
                <a:off x="3985588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8" name="Rounded Rectangle 117"/>
              <p:cNvSpPr/>
              <p:nvPr/>
            </p:nvSpPr>
            <p:spPr>
              <a:xfrm>
                <a:off x="3985588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9" name="Rounded Rectangle 118"/>
              <p:cNvSpPr/>
              <p:nvPr/>
            </p:nvSpPr>
            <p:spPr>
              <a:xfrm>
                <a:off x="3985588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0" name="Rounded Rectangle 119"/>
              <p:cNvSpPr/>
              <p:nvPr/>
            </p:nvSpPr>
            <p:spPr>
              <a:xfrm>
                <a:off x="3985588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1" name="Rounded Rectangle 120"/>
              <p:cNvSpPr/>
              <p:nvPr/>
            </p:nvSpPr>
            <p:spPr>
              <a:xfrm>
                <a:off x="3985588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2" name="Rounded Rectangle 121"/>
              <p:cNvSpPr/>
              <p:nvPr/>
            </p:nvSpPr>
            <p:spPr>
              <a:xfrm>
                <a:off x="3985588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3" name="Rounded Rectangle 122"/>
              <p:cNvSpPr/>
              <p:nvPr/>
            </p:nvSpPr>
            <p:spPr>
              <a:xfrm>
                <a:off x="3985588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4" name="Rounded Rectangle 123"/>
              <p:cNvSpPr/>
              <p:nvPr/>
            </p:nvSpPr>
            <p:spPr>
              <a:xfrm>
                <a:off x="3985588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5" name="Rounded Rectangle 124"/>
              <p:cNvSpPr/>
              <p:nvPr/>
            </p:nvSpPr>
            <p:spPr>
              <a:xfrm>
                <a:off x="3985588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6" name="Rounded Rectangle 125"/>
              <p:cNvSpPr/>
              <p:nvPr/>
            </p:nvSpPr>
            <p:spPr>
              <a:xfrm>
                <a:off x="3985588" y="2905605"/>
                <a:ext cx="336256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104" name="TextBox 103"/>
            <p:cNvSpPr txBox="1"/>
            <p:nvPr/>
          </p:nvSpPr>
          <p:spPr>
            <a:xfrm>
              <a:off x="4296435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54%</a:t>
              </a:r>
            </a:p>
          </p:txBody>
        </p:sp>
        <p:sp>
          <p:nvSpPr>
            <p:cNvPr id="105" name="Title 2"/>
            <p:cNvSpPr txBox="1">
              <a:spLocks/>
            </p:cNvSpPr>
            <p:nvPr/>
          </p:nvSpPr>
          <p:spPr>
            <a:xfrm>
              <a:off x="4304775" y="4165171"/>
              <a:ext cx="429269" cy="13091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>
                  <a:solidFill>
                    <a:schemeClr val="accent4"/>
                  </a:solidFill>
                  <a:latin typeface="Lato" panose="020F0502020204030203" pitchFamily="34" charset="0"/>
                </a:rPr>
                <a:t>Jun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938305" y="1543050"/>
            <a:ext cx="445949" cy="2753033"/>
            <a:chOff x="2074809" y="1543050"/>
            <a:chExt cx="445949" cy="2753033"/>
          </a:xfrm>
        </p:grpSpPr>
        <p:sp>
          <p:nvSpPr>
            <p:cNvPr id="128" name="TextBox 127"/>
            <p:cNvSpPr txBox="1"/>
            <p:nvPr/>
          </p:nvSpPr>
          <p:spPr>
            <a:xfrm>
              <a:off x="2074809" y="1543050"/>
              <a:ext cx="445949" cy="1904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62%</a:t>
              </a:r>
            </a:p>
          </p:txBody>
        </p:sp>
        <p:sp>
          <p:nvSpPr>
            <p:cNvPr id="129" name="Title 2"/>
            <p:cNvSpPr txBox="1">
              <a:spLocks/>
            </p:cNvSpPr>
            <p:nvPr/>
          </p:nvSpPr>
          <p:spPr>
            <a:xfrm>
              <a:off x="2083148" y="4165171"/>
              <a:ext cx="429269" cy="13091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800" cap="all" spc="2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r</a:t>
              </a:r>
            </a:p>
          </p:txBody>
        </p:sp>
        <p:grpSp>
          <p:nvGrpSpPr>
            <p:cNvPr id="164" name="Group 163"/>
            <p:cNvGrpSpPr/>
            <p:nvPr/>
          </p:nvGrpSpPr>
          <p:grpSpPr>
            <a:xfrm>
              <a:off x="2077149" y="1828691"/>
              <a:ext cx="441269" cy="2252741"/>
              <a:chOff x="1951832" y="1903214"/>
              <a:chExt cx="427941" cy="2184701"/>
            </a:xfrm>
          </p:grpSpPr>
          <p:sp>
            <p:nvSpPr>
              <p:cNvPr id="131" name="Rounded Rectangle 130"/>
              <p:cNvSpPr/>
              <p:nvPr/>
            </p:nvSpPr>
            <p:spPr>
              <a:xfrm>
                <a:off x="1951832" y="40193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2" name="Rounded Rectangle 131"/>
              <p:cNvSpPr/>
              <p:nvPr/>
            </p:nvSpPr>
            <p:spPr>
              <a:xfrm>
                <a:off x="1951832" y="390799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3" name="Rounded Rectangle 132"/>
              <p:cNvSpPr/>
              <p:nvPr/>
            </p:nvSpPr>
            <p:spPr>
              <a:xfrm>
                <a:off x="1951832" y="3796619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4" name="Rounded Rectangle 133"/>
              <p:cNvSpPr/>
              <p:nvPr/>
            </p:nvSpPr>
            <p:spPr>
              <a:xfrm>
                <a:off x="1951832" y="368524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5" name="Rounded Rectangle 134"/>
              <p:cNvSpPr/>
              <p:nvPr/>
            </p:nvSpPr>
            <p:spPr>
              <a:xfrm>
                <a:off x="1951832" y="357386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6" name="Rounded Rectangle 135"/>
              <p:cNvSpPr/>
              <p:nvPr/>
            </p:nvSpPr>
            <p:spPr>
              <a:xfrm>
                <a:off x="1951832" y="346248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7" name="Rounded Rectangle 136"/>
              <p:cNvSpPr/>
              <p:nvPr/>
            </p:nvSpPr>
            <p:spPr>
              <a:xfrm>
                <a:off x="1951832" y="3351112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8" name="Rounded Rectangle 137"/>
              <p:cNvSpPr/>
              <p:nvPr/>
            </p:nvSpPr>
            <p:spPr>
              <a:xfrm>
                <a:off x="1951832" y="323973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9" name="Rounded Rectangle 138"/>
              <p:cNvSpPr/>
              <p:nvPr/>
            </p:nvSpPr>
            <p:spPr>
              <a:xfrm>
                <a:off x="1951832" y="312835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0" name="Rounded Rectangle 139"/>
              <p:cNvSpPr/>
              <p:nvPr/>
            </p:nvSpPr>
            <p:spPr>
              <a:xfrm>
                <a:off x="1951832" y="301698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1" name="Rounded Rectangle 140"/>
              <p:cNvSpPr/>
              <p:nvPr/>
            </p:nvSpPr>
            <p:spPr>
              <a:xfrm>
                <a:off x="1951832" y="2905605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2" name="Rounded Rectangle 141"/>
              <p:cNvSpPr/>
              <p:nvPr/>
            </p:nvSpPr>
            <p:spPr>
              <a:xfrm>
                <a:off x="1951832" y="279422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3" name="Rounded Rectangle 142"/>
              <p:cNvSpPr/>
              <p:nvPr/>
            </p:nvSpPr>
            <p:spPr>
              <a:xfrm>
                <a:off x="1951832" y="268285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4" name="Rounded Rectangle 143"/>
              <p:cNvSpPr/>
              <p:nvPr/>
            </p:nvSpPr>
            <p:spPr>
              <a:xfrm>
                <a:off x="1951832" y="257147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5" name="Rounded Rectangle 144"/>
              <p:cNvSpPr/>
              <p:nvPr/>
            </p:nvSpPr>
            <p:spPr>
              <a:xfrm>
                <a:off x="1951832" y="2460098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6" name="Rounded Rectangle 145"/>
              <p:cNvSpPr/>
              <p:nvPr/>
            </p:nvSpPr>
            <p:spPr>
              <a:xfrm>
                <a:off x="1951832" y="234872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7" name="Rounded Rectangle 146"/>
              <p:cNvSpPr/>
              <p:nvPr/>
            </p:nvSpPr>
            <p:spPr>
              <a:xfrm>
                <a:off x="1951832" y="223734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8" name="Rounded Rectangle 147"/>
              <p:cNvSpPr/>
              <p:nvPr/>
            </p:nvSpPr>
            <p:spPr>
              <a:xfrm>
                <a:off x="1951832" y="2125967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9" name="Rounded Rectangle 148"/>
              <p:cNvSpPr/>
              <p:nvPr/>
            </p:nvSpPr>
            <p:spPr>
              <a:xfrm>
                <a:off x="1951832" y="2014591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50" name="Rounded Rectangle 149"/>
              <p:cNvSpPr/>
              <p:nvPr/>
            </p:nvSpPr>
            <p:spPr>
              <a:xfrm>
                <a:off x="1951832" y="1903214"/>
                <a:ext cx="427941" cy="68541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51" name="Rounded Rectangle 150"/>
              <p:cNvSpPr/>
              <p:nvPr/>
            </p:nvSpPr>
            <p:spPr>
              <a:xfrm>
                <a:off x="1951832" y="2682851"/>
                <a:ext cx="155482" cy="68541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</p:grpSp>
      <p:sp>
        <p:nvSpPr>
          <p:cNvPr id="152" name="TextBox 151"/>
          <p:cNvSpPr txBox="1"/>
          <p:nvPr/>
        </p:nvSpPr>
        <p:spPr>
          <a:xfrm>
            <a:off x="5995193" y="2014213"/>
            <a:ext cx="2551905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t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i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t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git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gravida libero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utr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eler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bero convallis.</a:t>
            </a:r>
          </a:p>
        </p:txBody>
      </p:sp>
      <p:grpSp>
        <p:nvGrpSpPr>
          <p:cNvPr id="77" name="Group 76"/>
          <p:cNvGrpSpPr/>
          <p:nvPr/>
        </p:nvGrpSpPr>
        <p:grpSpPr>
          <a:xfrm>
            <a:off x="5995194" y="1478882"/>
            <a:ext cx="2529580" cy="492443"/>
            <a:chOff x="5995194" y="1478882"/>
            <a:chExt cx="2529580" cy="492443"/>
          </a:xfrm>
        </p:grpSpPr>
        <p:sp>
          <p:nvSpPr>
            <p:cNvPr id="153" name="Title 2"/>
            <p:cNvSpPr txBox="1">
              <a:spLocks/>
            </p:cNvSpPr>
            <p:nvPr/>
          </p:nvSpPr>
          <p:spPr>
            <a:xfrm>
              <a:off x="6968116" y="1502634"/>
              <a:ext cx="1556658" cy="46166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rescimento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eita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no </a:t>
              </a:r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egundo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emestre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2018</a:t>
              </a:r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5995194" y="1478882"/>
              <a:ext cx="910431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54%</a:t>
              </a:r>
            </a:p>
          </p:txBody>
        </p:sp>
      </p:grpSp>
      <p:sp>
        <p:nvSpPr>
          <p:cNvPr id="155" name="Freeform 8"/>
          <p:cNvSpPr>
            <a:spLocks/>
          </p:cNvSpPr>
          <p:nvPr/>
        </p:nvSpPr>
        <p:spPr bwMode="auto">
          <a:xfrm>
            <a:off x="5705400" y="1577829"/>
            <a:ext cx="170518" cy="339801"/>
          </a:xfrm>
          <a:custGeom>
            <a:avLst/>
            <a:gdLst>
              <a:gd name="T0" fmla="*/ 174 w 177"/>
              <a:gd name="T1" fmla="*/ 83 h 353"/>
              <a:gd name="T2" fmla="*/ 94 w 177"/>
              <a:gd name="T3" fmla="*/ 2 h 353"/>
              <a:gd name="T4" fmla="*/ 89 w 177"/>
              <a:gd name="T5" fmla="*/ 0 h 353"/>
              <a:gd name="T6" fmla="*/ 83 w 177"/>
              <a:gd name="T7" fmla="*/ 2 h 353"/>
              <a:gd name="T8" fmla="*/ 3 w 177"/>
              <a:gd name="T9" fmla="*/ 83 h 353"/>
              <a:gd name="T10" fmla="*/ 0 w 177"/>
              <a:gd name="T11" fmla="*/ 88 h 353"/>
              <a:gd name="T12" fmla="*/ 8 w 177"/>
              <a:gd name="T13" fmla="*/ 96 h 353"/>
              <a:gd name="T14" fmla="*/ 14 w 177"/>
              <a:gd name="T15" fmla="*/ 94 h 353"/>
              <a:gd name="T16" fmla="*/ 80 w 177"/>
              <a:gd name="T17" fmla="*/ 27 h 353"/>
              <a:gd name="T18" fmla="*/ 80 w 177"/>
              <a:gd name="T19" fmla="*/ 345 h 353"/>
              <a:gd name="T20" fmla="*/ 89 w 177"/>
              <a:gd name="T21" fmla="*/ 353 h 353"/>
              <a:gd name="T22" fmla="*/ 97 w 177"/>
              <a:gd name="T23" fmla="*/ 345 h 353"/>
              <a:gd name="T24" fmla="*/ 97 w 177"/>
              <a:gd name="T25" fmla="*/ 27 h 353"/>
              <a:gd name="T26" fmla="*/ 163 w 177"/>
              <a:gd name="T27" fmla="*/ 94 h 353"/>
              <a:gd name="T28" fmla="*/ 169 w 177"/>
              <a:gd name="T29" fmla="*/ 96 h 353"/>
              <a:gd name="T30" fmla="*/ 177 w 177"/>
              <a:gd name="T31" fmla="*/ 88 h 353"/>
              <a:gd name="T32" fmla="*/ 174 w 177"/>
              <a:gd name="T33" fmla="*/ 83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7" h="353">
                <a:moveTo>
                  <a:pt x="174" y="83"/>
                </a:moveTo>
                <a:cubicBezTo>
                  <a:pt x="94" y="2"/>
                  <a:pt x="94" y="2"/>
                  <a:pt x="94" y="2"/>
                </a:cubicBezTo>
                <a:cubicBezTo>
                  <a:pt x="93" y="1"/>
                  <a:pt x="91" y="0"/>
                  <a:pt x="89" y="0"/>
                </a:cubicBezTo>
                <a:cubicBezTo>
                  <a:pt x="86" y="0"/>
                  <a:pt x="84" y="1"/>
                  <a:pt x="83" y="2"/>
                </a:cubicBezTo>
                <a:cubicBezTo>
                  <a:pt x="3" y="83"/>
                  <a:pt x="3" y="83"/>
                  <a:pt x="3" y="83"/>
                </a:cubicBezTo>
                <a:cubicBezTo>
                  <a:pt x="1" y="84"/>
                  <a:pt x="0" y="86"/>
                  <a:pt x="0" y="88"/>
                </a:cubicBezTo>
                <a:cubicBezTo>
                  <a:pt x="0" y="93"/>
                  <a:pt x="4" y="96"/>
                  <a:pt x="8" y="96"/>
                </a:cubicBezTo>
                <a:cubicBezTo>
                  <a:pt x="10" y="96"/>
                  <a:pt x="12" y="95"/>
                  <a:pt x="14" y="94"/>
                </a:cubicBezTo>
                <a:cubicBezTo>
                  <a:pt x="80" y="27"/>
                  <a:pt x="80" y="27"/>
                  <a:pt x="80" y="27"/>
                </a:cubicBezTo>
                <a:cubicBezTo>
                  <a:pt x="80" y="345"/>
                  <a:pt x="80" y="345"/>
                  <a:pt x="80" y="345"/>
                </a:cubicBezTo>
                <a:cubicBezTo>
                  <a:pt x="80" y="350"/>
                  <a:pt x="84" y="353"/>
                  <a:pt x="89" y="353"/>
                </a:cubicBezTo>
                <a:cubicBezTo>
                  <a:pt x="93" y="353"/>
                  <a:pt x="97" y="350"/>
                  <a:pt x="97" y="345"/>
                </a:cubicBezTo>
                <a:cubicBezTo>
                  <a:pt x="97" y="27"/>
                  <a:pt x="97" y="27"/>
                  <a:pt x="97" y="27"/>
                </a:cubicBezTo>
                <a:cubicBezTo>
                  <a:pt x="163" y="94"/>
                  <a:pt x="163" y="94"/>
                  <a:pt x="163" y="94"/>
                </a:cubicBezTo>
                <a:cubicBezTo>
                  <a:pt x="165" y="95"/>
                  <a:pt x="167" y="96"/>
                  <a:pt x="169" y="96"/>
                </a:cubicBezTo>
                <a:cubicBezTo>
                  <a:pt x="173" y="96"/>
                  <a:pt x="177" y="93"/>
                  <a:pt x="177" y="88"/>
                </a:cubicBezTo>
                <a:cubicBezTo>
                  <a:pt x="177" y="86"/>
                  <a:pt x="176" y="84"/>
                  <a:pt x="174" y="83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6" name="TextBox 155"/>
          <p:cNvSpPr txBox="1"/>
          <p:nvPr/>
        </p:nvSpPr>
        <p:spPr>
          <a:xfrm>
            <a:off x="5995194" y="3711590"/>
            <a:ext cx="2542382" cy="461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t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ni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t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git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pharetr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gravida libero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utr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celer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bero convallis.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5995195" y="3176259"/>
            <a:ext cx="2542380" cy="492443"/>
            <a:chOff x="5995195" y="3176259"/>
            <a:chExt cx="2542380" cy="492443"/>
          </a:xfrm>
        </p:grpSpPr>
        <p:sp>
          <p:nvSpPr>
            <p:cNvPr id="157" name="Title 2"/>
            <p:cNvSpPr txBox="1">
              <a:spLocks/>
            </p:cNvSpPr>
            <p:nvPr/>
          </p:nvSpPr>
          <p:spPr>
            <a:xfrm>
              <a:off x="7103462" y="3291840"/>
              <a:ext cx="1434113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eita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os </a:t>
              </a:r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imeiros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6 </a:t>
              </a:r>
              <a:r>
                <a:rPr lang="en-US" sz="1000" spc="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eses</a:t>
              </a:r>
              <a:r>
                <a:rPr lang="en-US" sz="1000" spc="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2018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5995195" y="3176259"/>
              <a:ext cx="105363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dirty="0">
                  <a:solidFill>
                    <a:schemeClr val="accent1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-12%</a:t>
              </a:r>
            </a:p>
          </p:txBody>
        </p:sp>
      </p:grpSp>
      <p:sp>
        <p:nvSpPr>
          <p:cNvPr id="159" name="Freeform 8"/>
          <p:cNvSpPr>
            <a:spLocks/>
          </p:cNvSpPr>
          <p:nvPr/>
        </p:nvSpPr>
        <p:spPr bwMode="auto">
          <a:xfrm rot="10800000">
            <a:off x="5705400" y="3275205"/>
            <a:ext cx="170518" cy="339801"/>
          </a:xfrm>
          <a:custGeom>
            <a:avLst/>
            <a:gdLst>
              <a:gd name="T0" fmla="*/ 174 w 177"/>
              <a:gd name="T1" fmla="*/ 83 h 353"/>
              <a:gd name="T2" fmla="*/ 94 w 177"/>
              <a:gd name="T3" fmla="*/ 2 h 353"/>
              <a:gd name="T4" fmla="*/ 89 w 177"/>
              <a:gd name="T5" fmla="*/ 0 h 353"/>
              <a:gd name="T6" fmla="*/ 83 w 177"/>
              <a:gd name="T7" fmla="*/ 2 h 353"/>
              <a:gd name="T8" fmla="*/ 3 w 177"/>
              <a:gd name="T9" fmla="*/ 83 h 353"/>
              <a:gd name="T10" fmla="*/ 0 w 177"/>
              <a:gd name="T11" fmla="*/ 88 h 353"/>
              <a:gd name="T12" fmla="*/ 8 w 177"/>
              <a:gd name="T13" fmla="*/ 96 h 353"/>
              <a:gd name="T14" fmla="*/ 14 w 177"/>
              <a:gd name="T15" fmla="*/ 94 h 353"/>
              <a:gd name="T16" fmla="*/ 80 w 177"/>
              <a:gd name="T17" fmla="*/ 27 h 353"/>
              <a:gd name="T18" fmla="*/ 80 w 177"/>
              <a:gd name="T19" fmla="*/ 345 h 353"/>
              <a:gd name="T20" fmla="*/ 89 w 177"/>
              <a:gd name="T21" fmla="*/ 353 h 353"/>
              <a:gd name="T22" fmla="*/ 97 w 177"/>
              <a:gd name="T23" fmla="*/ 345 h 353"/>
              <a:gd name="T24" fmla="*/ 97 w 177"/>
              <a:gd name="T25" fmla="*/ 27 h 353"/>
              <a:gd name="T26" fmla="*/ 163 w 177"/>
              <a:gd name="T27" fmla="*/ 94 h 353"/>
              <a:gd name="T28" fmla="*/ 169 w 177"/>
              <a:gd name="T29" fmla="*/ 96 h 353"/>
              <a:gd name="T30" fmla="*/ 177 w 177"/>
              <a:gd name="T31" fmla="*/ 88 h 353"/>
              <a:gd name="T32" fmla="*/ 174 w 177"/>
              <a:gd name="T33" fmla="*/ 83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7" h="353">
                <a:moveTo>
                  <a:pt x="174" y="83"/>
                </a:moveTo>
                <a:cubicBezTo>
                  <a:pt x="94" y="2"/>
                  <a:pt x="94" y="2"/>
                  <a:pt x="94" y="2"/>
                </a:cubicBezTo>
                <a:cubicBezTo>
                  <a:pt x="93" y="1"/>
                  <a:pt x="91" y="0"/>
                  <a:pt x="89" y="0"/>
                </a:cubicBezTo>
                <a:cubicBezTo>
                  <a:pt x="86" y="0"/>
                  <a:pt x="84" y="1"/>
                  <a:pt x="83" y="2"/>
                </a:cubicBezTo>
                <a:cubicBezTo>
                  <a:pt x="3" y="83"/>
                  <a:pt x="3" y="83"/>
                  <a:pt x="3" y="83"/>
                </a:cubicBezTo>
                <a:cubicBezTo>
                  <a:pt x="1" y="84"/>
                  <a:pt x="0" y="86"/>
                  <a:pt x="0" y="88"/>
                </a:cubicBezTo>
                <a:cubicBezTo>
                  <a:pt x="0" y="93"/>
                  <a:pt x="4" y="96"/>
                  <a:pt x="8" y="96"/>
                </a:cubicBezTo>
                <a:cubicBezTo>
                  <a:pt x="10" y="96"/>
                  <a:pt x="12" y="95"/>
                  <a:pt x="14" y="94"/>
                </a:cubicBezTo>
                <a:cubicBezTo>
                  <a:pt x="80" y="27"/>
                  <a:pt x="80" y="27"/>
                  <a:pt x="80" y="27"/>
                </a:cubicBezTo>
                <a:cubicBezTo>
                  <a:pt x="80" y="345"/>
                  <a:pt x="80" y="345"/>
                  <a:pt x="80" y="345"/>
                </a:cubicBezTo>
                <a:cubicBezTo>
                  <a:pt x="80" y="350"/>
                  <a:pt x="84" y="353"/>
                  <a:pt x="89" y="353"/>
                </a:cubicBezTo>
                <a:cubicBezTo>
                  <a:pt x="93" y="353"/>
                  <a:pt x="97" y="350"/>
                  <a:pt x="97" y="345"/>
                </a:cubicBezTo>
                <a:cubicBezTo>
                  <a:pt x="97" y="27"/>
                  <a:pt x="97" y="27"/>
                  <a:pt x="97" y="27"/>
                </a:cubicBezTo>
                <a:cubicBezTo>
                  <a:pt x="163" y="94"/>
                  <a:pt x="163" y="94"/>
                  <a:pt x="163" y="94"/>
                </a:cubicBezTo>
                <a:cubicBezTo>
                  <a:pt x="165" y="95"/>
                  <a:pt x="167" y="96"/>
                  <a:pt x="169" y="96"/>
                </a:cubicBezTo>
                <a:cubicBezTo>
                  <a:pt x="173" y="96"/>
                  <a:pt x="177" y="93"/>
                  <a:pt x="177" y="88"/>
                </a:cubicBezTo>
                <a:cubicBezTo>
                  <a:pt x="177" y="86"/>
                  <a:pt x="176" y="84"/>
                  <a:pt x="174" y="83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160" name="Straight Connector 159"/>
          <p:cNvCxnSpPr/>
          <p:nvPr/>
        </p:nvCxnSpPr>
        <p:spPr>
          <a:xfrm>
            <a:off x="5995193" y="2857278"/>
            <a:ext cx="254238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940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GRÁFICO DE GANTT </a:t>
            </a:r>
            <a:r>
              <a:rPr lang="en-US" dirty="0"/>
              <a:t>DO PROJET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9685665"/>
              </p:ext>
            </p:extLst>
          </p:nvPr>
        </p:nvGraphicFramePr>
        <p:xfrm>
          <a:off x="595326" y="1236132"/>
          <a:ext cx="7953348" cy="2724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2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03268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</a:tblGrid>
              <a:tr h="304702">
                <a:tc>
                  <a:txBody>
                    <a:bodyPr/>
                    <a:lstStyle/>
                    <a:p>
                      <a:endParaRPr lang="en-US" sz="900" b="1" cap="all" spc="20" baseline="0" dirty="0">
                        <a:solidFill>
                          <a:schemeClr val="accent1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cap="all" spc="20" baseline="0" dirty="0">
                        <a:solidFill>
                          <a:schemeClr val="accent1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0"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eiro 2019</a:t>
                      </a: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tx2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ª </a:t>
                      </a:r>
                      <a:r>
                        <a:rPr lang="en-US" sz="900" b="1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mana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1C2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ª </a:t>
                      </a:r>
                      <a:r>
                        <a:rPr lang="en-US" sz="900" b="1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mana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r>
                        <a:rPr lang="en-US" sz="900" b="1" baseline="3000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ª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mana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  <a:r>
                        <a:rPr lang="en-US" sz="900" b="1" baseline="3000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ª</a:t>
                      </a:r>
                      <a:r>
                        <a:rPr lang="en-US" sz="9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mana</a:t>
                      </a:r>
                      <a:endParaRPr lang="en-US" sz="900" b="1" dirty="0">
                        <a:solidFill>
                          <a:schemeClr val="bg1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en-US" sz="900" b="1" dirty="0">
                        <a:solidFill>
                          <a:schemeClr val="tx2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2000" dirty="0">
                        <a:solidFill>
                          <a:schemeClr val="tx2"/>
                        </a:solidFill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anchor="ctr">
                    <a:lnT w="38100" cmpd="sng">
                      <a:noFill/>
                    </a:lnT>
                    <a:lnB w="1270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2065">
                <a:tc>
                  <a:txBody>
                    <a:bodyPr/>
                    <a:lstStyle/>
                    <a:p>
                      <a:r>
                        <a:rPr lang="en-US" sz="800" b="1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No.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cap="all" spc="20" baseline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AREFAS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3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4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5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6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7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8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9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0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1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2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3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4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5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6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7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8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9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0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1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2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3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4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5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6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7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8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29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30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1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nfatizar</a:t>
                      </a:r>
                      <a:endParaRPr lang="en-US" sz="800" b="0" cap="none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2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finir</a:t>
                      </a:r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ontos</a:t>
                      </a:r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ásicos</a:t>
                      </a:r>
                      <a:endParaRPr lang="en-US" sz="800" b="0" cap="none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3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rainstorm &amp; </a:t>
                      </a:r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uções</a:t>
                      </a:r>
                      <a:endParaRPr lang="en-US" sz="800" b="0" cap="none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4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tótipo</a:t>
                      </a:r>
                      <a:endParaRPr lang="en-US" sz="800" b="0" cap="none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5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este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6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ançamento</a:t>
                      </a:r>
                      <a:endParaRPr lang="en-US" sz="800" b="0" cap="none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3442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7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rificar</a:t>
                      </a:r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 </a:t>
                      </a:r>
                      <a:r>
                        <a:rPr lang="en-US" sz="800" b="0" cap="none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rsão</a:t>
                      </a:r>
                      <a:r>
                        <a:rPr lang="en-US" sz="800" b="0" cap="none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Final</a:t>
                      </a: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34290" marR="34290" marT="17145" marB="17145" anchor="ctr">
                    <a:lnL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2452065" y="2144149"/>
            <a:ext cx="1424610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Rectangle 5"/>
          <p:cNvSpPr/>
          <p:nvPr/>
        </p:nvSpPr>
        <p:spPr>
          <a:xfrm>
            <a:off x="2452065" y="2144149"/>
            <a:ext cx="900948" cy="937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Rectangle 15"/>
          <p:cNvSpPr/>
          <p:nvPr/>
        </p:nvSpPr>
        <p:spPr>
          <a:xfrm rot="2700000">
            <a:off x="3826355" y="2140570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25" name="Rectangle 24"/>
          <p:cNvSpPr/>
          <p:nvPr/>
        </p:nvSpPr>
        <p:spPr>
          <a:xfrm rot="2700000">
            <a:off x="5227818" y="4188145"/>
            <a:ext cx="85051" cy="85051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6" name="Rectangle 25"/>
          <p:cNvSpPr/>
          <p:nvPr/>
        </p:nvSpPr>
        <p:spPr>
          <a:xfrm>
            <a:off x="4026202" y="4188145"/>
            <a:ext cx="85051" cy="850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7" name="Rectangle 26"/>
          <p:cNvSpPr/>
          <p:nvPr/>
        </p:nvSpPr>
        <p:spPr>
          <a:xfrm>
            <a:off x="2843871" y="4188145"/>
            <a:ext cx="85051" cy="850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8" name="TextBox 27"/>
          <p:cNvSpPr txBox="1"/>
          <p:nvPr/>
        </p:nvSpPr>
        <p:spPr>
          <a:xfrm>
            <a:off x="2972442" y="4154496"/>
            <a:ext cx="923577" cy="125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raçã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a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arefa</a:t>
            </a:r>
            <a:endParaRPr lang="en-US" sz="75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160060" y="4154496"/>
            <a:ext cx="923577" cy="125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aref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pleta</a:t>
            </a:r>
            <a:endParaRPr lang="en-US" sz="75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376552" y="4154496"/>
            <a:ext cx="923577" cy="1256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rco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istórico</a:t>
            </a:r>
            <a:endParaRPr lang="en-US" sz="750" spc="19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267343" y="2415542"/>
            <a:ext cx="1423720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4" name="Rectangle 33"/>
          <p:cNvSpPr/>
          <p:nvPr/>
        </p:nvSpPr>
        <p:spPr>
          <a:xfrm>
            <a:off x="3267343" y="2415542"/>
            <a:ext cx="1218932" cy="937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5" name="Rectangle 34"/>
          <p:cNvSpPr/>
          <p:nvPr/>
        </p:nvSpPr>
        <p:spPr>
          <a:xfrm rot="2700000">
            <a:off x="4639025" y="2411963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37" name="Rectangle 36"/>
          <p:cNvSpPr/>
          <p:nvPr/>
        </p:nvSpPr>
        <p:spPr>
          <a:xfrm>
            <a:off x="3672744" y="2686935"/>
            <a:ext cx="1427893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8" name="Rectangle 37"/>
          <p:cNvSpPr/>
          <p:nvPr/>
        </p:nvSpPr>
        <p:spPr>
          <a:xfrm>
            <a:off x="3672745" y="2686935"/>
            <a:ext cx="611918" cy="937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9" name="Rectangle 38"/>
          <p:cNvSpPr/>
          <p:nvPr/>
        </p:nvSpPr>
        <p:spPr>
          <a:xfrm rot="2700000">
            <a:off x="5047015" y="2683356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1" name="Rectangle 40"/>
          <p:cNvSpPr/>
          <p:nvPr/>
        </p:nvSpPr>
        <p:spPr>
          <a:xfrm>
            <a:off x="5500064" y="2958328"/>
            <a:ext cx="811836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3" name="Rectangle 42"/>
          <p:cNvSpPr/>
          <p:nvPr/>
        </p:nvSpPr>
        <p:spPr>
          <a:xfrm rot="2700000">
            <a:off x="6263033" y="2954748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5" name="Rectangle 44"/>
          <p:cNvSpPr/>
          <p:nvPr/>
        </p:nvSpPr>
        <p:spPr>
          <a:xfrm>
            <a:off x="5500065" y="3229721"/>
            <a:ext cx="1019798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6" name="Rectangle 45"/>
          <p:cNvSpPr/>
          <p:nvPr/>
        </p:nvSpPr>
        <p:spPr>
          <a:xfrm>
            <a:off x="5500065" y="3229721"/>
            <a:ext cx="610223" cy="937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7" name="Rectangle 46"/>
          <p:cNvSpPr/>
          <p:nvPr/>
        </p:nvSpPr>
        <p:spPr>
          <a:xfrm rot="2700000">
            <a:off x="6469523" y="3226141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9" name="Rectangle 48"/>
          <p:cNvSpPr/>
          <p:nvPr/>
        </p:nvSpPr>
        <p:spPr>
          <a:xfrm>
            <a:off x="5875489" y="3501114"/>
            <a:ext cx="1052361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0" name="Rectangle 49"/>
          <p:cNvSpPr/>
          <p:nvPr/>
        </p:nvSpPr>
        <p:spPr>
          <a:xfrm>
            <a:off x="5875489" y="3501114"/>
            <a:ext cx="442761" cy="937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1" name="Rectangle 50"/>
          <p:cNvSpPr/>
          <p:nvPr/>
        </p:nvSpPr>
        <p:spPr>
          <a:xfrm rot="2700000">
            <a:off x="6873522" y="3497534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3" name="Rectangle 52"/>
          <p:cNvSpPr/>
          <p:nvPr/>
        </p:nvSpPr>
        <p:spPr>
          <a:xfrm>
            <a:off x="6313488" y="3772506"/>
            <a:ext cx="2164458" cy="937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5" name="Rectangle 54"/>
          <p:cNvSpPr/>
          <p:nvPr/>
        </p:nvSpPr>
        <p:spPr>
          <a:xfrm rot="2700000">
            <a:off x="8427493" y="3768926"/>
            <a:ext cx="100906" cy="10090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426124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omparaçã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geográfica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1823195"/>
              </p:ext>
            </p:extLst>
          </p:nvPr>
        </p:nvGraphicFramePr>
        <p:xfrm>
          <a:off x="595312" y="1543051"/>
          <a:ext cx="7953377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1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4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42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42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7429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742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SCRIÇÃO</a:t>
                      </a: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ão </a:t>
                      </a:r>
                      <a:r>
                        <a:rPr lang="en-US" sz="900" b="1" cap="all" spc="20" dirty="0" err="1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aulo</a:t>
                      </a:r>
                      <a:endParaRPr lang="en-US" sz="900" b="1" cap="all" spc="20" dirty="0"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IO DE JANEIRO</a:t>
                      </a: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ORTO ALEGRE</a:t>
                      </a: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ORTALEZA</a:t>
                      </a: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ELO HORIZONTE</a:t>
                      </a:r>
                    </a:p>
                  </a:txBody>
                  <a:tcPr marL="3429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ndas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iretas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.4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.8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4.7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.856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ndas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Indiretas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4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8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235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.125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.3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filiação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7.365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3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.96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5.985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9.155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ucro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íquido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84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79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89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9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7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gem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Bruta</a:t>
                      </a: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24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2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47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20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.356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orcentagem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nual de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ndas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+6%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-2.8%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+5.6%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-9.8%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+1.15%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evisão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de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Vendas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m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2018</a:t>
                      </a: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.4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.7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.3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4.650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7.633,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vos</a:t>
                      </a:r>
                      <a:r>
                        <a:rPr lang="en-US" sz="800" cap="none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</a:t>
                      </a:r>
                      <a:r>
                        <a:rPr lang="en-US" sz="800" cap="none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teriais</a:t>
                      </a:r>
                      <a:endParaRPr lang="en-US" sz="800" cap="none" baseline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34290" marT="17145" marB="1714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4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56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78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9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cap="none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7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837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ABELA </a:t>
            </a:r>
            <a:r>
              <a:rPr lang="en-US" dirty="0">
                <a:solidFill>
                  <a:srgbClr val="FF0000"/>
                </a:solidFill>
              </a:rPr>
              <a:t>SIMP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3829851"/>
              </p:ext>
            </p:extLst>
          </p:nvPr>
        </p:nvGraphicFramePr>
        <p:xfrm>
          <a:off x="593725" y="1543052"/>
          <a:ext cx="7943849" cy="2743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2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03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03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03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303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303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21496">
                <a:tc>
                  <a:txBody>
                    <a:bodyPr/>
                    <a:lstStyle/>
                    <a:p>
                      <a:r>
                        <a:rPr lang="en-US" sz="900" cap="all" spc="20" baseline="0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descrição</a:t>
                      </a:r>
                      <a:endParaRPr lang="en-US" sz="900" cap="all" spc="20" baseline="0" dirty="0">
                        <a:solidFill>
                          <a:schemeClr val="bg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2016</a:t>
                      </a:r>
                    </a:p>
                  </a:txBody>
                  <a:tcPr marL="36576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2017</a:t>
                      </a:r>
                    </a:p>
                  </a:txBody>
                  <a:tcPr marL="36576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2018</a:t>
                      </a:r>
                    </a:p>
                  </a:txBody>
                  <a:tcPr marL="36576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2019</a:t>
                      </a:r>
                    </a:p>
                  </a:txBody>
                  <a:tcPr marL="36576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2020</a:t>
                      </a:r>
                    </a:p>
                  </a:txBody>
                  <a:tcPr marL="36576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Receita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7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7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7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7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7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Receita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Líquida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2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2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2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2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2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Lucro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1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1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1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1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12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Materiai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Gasto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325.475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325.475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325.475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325.475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325.475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Margem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de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Lucro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05.5%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05.5%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05.5%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05.5%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05.5%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Venda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direta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e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indireta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986.0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986.0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986.0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986.0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986.0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Todo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o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gasto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6.5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6.5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6.5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6.5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6.5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9078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Unidade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de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venda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9728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6.6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6.6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6.6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6.6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6.650</a:t>
                      </a:r>
                    </a:p>
                  </a:txBody>
                  <a:tcPr marL="36576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731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Balanço</a:t>
            </a:r>
            <a:r>
              <a:rPr lang="en-US" dirty="0"/>
              <a:t> do </a:t>
            </a:r>
            <a:r>
              <a:rPr lang="en-US" dirty="0" err="1">
                <a:solidFill>
                  <a:srgbClr val="FF0000"/>
                </a:solidFill>
              </a:rPr>
              <a:t>patrimônio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2056338"/>
              </p:ext>
            </p:extLst>
          </p:nvPr>
        </p:nvGraphicFramePr>
        <p:xfrm>
          <a:off x="593727" y="1543049"/>
          <a:ext cx="7943846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87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90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990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90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90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990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endParaRPr lang="en-US" sz="800" b="1" dirty="0"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4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5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6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7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8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/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Dinheir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(R$ Real)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485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50.45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786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985.66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320,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/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elaçã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Atual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(</a:t>
                      </a:r>
                      <a:r>
                        <a:rPr lang="en-US" sz="800" b="0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Porcentagem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)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7.8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4.2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5.6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6.89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.56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/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Balanç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Monetári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(R$ Real)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75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3.5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50.65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8.250,68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.360,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/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Débit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</a:t>
                      </a:r>
                      <a:r>
                        <a:rPr lang="en-US" sz="800" b="0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(</a:t>
                      </a:r>
                      <a:r>
                        <a:rPr lang="en-US" sz="800" b="0" baseline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Porcentagem</a:t>
                      </a:r>
                      <a:r>
                        <a:rPr lang="en-US" sz="800" b="0" baseline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)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.8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.8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.8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.8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0.85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r"/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apital de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giro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(R$ Real)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65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24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36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98.0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R$150.400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869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Balanço</a:t>
            </a:r>
            <a:r>
              <a:rPr lang="en-US" dirty="0"/>
              <a:t> do </a:t>
            </a:r>
            <a:r>
              <a:rPr lang="en-US" dirty="0" err="1">
                <a:solidFill>
                  <a:srgbClr val="FF0000"/>
                </a:solidFill>
              </a:rPr>
              <a:t>patrimônio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0354325"/>
              </p:ext>
            </p:extLst>
          </p:nvPr>
        </p:nvGraphicFramePr>
        <p:xfrm>
          <a:off x="4533900" y="1543051"/>
          <a:ext cx="4013201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3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99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99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endParaRPr lang="en-US" sz="1100" cap="all" baseline="0" dirty="0">
                        <a:solidFill>
                          <a:schemeClr val="accent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DÉBITO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CRÉDITO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Dinheiro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8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8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Suprimento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56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56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Pré-pago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78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78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Equipamento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89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89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Conta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a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pagar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65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Venda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direta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e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indireta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45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Gastos</a:t>
                      </a:r>
                      <a:r>
                        <a:rPr lang="en-US" sz="800" b="0" dirty="0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b="0" dirty="0" err="1">
                          <a:solidFill>
                            <a:schemeClr val="accent3"/>
                          </a:solidFill>
                          <a:latin typeface="Lato" panose="020F0502020204030203" pitchFamily="34" charset="0"/>
                        </a:rPr>
                        <a:t>totais</a:t>
                      </a:r>
                      <a:endParaRPr lang="en-US" sz="800" b="0" dirty="0">
                        <a:solidFill>
                          <a:schemeClr val="accent3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78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$780.000</a:t>
                      </a:r>
                    </a:p>
                  </a:txBody>
                  <a:tcPr marL="3429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r>
                        <a:rPr lang="en-US" sz="800" b="1" cap="all" spc="20" baseline="0" dirty="0">
                          <a:solidFill>
                            <a:schemeClr val="accent1"/>
                          </a:solidFill>
                          <a:latin typeface="Lato" panose="020F0502020204030203" pitchFamily="34" charset="0"/>
                        </a:rPr>
                        <a:t>TOTAL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8.478,000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$8.478,000</a:t>
                      </a:r>
                    </a:p>
                  </a:txBody>
                  <a:tcPr marL="34290" marR="34290" marT="17145" marB="17145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93726" y="1514449"/>
            <a:ext cx="2697692" cy="569468"/>
            <a:chOff x="593726" y="1514449"/>
            <a:chExt cx="2697692" cy="569468"/>
          </a:xfrm>
        </p:grpSpPr>
        <p:sp>
          <p:nvSpPr>
            <p:cNvPr id="5" name="TextBox 4"/>
            <p:cNvSpPr txBox="1"/>
            <p:nvPr/>
          </p:nvSpPr>
          <p:spPr>
            <a:xfrm>
              <a:off x="593726" y="1781975"/>
              <a:ext cx="2697692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r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ulputat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no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qu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6" name="Title 2"/>
            <p:cNvSpPr txBox="1">
              <a:spLocks/>
            </p:cNvSpPr>
            <p:nvPr/>
          </p:nvSpPr>
          <p:spPr>
            <a:xfrm>
              <a:off x="593726" y="1514449"/>
              <a:ext cx="2697692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400" b="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</a:rPr>
                <a:t>Análise</a:t>
              </a:r>
              <a:r>
                <a:rPr lang="en-US" sz="1400" b="0" cap="all" spc="2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 da </a:t>
              </a:r>
              <a:r>
                <a:rPr lang="en-US" sz="1400" b="0" cap="all" spc="20" dirty="0" err="1">
                  <a:solidFill>
                    <a:srgbClr val="FF0000"/>
                  </a:solidFill>
                  <a:latin typeface="Lato Black" panose="020F0A02020204030203" pitchFamily="34" charset="0"/>
                </a:rPr>
                <a:t>Receita</a:t>
              </a:r>
              <a:endParaRPr lang="en-US" sz="1400" b="0" cap="all" spc="20" dirty="0">
                <a:solidFill>
                  <a:srgbClr val="FF0000"/>
                </a:solidFill>
                <a:latin typeface="Lato Black" panose="020F0A02020204030203" pitchFamily="34" charset="0"/>
              </a:endParaRPr>
            </a:p>
          </p:txBody>
        </p:sp>
      </p:grp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3970179888"/>
              </p:ext>
            </p:extLst>
          </p:nvPr>
        </p:nvGraphicFramePr>
        <p:xfrm>
          <a:off x="557561" y="2326888"/>
          <a:ext cx="2705022" cy="1959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3894667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956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ABELA </a:t>
            </a:r>
            <a:r>
              <a:rPr lang="en-US" dirty="0">
                <a:solidFill>
                  <a:srgbClr val="FF0000"/>
                </a:solidFill>
              </a:rPr>
              <a:t>COMPETIDOR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308912"/>
              </p:ext>
            </p:extLst>
          </p:nvPr>
        </p:nvGraphicFramePr>
        <p:xfrm>
          <a:off x="595312" y="1543050"/>
          <a:ext cx="7953377" cy="27432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84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49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49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449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449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449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7803">
                <a:tc>
                  <a:txBody>
                    <a:bodyPr/>
                    <a:lstStyle/>
                    <a:p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DESCRIÇÃO</a:t>
                      </a:r>
                    </a:p>
                  </a:txBody>
                  <a:tcPr marL="102870" marR="10287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OPÇÃO 01</a:t>
                      </a: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 err="1">
                          <a:latin typeface="Lato" panose="020F0502020204030203" pitchFamily="34" charset="0"/>
                        </a:rPr>
                        <a:t>OpÇÃO</a:t>
                      </a:r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 02</a:t>
                      </a:r>
                    </a:p>
                  </a:txBody>
                  <a:tcPr marL="102870" marR="102870" marT="17145" marB="17145"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 err="1">
                          <a:latin typeface="Lato" panose="020F0502020204030203" pitchFamily="34" charset="0"/>
                        </a:rPr>
                        <a:t>OpÇÃO</a:t>
                      </a:r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 03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 err="1">
                          <a:latin typeface="Lato" panose="020F0502020204030203" pitchFamily="34" charset="0"/>
                        </a:rPr>
                        <a:t>OpÇÃO</a:t>
                      </a:r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 04</a:t>
                      </a:r>
                    </a:p>
                  </a:txBody>
                  <a:tcPr marL="102870" marR="102870" marT="17145" marB="17145" anchor="ctr">
                    <a:lnL w="12700" cmpd="sng"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cap="all" spc="20" baseline="0" dirty="0" err="1">
                          <a:latin typeface="Lato" panose="020F0502020204030203" pitchFamily="34" charset="0"/>
                        </a:rPr>
                        <a:t>OpÇÃO</a:t>
                      </a:r>
                      <a:r>
                        <a:rPr lang="en-US" sz="900" cap="all" spc="20" baseline="0" dirty="0">
                          <a:latin typeface="Lato" panose="020F0502020204030203" pitchFamily="34" charset="0"/>
                        </a:rPr>
                        <a:t> 05</a:t>
                      </a: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Transporte</a:t>
                      </a:r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Análise</a:t>
                      </a:r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 de dados </a:t>
                      </a:r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na</a:t>
                      </a:r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região</a:t>
                      </a:r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Consultoria</a:t>
                      </a:r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 </a:t>
                      </a:r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Gratuita</a:t>
                      </a:r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Análise</a:t>
                      </a:r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 PFOA</a:t>
                      </a: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r>
                        <a:rPr lang="en-US" sz="80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Sistema de </a:t>
                      </a:r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checagem</a:t>
                      </a:r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4233">
                <a:tc>
                  <a:txBody>
                    <a:bodyPr/>
                    <a:lstStyle/>
                    <a:p>
                      <a:pPr marL="0" marR="0" indent="0" algn="l" defTabSz="1828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Entrega</a:t>
                      </a:r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chemeClr val="accent4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102870" marR="3429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Freeform 4"/>
          <p:cNvSpPr>
            <a:spLocks noEditPoints="1"/>
          </p:cNvSpPr>
          <p:nvPr/>
        </p:nvSpPr>
        <p:spPr bwMode="auto">
          <a:xfrm>
            <a:off x="3282366" y="1992122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7" name="Freeform 26"/>
          <p:cNvSpPr>
            <a:spLocks noEditPoints="1"/>
          </p:cNvSpPr>
          <p:nvPr/>
        </p:nvSpPr>
        <p:spPr bwMode="auto">
          <a:xfrm>
            <a:off x="4419016" y="2388145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8" name="Freeform 27"/>
          <p:cNvSpPr>
            <a:spLocks noEditPoints="1"/>
          </p:cNvSpPr>
          <p:nvPr/>
        </p:nvSpPr>
        <p:spPr bwMode="auto">
          <a:xfrm>
            <a:off x="3282366" y="2784168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reeform 28"/>
          <p:cNvSpPr>
            <a:spLocks noEditPoints="1"/>
          </p:cNvSpPr>
          <p:nvPr/>
        </p:nvSpPr>
        <p:spPr bwMode="auto">
          <a:xfrm>
            <a:off x="3282366" y="3972238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0" name="Freeform 29"/>
          <p:cNvSpPr>
            <a:spLocks noEditPoints="1"/>
          </p:cNvSpPr>
          <p:nvPr/>
        </p:nvSpPr>
        <p:spPr bwMode="auto">
          <a:xfrm>
            <a:off x="4419016" y="3576214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2" name="Freeform 31"/>
          <p:cNvSpPr>
            <a:spLocks noEditPoints="1"/>
          </p:cNvSpPr>
          <p:nvPr/>
        </p:nvSpPr>
        <p:spPr bwMode="auto">
          <a:xfrm>
            <a:off x="5558841" y="3180191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4" name="Freeform 33"/>
          <p:cNvSpPr>
            <a:spLocks noEditPoints="1"/>
          </p:cNvSpPr>
          <p:nvPr/>
        </p:nvSpPr>
        <p:spPr bwMode="auto">
          <a:xfrm>
            <a:off x="7826255" y="3180191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5" name="Freeform 34"/>
          <p:cNvSpPr>
            <a:spLocks noEditPoints="1"/>
          </p:cNvSpPr>
          <p:nvPr/>
        </p:nvSpPr>
        <p:spPr bwMode="auto">
          <a:xfrm>
            <a:off x="6692548" y="2784168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7" name="Freeform 36"/>
          <p:cNvSpPr>
            <a:spLocks noEditPoints="1"/>
          </p:cNvSpPr>
          <p:nvPr/>
        </p:nvSpPr>
        <p:spPr bwMode="auto">
          <a:xfrm>
            <a:off x="7826255" y="2388145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8" name="Freeform 37"/>
          <p:cNvSpPr>
            <a:spLocks noEditPoints="1"/>
          </p:cNvSpPr>
          <p:nvPr/>
        </p:nvSpPr>
        <p:spPr bwMode="auto">
          <a:xfrm>
            <a:off x="5558841" y="3972238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9" name="Freeform 38"/>
          <p:cNvSpPr>
            <a:spLocks noEditPoints="1"/>
          </p:cNvSpPr>
          <p:nvPr/>
        </p:nvSpPr>
        <p:spPr bwMode="auto">
          <a:xfrm>
            <a:off x="6692548" y="3576214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0" name="Freeform 39"/>
          <p:cNvSpPr>
            <a:spLocks noEditPoints="1"/>
          </p:cNvSpPr>
          <p:nvPr/>
        </p:nvSpPr>
        <p:spPr bwMode="auto">
          <a:xfrm>
            <a:off x="5558841" y="1992122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1" name="Freeform 40"/>
          <p:cNvSpPr>
            <a:spLocks noEditPoints="1"/>
          </p:cNvSpPr>
          <p:nvPr/>
        </p:nvSpPr>
        <p:spPr bwMode="auto">
          <a:xfrm>
            <a:off x="6692548" y="1992122"/>
            <a:ext cx="235534" cy="235532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225357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ABELA DE </a:t>
            </a:r>
            <a:r>
              <a:rPr lang="en-US" dirty="0">
                <a:solidFill>
                  <a:srgbClr val="EC1C24"/>
                </a:solidFill>
              </a:rPr>
              <a:t>ETAP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5838026"/>
              </p:ext>
            </p:extLst>
          </p:nvPr>
        </p:nvGraphicFramePr>
        <p:xfrm>
          <a:off x="593726" y="1543050"/>
          <a:ext cx="7943849" cy="273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65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93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93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7931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93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81065">
                <a:tc>
                  <a:txBody>
                    <a:bodyPr/>
                    <a:lstStyle/>
                    <a:p>
                      <a:endParaRPr lang="en-US" sz="9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TÓTIPO</a:t>
                      </a:r>
                    </a:p>
                  </a:txBody>
                  <a:tcPr marT="0" marB="13716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SENHO</a:t>
                      </a:r>
                    </a:p>
                  </a:txBody>
                  <a:tcPr marT="0" marB="13716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LANÇAMENTO</a:t>
                      </a:r>
                    </a:p>
                  </a:txBody>
                  <a:tcPr marT="0" marB="13716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latin typeface="Lato" panose="020F0502020204030203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NUNTENÇÃO</a:t>
                      </a:r>
                    </a:p>
                  </a:txBody>
                  <a:tcPr marT="0" marB="137160" anchor="b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2445"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Web Designer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445"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Desenvolvedor</a:t>
                      </a:r>
                      <a:endParaRPr lang="en-US" sz="9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2445"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Gerente</a:t>
                      </a:r>
                      <a:r>
                        <a:rPr lang="en-US" sz="9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de Marketing</a:t>
                      </a: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2445"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Gerente</a:t>
                      </a:r>
                      <a:r>
                        <a:rPr lang="en-US" sz="900" b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</a:t>
                      </a:r>
                      <a:r>
                        <a:rPr lang="en-US" sz="900" b="0" dirty="0" err="1">
                          <a:solidFill>
                            <a:schemeClr val="accent4"/>
                          </a:solidFill>
                          <a:latin typeface="Lato" panose="020F0502020204030203" pitchFamily="34" charset="0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Geral</a:t>
                      </a:r>
                      <a:endParaRPr lang="en-US" sz="9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171450" marR="171450" marT="17145" marB="17145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0" dirty="0">
                        <a:solidFill>
                          <a:schemeClr val="accent4"/>
                        </a:solidFill>
                        <a:latin typeface="Lato" panose="020F0502020204030203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102870" marR="102870" marT="17145" marB="17145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reeform 4"/>
          <p:cNvSpPr>
            <a:spLocks noEditPoints="1"/>
          </p:cNvSpPr>
          <p:nvPr/>
        </p:nvSpPr>
        <p:spPr bwMode="auto">
          <a:xfrm>
            <a:off x="3233940" y="2536034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5"/>
          <p:cNvSpPr>
            <a:spLocks noEditPoints="1"/>
          </p:cNvSpPr>
          <p:nvPr/>
        </p:nvSpPr>
        <p:spPr bwMode="auto">
          <a:xfrm>
            <a:off x="3233940" y="3002759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6"/>
          <p:cNvSpPr>
            <a:spLocks noEditPoints="1"/>
          </p:cNvSpPr>
          <p:nvPr/>
        </p:nvSpPr>
        <p:spPr bwMode="auto">
          <a:xfrm>
            <a:off x="3233940" y="3918126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4748807" y="3469484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4748807" y="3002759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1C2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Freeform 10"/>
          <p:cNvSpPr>
            <a:spLocks noEditPoints="1"/>
          </p:cNvSpPr>
          <p:nvPr/>
        </p:nvSpPr>
        <p:spPr bwMode="auto">
          <a:xfrm>
            <a:off x="6207035" y="2536034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6207035" y="3002759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12"/>
          <p:cNvSpPr>
            <a:spLocks noEditPoints="1"/>
          </p:cNvSpPr>
          <p:nvPr/>
        </p:nvSpPr>
        <p:spPr bwMode="auto">
          <a:xfrm>
            <a:off x="7688222" y="3469484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7688222" y="3936209"/>
            <a:ext cx="238960" cy="238960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6" name="Freeform 16"/>
          <p:cNvSpPr>
            <a:spLocks noEditPoints="1"/>
          </p:cNvSpPr>
          <p:nvPr/>
        </p:nvSpPr>
        <p:spPr bwMode="auto">
          <a:xfrm>
            <a:off x="7645290" y="1725591"/>
            <a:ext cx="324824" cy="326010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7" name="Freeform 16"/>
          <p:cNvSpPr>
            <a:spLocks noEditPoints="1"/>
          </p:cNvSpPr>
          <p:nvPr/>
        </p:nvSpPr>
        <p:spPr bwMode="auto">
          <a:xfrm>
            <a:off x="3220052" y="1725590"/>
            <a:ext cx="266735" cy="326011"/>
          </a:xfrm>
          <a:custGeom>
            <a:avLst/>
            <a:gdLst>
              <a:gd name="T0" fmla="*/ 65 w 289"/>
              <a:gd name="T1" fmla="*/ 273 h 353"/>
              <a:gd name="T2" fmla="*/ 97 w 289"/>
              <a:gd name="T3" fmla="*/ 273 h 353"/>
              <a:gd name="T4" fmla="*/ 105 w 289"/>
              <a:gd name="T5" fmla="*/ 193 h 353"/>
              <a:gd name="T6" fmla="*/ 105 w 289"/>
              <a:gd name="T7" fmla="*/ 209 h 353"/>
              <a:gd name="T8" fmla="*/ 105 w 289"/>
              <a:gd name="T9" fmla="*/ 193 h 353"/>
              <a:gd name="T10" fmla="*/ 209 w 289"/>
              <a:gd name="T11" fmla="*/ 265 h 353"/>
              <a:gd name="T12" fmla="*/ 225 w 289"/>
              <a:gd name="T13" fmla="*/ 265 h 353"/>
              <a:gd name="T14" fmla="*/ 225 w 289"/>
              <a:gd name="T15" fmla="*/ 129 h 353"/>
              <a:gd name="T16" fmla="*/ 241 w 289"/>
              <a:gd name="T17" fmla="*/ 48 h 353"/>
              <a:gd name="T18" fmla="*/ 257 w 289"/>
              <a:gd name="T19" fmla="*/ 16 h 353"/>
              <a:gd name="T20" fmla="*/ 49 w 289"/>
              <a:gd name="T21" fmla="*/ 0 h 353"/>
              <a:gd name="T22" fmla="*/ 32 w 289"/>
              <a:gd name="T23" fmla="*/ 32 h 353"/>
              <a:gd name="T24" fmla="*/ 65 w 289"/>
              <a:gd name="T25" fmla="*/ 48 h 353"/>
              <a:gd name="T26" fmla="*/ 0 w 289"/>
              <a:gd name="T27" fmla="*/ 249 h 353"/>
              <a:gd name="T28" fmla="*/ 245 w 289"/>
              <a:gd name="T29" fmla="*/ 353 h 353"/>
              <a:gd name="T30" fmla="*/ 225 w 289"/>
              <a:gd name="T31" fmla="*/ 129 h 353"/>
              <a:gd name="T32" fmla="*/ 241 w 289"/>
              <a:gd name="T33" fmla="*/ 16 h 353"/>
              <a:gd name="T34" fmla="*/ 49 w 289"/>
              <a:gd name="T35" fmla="*/ 32 h 353"/>
              <a:gd name="T36" fmla="*/ 209 w 289"/>
              <a:gd name="T37" fmla="*/ 48 h 353"/>
              <a:gd name="T38" fmla="*/ 150 w 289"/>
              <a:gd name="T39" fmla="*/ 87 h 353"/>
              <a:gd name="T40" fmla="*/ 81 w 289"/>
              <a:gd name="T41" fmla="*/ 48 h 353"/>
              <a:gd name="T42" fmla="*/ 238 w 289"/>
              <a:gd name="T43" fmla="*/ 337 h 353"/>
              <a:gd name="T44" fmla="*/ 16 w 289"/>
              <a:gd name="T45" fmla="*/ 249 h 353"/>
              <a:gd name="T46" fmla="*/ 81 w 289"/>
              <a:gd name="T47" fmla="*/ 129 h 353"/>
              <a:gd name="T48" fmla="*/ 114 w 289"/>
              <a:gd name="T49" fmla="*/ 113 h 353"/>
              <a:gd name="T50" fmla="*/ 209 w 289"/>
              <a:gd name="T51" fmla="*/ 87 h 353"/>
              <a:gd name="T52" fmla="*/ 216 w 289"/>
              <a:gd name="T53" fmla="*/ 142 h 353"/>
              <a:gd name="T54" fmla="*/ 238 w 289"/>
              <a:gd name="T55" fmla="*/ 337 h 353"/>
              <a:gd name="T56" fmla="*/ 145 w 289"/>
              <a:gd name="T57" fmla="*/ 169 h 353"/>
              <a:gd name="T58" fmla="*/ 193 w 289"/>
              <a:gd name="T59" fmla="*/ 169 h 353"/>
              <a:gd name="T60" fmla="*/ 169 w 289"/>
              <a:gd name="T61" fmla="*/ 177 h 353"/>
              <a:gd name="T62" fmla="*/ 169 w 289"/>
              <a:gd name="T63" fmla="*/ 161 h 353"/>
              <a:gd name="T64" fmla="*/ 169 w 289"/>
              <a:gd name="T65" fmla="*/ 177 h 353"/>
              <a:gd name="T66" fmla="*/ 129 w 289"/>
              <a:gd name="T67" fmla="*/ 241 h 353"/>
              <a:gd name="T68" fmla="*/ 161 w 289"/>
              <a:gd name="T69" fmla="*/ 241 h 353"/>
              <a:gd name="T70" fmla="*/ 169 w 289"/>
              <a:gd name="T71" fmla="*/ 289 h 353"/>
              <a:gd name="T72" fmla="*/ 169 w 289"/>
              <a:gd name="T73" fmla="*/ 305 h 353"/>
              <a:gd name="T74" fmla="*/ 169 w 289"/>
              <a:gd name="T75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89" h="353">
                <a:moveTo>
                  <a:pt x="81" y="257"/>
                </a:moveTo>
                <a:cubicBezTo>
                  <a:pt x="72" y="257"/>
                  <a:pt x="65" y="264"/>
                  <a:pt x="65" y="273"/>
                </a:cubicBezTo>
                <a:cubicBezTo>
                  <a:pt x="65" y="282"/>
                  <a:pt x="72" y="289"/>
                  <a:pt x="81" y="289"/>
                </a:cubicBezTo>
                <a:cubicBezTo>
                  <a:pt x="89" y="289"/>
                  <a:pt x="97" y="282"/>
                  <a:pt x="97" y="273"/>
                </a:cubicBezTo>
                <a:cubicBezTo>
                  <a:pt x="97" y="264"/>
                  <a:pt x="89" y="257"/>
                  <a:pt x="81" y="257"/>
                </a:cubicBezTo>
                <a:moveTo>
                  <a:pt x="105" y="193"/>
                </a:moveTo>
                <a:cubicBezTo>
                  <a:pt x="100" y="193"/>
                  <a:pt x="97" y="196"/>
                  <a:pt x="97" y="201"/>
                </a:cubicBezTo>
                <a:cubicBezTo>
                  <a:pt x="97" y="205"/>
                  <a:pt x="100" y="209"/>
                  <a:pt x="105" y="209"/>
                </a:cubicBezTo>
                <a:cubicBezTo>
                  <a:pt x="109" y="209"/>
                  <a:pt x="113" y="205"/>
                  <a:pt x="113" y="201"/>
                </a:cubicBezTo>
                <a:cubicBezTo>
                  <a:pt x="113" y="196"/>
                  <a:pt x="109" y="193"/>
                  <a:pt x="105" y="193"/>
                </a:cubicBezTo>
                <a:moveTo>
                  <a:pt x="217" y="257"/>
                </a:moveTo>
                <a:cubicBezTo>
                  <a:pt x="213" y="257"/>
                  <a:pt x="209" y="260"/>
                  <a:pt x="209" y="265"/>
                </a:cubicBezTo>
                <a:cubicBezTo>
                  <a:pt x="209" y="269"/>
                  <a:pt x="213" y="273"/>
                  <a:pt x="217" y="273"/>
                </a:cubicBezTo>
                <a:cubicBezTo>
                  <a:pt x="222" y="273"/>
                  <a:pt x="225" y="269"/>
                  <a:pt x="225" y="265"/>
                </a:cubicBezTo>
                <a:cubicBezTo>
                  <a:pt x="225" y="260"/>
                  <a:pt x="222" y="257"/>
                  <a:pt x="217" y="257"/>
                </a:cubicBezTo>
                <a:moveTo>
                  <a:pt x="225" y="129"/>
                </a:moveTo>
                <a:cubicBezTo>
                  <a:pt x="225" y="48"/>
                  <a:pt x="225" y="48"/>
                  <a:pt x="225" y="48"/>
                </a:cubicBezTo>
                <a:cubicBezTo>
                  <a:pt x="241" y="48"/>
                  <a:pt x="241" y="48"/>
                  <a:pt x="241" y="48"/>
                </a:cubicBezTo>
                <a:cubicBezTo>
                  <a:pt x="250" y="48"/>
                  <a:pt x="257" y="41"/>
                  <a:pt x="257" y="32"/>
                </a:cubicBezTo>
                <a:cubicBezTo>
                  <a:pt x="257" y="16"/>
                  <a:pt x="257" y="16"/>
                  <a:pt x="257" y="16"/>
                </a:cubicBezTo>
                <a:cubicBezTo>
                  <a:pt x="257" y="7"/>
                  <a:pt x="250" y="0"/>
                  <a:pt x="241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40" y="0"/>
                  <a:pt x="32" y="7"/>
                  <a:pt x="32" y="16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41"/>
                  <a:pt x="40" y="48"/>
                  <a:pt x="49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129"/>
                  <a:pt x="65" y="129"/>
                  <a:pt x="65" y="129"/>
                </a:cubicBezTo>
                <a:cubicBezTo>
                  <a:pt x="26" y="155"/>
                  <a:pt x="0" y="199"/>
                  <a:pt x="0" y="249"/>
                </a:cubicBezTo>
                <a:cubicBezTo>
                  <a:pt x="0" y="290"/>
                  <a:pt x="18" y="327"/>
                  <a:pt x="45" y="353"/>
                </a:cubicBezTo>
                <a:cubicBezTo>
                  <a:pt x="245" y="353"/>
                  <a:pt x="245" y="353"/>
                  <a:pt x="245" y="353"/>
                </a:cubicBezTo>
                <a:cubicBezTo>
                  <a:pt x="272" y="327"/>
                  <a:pt x="289" y="290"/>
                  <a:pt x="289" y="249"/>
                </a:cubicBezTo>
                <a:cubicBezTo>
                  <a:pt x="289" y="199"/>
                  <a:pt x="264" y="155"/>
                  <a:pt x="225" y="129"/>
                </a:cubicBezTo>
                <a:moveTo>
                  <a:pt x="49" y="16"/>
                </a:moveTo>
                <a:cubicBezTo>
                  <a:pt x="241" y="16"/>
                  <a:pt x="241" y="16"/>
                  <a:pt x="241" y="16"/>
                </a:cubicBezTo>
                <a:cubicBezTo>
                  <a:pt x="241" y="32"/>
                  <a:pt x="241" y="32"/>
                  <a:pt x="241" y="32"/>
                </a:cubicBezTo>
                <a:cubicBezTo>
                  <a:pt x="49" y="32"/>
                  <a:pt x="49" y="32"/>
                  <a:pt x="49" y="32"/>
                </a:cubicBezTo>
                <a:lnTo>
                  <a:pt x="49" y="16"/>
                </a:lnTo>
                <a:close/>
                <a:moveTo>
                  <a:pt x="209" y="48"/>
                </a:moveTo>
                <a:cubicBezTo>
                  <a:pt x="209" y="71"/>
                  <a:pt x="209" y="71"/>
                  <a:pt x="209" y="71"/>
                </a:cubicBezTo>
                <a:cubicBezTo>
                  <a:pt x="193" y="71"/>
                  <a:pt x="172" y="74"/>
                  <a:pt x="150" y="87"/>
                </a:cubicBezTo>
                <a:cubicBezTo>
                  <a:pt x="123" y="102"/>
                  <a:pt x="98" y="98"/>
                  <a:pt x="81" y="90"/>
                </a:cubicBezTo>
                <a:cubicBezTo>
                  <a:pt x="81" y="48"/>
                  <a:pt x="81" y="48"/>
                  <a:pt x="81" y="48"/>
                </a:cubicBezTo>
                <a:lnTo>
                  <a:pt x="209" y="48"/>
                </a:lnTo>
                <a:close/>
                <a:moveTo>
                  <a:pt x="238" y="337"/>
                </a:moveTo>
                <a:cubicBezTo>
                  <a:pt x="52" y="337"/>
                  <a:pt x="52" y="337"/>
                  <a:pt x="52" y="337"/>
                </a:cubicBezTo>
                <a:cubicBezTo>
                  <a:pt x="29" y="313"/>
                  <a:pt x="16" y="282"/>
                  <a:pt x="16" y="249"/>
                </a:cubicBezTo>
                <a:cubicBezTo>
                  <a:pt x="16" y="206"/>
                  <a:pt x="38" y="166"/>
                  <a:pt x="73" y="142"/>
                </a:cubicBezTo>
                <a:cubicBezTo>
                  <a:pt x="78" y="139"/>
                  <a:pt x="81" y="134"/>
                  <a:pt x="81" y="129"/>
                </a:cubicBezTo>
                <a:cubicBezTo>
                  <a:pt x="81" y="107"/>
                  <a:pt x="81" y="107"/>
                  <a:pt x="81" y="107"/>
                </a:cubicBezTo>
                <a:cubicBezTo>
                  <a:pt x="90" y="111"/>
                  <a:pt x="102" y="113"/>
                  <a:pt x="114" y="113"/>
                </a:cubicBezTo>
                <a:cubicBezTo>
                  <a:pt x="127" y="113"/>
                  <a:pt x="142" y="110"/>
                  <a:pt x="158" y="101"/>
                </a:cubicBezTo>
                <a:cubicBezTo>
                  <a:pt x="178" y="90"/>
                  <a:pt x="195" y="87"/>
                  <a:pt x="209" y="87"/>
                </a:cubicBezTo>
                <a:cubicBezTo>
                  <a:pt x="209" y="129"/>
                  <a:pt x="209" y="129"/>
                  <a:pt x="209" y="129"/>
                </a:cubicBezTo>
                <a:cubicBezTo>
                  <a:pt x="209" y="134"/>
                  <a:pt x="212" y="139"/>
                  <a:pt x="216" y="142"/>
                </a:cubicBezTo>
                <a:cubicBezTo>
                  <a:pt x="252" y="166"/>
                  <a:pt x="273" y="206"/>
                  <a:pt x="273" y="249"/>
                </a:cubicBezTo>
                <a:cubicBezTo>
                  <a:pt x="273" y="282"/>
                  <a:pt x="261" y="313"/>
                  <a:pt x="238" y="337"/>
                </a:cubicBezTo>
                <a:moveTo>
                  <a:pt x="169" y="145"/>
                </a:moveTo>
                <a:cubicBezTo>
                  <a:pt x="156" y="145"/>
                  <a:pt x="145" y="155"/>
                  <a:pt x="145" y="169"/>
                </a:cubicBezTo>
                <a:cubicBezTo>
                  <a:pt x="145" y="182"/>
                  <a:pt x="156" y="193"/>
                  <a:pt x="169" y="193"/>
                </a:cubicBezTo>
                <a:cubicBezTo>
                  <a:pt x="182" y="193"/>
                  <a:pt x="193" y="182"/>
                  <a:pt x="193" y="169"/>
                </a:cubicBezTo>
                <a:cubicBezTo>
                  <a:pt x="193" y="155"/>
                  <a:pt x="182" y="145"/>
                  <a:pt x="169" y="145"/>
                </a:cubicBezTo>
                <a:moveTo>
                  <a:pt x="169" y="177"/>
                </a:moveTo>
                <a:cubicBezTo>
                  <a:pt x="164" y="177"/>
                  <a:pt x="161" y="173"/>
                  <a:pt x="161" y="169"/>
                </a:cubicBezTo>
                <a:cubicBezTo>
                  <a:pt x="161" y="164"/>
                  <a:pt x="164" y="161"/>
                  <a:pt x="169" y="161"/>
                </a:cubicBezTo>
                <a:cubicBezTo>
                  <a:pt x="173" y="161"/>
                  <a:pt x="177" y="164"/>
                  <a:pt x="177" y="169"/>
                </a:cubicBezTo>
                <a:cubicBezTo>
                  <a:pt x="177" y="173"/>
                  <a:pt x="173" y="177"/>
                  <a:pt x="169" y="177"/>
                </a:cubicBezTo>
                <a:moveTo>
                  <a:pt x="145" y="225"/>
                </a:moveTo>
                <a:cubicBezTo>
                  <a:pt x="136" y="225"/>
                  <a:pt x="129" y="232"/>
                  <a:pt x="129" y="241"/>
                </a:cubicBezTo>
                <a:cubicBezTo>
                  <a:pt x="129" y="250"/>
                  <a:pt x="136" y="257"/>
                  <a:pt x="145" y="257"/>
                </a:cubicBezTo>
                <a:cubicBezTo>
                  <a:pt x="154" y="257"/>
                  <a:pt x="161" y="250"/>
                  <a:pt x="161" y="241"/>
                </a:cubicBezTo>
                <a:cubicBezTo>
                  <a:pt x="161" y="232"/>
                  <a:pt x="154" y="225"/>
                  <a:pt x="145" y="225"/>
                </a:cubicBezTo>
                <a:moveTo>
                  <a:pt x="169" y="289"/>
                </a:moveTo>
                <a:cubicBezTo>
                  <a:pt x="164" y="289"/>
                  <a:pt x="161" y="293"/>
                  <a:pt x="161" y="297"/>
                </a:cubicBezTo>
                <a:cubicBezTo>
                  <a:pt x="161" y="301"/>
                  <a:pt x="164" y="305"/>
                  <a:pt x="169" y="305"/>
                </a:cubicBezTo>
                <a:cubicBezTo>
                  <a:pt x="173" y="305"/>
                  <a:pt x="177" y="301"/>
                  <a:pt x="177" y="297"/>
                </a:cubicBezTo>
                <a:cubicBezTo>
                  <a:pt x="177" y="293"/>
                  <a:pt x="173" y="289"/>
                  <a:pt x="169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54"/>
          <p:cNvSpPr>
            <a:spLocks noEditPoints="1"/>
          </p:cNvSpPr>
          <p:nvPr/>
        </p:nvSpPr>
        <p:spPr bwMode="auto">
          <a:xfrm>
            <a:off x="6159361" y="1725591"/>
            <a:ext cx="334308" cy="326010"/>
          </a:xfrm>
          <a:custGeom>
            <a:avLst/>
            <a:gdLst>
              <a:gd name="T0" fmla="*/ 337 w 362"/>
              <a:gd name="T1" fmla="*/ 0 h 353"/>
              <a:gd name="T2" fmla="*/ 111 w 362"/>
              <a:gd name="T3" fmla="*/ 129 h 353"/>
              <a:gd name="T4" fmla="*/ 81 w 362"/>
              <a:gd name="T5" fmla="*/ 196 h 353"/>
              <a:gd name="T6" fmla="*/ 144 w 362"/>
              <a:gd name="T7" fmla="*/ 274 h 353"/>
              <a:gd name="T8" fmla="*/ 179 w 362"/>
              <a:gd name="T9" fmla="*/ 333 h 353"/>
              <a:gd name="T10" fmla="*/ 281 w 362"/>
              <a:gd name="T11" fmla="*/ 186 h 353"/>
              <a:gd name="T12" fmla="*/ 209 w 362"/>
              <a:gd name="T13" fmla="*/ 238 h 353"/>
              <a:gd name="T14" fmla="*/ 171 w 362"/>
              <a:gd name="T15" fmla="*/ 263 h 353"/>
              <a:gd name="T16" fmla="*/ 154 w 362"/>
              <a:gd name="T17" fmla="*/ 256 h 353"/>
              <a:gd name="T18" fmla="*/ 111 w 362"/>
              <a:gd name="T19" fmla="*/ 242 h 353"/>
              <a:gd name="T20" fmla="*/ 90 w 362"/>
              <a:gd name="T21" fmla="*/ 182 h 353"/>
              <a:gd name="T22" fmla="*/ 115 w 362"/>
              <a:gd name="T23" fmla="*/ 144 h 353"/>
              <a:gd name="T24" fmla="*/ 209 w 362"/>
              <a:gd name="T25" fmla="*/ 237 h 353"/>
              <a:gd name="T26" fmla="*/ 270 w 362"/>
              <a:gd name="T27" fmla="*/ 174 h 353"/>
              <a:gd name="T28" fmla="*/ 220 w 362"/>
              <a:gd name="T29" fmla="*/ 225 h 353"/>
              <a:gd name="T30" fmla="*/ 164 w 362"/>
              <a:gd name="T31" fmla="*/ 97 h 353"/>
              <a:gd name="T32" fmla="*/ 337 w 362"/>
              <a:gd name="T33" fmla="*/ 16 h 353"/>
              <a:gd name="T34" fmla="*/ 62 w 362"/>
              <a:gd name="T35" fmla="*/ 197 h 353"/>
              <a:gd name="T36" fmla="*/ 156 w 362"/>
              <a:gd name="T37" fmla="*/ 291 h 353"/>
              <a:gd name="T38" fmla="*/ 62 w 362"/>
              <a:gd name="T39" fmla="*/ 197 h 353"/>
              <a:gd name="T40" fmla="*/ 58 w 362"/>
              <a:gd name="T41" fmla="*/ 252 h 353"/>
              <a:gd name="T42" fmla="*/ 101 w 362"/>
              <a:gd name="T43" fmla="*/ 295 h 353"/>
              <a:gd name="T44" fmla="*/ 168 w 362"/>
              <a:gd name="T45" fmla="*/ 128 h 353"/>
              <a:gd name="T46" fmla="*/ 168 w 362"/>
              <a:gd name="T47" fmla="*/ 145 h 353"/>
              <a:gd name="T48" fmla="*/ 168 w 362"/>
              <a:gd name="T49" fmla="*/ 128 h 353"/>
              <a:gd name="T50" fmla="*/ 225 w 362"/>
              <a:gd name="T51" fmla="*/ 185 h 353"/>
              <a:gd name="T52" fmla="*/ 209 w 362"/>
              <a:gd name="T53" fmla="*/ 185 h 353"/>
              <a:gd name="T54" fmla="*/ 265 w 362"/>
              <a:gd name="T55" fmla="*/ 112 h 353"/>
              <a:gd name="T56" fmla="*/ 265 w 362"/>
              <a:gd name="T57" fmla="*/ 64 h 353"/>
              <a:gd name="T58" fmla="*/ 265 w 362"/>
              <a:gd name="T59" fmla="*/ 112 h 353"/>
              <a:gd name="T60" fmla="*/ 273 w 362"/>
              <a:gd name="T61" fmla="*/ 88 h 353"/>
              <a:gd name="T62" fmla="*/ 257 w 362"/>
              <a:gd name="T63" fmla="*/ 88 h 353"/>
              <a:gd name="T64" fmla="*/ 193 w 362"/>
              <a:gd name="T65" fmla="*/ 169 h 353"/>
              <a:gd name="T66" fmla="*/ 193 w 362"/>
              <a:gd name="T67" fmla="*/ 153 h 353"/>
              <a:gd name="T68" fmla="*/ 193 w 362"/>
              <a:gd name="T69" fmla="*/ 16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2" h="353">
                <a:moveTo>
                  <a:pt x="350" y="3"/>
                </a:moveTo>
                <a:cubicBezTo>
                  <a:pt x="348" y="1"/>
                  <a:pt x="344" y="0"/>
                  <a:pt x="337" y="0"/>
                </a:cubicBezTo>
                <a:cubicBezTo>
                  <a:pt x="304" y="0"/>
                  <a:pt x="215" y="25"/>
                  <a:pt x="168" y="72"/>
                </a:cubicBezTo>
                <a:cubicBezTo>
                  <a:pt x="156" y="83"/>
                  <a:pt x="119" y="117"/>
                  <a:pt x="111" y="129"/>
                </a:cubicBezTo>
                <a:cubicBezTo>
                  <a:pt x="83" y="136"/>
                  <a:pt x="43" y="152"/>
                  <a:pt x="20" y="174"/>
                </a:cubicBezTo>
                <a:cubicBezTo>
                  <a:pt x="20" y="174"/>
                  <a:pt x="48" y="174"/>
                  <a:pt x="81" y="196"/>
                </a:cubicBezTo>
                <a:cubicBezTo>
                  <a:pt x="76" y="216"/>
                  <a:pt x="82" y="237"/>
                  <a:pt x="99" y="254"/>
                </a:cubicBezTo>
                <a:cubicBezTo>
                  <a:pt x="113" y="267"/>
                  <a:pt x="128" y="274"/>
                  <a:pt x="144" y="274"/>
                </a:cubicBezTo>
                <a:cubicBezTo>
                  <a:pt x="149" y="274"/>
                  <a:pt x="153" y="273"/>
                  <a:pt x="157" y="272"/>
                </a:cubicBezTo>
                <a:cubicBezTo>
                  <a:pt x="179" y="306"/>
                  <a:pt x="179" y="333"/>
                  <a:pt x="179" y="333"/>
                </a:cubicBezTo>
                <a:cubicBezTo>
                  <a:pt x="202" y="311"/>
                  <a:pt x="217" y="270"/>
                  <a:pt x="224" y="242"/>
                </a:cubicBezTo>
                <a:cubicBezTo>
                  <a:pt x="236" y="234"/>
                  <a:pt x="270" y="197"/>
                  <a:pt x="281" y="186"/>
                </a:cubicBezTo>
                <a:cubicBezTo>
                  <a:pt x="338" y="129"/>
                  <a:pt x="362" y="14"/>
                  <a:pt x="350" y="3"/>
                </a:cubicBezTo>
                <a:moveTo>
                  <a:pt x="209" y="238"/>
                </a:moveTo>
                <a:cubicBezTo>
                  <a:pt x="203" y="260"/>
                  <a:pt x="195" y="279"/>
                  <a:pt x="187" y="295"/>
                </a:cubicBezTo>
                <a:cubicBezTo>
                  <a:pt x="183" y="285"/>
                  <a:pt x="178" y="275"/>
                  <a:pt x="171" y="263"/>
                </a:cubicBezTo>
                <a:cubicBezTo>
                  <a:pt x="168" y="259"/>
                  <a:pt x="163" y="256"/>
                  <a:pt x="157" y="256"/>
                </a:cubicBezTo>
                <a:cubicBezTo>
                  <a:pt x="156" y="256"/>
                  <a:pt x="155" y="256"/>
                  <a:pt x="154" y="256"/>
                </a:cubicBezTo>
                <a:cubicBezTo>
                  <a:pt x="150" y="257"/>
                  <a:pt x="147" y="258"/>
                  <a:pt x="144" y="258"/>
                </a:cubicBezTo>
                <a:cubicBezTo>
                  <a:pt x="132" y="258"/>
                  <a:pt x="121" y="252"/>
                  <a:pt x="111" y="242"/>
                </a:cubicBezTo>
                <a:cubicBezTo>
                  <a:pt x="98" y="230"/>
                  <a:pt x="93" y="214"/>
                  <a:pt x="97" y="200"/>
                </a:cubicBezTo>
                <a:cubicBezTo>
                  <a:pt x="98" y="193"/>
                  <a:pt x="96" y="186"/>
                  <a:pt x="90" y="182"/>
                </a:cubicBezTo>
                <a:cubicBezTo>
                  <a:pt x="79" y="175"/>
                  <a:pt x="68" y="170"/>
                  <a:pt x="58" y="167"/>
                </a:cubicBezTo>
                <a:cubicBezTo>
                  <a:pt x="74" y="158"/>
                  <a:pt x="94" y="150"/>
                  <a:pt x="115" y="144"/>
                </a:cubicBezTo>
                <a:cubicBezTo>
                  <a:pt x="116" y="144"/>
                  <a:pt x="116" y="144"/>
                  <a:pt x="116" y="144"/>
                </a:cubicBezTo>
                <a:cubicBezTo>
                  <a:pt x="209" y="237"/>
                  <a:pt x="209" y="237"/>
                  <a:pt x="209" y="237"/>
                </a:cubicBezTo>
                <a:cubicBezTo>
                  <a:pt x="209" y="237"/>
                  <a:pt x="209" y="238"/>
                  <a:pt x="209" y="238"/>
                </a:cubicBezTo>
                <a:moveTo>
                  <a:pt x="270" y="174"/>
                </a:moveTo>
                <a:cubicBezTo>
                  <a:pt x="267" y="177"/>
                  <a:pt x="262" y="183"/>
                  <a:pt x="256" y="189"/>
                </a:cubicBezTo>
                <a:cubicBezTo>
                  <a:pt x="245" y="200"/>
                  <a:pt x="230" y="216"/>
                  <a:pt x="220" y="225"/>
                </a:cubicBezTo>
                <a:cubicBezTo>
                  <a:pt x="128" y="133"/>
                  <a:pt x="128" y="133"/>
                  <a:pt x="128" y="133"/>
                </a:cubicBezTo>
                <a:cubicBezTo>
                  <a:pt x="137" y="124"/>
                  <a:pt x="154" y="108"/>
                  <a:pt x="164" y="97"/>
                </a:cubicBezTo>
                <a:cubicBezTo>
                  <a:pt x="171" y="92"/>
                  <a:pt x="176" y="87"/>
                  <a:pt x="179" y="83"/>
                </a:cubicBezTo>
                <a:cubicBezTo>
                  <a:pt x="222" y="40"/>
                  <a:pt x="306" y="16"/>
                  <a:pt x="337" y="16"/>
                </a:cubicBezTo>
                <a:cubicBezTo>
                  <a:pt x="337" y="42"/>
                  <a:pt x="315" y="129"/>
                  <a:pt x="270" y="174"/>
                </a:cubicBezTo>
                <a:moveTo>
                  <a:pt x="62" y="197"/>
                </a:moveTo>
                <a:cubicBezTo>
                  <a:pt x="0" y="353"/>
                  <a:pt x="0" y="353"/>
                  <a:pt x="0" y="353"/>
                </a:cubicBezTo>
                <a:cubicBezTo>
                  <a:pt x="156" y="291"/>
                  <a:pt x="156" y="291"/>
                  <a:pt x="156" y="291"/>
                </a:cubicBezTo>
                <a:cubicBezTo>
                  <a:pt x="153" y="291"/>
                  <a:pt x="150" y="291"/>
                  <a:pt x="148" y="291"/>
                </a:cubicBezTo>
                <a:cubicBezTo>
                  <a:pt x="100" y="291"/>
                  <a:pt x="57" y="245"/>
                  <a:pt x="62" y="197"/>
                </a:cubicBezTo>
                <a:moveTo>
                  <a:pt x="29" y="324"/>
                </a:moveTo>
                <a:cubicBezTo>
                  <a:pt x="58" y="252"/>
                  <a:pt x="58" y="252"/>
                  <a:pt x="58" y="252"/>
                </a:cubicBezTo>
                <a:cubicBezTo>
                  <a:pt x="62" y="259"/>
                  <a:pt x="67" y="266"/>
                  <a:pt x="72" y="272"/>
                </a:cubicBezTo>
                <a:cubicBezTo>
                  <a:pt x="81" y="282"/>
                  <a:pt x="91" y="290"/>
                  <a:pt x="101" y="295"/>
                </a:cubicBezTo>
                <a:lnTo>
                  <a:pt x="29" y="324"/>
                </a:lnTo>
                <a:close/>
                <a:moveTo>
                  <a:pt x="168" y="128"/>
                </a:moveTo>
                <a:cubicBezTo>
                  <a:pt x="164" y="128"/>
                  <a:pt x="160" y="132"/>
                  <a:pt x="160" y="136"/>
                </a:cubicBezTo>
                <a:cubicBezTo>
                  <a:pt x="160" y="141"/>
                  <a:pt x="164" y="145"/>
                  <a:pt x="168" y="145"/>
                </a:cubicBezTo>
                <a:cubicBezTo>
                  <a:pt x="173" y="145"/>
                  <a:pt x="176" y="141"/>
                  <a:pt x="176" y="136"/>
                </a:cubicBezTo>
                <a:cubicBezTo>
                  <a:pt x="176" y="132"/>
                  <a:pt x="173" y="128"/>
                  <a:pt x="168" y="128"/>
                </a:cubicBezTo>
                <a:moveTo>
                  <a:pt x="217" y="193"/>
                </a:moveTo>
                <a:cubicBezTo>
                  <a:pt x="221" y="193"/>
                  <a:pt x="225" y="189"/>
                  <a:pt x="225" y="185"/>
                </a:cubicBezTo>
                <a:cubicBezTo>
                  <a:pt x="225" y="180"/>
                  <a:pt x="221" y="177"/>
                  <a:pt x="217" y="177"/>
                </a:cubicBezTo>
                <a:cubicBezTo>
                  <a:pt x="212" y="177"/>
                  <a:pt x="209" y="180"/>
                  <a:pt x="209" y="185"/>
                </a:cubicBezTo>
                <a:cubicBezTo>
                  <a:pt x="209" y="189"/>
                  <a:pt x="212" y="193"/>
                  <a:pt x="217" y="193"/>
                </a:cubicBezTo>
                <a:moveTo>
                  <a:pt x="265" y="112"/>
                </a:moveTo>
                <a:cubicBezTo>
                  <a:pt x="278" y="112"/>
                  <a:pt x="289" y="102"/>
                  <a:pt x="289" y="88"/>
                </a:cubicBezTo>
                <a:cubicBezTo>
                  <a:pt x="289" y="75"/>
                  <a:pt x="278" y="64"/>
                  <a:pt x="265" y="64"/>
                </a:cubicBezTo>
                <a:cubicBezTo>
                  <a:pt x="251" y="64"/>
                  <a:pt x="241" y="75"/>
                  <a:pt x="241" y="88"/>
                </a:cubicBezTo>
                <a:cubicBezTo>
                  <a:pt x="241" y="102"/>
                  <a:pt x="251" y="112"/>
                  <a:pt x="265" y="112"/>
                </a:cubicBezTo>
                <a:moveTo>
                  <a:pt x="265" y="80"/>
                </a:moveTo>
                <a:cubicBezTo>
                  <a:pt x="269" y="80"/>
                  <a:pt x="273" y="84"/>
                  <a:pt x="273" y="88"/>
                </a:cubicBezTo>
                <a:cubicBezTo>
                  <a:pt x="273" y="93"/>
                  <a:pt x="269" y="96"/>
                  <a:pt x="265" y="96"/>
                </a:cubicBezTo>
                <a:cubicBezTo>
                  <a:pt x="260" y="96"/>
                  <a:pt x="257" y="93"/>
                  <a:pt x="257" y="88"/>
                </a:cubicBezTo>
                <a:cubicBezTo>
                  <a:pt x="257" y="84"/>
                  <a:pt x="260" y="80"/>
                  <a:pt x="265" y="80"/>
                </a:cubicBezTo>
                <a:moveTo>
                  <a:pt x="193" y="169"/>
                </a:moveTo>
                <a:cubicBezTo>
                  <a:pt x="197" y="169"/>
                  <a:pt x="201" y="165"/>
                  <a:pt x="201" y="161"/>
                </a:cubicBezTo>
                <a:cubicBezTo>
                  <a:pt x="201" y="156"/>
                  <a:pt x="197" y="153"/>
                  <a:pt x="193" y="153"/>
                </a:cubicBezTo>
                <a:cubicBezTo>
                  <a:pt x="188" y="153"/>
                  <a:pt x="185" y="156"/>
                  <a:pt x="185" y="161"/>
                </a:cubicBezTo>
                <a:cubicBezTo>
                  <a:pt x="185" y="165"/>
                  <a:pt x="188" y="169"/>
                  <a:pt x="193" y="16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9" name="Freeform 18"/>
          <p:cNvSpPr>
            <a:spLocks noEditPoints="1"/>
          </p:cNvSpPr>
          <p:nvPr/>
        </p:nvSpPr>
        <p:spPr bwMode="auto">
          <a:xfrm>
            <a:off x="4706468" y="1726777"/>
            <a:ext cx="323639" cy="324824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291447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5933186" y="3549652"/>
            <a:ext cx="267322" cy="27010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RONOGRAMA </a:t>
            </a:r>
            <a:r>
              <a:rPr lang="en-US" dirty="0">
                <a:solidFill>
                  <a:srgbClr val="FF0000"/>
                </a:solidFill>
              </a:rPr>
              <a:t>MENS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3"/>
          <p:cNvSpPr/>
          <p:nvPr/>
        </p:nvSpPr>
        <p:spPr>
          <a:xfrm>
            <a:off x="7728119" y="3953935"/>
            <a:ext cx="267322" cy="27010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Oval 4"/>
          <p:cNvSpPr/>
          <p:nvPr/>
        </p:nvSpPr>
        <p:spPr>
          <a:xfrm>
            <a:off x="8181520" y="2347913"/>
            <a:ext cx="267322" cy="27010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Oval 5"/>
          <p:cNvSpPr/>
          <p:nvPr/>
        </p:nvSpPr>
        <p:spPr>
          <a:xfrm>
            <a:off x="7282561" y="2747249"/>
            <a:ext cx="267322" cy="270106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387513"/>
              </p:ext>
            </p:extLst>
          </p:nvPr>
        </p:nvGraphicFramePr>
        <p:xfrm>
          <a:off x="5390264" y="1543050"/>
          <a:ext cx="3147312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6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496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4620"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JANEIRO 2020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4620"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eg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Ter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qua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qui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ex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áb</a:t>
                      </a:r>
                      <a:endParaRPr lang="en-US" sz="800" b="1" cap="all" baseline="0" dirty="0">
                        <a:solidFill>
                          <a:schemeClr val="bg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 err="1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dom</a:t>
                      </a:r>
                      <a:endParaRPr lang="en-US" sz="800" b="1" cap="all" baseline="0" dirty="0">
                        <a:solidFill>
                          <a:schemeClr val="bg1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7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8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9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30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3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5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6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7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8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9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0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1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2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3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4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5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6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7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18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19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0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1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2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3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4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5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6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7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8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29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30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cap="all" baseline="0" dirty="0">
                          <a:solidFill>
                            <a:schemeClr val="accent4"/>
                          </a:solidFill>
                          <a:latin typeface="Lato" panose="020F0502020204030203" pitchFamily="34" charset="0"/>
                        </a:rPr>
                        <a:t>31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593725" y="2167084"/>
            <a:ext cx="1627718" cy="474932"/>
            <a:chOff x="593725" y="2167084"/>
            <a:chExt cx="1627718" cy="474932"/>
          </a:xfrm>
        </p:grpSpPr>
        <p:sp>
          <p:nvSpPr>
            <p:cNvPr id="17" name="TextBox 16"/>
            <p:cNvSpPr txBox="1"/>
            <p:nvPr/>
          </p:nvSpPr>
          <p:spPr>
            <a:xfrm>
              <a:off x="593759" y="2167084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93725" y="2358925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820459" y="2167084"/>
            <a:ext cx="1627718" cy="474932"/>
            <a:chOff x="2820459" y="2167084"/>
            <a:chExt cx="1627718" cy="474932"/>
          </a:xfrm>
        </p:grpSpPr>
        <p:sp>
          <p:nvSpPr>
            <p:cNvPr id="33" name="TextBox 32"/>
            <p:cNvSpPr txBox="1"/>
            <p:nvPr/>
          </p:nvSpPr>
          <p:spPr>
            <a:xfrm>
              <a:off x="2820493" y="2167084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820459" y="2358925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93725" y="3697015"/>
            <a:ext cx="1627718" cy="474932"/>
            <a:chOff x="593725" y="3697015"/>
            <a:chExt cx="1627718" cy="474932"/>
          </a:xfrm>
        </p:grpSpPr>
        <p:sp>
          <p:nvSpPr>
            <p:cNvPr id="38" name="TextBox 37"/>
            <p:cNvSpPr txBox="1"/>
            <p:nvPr/>
          </p:nvSpPr>
          <p:spPr>
            <a:xfrm>
              <a:off x="593759" y="3697015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593725" y="3888856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820459" y="3697015"/>
            <a:ext cx="1627718" cy="474932"/>
            <a:chOff x="2820459" y="3697015"/>
            <a:chExt cx="1627718" cy="474932"/>
          </a:xfrm>
        </p:grpSpPr>
        <p:sp>
          <p:nvSpPr>
            <p:cNvPr id="43" name="TextBox 42"/>
            <p:cNvSpPr txBox="1"/>
            <p:nvPr/>
          </p:nvSpPr>
          <p:spPr>
            <a:xfrm>
              <a:off x="2820493" y="3697015"/>
              <a:ext cx="162765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ASSO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820459" y="3888856"/>
              <a:ext cx="162771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2535767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584202" y="2914650"/>
            <a:ext cx="3903131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3415606" y="3216212"/>
            <a:ext cx="437425" cy="333988"/>
            <a:chOff x="3032125" y="2392363"/>
            <a:chExt cx="557213" cy="425450"/>
          </a:xfrm>
          <a:solidFill>
            <a:srgbClr val="EC0000"/>
          </a:solidFill>
        </p:grpSpPr>
        <p:sp>
          <p:nvSpPr>
            <p:cNvPr id="53" name="Freeform 93"/>
            <p:cNvSpPr>
              <a:spLocks/>
            </p:cNvSpPr>
            <p:nvPr/>
          </p:nvSpPr>
          <p:spPr bwMode="auto">
            <a:xfrm>
              <a:off x="3346450" y="2573338"/>
              <a:ext cx="242888" cy="244475"/>
            </a:xfrm>
            <a:custGeom>
              <a:avLst/>
              <a:gdLst>
                <a:gd name="T0" fmla="*/ 158 w 243"/>
                <a:gd name="T1" fmla="*/ 2 h 243"/>
                <a:gd name="T2" fmla="*/ 146 w 243"/>
                <a:gd name="T3" fmla="*/ 8 h 243"/>
                <a:gd name="T4" fmla="*/ 152 w 243"/>
                <a:gd name="T5" fmla="*/ 20 h 243"/>
                <a:gd name="T6" fmla="*/ 224 w 243"/>
                <a:gd name="T7" fmla="*/ 96 h 243"/>
                <a:gd name="T8" fmla="*/ 176 w 243"/>
                <a:gd name="T9" fmla="*/ 167 h 243"/>
                <a:gd name="T10" fmla="*/ 172 w 243"/>
                <a:gd name="T11" fmla="*/ 174 h 243"/>
                <a:gd name="T12" fmla="*/ 172 w 243"/>
                <a:gd name="T13" fmla="*/ 220 h 243"/>
                <a:gd name="T14" fmla="*/ 136 w 243"/>
                <a:gd name="T15" fmla="*/ 194 h 243"/>
                <a:gd name="T16" fmla="*/ 127 w 243"/>
                <a:gd name="T17" fmla="*/ 191 h 243"/>
                <a:gd name="T18" fmla="*/ 115 w 243"/>
                <a:gd name="T19" fmla="*/ 194 h 243"/>
                <a:gd name="T20" fmla="*/ 96 w 243"/>
                <a:gd name="T21" fmla="*/ 198 h 243"/>
                <a:gd name="T22" fmla="*/ 16 w 243"/>
                <a:gd name="T23" fmla="*/ 173 h 243"/>
                <a:gd name="T24" fmla="*/ 3 w 243"/>
                <a:gd name="T25" fmla="*/ 175 h 243"/>
                <a:gd name="T26" fmla="*/ 5 w 243"/>
                <a:gd name="T27" fmla="*/ 189 h 243"/>
                <a:gd name="T28" fmla="*/ 96 w 243"/>
                <a:gd name="T29" fmla="*/ 217 h 243"/>
                <a:gd name="T30" fmla="*/ 120 w 243"/>
                <a:gd name="T31" fmla="*/ 212 h 243"/>
                <a:gd name="T32" fmla="*/ 126 w 243"/>
                <a:gd name="T33" fmla="*/ 211 h 243"/>
                <a:gd name="T34" fmla="*/ 179 w 243"/>
                <a:gd name="T35" fmla="*/ 243 h 243"/>
                <a:gd name="T36" fmla="*/ 181 w 243"/>
                <a:gd name="T37" fmla="*/ 243 h 243"/>
                <a:gd name="T38" fmla="*/ 187 w 243"/>
                <a:gd name="T39" fmla="*/ 241 h 243"/>
                <a:gd name="T40" fmla="*/ 191 w 243"/>
                <a:gd name="T41" fmla="*/ 233 h 243"/>
                <a:gd name="T42" fmla="*/ 191 w 243"/>
                <a:gd name="T43" fmla="*/ 179 h 243"/>
                <a:gd name="T44" fmla="*/ 243 w 243"/>
                <a:gd name="T45" fmla="*/ 96 h 243"/>
                <a:gd name="T46" fmla="*/ 158 w 243"/>
                <a:gd name="T47" fmla="*/ 2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243">
                  <a:moveTo>
                    <a:pt x="158" y="2"/>
                  </a:moveTo>
                  <a:cubicBezTo>
                    <a:pt x="153" y="0"/>
                    <a:pt x="148" y="3"/>
                    <a:pt x="146" y="8"/>
                  </a:cubicBezTo>
                  <a:cubicBezTo>
                    <a:pt x="145" y="13"/>
                    <a:pt x="147" y="18"/>
                    <a:pt x="152" y="20"/>
                  </a:cubicBezTo>
                  <a:cubicBezTo>
                    <a:pt x="203" y="36"/>
                    <a:pt x="224" y="58"/>
                    <a:pt x="224" y="96"/>
                  </a:cubicBezTo>
                  <a:cubicBezTo>
                    <a:pt x="224" y="129"/>
                    <a:pt x="194" y="154"/>
                    <a:pt x="176" y="167"/>
                  </a:cubicBezTo>
                  <a:cubicBezTo>
                    <a:pt x="173" y="168"/>
                    <a:pt x="172" y="171"/>
                    <a:pt x="172" y="174"/>
                  </a:cubicBezTo>
                  <a:cubicBezTo>
                    <a:pt x="172" y="220"/>
                    <a:pt x="172" y="220"/>
                    <a:pt x="172" y="220"/>
                  </a:cubicBezTo>
                  <a:cubicBezTo>
                    <a:pt x="162" y="216"/>
                    <a:pt x="148" y="209"/>
                    <a:pt x="136" y="194"/>
                  </a:cubicBezTo>
                  <a:cubicBezTo>
                    <a:pt x="134" y="192"/>
                    <a:pt x="130" y="191"/>
                    <a:pt x="127" y="191"/>
                  </a:cubicBezTo>
                  <a:cubicBezTo>
                    <a:pt x="123" y="192"/>
                    <a:pt x="119" y="193"/>
                    <a:pt x="115" y="194"/>
                  </a:cubicBezTo>
                  <a:cubicBezTo>
                    <a:pt x="109" y="196"/>
                    <a:pt x="102" y="198"/>
                    <a:pt x="96" y="198"/>
                  </a:cubicBezTo>
                  <a:cubicBezTo>
                    <a:pt x="63" y="198"/>
                    <a:pt x="40" y="191"/>
                    <a:pt x="16" y="173"/>
                  </a:cubicBezTo>
                  <a:cubicBezTo>
                    <a:pt x="12" y="170"/>
                    <a:pt x="6" y="171"/>
                    <a:pt x="3" y="175"/>
                  </a:cubicBezTo>
                  <a:cubicBezTo>
                    <a:pt x="0" y="180"/>
                    <a:pt x="1" y="185"/>
                    <a:pt x="5" y="189"/>
                  </a:cubicBezTo>
                  <a:cubicBezTo>
                    <a:pt x="32" y="208"/>
                    <a:pt x="59" y="217"/>
                    <a:pt x="96" y="217"/>
                  </a:cubicBezTo>
                  <a:cubicBezTo>
                    <a:pt x="105" y="217"/>
                    <a:pt x="113" y="214"/>
                    <a:pt x="120" y="212"/>
                  </a:cubicBezTo>
                  <a:cubicBezTo>
                    <a:pt x="122" y="212"/>
                    <a:pt x="124" y="211"/>
                    <a:pt x="126" y="211"/>
                  </a:cubicBezTo>
                  <a:cubicBezTo>
                    <a:pt x="150" y="236"/>
                    <a:pt x="178" y="242"/>
                    <a:pt x="179" y="243"/>
                  </a:cubicBezTo>
                  <a:cubicBezTo>
                    <a:pt x="180" y="243"/>
                    <a:pt x="181" y="243"/>
                    <a:pt x="181" y="243"/>
                  </a:cubicBezTo>
                  <a:cubicBezTo>
                    <a:pt x="183" y="243"/>
                    <a:pt x="185" y="242"/>
                    <a:pt x="187" y="241"/>
                  </a:cubicBezTo>
                  <a:cubicBezTo>
                    <a:pt x="189" y="239"/>
                    <a:pt x="191" y="236"/>
                    <a:pt x="191" y="233"/>
                  </a:cubicBezTo>
                  <a:cubicBezTo>
                    <a:pt x="191" y="179"/>
                    <a:pt x="191" y="179"/>
                    <a:pt x="191" y="179"/>
                  </a:cubicBezTo>
                  <a:cubicBezTo>
                    <a:pt x="224" y="155"/>
                    <a:pt x="243" y="125"/>
                    <a:pt x="243" y="96"/>
                  </a:cubicBezTo>
                  <a:cubicBezTo>
                    <a:pt x="243" y="36"/>
                    <a:pt x="194" y="13"/>
                    <a:pt x="158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94"/>
            <p:cNvSpPr>
              <a:spLocks noEditPoints="1"/>
            </p:cNvSpPr>
            <p:nvPr/>
          </p:nvSpPr>
          <p:spPr bwMode="auto">
            <a:xfrm>
              <a:off x="3032125" y="2392363"/>
              <a:ext cx="438150" cy="403225"/>
            </a:xfrm>
            <a:custGeom>
              <a:avLst/>
              <a:gdLst>
                <a:gd name="T0" fmla="*/ 438 w 438"/>
                <a:gd name="T1" fmla="*/ 180 h 404"/>
                <a:gd name="T2" fmla="*/ 376 w 438"/>
                <a:gd name="T3" fmla="*/ 52 h 404"/>
                <a:gd name="T4" fmla="*/ 221 w 438"/>
                <a:gd name="T5" fmla="*/ 0 h 404"/>
                <a:gd name="T6" fmla="*/ 0 w 438"/>
                <a:gd name="T7" fmla="*/ 180 h 404"/>
                <a:gd name="T8" fmla="*/ 79 w 438"/>
                <a:gd name="T9" fmla="*/ 309 h 404"/>
                <a:gd name="T10" fmla="*/ 79 w 438"/>
                <a:gd name="T11" fmla="*/ 394 h 404"/>
                <a:gd name="T12" fmla="*/ 83 w 438"/>
                <a:gd name="T13" fmla="*/ 402 h 404"/>
                <a:gd name="T14" fmla="*/ 88 w 438"/>
                <a:gd name="T15" fmla="*/ 404 h 404"/>
                <a:gd name="T16" fmla="*/ 92 w 438"/>
                <a:gd name="T17" fmla="*/ 403 h 404"/>
                <a:gd name="T18" fmla="*/ 177 w 438"/>
                <a:gd name="T19" fmla="*/ 340 h 404"/>
                <a:gd name="T20" fmla="*/ 228 w 438"/>
                <a:gd name="T21" fmla="*/ 346 h 404"/>
                <a:gd name="T22" fmla="*/ 438 w 438"/>
                <a:gd name="T23" fmla="*/ 180 h 404"/>
                <a:gd name="T24" fmla="*/ 228 w 438"/>
                <a:gd name="T25" fmla="*/ 327 h 404"/>
                <a:gd name="T26" fmla="*/ 175 w 438"/>
                <a:gd name="T27" fmla="*/ 321 h 404"/>
                <a:gd name="T28" fmla="*/ 166 w 438"/>
                <a:gd name="T29" fmla="*/ 324 h 404"/>
                <a:gd name="T30" fmla="*/ 97 w 438"/>
                <a:gd name="T31" fmla="*/ 379 h 404"/>
                <a:gd name="T32" fmla="*/ 97 w 438"/>
                <a:gd name="T33" fmla="*/ 304 h 404"/>
                <a:gd name="T34" fmla="*/ 93 w 438"/>
                <a:gd name="T35" fmla="*/ 296 h 404"/>
                <a:gd name="T36" fmla="*/ 19 w 438"/>
                <a:gd name="T37" fmla="*/ 180 h 404"/>
                <a:gd name="T38" fmla="*/ 221 w 438"/>
                <a:gd name="T39" fmla="*/ 19 h 404"/>
                <a:gd name="T40" fmla="*/ 419 w 438"/>
                <a:gd name="T41" fmla="*/ 180 h 404"/>
                <a:gd name="T42" fmla="*/ 228 w 438"/>
                <a:gd name="T43" fmla="*/ 32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38" h="404">
                  <a:moveTo>
                    <a:pt x="438" y="180"/>
                  </a:moveTo>
                  <a:cubicBezTo>
                    <a:pt x="438" y="131"/>
                    <a:pt x="416" y="85"/>
                    <a:pt x="376" y="52"/>
                  </a:cubicBezTo>
                  <a:cubicBezTo>
                    <a:pt x="336" y="18"/>
                    <a:pt x="281" y="0"/>
                    <a:pt x="221" y="0"/>
                  </a:cubicBezTo>
                  <a:cubicBezTo>
                    <a:pt x="97" y="0"/>
                    <a:pt x="0" y="79"/>
                    <a:pt x="0" y="180"/>
                  </a:cubicBezTo>
                  <a:cubicBezTo>
                    <a:pt x="0" y="228"/>
                    <a:pt x="27" y="272"/>
                    <a:pt x="79" y="309"/>
                  </a:cubicBezTo>
                  <a:cubicBezTo>
                    <a:pt x="79" y="394"/>
                    <a:pt x="79" y="394"/>
                    <a:pt x="79" y="394"/>
                  </a:cubicBezTo>
                  <a:cubicBezTo>
                    <a:pt x="79" y="398"/>
                    <a:pt x="80" y="401"/>
                    <a:pt x="83" y="402"/>
                  </a:cubicBezTo>
                  <a:cubicBezTo>
                    <a:pt x="84" y="403"/>
                    <a:pt x="86" y="404"/>
                    <a:pt x="88" y="404"/>
                  </a:cubicBezTo>
                  <a:cubicBezTo>
                    <a:pt x="89" y="404"/>
                    <a:pt x="91" y="403"/>
                    <a:pt x="92" y="403"/>
                  </a:cubicBezTo>
                  <a:cubicBezTo>
                    <a:pt x="94" y="402"/>
                    <a:pt x="138" y="382"/>
                    <a:pt x="177" y="340"/>
                  </a:cubicBezTo>
                  <a:cubicBezTo>
                    <a:pt x="193" y="343"/>
                    <a:pt x="211" y="346"/>
                    <a:pt x="228" y="346"/>
                  </a:cubicBezTo>
                  <a:cubicBezTo>
                    <a:pt x="354" y="346"/>
                    <a:pt x="438" y="279"/>
                    <a:pt x="438" y="180"/>
                  </a:cubicBezTo>
                  <a:close/>
                  <a:moveTo>
                    <a:pt x="228" y="327"/>
                  </a:moveTo>
                  <a:cubicBezTo>
                    <a:pt x="211" y="327"/>
                    <a:pt x="192" y="324"/>
                    <a:pt x="175" y="321"/>
                  </a:cubicBezTo>
                  <a:cubicBezTo>
                    <a:pt x="172" y="320"/>
                    <a:pt x="168" y="322"/>
                    <a:pt x="166" y="324"/>
                  </a:cubicBezTo>
                  <a:cubicBezTo>
                    <a:pt x="142" y="351"/>
                    <a:pt x="114" y="370"/>
                    <a:pt x="97" y="379"/>
                  </a:cubicBezTo>
                  <a:cubicBezTo>
                    <a:pt x="97" y="304"/>
                    <a:pt x="97" y="304"/>
                    <a:pt x="97" y="304"/>
                  </a:cubicBezTo>
                  <a:cubicBezTo>
                    <a:pt x="97" y="301"/>
                    <a:pt x="96" y="298"/>
                    <a:pt x="93" y="296"/>
                  </a:cubicBezTo>
                  <a:cubicBezTo>
                    <a:pt x="59" y="273"/>
                    <a:pt x="19" y="234"/>
                    <a:pt x="19" y="180"/>
                  </a:cubicBezTo>
                  <a:cubicBezTo>
                    <a:pt x="19" y="89"/>
                    <a:pt x="108" y="19"/>
                    <a:pt x="221" y="19"/>
                  </a:cubicBezTo>
                  <a:cubicBezTo>
                    <a:pt x="334" y="19"/>
                    <a:pt x="419" y="88"/>
                    <a:pt x="419" y="180"/>
                  </a:cubicBezTo>
                  <a:cubicBezTo>
                    <a:pt x="419" y="268"/>
                    <a:pt x="342" y="327"/>
                    <a:pt x="228" y="3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5"/>
            <p:cNvSpPr>
              <a:spLocks noEditPoints="1"/>
            </p:cNvSpPr>
            <p:nvPr/>
          </p:nvSpPr>
          <p:spPr bwMode="auto">
            <a:xfrm>
              <a:off x="3222625" y="2543175"/>
              <a:ext cx="58738" cy="58738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39 h 58"/>
                <a:gd name="T12" fmla="*/ 19 w 58"/>
                <a:gd name="T13" fmla="*/ 29 h 58"/>
                <a:gd name="T14" fmla="*/ 29 w 58"/>
                <a:gd name="T15" fmla="*/ 18 h 58"/>
                <a:gd name="T16" fmla="*/ 39 w 58"/>
                <a:gd name="T17" fmla="*/ 29 h 58"/>
                <a:gd name="T18" fmla="*/ 29 w 58"/>
                <a:gd name="T1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39"/>
                  </a:moveTo>
                  <a:cubicBezTo>
                    <a:pt x="23" y="39"/>
                    <a:pt x="19" y="34"/>
                    <a:pt x="19" y="29"/>
                  </a:cubicBezTo>
                  <a:cubicBezTo>
                    <a:pt x="19" y="23"/>
                    <a:pt x="23" y="18"/>
                    <a:pt x="29" y="18"/>
                  </a:cubicBezTo>
                  <a:cubicBezTo>
                    <a:pt x="35" y="18"/>
                    <a:pt x="39" y="23"/>
                    <a:pt x="39" y="29"/>
                  </a:cubicBezTo>
                  <a:cubicBezTo>
                    <a:pt x="39" y="34"/>
                    <a:pt x="35" y="39"/>
                    <a:pt x="29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96"/>
            <p:cNvSpPr>
              <a:spLocks noEditPoints="1"/>
            </p:cNvSpPr>
            <p:nvPr/>
          </p:nvSpPr>
          <p:spPr bwMode="auto">
            <a:xfrm>
              <a:off x="3314700" y="2543175"/>
              <a:ext cx="58738" cy="58738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39 h 58"/>
                <a:gd name="T12" fmla="*/ 18 w 58"/>
                <a:gd name="T13" fmla="*/ 29 h 58"/>
                <a:gd name="T14" fmla="*/ 29 w 58"/>
                <a:gd name="T15" fmla="*/ 18 h 58"/>
                <a:gd name="T16" fmla="*/ 39 w 58"/>
                <a:gd name="T17" fmla="*/ 29 h 58"/>
                <a:gd name="T18" fmla="*/ 29 w 58"/>
                <a:gd name="T1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39"/>
                  </a:moveTo>
                  <a:cubicBezTo>
                    <a:pt x="23" y="39"/>
                    <a:pt x="18" y="34"/>
                    <a:pt x="18" y="29"/>
                  </a:cubicBezTo>
                  <a:cubicBezTo>
                    <a:pt x="18" y="23"/>
                    <a:pt x="23" y="18"/>
                    <a:pt x="29" y="18"/>
                  </a:cubicBezTo>
                  <a:cubicBezTo>
                    <a:pt x="34" y="18"/>
                    <a:pt x="39" y="23"/>
                    <a:pt x="39" y="29"/>
                  </a:cubicBezTo>
                  <a:cubicBezTo>
                    <a:pt x="39" y="34"/>
                    <a:pt x="34" y="39"/>
                    <a:pt x="29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7"/>
            <p:cNvSpPr>
              <a:spLocks noEditPoints="1"/>
            </p:cNvSpPr>
            <p:nvPr/>
          </p:nvSpPr>
          <p:spPr bwMode="auto">
            <a:xfrm>
              <a:off x="3130550" y="2544763"/>
              <a:ext cx="58738" cy="57150"/>
            </a:xfrm>
            <a:custGeom>
              <a:avLst/>
              <a:gdLst>
                <a:gd name="T0" fmla="*/ 29 w 58"/>
                <a:gd name="T1" fmla="*/ 0 h 58"/>
                <a:gd name="T2" fmla="*/ 0 w 58"/>
                <a:gd name="T3" fmla="*/ 29 h 58"/>
                <a:gd name="T4" fmla="*/ 29 w 58"/>
                <a:gd name="T5" fmla="*/ 58 h 58"/>
                <a:gd name="T6" fmla="*/ 58 w 58"/>
                <a:gd name="T7" fmla="*/ 29 h 58"/>
                <a:gd name="T8" fmla="*/ 29 w 58"/>
                <a:gd name="T9" fmla="*/ 0 h 58"/>
                <a:gd name="T10" fmla="*/ 29 w 58"/>
                <a:gd name="T11" fmla="*/ 39 h 58"/>
                <a:gd name="T12" fmla="*/ 19 w 58"/>
                <a:gd name="T13" fmla="*/ 29 h 58"/>
                <a:gd name="T14" fmla="*/ 29 w 58"/>
                <a:gd name="T15" fmla="*/ 18 h 58"/>
                <a:gd name="T16" fmla="*/ 40 w 58"/>
                <a:gd name="T17" fmla="*/ 29 h 58"/>
                <a:gd name="T18" fmla="*/ 29 w 58"/>
                <a:gd name="T19" fmla="*/ 3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58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5"/>
                    <a:pt x="13" y="58"/>
                    <a:pt x="29" y="58"/>
                  </a:cubicBezTo>
                  <a:cubicBezTo>
                    <a:pt x="45" y="58"/>
                    <a:pt x="58" y="45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lose/>
                  <a:moveTo>
                    <a:pt x="29" y="39"/>
                  </a:moveTo>
                  <a:cubicBezTo>
                    <a:pt x="24" y="39"/>
                    <a:pt x="19" y="34"/>
                    <a:pt x="19" y="29"/>
                  </a:cubicBezTo>
                  <a:cubicBezTo>
                    <a:pt x="19" y="23"/>
                    <a:pt x="24" y="18"/>
                    <a:pt x="29" y="18"/>
                  </a:cubicBezTo>
                  <a:cubicBezTo>
                    <a:pt x="35" y="18"/>
                    <a:pt x="40" y="23"/>
                    <a:pt x="40" y="29"/>
                  </a:cubicBezTo>
                  <a:cubicBezTo>
                    <a:pt x="40" y="34"/>
                    <a:pt x="35" y="39"/>
                    <a:pt x="29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0" name="Freeform 157"/>
          <p:cNvSpPr>
            <a:spLocks noEditPoints="1"/>
          </p:cNvSpPr>
          <p:nvPr/>
        </p:nvSpPr>
        <p:spPr bwMode="auto">
          <a:xfrm>
            <a:off x="3448007" y="1706554"/>
            <a:ext cx="372622" cy="332743"/>
          </a:xfrm>
          <a:custGeom>
            <a:avLst/>
            <a:gdLst>
              <a:gd name="T0" fmla="*/ 455 w 477"/>
              <a:gd name="T1" fmla="*/ 118 h 425"/>
              <a:gd name="T2" fmla="*/ 363 w 477"/>
              <a:gd name="T3" fmla="*/ 118 h 425"/>
              <a:gd name="T4" fmla="*/ 341 w 477"/>
              <a:gd name="T5" fmla="*/ 141 h 425"/>
              <a:gd name="T6" fmla="*/ 341 w 477"/>
              <a:gd name="T7" fmla="*/ 403 h 425"/>
              <a:gd name="T8" fmla="*/ 341 w 477"/>
              <a:gd name="T9" fmla="*/ 406 h 425"/>
              <a:gd name="T10" fmla="*/ 306 w 477"/>
              <a:gd name="T11" fmla="*/ 406 h 425"/>
              <a:gd name="T12" fmla="*/ 307 w 477"/>
              <a:gd name="T13" fmla="*/ 403 h 425"/>
              <a:gd name="T14" fmla="*/ 307 w 477"/>
              <a:gd name="T15" fmla="*/ 23 h 425"/>
              <a:gd name="T16" fmla="*/ 284 w 477"/>
              <a:gd name="T17" fmla="*/ 0 h 425"/>
              <a:gd name="T18" fmla="*/ 193 w 477"/>
              <a:gd name="T19" fmla="*/ 0 h 425"/>
              <a:gd name="T20" fmla="*/ 170 w 477"/>
              <a:gd name="T21" fmla="*/ 23 h 425"/>
              <a:gd name="T22" fmla="*/ 170 w 477"/>
              <a:gd name="T23" fmla="*/ 403 h 425"/>
              <a:gd name="T24" fmla="*/ 171 w 477"/>
              <a:gd name="T25" fmla="*/ 406 h 425"/>
              <a:gd name="T26" fmla="*/ 136 w 477"/>
              <a:gd name="T27" fmla="*/ 406 h 425"/>
              <a:gd name="T28" fmla="*/ 136 w 477"/>
              <a:gd name="T29" fmla="*/ 403 h 425"/>
              <a:gd name="T30" fmla="*/ 136 w 477"/>
              <a:gd name="T31" fmla="*/ 259 h 425"/>
              <a:gd name="T32" fmla="*/ 114 w 477"/>
              <a:gd name="T33" fmla="*/ 236 h 425"/>
              <a:gd name="T34" fmla="*/ 22 w 477"/>
              <a:gd name="T35" fmla="*/ 236 h 425"/>
              <a:gd name="T36" fmla="*/ 0 w 477"/>
              <a:gd name="T37" fmla="*/ 259 h 425"/>
              <a:gd name="T38" fmla="*/ 0 w 477"/>
              <a:gd name="T39" fmla="*/ 403 h 425"/>
              <a:gd name="T40" fmla="*/ 22 w 477"/>
              <a:gd name="T41" fmla="*/ 425 h 425"/>
              <a:gd name="T42" fmla="*/ 68 w 477"/>
              <a:gd name="T43" fmla="*/ 425 h 425"/>
              <a:gd name="T44" fmla="*/ 114 w 477"/>
              <a:gd name="T45" fmla="*/ 425 h 425"/>
              <a:gd name="T46" fmla="*/ 193 w 477"/>
              <a:gd name="T47" fmla="*/ 425 h 425"/>
              <a:gd name="T48" fmla="*/ 284 w 477"/>
              <a:gd name="T49" fmla="*/ 425 h 425"/>
              <a:gd name="T50" fmla="*/ 363 w 477"/>
              <a:gd name="T51" fmla="*/ 425 h 425"/>
              <a:gd name="T52" fmla="*/ 455 w 477"/>
              <a:gd name="T53" fmla="*/ 425 h 425"/>
              <a:gd name="T54" fmla="*/ 477 w 477"/>
              <a:gd name="T55" fmla="*/ 403 h 425"/>
              <a:gd name="T56" fmla="*/ 477 w 477"/>
              <a:gd name="T57" fmla="*/ 141 h 425"/>
              <a:gd name="T58" fmla="*/ 455 w 477"/>
              <a:gd name="T59" fmla="*/ 118 h 425"/>
              <a:gd name="T60" fmla="*/ 68 w 477"/>
              <a:gd name="T61" fmla="*/ 406 h 425"/>
              <a:gd name="T62" fmla="*/ 22 w 477"/>
              <a:gd name="T63" fmla="*/ 406 h 425"/>
              <a:gd name="T64" fmla="*/ 19 w 477"/>
              <a:gd name="T65" fmla="*/ 403 h 425"/>
              <a:gd name="T66" fmla="*/ 19 w 477"/>
              <a:gd name="T67" fmla="*/ 259 h 425"/>
              <a:gd name="T68" fmla="*/ 22 w 477"/>
              <a:gd name="T69" fmla="*/ 255 h 425"/>
              <a:gd name="T70" fmla="*/ 114 w 477"/>
              <a:gd name="T71" fmla="*/ 255 h 425"/>
              <a:gd name="T72" fmla="*/ 118 w 477"/>
              <a:gd name="T73" fmla="*/ 259 h 425"/>
              <a:gd name="T74" fmla="*/ 118 w 477"/>
              <a:gd name="T75" fmla="*/ 403 h 425"/>
              <a:gd name="T76" fmla="*/ 114 w 477"/>
              <a:gd name="T77" fmla="*/ 406 h 425"/>
              <a:gd name="T78" fmla="*/ 68 w 477"/>
              <a:gd name="T79" fmla="*/ 406 h 425"/>
              <a:gd name="T80" fmla="*/ 193 w 477"/>
              <a:gd name="T81" fmla="*/ 406 h 425"/>
              <a:gd name="T82" fmla="*/ 189 w 477"/>
              <a:gd name="T83" fmla="*/ 403 h 425"/>
              <a:gd name="T84" fmla="*/ 189 w 477"/>
              <a:gd name="T85" fmla="*/ 23 h 425"/>
              <a:gd name="T86" fmla="*/ 193 w 477"/>
              <a:gd name="T87" fmla="*/ 19 h 425"/>
              <a:gd name="T88" fmla="*/ 284 w 477"/>
              <a:gd name="T89" fmla="*/ 19 h 425"/>
              <a:gd name="T90" fmla="*/ 288 w 477"/>
              <a:gd name="T91" fmla="*/ 23 h 425"/>
              <a:gd name="T92" fmla="*/ 288 w 477"/>
              <a:gd name="T93" fmla="*/ 403 h 425"/>
              <a:gd name="T94" fmla="*/ 284 w 477"/>
              <a:gd name="T95" fmla="*/ 406 h 425"/>
              <a:gd name="T96" fmla="*/ 193 w 477"/>
              <a:gd name="T97" fmla="*/ 406 h 425"/>
              <a:gd name="T98" fmla="*/ 363 w 477"/>
              <a:gd name="T99" fmla="*/ 406 h 425"/>
              <a:gd name="T100" fmla="*/ 359 w 477"/>
              <a:gd name="T101" fmla="*/ 403 h 425"/>
              <a:gd name="T102" fmla="*/ 359 w 477"/>
              <a:gd name="T103" fmla="*/ 141 h 425"/>
              <a:gd name="T104" fmla="*/ 363 w 477"/>
              <a:gd name="T105" fmla="*/ 137 h 425"/>
              <a:gd name="T106" fmla="*/ 455 w 477"/>
              <a:gd name="T107" fmla="*/ 137 h 425"/>
              <a:gd name="T108" fmla="*/ 458 w 477"/>
              <a:gd name="T109" fmla="*/ 141 h 425"/>
              <a:gd name="T110" fmla="*/ 458 w 477"/>
              <a:gd name="T111" fmla="*/ 403 h 425"/>
              <a:gd name="T112" fmla="*/ 455 w 477"/>
              <a:gd name="T113" fmla="*/ 406 h 425"/>
              <a:gd name="T114" fmla="*/ 363 w 477"/>
              <a:gd name="T115" fmla="*/ 406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7" h="425">
                <a:moveTo>
                  <a:pt x="455" y="118"/>
                </a:moveTo>
                <a:cubicBezTo>
                  <a:pt x="363" y="118"/>
                  <a:pt x="363" y="118"/>
                  <a:pt x="363" y="118"/>
                </a:cubicBezTo>
                <a:cubicBezTo>
                  <a:pt x="351" y="118"/>
                  <a:pt x="341" y="128"/>
                  <a:pt x="341" y="141"/>
                </a:cubicBezTo>
                <a:cubicBezTo>
                  <a:pt x="341" y="403"/>
                  <a:pt x="341" y="403"/>
                  <a:pt x="341" y="403"/>
                </a:cubicBezTo>
                <a:cubicBezTo>
                  <a:pt x="341" y="404"/>
                  <a:pt x="341" y="405"/>
                  <a:pt x="341" y="406"/>
                </a:cubicBezTo>
                <a:cubicBezTo>
                  <a:pt x="306" y="406"/>
                  <a:pt x="306" y="406"/>
                  <a:pt x="306" y="406"/>
                </a:cubicBezTo>
                <a:cubicBezTo>
                  <a:pt x="307" y="405"/>
                  <a:pt x="307" y="404"/>
                  <a:pt x="307" y="403"/>
                </a:cubicBezTo>
                <a:cubicBezTo>
                  <a:pt x="307" y="23"/>
                  <a:pt x="307" y="23"/>
                  <a:pt x="307" y="23"/>
                </a:cubicBezTo>
                <a:cubicBezTo>
                  <a:pt x="307" y="10"/>
                  <a:pt x="297" y="0"/>
                  <a:pt x="284" y="0"/>
                </a:cubicBezTo>
                <a:cubicBezTo>
                  <a:pt x="193" y="0"/>
                  <a:pt x="193" y="0"/>
                  <a:pt x="193" y="0"/>
                </a:cubicBezTo>
                <a:cubicBezTo>
                  <a:pt x="180" y="0"/>
                  <a:pt x="170" y="10"/>
                  <a:pt x="170" y="23"/>
                </a:cubicBezTo>
                <a:cubicBezTo>
                  <a:pt x="170" y="403"/>
                  <a:pt x="170" y="403"/>
                  <a:pt x="170" y="403"/>
                </a:cubicBezTo>
                <a:cubicBezTo>
                  <a:pt x="170" y="404"/>
                  <a:pt x="170" y="405"/>
                  <a:pt x="171" y="406"/>
                </a:cubicBezTo>
                <a:cubicBezTo>
                  <a:pt x="136" y="406"/>
                  <a:pt x="136" y="406"/>
                  <a:pt x="136" y="406"/>
                </a:cubicBezTo>
                <a:cubicBezTo>
                  <a:pt x="136" y="405"/>
                  <a:pt x="136" y="404"/>
                  <a:pt x="136" y="403"/>
                </a:cubicBezTo>
                <a:cubicBezTo>
                  <a:pt x="136" y="259"/>
                  <a:pt x="136" y="259"/>
                  <a:pt x="136" y="259"/>
                </a:cubicBezTo>
                <a:cubicBezTo>
                  <a:pt x="136" y="246"/>
                  <a:pt x="126" y="236"/>
                  <a:pt x="114" y="236"/>
                </a:cubicBezTo>
                <a:cubicBezTo>
                  <a:pt x="22" y="236"/>
                  <a:pt x="22" y="236"/>
                  <a:pt x="22" y="236"/>
                </a:cubicBezTo>
                <a:cubicBezTo>
                  <a:pt x="10" y="236"/>
                  <a:pt x="0" y="246"/>
                  <a:pt x="0" y="259"/>
                </a:cubicBezTo>
                <a:cubicBezTo>
                  <a:pt x="0" y="403"/>
                  <a:pt x="0" y="403"/>
                  <a:pt x="0" y="403"/>
                </a:cubicBezTo>
                <a:cubicBezTo>
                  <a:pt x="0" y="415"/>
                  <a:pt x="10" y="425"/>
                  <a:pt x="22" y="425"/>
                </a:cubicBezTo>
                <a:cubicBezTo>
                  <a:pt x="68" y="425"/>
                  <a:pt x="68" y="425"/>
                  <a:pt x="68" y="425"/>
                </a:cubicBezTo>
                <a:cubicBezTo>
                  <a:pt x="114" y="425"/>
                  <a:pt x="114" y="425"/>
                  <a:pt x="114" y="425"/>
                </a:cubicBezTo>
                <a:cubicBezTo>
                  <a:pt x="193" y="425"/>
                  <a:pt x="193" y="425"/>
                  <a:pt x="193" y="425"/>
                </a:cubicBezTo>
                <a:cubicBezTo>
                  <a:pt x="284" y="425"/>
                  <a:pt x="284" y="425"/>
                  <a:pt x="284" y="425"/>
                </a:cubicBezTo>
                <a:cubicBezTo>
                  <a:pt x="363" y="425"/>
                  <a:pt x="363" y="425"/>
                  <a:pt x="363" y="425"/>
                </a:cubicBezTo>
                <a:cubicBezTo>
                  <a:pt x="455" y="425"/>
                  <a:pt x="455" y="425"/>
                  <a:pt x="455" y="425"/>
                </a:cubicBezTo>
                <a:cubicBezTo>
                  <a:pt x="467" y="425"/>
                  <a:pt x="477" y="415"/>
                  <a:pt x="477" y="403"/>
                </a:cubicBezTo>
                <a:cubicBezTo>
                  <a:pt x="477" y="141"/>
                  <a:pt x="477" y="141"/>
                  <a:pt x="477" y="141"/>
                </a:cubicBezTo>
                <a:cubicBezTo>
                  <a:pt x="477" y="128"/>
                  <a:pt x="467" y="118"/>
                  <a:pt x="455" y="118"/>
                </a:cubicBezTo>
                <a:close/>
                <a:moveTo>
                  <a:pt x="68" y="406"/>
                </a:moveTo>
                <a:cubicBezTo>
                  <a:pt x="22" y="406"/>
                  <a:pt x="22" y="406"/>
                  <a:pt x="22" y="406"/>
                </a:cubicBezTo>
                <a:cubicBezTo>
                  <a:pt x="20" y="406"/>
                  <a:pt x="19" y="405"/>
                  <a:pt x="19" y="403"/>
                </a:cubicBezTo>
                <a:cubicBezTo>
                  <a:pt x="19" y="259"/>
                  <a:pt x="19" y="259"/>
                  <a:pt x="19" y="259"/>
                </a:cubicBezTo>
                <a:cubicBezTo>
                  <a:pt x="19" y="257"/>
                  <a:pt x="20" y="255"/>
                  <a:pt x="22" y="255"/>
                </a:cubicBezTo>
                <a:cubicBezTo>
                  <a:pt x="114" y="255"/>
                  <a:pt x="114" y="255"/>
                  <a:pt x="114" y="255"/>
                </a:cubicBezTo>
                <a:cubicBezTo>
                  <a:pt x="116" y="255"/>
                  <a:pt x="118" y="257"/>
                  <a:pt x="118" y="259"/>
                </a:cubicBezTo>
                <a:cubicBezTo>
                  <a:pt x="118" y="403"/>
                  <a:pt x="118" y="403"/>
                  <a:pt x="118" y="403"/>
                </a:cubicBezTo>
                <a:cubicBezTo>
                  <a:pt x="118" y="405"/>
                  <a:pt x="116" y="406"/>
                  <a:pt x="114" y="406"/>
                </a:cubicBezTo>
                <a:lnTo>
                  <a:pt x="68" y="406"/>
                </a:lnTo>
                <a:close/>
                <a:moveTo>
                  <a:pt x="193" y="406"/>
                </a:moveTo>
                <a:cubicBezTo>
                  <a:pt x="191" y="406"/>
                  <a:pt x="189" y="405"/>
                  <a:pt x="189" y="403"/>
                </a:cubicBezTo>
                <a:cubicBezTo>
                  <a:pt x="189" y="23"/>
                  <a:pt x="189" y="23"/>
                  <a:pt x="189" y="23"/>
                </a:cubicBezTo>
                <a:cubicBezTo>
                  <a:pt x="189" y="21"/>
                  <a:pt x="191" y="19"/>
                  <a:pt x="193" y="19"/>
                </a:cubicBezTo>
                <a:cubicBezTo>
                  <a:pt x="284" y="19"/>
                  <a:pt x="284" y="19"/>
                  <a:pt x="284" y="19"/>
                </a:cubicBezTo>
                <a:cubicBezTo>
                  <a:pt x="286" y="19"/>
                  <a:pt x="288" y="21"/>
                  <a:pt x="288" y="23"/>
                </a:cubicBezTo>
                <a:cubicBezTo>
                  <a:pt x="288" y="403"/>
                  <a:pt x="288" y="403"/>
                  <a:pt x="288" y="403"/>
                </a:cubicBezTo>
                <a:cubicBezTo>
                  <a:pt x="288" y="405"/>
                  <a:pt x="286" y="406"/>
                  <a:pt x="284" y="406"/>
                </a:cubicBezTo>
                <a:lnTo>
                  <a:pt x="193" y="406"/>
                </a:lnTo>
                <a:close/>
                <a:moveTo>
                  <a:pt x="363" y="406"/>
                </a:moveTo>
                <a:cubicBezTo>
                  <a:pt x="361" y="406"/>
                  <a:pt x="359" y="405"/>
                  <a:pt x="359" y="403"/>
                </a:cubicBezTo>
                <a:cubicBezTo>
                  <a:pt x="359" y="141"/>
                  <a:pt x="359" y="141"/>
                  <a:pt x="359" y="141"/>
                </a:cubicBezTo>
                <a:cubicBezTo>
                  <a:pt x="359" y="139"/>
                  <a:pt x="361" y="137"/>
                  <a:pt x="363" y="137"/>
                </a:cubicBezTo>
                <a:cubicBezTo>
                  <a:pt x="455" y="137"/>
                  <a:pt x="455" y="137"/>
                  <a:pt x="455" y="137"/>
                </a:cubicBezTo>
                <a:cubicBezTo>
                  <a:pt x="457" y="137"/>
                  <a:pt x="458" y="139"/>
                  <a:pt x="458" y="141"/>
                </a:cubicBezTo>
                <a:cubicBezTo>
                  <a:pt x="458" y="403"/>
                  <a:pt x="458" y="403"/>
                  <a:pt x="458" y="403"/>
                </a:cubicBezTo>
                <a:cubicBezTo>
                  <a:pt x="458" y="405"/>
                  <a:pt x="457" y="406"/>
                  <a:pt x="455" y="406"/>
                </a:cubicBezTo>
                <a:lnTo>
                  <a:pt x="363" y="40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6" name="Group 85"/>
          <p:cNvGrpSpPr/>
          <p:nvPr/>
        </p:nvGrpSpPr>
        <p:grpSpPr>
          <a:xfrm>
            <a:off x="1195103" y="1707800"/>
            <a:ext cx="424963" cy="331497"/>
            <a:chOff x="6272214" y="3040063"/>
            <a:chExt cx="541338" cy="422276"/>
          </a:xfrm>
          <a:solidFill>
            <a:srgbClr val="EC0000"/>
          </a:solidFill>
        </p:grpSpPr>
        <p:sp>
          <p:nvSpPr>
            <p:cNvPr id="87" name="Freeform 178"/>
            <p:cNvSpPr>
              <a:spLocks/>
            </p:cNvSpPr>
            <p:nvPr/>
          </p:nvSpPr>
          <p:spPr bwMode="auto">
            <a:xfrm>
              <a:off x="6272214" y="3143251"/>
              <a:ext cx="541338" cy="319088"/>
            </a:xfrm>
            <a:custGeom>
              <a:avLst/>
              <a:gdLst>
                <a:gd name="T0" fmla="*/ 543 w 544"/>
                <a:gd name="T1" fmla="*/ 236 h 320"/>
                <a:gd name="T2" fmla="*/ 478 w 544"/>
                <a:gd name="T3" fmla="*/ 7 h 320"/>
                <a:gd name="T4" fmla="*/ 472 w 544"/>
                <a:gd name="T5" fmla="*/ 1 h 320"/>
                <a:gd name="T6" fmla="*/ 464 w 544"/>
                <a:gd name="T7" fmla="*/ 2 h 320"/>
                <a:gd name="T8" fmla="*/ 399 w 544"/>
                <a:gd name="T9" fmla="*/ 38 h 320"/>
                <a:gd name="T10" fmla="*/ 395 w 544"/>
                <a:gd name="T11" fmla="*/ 51 h 320"/>
                <a:gd name="T12" fmla="*/ 408 w 544"/>
                <a:gd name="T13" fmla="*/ 54 h 320"/>
                <a:gd name="T14" fmla="*/ 463 w 544"/>
                <a:gd name="T15" fmla="*/ 24 h 320"/>
                <a:gd name="T16" fmla="*/ 523 w 544"/>
                <a:gd name="T17" fmla="*/ 235 h 320"/>
                <a:gd name="T18" fmla="*/ 423 w 544"/>
                <a:gd name="T19" fmla="*/ 296 h 320"/>
                <a:gd name="T20" fmla="*/ 399 w 544"/>
                <a:gd name="T21" fmla="*/ 100 h 320"/>
                <a:gd name="T22" fmla="*/ 389 w 544"/>
                <a:gd name="T23" fmla="*/ 92 h 320"/>
                <a:gd name="T24" fmla="*/ 380 w 544"/>
                <a:gd name="T25" fmla="*/ 103 h 320"/>
                <a:gd name="T26" fmla="*/ 405 w 544"/>
                <a:gd name="T27" fmla="*/ 298 h 320"/>
                <a:gd name="T28" fmla="*/ 281 w 544"/>
                <a:gd name="T29" fmla="*/ 265 h 320"/>
                <a:gd name="T30" fmla="*/ 281 w 544"/>
                <a:gd name="T31" fmla="*/ 231 h 320"/>
                <a:gd name="T32" fmla="*/ 272 w 544"/>
                <a:gd name="T33" fmla="*/ 222 h 320"/>
                <a:gd name="T34" fmla="*/ 262 w 544"/>
                <a:gd name="T35" fmla="*/ 231 h 320"/>
                <a:gd name="T36" fmla="*/ 262 w 544"/>
                <a:gd name="T37" fmla="*/ 265 h 320"/>
                <a:gd name="T38" fmla="*/ 139 w 544"/>
                <a:gd name="T39" fmla="*/ 298 h 320"/>
                <a:gd name="T40" fmla="*/ 163 w 544"/>
                <a:gd name="T41" fmla="*/ 103 h 320"/>
                <a:gd name="T42" fmla="*/ 155 w 544"/>
                <a:gd name="T43" fmla="*/ 92 h 320"/>
                <a:gd name="T44" fmla="*/ 145 w 544"/>
                <a:gd name="T45" fmla="*/ 100 h 320"/>
                <a:gd name="T46" fmla="*/ 120 w 544"/>
                <a:gd name="T47" fmla="*/ 296 h 320"/>
                <a:gd name="T48" fmla="*/ 21 w 544"/>
                <a:gd name="T49" fmla="*/ 235 h 320"/>
                <a:gd name="T50" fmla="*/ 81 w 544"/>
                <a:gd name="T51" fmla="*/ 24 h 320"/>
                <a:gd name="T52" fmla="*/ 136 w 544"/>
                <a:gd name="T53" fmla="*/ 54 h 320"/>
                <a:gd name="T54" fmla="*/ 148 w 544"/>
                <a:gd name="T55" fmla="*/ 51 h 320"/>
                <a:gd name="T56" fmla="*/ 145 w 544"/>
                <a:gd name="T57" fmla="*/ 38 h 320"/>
                <a:gd name="T58" fmla="*/ 80 w 544"/>
                <a:gd name="T59" fmla="*/ 2 h 320"/>
                <a:gd name="T60" fmla="*/ 72 w 544"/>
                <a:gd name="T61" fmla="*/ 1 h 320"/>
                <a:gd name="T62" fmla="*/ 66 w 544"/>
                <a:gd name="T63" fmla="*/ 7 h 320"/>
                <a:gd name="T64" fmla="*/ 1 w 544"/>
                <a:gd name="T65" fmla="*/ 236 h 320"/>
                <a:gd name="T66" fmla="*/ 5 w 544"/>
                <a:gd name="T67" fmla="*/ 247 h 320"/>
                <a:gd name="T68" fmla="*/ 123 w 544"/>
                <a:gd name="T69" fmla="*/ 319 h 320"/>
                <a:gd name="T70" fmla="*/ 123 w 544"/>
                <a:gd name="T71" fmla="*/ 319 h 320"/>
                <a:gd name="T72" fmla="*/ 123 w 544"/>
                <a:gd name="T73" fmla="*/ 319 h 320"/>
                <a:gd name="T74" fmla="*/ 124 w 544"/>
                <a:gd name="T75" fmla="*/ 320 h 320"/>
                <a:gd name="T76" fmla="*/ 125 w 544"/>
                <a:gd name="T77" fmla="*/ 320 h 320"/>
                <a:gd name="T78" fmla="*/ 126 w 544"/>
                <a:gd name="T79" fmla="*/ 320 h 320"/>
                <a:gd name="T80" fmla="*/ 126 w 544"/>
                <a:gd name="T81" fmla="*/ 320 h 320"/>
                <a:gd name="T82" fmla="*/ 128 w 544"/>
                <a:gd name="T83" fmla="*/ 320 h 320"/>
                <a:gd name="T84" fmla="*/ 128 w 544"/>
                <a:gd name="T85" fmla="*/ 320 h 320"/>
                <a:gd name="T86" fmla="*/ 130 w 544"/>
                <a:gd name="T87" fmla="*/ 320 h 320"/>
                <a:gd name="T88" fmla="*/ 130 w 544"/>
                <a:gd name="T89" fmla="*/ 320 h 320"/>
                <a:gd name="T90" fmla="*/ 130 w 544"/>
                <a:gd name="T91" fmla="*/ 320 h 320"/>
                <a:gd name="T92" fmla="*/ 272 w 544"/>
                <a:gd name="T93" fmla="*/ 281 h 320"/>
                <a:gd name="T94" fmla="*/ 413 w 544"/>
                <a:gd name="T95" fmla="*/ 320 h 320"/>
                <a:gd name="T96" fmla="*/ 414 w 544"/>
                <a:gd name="T97" fmla="*/ 320 h 320"/>
                <a:gd name="T98" fmla="*/ 414 w 544"/>
                <a:gd name="T99" fmla="*/ 320 h 320"/>
                <a:gd name="T100" fmla="*/ 416 w 544"/>
                <a:gd name="T101" fmla="*/ 320 h 320"/>
                <a:gd name="T102" fmla="*/ 416 w 544"/>
                <a:gd name="T103" fmla="*/ 320 h 320"/>
                <a:gd name="T104" fmla="*/ 417 w 544"/>
                <a:gd name="T105" fmla="*/ 320 h 320"/>
                <a:gd name="T106" fmla="*/ 418 w 544"/>
                <a:gd name="T107" fmla="*/ 320 h 320"/>
                <a:gd name="T108" fmla="*/ 419 w 544"/>
                <a:gd name="T109" fmla="*/ 320 h 320"/>
                <a:gd name="T110" fmla="*/ 419 w 544"/>
                <a:gd name="T111" fmla="*/ 320 h 320"/>
                <a:gd name="T112" fmla="*/ 420 w 544"/>
                <a:gd name="T113" fmla="*/ 319 h 320"/>
                <a:gd name="T114" fmla="*/ 421 w 544"/>
                <a:gd name="T115" fmla="*/ 319 h 320"/>
                <a:gd name="T116" fmla="*/ 421 w 544"/>
                <a:gd name="T117" fmla="*/ 319 h 320"/>
                <a:gd name="T118" fmla="*/ 539 w 544"/>
                <a:gd name="T119" fmla="*/ 247 h 320"/>
                <a:gd name="T120" fmla="*/ 543 w 544"/>
                <a:gd name="T121" fmla="*/ 23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4" h="320">
                  <a:moveTo>
                    <a:pt x="543" y="236"/>
                  </a:moveTo>
                  <a:cubicBezTo>
                    <a:pt x="478" y="7"/>
                    <a:pt x="478" y="7"/>
                    <a:pt x="478" y="7"/>
                  </a:cubicBezTo>
                  <a:cubicBezTo>
                    <a:pt x="477" y="4"/>
                    <a:pt x="475" y="2"/>
                    <a:pt x="472" y="1"/>
                  </a:cubicBezTo>
                  <a:cubicBezTo>
                    <a:pt x="469" y="0"/>
                    <a:pt x="466" y="0"/>
                    <a:pt x="464" y="2"/>
                  </a:cubicBezTo>
                  <a:cubicBezTo>
                    <a:pt x="399" y="38"/>
                    <a:pt x="399" y="38"/>
                    <a:pt x="399" y="38"/>
                  </a:cubicBezTo>
                  <a:cubicBezTo>
                    <a:pt x="394" y="41"/>
                    <a:pt x="393" y="46"/>
                    <a:pt x="395" y="51"/>
                  </a:cubicBezTo>
                  <a:cubicBezTo>
                    <a:pt x="398" y="55"/>
                    <a:pt x="404" y="57"/>
                    <a:pt x="408" y="54"/>
                  </a:cubicBezTo>
                  <a:cubicBezTo>
                    <a:pt x="463" y="24"/>
                    <a:pt x="463" y="24"/>
                    <a:pt x="463" y="24"/>
                  </a:cubicBezTo>
                  <a:cubicBezTo>
                    <a:pt x="523" y="235"/>
                    <a:pt x="523" y="235"/>
                    <a:pt x="523" y="235"/>
                  </a:cubicBezTo>
                  <a:cubicBezTo>
                    <a:pt x="423" y="296"/>
                    <a:pt x="423" y="296"/>
                    <a:pt x="423" y="296"/>
                  </a:cubicBezTo>
                  <a:cubicBezTo>
                    <a:pt x="399" y="100"/>
                    <a:pt x="399" y="100"/>
                    <a:pt x="399" y="100"/>
                  </a:cubicBezTo>
                  <a:cubicBezTo>
                    <a:pt x="398" y="95"/>
                    <a:pt x="394" y="92"/>
                    <a:pt x="389" y="92"/>
                  </a:cubicBezTo>
                  <a:cubicBezTo>
                    <a:pt x="383" y="93"/>
                    <a:pt x="380" y="98"/>
                    <a:pt x="380" y="103"/>
                  </a:cubicBezTo>
                  <a:cubicBezTo>
                    <a:pt x="405" y="298"/>
                    <a:pt x="405" y="298"/>
                    <a:pt x="405" y="298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31"/>
                    <a:pt x="281" y="231"/>
                    <a:pt x="281" y="231"/>
                  </a:cubicBezTo>
                  <a:cubicBezTo>
                    <a:pt x="281" y="226"/>
                    <a:pt x="277" y="222"/>
                    <a:pt x="272" y="222"/>
                  </a:cubicBezTo>
                  <a:cubicBezTo>
                    <a:pt x="267" y="222"/>
                    <a:pt x="262" y="226"/>
                    <a:pt x="262" y="231"/>
                  </a:cubicBezTo>
                  <a:cubicBezTo>
                    <a:pt x="262" y="265"/>
                    <a:pt x="262" y="265"/>
                    <a:pt x="262" y="265"/>
                  </a:cubicBezTo>
                  <a:cubicBezTo>
                    <a:pt x="139" y="298"/>
                    <a:pt x="139" y="298"/>
                    <a:pt x="139" y="298"/>
                  </a:cubicBezTo>
                  <a:cubicBezTo>
                    <a:pt x="163" y="103"/>
                    <a:pt x="163" y="103"/>
                    <a:pt x="163" y="103"/>
                  </a:cubicBezTo>
                  <a:cubicBezTo>
                    <a:pt x="164" y="98"/>
                    <a:pt x="160" y="93"/>
                    <a:pt x="155" y="92"/>
                  </a:cubicBezTo>
                  <a:cubicBezTo>
                    <a:pt x="150" y="92"/>
                    <a:pt x="145" y="95"/>
                    <a:pt x="145" y="100"/>
                  </a:cubicBezTo>
                  <a:cubicBezTo>
                    <a:pt x="120" y="296"/>
                    <a:pt x="120" y="296"/>
                    <a:pt x="120" y="296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136" y="54"/>
                    <a:pt x="136" y="54"/>
                    <a:pt x="136" y="54"/>
                  </a:cubicBezTo>
                  <a:cubicBezTo>
                    <a:pt x="140" y="57"/>
                    <a:pt x="146" y="55"/>
                    <a:pt x="148" y="51"/>
                  </a:cubicBezTo>
                  <a:cubicBezTo>
                    <a:pt x="151" y="46"/>
                    <a:pt x="149" y="41"/>
                    <a:pt x="145" y="3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7" y="0"/>
                    <a:pt x="74" y="0"/>
                    <a:pt x="72" y="1"/>
                  </a:cubicBezTo>
                  <a:cubicBezTo>
                    <a:pt x="69" y="2"/>
                    <a:pt x="67" y="4"/>
                    <a:pt x="66" y="7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0" y="241"/>
                    <a:pt x="1" y="245"/>
                    <a:pt x="5" y="247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4" y="319"/>
                    <a:pt x="124" y="320"/>
                    <a:pt x="124" y="320"/>
                  </a:cubicBezTo>
                  <a:cubicBezTo>
                    <a:pt x="124" y="320"/>
                    <a:pt x="125" y="320"/>
                    <a:pt x="125" y="320"/>
                  </a:cubicBezTo>
                  <a:cubicBezTo>
                    <a:pt x="125" y="320"/>
                    <a:pt x="125" y="320"/>
                    <a:pt x="126" y="320"/>
                  </a:cubicBezTo>
                  <a:cubicBezTo>
                    <a:pt x="126" y="320"/>
                    <a:pt x="126" y="320"/>
                    <a:pt x="126" y="320"/>
                  </a:cubicBezTo>
                  <a:cubicBezTo>
                    <a:pt x="127" y="320"/>
                    <a:pt x="127" y="320"/>
                    <a:pt x="128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8" y="320"/>
                    <a:pt x="129" y="320"/>
                    <a:pt x="130" y="320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272" y="281"/>
                    <a:pt x="272" y="281"/>
                    <a:pt x="272" y="281"/>
                  </a:cubicBezTo>
                  <a:cubicBezTo>
                    <a:pt x="413" y="320"/>
                    <a:pt x="413" y="320"/>
                    <a:pt x="413" y="320"/>
                  </a:cubicBezTo>
                  <a:cubicBezTo>
                    <a:pt x="414" y="320"/>
                    <a:pt x="414" y="320"/>
                    <a:pt x="414" y="320"/>
                  </a:cubicBezTo>
                  <a:cubicBezTo>
                    <a:pt x="414" y="320"/>
                    <a:pt x="414" y="320"/>
                    <a:pt x="414" y="320"/>
                  </a:cubicBezTo>
                  <a:cubicBezTo>
                    <a:pt x="414" y="320"/>
                    <a:pt x="415" y="320"/>
                    <a:pt x="416" y="320"/>
                  </a:cubicBezTo>
                  <a:cubicBezTo>
                    <a:pt x="416" y="320"/>
                    <a:pt x="416" y="320"/>
                    <a:pt x="416" y="320"/>
                  </a:cubicBezTo>
                  <a:cubicBezTo>
                    <a:pt x="416" y="320"/>
                    <a:pt x="417" y="320"/>
                    <a:pt x="417" y="320"/>
                  </a:cubicBezTo>
                  <a:cubicBezTo>
                    <a:pt x="418" y="320"/>
                    <a:pt x="418" y="320"/>
                    <a:pt x="418" y="320"/>
                  </a:cubicBezTo>
                  <a:cubicBezTo>
                    <a:pt x="418" y="320"/>
                    <a:pt x="419" y="320"/>
                    <a:pt x="419" y="320"/>
                  </a:cubicBezTo>
                  <a:cubicBezTo>
                    <a:pt x="419" y="320"/>
                    <a:pt x="419" y="320"/>
                    <a:pt x="419" y="320"/>
                  </a:cubicBezTo>
                  <a:cubicBezTo>
                    <a:pt x="420" y="320"/>
                    <a:pt x="420" y="319"/>
                    <a:pt x="420" y="319"/>
                  </a:cubicBezTo>
                  <a:cubicBezTo>
                    <a:pt x="421" y="319"/>
                    <a:pt x="421" y="319"/>
                    <a:pt x="421" y="319"/>
                  </a:cubicBezTo>
                  <a:cubicBezTo>
                    <a:pt x="421" y="319"/>
                    <a:pt x="421" y="319"/>
                    <a:pt x="421" y="319"/>
                  </a:cubicBezTo>
                  <a:cubicBezTo>
                    <a:pt x="539" y="247"/>
                    <a:pt x="539" y="247"/>
                    <a:pt x="539" y="247"/>
                  </a:cubicBezTo>
                  <a:cubicBezTo>
                    <a:pt x="542" y="245"/>
                    <a:pt x="544" y="241"/>
                    <a:pt x="543" y="2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79"/>
            <p:cNvSpPr>
              <a:spLocks noEditPoints="1"/>
            </p:cNvSpPr>
            <p:nvPr/>
          </p:nvSpPr>
          <p:spPr bwMode="auto">
            <a:xfrm>
              <a:off x="6429376" y="3040063"/>
              <a:ext cx="227013" cy="311150"/>
            </a:xfrm>
            <a:custGeom>
              <a:avLst/>
              <a:gdLst>
                <a:gd name="T0" fmla="*/ 107 w 228"/>
                <a:gd name="T1" fmla="*/ 311 h 313"/>
                <a:gd name="T2" fmla="*/ 114 w 228"/>
                <a:gd name="T3" fmla="*/ 313 h 313"/>
                <a:gd name="T4" fmla="*/ 120 w 228"/>
                <a:gd name="T5" fmla="*/ 311 h 313"/>
                <a:gd name="T6" fmla="*/ 228 w 228"/>
                <a:gd name="T7" fmla="*/ 114 h 313"/>
                <a:gd name="T8" fmla="*/ 114 w 228"/>
                <a:gd name="T9" fmla="*/ 0 h 313"/>
                <a:gd name="T10" fmla="*/ 0 w 228"/>
                <a:gd name="T11" fmla="*/ 114 h 313"/>
                <a:gd name="T12" fmla="*/ 107 w 228"/>
                <a:gd name="T13" fmla="*/ 311 h 313"/>
                <a:gd name="T14" fmla="*/ 114 w 228"/>
                <a:gd name="T15" fmla="*/ 18 h 313"/>
                <a:gd name="T16" fmla="*/ 209 w 228"/>
                <a:gd name="T17" fmla="*/ 114 h 313"/>
                <a:gd name="T18" fmla="*/ 114 w 228"/>
                <a:gd name="T19" fmla="*/ 291 h 313"/>
                <a:gd name="T20" fmla="*/ 18 w 228"/>
                <a:gd name="T21" fmla="*/ 114 h 313"/>
                <a:gd name="T22" fmla="*/ 114 w 228"/>
                <a:gd name="T23" fmla="*/ 18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313">
                  <a:moveTo>
                    <a:pt x="107" y="311"/>
                  </a:moveTo>
                  <a:cubicBezTo>
                    <a:pt x="109" y="312"/>
                    <a:pt x="112" y="313"/>
                    <a:pt x="114" y="313"/>
                  </a:cubicBezTo>
                  <a:cubicBezTo>
                    <a:pt x="116" y="313"/>
                    <a:pt x="118" y="312"/>
                    <a:pt x="120" y="311"/>
                  </a:cubicBezTo>
                  <a:cubicBezTo>
                    <a:pt x="125" y="307"/>
                    <a:pt x="228" y="212"/>
                    <a:pt x="228" y="114"/>
                  </a:cubicBezTo>
                  <a:cubicBezTo>
                    <a:pt x="228" y="50"/>
                    <a:pt x="178" y="0"/>
                    <a:pt x="114" y="0"/>
                  </a:cubicBezTo>
                  <a:cubicBezTo>
                    <a:pt x="50" y="0"/>
                    <a:pt x="0" y="50"/>
                    <a:pt x="0" y="114"/>
                  </a:cubicBezTo>
                  <a:cubicBezTo>
                    <a:pt x="0" y="210"/>
                    <a:pt x="103" y="307"/>
                    <a:pt x="107" y="311"/>
                  </a:cubicBezTo>
                  <a:close/>
                  <a:moveTo>
                    <a:pt x="114" y="18"/>
                  </a:moveTo>
                  <a:cubicBezTo>
                    <a:pt x="168" y="18"/>
                    <a:pt x="209" y="59"/>
                    <a:pt x="209" y="114"/>
                  </a:cubicBezTo>
                  <a:cubicBezTo>
                    <a:pt x="209" y="190"/>
                    <a:pt x="136" y="269"/>
                    <a:pt x="114" y="291"/>
                  </a:cubicBezTo>
                  <a:cubicBezTo>
                    <a:pt x="92" y="268"/>
                    <a:pt x="18" y="189"/>
                    <a:pt x="18" y="114"/>
                  </a:cubicBezTo>
                  <a:cubicBezTo>
                    <a:pt x="18" y="59"/>
                    <a:pt x="59" y="18"/>
                    <a:pt x="11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80"/>
            <p:cNvSpPr>
              <a:spLocks noEditPoints="1"/>
            </p:cNvSpPr>
            <p:nvPr/>
          </p:nvSpPr>
          <p:spPr bwMode="auto">
            <a:xfrm>
              <a:off x="6480176" y="3090863"/>
              <a:ext cx="123825" cy="123825"/>
            </a:xfrm>
            <a:custGeom>
              <a:avLst/>
              <a:gdLst>
                <a:gd name="T0" fmla="*/ 124 w 124"/>
                <a:gd name="T1" fmla="*/ 62 h 124"/>
                <a:gd name="T2" fmla="*/ 62 w 124"/>
                <a:gd name="T3" fmla="*/ 0 h 124"/>
                <a:gd name="T4" fmla="*/ 0 w 124"/>
                <a:gd name="T5" fmla="*/ 62 h 124"/>
                <a:gd name="T6" fmla="*/ 62 w 124"/>
                <a:gd name="T7" fmla="*/ 124 h 124"/>
                <a:gd name="T8" fmla="*/ 124 w 124"/>
                <a:gd name="T9" fmla="*/ 62 h 124"/>
                <a:gd name="T10" fmla="*/ 62 w 124"/>
                <a:gd name="T11" fmla="*/ 105 h 124"/>
                <a:gd name="T12" fmla="*/ 19 w 124"/>
                <a:gd name="T13" fmla="*/ 62 h 124"/>
                <a:gd name="T14" fmla="*/ 62 w 124"/>
                <a:gd name="T15" fmla="*/ 19 h 124"/>
                <a:gd name="T16" fmla="*/ 105 w 124"/>
                <a:gd name="T17" fmla="*/ 62 h 124"/>
                <a:gd name="T18" fmla="*/ 62 w 124"/>
                <a:gd name="T19" fmla="*/ 10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124">
                  <a:moveTo>
                    <a:pt x="124" y="62"/>
                  </a:moveTo>
                  <a:cubicBezTo>
                    <a:pt x="124" y="28"/>
                    <a:pt x="96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96"/>
                    <a:pt x="28" y="124"/>
                    <a:pt x="62" y="124"/>
                  </a:cubicBezTo>
                  <a:cubicBezTo>
                    <a:pt x="96" y="124"/>
                    <a:pt x="124" y="96"/>
                    <a:pt x="124" y="62"/>
                  </a:cubicBezTo>
                  <a:close/>
                  <a:moveTo>
                    <a:pt x="62" y="105"/>
                  </a:moveTo>
                  <a:cubicBezTo>
                    <a:pt x="38" y="105"/>
                    <a:pt x="19" y="86"/>
                    <a:pt x="19" y="62"/>
                  </a:cubicBezTo>
                  <a:cubicBezTo>
                    <a:pt x="19" y="38"/>
                    <a:pt x="38" y="19"/>
                    <a:pt x="62" y="19"/>
                  </a:cubicBezTo>
                  <a:cubicBezTo>
                    <a:pt x="86" y="19"/>
                    <a:pt x="105" y="38"/>
                    <a:pt x="105" y="62"/>
                  </a:cubicBezTo>
                  <a:cubicBezTo>
                    <a:pt x="105" y="86"/>
                    <a:pt x="86" y="105"/>
                    <a:pt x="62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1238721" y="3214966"/>
            <a:ext cx="337727" cy="336480"/>
            <a:chOff x="1403350" y="1023938"/>
            <a:chExt cx="430213" cy="428625"/>
          </a:xfrm>
          <a:solidFill>
            <a:srgbClr val="EC0000"/>
          </a:solidFill>
        </p:grpSpPr>
        <p:sp>
          <p:nvSpPr>
            <p:cNvPr id="91" name="Freeform 123"/>
            <p:cNvSpPr>
              <a:spLocks/>
            </p:cNvSpPr>
            <p:nvPr/>
          </p:nvSpPr>
          <p:spPr bwMode="auto">
            <a:xfrm>
              <a:off x="1631950" y="1252538"/>
              <a:ext cx="201613" cy="200025"/>
            </a:xfrm>
            <a:custGeom>
              <a:avLst/>
              <a:gdLst>
                <a:gd name="T0" fmla="*/ 105 w 202"/>
                <a:gd name="T1" fmla="*/ 4 h 199"/>
                <a:gd name="T2" fmla="*/ 92 w 202"/>
                <a:gd name="T3" fmla="*/ 4 h 199"/>
                <a:gd name="T4" fmla="*/ 92 w 202"/>
                <a:gd name="T5" fmla="*/ 17 h 199"/>
                <a:gd name="T6" fmla="*/ 180 w 202"/>
                <a:gd name="T7" fmla="*/ 105 h 199"/>
                <a:gd name="T8" fmla="*/ 179 w 202"/>
                <a:gd name="T9" fmla="*/ 112 h 199"/>
                <a:gd name="T10" fmla="*/ 113 w 202"/>
                <a:gd name="T11" fmla="*/ 178 h 199"/>
                <a:gd name="T12" fmla="*/ 106 w 202"/>
                <a:gd name="T13" fmla="*/ 181 h 199"/>
                <a:gd name="T14" fmla="*/ 106 w 202"/>
                <a:gd name="T15" fmla="*/ 181 h 199"/>
                <a:gd name="T16" fmla="*/ 100 w 202"/>
                <a:gd name="T17" fmla="*/ 178 h 199"/>
                <a:gd name="T18" fmla="*/ 87 w 202"/>
                <a:gd name="T19" fmla="*/ 165 h 199"/>
                <a:gd name="T20" fmla="*/ 133 w 202"/>
                <a:gd name="T21" fmla="*/ 119 h 199"/>
                <a:gd name="T22" fmla="*/ 133 w 202"/>
                <a:gd name="T23" fmla="*/ 106 h 199"/>
                <a:gd name="T24" fmla="*/ 120 w 202"/>
                <a:gd name="T25" fmla="*/ 106 h 199"/>
                <a:gd name="T26" fmla="*/ 74 w 202"/>
                <a:gd name="T27" fmla="*/ 151 h 199"/>
                <a:gd name="T28" fmla="*/ 49 w 202"/>
                <a:gd name="T29" fmla="*/ 125 h 199"/>
                <a:gd name="T30" fmla="*/ 68 w 202"/>
                <a:gd name="T31" fmla="*/ 106 h 199"/>
                <a:gd name="T32" fmla="*/ 68 w 202"/>
                <a:gd name="T33" fmla="*/ 92 h 199"/>
                <a:gd name="T34" fmla="*/ 54 w 202"/>
                <a:gd name="T35" fmla="*/ 92 h 199"/>
                <a:gd name="T36" fmla="*/ 35 w 202"/>
                <a:gd name="T37" fmla="*/ 111 h 199"/>
                <a:gd name="T38" fmla="*/ 17 w 202"/>
                <a:gd name="T39" fmla="*/ 93 h 199"/>
                <a:gd name="T40" fmla="*/ 4 w 202"/>
                <a:gd name="T41" fmla="*/ 93 h 199"/>
                <a:gd name="T42" fmla="*/ 4 w 202"/>
                <a:gd name="T43" fmla="*/ 106 h 199"/>
                <a:gd name="T44" fmla="*/ 87 w 202"/>
                <a:gd name="T45" fmla="*/ 191 h 199"/>
                <a:gd name="T46" fmla="*/ 87 w 202"/>
                <a:gd name="T47" fmla="*/ 192 h 199"/>
                <a:gd name="T48" fmla="*/ 106 w 202"/>
                <a:gd name="T49" fmla="*/ 199 h 199"/>
                <a:gd name="T50" fmla="*/ 106 w 202"/>
                <a:gd name="T51" fmla="*/ 199 h 199"/>
                <a:gd name="T52" fmla="*/ 127 w 202"/>
                <a:gd name="T53" fmla="*/ 192 h 199"/>
                <a:gd name="T54" fmla="*/ 192 w 202"/>
                <a:gd name="T55" fmla="*/ 125 h 199"/>
                <a:gd name="T56" fmla="*/ 193 w 202"/>
                <a:gd name="T57" fmla="*/ 91 h 199"/>
                <a:gd name="T58" fmla="*/ 105 w 202"/>
                <a:gd name="T59" fmla="*/ 4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2" h="199">
                  <a:moveTo>
                    <a:pt x="105" y="4"/>
                  </a:moveTo>
                  <a:cubicBezTo>
                    <a:pt x="101" y="0"/>
                    <a:pt x="96" y="0"/>
                    <a:pt x="92" y="4"/>
                  </a:cubicBezTo>
                  <a:cubicBezTo>
                    <a:pt x="88" y="7"/>
                    <a:pt x="88" y="13"/>
                    <a:pt x="92" y="17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106"/>
                    <a:pt x="181" y="110"/>
                    <a:pt x="179" y="112"/>
                  </a:cubicBezTo>
                  <a:cubicBezTo>
                    <a:pt x="113" y="178"/>
                    <a:pt x="113" y="178"/>
                    <a:pt x="113" y="178"/>
                  </a:cubicBezTo>
                  <a:cubicBezTo>
                    <a:pt x="112" y="179"/>
                    <a:pt x="109" y="181"/>
                    <a:pt x="106" y="181"/>
                  </a:cubicBezTo>
                  <a:cubicBezTo>
                    <a:pt x="106" y="181"/>
                    <a:pt x="106" y="181"/>
                    <a:pt x="106" y="181"/>
                  </a:cubicBezTo>
                  <a:cubicBezTo>
                    <a:pt x="104" y="181"/>
                    <a:pt x="102" y="180"/>
                    <a:pt x="100" y="178"/>
                  </a:cubicBezTo>
                  <a:cubicBezTo>
                    <a:pt x="100" y="178"/>
                    <a:pt x="95" y="173"/>
                    <a:pt x="87" y="165"/>
                  </a:cubicBezTo>
                  <a:cubicBezTo>
                    <a:pt x="133" y="119"/>
                    <a:pt x="133" y="119"/>
                    <a:pt x="133" y="119"/>
                  </a:cubicBezTo>
                  <a:cubicBezTo>
                    <a:pt x="137" y="115"/>
                    <a:pt x="137" y="109"/>
                    <a:pt x="133" y="106"/>
                  </a:cubicBezTo>
                  <a:cubicBezTo>
                    <a:pt x="129" y="102"/>
                    <a:pt x="123" y="102"/>
                    <a:pt x="120" y="106"/>
                  </a:cubicBezTo>
                  <a:cubicBezTo>
                    <a:pt x="74" y="151"/>
                    <a:pt x="74" y="151"/>
                    <a:pt x="74" y="151"/>
                  </a:cubicBezTo>
                  <a:cubicBezTo>
                    <a:pt x="67" y="143"/>
                    <a:pt x="58" y="135"/>
                    <a:pt x="49" y="125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71" y="102"/>
                    <a:pt x="71" y="96"/>
                    <a:pt x="68" y="92"/>
                  </a:cubicBezTo>
                  <a:cubicBezTo>
                    <a:pt x="64" y="89"/>
                    <a:pt x="58" y="89"/>
                    <a:pt x="54" y="9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0" y="105"/>
                    <a:pt x="24" y="99"/>
                    <a:pt x="17" y="93"/>
                  </a:cubicBezTo>
                  <a:cubicBezTo>
                    <a:pt x="14" y="89"/>
                    <a:pt x="8" y="89"/>
                    <a:pt x="4" y="93"/>
                  </a:cubicBezTo>
                  <a:cubicBezTo>
                    <a:pt x="0" y="97"/>
                    <a:pt x="0" y="103"/>
                    <a:pt x="4" y="106"/>
                  </a:cubicBezTo>
                  <a:cubicBezTo>
                    <a:pt x="53" y="155"/>
                    <a:pt x="86" y="191"/>
                    <a:pt x="87" y="191"/>
                  </a:cubicBezTo>
                  <a:cubicBezTo>
                    <a:pt x="87" y="191"/>
                    <a:pt x="87" y="192"/>
                    <a:pt x="87" y="192"/>
                  </a:cubicBezTo>
                  <a:cubicBezTo>
                    <a:pt x="92" y="197"/>
                    <a:pt x="99" y="199"/>
                    <a:pt x="106" y="199"/>
                  </a:cubicBezTo>
                  <a:cubicBezTo>
                    <a:pt x="106" y="199"/>
                    <a:pt x="106" y="199"/>
                    <a:pt x="106" y="199"/>
                  </a:cubicBezTo>
                  <a:cubicBezTo>
                    <a:pt x="114" y="199"/>
                    <a:pt x="122" y="196"/>
                    <a:pt x="127" y="192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201" y="116"/>
                    <a:pt x="202" y="100"/>
                    <a:pt x="193" y="91"/>
                  </a:cubicBezTo>
                  <a:lnTo>
                    <a:pt x="105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24"/>
            <p:cNvSpPr>
              <a:spLocks/>
            </p:cNvSpPr>
            <p:nvPr/>
          </p:nvSpPr>
          <p:spPr bwMode="auto">
            <a:xfrm>
              <a:off x="1403350" y="1023938"/>
              <a:ext cx="206375" cy="204788"/>
            </a:xfrm>
            <a:custGeom>
              <a:avLst/>
              <a:gdLst>
                <a:gd name="T0" fmla="*/ 98 w 205"/>
                <a:gd name="T1" fmla="*/ 203 h 205"/>
                <a:gd name="T2" fmla="*/ 105 w 205"/>
                <a:gd name="T3" fmla="*/ 205 h 205"/>
                <a:gd name="T4" fmla="*/ 112 w 205"/>
                <a:gd name="T5" fmla="*/ 203 h 205"/>
                <a:gd name="T6" fmla="*/ 112 w 205"/>
                <a:gd name="T7" fmla="*/ 189 h 205"/>
                <a:gd name="T8" fmla="*/ 92 w 205"/>
                <a:gd name="T9" fmla="*/ 170 h 205"/>
                <a:gd name="T10" fmla="*/ 111 w 205"/>
                <a:gd name="T11" fmla="*/ 151 h 205"/>
                <a:gd name="T12" fmla="*/ 111 w 205"/>
                <a:gd name="T13" fmla="*/ 138 h 205"/>
                <a:gd name="T14" fmla="*/ 98 w 205"/>
                <a:gd name="T15" fmla="*/ 138 h 205"/>
                <a:gd name="T16" fmla="*/ 79 w 205"/>
                <a:gd name="T17" fmla="*/ 157 h 205"/>
                <a:gd name="T18" fmla="*/ 53 w 205"/>
                <a:gd name="T19" fmla="*/ 131 h 205"/>
                <a:gd name="T20" fmla="*/ 98 w 205"/>
                <a:gd name="T21" fmla="*/ 86 h 205"/>
                <a:gd name="T22" fmla="*/ 98 w 205"/>
                <a:gd name="T23" fmla="*/ 72 h 205"/>
                <a:gd name="T24" fmla="*/ 85 w 205"/>
                <a:gd name="T25" fmla="*/ 72 h 205"/>
                <a:gd name="T26" fmla="*/ 39 w 205"/>
                <a:gd name="T27" fmla="*/ 118 h 205"/>
                <a:gd name="T28" fmla="*/ 26 w 205"/>
                <a:gd name="T29" fmla="*/ 105 h 205"/>
                <a:gd name="T30" fmla="*/ 26 w 205"/>
                <a:gd name="T31" fmla="*/ 92 h 205"/>
                <a:gd name="T32" fmla="*/ 91 w 205"/>
                <a:gd name="T33" fmla="*/ 27 h 205"/>
                <a:gd name="T34" fmla="*/ 104 w 205"/>
                <a:gd name="T35" fmla="*/ 27 h 205"/>
                <a:gd name="T36" fmla="*/ 188 w 205"/>
                <a:gd name="T37" fmla="*/ 115 h 205"/>
                <a:gd name="T38" fmla="*/ 201 w 205"/>
                <a:gd name="T39" fmla="*/ 115 h 205"/>
                <a:gd name="T40" fmla="*/ 201 w 205"/>
                <a:gd name="T41" fmla="*/ 102 h 205"/>
                <a:gd name="T42" fmla="*/ 118 w 205"/>
                <a:gd name="T43" fmla="*/ 14 h 205"/>
                <a:gd name="T44" fmla="*/ 118 w 205"/>
                <a:gd name="T45" fmla="*/ 14 h 205"/>
                <a:gd name="T46" fmla="*/ 78 w 205"/>
                <a:gd name="T47" fmla="*/ 14 h 205"/>
                <a:gd name="T48" fmla="*/ 13 w 205"/>
                <a:gd name="T49" fmla="*/ 79 h 205"/>
                <a:gd name="T50" fmla="*/ 13 w 205"/>
                <a:gd name="T51" fmla="*/ 119 h 205"/>
                <a:gd name="T52" fmla="*/ 98 w 205"/>
                <a:gd name="T53" fmla="*/ 20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5" h="205">
                  <a:moveTo>
                    <a:pt x="98" y="203"/>
                  </a:moveTo>
                  <a:cubicBezTo>
                    <a:pt x="100" y="205"/>
                    <a:pt x="103" y="205"/>
                    <a:pt x="105" y="205"/>
                  </a:cubicBezTo>
                  <a:cubicBezTo>
                    <a:pt x="108" y="205"/>
                    <a:pt x="110" y="205"/>
                    <a:pt x="112" y="203"/>
                  </a:cubicBezTo>
                  <a:cubicBezTo>
                    <a:pt x="115" y="199"/>
                    <a:pt x="115" y="193"/>
                    <a:pt x="112" y="189"/>
                  </a:cubicBezTo>
                  <a:cubicBezTo>
                    <a:pt x="105" y="183"/>
                    <a:pt x="98" y="176"/>
                    <a:pt x="92" y="170"/>
                  </a:cubicBezTo>
                  <a:cubicBezTo>
                    <a:pt x="111" y="151"/>
                    <a:pt x="111" y="151"/>
                    <a:pt x="111" y="151"/>
                  </a:cubicBezTo>
                  <a:cubicBezTo>
                    <a:pt x="115" y="148"/>
                    <a:pt x="115" y="142"/>
                    <a:pt x="111" y="138"/>
                  </a:cubicBezTo>
                  <a:cubicBezTo>
                    <a:pt x="107" y="134"/>
                    <a:pt x="102" y="134"/>
                    <a:pt x="98" y="138"/>
                  </a:cubicBezTo>
                  <a:cubicBezTo>
                    <a:pt x="79" y="157"/>
                    <a:pt x="79" y="157"/>
                    <a:pt x="79" y="157"/>
                  </a:cubicBezTo>
                  <a:cubicBezTo>
                    <a:pt x="69" y="147"/>
                    <a:pt x="60" y="138"/>
                    <a:pt x="53" y="131"/>
                  </a:cubicBezTo>
                  <a:cubicBezTo>
                    <a:pt x="98" y="86"/>
                    <a:pt x="98" y="86"/>
                    <a:pt x="98" y="86"/>
                  </a:cubicBezTo>
                  <a:cubicBezTo>
                    <a:pt x="102" y="82"/>
                    <a:pt x="102" y="76"/>
                    <a:pt x="98" y="72"/>
                  </a:cubicBezTo>
                  <a:cubicBezTo>
                    <a:pt x="94" y="69"/>
                    <a:pt x="88" y="69"/>
                    <a:pt x="85" y="72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1" y="110"/>
                    <a:pt x="26" y="105"/>
                    <a:pt x="26" y="105"/>
                  </a:cubicBezTo>
                  <a:cubicBezTo>
                    <a:pt x="26" y="105"/>
                    <a:pt x="20" y="98"/>
                    <a:pt x="26" y="92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6" y="23"/>
                    <a:pt x="100" y="22"/>
                    <a:pt x="104" y="27"/>
                  </a:cubicBezTo>
                  <a:cubicBezTo>
                    <a:pt x="107" y="30"/>
                    <a:pt x="140" y="67"/>
                    <a:pt x="188" y="115"/>
                  </a:cubicBezTo>
                  <a:cubicBezTo>
                    <a:pt x="192" y="119"/>
                    <a:pt x="198" y="119"/>
                    <a:pt x="201" y="115"/>
                  </a:cubicBezTo>
                  <a:cubicBezTo>
                    <a:pt x="205" y="111"/>
                    <a:pt x="205" y="105"/>
                    <a:pt x="201" y="102"/>
                  </a:cubicBezTo>
                  <a:cubicBezTo>
                    <a:pt x="151" y="52"/>
                    <a:pt x="118" y="14"/>
                    <a:pt x="118" y="14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04" y="0"/>
                    <a:pt x="88" y="4"/>
                    <a:pt x="78" y="14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0" y="91"/>
                    <a:pt x="3" y="109"/>
                    <a:pt x="13" y="119"/>
                  </a:cubicBezTo>
                  <a:cubicBezTo>
                    <a:pt x="13" y="119"/>
                    <a:pt x="49" y="153"/>
                    <a:pt x="98" y="2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25"/>
            <p:cNvSpPr>
              <a:spLocks noEditPoints="1"/>
            </p:cNvSpPr>
            <p:nvPr/>
          </p:nvSpPr>
          <p:spPr bwMode="auto">
            <a:xfrm>
              <a:off x="1406525" y="1027113"/>
              <a:ext cx="427038" cy="425450"/>
            </a:xfrm>
            <a:custGeom>
              <a:avLst/>
              <a:gdLst>
                <a:gd name="T0" fmla="*/ 373 w 427"/>
                <a:gd name="T1" fmla="*/ 156 h 425"/>
                <a:gd name="T2" fmla="*/ 420 w 427"/>
                <a:gd name="T3" fmla="*/ 109 h 425"/>
                <a:gd name="T4" fmla="*/ 427 w 427"/>
                <a:gd name="T5" fmla="*/ 92 h 425"/>
                <a:gd name="T6" fmla="*/ 420 w 427"/>
                <a:gd name="T7" fmla="*/ 76 h 425"/>
                <a:gd name="T8" fmla="*/ 351 w 427"/>
                <a:gd name="T9" fmla="*/ 7 h 425"/>
                <a:gd name="T10" fmla="*/ 335 w 427"/>
                <a:gd name="T11" fmla="*/ 0 h 425"/>
                <a:gd name="T12" fmla="*/ 319 w 427"/>
                <a:gd name="T13" fmla="*/ 7 h 425"/>
                <a:gd name="T14" fmla="*/ 270 w 427"/>
                <a:gd name="T15" fmla="*/ 56 h 425"/>
                <a:gd name="T16" fmla="*/ 268 w 427"/>
                <a:gd name="T17" fmla="*/ 58 h 425"/>
                <a:gd name="T18" fmla="*/ 45 w 427"/>
                <a:gd name="T19" fmla="*/ 282 h 425"/>
                <a:gd name="T20" fmla="*/ 42 w 427"/>
                <a:gd name="T21" fmla="*/ 285 h 425"/>
                <a:gd name="T22" fmla="*/ 1 w 427"/>
                <a:gd name="T23" fmla="*/ 413 h 425"/>
                <a:gd name="T24" fmla="*/ 3 w 427"/>
                <a:gd name="T25" fmla="*/ 422 h 425"/>
                <a:gd name="T26" fmla="*/ 10 w 427"/>
                <a:gd name="T27" fmla="*/ 425 h 425"/>
                <a:gd name="T28" fmla="*/ 12 w 427"/>
                <a:gd name="T29" fmla="*/ 424 h 425"/>
                <a:gd name="T30" fmla="*/ 143 w 427"/>
                <a:gd name="T31" fmla="*/ 385 h 425"/>
                <a:gd name="T32" fmla="*/ 147 w 427"/>
                <a:gd name="T33" fmla="*/ 383 h 425"/>
                <a:gd name="T34" fmla="*/ 371 w 427"/>
                <a:gd name="T35" fmla="*/ 158 h 425"/>
                <a:gd name="T36" fmla="*/ 373 w 427"/>
                <a:gd name="T37" fmla="*/ 156 h 425"/>
                <a:gd name="T38" fmla="*/ 332 w 427"/>
                <a:gd name="T39" fmla="*/ 20 h 425"/>
                <a:gd name="T40" fmla="*/ 335 w 427"/>
                <a:gd name="T41" fmla="*/ 19 h 425"/>
                <a:gd name="T42" fmla="*/ 338 w 427"/>
                <a:gd name="T43" fmla="*/ 20 h 425"/>
                <a:gd name="T44" fmla="*/ 407 w 427"/>
                <a:gd name="T45" fmla="*/ 89 h 425"/>
                <a:gd name="T46" fmla="*/ 408 w 427"/>
                <a:gd name="T47" fmla="*/ 92 h 425"/>
                <a:gd name="T48" fmla="*/ 407 w 427"/>
                <a:gd name="T49" fmla="*/ 95 h 425"/>
                <a:gd name="T50" fmla="*/ 365 w 427"/>
                <a:gd name="T51" fmla="*/ 138 h 425"/>
                <a:gd name="T52" fmla="*/ 290 w 427"/>
                <a:gd name="T53" fmla="*/ 63 h 425"/>
                <a:gd name="T54" fmla="*/ 332 w 427"/>
                <a:gd name="T55" fmla="*/ 20 h 425"/>
                <a:gd name="T56" fmla="*/ 124 w 427"/>
                <a:gd name="T57" fmla="*/ 328 h 425"/>
                <a:gd name="T58" fmla="*/ 98 w 427"/>
                <a:gd name="T59" fmla="*/ 328 h 425"/>
                <a:gd name="T60" fmla="*/ 98 w 427"/>
                <a:gd name="T61" fmla="*/ 301 h 425"/>
                <a:gd name="T62" fmla="*/ 299 w 427"/>
                <a:gd name="T63" fmla="*/ 99 h 425"/>
                <a:gd name="T64" fmla="*/ 327 w 427"/>
                <a:gd name="T65" fmla="*/ 127 h 425"/>
                <a:gd name="T66" fmla="*/ 124 w 427"/>
                <a:gd name="T67" fmla="*/ 328 h 425"/>
                <a:gd name="T68" fmla="*/ 277 w 427"/>
                <a:gd name="T69" fmla="*/ 76 h 425"/>
                <a:gd name="T70" fmla="*/ 286 w 427"/>
                <a:gd name="T71" fmla="*/ 86 h 425"/>
                <a:gd name="T72" fmla="*/ 86 w 427"/>
                <a:gd name="T73" fmla="*/ 287 h 425"/>
                <a:gd name="T74" fmla="*/ 70 w 427"/>
                <a:gd name="T75" fmla="*/ 283 h 425"/>
                <a:gd name="T76" fmla="*/ 277 w 427"/>
                <a:gd name="T77" fmla="*/ 76 h 425"/>
                <a:gd name="T78" fmla="*/ 57 w 427"/>
                <a:gd name="T79" fmla="*/ 299 h 425"/>
                <a:gd name="T80" fmla="*/ 79 w 427"/>
                <a:gd name="T81" fmla="*/ 304 h 425"/>
                <a:gd name="T82" fmla="*/ 79 w 427"/>
                <a:gd name="T83" fmla="*/ 337 h 425"/>
                <a:gd name="T84" fmla="*/ 88 w 427"/>
                <a:gd name="T85" fmla="*/ 346 h 425"/>
                <a:gd name="T86" fmla="*/ 121 w 427"/>
                <a:gd name="T87" fmla="*/ 346 h 425"/>
                <a:gd name="T88" fmla="*/ 128 w 427"/>
                <a:gd name="T89" fmla="*/ 371 h 425"/>
                <a:gd name="T90" fmla="*/ 24 w 427"/>
                <a:gd name="T91" fmla="*/ 401 h 425"/>
                <a:gd name="T92" fmla="*/ 57 w 427"/>
                <a:gd name="T93" fmla="*/ 299 h 425"/>
                <a:gd name="T94" fmla="*/ 144 w 427"/>
                <a:gd name="T95" fmla="*/ 360 h 425"/>
                <a:gd name="T96" fmla="*/ 138 w 427"/>
                <a:gd name="T97" fmla="*/ 340 h 425"/>
                <a:gd name="T98" fmla="*/ 341 w 427"/>
                <a:gd name="T99" fmla="*/ 140 h 425"/>
                <a:gd name="T100" fmla="*/ 351 w 427"/>
                <a:gd name="T101" fmla="*/ 151 h 425"/>
                <a:gd name="T102" fmla="*/ 144 w 427"/>
                <a:gd name="T103" fmla="*/ 36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27" h="425">
                  <a:moveTo>
                    <a:pt x="373" y="156"/>
                  </a:moveTo>
                  <a:cubicBezTo>
                    <a:pt x="420" y="109"/>
                    <a:pt x="420" y="109"/>
                    <a:pt x="420" y="109"/>
                  </a:cubicBezTo>
                  <a:cubicBezTo>
                    <a:pt x="424" y="104"/>
                    <a:pt x="427" y="98"/>
                    <a:pt x="427" y="92"/>
                  </a:cubicBezTo>
                  <a:cubicBezTo>
                    <a:pt x="427" y="86"/>
                    <a:pt x="424" y="80"/>
                    <a:pt x="420" y="76"/>
                  </a:cubicBezTo>
                  <a:cubicBezTo>
                    <a:pt x="351" y="7"/>
                    <a:pt x="351" y="7"/>
                    <a:pt x="351" y="7"/>
                  </a:cubicBezTo>
                  <a:cubicBezTo>
                    <a:pt x="347" y="3"/>
                    <a:pt x="341" y="0"/>
                    <a:pt x="335" y="0"/>
                  </a:cubicBezTo>
                  <a:cubicBezTo>
                    <a:pt x="329" y="0"/>
                    <a:pt x="323" y="3"/>
                    <a:pt x="319" y="7"/>
                  </a:cubicBezTo>
                  <a:cubicBezTo>
                    <a:pt x="270" y="56"/>
                    <a:pt x="270" y="56"/>
                    <a:pt x="270" y="56"/>
                  </a:cubicBezTo>
                  <a:cubicBezTo>
                    <a:pt x="269" y="57"/>
                    <a:pt x="269" y="57"/>
                    <a:pt x="268" y="58"/>
                  </a:cubicBezTo>
                  <a:cubicBezTo>
                    <a:pt x="45" y="282"/>
                    <a:pt x="45" y="282"/>
                    <a:pt x="45" y="282"/>
                  </a:cubicBezTo>
                  <a:cubicBezTo>
                    <a:pt x="43" y="283"/>
                    <a:pt x="43" y="284"/>
                    <a:pt x="42" y="285"/>
                  </a:cubicBezTo>
                  <a:cubicBezTo>
                    <a:pt x="1" y="413"/>
                    <a:pt x="1" y="413"/>
                    <a:pt x="1" y="413"/>
                  </a:cubicBezTo>
                  <a:cubicBezTo>
                    <a:pt x="0" y="416"/>
                    <a:pt x="1" y="420"/>
                    <a:pt x="3" y="422"/>
                  </a:cubicBezTo>
                  <a:cubicBezTo>
                    <a:pt x="5" y="424"/>
                    <a:pt x="7" y="425"/>
                    <a:pt x="10" y="425"/>
                  </a:cubicBezTo>
                  <a:cubicBezTo>
                    <a:pt x="11" y="425"/>
                    <a:pt x="12" y="425"/>
                    <a:pt x="12" y="424"/>
                  </a:cubicBezTo>
                  <a:cubicBezTo>
                    <a:pt x="143" y="385"/>
                    <a:pt x="143" y="385"/>
                    <a:pt x="143" y="385"/>
                  </a:cubicBezTo>
                  <a:cubicBezTo>
                    <a:pt x="145" y="385"/>
                    <a:pt x="146" y="384"/>
                    <a:pt x="147" y="383"/>
                  </a:cubicBezTo>
                  <a:cubicBezTo>
                    <a:pt x="371" y="158"/>
                    <a:pt x="371" y="158"/>
                    <a:pt x="371" y="158"/>
                  </a:cubicBezTo>
                  <a:cubicBezTo>
                    <a:pt x="372" y="157"/>
                    <a:pt x="372" y="157"/>
                    <a:pt x="373" y="156"/>
                  </a:cubicBezTo>
                  <a:close/>
                  <a:moveTo>
                    <a:pt x="332" y="20"/>
                  </a:moveTo>
                  <a:cubicBezTo>
                    <a:pt x="333" y="19"/>
                    <a:pt x="334" y="19"/>
                    <a:pt x="335" y="19"/>
                  </a:cubicBezTo>
                  <a:cubicBezTo>
                    <a:pt x="336" y="19"/>
                    <a:pt x="337" y="19"/>
                    <a:pt x="338" y="20"/>
                  </a:cubicBezTo>
                  <a:cubicBezTo>
                    <a:pt x="407" y="89"/>
                    <a:pt x="407" y="89"/>
                    <a:pt x="407" y="89"/>
                  </a:cubicBezTo>
                  <a:cubicBezTo>
                    <a:pt x="408" y="90"/>
                    <a:pt x="408" y="92"/>
                    <a:pt x="408" y="92"/>
                  </a:cubicBezTo>
                  <a:cubicBezTo>
                    <a:pt x="408" y="93"/>
                    <a:pt x="408" y="94"/>
                    <a:pt x="407" y="95"/>
                  </a:cubicBezTo>
                  <a:cubicBezTo>
                    <a:pt x="365" y="138"/>
                    <a:pt x="365" y="138"/>
                    <a:pt x="365" y="138"/>
                  </a:cubicBezTo>
                  <a:cubicBezTo>
                    <a:pt x="290" y="63"/>
                    <a:pt x="290" y="63"/>
                    <a:pt x="290" y="63"/>
                  </a:cubicBezTo>
                  <a:lnTo>
                    <a:pt x="332" y="20"/>
                  </a:lnTo>
                  <a:close/>
                  <a:moveTo>
                    <a:pt x="124" y="328"/>
                  </a:moveTo>
                  <a:cubicBezTo>
                    <a:pt x="98" y="328"/>
                    <a:pt x="98" y="328"/>
                    <a:pt x="98" y="328"/>
                  </a:cubicBezTo>
                  <a:cubicBezTo>
                    <a:pt x="98" y="301"/>
                    <a:pt x="98" y="301"/>
                    <a:pt x="98" y="301"/>
                  </a:cubicBezTo>
                  <a:cubicBezTo>
                    <a:pt x="299" y="99"/>
                    <a:pt x="299" y="99"/>
                    <a:pt x="299" y="99"/>
                  </a:cubicBezTo>
                  <a:cubicBezTo>
                    <a:pt x="327" y="127"/>
                    <a:pt x="327" y="127"/>
                    <a:pt x="327" y="127"/>
                  </a:cubicBezTo>
                  <a:lnTo>
                    <a:pt x="124" y="328"/>
                  </a:lnTo>
                  <a:close/>
                  <a:moveTo>
                    <a:pt x="277" y="76"/>
                  </a:moveTo>
                  <a:cubicBezTo>
                    <a:pt x="286" y="86"/>
                    <a:pt x="286" y="86"/>
                    <a:pt x="286" y="86"/>
                  </a:cubicBezTo>
                  <a:cubicBezTo>
                    <a:pt x="86" y="287"/>
                    <a:pt x="86" y="287"/>
                    <a:pt x="86" y="287"/>
                  </a:cubicBezTo>
                  <a:cubicBezTo>
                    <a:pt x="70" y="283"/>
                    <a:pt x="70" y="283"/>
                    <a:pt x="70" y="283"/>
                  </a:cubicBezTo>
                  <a:lnTo>
                    <a:pt x="277" y="76"/>
                  </a:lnTo>
                  <a:close/>
                  <a:moveTo>
                    <a:pt x="57" y="299"/>
                  </a:moveTo>
                  <a:cubicBezTo>
                    <a:pt x="79" y="304"/>
                    <a:pt x="79" y="304"/>
                    <a:pt x="79" y="304"/>
                  </a:cubicBezTo>
                  <a:cubicBezTo>
                    <a:pt x="79" y="337"/>
                    <a:pt x="79" y="337"/>
                    <a:pt x="79" y="337"/>
                  </a:cubicBezTo>
                  <a:cubicBezTo>
                    <a:pt x="79" y="342"/>
                    <a:pt x="83" y="346"/>
                    <a:pt x="88" y="346"/>
                  </a:cubicBezTo>
                  <a:cubicBezTo>
                    <a:pt x="121" y="346"/>
                    <a:pt x="121" y="346"/>
                    <a:pt x="121" y="346"/>
                  </a:cubicBezTo>
                  <a:cubicBezTo>
                    <a:pt x="128" y="371"/>
                    <a:pt x="128" y="371"/>
                    <a:pt x="128" y="371"/>
                  </a:cubicBezTo>
                  <a:cubicBezTo>
                    <a:pt x="24" y="401"/>
                    <a:pt x="24" y="401"/>
                    <a:pt x="24" y="401"/>
                  </a:cubicBezTo>
                  <a:lnTo>
                    <a:pt x="57" y="299"/>
                  </a:lnTo>
                  <a:close/>
                  <a:moveTo>
                    <a:pt x="144" y="360"/>
                  </a:moveTo>
                  <a:cubicBezTo>
                    <a:pt x="138" y="340"/>
                    <a:pt x="138" y="340"/>
                    <a:pt x="138" y="340"/>
                  </a:cubicBezTo>
                  <a:cubicBezTo>
                    <a:pt x="341" y="140"/>
                    <a:pt x="341" y="140"/>
                    <a:pt x="341" y="140"/>
                  </a:cubicBezTo>
                  <a:cubicBezTo>
                    <a:pt x="351" y="151"/>
                    <a:pt x="351" y="151"/>
                    <a:pt x="351" y="151"/>
                  </a:cubicBezTo>
                  <a:lnTo>
                    <a:pt x="144" y="3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4585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a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visão</a:t>
            </a:r>
            <a:r>
              <a:rPr lang="en-US" dirty="0">
                <a:solidFill>
                  <a:srgbClr val="EC0000"/>
                </a:solidFill>
              </a:rPr>
              <a:t>, </a:t>
            </a:r>
            <a:r>
              <a:rPr lang="en-US" dirty="0" err="1">
                <a:solidFill>
                  <a:srgbClr val="EC0000"/>
                </a:solidFill>
              </a:rPr>
              <a:t>missão</a:t>
            </a:r>
            <a:r>
              <a:rPr lang="en-US" dirty="0">
                <a:solidFill>
                  <a:srgbClr val="EC0000"/>
                </a:solidFill>
              </a:rPr>
              <a:t> &amp; </a:t>
            </a:r>
            <a:r>
              <a:rPr lang="en-US" dirty="0" err="1">
                <a:solidFill>
                  <a:srgbClr val="EC0000"/>
                </a:solidFill>
              </a:rPr>
              <a:t>Valore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Quisque</a:t>
            </a:r>
            <a:r>
              <a:rPr lang="en-US" dirty="0"/>
              <a:t> cursus ligula </a:t>
            </a:r>
            <a:r>
              <a:rPr lang="en-US" dirty="0" err="1"/>
              <a:t>lectus</a:t>
            </a:r>
            <a:r>
              <a:rPr lang="en-US" dirty="0"/>
              <a:t>, vitae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 dictum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3264589" y="4044446"/>
            <a:ext cx="247286" cy="241804"/>
            <a:chOff x="3264589" y="4044446"/>
            <a:chExt cx="247286" cy="241804"/>
          </a:xfrm>
        </p:grpSpPr>
        <p:sp>
          <p:nvSpPr>
            <p:cNvPr id="5" name="Oval 4"/>
            <p:cNvSpPr/>
            <p:nvPr/>
          </p:nvSpPr>
          <p:spPr>
            <a:xfrm>
              <a:off x="3264589" y="4184633"/>
              <a:ext cx="101617" cy="10161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6" name="Freeform 5"/>
            <p:cNvSpPr/>
            <p:nvPr/>
          </p:nvSpPr>
          <p:spPr>
            <a:xfrm>
              <a:off x="3334608" y="4044446"/>
              <a:ext cx="177267" cy="176556"/>
            </a:xfrm>
            <a:custGeom>
              <a:avLst/>
              <a:gdLst>
                <a:gd name="connsiteX0" fmla="*/ 456839 w 558474"/>
                <a:gd name="connsiteY0" fmla="*/ 0 h 556235"/>
                <a:gd name="connsiteX1" fmla="*/ 532161 w 558474"/>
                <a:gd name="connsiteY1" fmla="*/ 62146 h 556235"/>
                <a:gd name="connsiteX2" fmla="*/ 558474 w 558474"/>
                <a:gd name="connsiteY2" fmla="*/ 76428 h 556235"/>
                <a:gd name="connsiteX3" fmla="*/ 531014 w 558474"/>
                <a:gd name="connsiteY3" fmla="*/ 108942 h 556235"/>
                <a:gd name="connsiteX4" fmla="*/ 138845 w 558474"/>
                <a:gd name="connsiteY4" fmla="*/ 507892 h 556235"/>
                <a:gd name="connsiteX5" fmla="*/ 83371 w 558474"/>
                <a:gd name="connsiteY5" fmla="*/ 556235 h 556235"/>
                <a:gd name="connsiteX6" fmla="*/ 80617 w 558474"/>
                <a:gd name="connsiteY6" fmla="*/ 542596 h 556235"/>
                <a:gd name="connsiteX7" fmla="*/ 46312 w 558474"/>
                <a:gd name="connsiteY7" fmla="*/ 491715 h 556235"/>
                <a:gd name="connsiteX8" fmla="*/ 0 w 558474"/>
                <a:gd name="connsiteY8" fmla="*/ 460491 h 556235"/>
                <a:gd name="connsiteX9" fmla="*/ 52892 w 558474"/>
                <a:gd name="connsiteY9" fmla="*/ 414398 h 556235"/>
                <a:gd name="connsiteX10" fmla="*/ 436052 w 558474"/>
                <a:gd name="connsiteY10" fmla="*/ 24612 h 556235"/>
                <a:gd name="connsiteX11" fmla="*/ 456839 w 558474"/>
                <a:gd name="connsiteY11" fmla="*/ 0 h 55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8474" h="556235">
                  <a:moveTo>
                    <a:pt x="456839" y="0"/>
                  </a:moveTo>
                  <a:lnTo>
                    <a:pt x="532161" y="62146"/>
                  </a:lnTo>
                  <a:lnTo>
                    <a:pt x="558474" y="76428"/>
                  </a:lnTo>
                  <a:lnTo>
                    <a:pt x="531014" y="108942"/>
                  </a:lnTo>
                  <a:cubicBezTo>
                    <a:pt x="407062" y="248422"/>
                    <a:pt x="276158" y="381587"/>
                    <a:pt x="138845" y="507892"/>
                  </a:cubicBezTo>
                  <a:lnTo>
                    <a:pt x="83371" y="556235"/>
                  </a:lnTo>
                  <a:lnTo>
                    <a:pt x="80617" y="542596"/>
                  </a:lnTo>
                  <a:cubicBezTo>
                    <a:pt x="72517" y="523445"/>
                    <a:pt x="60796" y="506199"/>
                    <a:pt x="46312" y="491715"/>
                  </a:cubicBezTo>
                  <a:lnTo>
                    <a:pt x="0" y="460491"/>
                  </a:lnTo>
                  <a:lnTo>
                    <a:pt x="52892" y="414398"/>
                  </a:lnTo>
                  <a:cubicBezTo>
                    <a:pt x="187050" y="290994"/>
                    <a:pt x="314947" y="160889"/>
                    <a:pt x="436052" y="24612"/>
                  </a:cubicBezTo>
                  <a:lnTo>
                    <a:pt x="45683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06"/>
            </a:p>
          </p:txBody>
        </p:sp>
      </p:grpSp>
      <p:sp>
        <p:nvSpPr>
          <p:cNvPr id="8" name="Freeform 7"/>
          <p:cNvSpPr/>
          <p:nvPr/>
        </p:nvSpPr>
        <p:spPr>
          <a:xfrm>
            <a:off x="3726530" y="2130265"/>
            <a:ext cx="204682" cy="561651"/>
          </a:xfrm>
          <a:custGeom>
            <a:avLst/>
            <a:gdLst>
              <a:gd name="connsiteX0" fmla="*/ 109492 w 644844"/>
              <a:gd name="connsiteY0" fmla="*/ 0 h 1769467"/>
              <a:gd name="connsiteX1" fmla="*/ 209474 w 644844"/>
              <a:gd name="connsiteY1" fmla="*/ 208423 h 1769467"/>
              <a:gd name="connsiteX2" fmla="*/ 620200 w 644844"/>
              <a:gd name="connsiteY2" fmla="*/ 1581427 h 1769467"/>
              <a:gd name="connsiteX3" fmla="*/ 644844 w 644844"/>
              <a:gd name="connsiteY3" fmla="*/ 1765235 h 1769467"/>
              <a:gd name="connsiteX4" fmla="*/ 602066 w 644844"/>
              <a:gd name="connsiteY4" fmla="*/ 1760922 h 1769467"/>
              <a:gd name="connsiteX5" fmla="*/ 517306 w 644844"/>
              <a:gd name="connsiteY5" fmla="*/ 1769467 h 1769467"/>
              <a:gd name="connsiteX6" fmla="*/ 494826 w 644844"/>
              <a:gd name="connsiteY6" fmla="*/ 1601801 h 1769467"/>
              <a:gd name="connsiteX7" fmla="*/ 93535 w 644844"/>
              <a:gd name="connsiteY7" fmla="*/ 260336 h 1769467"/>
              <a:gd name="connsiteX8" fmla="*/ 0 w 644844"/>
              <a:gd name="connsiteY8" fmla="*/ 65352 h 1769467"/>
              <a:gd name="connsiteX9" fmla="*/ 88514 w 644844"/>
              <a:gd name="connsiteY9" fmla="*/ 17308 h 1769467"/>
              <a:gd name="connsiteX10" fmla="*/ 109492 w 644844"/>
              <a:gd name="connsiteY10" fmla="*/ 0 h 176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844" h="1769467">
                <a:moveTo>
                  <a:pt x="109492" y="0"/>
                </a:moveTo>
                <a:lnTo>
                  <a:pt x="209474" y="208423"/>
                </a:lnTo>
                <a:cubicBezTo>
                  <a:pt x="402850" y="639636"/>
                  <a:pt x="542589" y="1100134"/>
                  <a:pt x="620200" y="1581427"/>
                </a:cubicBezTo>
                <a:lnTo>
                  <a:pt x="644844" y="1765235"/>
                </a:lnTo>
                <a:lnTo>
                  <a:pt x="602066" y="1760922"/>
                </a:lnTo>
                <a:lnTo>
                  <a:pt x="517306" y="1769467"/>
                </a:lnTo>
                <a:lnTo>
                  <a:pt x="494826" y="1601801"/>
                </a:lnTo>
                <a:cubicBezTo>
                  <a:pt x="418998" y="1131564"/>
                  <a:pt x="282470" y="681644"/>
                  <a:pt x="93535" y="260336"/>
                </a:cubicBezTo>
                <a:lnTo>
                  <a:pt x="0" y="65352"/>
                </a:lnTo>
                <a:lnTo>
                  <a:pt x="88514" y="17308"/>
                </a:lnTo>
                <a:lnTo>
                  <a:pt x="10949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Freeform 8"/>
          <p:cNvSpPr/>
          <p:nvPr/>
        </p:nvSpPr>
        <p:spPr>
          <a:xfrm>
            <a:off x="3726530" y="3135604"/>
            <a:ext cx="204682" cy="561651"/>
          </a:xfrm>
          <a:custGeom>
            <a:avLst/>
            <a:gdLst>
              <a:gd name="connsiteX0" fmla="*/ 517306 w 644844"/>
              <a:gd name="connsiteY0" fmla="*/ 0 h 1769467"/>
              <a:gd name="connsiteX1" fmla="*/ 602066 w 644844"/>
              <a:gd name="connsiteY1" fmla="*/ 8545 h 1769467"/>
              <a:gd name="connsiteX2" fmla="*/ 644844 w 644844"/>
              <a:gd name="connsiteY2" fmla="*/ 4233 h 1769467"/>
              <a:gd name="connsiteX3" fmla="*/ 620200 w 644844"/>
              <a:gd name="connsiteY3" fmla="*/ 188040 h 1769467"/>
              <a:gd name="connsiteX4" fmla="*/ 209474 w 644844"/>
              <a:gd name="connsiteY4" fmla="*/ 1561044 h 1769467"/>
              <a:gd name="connsiteX5" fmla="*/ 109492 w 644844"/>
              <a:gd name="connsiteY5" fmla="*/ 1769467 h 1769467"/>
              <a:gd name="connsiteX6" fmla="*/ 88514 w 644844"/>
              <a:gd name="connsiteY6" fmla="*/ 1752159 h 1769467"/>
              <a:gd name="connsiteX7" fmla="*/ 0 w 644844"/>
              <a:gd name="connsiteY7" fmla="*/ 1704115 h 1769467"/>
              <a:gd name="connsiteX8" fmla="*/ 93535 w 644844"/>
              <a:gd name="connsiteY8" fmla="*/ 1509131 h 1769467"/>
              <a:gd name="connsiteX9" fmla="*/ 494826 w 644844"/>
              <a:gd name="connsiteY9" fmla="*/ 167666 h 1769467"/>
              <a:gd name="connsiteX10" fmla="*/ 517306 w 644844"/>
              <a:gd name="connsiteY10" fmla="*/ 0 h 176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844" h="1769467">
                <a:moveTo>
                  <a:pt x="517306" y="0"/>
                </a:moveTo>
                <a:lnTo>
                  <a:pt x="602066" y="8545"/>
                </a:lnTo>
                <a:lnTo>
                  <a:pt x="644844" y="4233"/>
                </a:lnTo>
                <a:lnTo>
                  <a:pt x="620200" y="188040"/>
                </a:lnTo>
                <a:cubicBezTo>
                  <a:pt x="542589" y="669334"/>
                  <a:pt x="402850" y="1129832"/>
                  <a:pt x="209474" y="1561044"/>
                </a:cubicBezTo>
                <a:lnTo>
                  <a:pt x="109492" y="1769467"/>
                </a:lnTo>
                <a:lnTo>
                  <a:pt x="88514" y="1752159"/>
                </a:lnTo>
                <a:lnTo>
                  <a:pt x="0" y="1704115"/>
                </a:lnTo>
                <a:lnTo>
                  <a:pt x="93535" y="1509131"/>
                </a:lnTo>
                <a:cubicBezTo>
                  <a:pt x="282470" y="1087824"/>
                  <a:pt x="418998" y="637904"/>
                  <a:pt x="494826" y="167666"/>
                </a:cubicBezTo>
                <a:lnTo>
                  <a:pt x="51730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" name="Group 1"/>
          <p:cNvGrpSpPr/>
          <p:nvPr/>
        </p:nvGrpSpPr>
        <p:grpSpPr>
          <a:xfrm>
            <a:off x="3263245" y="1540934"/>
            <a:ext cx="248630" cy="242140"/>
            <a:chOff x="3263245" y="1540934"/>
            <a:chExt cx="248630" cy="242140"/>
          </a:xfrm>
        </p:grpSpPr>
        <p:sp>
          <p:nvSpPr>
            <p:cNvPr id="4" name="Freeform 3"/>
            <p:cNvSpPr/>
            <p:nvPr/>
          </p:nvSpPr>
          <p:spPr>
            <a:xfrm>
              <a:off x="3334608" y="1606517"/>
              <a:ext cx="177267" cy="176557"/>
            </a:xfrm>
            <a:custGeom>
              <a:avLst/>
              <a:gdLst>
                <a:gd name="connsiteX0" fmla="*/ 83371 w 558474"/>
                <a:gd name="connsiteY0" fmla="*/ 0 h 556236"/>
                <a:gd name="connsiteX1" fmla="*/ 138845 w 558474"/>
                <a:gd name="connsiteY1" fmla="*/ 48343 h 556236"/>
                <a:gd name="connsiteX2" fmla="*/ 531014 w 558474"/>
                <a:gd name="connsiteY2" fmla="*/ 447293 h 556236"/>
                <a:gd name="connsiteX3" fmla="*/ 558474 w 558474"/>
                <a:gd name="connsiteY3" fmla="*/ 479807 h 556236"/>
                <a:gd name="connsiteX4" fmla="*/ 532161 w 558474"/>
                <a:gd name="connsiteY4" fmla="*/ 494089 h 556236"/>
                <a:gd name="connsiteX5" fmla="*/ 456839 w 558474"/>
                <a:gd name="connsiteY5" fmla="*/ 556236 h 556236"/>
                <a:gd name="connsiteX6" fmla="*/ 436052 w 558474"/>
                <a:gd name="connsiteY6" fmla="*/ 531623 h 556236"/>
                <a:gd name="connsiteX7" fmla="*/ 52892 w 558474"/>
                <a:gd name="connsiteY7" fmla="*/ 141837 h 556236"/>
                <a:gd name="connsiteX8" fmla="*/ 0 w 558474"/>
                <a:gd name="connsiteY8" fmla="*/ 95745 h 556236"/>
                <a:gd name="connsiteX9" fmla="*/ 46312 w 558474"/>
                <a:gd name="connsiteY9" fmla="*/ 64521 h 556236"/>
                <a:gd name="connsiteX10" fmla="*/ 80617 w 558474"/>
                <a:gd name="connsiteY10" fmla="*/ 13640 h 556236"/>
                <a:gd name="connsiteX11" fmla="*/ 83371 w 558474"/>
                <a:gd name="connsiteY11" fmla="*/ 0 h 55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8474" h="556236">
                  <a:moveTo>
                    <a:pt x="83371" y="0"/>
                  </a:moveTo>
                  <a:lnTo>
                    <a:pt x="138845" y="48343"/>
                  </a:lnTo>
                  <a:cubicBezTo>
                    <a:pt x="276158" y="174649"/>
                    <a:pt x="407062" y="307813"/>
                    <a:pt x="531014" y="447293"/>
                  </a:cubicBezTo>
                  <a:lnTo>
                    <a:pt x="558474" y="479807"/>
                  </a:lnTo>
                  <a:lnTo>
                    <a:pt x="532161" y="494089"/>
                  </a:lnTo>
                  <a:lnTo>
                    <a:pt x="456839" y="556236"/>
                  </a:lnTo>
                  <a:lnTo>
                    <a:pt x="436052" y="531623"/>
                  </a:lnTo>
                  <a:cubicBezTo>
                    <a:pt x="314947" y="395347"/>
                    <a:pt x="187050" y="265241"/>
                    <a:pt x="52892" y="141837"/>
                  </a:cubicBezTo>
                  <a:lnTo>
                    <a:pt x="0" y="95745"/>
                  </a:lnTo>
                  <a:lnTo>
                    <a:pt x="46312" y="64521"/>
                  </a:lnTo>
                  <a:cubicBezTo>
                    <a:pt x="60796" y="50037"/>
                    <a:pt x="72517" y="32791"/>
                    <a:pt x="80617" y="13640"/>
                  </a:cubicBezTo>
                  <a:lnTo>
                    <a:pt x="833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06"/>
            </a:p>
          </p:txBody>
        </p:sp>
        <p:sp>
          <p:nvSpPr>
            <p:cNvPr id="10" name="Oval 9"/>
            <p:cNvSpPr/>
            <p:nvPr/>
          </p:nvSpPr>
          <p:spPr>
            <a:xfrm>
              <a:off x="3263245" y="1540934"/>
              <a:ext cx="101617" cy="10161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397955" y="3646848"/>
            <a:ext cx="462238" cy="462237"/>
            <a:chOff x="3397955" y="3646848"/>
            <a:chExt cx="462238" cy="462237"/>
          </a:xfrm>
        </p:grpSpPr>
        <p:sp>
          <p:nvSpPr>
            <p:cNvPr id="13" name="Oval 12"/>
            <p:cNvSpPr/>
            <p:nvPr/>
          </p:nvSpPr>
          <p:spPr>
            <a:xfrm>
              <a:off x="3397955" y="3646848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3509421" y="3757911"/>
              <a:ext cx="240110" cy="240110"/>
            </a:xfrm>
            <a:custGeom>
              <a:avLst/>
              <a:gdLst>
                <a:gd name="T0" fmla="*/ 353 w 353"/>
                <a:gd name="T1" fmla="*/ 104 h 353"/>
                <a:gd name="T2" fmla="*/ 249 w 353"/>
                <a:gd name="T3" fmla="*/ 0 h 353"/>
                <a:gd name="T4" fmla="*/ 176 w 353"/>
                <a:gd name="T5" fmla="*/ 29 h 353"/>
                <a:gd name="T6" fmla="*/ 104 w 353"/>
                <a:gd name="T7" fmla="*/ 0 h 353"/>
                <a:gd name="T8" fmla="*/ 0 w 353"/>
                <a:gd name="T9" fmla="*/ 104 h 353"/>
                <a:gd name="T10" fmla="*/ 1 w 353"/>
                <a:gd name="T11" fmla="*/ 116 h 353"/>
                <a:gd name="T12" fmla="*/ 176 w 353"/>
                <a:gd name="T13" fmla="*/ 353 h 353"/>
                <a:gd name="T14" fmla="*/ 352 w 353"/>
                <a:gd name="T15" fmla="*/ 116 h 353"/>
                <a:gd name="T16" fmla="*/ 353 w 353"/>
                <a:gd name="T17" fmla="*/ 104 h 353"/>
                <a:gd name="T18" fmla="*/ 336 w 353"/>
                <a:gd name="T19" fmla="*/ 114 h 353"/>
                <a:gd name="T20" fmla="*/ 176 w 353"/>
                <a:gd name="T21" fmla="*/ 335 h 353"/>
                <a:gd name="T22" fmla="*/ 17 w 353"/>
                <a:gd name="T23" fmla="*/ 114 h 353"/>
                <a:gd name="T24" fmla="*/ 16 w 353"/>
                <a:gd name="T25" fmla="*/ 104 h 353"/>
                <a:gd name="T26" fmla="*/ 104 w 353"/>
                <a:gd name="T27" fmla="*/ 16 h 353"/>
                <a:gd name="T28" fmla="*/ 165 w 353"/>
                <a:gd name="T29" fmla="*/ 40 h 353"/>
                <a:gd name="T30" fmla="*/ 176 w 353"/>
                <a:gd name="T31" fmla="*/ 51 h 353"/>
                <a:gd name="T32" fmla="*/ 188 w 353"/>
                <a:gd name="T33" fmla="*/ 40 h 353"/>
                <a:gd name="T34" fmla="*/ 249 w 353"/>
                <a:gd name="T35" fmla="*/ 16 h 353"/>
                <a:gd name="T36" fmla="*/ 337 w 353"/>
                <a:gd name="T37" fmla="*/ 104 h 353"/>
                <a:gd name="T38" fmla="*/ 336 w 353"/>
                <a:gd name="T39" fmla="*/ 11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53">
                  <a:moveTo>
                    <a:pt x="353" y="104"/>
                  </a:moveTo>
                  <a:cubicBezTo>
                    <a:pt x="353" y="46"/>
                    <a:pt x="306" y="0"/>
                    <a:pt x="249" y="0"/>
                  </a:cubicBezTo>
                  <a:cubicBezTo>
                    <a:pt x="221" y="0"/>
                    <a:pt x="195" y="11"/>
                    <a:pt x="176" y="29"/>
                  </a:cubicBezTo>
                  <a:cubicBezTo>
                    <a:pt x="158" y="11"/>
                    <a:pt x="132" y="0"/>
                    <a:pt x="104" y="0"/>
                  </a:cubicBezTo>
                  <a:cubicBezTo>
                    <a:pt x="47" y="0"/>
                    <a:pt x="0" y="46"/>
                    <a:pt x="0" y="104"/>
                  </a:cubicBezTo>
                  <a:cubicBezTo>
                    <a:pt x="0" y="111"/>
                    <a:pt x="1" y="119"/>
                    <a:pt x="1" y="116"/>
                  </a:cubicBezTo>
                  <a:cubicBezTo>
                    <a:pt x="12" y="219"/>
                    <a:pt x="161" y="353"/>
                    <a:pt x="176" y="353"/>
                  </a:cubicBezTo>
                  <a:cubicBezTo>
                    <a:pt x="192" y="353"/>
                    <a:pt x="341" y="219"/>
                    <a:pt x="352" y="116"/>
                  </a:cubicBezTo>
                  <a:cubicBezTo>
                    <a:pt x="352" y="119"/>
                    <a:pt x="353" y="111"/>
                    <a:pt x="353" y="104"/>
                  </a:cubicBezTo>
                  <a:moveTo>
                    <a:pt x="336" y="114"/>
                  </a:moveTo>
                  <a:cubicBezTo>
                    <a:pt x="327" y="200"/>
                    <a:pt x="206" y="317"/>
                    <a:pt x="176" y="335"/>
                  </a:cubicBezTo>
                  <a:cubicBezTo>
                    <a:pt x="147" y="317"/>
                    <a:pt x="26" y="200"/>
                    <a:pt x="17" y="114"/>
                  </a:cubicBezTo>
                  <a:cubicBezTo>
                    <a:pt x="17" y="114"/>
                    <a:pt x="16" y="109"/>
                    <a:pt x="16" y="104"/>
                  </a:cubicBezTo>
                  <a:cubicBezTo>
                    <a:pt x="16" y="55"/>
                    <a:pt x="56" y="16"/>
                    <a:pt x="104" y="16"/>
                  </a:cubicBezTo>
                  <a:cubicBezTo>
                    <a:pt x="127" y="16"/>
                    <a:pt x="149" y="24"/>
                    <a:pt x="165" y="40"/>
                  </a:cubicBezTo>
                  <a:cubicBezTo>
                    <a:pt x="176" y="51"/>
                    <a:pt x="176" y="51"/>
                    <a:pt x="176" y="51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204" y="24"/>
                    <a:pt x="226" y="16"/>
                    <a:pt x="249" y="16"/>
                  </a:cubicBezTo>
                  <a:cubicBezTo>
                    <a:pt x="297" y="16"/>
                    <a:pt x="337" y="55"/>
                    <a:pt x="337" y="104"/>
                  </a:cubicBezTo>
                  <a:cubicBezTo>
                    <a:pt x="337" y="110"/>
                    <a:pt x="336" y="114"/>
                    <a:pt x="336" y="1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397955" y="1718435"/>
            <a:ext cx="462238" cy="462237"/>
            <a:chOff x="3397955" y="1718435"/>
            <a:chExt cx="462238" cy="462237"/>
          </a:xfrm>
        </p:grpSpPr>
        <p:sp>
          <p:nvSpPr>
            <p:cNvPr id="11" name="Oval 10"/>
            <p:cNvSpPr/>
            <p:nvPr/>
          </p:nvSpPr>
          <p:spPr>
            <a:xfrm>
              <a:off x="3397955" y="1718435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Freeform 114"/>
            <p:cNvSpPr>
              <a:spLocks noEditPoints="1"/>
            </p:cNvSpPr>
            <p:nvPr/>
          </p:nvSpPr>
          <p:spPr bwMode="auto">
            <a:xfrm>
              <a:off x="3509459" y="1873475"/>
              <a:ext cx="239229" cy="152157"/>
            </a:xfrm>
            <a:custGeom>
              <a:avLst/>
              <a:gdLst>
                <a:gd name="T0" fmla="*/ 176 w 353"/>
                <a:gd name="T1" fmla="*/ 88 h 225"/>
                <a:gd name="T2" fmla="*/ 152 w 353"/>
                <a:gd name="T3" fmla="*/ 112 h 225"/>
                <a:gd name="T4" fmla="*/ 176 w 353"/>
                <a:gd name="T5" fmla="*/ 136 h 225"/>
                <a:gd name="T6" fmla="*/ 201 w 353"/>
                <a:gd name="T7" fmla="*/ 112 h 225"/>
                <a:gd name="T8" fmla="*/ 176 w 353"/>
                <a:gd name="T9" fmla="*/ 88 h 225"/>
                <a:gd name="T10" fmla="*/ 176 w 353"/>
                <a:gd name="T11" fmla="*/ 32 h 225"/>
                <a:gd name="T12" fmla="*/ 96 w 353"/>
                <a:gd name="T13" fmla="*/ 112 h 225"/>
                <a:gd name="T14" fmla="*/ 176 w 353"/>
                <a:gd name="T15" fmla="*/ 193 h 225"/>
                <a:gd name="T16" fmla="*/ 257 w 353"/>
                <a:gd name="T17" fmla="*/ 112 h 225"/>
                <a:gd name="T18" fmla="*/ 176 w 353"/>
                <a:gd name="T19" fmla="*/ 32 h 225"/>
                <a:gd name="T20" fmla="*/ 176 w 353"/>
                <a:gd name="T21" fmla="*/ 177 h 225"/>
                <a:gd name="T22" fmla="*/ 112 w 353"/>
                <a:gd name="T23" fmla="*/ 112 h 225"/>
                <a:gd name="T24" fmla="*/ 176 w 353"/>
                <a:gd name="T25" fmla="*/ 48 h 225"/>
                <a:gd name="T26" fmla="*/ 241 w 353"/>
                <a:gd name="T27" fmla="*/ 112 h 225"/>
                <a:gd name="T28" fmla="*/ 176 w 353"/>
                <a:gd name="T29" fmla="*/ 177 h 225"/>
                <a:gd name="T30" fmla="*/ 176 w 353"/>
                <a:gd name="T31" fmla="*/ 0 h 225"/>
                <a:gd name="T32" fmla="*/ 0 w 353"/>
                <a:gd name="T33" fmla="*/ 112 h 225"/>
                <a:gd name="T34" fmla="*/ 176 w 353"/>
                <a:gd name="T35" fmla="*/ 225 h 225"/>
                <a:gd name="T36" fmla="*/ 353 w 353"/>
                <a:gd name="T37" fmla="*/ 112 h 225"/>
                <a:gd name="T38" fmla="*/ 176 w 353"/>
                <a:gd name="T39" fmla="*/ 0 h 225"/>
                <a:gd name="T40" fmla="*/ 176 w 353"/>
                <a:gd name="T41" fmla="*/ 209 h 225"/>
                <a:gd name="T42" fmla="*/ 16 w 353"/>
                <a:gd name="T43" fmla="*/ 112 h 225"/>
                <a:gd name="T44" fmla="*/ 176 w 353"/>
                <a:gd name="T45" fmla="*/ 16 h 225"/>
                <a:gd name="T46" fmla="*/ 337 w 353"/>
                <a:gd name="T47" fmla="*/ 112 h 225"/>
                <a:gd name="T48" fmla="*/ 176 w 353"/>
                <a:gd name="T49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3" h="225">
                  <a:moveTo>
                    <a:pt x="176" y="88"/>
                  </a:moveTo>
                  <a:cubicBezTo>
                    <a:pt x="163" y="88"/>
                    <a:pt x="152" y="99"/>
                    <a:pt x="152" y="112"/>
                  </a:cubicBezTo>
                  <a:cubicBezTo>
                    <a:pt x="152" y="126"/>
                    <a:pt x="163" y="136"/>
                    <a:pt x="176" y="136"/>
                  </a:cubicBezTo>
                  <a:cubicBezTo>
                    <a:pt x="190" y="136"/>
                    <a:pt x="201" y="126"/>
                    <a:pt x="201" y="112"/>
                  </a:cubicBezTo>
                  <a:cubicBezTo>
                    <a:pt x="201" y="99"/>
                    <a:pt x="190" y="88"/>
                    <a:pt x="176" y="88"/>
                  </a:cubicBezTo>
                  <a:moveTo>
                    <a:pt x="176" y="32"/>
                  </a:moveTo>
                  <a:cubicBezTo>
                    <a:pt x="132" y="32"/>
                    <a:pt x="96" y="68"/>
                    <a:pt x="96" y="112"/>
                  </a:cubicBezTo>
                  <a:cubicBezTo>
                    <a:pt x="96" y="157"/>
                    <a:pt x="132" y="193"/>
                    <a:pt x="176" y="193"/>
                  </a:cubicBezTo>
                  <a:cubicBezTo>
                    <a:pt x="221" y="193"/>
                    <a:pt x="257" y="157"/>
                    <a:pt x="257" y="112"/>
                  </a:cubicBezTo>
                  <a:cubicBezTo>
                    <a:pt x="257" y="68"/>
                    <a:pt x="221" y="32"/>
                    <a:pt x="176" y="32"/>
                  </a:cubicBezTo>
                  <a:moveTo>
                    <a:pt x="176" y="177"/>
                  </a:moveTo>
                  <a:cubicBezTo>
                    <a:pt x="141" y="177"/>
                    <a:pt x="112" y="148"/>
                    <a:pt x="112" y="112"/>
                  </a:cubicBezTo>
                  <a:cubicBezTo>
                    <a:pt x="112" y="77"/>
                    <a:pt x="141" y="48"/>
                    <a:pt x="176" y="48"/>
                  </a:cubicBezTo>
                  <a:cubicBezTo>
                    <a:pt x="212" y="48"/>
                    <a:pt x="241" y="77"/>
                    <a:pt x="241" y="112"/>
                  </a:cubicBezTo>
                  <a:cubicBezTo>
                    <a:pt x="241" y="148"/>
                    <a:pt x="212" y="177"/>
                    <a:pt x="176" y="177"/>
                  </a:cubicBezTo>
                  <a:moveTo>
                    <a:pt x="176" y="0"/>
                  </a:moveTo>
                  <a:cubicBezTo>
                    <a:pt x="79" y="0"/>
                    <a:pt x="0" y="80"/>
                    <a:pt x="0" y="112"/>
                  </a:cubicBezTo>
                  <a:cubicBezTo>
                    <a:pt x="0" y="144"/>
                    <a:pt x="79" y="225"/>
                    <a:pt x="176" y="225"/>
                  </a:cubicBezTo>
                  <a:cubicBezTo>
                    <a:pt x="274" y="225"/>
                    <a:pt x="353" y="144"/>
                    <a:pt x="353" y="112"/>
                  </a:cubicBezTo>
                  <a:cubicBezTo>
                    <a:pt x="353" y="80"/>
                    <a:pt x="274" y="0"/>
                    <a:pt x="176" y="0"/>
                  </a:cubicBezTo>
                  <a:moveTo>
                    <a:pt x="176" y="209"/>
                  </a:moveTo>
                  <a:cubicBezTo>
                    <a:pt x="88" y="209"/>
                    <a:pt x="16" y="140"/>
                    <a:pt x="16" y="112"/>
                  </a:cubicBezTo>
                  <a:cubicBezTo>
                    <a:pt x="16" y="85"/>
                    <a:pt x="88" y="16"/>
                    <a:pt x="176" y="16"/>
                  </a:cubicBezTo>
                  <a:cubicBezTo>
                    <a:pt x="265" y="16"/>
                    <a:pt x="337" y="85"/>
                    <a:pt x="337" y="112"/>
                  </a:cubicBezTo>
                  <a:cubicBezTo>
                    <a:pt x="337" y="140"/>
                    <a:pt x="265" y="209"/>
                    <a:pt x="176" y="20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686514" y="2684740"/>
            <a:ext cx="462238" cy="462237"/>
            <a:chOff x="3686514" y="2684740"/>
            <a:chExt cx="462238" cy="462237"/>
          </a:xfrm>
        </p:grpSpPr>
        <p:sp>
          <p:nvSpPr>
            <p:cNvPr id="12" name="Oval 11"/>
            <p:cNvSpPr/>
            <p:nvPr/>
          </p:nvSpPr>
          <p:spPr>
            <a:xfrm>
              <a:off x="3686514" y="2684740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6" name="Freeform 54"/>
            <p:cNvSpPr>
              <a:spLocks noEditPoints="1"/>
            </p:cNvSpPr>
            <p:nvPr/>
          </p:nvSpPr>
          <p:spPr bwMode="auto">
            <a:xfrm>
              <a:off x="3799387" y="2798448"/>
              <a:ext cx="236493" cy="230624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360333" y="1687858"/>
            <a:ext cx="3526368" cy="505244"/>
            <a:chOff x="4360333" y="1642551"/>
            <a:chExt cx="4177244" cy="505244"/>
          </a:xfrm>
        </p:grpSpPr>
        <p:sp>
          <p:nvSpPr>
            <p:cNvPr id="28" name="TextBox 27"/>
            <p:cNvSpPr txBox="1"/>
            <p:nvPr/>
          </p:nvSpPr>
          <p:spPr>
            <a:xfrm>
              <a:off x="4360333" y="1845853"/>
              <a:ext cx="4177243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 dolo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uc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9" name="Title 2"/>
            <p:cNvSpPr txBox="1">
              <a:spLocks/>
            </p:cNvSpPr>
            <p:nvPr/>
          </p:nvSpPr>
          <p:spPr>
            <a:xfrm>
              <a:off x="4360334" y="1642551"/>
              <a:ext cx="417724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A VISÃO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4538133" y="2652065"/>
            <a:ext cx="3348567" cy="506655"/>
            <a:chOff x="4360333" y="1642551"/>
            <a:chExt cx="4177243" cy="506655"/>
          </a:xfrm>
        </p:grpSpPr>
        <p:sp>
          <p:nvSpPr>
            <p:cNvPr id="35" name="TextBox 34"/>
            <p:cNvSpPr txBox="1"/>
            <p:nvPr/>
          </p:nvSpPr>
          <p:spPr>
            <a:xfrm>
              <a:off x="4360333" y="1845853"/>
              <a:ext cx="4177243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 dolo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uc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36" name="Title 2"/>
            <p:cNvSpPr txBox="1">
              <a:spLocks/>
            </p:cNvSpPr>
            <p:nvPr/>
          </p:nvSpPr>
          <p:spPr>
            <a:xfrm>
              <a:off x="4360333" y="1642551"/>
              <a:ext cx="417724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A MISSÃO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4360333" y="3616271"/>
            <a:ext cx="3526367" cy="505244"/>
            <a:chOff x="4360333" y="1642551"/>
            <a:chExt cx="4177243" cy="505244"/>
          </a:xfrm>
        </p:grpSpPr>
        <p:sp>
          <p:nvSpPr>
            <p:cNvPr id="38" name="TextBox 37"/>
            <p:cNvSpPr txBox="1"/>
            <p:nvPr/>
          </p:nvSpPr>
          <p:spPr>
            <a:xfrm>
              <a:off x="4360333" y="1845853"/>
              <a:ext cx="4177243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ti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 dolor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auc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39" name="Title 2"/>
            <p:cNvSpPr txBox="1">
              <a:spLocks/>
            </p:cNvSpPr>
            <p:nvPr/>
          </p:nvSpPr>
          <p:spPr>
            <a:xfrm>
              <a:off x="4360333" y="1642551"/>
              <a:ext cx="4177243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OS VALORES</a:t>
              </a:r>
            </a:p>
          </p:txBody>
        </p:sp>
      </p:grp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84968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ronograma</a:t>
            </a:r>
            <a:r>
              <a:rPr lang="en-US" dirty="0"/>
              <a:t> </a:t>
            </a:r>
            <a:r>
              <a:rPr lang="en-US" dirty="0">
                <a:solidFill>
                  <a:srgbClr val="EC0000"/>
                </a:solidFill>
              </a:rPr>
              <a:t>mensa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2393035"/>
              </p:ext>
            </p:extLst>
          </p:nvPr>
        </p:nvGraphicFramePr>
        <p:xfrm>
          <a:off x="593722" y="1543052"/>
          <a:ext cx="7953379" cy="2743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1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3619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46786">
                <a:tc gridSpan="7">
                  <a:txBody>
                    <a:bodyPr/>
                    <a:lstStyle/>
                    <a:p>
                      <a:pPr algn="ctr"/>
                      <a:r>
                        <a:rPr lang="en-US" sz="900" b="1" cap="all" spc="20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Janeiro 2020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6786"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EG</a:t>
                      </a:r>
                    </a:p>
                  </a:txBody>
                  <a:tcPr marL="30178" marR="30178" marT="15089" marB="15089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TER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QUA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QUI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EX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SÁB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cap="all" baseline="0" dirty="0">
                          <a:solidFill>
                            <a:schemeClr val="bg1"/>
                          </a:solidFill>
                          <a:latin typeface="Lato" panose="020F0502020204030203" pitchFamily="34" charset="0"/>
                        </a:rPr>
                        <a:t>DOM</a:t>
                      </a:r>
                    </a:p>
                  </a:txBody>
                  <a:tcPr marL="30178" marR="30178" marT="15089" marB="15089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9925"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</a:t>
                      </a:r>
                    </a:p>
                  </a:txBody>
                  <a:tcPr marL="30178" marR="30178" marT="15089" marB="15089">
                    <a:lnL w="12700" cmpd="sng">
                      <a:noFill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3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4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5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6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7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9925"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8</a:t>
                      </a:r>
                    </a:p>
                  </a:txBody>
                  <a:tcPr marL="30178" marR="30178" marT="15089" marB="15089">
                    <a:lnL w="12700" cmpd="sng">
                      <a:noFill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9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0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1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2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3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4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925"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5</a:t>
                      </a:r>
                    </a:p>
                  </a:txBody>
                  <a:tcPr marL="30178" marR="30178" marT="15089" marB="15089">
                    <a:lnL w="12700" cmpd="sng">
                      <a:noFill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6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7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8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19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0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1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9925"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2</a:t>
                      </a:r>
                    </a:p>
                  </a:txBody>
                  <a:tcPr marL="30178" marR="30178" marT="15089" marB="15089">
                    <a:lnL w="12700" cmpd="sng">
                      <a:noFill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3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4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5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6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7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8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9925"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29</a:t>
                      </a:r>
                    </a:p>
                  </a:txBody>
                  <a:tcPr marL="30178" marR="30178" marT="15089" marB="15089">
                    <a:lnL w="12700" cmpd="sng">
                      <a:noFill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30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800" b="0" cap="all" baseline="0" dirty="0">
                          <a:solidFill>
                            <a:schemeClr val="accent5"/>
                          </a:solidFill>
                          <a:latin typeface="Lato" panose="020F0502020204030203" pitchFamily="34" charset="0"/>
                        </a:rPr>
                        <a:t>31</a:t>
                      </a: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b="0" cap="all" baseline="0" dirty="0">
                        <a:solidFill>
                          <a:schemeClr val="accent5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b="0" cap="all" baseline="0" dirty="0">
                        <a:solidFill>
                          <a:schemeClr val="accent5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b="0" cap="all" baseline="0" dirty="0">
                        <a:solidFill>
                          <a:schemeClr val="accent5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800" b="0" cap="all" baseline="0" dirty="0">
                        <a:solidFill>
                          <a:schemeClr val="accent5"/>
                        </a:solidFill>
                        <a:latin typeface="Lato" panose="020F0502020204030203" pitchFamily="34" charset="0"/>
                      </a:endParaRPr>
                    </a:p>
                  </a:txBody>
                  <a:tcPr marL="30178" marR="30178" marT="15089" marB="15089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593725" y="2216151"/>
            <a:ext cx="2274888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682956" y="2281838"/>
            <a:ext cx="210310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Requisit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do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liente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34866" y="2216151"/>
            <a:ext cx="3402710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5224097" y="2281838"/>
            <a:ext cx="210310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Protótip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e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Desenho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868613" y="3115645"/>
            <a:ext cx="4543426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2957844" y="3181332"/>
            <a:ext cx="210310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Desenvolviment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e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Revisã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Fina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93725" y="2665898"/>
            <a:ext cx="3402710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682956" y="2731585"/>
            <a:ext cx="324364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Revisã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do Design e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Desenvolviment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Primário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734261" y="4015139"/>
            <a:ext cx="2268704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1823492" y="4080826"/>
            <a:ext cx="2103107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Lançament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e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Manuntenção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268872" y="3577485"/>
            <a:ext cx="1143167" cy="269874"/>
          </a:xfrm>
          <a:prstGeom prst="rect">
            <a:avLst/>
          </a:prstGeom>
          <a:solidFill>
            <a:srgbClr val="EC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6358104" y="3643172"/>
            <a:ext cx="100366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Últim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</a:t>
            </a:r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encontro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525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A TABELA DE </a:t>
            </a:r>
            <a:r>
              <a:rPr lang="en-US" dirty="0">
                <a:solidFill>
                  <a:srgbClr val="EC0000"/>
                </a:solidFill>
              </a:rPr>
              <a:t>PREÇ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584202" y="1543050"/>
            <a:ext cx="1717675" cy="2627506"/>
            <a:chOff x="584202" y="1543050"/>
            <a:chExt cx="1717675" cy="2627506"/>
          </a:xfrm>
        </p:grpSpPr>
        <p:sp>
          <p:nvSpPr>
            <p:cNvPr id="4" name="Rectangle 3"/>
            <p:cNvSpPr/>
            <p:nvPr/>
          </p:nvSpPr>
          <p:spPr>
            <a:xfrm>
              <a:off x="584202" y="1543050"/>
              <a:ext cx="1717675" cy="2627506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861255" y="1908249"/>
              <a:ext cx="11826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cap="all" spc="5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R$250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61255" y="2686119"/>
              <a:ext cx="1182612" cy="8990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rimei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gund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rcei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art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int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cxnSp>
          <p:nvCxnSpPr>
            <p:cNvPr id="11" name="Straight Connector 10"/>
            <p:cNvCxnSpPr/>
            <p:nvPr/>
          </p:nvCxnSpPr>
          <p:spPr>
            <a:xfrm>
              <a:off x="1287506" y="2531142"/>
              <a:ext cx="33011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862049" y="1668500"/>
              <a:ext cx="11810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5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BÁSICO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929134" y="3776550"/>
              <a:ext cx="1046855" cy="2273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90093" y="3832540"/>
              <a:ext cx="924936" cy="115416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ssine</a:t>
              </a:r>
              <a:r>
                <a:rPr lang="en-US" sz="750" b="1" cap="all" spc="10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já</a:t>
              </a:r>
              <a:endParaRPr lang="en-US" sz="750" b="1" cap="all" spc="10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672291" y="1543050"/>
            <a:ext cx="1717675" cy="2627506"/>
            <a:chOff x="2672291" y="1543050"/>
            <a:chExt cx="1717675" cy="2627506"/>
          </a:xfrm>
        </p:grpSpPr>
        <p:sp>
          <p:nvSpPr>
            <p:cNvPr id="36" name="Rectangle 35"/>
            <p:cNvSpPr/>
            <p:nvPr/>
          </p:nvSpPr>
          <p:spPr>
            <a:xfrm>
              <a:off x="2672291" y="1543050"/>
              <a:ext cx="1717675" cy="2627506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39822" y="1908249"/>
              <a:ext cx="11826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cap="all" spc="5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R$400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939822" y="2686119"/>
              <a:ext cx="1182612" cy="8990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rimei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gund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rcei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art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int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3366073" y="2531142"/>
              <a:ext cx="33011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TextBox 39"/>
            <p:cNvSpPr txBox="1"/>
            <p:nvPr/>
          </p:nvSpPr>
          <p:spPr>
            <a:xfrm>
              <a:off x="2940616" y="1668500"/>
              <a:ext cx="11810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5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BÁSICO PRO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007701" y="3776550"/>
              <a:ext cx="1046855" cy="2273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068660" y="3832540"/>
              <a:ext cx="924936" cy="115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ssine</a:t>
              </a:r>
              <a:r>
                <a:rPr lang="en-US" sz="750" b="1" cap="all" spc="10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já</a:t>
              </a:r>
              <a:endParaRPr lang="en-US" sz="750" b="1" cap="all" spc="10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750858" y="1543050"/>
            <a:ext cx="1717675" cy="2627506"/>
            <a:chOff x="4750858" y="1543050"/>
            <a:chExt cx="1717675" cy="2627506"/>
          </a:xfrm>
        </p:grpSpPr>
        <p:sp>
          <p:nvSpPr>
            <p:cNvPr id="44" name="Rectangle 43"/>
            <p:cNvSpPr/>
            <p:nvPr/>
          </p:nvSpPr>
          <p:spPr>
            <a:xfrm>
              <a:off x="4750858" y="1543050"/>
              <a:ext cx="1717675" cy="2627506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018389" y="1908249"/>
              <a:ext cx="11826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cap="all" spc="5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R$550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018389" y="2686119"/>
              <a:ext cx="1182612" cy="8990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rimei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gund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rcei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art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int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cxnSp>
          <p:nvCxnSpPr>
            <p:cNvPr id="47" name="Straight Connector 46"/>
            <p:cNvCxnSpPr/>
            <p:nvPr/>
          </p:nvCxnSpPr>
          <p:spPr>
            <a:xfrm>
              <a:off x="5444640" y="2531142"/>
              <a:ext cx="33011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5019183" y="1668500"/>
              <a:ext cx="11810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5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ADRÃO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5086268" y="3776550"/>
              <a:ext cx="1046855" cy="2273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147227" y="3832540"/>
              <a:ext cx="924936" cy="115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ssine</a:t>
              </a:r>
              <a:r>
                <a:rPr lang="en-US" sz="750" b="1" cap="all" spc="10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já</a:t>
              </a:r>
              <a:endParaRPr lang="en-US" sz="750" b="1" cap="all" spc="10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829425" y="1543050"/>
            <a:ext cx="1717675" cy="2627506"/>
            <a:chOff x="6829425" y="1543050"/>
            <a:chExt cx="1717675" cy="2627506"/>
          </a:xfrm>
        </p:grpSpPr>
        <p:sp>
          <p:nvSpPr>
            <p:cNvPr id="52" name="Rectangle 51"/>
            <p:cNvSpPr/>
            <p:nvPr/>
          </p:nvSpPr>
          <p:spPr>
            <a:xfrm>
              <a:off x="6829425" y="1543050"/>
              <a:ext cx="1717675" cy="2627506"/>
            </a:xfrm>
            <a:prstGeom prst="rect">
              <a:avLst/>
            </a:prstGeom>
            <a:noFill/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7096956" y="1908249"/>
              <a:ext cx="1182612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2800" cap="all" spc="5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R$800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096956" y="2686119"/>
              <a:ext cx="1182612" cy="89902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rimei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gund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Tercei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art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  <a:p>
              <a:pPr algn="ctr">
                <a:lnSpc>
                  <a:spcPct val="15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Quint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Característic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cxnSp>
          <p:nvCxnSpPr>
            <p:cNvPr id="55" name="Straight Connector 54"/>
            <p:cNvCxnSpPr/>
            <p:nvPr/>
          </p:nvCxnSpPr>
          <p:spPr>
            <a:xfrm>
              <a:off x="7523207" y="2531142"/>
              <a:ext cx="330110" cy="0"/>
            </a:xfrm>
            <a:prstGeom prst="line">
              <a:avLst/>
            </a:prstGeom>
            <a:ln w="190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7097750" y="1668500"/>
              <a:ext cx="118102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5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FISSIONAL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164835" y="3776550"/>
              <a:ext cx="1046855" cy="2273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225794" y="3832540"/>
              <a:ext cx="924936" cy="1154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ssine</a:t>
              </a:r>
              <a:r>
                <a:rPr lang="en-US" sz="750" b="1" cap="all" spc="10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750" b="1" cap="all" spc="10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já</a:t>
              </a:r>
              <a:endParaRPr lang="en-US" sz="750" b="1" cap="all" spc="10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30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845AA7FC-3356-4369-BCC9-719152B55F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731839-B12C-4900-BCBB-6B1907EACE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03E85BCD-49B1-418B-8F8C-6A8BA27439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96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/>
          <p:cNvSpPr txBox="1">
            <a:spLocks/>
          </p:cNvSpPr>
          <p:nvPr/>
        </p:nvSpPr>
        <p:spPr>
          <a:xfrm>
            <a:off x="581029" y="569549"/>
            <a:ext cx="3279771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EVISÃO DE </a:t>
            </a:r>
            <a:r>
              <a:rPr lang="en-US" dirty="0">
                <a:solidFill>
                  <a:srgbClr val="EC0000"/>
                </a:solidFill>
              </a:rPr>
              <a:t>VENDA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590552" y="485775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/>
          <p:cNvSpPr txBox="1">
            <a:spLocks/>
          </p:cNvSpPr>
          <p:nvPr/>
        </p:nvSpPr>
        <p:spPr>
          <a:xfrm>
            <a:off x="590552" y="960189"/>
            <a:ext cx="3279771" cy="1415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Quisque</a:t>
            </a:r>
            <a:r>
              <a:rPr lang="en-US" dirty="0"/>
              <a:t> cursus ligula </a:t>
            </a:r>
            <a:r>
              <a:rPr lang="en-US" dirty="0" err="1"/>
              <a:t>lectus</a:t>
            </a:r>
            <a:r>
              <a:rPr lang="en-US" dirty="0"/>
              <a:t>, vitae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 dictum</a:t>
            </a:r>
          </a:p>
        </p:txBody>
      </p:sp>
      <p:cxnSp>
        <p:nvCxnSpPr>
          <p:cNvPr id="47" name="Straight Connector 46"/>
          <p:cNvCxnSpPr/>
          <p:nvPr/>
        </p:nvCxnSpPr>
        <p:spPr>
          <a:xfrm>
            <a:off x="1223791" y="3167911"/>
            <a:ext cx="0" cy="12396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889074" y="2968582"/>
            <a:ext cx="6694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+3.2%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89074" y="4168019"/>
            <a:ext cx="6694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dirty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19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667650" y="4168019"/>
            <a:ext cx="6694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dirty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0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93726" y="1447531"/>
            <a:ext cx="2852208" cy="528610"/>
            <a:chOff x="593726" y="1447531"/>
            <a:chExt cx="2852208" cy="528610"/>
          </a:xfrm>
        </p:grpSpPr>
        <p:sp>
          <p:nvSpPr>
            <p:cNvPr id="51" name="TextBox 50"/>
            <p:cNvSpPr txBox="1"/>
            <p:nvPr/>
          </p:nvSpPr>
          <p:spPr>
            <a:xfrm>
              <a:off x="593726" y="1672788"/>
              <a:ext cx="2852208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.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93726" y="1447531"/>
              <a:ext cx="285220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</a:rPr>
                <a:t>Usuários</a:t>
              </a:r>
              <a:r>
                <a:rPr lang="en-US" sz="1200" cap="all" spc="2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 </a:t>
              </a:r>
              <a:r>
                <a:rPr lang="en-US" sz="1200" cap="all" spc="20" dirty="0" err="1">
                  <a:solidFill>
                    <a:srgbClr val="EC0000"/>
                  </a:solidFill>
                  <a:latin typeface="Lato Black" panose="020F0A02020204030203" pitchFamily="34" charset="0"/>
                </a:rPr>
                <a:t>globais</a:t>
              </a:r>
              <a:endParaRPr lang="en-US" sz="1200" cap="all" spc="20" dirty="0">
                <a:solidFill>
                  <a:srgbClr val="EC0000"/>
                </a:solidFill>
                <a:latin typeface="Lato Black" panose="020F0A02020204030203" pitchFamily="34" charset="0"/>
              </a:endParaRPr>
            </a:p>
          </p:txBody>
        </p:sp>
      </p:grpSp>
      <p:sp>
        <p:nvSpPr>
          <p:cNvPr id="53" name="Freeform 52"/>
          <p:cNvSpPr/>
          <p:nvPr/>
        </p:nvSpPr>
        <p:spPr>
          <a:xfrm>
            <a:off x="690255" y="3277867"/>
            <a:ext cx="1067072" cy="835736"/>
          </a:xfrm>
          <a:custGeom>
            <a:avLst/>
            <a:gdLst>
              <a:gd name="connsiteX0" fmla="*/ 1186601 w 2373201"/>
              <a:gd name="connsiteY0" fmla="*/ 0 h 2930777"/>
              <a:gd name="connsiteX1" fmla="*/ 2373201 w 2373201"/>
              <a:gd name="connsiteY1" fmla="*/ 2930777 h 2930777"/>
              <a:gd name="connsiteX2" fmla="*/ 0 w 2373201"/>
              <a:gd name="connsiteY2" fmla="*/ 2930777 h 2930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73201" h="2930777">
                <a:moveTo>
                  <a:pt x="1186601" y="0"/>
                </a:moveTo>
                <a:lnTo>
                  <a:pt x="2373201" y="2930777"/>
                </a:lnTo>
                <a:lnTo>
                  <a:pt x="0" y="2930777"/>
                </a:lnTo>
                <a:close/>
              </a:path>
            </a:pathLst>
          </a:cu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4" name="Freeform 53"/>
          <p:cNvSpPr/>
          <p:nvPr/>
        </p:nvSpPr>
        <p:spPr>
          <a:xfrm>
            <a:off x="1468831" y="2614234"/>
            <a:ext cx="1067072" cy="1499369"/>
          </a:xfrm>
          <a:custGeom>
            <a:avLst/>
            <a:gdLst>
              <a:gd name="connsiteX0" fmla="*/ 1186601 w 2373201"/>
              <a:gd name="connsiteY0" fmla="*/ 0 h 2930777"/>
              <a:gd name="connsiteX1" fmla="*/ 2373201 w 2373201"/>
              <a:gd name="connsiteY1" fmla="*/ 2930777 h 2930777"/>
              <a:gd name="connsiteX2" fmla="*/ 0 w 2373201"/>
              <a:gd name="connsiteY2" fmla="*/ 2930777 h 2930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73201" h="2930777">
                <a:moveTo>
                  <a:pt x="1186601" y="0"/>
                </a:moveTo>
                <a:lnTo>
                  <a:pt x="2373201" y="2930777"/>
                </a:lnTo>
                <a:lnTo>
                  <a:pt x="0" y="2930777"/>
                </a:lnTo>
                <a:close/>
              </a:path>
            </a:pathLst>
          </a:custGeom>
          <a:solidFill>
            <a:srgbClr val="EC00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5" name="Freeform 54"/>
          <p:cNvSpPr/>
          <p:nvPr/>
        </p:nvSpPr>
        <p:spPr>
          <a:xfrm>
            <a:off x="2247408" y="2878667"/>
            <a:ext cx="1067072" cy="1234936"/>
          </a:xfrm>
          <a:custGeom>
            <a:avLst/>
            <a:gdLst>
              <a:gd name="connsiteX0" fmla="*/ 1186601 w 2373201"/>
              <a:gd name="connsiteY0" fmla="*/ 0 h 2930777"/>
              <a:gd name="connsiteX1" fmla="*/ 2373201 w 2373201"/>
              <a:gd name="connsiteY1" fmla="*/ 2930777 h 2930777"/>
              <a:gd name="connsiteX2" fmla="*/ 0 w 2373201"/>
              <a:gd name="connsiteY2" fmla="*/ 2930777 h 2930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73201" h="2930777">
                <a:moveTo>
                  <a:pt x="1186601" y="0"/>
                </a:moveTo>
                <a:lnTo>
                  <a:pt x="2373201" y="2930777"/>
                </a:lnTo>
                <a:lnTo>
                  <a:pt x="0" y="2930777"/>
                </a:lnTo>
                <a:close/>
              </a:path>
            </a:pathLst>
          </a:custGeom>
          <a:solidFill>
            <a:schemeClr val="accent3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6" name="TextBox 55"/>
          <p:cNvSpPr txBox="1"/>
          <p:nvPr/>
        </p:nvSpPr>
        <p:spPr>
          <a:xfrm>
            <a:off x="2446227" y="4168019"/>
            <a:ext cx="6694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dirty="0">
                <a:solidFill>
                  <a:schemeClr val="accent4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21</a:t>
            </a:r>
          </a:p>
        </p:txBody>
      </p:sp>
      <p:cxnSp>
        <p:nvCxnSpPr>
          <p:cNvPr id="57" name="Straight Connector 56"/>
          <p:cNvCxnSpPr/>
          <p:nvPr/>
        </p:nvCxnSpPr>
        <p:spPr>
          <a:xfrm>
            <a:off x="2002367" y="2496680"/>
            <a:ext cx="0" cy="12396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1667650" y="2297351"/>
            <a:ext cx="6694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+8.3%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2780944" y="2762271"/>
            <a:ext cx="0" cy="123962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2446227" y="2562942"/>
            <a:ext cx="6694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+5.6%</a:t>
            </a:r>
          </a:p>
        </p:txBody>
      </p:sp>
      <p:cxnSp>
        <p:nvCxnSpPr>
          <p:cNvPr id="61" name="Straight Connector 60"/>
          <p:cNvCxnSpPr/>
          <p:nvPr/>
        </p:nvCxnSpPr>
        <p:spPr>
          <a:xfrm>
            <a:off x="593725" y="4113603"/>
            <a:ext cx="281728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30081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5"/>
          <p:cNvSpPr>
            <a:spLocks/>
          </p:cNvSpPr>
          <p:nvPr/>
        </p:nvSpPr>
        <p:spPr bwMode="auto">
          <a:xfrm>
            <a:off x="5695901" y="900968"/>
            <a:ext cx="2702940" cy="4244933"/>
          </a:xfrm>
          <a:custGeom>
            <a:avLst/>
            <a:gdLst>
              <a:gd name="T0" fmla="*/ 399 w 1635"/>
              <a:gd name="T1" fmla="*/ 2369 h 2570"/>
              <a:gd name="T2" fmla="*/ 409 w 1635"/>
              <a:gd name="T3" fmla="*/ 2224 h 2570"/>
              <a:gd name="T4" fmla="*/ 421 w 1635"/>
              <a:gd name="T5" fmla="*/ 2045 h 2570"/>
              <a:gd name="T6" fmla="*/ 310 w 1635"/>
              <a:gd name="T7" fmla="*/ 2050 h 2570"/>
              <a:gd name="T8" fmla="*/ 162 w 1635"/>
              <a:gd name="T9" fmla="*/ 2040 h 2570"/>
              <a:gd name="T10" fmla="*/ 20 w 1635"/>
              <a:gd name="T11" fmla="*/ 1916 h 2570"/>
              <a:gd name="T12" fmla="*/ 53 w 1635"/>
              <a:gd name="T13" fmla="*/ 1730 h 2570"/>
              <a:gd name="T14" fmla="*/ 189 w 1635"/>
              <a:gd name="T15" fmla="*/ 1494 h 2570"/>
              <a:gd name="T16" fmla="*/ 224 w 1635"/>
              <a:gd name="T17" fmla="*/ 1435 h 2570"/>
              <a:gd name="T18" fmla="*/ 253 w 1635"/>
              <a:gd name="T19" fmla="*/ 1386 h 2570"/>
              <a:gd name="T20" fmla="*/ 272 w 1635"/>
              <a:gd name="T21" fmla="*/ 1321 h 2570"/>
              <a:gd name="T22" fmla="*/ 296 w 1635"/>
              <a:gd name="T23" fmla="*/ 1253 h 2570"/>
              <a:gd name="T24" fmla="*/ 305 w 1635"/>
              <a:gd name="T25" fmla="*/ 1208 h 2570"/>
              <a:gd name="T26" fmla="*/ 373 w 1635"/>
              <a:gd name="T27" fmla="*/ 1088 h 2570"/>
              <a:gd name="T28" fmla="*/ 452 w 1635"/>
              <a:gd name="T29" fmla="*/ 1030 h 2570"/>
              <a:gd name="T30" fmla="*/ 738 w 1635"/>
              <a:gd name="T31" fmla="*/ 915 h 2570"/>
              <a:gd name="T32" fmla="*/ 779 w 1635"/>
              <a:gd name="T33" fmla="*/ 819 h 2570"/>
              <a:gd name="T34" fmla="*/ 715 w 1635"/>
              <a:gd name="T35" fmla="*/ 658 h 2570"/>
              <a:gd name="T36" fmla="*/ 685 w 1635"/>
              <a:gd name="T37" fmla="*/ 541 h 2570"/>
              <a:gd name="T38" fmla="*/ 666 w 1635"/>
              <a:gd name="T39" fmla="*/ 412 h 2570"/>
              <a:gd name="T40" fmla="*/ 666 w 1635"/>
              <a:gd name="T41" fmla="*/ 341 h 2570"/>
              <a:gd name="T42" fmla="*/ 665 w 1635"/>
              <a:gd name="T43" fmla="*/ 259 h 2570"/>
              <a:gd name="T44" fmla="*/ 679 w 1635"/>
              <a:gd name="T45" fmla="*/ 202 h 2570"/>
              <a:gd name="T46" fmla="*/ 706 w 1635"/>
              <a:gd name="T47" fmla="*/ 147 h 2570"/>
              <a:gd name="T48" fmla="*/ 766 w 1635"/>
              <a:gd name="T49" fmla="*/ 67 h 2570"/>
              <a:gd name="T50" fmla="*/ 852 w 1635"/>
              <a:gd name="T51" fmla="*/ 14 h 2570"/>
              <a:gd name="T52" fmla="*/ 905 w 1635"/>
              <a:gd name="T53" fmla="*/ 8 h 2570"/>
              <a:gd name="T54" fmla="*/ 959 w 1635"/>
              <a:gd name="T55" fmla="*/ 4 h 2570"/>
              <a:gd name="T56" fmla="*/ 1014 w 1635"/>
              <a:gd name="T57" fmla="*/ 24 h 2570"/>
              <a:gd name="T58" fmla="*/ 1052 w 1635"/>
              <a:gd name="T59" fmla="*/ 46 h 2570"/>
              <a:gd name="T60" fmla="*/ 1100 w 1635"/>
              <a:gd name="T61" fmla="*/ 71 h 2570"/>
              <a:gd name="T62" fmla="*/ 1145 w 1635"/>
              <a:gd name="T63" fmla="*/ 110 h 2570"/>
              <a:gd name="T64" fmla="*/ 1171 w 1635"/>
              <a:gd name="T65" fmla="*/ 151 h 2570"/>
              <a:gd name="T66" fmla="*/ 1191 w 1635"/>
              <a:gd name="T67" fmla="*/ 203 h 2570"/>
              <a:gd name="T68" fmla="*/ 1212 w 1635"/>
              <a:gd name="T69" fmla="*/ 319 h 2570"/>
              <a:gd name="T70" fmla="*/ 1222 w 1635"/>
              <a:gd name="T71" fmla="*/ 408 h 2570"/>
              <a:gd name="T72" fmla="*/ 1204 w 1635"/>
              <a:gd name="T73" fmla="*/ 493 h 2570"/>
              <a:gd name="T74" fmla="*/ 1147 w 1635"/>
              <a:gd name="T75" fmla="*/ 569 h 2570"/>
              <a:gd name="T76" fmla="*/ 1133 w 1635"/>
              <a:gd name="T77" fmla="*/ 720 h 2570"/>
              <a:gd name="T78" fmla="*/ 1233 w 1635"/>
              <a:gd name="T79" fmla="*/ 831 h 2570"/>
              <a:gd name="T80" fmla="*/ 1376 w 1635"/>
              <a:gd name="T81" fmla="*/ 911 h 2570"/>
              <a:gd name="T82" fmla="*/ 1451 w 1635"/>
              <a:gd name="T83" fmla="*/ 955 h 2570"/>
              <a:gd name="T84" fmla="*/ 1592 w 1635"/>
              <a:gd name="T85" fmla="*/ 1038 h 2570"/>
              <a:gd name="T86" fmla="*/ 1630 w 1635"/>
              <a:gd name="T87" fmla="*/ 1298 h 2570"/>
              <a:gd name="T88" fmla="*/ 1595 w 1635"/>
              <a:gd name="T89" fmla="*/ 1544 h 2570"/>
              <a:gd name="T90" fmla="*/ 1490 w 1635"/>
              <a:gd name="T91" fmla="*/ 1918 h 2570"/>
              <a:gd name="T92" fmla="*/ 1447 w 1635"/>
              <a:gd name="T93" fmla="*/ 2144 h 2570"/>
              <a:gd name="T94" fmla="*/ 1496 w 1635"/>
              <a:gd name="T95" fmla="*/ 2330 h 2570"/>
              <a:gd name="T96" fmla="*/ 1500 w 1635"/>
              <a:gd name="T97" fmla="*/ 2570 h 2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35" h="2570">
                <a:moveTo>
                  <a:pt x="365" y="2570"/>
                </a:moveTo>
                <a:cubicBezTo>
                  <a:pt x="367" y="2558"/>
                  <a:pt x="368" y="2547"/>
                  <a:pt x="370" y="2535"/>
                </a:cubicBezTo>
                <a:cubicBezTo>
                  <a:pt x="375" y="2497"/>
                  <a:pt x="381" y="2459"/>
                  <a:pt x="387" y="2420"/>
                </a:cubicBezTo>
                <a:cubicBezTo>
                  <a:pt x="390" y="2403"/>
                  <a:pt x="395" y="2386"/>
                  <a:pt x="399" y="2369"/>
                </a:cubicBezTo>
                <a:cubicBezTo>
                  <a:pt x="400" y="2359"/>
                  <a:pt x="402" y="2350"/>
                  <a:pt x="403" y="2341"/>
                </a:cubicBezTo>
                <a:cubicBezTo>
                  <a:pt x="404" y="2337"/>
                  <a:pt x="403" y="2334"/>
                  <a:pt x="402" y="2331"/>
                </a:cubicBezTo>
                <a:cubicBezTo>
                  <a:pt x="400" y="2327"/>
                  <a:pt x="400" y="2322"/>
                  <a:pt x="401" y="2318"/>
                </a:cubicBezTo>
                <a:cubicBezTo>
                  <a:pt x="406" y="2287"/>
                  <a:pt x="408" y="2256"/>
                  <a:pt x="409" y="2224"/>
                </a:cubicBezTo>
                <a:cubicBezTo>
                  <a:pt x="410" y="2213"/>
                  <a:pt x="413" y="2201"/>
                  <a:pt x="414" y="2189"/>
                </a:cubicBezTo>
                <a:cubicBezTo>
                  <a:pt x="416" y="2176"/>
                  <a:pt x="418" y="2164"/>
                  <a:pt x="418" y="2151"/>
                </a:cubicBezTo>
                <a:cubicBezTo>
                  <a:pt x="419" y="2119"/>
                  <a:pt x="420" y="2087"/>
                  <a:pt x="421" y="2056"/>
                </a:cubicBezTo>
                <a:cubicBezTo>
                  <a:pt x="421" y="2053"/>
                  <a:pt x="421" y="2049"/>
                  <a:pt x="421" y="2045"/>
                </a:cubicBezTo>
                <a:cubicBezTo>
                  <a:pt x="414" y="2045"/>
                  <a:pt x="408" y="2046"/>
                  <a:pt x="403" y="2046"/>
                </a:cubicBezTo>
                <a:cubicBezTo>
                  <a:pt x="390" y="2046"/>
                  <a:pt x="376" y="2046"/>
                  <a:pt x="363" y="2047"/>
                </a:cubicBezTo>
                <a:cubicBezTo>
                  <a:pt x="359" y="2047"/>
                  <a:pt x="356" y="2047"/>
                  <a:pt x="352" y="2047"/>
                </a:cubicBezTo>
                <a:cubicBezTo>
                  <a:pt x="338" y="2048"/>
                  <a:pt x="324" y="2049"/>
                  <a:pt x="310" y="2050"/>
                </a:cubicBezTo>
                <a:cubicBezTo>
                  <a:pt x="292" y="2051"/>
                  <a:pt x="275" y="2046"/>
                  <a:pt x="258" y="2043"/>
                </a:cubicBezTo>
                <a:cubicBezTo>
                  <a:pt x="249" y="2041"/>
                  <a:pt x="240" y="2039"/>
                  <a:pt x="231" y="2039"/>
                </a:cubicBezTo>
                <a:cubicBezTo>
                  <a:pt x="226" y="2038"/>
                  <a:pt x="220" y="2039"/>
                  <a:pt x="214" y="2040"/>
                </a:cubicBezTo>
                <a:cubicBezTo>
                  <a:pt x="197" y="2045"/>
                  <a:pt x="179" y="2043"/>
                  <a:pt x="162" y="2040"/>
                </a:cubicBezTo>
                <a:cubicBezTo>
                  <a:pt x="140" y="2036"/>
                  <a:pt x="118" y="2032"/>
                  <a:pt x="97" y="2025"/>
                </a:cubicBezTo>
                <a:cubicBezTo>
                  <a:pt x="88" y="2022"/>
                  <a:pt x="77" y="2020"/>
                  <a:pt x="69" y="2014"/>
                </a:cubicBezTo>
                <a:cubicBezTo>
                  <a:pt x="61" y="2008"/>
                  <a:pt x="54" y="1999"/>
                  <a:pt x="48" y="1991"/>
                </a:cubicBezTo>
                <a:cubicBezTo>
                  <a:pt x="34" y="1968"/>
                  <a:pt x="27" y="1942"/>
                  <a:pt x="20" y="1916"/>
                </a:cubicBezTo>
                <a:cubicBezTo>
                  <a:pt x="14" y="1895"/>
                  <a:pt x="8" y="1875"/>
                  <a:pt x="2" y="1854"/>
                </a:cubicBezTo>
                <a:cubicBezTo>
                  <a:pt x="1" y="1851"/>
                  <a:pt x="0" y="1849"/>
                  <a:pt x="0" y="1847"/>
                </a:cubicBezTo>
                <a:cubicBezTo>
                  <a:pt x="2" y="1837"/>
                  <a:pt x="2" y="1828"/>
                  <a:pt x="5" y="1819"/>
                </a:cubicBezTo>
                <a:cubicBezTo>
                  <a:pt x="15" y="1786"/>
                  <a:pt x="31" y="1756"/>
                  <a:pt x="53" y="1730"/>
                </a:cubicBezTo>
                <a:cubicBezTo>
                  <a:pt x="58" y="1725"/>
                  <a:pt x="61" y="1718"/>
                  <a:pt x="64" y="1712"/>
                </a:cubicBezTo>
                <a:cubicBezTo>
                  <a:pt x="77" y="1682"/>
                  <a:pt x="92" y="1652"/>
                  <a:pt x="109" y="1624"/>
                </a:cubicBezTo>
                <a:cubicBezTo>
                  <a:pt x="129" y="1593"/>
                  <a:pt x="148" y="1561"/>
                  <a:pt x="167" y="1529"/>
                </a:cubicBezTo>
                <a:cubicBezTo>
                  <a:pt x="174" y="1517"/>
                  <a:pt x="179" y="1505"/>
                  <a:pt x="189" y="1494"/>
                </a:cubicBezTo>
                <a:cubicBezTo>
                  <a:pt x="191" y="1492"/>
                  <a:pt x="191" y="1488"/>
                  <a:pt x="192" y="1485"/>
                </a:cubicBezTo>
                <a:cubicBezTo>
                  <a:pt x="193" y="1479"/>
                  <a:pt x="196" y="1474"/>
                  <a:pt x="200" y="1471"/>
                </a:cubicBezTo>
                <a:cubicBezTo>
                  <a:pt x="208" y="1465"/>
                  <a:pt x="212" y="1457"/>
                  <a:pt x="215" y="1448"/>
                </a:cubicBezTo>
                <a:cubicBezTo>
                  <a:pt x="217" y="1443"/>
                  <a:pt x="219" y="1438"/>
                  <a:pt x="224" y="1435"/>
                </a:cubicBezTo>
                <a:cubicBezTo>
                  <a:pt x="230" y="1431"/>
                  <a:pt x="232" y="1425"/>
                  <a:pt x="232" y="1418"/>
                </a:cubicBezTo>
                <a:cubicBezTo>
                  <a:pt x="232" y="1417"/>
                  <a:pt x="232" y="1416"/>
                  <a:pt x="232" y="1415"/>
                </a:cubicBezTo>
                <a:cubicBezTo>
                  <a:pt x="230" y="1406"/>
                  <a:pt x="235" y="1400"/>
                  <a:pt x="243" y="1397"/>
                </a:cubicBezTo>
                <a:cubicBezTo>
                  <a:pt x="248" y="1395"/>
                  <a:pt x="251" y="1391"/>
                  <a:pt x="253" y="1386"/>
                </a:cubicBezTo>
                <a:cubicBezTo>
                  <a:pt x="258" y="1377"/>
                  <a:pt x="262" y="1367"/>
                  <a:pt x="267" y="1358"/>
                </a:cubicBezTo>
                <a:cubicBezTo>
                  <a:pt x="269" y="1354"/>
                  <a:pt x="269" y="1351"/>
                  <a:pt x="268" y="1347"/>
                </a:cubicBezTo>
                <a:cubicBezTo>
                  <a:pt x="267" y="1341"/>
                  <a:pt x="266" y="1336"/>
                  <a:pt x="265" y="1330"/>
                </a:cubicBezTo>
                <a:cubicBezTo>
                  <a:pt x="264" y="1323"/>
                  <a:pt x="265" y="1322"/>
                  <a:pt x="272" y="1321"/>
                </a:cubicBezTo>
                <a:cubicBezTo>
                  <a:pt x="275" y="1321"/>
                  <a:pt x="278" y="1320"/>
                  <a:pt x="281" y="1320"/>
                </a:cubicBezTo>
                <a:cubicBezTo>
                  <a:pt x="281" y="1319"/>
                  <a:pt x="282" y="1318"/>
                  <a:pt x="282" y="1317"/>
                </a:cubicBezTo>
                <a:cubicBezTo>
                  <a:pt x="283" y="1301"/>
                  <a:pt x="288" y="1287"/>
                  <a:pt x="294" y="1273"/>
                </a:cubicBezTo>
                <a:cubicBezTo>
                  <a:pt x="296" y="1266"/>
                  <a:pt x="298" y="1260"/>
                  <a:pt x="296" y="1253"/>
                </a:cubicBezTo>
                <a:cubicBezTo>
                  <a:pt x="296" y="1251"/>
                  <a:pt x="296" y="1249"/>
                  <a:pt x="296" y="1247"/>
                </a:cubicBezTo>
                <a:cubicBezTo>
                  <a:pt x="298" y="1246"/>
                  <a:pt x="300" y="1245"/>
                  <a:pt x="302" y="1243"/>
                </a:cubicBezTo>
                <a:cubicBezTo>
                  <a:pt x="312" y="1238"/>
                  <a:pt x="312" y="1236"/>
                  <a:pt x="309" y="1225"/>
                </a:cubicBezTo>
                <a:cubicBezTo>
                  <a:pt x="307" y="1219"/>
                  <a:pt x="306" y="1214"/>
                  <a:pt x="305" y="1208"/>
                </a:cubicBezTo>
                <a:cubicBezTo>
                  <a:pt x="303" y="1200"/>
                  <a:pt x="307" y="1193"/>
                  <a:pt x="313" y="1189"/>
                </a:cubicBezTo>
                <a:cubicBezTo>
                  <a:pt x="323" y="1182"/>
                  <a:pt x="331" y="1175"/>
                  <a:pt x="340" y="1168"/>
                </a:cubicBezTo>
                <a:cubicBezTo>
                  <a:pt x="352" y="1160"/>
                  <a:pt x="356" y="1148"/>
                  <a:pt x="358" y="1136"/>
                </a:cubicBezTo>
                <a:cubicBezTo>
                  <a:pt x="362" y="1119"/>
                  <a:pt x="367" y="1104"/>
                  <a:pt x="373" y="1088"/>
                </a:cubicBezTo>
                <a:cubicBezTo>
                  <a:pt x="375" y="1086"/>
                  <a:pt x="376" y="1083"/>
                  <a:pt x="378" y="1080"/>
                </a:cubicBezTo>
                <a:cubicBezTo>
                  <a:pt x="387" y="1069"/>
                  <a:pt x="396" y="1057"/>
                  <a:pt x="407" y="1047"/>
                </a:cubicBezTo>
                <a:cubicBezTo>
                  <a:pt x="419" y="1036"/>
                  <a:pt x="433" y="1031"/>
                  <a:pt x="448" y="1030"/>
                </a:cubicBezTo>
                <a:cubicBezTo>
                  <a:pt x="449" y="1030"/>
                  <a:pt x="451" y="1029"/>
                  <a:pt x="452" y="1030"/>
                </a:cubicBezTo>
                <a:cubicBezTo>
                  <a:pt x="459" y="1034"/>
                  <a:pt x="465" y="1029"/>
                  <a:pt x="472" y="1026"/>
                </a:cubicBezTo>
                <a:cubicBezTo>
                  <a:pt x="527" y="998"/>
                  <a:pt x="586" y="978"/>
                  <a:pt x="644" y="956"/>
                </a:cubicBezTo>
                <a:cubicBezTo>
                  <a:pt x="673" y="945"/>
                  <a:pt x="702" y="933"/>
                  <a:pt x="731" y="922"/>
                </a:cubicBezTo>
                <a:cubicBezTo>
                  <a:pt x="733" y="920"/>
                  <a:pt x="736" y="918"/>
                  <a:pt x="738" y="915"/>
                </a:cubicBezTo>
                <a:cubicBezTo>
                  <a:pt x="748" y="899"/>
                  <a:pt x="759" y="882"/>
                  <a:pt x="769" y="865"/>
                </a:cubicBezTo>
                <a:cubicBezTo>
                  <a:pt x="772" y="861"/>
                  <a:pt x="773" y="855"/>
                  <a:pt x="774" y="850"/>
                </a:cubicBezTo>
                <a:cubicBezTo>
                  <a:pt x="776" y="842"/>
                  <a:pt x="777" y="834"/>
                  <a:pt x="779" y="826"/>
                </a:cubicBezTo>
                <a:cubicBezTo>
                  <a:pt x="779" y="824"/>
                  <a:pt x="779" y="822"/>
                  <a:pt x="779" y="819"/>
                </a:cubicBezTo>
                <a:cubicBezTo>
                  <a:pt x="775" y="797"/>
                  <a:pt x="771" y="775"/>
                  <a:pt x="767" y="753"/>
                </a:cubicBezTo>
                <a:cubicBezTo>
                  <a:pt x="766" y="750"/>
                  <a:pt x="764" y="746"/>
                  <a:pt x="762" y="743"/>
                </a:cubicBezTo>
                <a:cubicBezTo>
                  <a:pt x="750" y="730"/>
                  <a:pt x="740" y="716"/>
                  <a:pt x="733" y="700"/>
                </a:cubicBezTo>
                <a:cubicBezTo>
                  <a:pt x="727" y="686"/>
                  <a:pt x="720" y="673"/>
                  <a:pt x="715" y="658"/>
                </a:cubicBezTo>
                <a:cubicBezTo>
                  <a:pt x="711" y="644"/>
                  <a:pt x="707" y="628"/>
                  <a:pt x="705" y="613"/>
                </a:cubicBezTo>
                <a:cubicBezTo>
                  <a:pt x="703" y="600"/>
                  <a:pt x="702" y="586"/>
                  <a:pt x="701" y="573"/>
                </a:cubicBezTo>
                <a:cubicBezTo>
                  <a:pt x="700" y="570"/>
                  <a:pt x="699" y="567"/>
                  <a:pt x="697" y="564"/>
                </a:cubicBezTo>
                <a:cubicBezTo>
                  <a:pt x="691" y="558"/>
                  <a:pt x="687" y="550"/>
                  <a:pt x="685" y="541"/>
                </a:cubicBezTo>
                <a:cubicBezTo>
                  <a:pt x="682" y="526"/>
                  <a:pt x="678" y="512"/>
                  <a:pt x="674" y="498"/>
                </a:cubicBezTo>
                <a:cubicBezTo>
                  <a:pt x="673" y="495"/>
                  <a:pt x="672" y="493"/>
                  <a:pt x="672" y="491"/>
                </a:cubicBezTo>
                <a:cubicBezTo>
                  <a:pt x="671" y="475"/>
                  <a:pt x="670" y="459"/>
                  <a:pt x="669" y="442"/>
                </a:cubicBezTo>
                <a:cubicBezTo>
                  <a:pt x="668" y="432"/>
                  <a:pt x="667" y="422"/>
                  <a:pt x="666" y="412"/>
                </a:cubicBezTo>
                <a:cubicBezTo>
                  <a:pt x="666" y="407"/>
                  <a:pt x="667" y="404"/>
                  <a:pt x="672" y="401"/>
                </a:cubicBezTo>
                <a:cubicBezTo>
                  <a:pt x="678" y="399"/>
                  <a:pt x="679" y="394"/>
                  <a:pt x="676" y="389"/>
                </a:cubicBezTo>
                <a:cubicBezTo>
                  <a:pt x="672" y="383"/>
                  <a:pt x="671" y="377"/>
                  <a:pt x="670" y="370"/>
                </a:cubicBezTo>
                <a:cubicBezTo>
                  <a:pt x="669" y="360"/>
                  <a:pt x="667" y="351"/>
                  <a:pt x="666" y="341"/>
                </a:cubicBezTo>
                <a:cubicBezTo>
                  <a:pt x="665" y="334"/>
                  <a:pt x="665" y="326"/>
                  <a:pt x="664" y="319"/>
                </a:cubicBezTo>
                <a:cubicBezTo>
                  <a:pt x="663" y="311"/>
                  <a:pt x="661" y="303"/>
                  <a:pt x="663" y="296"/>
                </a:cubicBezTo>
                <a:cubicBezTo>
                  <a:pt x="664" y="295"/>
                  <a:pt x="664" y="293"/>
                  <a:pt x="663" y="292"/>
                </a:cubicBezTo>
                <a:cubicBezTo>
                  <a:pt x="659" y="281"/>
                  <a:pt x="664" y="270"/>
                  <a:pt x="665" y="259"/>
                </a:cubicBezTo>
                <a:cubicBezTo>
                  <a:pt x="666" y="249"/>
                  <a:pt x="668" y="240"/>
                  <a:pt x="670" y="231"/>
                </a:cubicBezTo>
                <a:cubicBezTo>
                  <a:pt x="671" y="227"/>
                  <a:pt x="672" y="224"/>
                  <a:pt x="674" y="221"/>
                </a:cubicBezTo>
                <a:cubicBezTo>
                  <a:pt x="676" y="216"/>
                  <a:pt x="680" y="212"/>
                  <a:pt x="678" y="206"/>
                </a:cubicBezTo>
                <a:cubicBezTo>
                  <a:pt x="678" y="205"/>
                  <a:pt x="679" y="203"/>
                  <a:pt x="679" y="202"/>
                </a:cubicBezTo>
                <a:cubicBezTo>
                  <a:pt x="680" y="199"/>
                  <a:pt x="682" y="196"/>
                  <a:pt x="683" y="194"/>
                </a:cubicBezTo>
                <a:cubicBezTo>
                  <a:pt x="686" y="187"/>
                  <a:pt x="687" y="180"/>
                  <a:pt x="691" y="175"/>
                </a:cubicBezTo>
                <a:cubicBezTo>
                  <a:pt x="695" y="170"/>
                  <a:pt x="698" y="164"/>
                  <a:pt x="702" y="159"/>
                </a:cubicBezTo>
                <a:cubicBezTo>
                  <a:pt x="704" y="156"/>
                  <a:pt x="705" y="151"/>
                  <a:pt x="706" y="147"/>
                </a:cubicBezTo>
                <a:cubicBezTo>
                  <a:pt x="710" y="138"/>
                  <a:pt x="713" y="129"/>
                  <a:pt x="717" y="120"/>
                </a:cubicBezTo>
                <a:cubicBezTo>
                  <a:pt x="722" y="107"/>
                  <a:pt x="732" y="96"/>
                  <a:pt x="741" y="85"/>
                </a:cubicBezTo>
                <a:cubicBezTo>
                  <a:pt x="746" y="80"/>
                  <a:pt x="750" y="75"/>
                  <a:pt x="755" y="70"/>
                </a:cubicBezTo>
                <a:cubicBezTo>
                  <a:pt x="758" y="68"/>
                  <a:pt x="760" y="62"/>
                  <a:pt x="766" y="67"/>
                </a:cubicBezTo>
                <a:cubicBezTo>
                  <a:pt x="769" y="64"/>
                  <a:pt x="773" y="62"/>
                  <a:pt x="776" y="59"/>
                </a:cubicBezTo>
                <a:cubicBezTo>
                  <a:pt x="779" y="55"/>
                  <a:pt x="784" y="52"/>
                  <a:pt x="788" y="49"/>
                </a:cubicBezTo>
                <a:cubicBezTo>
                  <a:pt x="799" y="41"/>
                  <a:pt x="811" y="35"/>
                  <a:pt x="824" y="31"/>
                </a:cubicBezTo>
                <a:cubicBezTo>
                  <a:pt x="834" y="27"/>
                  <a:pt x="843" y="20"/>
                  <a:pt x="852" y="14"/>
                </a:cubicBezTo>
                <a:cubicBezTo>
                  <a:pt x="854" y="13"/>
                  <a:pt x="855" y="11"/>
                  <a:pt x="857" y="10"/>
                </a:cubicBezTo>
                <a:cubicBezTo>
                  <a:pt x="871" y="7"/>
                  <a:pt x="884" y="4"/>
                  <a:pt x="898" y="1"/>
                </a:cubicBezTo>
                <a:cubicBezTo>
                  <a:pt x="899" y="1"/>
                  <a:pt x="900" y="1"/>
                  <a:pt x="902" y="1"/>
                </a:cubicBezTo>
                <a:cubicBezTo>
                  <a:pt x="903" y="4"/>
                  <a:pt x="904" y="6"/>
                  <a:pt x="905" y="8"/>
                </a:cubicBezTo>
                <a:cubicBezTo>
                  <a:pt x="907" y="8"/>
                  <a:pt x="908" y="8"/>
                  <a:pt x="909" y="7"/>
                </a:cubicBezTo>
                <a:cubicBezTo>
                  <a:pt x="914" y="4"/>
                  <a:pt x="918" y="1"/>
                  <a:pt x="925" y="3"/>
                </a:cubicBezTo>
                <a:cubicBezTo>
                  <a:pt x="928" y="4"/>
                  <a:pt x="933" y="4"/>
                  <a:pt x="937" y="3"/>
                </a:cubicBezTo>
                <a:cubicBezTo>
                  <a:pt x="945" y="0"/>
                  <a:pt x="952" y="2"/>
                  <a:pt x="959" y="4"/>
                </a:cubicBezTo>
                <a:cubicBezTo>
                  <a:pt x="968" y="6"/>
                  <a:pt x="977" y="8"/>
                  <a:pt x="985" y="10"/>
                </a:cubicBezTo>
                <a:cubicBezTo>
                  <a:pt x="988" y="11"/>
                  <a:pt x="991" y="11"/>
                  <a:pt x="993" y="13"/>
                </a:cubicBezTo>
                <a:cubicBezTo>
                  <a:pt x="999" y="16"/>
                  <a:pt x="1005" y="19"/>
                  <a:pt x="1011" y="22"/>
                </a:cubicBezTo>
                <a:cubicBezTo>
                  <a:pt x="1012" y="23"/>
                  <a:pt x="1014" y="23"/>
                  <a:pt x="1014" y="24"/>
                </a:cubicBezTo>
                <a:cubicBezTo>
                  <a:pt x="1013" y="31"/>
                  <a:pt x="1019" y="29"/>
                  <a:pt x="1023" y="30"/>
                </a:cubicBezTo>
                <a:cubicBezTo>
                  <a:pt x="1025" y="31"/>
                  <a:pt x="1027" y="30"/>
                  <a:pt x="1028" y="31"/>
                </a:cubicBezTo>
                <a:cubicBezTo>
                  <a:pt x="1035" y="32"/>
                  <a:pt x="1036" y="33"/>
                  <a:pt x="1035" y="40"/>
                </a:cubicBezTo>
                <a:cubicBezTo>
                  <a:pt x="1040" y="45"/>
                  <a:pt x="1046" y="45"/>
                  <a:pt x="1052" y="46"/>
                </a:cubicBezTo>
                <a:cubicBezTo>
                  <a:pt x="1057" y="46"/>
                  <a:pt x="1062" y="50"/>
                  <a:pt x="1066" y="52"/>
                </a:cubicBezTo>
                <a:cubicBezTo>
                  <a:pt x="1068" y="53"/>
                  <a:pt x="1069" y="55"/>
                  <a:pt x="1071" y="55"/>
                </a:cubicBezTo>
                <a:cubicBezTo>
                  <a:pt x="1079" y="58"/>
                  <a:pt x="1087" y="61"/>
                  <a:pt x="1093" y="66"/>
                </a:cubicBezTo>
                <a:cubicBezTo>
                  <a:pt x="1095" y="68"/>
                  <a:pt x="1098" y="70"/>
                  <a:pt x="1100" y="71"/>
                </a:cubicBezTo>
                <a:cubicBezTo>
                  <a:pt x="1107" y="72"/>
                  <a:pt x="1112" y="77"/>
                  <a:pt x="1117" y="82"/>
                </a:cubicBezTo>
                <a:cubicBezTo>
                  <a:pt x="1118" y="83"/>
                  <a:pt x="1120" y="84"/>
                  <a:pt x="1119" y="85"/>
                </a:cubicBezTo>
                <a:cubicBezTo>
                  <a:pt x="1118" y="92"/>
                  <a:pt x="1124" y="93"/>
                  <a:pt x="1128" y="95"/>
                </a:cubicBezTo>
                <a:cubicBezTo>
                  <a:pt x="1135" y="98"/>
                  <a:pt x="1141" y="103"/>
                  <a:pt x="1145" y="110"/>
                </a:cubicBezTo>
                <a:cubicBezTo>
                  <a:pt x="1146" y="112"/>
                  <a:pt x="1148" y="114"/>
                  <a:pt x="1150" y="115"/>
                </a:cubicBezTo>
                <a:cubicBezTo>
                  <a:pt x="1155" y="117"/>
                  <a:pt x="1158" y="121"/>
                  <a:pt x="1160" y="125"/>
                </a:cubicBezTo>
                <a:cubicBezTo>
                  <a:pt x="1163" y="133"/>
                  <a:pt x="1169" y="139"/>
                  <a:pt x="1169" y="148"/>
                </a:cubicBezTo>
                <a:cubicBezTo>
                  <a:pt x="1170" y="149"/>
                  <a:pt x="1170" y="150"/>
                  <a:pt x="1171" y="151"/>
                </a:cubicBezTo>
                <a:cubicBezTo>
                  <a:pt x="1177" y="157"/>
                  <a:pt x="1179" y="165"/>
                  <a:pt x="1183" y="173"/>
                </a:cubicBezTo>
                <a:cubicBezTo>
                  <a:pt x="1186" y="181"/>
                  <a:pt x="1189" y="190"/>
                  <a:pt x="1193" y="199"/>
                </a:cubicBezTo>
                <a:cubicBezTo>
                  <a:pt x="1192" y="199"/>
                  <a:pt x="1191" y="200"/>
                  <a:pt x="1190" y="201"/>
                </a:cubicBezTo>
                <a:cubicBezTo>
                  <a:pt x="1191" y="202"/>
                  <a:pt x="1191" y="203"/>
                  <a:pt x="1191" y="203"/>
                </a:cubicBezTo>
                <a:cubicBezTo>
                  <a:pt x="1197" y="210"/>
                  <a:pt x="1199" y="218"/>
                  <a:pt x="1201" y="226"/>
                </a:cubicBezTo>
                <a:cubicBezTo>
                  <a:pt x="1203" y="238"/>
                  <a:pt x="1206" y="249"/>
                  <a:pt x="1209" y="260"/>
                </a:cubicBezTo>
                <a:cubicBezTo>
                  <a:pt x="1210" y="265"/>
                  <a:pt x="1211" y="270"/>
                  <a:pt x="1211" y="275"/>
                </a:cubicBezTo>
                <a:cubicBezTo>
                  <a:pt x="1212" y="290"/>
                  <a:pt x="1213" y="305"/>
                  <a:pt x="1212" y="319"/>
                </a:cubicBezTo>
                <a:cubicBezTo>
                  <a:pt x="1211" y="339"/>
                  <a:pt x="1212" y="359"/>
                  <a:pt x="1204" y="378"/>
                </a:cubicBezTo>
                <a:cubicBezTo>
                  <a:pt x="1203" y="381"/>
                  <a:pt x="1201" y="384"/>
                  <a:pt x="1200" y="387"/>
                </a:cubicBezTo>
                <a:cubicBezTo>
                  <a:pt x="1201" y="388"/>
                  <a:pt x="1201" y="389"/>
                  <a:pt x="1202" y="388"/>
                </a:cubicBezTo>
                <a:cubicBezTo>
                  <a:pt x="1216" y="387"/>
                  <a:pt x="1221" y="396"/>
                  <a:pt x="1222" y="408"/>
                </a:cubicBezTo>
                <a:cubicBezTo>
                  <a:pt x="1222" y="415"/>
                  <a:pt x="1221" y="423"/>
                  <a:pt x="1219" y="430"/>
                </a:cubicBezTo>
                <a:cubicBezTo>
                  <a:pt x="1217" y="439"/>
                  <a:pt x="1214" y="447"/>
                  <a:pt x="1212" y="455"/>
                </a:cubicBezTo>
                <a:cubicBezTo>
                  <a:pt x="1211" y="461"/>
                  <a:pt x="1210" y="466"/>
                  <a:pt x="1209" y="472"/>
                </a:cubicBezTo>
                <a:cubicBezTo>
                  <a:pt x="1209" y="480"/>
                  <a:pt x="1208" y="487"/>
                  <a:pt x="1204" y="493"/>
                </a:cubicBezTo>
                <a:cubicBezTo>
                  <a:pt x="1199" y="501"/>
                  <a:pt x="1196" y="509"/>
                  <a:pt x="1194" y="518"/>
                </a:cubicBezTo>
                <a:cubicBezTo>
                  <a:pt x="1191" y="528"/>
                  <a:pt x="1187" y="537"/>
                  <a:pt x="1182" y="546"/>
                </a:cubicBezTo>
                <a:cubicBezTo>
                  <a:pt x="1176" y="558"/>
                  <a:pt x="1165" y="564"/>
                  <a:pt x="1153" y="568"/>
                </a:cubicBezTo>
                <a:cubicBezTo>
                  <a:pt x="1151" y="569"/>
                  <a:pt x="1150" y="569"/>
                  <a:pt x="1147" y="569"/>
                </a:cubicBezTo>
                <a:cubicBezTo>
                  <a:pt x="1147" y="574"/>
                  <a:pt x="1146" y="579"/>
                  <a:pt x="1145" y="583"/>
                </a:cubicBezTo>
                <a:cubicBezTo>
                  <a:pt x="1143" y="604"/>
                  <a:pt x="1140" y="624"/>
                  <a:pt x="1138" y="645"/>
                </a:cubicBezTo>
                <a:cubicBezTo>
                  <a:pt x="1138" y="648"/>
                  <a:pt x="1138" y="651"/>
                  <a:pt x="1137" y="654"/>
                </a:cubicBezTo>
                <a:cubicBezTo>
                  <a:pt x="1136" y="676"/>
                  <a:pt x="1135" y="698"/>
                  <a:pt x="1133" y="720"/>
                </a:cubicBezTo>
                <a:cubicBezTo>
                  <a:pt x="1132" y="731"/>
                  <a:pt x="1135" y="745"/>
                  <a:pt x="1140" y="756"/>
                </a:cubicBezTo>
                <a:cubicBezTo>
                  <a:pt x="1146" y="757"/>
                  <a:pt x="1152" y="758"/>
                  <a:pt x="1157" y="758"/>
                </a:cubicBezTo>
                <a:cubicBezTo>
                  <a:pt x="1167" y="759"/>
                  <a:pt x="1174" y="764"/>
                  <a:pt x="1180" y="771"/>
                </a:cubicBezTo>
                <a:cubicBezTo>
                  <a:pt x="1198" y="791"/>
                  <a:pt x="1215" y="811"/>
                  <a:pt x="1233" y="831"/>
                </a:cubicBezTo>
                <a:cubicBezTo>
                  <a:pt x="1243" y="842"/>
                  <a:pt x="1254" y="852"/>
                  <a:pt x="1267" y="860"/>
                </a:cubicBezTo>
                <a:cubicBezTo>
                  <a:pt x="1268" y="861"/>
                  <a:pt x="1270" y="862"/>
                  <a:pt x="1271" y="863"/>
                </a:cubicBezTo>
                <a:cubicBezTo>
                  <a:pt x="1272" y="868"/>
                  <a:pt x="1276" y="869"/>
                  <a:pt x="1281" y="870"/>
                </a:cubicBezTo>
                <a:cubicBezTo>
                  <a:pt x="1315" y="879"/>
                  <a:pt x="1346" y="894"/>
                  <a:pt x="1376" y="911"/>
                </a:cubicBezTo>
                <a:cubicBezTo>
                  <a:pt x="1378" y="912"/>
                  <a:pt x="1379" y="913"/>
                  <a:pt x="1381" y="915"/>
                </a:cubicBezTo>
                <a:cubicBezTo>
                  <a:pt x="1393" y="927"/>
                  <a:pt x="1408" y="935"/>
                  <a:pt x="1424" y="942"/>
                </a:cubicBezTo>
                <a:cubicBezTo>
                  <a:pt x="1430" y="945"/>
                  <a:pt x="1437" y="948"/>
                  <a:pt x="1443" y="951"/>
                </a:cubicBezTo>
                <a:cubicBezTo>
                  <a:pt x="1446" y="952"/>
                  <a:pt x="1449" y="953"/>
                  <a:pt x="1451" y="955"/>
                </a:cubicBezTo>
                <a:cubicBezTo>
                  <a:pt x="1462" y="965"/>
                  <a:pt x="1475" y="970"/>
                  <a:pt x="1489" y="975"/>
                </a:cubicBezTo>
                <a:cubicBezTo>
                  <a:pt x="1503" y="980"/>
                  <a:pt x="1516" y="987"/>
                  <a:pt x="1528" y="995"/>
                </a:cubicBezTo>
                <a:cubicBezTo>
                  <a:pt x="1536" y="1000"/>
                  <a:pt x="1543" y="1004"/>
                  <a:pt x="1551" y="1007"/>
                </a:cubicBezTo>
                <a:cubicBezTo>
                  <a:pt x="1567" y="1014"/>
                  <a:pt x="1580" y="1025"/>
                  <a:pt x="1592" y="1038"/>
                </a:cubicBezTo>
                <a:cubicBezTo>
                  <a:pt x="1607" y="1055"/>
                  <a:pt x="1616" y="1076"/>
                  <a:pt x="1625" y="1096"/>
                </a:cubicBezTo>
                <a:cubicBezTo>
                  <a:pt x="1629" y="1106"/>
                  <a:pt x="1631" y="1117"/>
                  <a:pt x="1632" y="1128"/>
                </a:cubicBezTo>
                <a:cubicBezTo>
                  <a:pt x="1633" y="1141"/>
                  <a:pt x="1635" y="1155"/>
                  <a:pt x="1635" y="1169"/>
                </a:cubicBezTo>
                <a:cubicBezTo>
                  <a:pt x="1634" y="1212"/>
                  <a:pt x="1633" y="1255"/>
                  <a:pt x="1630" y="1298"/>
                </a:cubicBezTo>
                <a:cubicBezTo>
                  <a:pt x="1628" y="1328"/>
                  <a:pt x="1626" y="1358"/>
                  <a:pt x="1618" y="1387"/>
                </a:cubicBezTo>
                <a:cubicBezTo>
                  <a:pt x="1614" y="1405"/>
                  <a:pt x="1612" y="1423"/>
                  <a:pt x="1610" y="1441"/>
                </a:cubicBezTo>
                <a:cubicBezTo>
                  <a:pt x="1607" y="1463"/>
                  <a:pt x="1603" y="1486"/>
                  <a:pt x="1598" y="1508"/>
                </a:cubicBezTo>
                <a:cubicBezTo>
                  <a:pt x="1596" y="1520"/>
                  <a:pt x="1595" y="1532"/>
                  <a:pt x="1595" y="1544"/>
                </a:cubicBezTo>
                <a:cubicBezTo>
                  <a:pt x="1595" y="1562"/>
                  <a:pt x="1590" y="1579"/>
                  <a:pt x="1586" y="1596"/>
                </a:cubicBezTo>
                <a:cubicBezTo>
                  <a:pt x="1579" y="1628"/>
                  <a:pt x="1572" y="1660"/>
                  <a:pt x="1564" y="1692"/>
                </a:cubicBezTo>
                <a:cubicBezTo>
                  <a:pt x="1558" y="1716"/>
                  <a:pt x="1552" y="1739"/>
                  <a:pt x="1544" y="1763"/>
                </a:cubicBezTo>
                <a:cubicBezTo>
                  <a:pt x="1526" y="1815"/>
                  <a:pt x="1508" y="1866"/>
                  <a:pt x="1490" y="1918"/>
                </a:cubicBezTo>
                <a:cubicBezTo>
                  <a:pt x="1488" y="1922"/>
                  <a:pt x="1486" y="1925"/>
                  <a:pt x="1485" y="1929"/>
                </a:cubicBezTo>
                <a:cubicBezTo>
                  <a:pt x="1469" y="1959"/>
                  <a:pt x="1453" y="1989"/>
                  <a:pt x="1437" y="2020"/>
                </a:cubicBezTo>
                <a:cubicBezTo>
                  <a:pt x="1434" y="2026"/>
                  <a:pt x="1433" y="2032"/>
                  <a:pt x="1433" y="2039"/>
                </a:cubicBezTo>
                <a:cubicBezTo>
                  <a:pt x="1436" y="2074"/>
                  <a:pt x="1441" y="2109"/>
                  <a:pt x="1447" y="2144"/>
                </a:cubicBezTo>
                <a:cubicBezTo>
                  <a:pt x="1450" y="2165"/>
                  <a:pt x="1454" y="2186"/>
                  <a:pt x="1459" y="2207"/>
                </a:cubicBezTo>
                <a:cubicBezTo>
                  <a:pt x="1462" y="2218"/>
                  <a:pt x="1466" y="2229"/>
                  <a:pt x="1471" y="2240"/>
                </a:cubicBezTo>
                <a:cubicBezTo>
                  <a:pt x="1478" y="2256"/>
                  <a:pt x="1482" y="2272"/>
                  <a:pt x="1487" y="2288"/>
                </a:cubicBezTo>
                <a:cubicBezTo>
                  <a:pt x="1490" y="2302"/>
                  <a:pt x="1493" y="2316"/>
                  <a:pt x="1496" y="2330"/>
                </a:cubicBezTo>
                <a:cubicBezTo>
                  <a:pt x="1498" y="2338"/>
                  <a:pt x="1500" y="2345"/>
                  <a:pt x="1501" y="2353"/>
                </a:cubicBezTo>
                <a:cubicBezTo>
                  <a:pt x="1502" y="2362"/>
                  <a:pt x="1499" y="2367"/>
                  <a:pt x="1490" y="2371"/>
                </a:cubicBezTo>
                <a:cubicBezTo>
                  <a:pt x="1487" y="2372"/>
                  <a:pt x="1485" y="2373"/>
                  <a:pt x="1481" y="2374"/>
                </a:cubicBezTo>
                <a:cubicBezTo>
                  <a:pt x="1485" y="2439"/>
                  <a:pt x="1492" y="2504"/>
                  <a:pt x="1500" y="2570"/>
                </a:cubicBezTo>
                <a:cubicBezTo>
                  <a:pt x="1121" y="2570"/>
                  <a:pt x="744" y="2570"/>
                  <a:pt x="365" y="257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Um </a:t>
            </a:r>
            <a:r>
              <a:rPr lang="en-US" dirty="0" err="1"/>
              <a:t>olhar</a:t>
            </a:r>
            <a:r>
              <a:rPr lang="en-US" dirty="0"/>
              <a:t> para o </a:t>
            </a:r>
            <a:r>
              <a:rPr lang="en-US" dirty="0" err="1">
                <a:solidFill>
                  <a:srgbClr val="EC0000"/>
                </a:solidFill>
              </a:rPr>
              <a:t>nosso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futur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ecenas </a:t>
            </a:r>
            <a:r>
              <a:rPr lang="en-US" dirty="0" err="1"/>
              <a:t>sollicitudin</a:t>
            </a:r>
            <a:r>
              <a:rPr lang="en-US" dirty="0"/>
              <a:t> dolor at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, vitae </a:t>
            </a:r>
            <a:r>
              <a:rPr lang="en-US" dirty="0" err="1"/>
              <a:t>iaculis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sollicitudin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593725" y="2122671"/>
            <a:ext cx="2111375" cy="672739"/>
            <a:chOff x="593725" y="2122671"/>
            <a:chExt cx="2111375" cy="672739"/>
          </a:xfrm>
        </p:grpSpPr>
        <p:sp>
          <p:nvSpPr>
            <p:cNvPr id="21" name="TextBox 20"/>
            <p:cNvSpPr txBox="1"/>
            <p:nvPr/>
          </p:nvSpPr>
          <p:spPr>
            <a:xfrm>
              <a:off x="593725" y="2332013"/>
              <a:ext cx="2111375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cip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</a:t>
              </a:r>
            </a:p>
          </p:txBody>
        </p:sp>
        <p:sp>
          <p:nvSpPr>
            <p:cNvPr id="22" name="Title 2"/>
            <p:cNvSpPr txBox="1">
              <a:spLocks/>
            </p:cNvSpPr>
            <p:nvPr/>
          </p:nvSpPr>
          <p:spPr>
            <a:xfrm>
              <a:off x="593725" y="2122671"/>
              <a:ext cx="2111375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OS SERVIÇO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93725" y="1547349"/>
            <a:ext cx="471999" cy="471997"/>
            <a:chOff x="593725" y="1547349"/>
            <a:chExt cx="471999" cy="471997"/>
          </a:xfrm>
        </p:grpSpPr>
        <p:sp>
          <p:nvSpPr>
            <p:cNvPr id="23" name="Oval 22"/>
            <p:cNvSpPr/>
            <p:nvPr/>
          </p:nvSpPr>
          <p:spPr>
            <a:xfrm>
              <a:off x="593725" y="1547349"/>
              <a:ext cx="471999" cy="47199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6" name="Freeform 51"/>
            <p:cNvSpPr>
              <a:spLocks noEditPoints="1"/>
            </p:cNvSpPr>
            <p:nvPr/>
          </p:nvSpPr>
          <p:spPr bwMode="auto">
            <a:xfrm>
              <a:off x="709795" y="1663418"/>
              <a:ext cx="239860" cy="239858"/>
            </a:xfrm>
            <a:custGeom>
              <a:avLst/>
              <a:gdLst>
                <a:gd name="T0" fmla="*/ 340 w 353"/>
                <a:gd name="T1" fmla="*/ 155 h 353"/>
                <a:gd name="T2" fmla="*/ 312 w 353"/>
                <a:gd name="T3" fmla="*/ 140 h 353"/>
                <a:gd name="T4" fmla="*/ 340 w 353"/>
                <a:gd name="T5" fmla="*/ 126 h 353"/>
                <a:gd name="T6" fmla="*/ 340 w 353"/>
                <a:gd name="T7" fmla="*/ 83 h 353"/>
                <a:gd name="T8" fmla="*/ 188 w 353"/>
                <a:gd name="T9" fmla="*/ 3 h 353"/>
                <a:gd name="T10" fmla="*/ 176 w 353"/>
                <a:gd name="T11" fmla="*/ 0 h 353"/>
                <a:gd name="T12" fmla="*/ 165 w 353"/>
                <a:gd name="T13" fmla="*/ 3 h 353"/>
                <a:gd name="T14" fmla="*/ 13 w 353"/>
                <a:gd name="T15" fmla="*/ 83 h 353"/>
                <a:gd name="T16" fmla="*/ 13 w 353"/>
                <a:gd name="T17" fmla="*/ 126 h 353"/>
                <a:gd name="T18" fmla="*/ 41 w 353"/>
                <a:gd name="T19" fmla="*/ 140 h 353"/>
                <a:gd name="T20" fmla="*/ 13 w 353"/>
                <a:gd name="T21" fmla="*/ 155 h 353"/>
                <a:gd name="T22" fmla="*/ 13 w 353"/>
                <a:gd name="T23" fmla="*/ 198 h 353"/>
                <a:gd name="T24" fmla="*/ 41 w 353"/>
                <a:gd name="T25" fmla="*/ 213 h 353"/>
                <a:gd name="T26" fmla="*/ 13 w 353"/>
                <a:gd name="T27" fmla="*/ 228 h 353"/>
                <a:gd name="T28" fmla="*/ 13 w 353"/>
                <a:gd name="T29" fmla="*/ 270 h 353"/>
                <a:gd name="T30" fmla="*/ 165 w 353"/>
                <a:gd name="T31" fmla="*/ 350 h 353"/>
                <a:gd name="T32" fmla="*/ 176 w 353"/>
                <a:gd name="T33" fmla="*/ 353 h 353"/>
                <a:gd name="T34" fmla="*/ 188 w 353"/>
                <a:gd name="T35" fmla="*/ 350 h 353"/>
                <a:gd name="T36" fmla="*/ 340 w 353"/>
                <a:gd name="T37" fmla="*/ 270 h 353"/>
                <a:gd name="T38" fmla="*/ 340 w 353"/>
                <a:gd name="T39" fmla="*/ 228 h 353"/>
                <a:gd name="T40" fmla="*/ 312 w 353"/>
                <a:gd name="T41" fmla="*/ 213 h 353"/>
                <a:gd name="T42" fmla="*/ 340 w 353"/>
                <a:gd name="T43" fmla="*/ 198 h 353"/>
                <a:gd name="T44" fmla="*/ 20 w 353"/>
                <a:gd name="T45" fmla="*/ 111 h 353"/>
                <a:gd name="T46" fmla="*/ 16 w 353"/>
                <a:gd name="T47" fmla="*/ 104 h 353"/>
                <a:gd name="T48" fmla="*/ 20 w 353"/>
                <a:gd name="T49" fmla="*/ 97 h 353"/>
                <a:gd name="T50" fmla="*/ 173 w 353"/>
                <a:gd name="T51" fmla="*/ 17 h 353"/>
                <a:gd name="T52" fmla="*/ 180 w 353"/>
                <a:gd name="T53" fmla="*/ 17 h 353"/>
                <a:gd name="T54" fmla="*/ 333 w 353"/>
                <a:gd name="T55" fmla="*/ 97 h 353"/>
                <a:gd name="T56" fmla="*/ 337 w 353"/>
                <a:gd name="T57" fmla="*/ 104 h 353"/>
                <a:gd name="T58" fmla="*/ 333 w 353"/>
                <a:gd name="T59" fmla="*/ 111 h 353"/>
                <a:gd name="T60" fmla="*/ 180 w 353"/>
                <a:gd name="T61" fmla="*/ 192 h 353"/>
                <a:gd name="T62" fmla="*/ 173 w 353"/>
                <a:gd name="T63" fmla="*/ 192 h 353"/>
                <a:gd name="T64" fmla="*/ 20 w 353"/>
                <a:gd name="T65" fmla="*/ 111 h 353"/>
                <a:gd name="T66" fmla="*/ 333 w 353"/>
                <a:gd name="T67" fmla="*/ 242 h 353"/>
                <a:gd name="T68" fmla="*/ 333 w 353"/>
                <a:gd name="T69" fmla="*/ 256 h 353"/>
                <a:gd name="T70" fmla="*/ 180 w 353"/>
                <a:gd name="T71" fmla="*/ 336 h 353"/>
                <a:gd name="T72" fmla="*/ 176 w 353"/>
                <a:gd name="T73" fmla="*/ 337 h 353"/>
                <a:gd name="T74" fmla="*/ 173 w 353"/>
                <a:gd name="T75" fmla="*/ 336 h 353"/>
                <a:gd name="T76" fmla="*/ 20 w 353"/>
                <a:gd name="T77" fmla="*/ 256 h 353"/>
                <a:gd name="T78" fmla="*/ 20 w 353"/>
                <a:gd name="T79" fmla="*/ 242 h 353"/>
                <a:gd name="T80" fmla="*/ 58 w 353"/>
                <a:gd name="T81" fmla="*/ 222 h 353"/>
                <a:gd name="T82" fmla="*/ 165 w 353"/>
                <a:gd name="T83" fmla="*/ 278 h 353"/>
                <a:gd name="T84" fmla="*/ 188 w 353"/>
                <a:gd name="T85" fmla="*/ 278 h 353"/>
                <a:gd name="T86" fmla="*/ 295 w 353"/>
                <a:gd name="T87" fmla="*/ 222 h 353"/>
                <a:gd name="T88" fmla="*/ 333 w 353"/>
                <a:gd name="T89" fmla="*/ 184 h 353"/>
                <a:gd name="T90" fmla="*/ 180 w 353"/>
                <a:gd name="T91" fmla="*/ 264 h 353"/>
                <a:gd name="T92" fmla="*/ 176 w 353"/>
                <a:gd name="T93" fmla="*/ 265 h 353"/>
                <a:gd name="T94" fmla="*/ 173 w 353"/>
                <a:gd name="T95" fmla="*/ 264 h 353"/>
                <a:gd name="T96" fmla="*/ 20 w 353"/>
                <a:gd name="T97" fmla="*/ 184 h 353"/>
                <a:gd name="T98" fmla="*/ 20 w 353"/>
                <a:gd name="T99" fmla="*/ 170 h 353"/>
                <a:gd name="T100" fmla="*/ 58 w 353"/>
                <a:gd name="T101" fmla="*/ 150 h 353"/>
                <a:gd name="T102" fmla="*/ 165 w 353"/>
                <a:gd name="T103" fmla="*/ 206 h 353"/>
                <a:gd name="T104" fmla="*/ 188 w 353"/>
                <a:gd name="T105" fmla="*/ 206 h 353"/>
                <a:gd name="T106" fmla="*/ 295 w 353"/>
                <a:gd name="T107" fmla="*/ 150 h 353"/>
                <a:gd name="T108" fmla="*/ 333 w 353"/>
                <a:gd name="T109" fmla="*/ 170 h 353"/>
                <a:gd name="T110" fmla="*/ 333 w 353"/>
                <a:gd name="T111" fmla="*/ 18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3" h="353">
                  <a:moveTo>
                    <a:pt x="353" y="177"/>
                  </a:moveTo>
                  <a:cubicBezTo>
                    <a:pt x="353" y="167"/>
                    <a:pt x="348" y="159"/>
                    <a:pt x="340" y="155"/>
                  </a:cubicBezTo>
                  <a:cubicBezTo>
                    <a:pt x="340" y="155"/>
                    <a:pt x="340" y="155"/>
                    <a:pt x="340" y="155"/>
                  </a:cubicBezTo>
                  <a:cubicBezTo>
                    <a:pt x="312" y="140"/>
                    <a:pt x="312" y="140"/>
                    <a:pt x="312" y="140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8" y="122"/>
                    <a:pt x="353" y="114"/>
                    <a:pt x="353" y="104"/>
                  </a:cubicBezTo>
                  <a:cubicBezTo>
                    <a:pt x="353" y="95"/>
                    <a:pt x="348" y="87"/>
                    <a:pt x="340" y="83"/>
                  </a:cubicBezTo>
                  <a:cubicBezTo>
                    <a:pt x="340" y="83"/>
                    <a:pt x="340" y="83"/>
                    <a:pt x="340" y="8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4" y="1"/>
                    <a:pt x="181" y="0"/>
                    <a:pt x="176" y="0"/>
                  </a:cubicBezTo>
                  <a:cubicBezTo>
                    <a:pt x="172" y="0"/>
                    <a:pt x="169" y="1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5" y="87"/>
                    <a:pt x="0" y="95"/>
                    <a:pt x="0" y="104"/>
                  </a:cubicBezTo>
                  <a:cubicBezTo>
                    <a:pt x="0" y="114"/>
                    <a:pt x="5" y="122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41" y="140"/>
                    <a:pt x="41" y="140"/>
                    <a:pt x="41" y="140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5" y="159"/>
                    <a:pt x="0" y="167"/>
                    <a:pt x="0" y="177"/>
                  </a:cubicBezTo>
                  <a:cubicBezTo>
                    <a:pt x="0" y="186"/>
                    <a:pt x="5" y="194"/>
                    <a:pt x="13" y="198"/>
                  </a:cubicBezTo>
                  <a:cubicBezTo>
                    <a:pt x="13" y="198"/>
                    <a:pt x="13" y="198"/>
                    <a:pt x="13" y="198"/>
                  </a:cubicBezTo>
                  <a:cubicBezTo>
                    <a:pt x="41" y="213"/>
                    <a:pt x="41" y="213"/>
                    <a:pt x="41" y="213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5" y="232"/>
                    <a:pt x="0" y="240"/>
                    <a:pt x="0" y="249"/>
                  </a:cubicBezTo>
                  <a:cubicBezTo>
                    <a:pt x="0" y="258"/>
                    <a:pt x="5" y="266"/>
                    <a:pt x="13" y="270"/>
                  </a:cubicBezTo>
                  <a:cubicBezTo>
                    <a:pt x="13" y="270"/>
                    <a:pt x="13" y="270"/>
                    <a:pt x="13" y="27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9" y="352"/>
                    <a:pt x="172" y="353"/>
                    <a:pt x="176" y="353"/>
                  </a:cubicBezTo>
                  <a:cubicBezTo>
                    <a:pt x="181" y="353"/>
                    <a:pt x="184" y="352"/>
                    <a:pt x="188" y="350"/>
                  </a:cubicBezTo>
                  <a:cubicBezTo>
                    <a:pt x="188" y="350"/>
                    <a:pt x="188" y="350"/>
                    <a:pt x="188" y="35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8" y="266"/>
                    <a:pt x="353" y="258"/>
                    <a:pt x="353" y="249"/>
                  </a:cubicBezTo>
                  <a:cubicBezTo>
                    <a:pt x="353" y="240"/>
                    <a:pt x="348" y="232"/>
                    <a:pt x="340" y="228"/>
                  </a:cubicBezTo>
                  <a:cubicBezTo>
                    <a:pt x="340" y="228"/>
                    <a:pt x="340" y="228"/>
                    <a:pt x="340" y="228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8" y="194"/>
                    <a:pt x="353" y="186"/>
                    <a:pt x="353" y="177"/>
                  </a:cubicBezTo>
                  <a:moveTo>
                    <a:pt x="20" y="111"/>
                  </a:moveTo>
                  <a:cubicBezTo>
                    <a:pt x="20" y="111"/>
                    <a:pt x="20" y="111"/>
                    <a:pt x="20" y="111"/>
                  </a:cubicBezTo>
                  <a:cubicBezTo>
                    <a:pt x="18" y="110"/>
                    <a:pt x="16" y="107"/>
                    <a:pt x="16" y="104"/>
                  </a:cubicBezTo>
                  <a:cubicBezTo>
                    <a:pt x="16" y="101"/>
                    <a:pt x="18" y="99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4" y="16"/>
                    <a:pt x="175" y="16"/>
                    <a:pt x="176" y="16"/>
                  </a:cubicBezTo>
                  <a:cubicBezTo>
                    <a:pt x="178" y="16"/>
                    <a:pt x="179" y="16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5" y="99"/>
                    <a:pt x="337" y="101"/>
                    <a:pt x="337" y="104"/>
                  </a:cubicBezTo>
                  <a:cubicBezTo>
                    <a:pt x="337" y="107"/>
                    <a:pt x="335" y="110"/>
                    <a:pt x="333" y="111"/>
                  </a:cubicBezTo>
                  <a:cubicBezTo>
                    <a:pt x="333" y="111"/>
                    <a:pt x="333" y="111"/>
                    <a:pt x="333" y="111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79" y="192"/>
                    <a:pt x="178" y="193"/>
                    <a:pt x="176" y="193"/>
                  </a:cubicBezTo>
                  <a:cubicBezTo>
                    <a:pt x="175" y="193"/>
                    <a:pt x="174" y="192"/>
                    <a:pt x="173" y="192"/>
                  </a:cubicBezTo>
                  <a:cubicBezTo>
                    <a:pt x="173" y="192"/>
                    <a:pt x="173" y="192"/>
                    <a:pt x="173" y="192"/>
                  </a:cubicBezTo>
                  <a:lnTo>
                    <a:pt x="20" y="111"/>
                  </a:lnTo>
                  <a:close/>
                  <a:moveTo>
                    <a:pt x="333" y="242"/>
                  </a:moveTo>
                  <a:cubicBezTo>
                    <a:pt x="333" y="242"/>
                    <a:pt x="333" y="242"/>
                    <a:pt x="333" y="242"/>
                  </a:cubicBezTo>
                  <a:cubicBezTo>
                    <a:pt x="335" y="243"/>
                    <a:pt x="337" y="246"/>
                    <a:pt x="337" y="249"/>
                  </a:cubicBezTo>
                  <a:cubicBezTo>
                    <a:pt x="337" y="252"/>
                    <a:pt x="335" y="255"/>
                    <a:pt x="333" y="256"/>
                  </a:cubicBezTo>
                  <a:cubicBezTo>
                    <a:pt x="333" y="256"/>
                    <a:pt x="333" y="256"/>
                    <a:pt x="333" y="25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79" y="337"/>
                    <a:pt x="178" y="337"/>
                    <a:pt x="176" y="337"/>
                  </a:cubicBezTo>
                  <a:cubicBezTo>
                    <a:pt x="175" y="337"/>
                    <a:pt x="174" y="337"/>
                    <a:pt x="173" y="336"/>
                  </a:cubicBezTo>
                  <a:cubicBezTo>
                    <a:pt x="173" y="336"/>
                    <a:pt x="173" y="336"/>
                    <a:pt x="173" y="33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18" y="255"/>
                    <a:pt x="16" y="252"/>
                    <a:pt x="16" y="249"/>
                  </a:cubicBezTo>
                  <a:cubicBezTo>
                    <a:pt x="16" y="246"/>
                    <a:pt x="18" y="243"/>
                    <a:pt x="20" y="242"/>
                  </a:cubicBezTo>
                  <a:cubicBezTo>
                    <a:pt x="20" y="242"/>
                    <a:pt x="20" y="242"/>
                    <a:pt x="20" y="24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9" y="280"/>
                    <a:pt x="172" y="281"/>
                    <a:pt x="176" y="281"/>
                  </a:cubicBezTo>
                  <a:cubicBezTo>
                    <a:pt x="181" y="281"/>
                    <a:pt x="184" y="280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295" y="222"/>
                    <a:pt x="295" y="222"/>
                    <a:pt x="295" y="222"/>
                  </a:cubicBezTo>
                  <a:lnTo>
                    <a:pt x="333" y="242"/>
                  </a:lnTo>
                  <a:close/>
                  <a:moveTo>
                    <a:pt x="333" y="184"/>
                  </a:moveTo>
                  <a:cubicBezTo>
                    <a:pt x="333" y="184"/>
                    <a:pt x="333" y="184"/>
                    <a:pt x="333" y="18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79" y="265"/>
                    <a:pt x="178" y="265"/>
                    <a:pt x="176" y="265"/>
                  </a:cubicBezTo>
                  <a:cubicBezTo>
                    <a:pt x="175" y="265"/>
                    <a:pt x="174" y="265"/>
                    <a:pt x="173" y="264"/>
                  </a:cubicBezTo>
                  <a:cubicBezTo>
                    <a:pt x="173" y="264"/>
                    <a:pt x="173" y="264"/>
                    <a:pt x="173" y="26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18" y="182"/>
                    <a:pt x="16" y="180"/>
                    <a:pt x="16" y="177"/>
                  </a:cubicBezTo>
                  <a:cubicBezTo>
                    <a:pt x="16" y="174"/>
                    <a:pt x="18" y="171"/>
                    <a:pt x="20" y="170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9" y="208"/>
                    <a:pt x="172" y="209"/>
                    <a:pt x="176" y="209"/>
                  </a:cubicBezTo>
                  <a:cubicBezTo>
                    <a:pt x="181" y="209"/>
                    <a:pt x="184" y="208"/>
                    <a:pt x="188" y="206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295" y="150"/>
                    <a:pt x="295" y="150"/>
                    <a:pt x="295" y="15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5" y="171"/>
                    <a:pt x="337" y="174"/>
                    <a:pt x="337" y="177"/>
                  </a:cubicBezTo>
                  <a:cubicBezTo>
                    <a:pt x="337" y="180"/>
                    <a:pt x="335" y="182"/>
                    <a:pt x="333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491193" y="2122671"/>
            <a:ext cx="2111375" cy="672739"/>
            <a:chOff x="3491193" y="2122671"/>
            <a:chExt cx="2111375" cy="672739"/>
          </a:xfrm>
        </p:grpSpPr>
        <p:sp>
          <p:nvSpPr>
            <p:cNvPr id="43" name="TextBox 42"/>
            <p:cNvSpPr txBox="1"/>
            <p:nvPr/>
          </p:nvSpPr>
          <p:spPr>
            <a:xfrm>
              <a:off x="3491193" y="2332013"/>
              <a:ext cx="2111375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cip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</a:t>
              </a:r>
            </a:p>
          </p:txBody>
        </p:sp>
        <p:sp>
          <p:nvSpPr>
            <p:cNvPr id="44" name="Title 2"/>
            <p:cNvSpPr txBox="1">
              <a:spLocks/>
            </p:cNvSpPr>
            <p:nvPr/>
          </p:nvSpPr>
          <p:spPr>
            <a:xfrm>
              <a:off x="3491193" y="2122671"/>
              <a:ext cx="2111375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XPANSÃO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93725" y="3727058"/>
            <a:ext cx="2111375" cy="672739"/>
            <a:chOff x="593725" y="3727058"/>
            <a:chExt cx="2111375" cy="672739"/>
          </a:xfrm>
        </p:grpSpPr>
        <p:sp>
          <p:nvSpPr>
            <p:cNvPr id="47" name="TextBox 46"/>
            <p:cNvSpPr txBox="1"/>
            <p:nvPr/>
          </p:nvSpPr>
          <p:spPr>
            <a:xfrm>
              <a:off x="593725" y="3936400"/>
              <a:ext cx="2111375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cip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</a:t>
              </a:r>
            </a:p>
          </p:txBody>
        </p:sp>
        <p:sp>
          <p:nvSpPr>
            <p:cNvPr id="48" name="Title 2"/>
            <p:cNvSpPr txBox="1">
              <a:spLocks/>
            </p:cNvSpPr>
            <p:nvPr/>
          </p:nvSpPr>
          <p:spPr>
            <a:xfrm>
              <a:off x="593725" y="3727058"/>
              <a:ext cx="2111375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VISÃO DE TENDÊNCIAS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491193" y="3727058"/>
            <a:ext cx="2111375" cy="672739"/>
            <a:chOff x="3491193" y="3727058"/>
            <a:chExt cx="2111375" cy="672739"/>
          </a:xfrm>
        </p:grpSpPr>
        <p:sp>
          <p:nvSpPr>
            <p:cNvPr id="51" name="TextBox 50"/>
            <p:cNvSpPr txBox="1"/>
            <p:nvPr/>
          </p:nvSpPr>
          <p:spPr>
            <a:xfrm>
              <a:off x="3491193" y="3936400"/>
              <a:ext cx="2111375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cip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i.</a:t>
              </a:r>
            </a:p>
          </p:txBody>
        </p:sp>
        <p:sp>
          <p:nvSpPr>
            <p:cNvPr id="52" name="Title 2"/>
            <p:cNvSpPr txBox="1">
              <a:spLocks/>
            </p:cNvSpPr>
            <p:nvPr/>
          </p:nvSpPr>
          <p:spPr>
            <a:xfrm>
              <a:off x="3491193" y="3727058"/>
              <a:ext cx="2111375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VAS SOLUÇÕE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491193" y="3151736"/>
            <a:ext cx="471999" cy="471997"/>
            <a:chOff x="3491193" y="3151736"/>
            <a:chExt cx="471999" cy="471997"/>
          </a:xfrm>
        </p:grpSpPr>
        <p:sp>
          <p:nvSpPr>
            <p:cNvPr id="53" name="Oval 52"/>
            <p:cNvSpPr/>
            <p:nvPr/>
          </p:nvSpPr>
          <p:spPr>
            <a:xfrm>
              <a:off x="3491193" y="3151736"/>
              <a:ext cx="471999" cy="47199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5" name="Freeform 24"/>
            <p:cNvSpPr>
              <a:spLocks noEditPoints="1"/>
            </p:cNvSpPr>
            <p:nvPr/>
          </p:nvSpPr>
          <p:spPr bwMode="auto">
            <a:xfrm>
              <a:off x="3604647" y="3264753"/>
              <a:ext cx="245090" cy="245962"/>
            </a:xfrm>
            <a:custGeom>
              <a:avLst/>
              <a:gdLst>
                <a:gd name="T0" fmla="*/ 81 w 361"/>
                <a:gd name="T1" fmla="*/ 126 h 362"/>
                <a:gd name="T2" fmla="*/ 129 w 361"/>
                <a:gd name="T3" fmla="*/ 163 h 362"/>
                <a:gd name="T4" fmla="*/ 129 w 361"/>
                <a:gd name="T5" fmla="*/ 152 h 362"/>
                <a:gd name="T6" fmla="*/ 68 w 361"/>
                <a:gd name="T7" fmla="*/ 116 h 362"/>
                <a:gd name="T8" fmla="*/ 28 w 361"/>
                <a:gd name="T9" fmla="*/ 76 h 362"/>
                <a:gd name="T10" fmla="*/ 65 w 361"/>
                <a:gd name="T11" fmla="*/ 73 h 362"/>
                <a:gd name="T12" fmla="*/ 73 w 361"/>
                <a:gd name="T13" fmla="*/ 64 h 362"/>
                <a:gd name="T14" fmla="*/ 76 w 361"/>
                <a:gd name="T15" fmla="*/ 28 h 362"/>
                <a:gd name="T16" fmla="*/ 116 w 361"/>
                <a:gd name="T17" fmla="*/ 68 h 362"/>
                <a:gd name="T18" fmla="*/ 152 w 361"/>
                <a:gd name="T19" fmla="*/ 129 h 362"/>
                <a:gd name="T20" fmla="*/ 163 w 361"/>
                <a:gd name="T21" fmla="*/ 129 h 362"/>
                <a:gd name="T22" fmla="*/ 126 w 361"/>
                <a:gd name="T23" fmla="*/ 81 h 362"/>
                <a:gd name="T24" fmla="*/ 128 w 361"/>
                <a:gd name="T25" fmla="*/ 17 h 362"/>
                <a:gd name="T26" fmla="*/ 53 w 361"/>
                <a:gd name="T27" fmla="*/ 52 h 362"/>
                <a:gd name="T28" fmla="*/ 17 w 361"/>
                <a:gd name="T29" fmla="*/ 127 h 362"/>
                <a:gd name="T30" fmla="*/ 281 w 361"/>
                <a:gd name="T31" fmla="*/ 234 h 362"/>
                <a:gd name="T32" fmla="*/ 243 w 361"/>
                <a:gd name="T33" fmla="*/ 198 h 362"/>
                <a:gd name="T34" fmla="*/ 232 w 361"/>
                <a:gd name="T35" fmla="*/ 209 h 362"/>
                <a:gd name="T36" fmla="*/ 285 w 361"/>
                <a:gd name="T37" fmla="*/ 262 h 362"/>
                <a:gd name="T38" fmla="*/ 333 w 361"/>
                <a:gd name="T39" fmla="*/ 245 h 362"/>
                <a:gd name="T40" fmla="*/ 296 w 361"/>
                <a:gd name="T41" fmla="*/ 288 h 362"/>
                <a:gd name="T42" fmla="*/ 288 w 361"/>
                <a:gd name="T43" fmla="*/ 288 h 362"/>
                <a:gd name="T44" fmla="*/ 287 w 361"/>
                <a:gd name="T45" fmla="*/ 297 h 362"/>
                <a:gd name="T46" fmla="*/ 245 w 361"/>
                <a:gd name="T47" fmla="*/ 333 h 362"/>
                <a:gd name="T48" fmla="*/ 262 w 361"/>
                <a:gd name="T49" fmla="*/ 285 h 362"/>
                <a:gd name="T50" fmla="*/ 209 w 361"/>
                <a:gd name="T51" fmla="*/ 232 h 362"/>
                <a:gd name="T52" fmla="*/ 197 w 361"/>
                <a:gd name="T53" fmla="*/ 243 h 362"/>
                <a:gd name="T54" fmla="*/ 233 w 361"/>
                <a:gd name="T55" fmla="*/ 282 h 362"/>
                <a:gd name="T56" fmla="*/ 296 w 361"/>
                <a:gd name="T57" fmla="*/ 344 h 362"/>
                <a:gd name="T58" fmla="*/ 344 w 361"/>
                <a:gd name="T59" fmla="*/ 296 h 362"/>
                <a:gd name="T60" fmla="*/ 281 w 361"/>
                <a:gd name="T61" fmla="*/ 234 h 362"/>
                <a:gd name="T62" fmla="*/ 280 w 361"/>
                <a:gd name="T63" fmla="*/ 126 h 362"/>
                <a:gd name="T64" fmla="*/ 344 w 361"/>
                <a:gd name="T65" fmla="*/ 127 h 362"/>
                <a:gd name="T66" fmla="*/ 308 w 361"/>
                <a:gd name="T67" fmla="*/ 52 h 362"/>
                <a:gd name="T68" fmla="*/ 233 w 361"/>
                <a:gd name="T69" fmla="*/ 17 h 362"/>
                <a:gd name="T70" fmla="*/ 235 w 361"/>
                <a:gd name="T71" fmla="*/ 81 h 362"/>
                <a:gd name="T72" fmla="*/ 79 w 361"/>
                <a:gd name="T73" fmla="*/ 234 h 362"/>
                <a:gd name="T74" fmla="*/ 17 w 361"/>
                <a:gd name="T75" fmla="*/ 296 h 362"/>
                <a:gd name="T76" fmla="*/ 65 w 361"/>
                <a:gd name="T77" fmla="*/ 344 h 362"/>
                <a:gd name="T78" fmla="*/ 127 w 361"/>
                <a:gd name="T79" fmla="*/ 282 h 362"/>
                <a:gd name="T80" fmla="*/ 116 w 361"/>
                <a:gd name="T81" fmla="*/ 333 h 362"/>
                <a:gd name="T82" fmla="*/ 73 w 361"/>
                <a:gd name="T83" fmla="*/ 297 h 362"/>
                <a:gd name="T84" fmla="*/ 72 w 361"/>
                <a:gd name="T85" fmla="*/ 288 h 362"/>
                <a:gd name="T86" fmla="*/ 64 w 361"/>
                <a:gd name="T87" fmla="*/ 288 h 362"/>
                <a:gd name="T88" fmla="*/ 28 w 361"/>
                <a:gd name="T89" fmla="*/ 245 h 362"/>
                <a:gd name="T90" fmla="*/ 76 w 361"/>
                <a:gd name="T91" fmla="*/ 262 h 362"/>
                <a:gd name="T92" fmla="*/ 262 w 361"/>
                <a:gd name="T93" fmla="*/ 76 h 362"/>
                <a:gd name="T94" fmla="*/ 245 w 361"/>
                <a:gd name="T95" fmla="*/ 28 h 362"/>
                <a:gd name="T96" fmla="*/ 288 w 361"/>
                <a:gd name="T97" fmla="*/ 64 h 362"/>
                <a:gd name="T98" fmla="*/ 288 w 361"/>
                <a:gd name="T99" fmla="*/ 72 h 362"/>
                <a:gd name="T100" fmla="*/ 297 w 361"/>
                <a:gd name="T101" fmla="*/ 73 h 362"/>
                <a:gd name="T102" fmla="*/ 333 w 361"/>
                <a:gd name="T103" fmla="*/ 116 h 362"/>
                <a:gd name="T104" fmla="*/ 285 w 361"/>
                <a:gd name="T105" fmla="*/ 99 h 362"/>
                <a:gd name="T106" fmla="*/ 116 w 361"/>
                <a:gd name="T107" fmla="*/ 29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1" h="362">
                  <a:moveTo>
                    <a:pt x="79" y="127"/>
                  </a:moveTo>
                  <a:cubicBezTo>
                    <a:pt x="80" y="127"/>
                    <a:pt x="80" y="126"/>
                    <a:pt x="81" y="126"/>
                  </a:cubicBezTo>
                  <a:cubicBezTo>
                    <a:pt x="118" y="163"/>
                    <a:pt x="118" y="163"/>
                    <a:pt x="118" y="163"/>
                  </a:cubicBezTo>
                  <a:cubicBezTo>
                    <a:pt x="121" y="166"/>
                    <a:pt x="126" y="166"/>
                    <a:pt x="129" y="163"/>
                  </a:cubicBezTo>
                  <a:cubicBezTo>
                    <a:pt x="132" y="160"/>
                    <a:pt x="132" y="155"/>
                    <a:pt x="129" y="152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5"/>
                    <a:pt x="73" y="111"/>
                    <a:pt x="68" y="116"/>
                  </a:cubicBezTo>
                  <a:cubicBezTo>
                    <a:pt x="57" y="127"/>
                    <a:pt x="39" y="127"/>
                    <a:pt x="28" y="116"/>
                  </a:cubicBezTo>
                  <a:cubicBezTo>
                    <a:pt x="17" y="105"/>
                    <a:pt x="17" y="87"/>
                    <a:pt x="28" y="76"/>
                  </a:cubicBezTo>
                  <a:cubicBezTo>
                    <a:pt x="38" y="67"/>
                    <a:pt x="53" y="66"/>
                    <a:pt x="64" y="73"/>
                  </a:cubicBezTo>
                  <a:cubicBezTo>
                    <a:pt x="65" y="73"/>
                    <a:pt x="65" y="73"/>
                    <a:pt x="65" y="73"/>
                  </a:cubicBezTo>
                  <a:cubicBezTo>
                    <a:pt x="67" y="75"/>
                    <a:pt x="71" y="75"/>
                    <a:pt x="73" y="73"/>
                  </a:cubicBezTo>
                  <a:cubicBezTo>
                    <a:pt x="75" y="70"/>
                    <a:pt x="75" y="67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66" y="53"/>
                    <a:pt x="67" y="38"/>
                    <a:pt x="76" y="28"/>
                  </a:cubicBezTo>
                  <a:cubicBezTo>
                    <a:pt x="87" y="17"/>
                    <a:pt x="105" y="17"/>
                    <a:pt x="116" y="28"/>
                  </a:cubicBezTo>
                  <a:cubicBezTo>
                    <a:pt x="127" y="39"/>
                    <a:pt x="127" y="57"/>
                    <a:pt x="116" y="68"/>
                  </a:cubicBezTo>
                  <a:cubicBezTo>
                    <a:pt x="111" y="73"/>
                    <a:pt x="105" y="75"/>
                    <a:pt x="99" y="76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52" y="129"/>
                    <a:pt x="152" y="129"/>
                    <a:pt x="152" y="129"/>
                  </a:cubicBezTo>
                  <a:cubicBezTo>
                    <a:pt x="155" y="132"/>
                    <a:pt x="160" y="132"/>
                    <a:pt x="163" y="129"/>
                  </a:cubicBezTo>
                  <a:cubicBezTo>
                    <a:pt x="166" y="126"/>
                    <a:pt x="166" y="121"/>
                    <a:pt x="163" y="118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7" y="80"/>
                    <a:pt x="127" y="80"/>
                    <a:pt x="128" y="79"/>
                  </a:cubicBezTo>
                  <a:cubicBezTo>
                    <a:pt x="145" y="62"/>
                    <a:pt x="145" y="34"/>
                    <a:pt x="128" y="17"/>
                  </a:cubicBezTo>
                  <a:cubicBezTo>
                    <a:pt x="110" y="0"/>
                    <a:pt x="82" y="0"/>
                    <a:pt x="65" y="17"/>
                  </a:cubicBezTo>
                  <a:cubicBezTo>
                    <a:pt x="55" y="27"/>
                    <a:pt x="51" y="40"/>
                    <a:pt x="53" y="52"/>
                  </a:cubicBezTo>
                  <a:cubicBezTo>
                    <a:pt x="40" y="51"/>
                    <a:pt x="27" y="55"/>
                    <a:pt x="17" y="65"/>
                  </a:cubicBezTo>
                  <a:cubicBezTo>
                    <a:pt x="0" y="82"/>
                    <a:pt x="0" y="110"/>
                    <a:pt x="17" y="127"/>
                  </a:cubicBezTo>
                  <a:cubicBezTo>
                    <a:pt x="34" y="145"/>
                    <a:pt x="62" y="145"/>
                    <a:pt x="79" y="127"/>
                  </a:cubicBezTo>
                  <a:moveTo>
                    <a:pt x="281" y="234"/>
                  </a:moveTo>
                  <a:cubicBezTo>
                    <a:pt x="281" y="234"/>
                    <a:pt x="281" y="235"/>
                    <a:pt x="280" y="235"/>
                  </a:cubicBezTo>
                  <a:cubicBezTo>
                    <a:pt x="243" y="198"/>
                    <a:pt x="243" y="198"/>
                    <a:pt x="243" y="198"/>
                  </a:cubicBezTo>
                  <a:cubicBezTo>
                    <a:pt x="240" y="195"/>
                    <a:pt x="235" y="195"/>
                    <a:pt x="232" y="198"/>
                  </a:cubicBezTo>
                  <a:cubicBezTo>
                    <a:pt x="229" y="201"/>
                    <a:pt x="229" y="206"/>
                    <a:pt x="232" y="209"/>
                  </a:cubicBezTo>
                  <a:cubicBezTo>
                    <a:pt x="231" y="209"/>
                    <a:pt x="231" y="209"/>
                    <a:pt x="231" y="209"/>
                  </a:cubicBezTo>
                  <a:cubicBezTo>
                    <a:pt x="285" y="262"/>
                    <a:pt x="285" y="262"/>
                    <a:pt x="285" y="262"/>
                  </a:cubicBezTo>
                  <a:cubicBezTo>
                    <a:pt x="285" y="256"/>
                    <a:pt x="288" y="250"/>
                    <a:pt x="293" y="245"/>
                  </a:cubicBezTo>
                  <a:cubicBezTo>
                    <a:pt x="304" y="234"/>
                    <a:pt x="322" y="234"/>
                    <a:pt x="333" y="245"/>
                  </a:cubicBezTo>
                  <a:cubicBezTo>
                    <a:pt x="344" y="256"/>
                    <a:pt x="344" y="274"/>
                    <a:pt x="333" y="285"/>
                  </a:cubicBezTo>
                  <a:cubicBezTo>
                    <a:pt x="323" y="295"/>
                    <a:pt x="307" y="295"/>
                    <a:pt x="296" y="288"/>
                  </a:cubicBezTo>
                  <a:cubicBezTo>
                    <a:pt x="296" y="288"/>
                    <a:pt x="296" y="288"/>
                    <a:pt x="296" y="288"/>
                  </a:cubicBezTo>
                  <a:cubicBezTo>
                    <a:pt x="294" y="286"/>
                    <a:pt x="290" y="286"/>
                    <a:pt x="288" y="288"/>
                  </a:cubicBezTo>
                  <a:cubicBezTo>
                    <a:pt x="286" y="291"/>
                    <a:pt x="286" y="294"/>
                    <a:pt x="287" y="297"/>
                  </a:cubicBezTo>
                  <a:cubicBezTo>
                    <a:pt x="287" y="297"/>
                    <a:pt x="287" y="297"/>
                    <a:pt x="287" y="297"/>
                  </a:cubicBezTo>
                  <a:cubicBezTo>
                    <a:pt x="295" y="308"/>
                    <a:pt x="294" y="323"/>
                    <a:pt x="284" y="333"/>
                  </a:cubicBezTo>
                  <a:cubicBezTo>
                    <a:pt x="273" y="344"/>
                    <a:pt x="256" y="344"/>
                    <a:pt x="245" y="333"/>
                  </a:cubicBezTo>
                  <a:cubicBezTo>
                    <a:pt x="234" y="322"/>
                    <a:pt x="234" y="304"/>
                    <a:pt x="245" y="293"/>
                  </a:cubicBezTo>
                  <a:cubicBezTo>
                    <a:pt x="249" y="288"/>
                    <a:pt x="256" y="286"/>
                    <a:pt x="262" y="285"/>
                  </a:cubicBezTo>
                  <a:cubicBezTo>
                    <a:pt x="209" y="232"/>
                    <a:pt x="209" y="232"/>
                    <a:pt x="209" y="232"/>
                  </a:cubicBezTo>
                  <a:cubicBezTo>
                    <a:pt x="209" y="232"/>
                    <a:pt x="209" y="232"/>
                    <a:pt x="209" y="232"/>
                  </a:cubicBezTo>
                  <a:cubicBezTo>
                    <a:pt x="205" y="229"/>
                    <a:pt x="201" y="229"/>
                    <a:pt x="198" y="232"/>
                  </a:cubicBezTo>
                  <a:cubicBezTo>
                    <a:pt x="195" y="235"/>
                    <a:pt x="195" y="240"/>
                    <a:pt x="197" y="243"/>
                  </a:cubicBezTo>
                  <a:cubicBezTo>
                    <a:pt x="235" y="280"/>
                    <a:pt x="235" y="280"/>
                    <a:pt x="235" y="280"/>
                  </a:cubicBezTo>
                  <a:cubicBezTo>
                    <a:pt x="234" y="281"/>
                    <a:pt x="234" y="281"/>
                    <a:pt x="233" y="282"/>
                  </a:cubicBezTo>
                  <a:cubicBezTo>
                    <a:pt x="216" y="299"/>
                    <a:pt x="216" y="327"/>
                    <a:pt x="233" y="344"/>
                  </a:cubicBezTo>
                  <a:cubicBezTo>
                    <a:pt x="250" y="361"/>
                    <a:pt x="278" y="361"/>
                    <a:pt x="296" y="344"/>
                  </a:cubicBezTo>
                  <a:cubicBezTo>
                    <a:pt x="305" y="334"/>
                    <a:pt x="309" y="321"/>
                    <a:pt x="308" y="309"/>
                  </a:cubicBezTo>
                  <a:cubicBezTo>
                    <a:pt x="321" y="310"/>
                    <a:pt x="334" y="306"/>
                    <a:pt x="344" y="296"/>
                  </a:cubicBezTo>
                  <a:cubicBezTo>
                    <a:pt x="361" y="279"/>
                    <a:pt x="361" y="251"/>
                    <a:pt x="344" y="234"/>
                  </a:cubicBezTo>
                  <a:cubicBezTo>
                    <a:pt x="327" y="216"/>
                    <a:pt x="299" y="216"/>
                    <a:pt x="281" y="234"/>
                  </a:cubicBezTo>
                  <a:moveTo>
                    <a:pt x="126" y="280"/>
                  </a:moveTo>
                  <a:cubicBezTo>
                    <a:pt x="280" y="126"/>
                    <a:pt x="280" y="126"/>
                    <a:pt x="280" y="126"/>
                  </a:cubicBezTo>
                  <a:cubicBezTo>
                    <a:pt x="281" y="126"/>
                    <a:pt x="281" y="127"/>
                    <a:pt x="282" y="127"/>
                  </a:cubicBezTo>
                  <a:cubicBezTo>
                    <a:pt x="299" y="145"/>
                    <a:pt x="327" y="145"/>
                    <a:pt x="344" y="127"/>
                  </a:cubicBezTo>
                  <a:cubicBezTo>
                    <a:pt x="361" y="110"/>
                    <a:pt x="361" y="82"/>
                    <a:pt x="344" y="65"/>
                  </a:cubicBezTo>
                  <a:cubicBezTo>
                    <a:pt x="334" y="55"/>
                    <a:pt x="321" y="51"/>
                    <a:pt x="308" y="52"/>
                  </a:cubicBezTo>
                  <a:cubicBezTo>
                    <a:pt x="310" y="40"/>
                    <a:pt x="306" y="27"/>
                    <a:pt x="296" y="17"/>
                  </a:cubicBezTo>
                  <a:cubicBezTo>
                    <a:pt x="279" y="0"/>
                    <a:pt x="251" y="0"/>
                    <a:pt x="233" y="17"/>
                  </a:cubicBezTo>
                  <a:cubicBezTo>
                    <a:pt x="216" y="34"/>
                    <a:pt x="216" y="62"/>
                    <a:pt x="233" y="79"/>
                  </a:cubicBezTo>
                  <a:cubicBezTo>
                    <a:pt x="234" y="80"/>
                    <a:pt x="234" y="80"/>
                    <a:pt x="235" y="81"/>
                  </a:cubicBezTo>
                  <a:cubicBezTo>
                    <a:pt x="80" y="235"/>
                    <a:pt x="80" y="235"/>
                    <a:pt x="80" y="235"/>
                  </a:cubicBezTo>
                  <a:cubicBezTo>
                    <a:pt x="80" y="235"/>
                    <a:pt x="80" y="234"/>
                    <a:pt x="79" y="234"/>
                  </a:cubicBezTo>
                  <a:cubicBezTo>
                    <a:pt x="62" y="216"/>
                    <a:pt x="34" y="216"/>
                    <a:pt x="17" y="234"/>
                  </a:cubicBezTo>
                  <a:cubicBezTo>
                    <a:pt x="0" y="251"/>
                    <a:pt x="0" y="279"/>
                    <a:pt x="17" y="296"/>
                  </a:cubicBezTo>
                  <a:cubicBezTo>
                    <a:pt x="27" y="306"/>
                    <a:pt x="40" y="310"/>
                    <a:pt x="52" y="309"/>
                  </a:cubicBezTo>
                  <a:cubicBezTo>
                    <a:pt x="51" y="321"/>
                    <a:pt x="55" y="335"/>
                    <a:pt x="65" y="344"/>
                  </a:cubicBezTo>
                  <a:cubicBezTo>
                    <a:pt x="82" y="362"/>
                    <a:pt x="110" y="362"/>
                    <a:pt x="127" y="344"/>
                  </a:cubicBezTo>
                  <a:cubicBezTo>
                    <a:pt x="145" y="327"/>
                    <a:pt x="145" y="299"/>
                    <a:pt x="127" y="282"/>
                  </a:cubicBezTo>
                  <a:cubicBezTo>
                    <a:pt x="127" y="281"/>
                    <a:pt x="126" y="281"/>
                    <a:pt x="126" y="280"/>
                  </a:cubicBezTo>
                  <a:moveTo>
                    <a:pt x="116" y="333"/>
                  </a:moveTo>
                  <a:cubicBezTo>
                    <a:pt x="105" y="344"/>
                    <a:pt x="87" y="344"/>
                    <a:pt x="76" y="333"/>
                  </a:cubicBezTo>
                  <a:cubicBezTo>
                    <a:pt x="66" y="323"/>
                    <a:pt x="65" y="308"/>
                    <a:pt x="73" y="297"/>
                  </a:cubicBezTo>
                  <a:cubicBezTo>
                    <a:pt x="73" y="296"/>
                    <a:pt x="73" y="296"/>
                    <a:pt x="73" y="296"/>
                  </a:cubicBezTo>
                  <a:cubicBezTo>
                    <a:pt x="75" y="294"/>
                    <a:pt x="75" y="291"/>
                    <a:pt x="72" y="288"/>
                  </a:cubicBezTo>
                  <a:cubicBezTo>
                    <a:pt x="70" y="286"/>
                    <a:pt x="67" y="286"/>
                    <a:pt x="64" y="288"/>
                  </a:cubicBezTo>
                  <a:cubicBezTo>
                    <a:pt x="64" y="288"/>
                    <a:pt x="64" y="288"/>
                    <a:pt x="64" y="288"/>
                  </a:cubicBezTo>
                  <a:cubicBezTo>
                    <a:pt x="53" y="295"/>
                    <a:pt x="38" y="294"/>
                    <a:pt x="28" y="285"/>
                  </a:cubicBezTo>
                  <a:cubicBezTo>
                    <a:pt x="17" y="274"/>
                    <a:pt x="17" y="256"/>
                    <a:pt x="28" y="245"/>
                  </a:cubicBezTo>
                  <a:cubicBezTo>
                    <a:pt x="39" y="234"/>
                    <a:pt x="57" y="234"/>
                    <a:pt x="68" y="245"/>
                  </a:cubicBezTo>
                  <a:cubicBezTo>
                    <a:pt x="73" y="250"/>
                    <a:pt x="75" y="256"/>
                    <a:pt x="76" y="262"/>
                  </a:cubicBezTo>
                  <a:cubicBezTo>
                    <a:pt x="169" y="169"/>
                    <a:pt x="169" y="169"/>
                    <a:pt x="169" y="169"/>
                  </a:cubicBezTo>
                  <a:cubicBezTo>
                    <a:pt x="262" y="76"/>
                    <a:pt x="262" y="76"/>
                    <a:pt x="262" y="76"/>
                  </a:cubicBezTo>
                  <a:cubicBezTo>
                    <a:pt x="256" y="75"/>
                    <a:pt x="250" y="73"/>
                    <a:pt x="245" y="68"/>
                  </a:cubicBezTo>
                  <a:cubicBezTo>
                    <a:pt x="234" y="57"/>
                    <a:pt x="234" y="39"/>
                    <a:pt x="245" y="28"/>
                  </a:cubicBezTo>
                  <a:cubicBezTo>
                    <a:pt x="256" y="17"/>
                    <a:pt x="274" y="17"/>
                    <a:pt x="285" y="28"/>
                  </a:cubicBezTo>
                  <a:cubicBezTo>
                    <a:pt x="294" y="38"/>
                    <a:pt x="295" y="53"/>
                    <a:pt x="288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86" y="67"/>
                    <a:pt x="286" y="70"/>
                    <a:pt x="288" y="72"/>
                  </a:cubicBezTo>
                  <a:cubicBezTo>
                    <a:pt x="291" y="75"/>
                    <a:pt x="294" y="75"/>
                    <a:pt x="297" y="73"/>
                  </a:cubicBezTo>
                  <a:cubicBezTo>
                    <a:pt x="297" y="73"/>
                    <a:pt x="297" y="73"/>
                    <a:pt x="297" y="73"/>
                  </a:cubicBezTo>
                  <a:cubicBezTo>
                    <a:pt x="308" y="66"/>
                    <a:pt x="323" y="67"/>
                    <a:pt x="333" y="76"/>
                  </a:cubicBezTo>
                  <a:cubicBezTo>
                    <a:pt x="344" y="87"/>
                    <a:pt x="344" y="105"/>
                    <a:pt x="333" y="116"/>
                  </a:cubicBezTo>
                  <a:cubicBezTo>
                    <a:pt x="322" y="127"/>
                    <a:pt x="304" y="127"/>
                    <a:pt x="293" y="116"/>
                  </a:cubicBezTo>
                  <a:cubicBezTo>
                    <a:pt x="288" y="111"/>
                    <a:pt x="285" y="105"/>
                    <a:pt x="285" y="99"/>
                  </a:cubicBezTo>
                  <a:cubicBezTo>
                    <a:pt x="99" y="285"/>
                    <a:pt x="99" y="285"/>
                    <a:pt x="99" y="285"/>
                  </a:cubicBezTo>
                  <a:cubicBezTo>
                    <a:pt x="105" y="286"/>
                    <a:pt x="111" y="288"/>
                    <a:pt x="116" y="293"/>
                  </a:cubicBezTo>
                  <a:cubicBezTo>
                    <a:pt x="127" y="304"/>
                    <a:pt x="127" y="322"/>
                    <a:pt x="116" y="3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3725" y="3151736"/>
            <a:ext cx="471999" cy="471997"/>
            <a:chOff x="593725" y="3151736"/>
            <a:chExt cx="471999" cy="471997"/>
          </a:xfrm>
        </p:grpSpPr>
        <p:sp>
          <p:nvSpPr>
            <p:cNvPr id="49" name="Oval 48"/>
            <p:cNvSpPr/>
            <p:nvPr/>
          </p:nvSpPr>
          <p:spPr>
            <a:xfrm>
              <a:off x="593725" y="3151736"/>
              <a:ext cx="471999" cy="47199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7" name="Freeform 52"/>
            <p:cNvSpPr>
              <a:spLocks noEditPoints="1"/>
            </p:cNvSpPr>
            <p:nvPr/>
          </p:nvSpPr>
          <p:spPr bwMode="auto">
            <a:xfrm>
              <a:off x="709795" y="3289611"/>
              <a:ext cx="239860" cy="196246"/>
            </a:xfrm>
            <a:custGeom>
              <a:avLst/>
              <a:gdLst>
                <a:gd name="T0" fmla="*/ 32 w 353"/>
                <a:gd name="T1" fmla="*/ 209 h 289"/>
                <a:gd name="T2" fmla="*/ 48 w 353"/>
                <a:gd name="T3" fmla="*/ 209 h 289"/>
                <a:gd name="T4" fmla="*/ 89 w 353"/>
                <a:gd name="T5" fmla="*/ 169 h 289"/>
                <a:gd name="T6" fmla="*/ 273 w 353"/>
                <a:gd name="T7" fmla="*/ 161 h 289"/>
                <a:gd name="T8" fmla="*/ 233 w 353"/>
                <a:gd name="T9" fmla="*/ 217 h 289"/>
                <a:gd name="T10" fmla="*/ 273 w 353"/>
                <a:gd name="T11" fmla="*/ 177 h 289"/>
                <a:gd name="T12" fmla="*/ 273 w 353"/>
                <a:gd name="T13" fmla="*/ 161 h 289"/>
                <a:gd name="T14" fmla="*/ 286 w 353"/>
                <a:gd name="T15" fmla="*/ 32 h 289"/>
                <a:gd name="T16" fmla="*/ 241 w 353"/>
                <a:gd name="T17" fmla="*/ 0 h 289"/>
                <a:gd name="T18" fmla="*/ 161 w 353"/>
                <a:gd name="T19" fmla="*/ 48 h 289"/>
                <a:gd name="T20" fmla="*/ 67 w 353"/>
                <a:gd name="T21" fmla="*/ 32 h 289"/>
                <a:gd name="T22" fmla="*/ 8 w 353"/>
                <a:gd name="T23" fmla="*/ 174 h 289"/>
                <a:gd name="T24" fmla="*/ 80 w 353"/>
                <a:gd name="T25" fmla="*/ 289 h 289"/>
                <a:gd name="T26" fmla="*/ 195 w 353"/>
                <a:gd name="T27" fmla="*/ 225 h 289"/>
                <a:gd name="T28" fmla="*/ 353 w 353"/>
                <a:gd name="T29" fmla="*/ 209 h 289"/>
                <a:gd name="T30" fmla="*/ 80 w 353"/>
                <a:gd name="T31" fmla="*/ 273 h 289"/>
                <a:gd name="T32" fmla="*/ 80 w 353"/>
                <a:gd name="T33" fmla="*/ 145 h 289"/>
                <a:gd name="T34" fmla="*/ 80 w 353"/>
                <a:gd name="T35" fmla="*/ 273 h 289"/>
                <a:gd name="T36" fmla="*/ 80 w 353"/>
                <a:gd name="T37" fmla="*/ 129 h 289"/>
                <a:gd name="T38" fmla="*/ 83 w 353"/>
                <a:gd name="T39" fmla="*/ 35 h 289"/>
                <a:gd name="T40" fmla="*/ 113 w 353"/>
                <a:gd name="T41" fmla="*/ 16 h 289"/>
                <a:gd name="T42" fmla="*/ 145 w 353"/>
                <a:gd name="T43" fmla="*/ 46 h 289"/>
                <a:gd name="T44" fmla="*/ 193 w 353"/>
                <a:gd name="T45" fmla="*/ 209 h 289"/>
                <a:gd name="T46" fmla="*/ 161 w 353"/>
                <a:gd name="T47" fmla="*/ 193 h 289"/>
                <a:gd name="T48" fmla="*/ 193 w 353"/>
                <a:gd name="T49" fmla="*/ 209 h 289"/>
                <a:gd name="T50" fmla="*/ 161 w 353"/>
                <a:gd name="T51" fmla="*/ 177 h 289"/>
                <a:gd name="T52" fmla="*/ 193 w 353"/>
                <a:gd name="T53" fmla="*/ 64 h 289"/>
                <a:gd name="T54" fmla="*/ 209 w 353"/>
                <a:gd name="T55" fmla="*/ 46 h 289"/>
                <a:gd name="T56" fmla="*/ 241 w 353"/>
                <a:gd name="T57" fmla="*/ 16 h 289"/>
                <a:gd name="T58" fmla="*/ 270 w 353"/>
                <a:gd name="T59" fmla="*/ 35 h 289"/>
                <a:gd name="T60" fmla="*/ 273 w 353"/>
                <a:gd name="T61" fmla="*/ 129 h 289"/>
                <a:gd name="T62" fmla="*/ 209 w 353"/>
                <a:gd name="T63" fmla="*/ 46 h 289"/>
                <a:gd name="T64" fmla="*/ 209 w 353"/>
                <a:gd name="T65" fmla="*/ 209 h 289"/>
                <a:gd name="T66" fmla="*/ 337 w 353"/>
                <a:gd name="T67" fmla="*/ 20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289">
                  <a:moveTo>
                    <a:pt x="80" y="161"/>
                  </a:moveTo>
                  <a:cubicBezTo>
                    <a:pt x="54" y="161"/>
                    <a:pt x="32" y="182"/>
                    <a:pt x="32" y="209"/>
                  </a:cubicBezTo>
                  <a:cubicBezTo>
                    <a:pt x="32" y="213"/>
                    <a:pt x="36" y="217"/>
                    <a:pt x="40" y="217"/>
                  </a:cubicBezTo>
                  <a:cubicBezTo>
                    <a:pt x="45" y="217"/>
                    <a:pt x="48" y="213"/>
                    <a:pt x="48" y="209"/>
                  </a:cubicBezTo>
                  <a:cubicBezTo>
                    <a:pt x="48" y="191"/>
                    <a:pt x="63" y="177"/>
                    <a:pt x="80" y="177"/>
                  </a:cubicBezTo>
                  <a:cubicBezTo>
                    <a:pt x="85" y="177"/>
                    <a:pt x="89" y="173"/>
                    <a:pt x="89" y="169"/>
                  </a:cubicBezTo>
                  <a:cubicBezTo>
                    <a:pt x="89" y="164"/>
                    <a:pt x="85" y="161"/>
                    <a:pt x="80" y="161"/>
                  </a:cubicBezTo>
                  <a:moveTo>
                    <a:pt x="273" y="161"/>
                  </a:moveTo>
                  <a:cubicBezTo>
                    <a:pt x="247" y="161"/>
                    <a:pt x="225" y="182"/>
                    <a:pt x="225" y="209"/>
                  </a:cubicBezTo>
                  <a:cubicBezTo>
                    <a:pt x="225" y="213"/>
                    <a:pt x="229" y="217"/>
                    <a:pt x="233" y="217"/>
                  </a:cubicBezTo>
                  <a:cubicBezTo>
                    <a:pt x="237" y="217"/>
                    <a:pt x="241" y="213"/>
                    <a:pt x="241" y="209"/>
                  </a:cubicBezTo>
                  <a:cubicBezTo>
                    <a:pt x="241" y="191"/>
                    <a:pt x="255" y="177"/>
                    <a:pt x="273" y="177"/>
                  </a:cubicBezTo>
                  <a:cubicBezTo>
                    <a:pt x="278" y="177"/>
                    <a:pt x="281" y="173"/>
                    <a:pt x="281" y="169"/>
                  </a:cubicBezTo>
                  <a:cubicBezTo>
                    <a:pt x="281" y="164"/>
                    <a:pt x="278" y="161"/>
                    <a:pt x="273" y="161"/>
                  </a:cubicBezTo>
                  <a:moveTo>
                    <a:pt x="345" y="174"/>
                  </a:moveTo>
                  <a:cubicBezTo>
                    <a:pt x="286" y="32"/>
                    <a:pt x="286" y="32"/>
                    <a:pt x="286" y="32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0" y="14"/>
                    <a:pt x="262" y="0"/>
                    <a:pt x="241" y="0"/>
                  </a:cubicBezTo>
                  <a:cubicBezTo>
                    <a:pt x="214" y="0"/>
                    <a:pt x="193" y="22"/>
                    <a:pt x="193" y="48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1" y="22"/>
                    <a:pt x="139" y="0"/>
                    <a:pt x="113" y="0"/>
                  </a:cubicBezTo>
                  <a:cubicBezTo>
                    <a:pt x="92" y="0"/>
                    <a:pt x="74" y="14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3" y="184"/>
                    <a:pt x="0" y="196"/>
                    <a:pt x="0" y="209"/>
                  </a:cubicBezTo>
                  <a:cubicBezTo>
                    <a:pt x="0" y="253"/>
                    <a:pt x="36" y="289"/>
                    <a:pt x="80" y="289"/>
                  </a:cubicBezTo>
                  <a:cubicBezTo>
                    <a:pt x="119" y="289"/>
                    <a:pt x="152" y="262"/>
                    <a:pt x="159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202" y="262"/>
                    <a:pt x="234" y="289"/>
                    <a:pt x="273" y="289"/>
                  </a:cubicBezTo>
                  <a:cubicBezTo>
                    <a:pt x="318" y="289"/>
                    <a:pt x="353" y="253"/>
                    <a:pt x="353" y="209"/>
                  </a:cubicBezTo>
                  <a:cubicBezTo>
                    <a:pt x="353" y="196"/>
                    <a:pt x="350" y="184"/>
                    <a:pt x="345" y="174"/>
                  </a:cubicBezTo>
                  <a:moveTo>
                    <a:pt x="80" y="273"/>
                  </a:moveTo>
                  <a:cubicBezTo>
                    <a:pt x="45" y="273"/>
                    <a:pt x="16" y="244"/>
                    <a:pt x="16" y="209"/>
                  </a:cubicBezTo>
                  <a:cubicBezTo>
                    <a:pt x="16" y="173"/>
                    <a:pt x="45" y="145"/>
                    <a:pt x="80" y="145"/>
                  </a:cubicBezTo>
                  <a:cubicBezTo>
                    <a:pt x="116" y="145"/>
                    <a:pt x="145" y="173"/>
                    <a:pt x="145" y="209"/>
                  </a:cubicBezTo>
                  <a:cubicBezTo>
                    <a:pt x="145" y="244"/>
                    <a:pt x="116" y="273"/>
                    <a:pt x="80" y="273"/>
                  </a:cubicBezTo>
                  <a:moveTo>
                    <a:pt x="145" y="161"/>
                  </a:moveTo>
                  <a:cubicBezTo>
                    <a:pt x="130" y="141"/>
                    <a:pt x="107" y="129"/>
                    <a:pt x="80" y="129"/>
                  </a:cubicBezTo>
                  <a:cubicBezTo>
                    <a:pt x="66" y="129"/>
                    <a:pt x="52" y="133"/>
                    <a:pt x="40" y="140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8" y="24"/>
                    <a:pt x="100" y="16"/>
                    <a:pt x="113" y="16"/>
                  </a:cubicBezTo>
                  <a:cubicBezTo>
                    <a:pt x="129" y="16"/>
                    <a:pt x="143" y="29"/>
                    <a:pt x="144" y="45"/>
                  </a:cubicBezTo>
                  <a:cubicBezTo>
                    <a:pt x="145" y="46"/>
                    <a:pt x="145" y="46"/>
                    <a:pt x="145" y="46"/>
                  </a:cubicBezTo>
                  <a:lnTo>
                    <a:pt x="145" y="161"/>
                  </a:lnTo>
                  <a:close/>
                  <a:moveTo>
                    <a:pt x="193" y="209"/>
                  </a:moveTo>
                  <a:cubicBezTo>
                    <a:pt x="161" y="209"/>
                    <a:pt x="161" y="209"/>
                    <a:pt x="161" y="209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93" y="193"/>
                    <a:pt x="193" y="193"/>
                    <a:pt x="193" y="193"/>
                  </a:cubicBezTo>
                  <a:lnTo>
                    <a:pt x="193" y="209"/>
                  </a:lnTo>
                  <a:close/>
                  <a:moveTo>
                    <a:pt x="193" y="177"/>
                  </a:moveTo>
                  <a:cubicBezTo>
                    <a:pt x="161" y="177"/>
                    <a:pt x="161" y="177"/>
                    <a:pt x="161" y="177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93" y="64"/>
                    <a:pt x="193" y="64"/>
                    <a:pt x="193" y="64"/>
                  </a:cubicBezTo>
                  <a:lnTo>
                    <a:pt x="193" y="177"/>
                  </a:lnTo>
                  <a:close/>
                  <a:moveTo>
                    <a:pt x="209" y="46"/>
                  </a:moveTo>
                  <a:cubicBezTo>
                    <a:pt x="209" y="45"/>
                    <a:pt x="209" y="45"/>
                    <a:pt x="209" y="45"/>
                  </a:cubicBezTo>
                  <a:cubicBezTo>
                    <a:pt x="211" y="29"/>
                    <a:pt x="224" y="16"/>
                    <a:pt x="241" y="16"/>
                  </a:cubicBezTo>
                  <a:cubicBezTo>
                    <a:pt x="254" y="16"/>
                    <a:pt x="265" y="24"/>
                    <a:pt x="270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314" y="140"/>
                    <a:pt x="314" y="140"/>
                    <a:pt x="314" y="140"/>
                  </a:cubicBezTo>
                  <a:cubicBezTo>
                    <a:pt x="302" y="133"/>
                    <a:pt x="288" y="129"/>
                    <a:pt x="273" y="129"/>
                  </a:cubicBezTo>
                  <a:cubicBezTo>
                    <a:pt x="247" y="129"/>
                    <a:pt x="224" y="141"/>
                    <a:pt x="209" y="161"/>
                  </a:cubicBezTo>
                  <a:lnTo>
                    <a:pt x="209" y="46"/>
                  </a:lnTo>
                  <a:close/>
                  <a:moveTo>
                    <a:pt x="273" y="273"/>
                  </a:moveTo>
                  <a:cubicBezTo>
                    <a:pt x="238" y="273"/>
                    <a:pt x="209" y="244"/>
                    <a:pt x="209" y="209"/>
                  </a:cubicBezTo>
                  <a:cubicBezTo>
                    <a:pt x="209" y="173"/>
                    <a:pt x="238" y="145"/>
                    <a:pt x="273" y="145"/>
                  </a:cubicBezTo>
                  <a:cubicBezTo>
                    <a:pt x="309" y="145"/>
                    <a:pt x="337" y="173"/>
                    <a:pt x="337" y="209"/>
                  </a:cubicBezTo>
                  <a:cubicBezTo>
                    <a:pt x="337" y="244"/>
                    <a:pt x="309" y="273"/>
                    <a:pt x="273" y="27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491193" y="1547349"/>
            <a:ext cx="471999" cy="471997"/>
            <a:chOff x="3491193" y="1547349"/>
            <a:chExt cx="471999" cy="471997"/>
          </a:xfrm>
        </p:grpSpPr>
        <p:sp>
          <p:nvSpPr>
            <p:cNvPr id="45" name="Oval 44"/>
            <p:cNvSpPr/>
            <p:nvPr/>
          </p:nvSpPr>
          <p:spPr>
            <a:xfrm>
              <a:off x="3491193" y="1547349"/>
              <a:ext cx="471999" cy="47199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8" name="Freeform 54"/>
            <p:cNvSpPr>
              <a:spLocks noEditPoints="1"/>
            </p:cNvSpPr>
            <p:nvPr/>
          </p:nvSpPr>
          <p:spPr bwMode="auto">
            <a:xfrm>
              <a:off x="3615895" y="1674813"/>
              <a:ext cx="222594" cy="217068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317915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>
            <a:spLocks noEditPoints="1"/>
          </p:cNvSpPr>
          <p:nvPr/>
        </p:nvSpPr>
        <p:spPr bwMode="auto">
          <a:xfrm>
            <a:off x="4254818" y="781471"/>
            <a:ext cx="634364" cy="497125"/>
          </a:xfrm>
          <a:custGeom>
            <a:avLst/>
            <a:gdLst>
              <a:gd name="T0" fmla="*/ 1262 w 1817"/>
              <a:gd name="T1" fmla="*/ 1080 h 1423"/>
              <a:gd name="T2" fmla="*/ 947 w 1817"/>
              <a:gd name="T3" fmla="*/ 975 h 1423"/>
              <a:gd name="T4" fmla="*/ 1395 w 1817"/>
              <a:gd name="T5" fmla="*/ 1080 h 1423"/>
              <a:gd name="T6" fmla="*/ 1237 w 1817"/>
              <a:gd name="T7" fmla="*/ 1343 h 1423"/>
              <a:gd name="T8" fmla="*/ 947 w 1817"/>
              <a:gd name="T9" fmla="*/ 1395 h 1423"/>
              <a:gd name="T10" fmla="*/ 711 w 1817"/>
              <a:gd name="T11" fmla="*/ 1344 h 1423"/>
              <a:gd name="T12" fmla="*/ 540 w 1817"/>
              <a:gd name="T13" fmla="*/ 1265 h 1423"/>
              <a:gd name="T14" fmla="*/ 394 w 1817"/>
              <a:gd name="T15" fmla="*/ 1013 h 1423"/>
              <a:gd name="T16" fmla="*/ 0 w 1817"/>
              <a:gd name="T17" fmla="*/ 527 h 1423"/>
              <a:gd name="T18" fmla="*/ 1143 w 1817"/>
              <a:gd name="T19" fmla="*/ 224 h 1423"/>
              <a:gd name="T20" fmla="*/ 1592 w 1817"/>
              <a:gd name="T21" fmla="*/ 673 h 1423"/>
              <a:gd name="T22" fmla="*/ 185 w 1817"/>
              <a:gd name="T23" fmla="*/ 657 h 1423"/>
              <a:gd name="T24" fmla="*/ 1631 w 1817"/>
              <a:gd name="T25" fmla="*/ 657 h 1423"/>
              <a:gd name="T26" fmla="*/ 449 w 1817"/>
              <a:gd name="T27" fmla="*/ 1052 h 1423"/>
              <a:gd name="T28" fmla="*/ 631 w 1817"/>
              <a:gd name="T29" fmla="*/ 870 h 1423"/>
              <a:gd name="T30" fmla="*/ 433 w 1817"/>
              <a:gd name="T31" fmla="*/ 1013 h 1423"/>
              <a:gd name="T32" fmla="*/ 805 w 1817"/>
              <a:gd name="T33" fmla="*/ 961 h 1423"/>
              <a:gd name="T34" fmla="*/ 771 w 1817"/>
              <a:gd name="T35" fmla="*/ 910 h 1423"/>
              <a:gd name="T36" fmla="*/ 740 w 1817"/>
              <a:gd name="T37" fmla="*/ 907 h 1423"/>
              <a:gd name="T38" fmla="*/ 718 w 1817"/>
              <a:gd name="T39" fmla="*/ 917 h 1423"/>
              <a:gd name="T40" fmla="*/ 554 w 1817"/>
              <a:gd name="T41" fmla="*/ 1080 h 1423"/>
              <a:gd name="T42" fmla="*/ 579 w 1817"/>
              <a:gd name="T43" fmla="*/ 1210 h 1423"/>
              <a:gd name="T44" fmla="*/ 894 w 1817"/>
              <a:gd name="T45" fmla="*/ 1027 h 1423"/>
              <a:gd name="T46" fmla="*/ 857 w 1817"/>
              <a:gd name="T47" fmla="*/ 1011 h 1423"/>
              <a:gd name="T48" fmla="*/ 591 w 1817"/>
              <a:gd name="T49" fmla="*/ 1276 h 1423"/>
              <a:gd name="T50" fmla="*/ 963 w 1817"/>
              <a:gd name="T51" fmla="*/ 1224 h 1423"/>
              <a:gd name="T52" fmla="*/ 954 w 1817"/>
              <a:gd name="T53" fmla="*/ 1193 h 1423"/>
              <a:gd name="T54" fmla="*/ 908 w 1817"/>
              <a:gd name="T55" fmla="*/ 1169 h 1423"/>
              <a:gd name="T56" fmla="*/ 764 w 1817"/>
              <a:gd name="T57" fmla="*/ 1368 h 1423"/>
              <a:gd name="T58" fmla="*/ 1001 w 1817"/>
              <a:gd name="T59" fmla="*/ 1239 h 1423"/>
              <a:gd name="T60" fmla="*/ 988 w 1817"/>
              <a:gd name="T61" fmla="*/ 1272 h 1423"/>
              <a:gd name="T62" fmla="*/ 1052 w 1817"/>
              <a:gd name="T63" fmla="*/ 1368 h 1423"/>
              <a:gd name="T64" fmla="*/ 870 w 1817"/>
              <a:gd name="T65" fmla="*/ 764 h 1423"/>
              <a:gd name="T66" fmla="*/ 723 w 1817"/>
              <a:gd name="T67" fmla="*/ 746 h 1423"/>
              <a:gd name="T68" fmla="*/ 645 w 1817"/>
              <a:gd name="T69" fmla="*/ 252 h 1423"/>
              <a:gd name="T70" fmla="*/ 611 w 1817"/>
              <a:gd name="T71" fmla="*/ 817 h 1423"/>
              <a:gd name="T72" fmla="*/ 678 w 1817"/>
              <a:gd name="T73" fmla="*/ 869 h 1423"/>
              <a:gd name="T74" fmla="*/ 694 w 1817"/>
              <a:gd name="T75" fmla="*/ 886 h 1423"/>
              <a:gd name="T76" fmla="*/ 750 w 1817"/>
              <a:gd name="T77" fmla="*/ 867 h 1423"/>
              <a:gd name="T78" fmla="*/ 780 w 1817"/>
              <a:gd name="T79" fmla="*/ 872 h 1423"/>
              <a:gd name="T80" fmla="*/ 817 w 1817"/>
              <a:gd name="T81" fmla="*/ 894 h 1423"/>
              <a:gd name="T82" fmla="*/ 843 w 1817"/>
              <a:gd name="T83" fmla="*/ 973 h 1423"/>
              <a:gd name="T84" fmla="*/ 904 w 1817"/>
              <a:gd name="T85" fmla="*/ 986 h 1423"/>
              <a:gd name="T86" fmla="*/ 946 w 1817"/>
              <a:gd name="T87" fmla="*/ 1090 h 1423"/>
              <a:gd name="T88" fmla="*/ 923 w 1817"/>
              <a:gd name="T89" fmla="*/ 1131 h 1423"/>
              <a:gd name="T90" fmla="*/ 957 w 1817"/>
              <a:gd name="T91" fmla="*/ 1144 h 1423"/>
              <a:gd name="T92" fmla="*/ 1210 w 1817"/>
              <a:gd name="T93" fmla="*/ 1238 h 1423"/>
              <a:gd name="T94" fmla="*/ 1262 w 1817"/>
              <a:gd name="T95" fmla="*/ 1080 h 1423"/>
              <a:gd name="T96" fmla="*/ 1368 w 1817"/>
              <a:gd name="T97" fmla="*/ 975 h 1423"/>
              <a:gd name="T98" fmla="*/ 764 w 1817"/>
              <a:gd name="T99" fmla="*/ 659 h 1423"/>
              <a:gd name="T100" fmla="*/ 803 w 1817"/>
              <a:gd name="T101" fmla="*/ 752 h 1423"/>
              <a:gd name="T102" fmla="*/ 1329 w 1817"/>
              <a:gd name="T103" fmla="*/ 880 h 1423"/>
              <a:gd name="T104" fmla="*/ 205 w 1817"/>
              <a:gd name="T105" fmla="*/ 455 h 1423"/>
              <a:gd name="T106" fmla="*/ 1612 w 1817"/>
              <a:gd name="T107" fmla="*/ 560 h 1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17" h="1423">
                <a:moveTo>
                  <a:pt x="1262" y="1080"/>
                </a:moveTo>
                <a:cubicBezTo>
                  <a:pt x="1052" y="869"/>
                  <a:pt x="1052" y="869"/>
                  <a:pt x="1052" y="869"/>
                </a:cubicBezTo>
                <a:cubicBezTo>
                  <a:pt x="1080" y="842"/>
                  <a:pt x="1080" y="842"/>
                  <a:pt x="1080" y="842"/>
                </a:cubicBezTo>
                <a:cubicBezTo>
                  <a:pt x="1290" y="1052"/>
                  <a:pt x="1290" y="1052"/>
                  <a:pt x="1290" y="1052"/>
                </a:cubicBezTo>
                <a:lnTo>
                  <a:pt x="1262" y="1080"/>
                </a:lnTo>
                <a:close/>
                <a:moveTo>
                  <a:pt x="947" y="975"/>
                </a:moveTo>
                <a:cubicBezTo>
                  <a:pt x="1210" y="1237"/>
                  <a:pt x="1210" y="1237"/>
                  <a:pt x="1210" y="1237"/>
                </a:cubicBezTo>
                <a:cubicBezTo>
                  <a:pt x="1238" y="1210"/>
                  <a:pt x="1238" y="1210"/>
                  <a:pt x="1238" y="1210"/>
                </a:cubicBezTo>
                <a:cubicBezTo>
                  <a:pt x="975" y="947"/>
                  <a:pt x="975" y="947"/>
                  <a:pt x="975" y="947"/>
                </a:cubicBezTo>
                <a:lnTo>
                  <a:pt x="947" y="975"/>
                </a:lnTo>
                <a:close/>
                <a:moveTo>
                  <a:pt x="1592" y="673"/>
                </a:moveTo>
                <a:cubicBezTo>
                  <a:pt x="1356" y="908"/>
                  <a:pt x="1356" y="908"/>
                  <a:pt x="1356" y="908"/>
                </a:cubicBezTo>
                <a:cubicBezTo>
                  <a:pt x="1395" y="947"/>
                  <a:pt x="1395" y="947"/>
                  <a:pt x="1395" y="947"/>
                </a:cubicBezTo>
                <a:cubicBezTo>
                  <a:pt x="1413" y="965"/>
                  <a:pt x="1423" y="988"/>
                  <a:pt x="1423" y="1013"/>
                </a:cubicBezTo>
                <a:cubicBezTo>
                  <a:pt x="1423" y="1038"/>
                  <a:pt x="1413" y="1062"/>
                  <a:pt x="1395" y="1080"/>
                </a:cubicBezTo>
                <a:cubicBezTo>
                  <a:pt x="1381" y="1094"/>
                  <a:pt x="1363" y="1103"/>
                  <a:pt x="1344" y="1106"/>
                </a:cubicBezTo>
                <a:cubicBezTo>
                  <a:pt x="1361" y="1123"/>
                  <a:pt x="1370" y="1146"/>
                  <a:pt x="1370" y="1171"/>
                </a:cubicBezTo>
                <a:cubicBezTo>
                  <a:pt x="1370" y="1196"/>
                  <a:pt x="1360" y="1220"/>
                  <a:pt x="1343" y="1238"/>
                </a:cubicBezTo>
                <a:cubicBezTo>
                  <a:pt x="1322" y="1258"/>
                  <a:pt x="1293" y="1268"/>
                  <a:pt x="1264" y="1264"/>
                </a:cubicBezTo>
                <a:cubicBezTo>
                  <a:pt x="1268" y="1292"/>
                  <a:pt x="1259" y="1321"/>
                  <a:pt x="1237" y="1343"/>
                </a:cubicBezTo>
                <a:cubicBezTo>
                  <a:pt x="1219" y="1361"/>
                  <a:pt x="1195" y="1370"/>
                  <a:pt x="1171" y="1370"/>
                </a:cubicBezTo>
                <a:cubicBezTo>
                  <a:pt x="1147" y="1370"/>
                  <a:pt x="1124" y="1361"/>
                  <a:pt x="1106" y="1344"/>
                </a:cubicBezTo>
                <a:cubicBezTo>
                  <a:pt x="1103" y="1363"/>
                  <a:pt x="1094" y="1381"/>
                  <a:pt x="1080" y="1395"/>
                </a:cubicBezTo>
                <a:cubicBezTo>
                  <a:pt x="1061" y="1414"/>
                  <a:pt x="1037" y="1423"/>
                  <a:pt x="1013" y="1423"/>
                </a:cubicBezTo>
                <a:cubicBezTo>
                  <a:pt x="989" y="1423"/>
                  <a:pt x="965" y="1414"/>
                  <a:pt x="947" y="1395"/>
                </a:cubicBezTo>
                <a:cubicBezTo>
                  <a:pt x="908" y="1356"/>
                  <a:pt x="908" y="1356"/>
                  <a:pt x="908" y="1356"/>
                </a:cubicBezTo>
                <a:cubicBezTo>
                  <a:pt x="869" y="1395"/>
                  <a:pt x="869" y="1395"/>
                  <a:pt x="869" y="1395"/>
                </a:cubicBezTo>
                <a:cubicBezTo>
                  <a:pt x="851" y="1414"/>
                  <a:pt x="827" y="1423"/>
                  <a:pt x="803" y="1423"/>
                </a:cubicBezTo>
                <a:cubicBezTo>
                  <a:pt x="779" y="1423"/>
                  <a:pt x="755" y="1414"/>
                  <a:pt x="737" y="1395"/>
                </a:cubicBezTo>
                <a:cubicBezTo>
                  <a:pt x="722" y="1381"/>
                  <a:pt x="714" y="1363"/>
                  <a:pt x="711" y="1344"/>
                </a:cubicBezTo>
                <a:cubicBezTo>
                  <a:pt x="692" y="1361"/>
                  <a:pt x="669" y="1370"/>
                  <a:pt x="645" y="1370"/>
                </a:cubicBezTo>
                <a:cubicBezTo>
                  <a:pt x="621" y="1370"/>
                  <a:pt x="597" y="1361"/>
                  <a:pt x="579" y="1343"/>
                </a:cubicBezTo>
                <a:cubicBezTo>
                  <a:pt x="561" y="1325"/>
                  <a:pt x="551" y="1301"/>
                  <a:pt x="551" y="1276"/>
                </a:cubicBezTo>
                <a:cubicBezTo>
                  <a:pt x="551" y="1272"/>
                  <a:pt x="552" y="1268"/>
                  <a:pt x="553" y="1264"/>
                </a:cubicBezTo>
                <a:cubicBezTo>
                  <a:pt x="548" y="1264"/>
                  <a:pt x="544" y="1265"/>
                  <a:pt x="540" y="1265"/>
                </a:cubicBezTo>
                <a:cubicBezTo>
                  <a:pt x="516" y="1265"/>
                  <a:pt x="492" y="1256"/>
                  <a:pt x="474" y="1237"/>
                </a:cubicBezTo>
                <a:cubicBezTo>
                  <a:pt x="456" y="1220"/>
                  <a:pt x="446" y="1196"/>
                  <a:pt x="446" y="1171"/>
                </a:cubicBezTo>
                <a:cubicBezTo>
                  <a:pt x="446" y="1146"/>
                  <a:pt x="456" y="1123"/>
                  <a:pt x="473" y="1106"/>
                </a:cubicBezTo>
                <a:cubicBezTo>
                  <a:pt x="454" y="1103"/>
                  <a:pt x="436" y="1094"/>
                  <a:pt x="421" y="1080"/>
                </a:cubicBezTo>
                <a:cubicBezTo>
                  <a:pt x="403" y="1062"/>
                  <a:pt x="394" y="1038"/>
                  <a:pt x="394" y="1013"/>
                </a:cubicBezTo>
                <a:cubicBezTo>
                  <a:pt x="394" y="988"/>
                  <a:pt x="403" y="965"/>
                  <a:pt x="421" y="947"/>
                </a:cubicBezTo>
                <a:cubicBezTo>
                  <a:pt x="460" y="908"/>
                  <a:pt x="460" y="908"/>
                  <a:pt x="460" y="908"/>
                </a:cubicBezTo>
                <a:cubicBezTo>
                  <a:pt x="225" y="673"/>
                  <a:pt x="225" y="673"/>
                  <a:pt x="225" y="673"/>
                </a:cubicBezTo>
                <a:cubicBezTo>
                  <a:pt x="185" y="712"/>
                  <a:pt x="185" y="712"/>
                  <a:pt x="185" y="712"/>
                </a:cubicBezTo>
                <a:cubicBezTo>
                  <a:pt x="0" y="527"/>
                  <a:pt x="0" y="527"/>
                  <a:pt x="0" y="527"/>
                </a:cubicBezTo>
                <a:cubicBezTo>
                  <a:pt x="527" y="0"/>
                  <a:pt x="527" y="0"/>
                  <a:pt x="527" y="0"/>
                </a:cubicBezTo>
                <a:cubicBezTo>
                  <a:pt x="712" y="185"/>
                  <a:pt x="712" y="185"/>
                  <a:pt x="712" y="185"/>
                </a:cubicBezTo>
                <a:cubicBezTo>
                  <a:pt x="673" y="225"/>
                  <a:pt x="673" y="225"/>
                  <a:pt x="673" y="225"/>
                </a:cubicBezTo>
                <a:cubicBezTo>
                  <a:pt x="908" y="460"/>
                  <a:pt x="908" y="460"/>
                  <a:pt x="908" y="460"/>
                </a:cubicBezTo>
                <a:cubicBezTo>
                  <a:pt x="1143" y="224"/>
                  <a:pt x="1143" y="224"/>
                  <a:pt x="1143" y="224"/>
                </a:cubicBezTo>
                <a:cubicBezTo>
                  <a:pt x="1104" y="185"/>
                  <a:pt x="1104" y="185"/>
                  <a:pt x="1104" y="185"/>
                </a:cubicBezTo>
                <a:cubicBezTo>
                  <a:pt x="1289" y="0"/>
                  <a:pt x="1289" y="0"/>
                  <a:pt x="1289" y="0"/>
                </a:cubicBezTo>
                <a:cubicBezTo>
                  <a:pt x="1817" y="527"/>
                  <a:pt x="1817" y="527"/>
                  <a:pt x="1817" y="527"/>
                </a:cubicBezTo>
                <a:cubicBezTo>
                  <a:pt x="1631" y="712"/>
                  <a:pt x="1631" y="712"/>
                  <a:pt x="1631" y="712"/>
                </a:cubicBezTo>
                <a:lnTo>
                  <a:pt x="1592" y="673"/>
                </a:lnTo>
                <a:close/>
                <a:moveTo>
                  <a:pt x="185" y="657"/>
                </a:moveTo>
                <a:cubicBezTo>
                  <a:pt x="657" y="185"/>
                  <a:pt x="657" y="185"/>
                  <a:pt x="657" y="185"/>
                </a:cubicBezTo>
                <a:cubicBezTo>
                  <a:pt x="527" y="55"/>
                  <a:pt x="527" y="55"/>
                  <a:pt x="527" y="55"/>
                </a:cubicBezTo>
                <a:cubicBezTo>
                  <a:pt x="55" y="527"/>
                  <a:pt x="55" y="527"/>
                  <a:pt x="55" y="527"/>
                </a:cubicBezTo>
                <a:lnTo>
                  <a:pt x="185" y="657"/>
                </a:lnTo>
                <a:close/>
                <a:moveTo>
                  <a:pt x="1171" y="197"/>
                </a:moveTo>
                <a:cubicBezTo>
                  <a:pt x="1171" y="197"/>
                  <a:pt x="1171" y="197"/>
                  <a:pt x="1171" y="197"/>
                </a:cubicBezTo>
                <a:cubicBezTo>
                  <a:pt x="1619" y="645"/>
                  <a:pt x="1619" y="645"/>
                  <a:pt x="1619" y="645"/>
                </a:cubicBezTo>
                <a:cubicBezTo>
                  <a:pt x="1619" y="645"/>
                  <a:pt x="1619" y="645"/>
                  <a:pt x="1619" y="645"/>
                </a:cubicBezTo>
                <a:cubicBezTo>
                  <a:pt x="1631" y="657"/>
                  <a:pt x="1631" y="657"/>
                  <a:pt x="1631" y="657"/>
                </a:cubicBezTo>
                <a:cubicBezTo>
                  <a:pt x="1761" y="527"/>
                  <a:pt x="1761" y="527"/>
                  <a:pt x="1761" y="527"/>
                </a:cubicBezTo>
                <a:cubicBezTo>
                  <a:pt x="1289" y="55"/>
                  <a:pt x="1289" y="55"/>
                  <a:pt x="1289" y="55"/>
                </a:cubicBezTo>
                <a:cubicBezTo>
                  <a:pt x="1159" y="185"/>
                  <a:pt x="1159" y="185"/>
                  <a:pt x="1159" y="185"/>
                </a:cubicBezTo>
                <a:lnTo>
                  <a:pt x="1171" y="197"/>
                </a:lnTo>
                <a:close/>
                <a:moveTo>
                  <a:pt x="449" y="1052"/>
                </a:moveTo>
                <a:cubicBezTo>
                  <a:pt x="470" y="1073"/>
                  <a:pt x="505" y="1073"/>
                  <a:pt x="526" y="1052"/>
                </a:cubicBezTo>
                <a:cubicBezTo>
                  <a:pt x="632" y="947"/>
                  <a:pt x="632" y="947"/>
                  <a:pt x="632" y="947"/>
                </a:cubicBezTo>
                <a:cubicBezTo>
                  <a:pt x="642" y="937"/>
                  <a:pt x="647" y="923"/>
                  <a:pt x="647" y="908"/>
                </a:cubicBezTo>
                <a:cubicBezTo>
                  <a:pt x="647" y="901"/>
                  <a:pt x="646" y="894"/>
                  <a:pt x="643" y="887"/>
                </a:cubicBezTo>
                <a:cubicBezTo>
                  <a:pt x="640" y="881"/>
                  <a:pt x="636" y="875"/>
                  <a:pt x="631" y="870"/>
                </a:cubicBezTo>
                <a:cubicBezTo>
                  <a:pt x="610" y="849"/>
                  <a:pt x="574" y="849"/>
                  <a:pt x="554" y="869"/>
                </a:cubicBezTo>
                <a:cubicBezTo>
                  <a:pt x="488" y="936"/>
                  <a:pt x="488" y="936"/>
                  <a:pt x="488" y="936"/>
                </a:cubicBezTo>
                <a:cubicBezTo>
                  <a:pt x="488" y="936"/>
                  <a:pt x="488" y="936"/>
                  <a:pt x="488" y="936"/>
                </a:cubicBezTo>
                <a:cubicBezTo>
                  <a:pt x="449" y="975"/>
                  <a:pt x="449" y="975"/>
                  <a:pt x="449" y="975"/>
                </a:cubicBezTo>
                <a:cubicBezTo>
                  <a:pt x="438" y="985"/>
                  <a:pt x="433" y="999"/>
                  <a:pt x="433" y="1013"/>
                </a:cubicBezTo>
                <a:cubicBezTo>
                  <a:pt x="433" y="1028"/>
                  <a:pt x="438" y="1042"/>
                  <a:pt x="449" y="1052"/>
                </a:cubicBezTo>
                <a:close/>
                <a:moveTo>
                  <a:pt x="579" y="1210"/>
                </a:moveTo>
                <a:cubicBezTo>
                  <a:pt x="789" y="999"/>
                  <a:pt x="789" y="999"/>
                  <a:pt x="789" y="999"/>
                </a:cubicBezTo>
                <a:cubicBezTo>
                  <a:pt x="793" y="995"/>
                  <a:pt x="796" y="991"/>
                  <a:pt x="799" y="986"/>
                </a:cubicBezTo>
                <a:cubicBezTo>
                  <a:pt x="803" y="978"/>
                  <a:pt x="805" y="970"/>
                  <a:pt x="805" y="961"/>
                </a:cubicBezTo>
                <a:cubicBezTo>
                  <a:pt x="805" y="953"/>
                  <a:pt x="804" y="946"/>
                  <a:pt x="801" y="940"/>
                </a:cubicBezTo>
                <a:cubicBezTo>
                  <a:pt x="799" y="935"/>
                  <a:pt x="797" y="931"/>
                  <a:pt x="794" y="928"/>
                </a:cubicBezTo>
                <a:cubicBezTo>
                  <a:pt x="792" y="926"/>
                  <a:pt x="791" y="924"/>
                  <a:pt x="789" y="922"/>
                </a:cubicBezTo>
                <a:cubicBezTo>
                  <a:pt x="785" y="918"/>
                  <a:pt x="780" y="914"/>
                  <a:pt x="774" y="912"/>
                </a:cubicBezTo>
                <a:cubicBezTo>
                  <a:pt x="773" y="911"/>
                  <a:pt x="772" y="911"/>
                  <a:pt x="771" y="910"/>
                </a:cubicBezTo>
                <a:cubicBezTo>
                  <a:pt x="769" y="909"/>
                  <a:pt x="767" y="909"/>
                  <a:pt x="764" y="908"/>
                </a:cubicBezTo>
                <a:cubicBezTo>
                  <a:pt x="763" y="908"/>
                  <a:pt x="762" y="907"/>
                  <a:pt x="761" y="907"/>
                </a:cubicBezTo>
                <a:cubicBezTo>
                  <a:pt x="758" y="906"/>
                  <a:pt x="754" y="906"/>
                  <a:pt x="751" y="906"/>
                </a:cubicBezTo>
                <a:cubicBezTo>
                  <a:pt x="751" y="906"/>
                  <a:pt x="750" y="906"/>
                  <a:pt x="750" y="906"/>
                </a:cubicBezTo>
                <a:cubicBezTo>
                  <a:pt x="747" y="906"/>
                  <a:pt x="743" y="906"/>
                  <a:pt x="740" y="907"/>
                </a:cubicBezTo>
                <a:cubicBezTo>
                  <a:pt x="740" y="907"/>
                  <a:pt x="739" y="907"/>
                  <a:pt x="739" y="907"/>
                </a:cubicBezTo>
                <a:cubicBezTo>
                  <a:pt x="736" y="908"/>
                  <a:pt x="733" y="909"/>
                  <a:pt x="729" y="910"/>
                </a:cubicBezTo>
                <a:cubicBezTo>
                  <a:pt x="729" y="910"/>
                  <a:pt x="728" y="911"/>
                  <a:pt x="728" y="911"/>
                </a:cubicBezTo>
                <a:cubicBezTo>
                  <a:pt x="725" y="912"/>
                  <a:pt x="722" y="914"/>
                  <a:pt x="720" y="915"/>
                </a:cubicBezTo>
                <a:cubicBezTo>
                  <a:pt x="719" y="916"/>
                  <a:pt x="719" y="916"/>
                  <a:pt x="718" y="917"/>
                </a:cubicBezTo>
                <a:cubicBezTo>
                  <a:pt x="716" y="919"/>
                  <a:pt x="714" y="920"/>
                  <a:pt x="712" y="922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659" y="975"/>
                  <a:pt x="659" y="975"/>
                  <a:pt x="659" y="975"/>
                </a:cubicBezTo>
                <a:cubicBezTo>
                  <a:pt x="554" y="1080"/>
                  <a:pt x="554" y="1080"/>
                  <a:pt x="554" y="1080"/>
                </a:cubicBezTo>
                <a:cubicBezTo>
                  <a:pt x="554" y="1080"/>
                  <a:pt x="554" y="1080"/>
                  <a:pt x="554" y="1080"/>
                </a:cubicBezTo>
                <a:cubicBezTo>
                  <a:pt x="501" y="1132"/>
                  <a:pt x="501" y="1132"/>
                  <a:pt x="501" y="1132"/>
                </a:cubicBezTo>
                <a:cubicBezTo>
                  <a:pt x="491" y="1143"/>
                  <a:pt x="485" y="1156"/>
                  <a:pt x="485" y="1171"/>
                </a:cubicBezTo>
                <a:cubicBezTo>
                  <a:pt x="485" y="1186"/>
                  <a:pt x="491" y="1199"/>
                  <a:pt x="501" y="1210"/>
                </a:cubicBezTo>
                <a:cubicBezTo>
                  <a:pt x="523" y="1231"/>
                  <a:pt x="557" y="1231"/>
                  <a:pt x="579" y="1210"/>
                </a:cubicBezTo>
                <a:close/>
                <a:moveTo>
                  <a:pt x="684" y="1315"/>
                </a:moveTo>
                <a:cubicBezTo>
                  <a:pt x="842" y="1157"/>
                  <a:pt x="842" y="1157"/>
                  <a:pt x="842" y="1157"/>
                </a:cubicBezTo>
                <a:cubicBezTo>
                  <a:pt x="894" y="1105"/>
                  <a:pt x="894" y="1105"/>
                  <a:pt x="894" y="1105"/>
                </a:cubicBezTo>
                <a:cubicBezTo>
                  <a:pt x="905" y="1094"/>
                  <a:pt x="910" y="1081"/>
                  <a:pt x="910" y="1066"/>
                </a:cubicBezTo>
                <a:cubicBezTo>
                  <a:pt x="910" y="1051"/>
                  <a:pt x="904" y="1037"/>
                  <a:pt x="894" y="1027"/>
                </a:cubicBezTo>
                <a:cubicBezTo>
                  <a:pt x="891" y="1024"/>
                  <a:pt x="888" y="1022"/>
                  <a:pt x="884" y="1019"/>
                </a:cubicBezTo>
                <a:cubicBezTo>
                  <a:pt x="883" y="1019"/>
                  <a:pt x="882" y="1018"/>
                  <a:pt x="880" y="1018"/>
                </a:cubicBezTo>
                <a:cubicBezTo>
                  <a:pt x="878" y="1016"/>
                  <a:pt x="875" y="1015"/>
                  <a:pt x="872" y="1014"/>
                </a:cubicBezTo>
                <a:cubicBezTo>
                  <a:pt x="871" y="1014"/>
                  <a:pt x="869" y="1013"/>
                  <a:pt x="868" y="1013"/>
                </a:cubicBezTo>
                <a:cubicBezTo>
                  <a:pt x="864" y="1012"/>
                  <a:pt x="861" y="1011"/>
                  <a:pt x="857" y="1011"/>
                </a:cubicBezTo>
                <a:cubicBezTo>
                  <a:pt x="856" y="1011"/>
                  <a:pt x="856" y="1011"/>
                  <a:pt x="855" y="1011"/>
                </a:cubicBezTo>
                <a:cubicBezTo>
                  <a:pt x="851" y="1011"/>
                  <a:pt x="846" y="1012"/>
                  <a:pt x="841" y="1013"/>
                </a:cubicBezTo>
                <a:cubicBezTo>
                  <a:pt x="832" y="1015"/>
                  <a:pt x="824" y="1020"/>
                  <a:pt x="817" y="1027"/>
                </a:cubicBezTo>
                <a:cubicBezTo>
                  <a:pt x="606" y="1238"/>
                  <a:pt x="606" y="1238"/>
                  <a:pt x="606" y="1238"/>
                </a:cubicBezTo>
                <a:cubicBezTo>
                  <a:pt x="596" y="1248"/>
                  <a:pt x="591" y="1261"/>
                  <a:pt x="591" y="1276"/>
                </a:cubicBezTo>
                <a:cubicBezTo>
                  <a:pt x="591" y="1291"/>
                  <a:pt x="596" y="1304"/>
                  <a:pt x="607" y="1315"/>
                </a:cubicBezTo>
                <a:cubicBezTo>
                  <a:pt x="628" y="1336"/>
                  <a:pt x="663" y="1336"/>
                  <a:pt x="684" y="1315"/>
                </a:cubicBezTo>
                <a:close/>
                <a:moveTo>
                  <a:pt x="880" y="1329"/>
                </a:moveTo>
                <a:cubicBezTo>
                  <a:pt x="947" y="1262"/>
                  <a:pt x="947" y="1262"/>
                  <a:pt x="947" y="1262"/>
                </a:cubicBezTo>
                <a:cubicBezTo>
                  <a:pt x="957" y="1252"/>
                  <a:pt x="963" y="1238"/>
                  <a:pt x="963" y="1224"/>
                </a:cubicBezTo>
                <a:cubicBezTo>
                  <a:pt x="963" y="1220"/>
                  <a:pt x="963" y="1216"/>
                  <a:pt x="962" y="1213"/>
                </a:cubicBezTo>
                <a:cubicBezTo>
                  <a:pt x="962" y="1212"/>
                  <a:pt x="961" y="1211"/>
                  <a:pt x="961" y="1209"/>
                </a:cubicBezTo>
                <a:cubicBezTo>
                  <a:pt x="960" y="1207"/>
                  <a:pt x="960" y="1205"/>
                  <a:pt x="959" y="1203"/>
                </a:cubicBezTo>
                <a:cubicBezTo>
                  <a:pt x="958" y="1201"/>
                  <a:pt x="958" y="1200"/>
                  <a:pt x="957" y="1199"/>
                </a:cubicBezTo>
                <a:cubicBezTo>
                  <a:pt x="956" y="1197"/>
                  <a:pt x="955" y="1195"/>
                  <a:pt x="954" y="1193"/>
                </a:cubicBezTo>
                <a:cubicBezTo>
                  <a:pt x="953" y="1191"/>
                  <a:pt x="951" y="1190"/>
                  <a:pt x="950" y="1188"/>
                </a:cubicBezTo>
                <a:cubicBezTo>
                  <a:pt x="949" y="1187"/>
                  <a:pt x="948" y="1186"/>
                  <a:pt x="947" y="1185"/>
                </a:cubicBezTo>
                <a:cubicBezTo>
                  <a:pt x="947" y="1185"/>
                  <a:pt x="947" y="1185"/>
                  <a:pt x="947" y="1185"/>
                </a:cubicBezTo>
                <a:cubicBezTo>
                  <a:pt x="941" y="1179"/>
                  <a:pt x="935" y="1175"/>
                  <a:pt x="929" y="1173"/>
                </a:cubicBezTo>
                <a:cubicBezTo>
                  <a:pt x="922" y="1170"/>
                  <a:pt x="915" y="1169"/>
                  <a:pt x="908" y="1169"/>
                </a:cubicBezTo>
                <a:cubicBezTo>
                  <a:pt x="898" y="1169"/>
                  <a:pt x="887" y="1172"/>
                  <a:pt x="878" y="1178"/>
                </a:cubicBezTo>
                <a:cubicBezTo>
                  <a:pt x="875" y="1180"/>
                  <a:pt x="872" y="1182"/>
                  <a:pt x="870" y="1185"/>
                </a:cubicBezTo>
                <a:cubicBezTo>
                  <a:pt x="764" y="1290"/>
                  <a:pt x="764" y="1290"/>
                  <a:pt x="764" y="1290"/>
                </a:cubicBezTo>
                <a:cubicBezTo>
                  <a:pt x="754" y="1301"/>
                  <a:pt x="748" y="1314"/>
                  <a:pt x="748" y="1329"/>
                </a:cubicBezTo>
                <a:cubicBezTo>
                  <a:pt x="748" y="1343"/>
                  <a:pt x="754" y="1357"/>
                  <a:pt x="764" y="1368"/>
                </a:cubicBezTo>
                <a:cubicBezTo>
                  <a:pt x="786" y="1389"/>
                  <a:pt x="820" y="1389"/>
                  <a:pt x="842" y="1368"/>
                </a:cubicBezTo>
                <a:lnTo>
                  <a:pt x="880" y="1329"/>
                </a:lnTo>
                <a:close/>
                <a:moveTo>
                  <a:pt x="1068" y="1329"/>
                </a:moveTo>
                <a:cubicBezTo>
                  <a:pt x="1068" y="1314"/>
                  <a:pt x="1062" y="1301"/>
                  <a:pt x="1052" y="1290"/>
                </a:cubicBezTo>
                <a:cubicBezTo>
                  <a:pt x="1001" y="1239"/>
                  <a:pt x="1001" y="1239"/>
                  <a:pt x="1001" y="1239"/>
                </a:cubicBezTo>
                <a:cubicBezTo>
                  <a:pt x="1001" y="1240"/>
                  <a:pt x="1000" y="1240"/>
                  <a:pt x="1000" y="1241"/>
                </a:cubicBezTo>
                <a:cubicBezTo>
                  <a:pt x="1000" y="1242"/>
                  <a:pt x="1000" y="1244"/>
                  <a:pt x="999" y="1246"/>
                </a:cubicBezTo>
                <a:cubicBezTo>
                  <a:pt x="998" y="1249"/>
                  <a:pt x="997" y="1253"/>
                  <a:pt x="996" y="1257"/>
                </a:cubicBezTo>
                <a:cubicBezTo>
                  <a:pt x="995" y="1259"/>
                  <a:pt x="994" y="1260"/>
                  <a:pt x="994" y="1262"/>
                </a:cubicBezTo>
                <a:cubicBezTo>
                  <a:pt x="992" y="1266"/>
                  <a:pt x="990" y="1269"/>
                  <a:pt x="988" y="1272"/>
                </a:cubicBezTo>
                <a:cubicBezTo>
                  <a:pt x="987" y="1274"/>
                  <a:pt x="986" y="1276"/>
                  <a:pt x="985" y="1277"/>
                </a:cubicBezTo>
                <a:cubicBezTo>
                  <a:pt x="982" y="1282"/>
                  <a:pt x="979" y="1286"/>
                  <a:pt x="974" y="1290"/>
                </a:cubicBezTo>
                <a:cubicBezTo>
                  <a:pt x="936" y="1329"/>
                  <a:pt x="936" y="1329"/>
                  <a:pt x="936" y="1329"/>
                </a:cubicBezTo>
                <a:cubicBezTo>
                  <a:pt x="975" y="1368"/>
                  <a:pt x="975" y="1368"/>
                  <a:pt x="975" y="1368"/>
                </a:cubicBezTo>
                <a:cubicBezTo>
                  <a:pt x="996" y="1389"/>
                  <a:pt x="1031" y="1389"/>
                  <a:pt x="1052" y="1368"/>
                </a:cubicBezTo>
                <a:cubicBezTo>
                  <a:pt x="1052" y="1367"/>
                  <a:pt x="1052" y="1367"/>
                  <a:pt x="1052" y="1367"/>
                </a:cubicBezTo>
                <a:cubicBezTo>
                  <a:pt x="1062" y="1357"/>
                  <a:pt x="1068" y="1344"/>
                  <a:pt x="1068" y="1329"/>
                </a:cubicBezTo>
                <a:close/>
                <a:moveTo>
                  <a:pt x="1368" y="975"/>
                </a:moveTo>
                <a:cubicBezTo>
                  <a:pt x="1013" y="620"/>
                  <a:pt x="1013" y="620"/>
                  <a:pt x="1013" y="620"/>
                </a:cubicBezTo>
                <a:cubicBezTo>
                  <a:pt x="870" y="764"/>
                  <a:pt x="870" y="764"/>
                  <a:pt x="870" y="764"/>
                </a:cubicBezTo>
                <a:cubicBezTo>
                  <a:pt x="865" y="769"/>
                  <a:pt x="860" y="773"/>
                  <a:pt x="855" y="776"/>
                </a:cubicBezTo>
                <a:cubicBezTo>
                  <a:pt x="840" y="786"/>
                  <a:pt x="822" y="792"/>
                  <a:pt x="803" y="792"/>
                </a:cubicBezTo>
                <a:cubicBezTo>
                  <a:pt x="803" y="792"/>
                  <a:pt x="803" y="792"/>
                  <a:pt x="803" y="792"/>
                </a:cubicBezTo>
                <a:cubicBezTo>
                  <a:pt x="778" y="792"/>
                  <a:pt x="754" y="782"/>
                  <a:pt x="737" y="764"/>
                </a:cubicBezTo>
                <a:cubicBezTo>
                  <a:pt x="731" y="759"/>
                  <a:pt x="727" y="752"/>
                  <a:pt x="723" y="746"/>
                </a:cubicBezTo>
                <a:cubicBezTo>
                  <a:pt x="714" y="732"/>
                  <a:pt x="709" y="715"/>
                  <a:pt x="709" y="698"/>
                </a:cubicBezTo>
                <a:cubicBezTo>
                  <a:pt x="709" y="686"/>
                  <a:pt x="711" y="676"/>
                  <a:pt x="715" y="665"/>
                </a:cubicBezTo>
                <a:cubicBezTo>
                  <a:pt x="720" y="653"/>
                  <a:pt x="727" y="641"/>
                  <a:pt x="737" y="631"/>
                </a:cubicBezTo>
                <a:cubicBezTo>
                  <a:pt x="880" y="487"/>
                  <a:pt x="880" y="487"/>
                  <a:pt x="880" y="487"/>
                </a:cubicBezTo>
                <a:cubicBezTo>
                  <a:pt x="645" y="252"/>
                  <a:pt x="645" y="252"/>
                  <a:pt x="645" y="252"/>
                </a:cubicBezTo>
                <a:cubicBezTo>
                  <a:pt x="252" y="645"/>
                  <a:pt x="252" y="645"/>
                  <a:pt x="252" y="645"/>
                </a:cubicBezTo>
                <a:cubicBezTo>
                  <a:pt x="488" y="880"/>
                  <a:pt x="488" y="880"/>
                  <a:pt x="488" y="880"/>
                </a:cubicBezTo>
                <a:cubicBezTo>
                  <a:pt x="526" y="842"/>
                  <a:pt x="526" y="842"/>
                  <a:pt x="526" y="842"/>
                </a:cubicBezTo>
                <a:cubicBezTo>
                  <a:pt x="533" y="835"/>
                  <a:pt x="540" y="830"/>
                  <a:pt x="548" y="826"/>
                </a:cubicBezTo>
                <a:cubicBezTo>
                  <a:pt x="567" y="816"/>
                  <a:pt x="589" y="813"/>
                  <a:pt x="611" y="817"/>
                </a:cubicBezTo>
                <a:cubicBezTo>
                  <a:pt x="629" y="820"/>
                  <a:pt x="646" y="828"/>
                  <a:pt x="659" y="842"/>
                </a:cubicBezTo>
                <a:cubicBezTo>
                  <a:pt x="660" y="843"/>
                  <a:pt x="661" y="844"/>
                  <a:pt x="662" y="846"/>
                </a:cubicBezTo>
                <a:cubicBezTo>
                  <a:pt x="665" y="848"/>
                  <a:pt x="667" y="851"/>
                  <a:pt x="669" y="854"/>
                </a:cubicBezTo>
                <a:cubicBezTo>
                  <a:pt x="671" y="856"/>
                  <a:pt x="672" y="858"/>
                  <a:pt x="673" y="860"/>
                </a:cubicBezTo>
                <a:cubicBezTo>
                  <a:pt x="675" y="863"/>
                  <a:pt x="676" y="866"/>
                  <a:pt x="678" y="869"/>
                </a:cubicBezTo>
                <a:cubicBezTo>
                  <a:pt x="679" y="871"/>
                  <a:pt x="679" y="873"/>
                  <a:pt x="680" y="875"/>
                </a:cubicBezTo>
                <a:cubicBezTo>
                  <a:pt x="682" y="878"/>
                  <a:pt x="683" y="882"/>
                  <a:pt x="684" y="886"/>
                </a:cubicBezTo>
                <a:cubicBezTo>
                  <a:pt x="684" y="888"/>
                  <a:pt x="684" y="889"/>
                  <a:pt x="685" y="891"/>
                </a:cubicBezTo>
                <a:cubicBezTo>
                  <a:pt x="685" y="892"/>
                  <a:pt x="685" y="892"/>
                  <a:pt x="685" y="893"/>
                </a:cubicBezTo>
                <a:cubicBezTo>
                  <a:pt x="688" y="891"/>
                  <a:pt x="691" y="889"/>
                  <a:pt x="694" y="886"/>
                </a:cubicBezTo>
                <a:cubicBezTo>
                  <a:pt x="696" y="885"/>
                  <a:pt x="697" y="883"/>
                  <a:pt x="699" y="882"/>
                </a:cubicBezTo>
                <a:cubicBezTo>
                  <a:pt x="703" y="880"/>
                  <a:pt x="707" y="877"/>
                  <a:pt x="712" y="875"/>
                </a:cubicBezTo>
                <a:cubicBezTo>
                  <a:pt x="713" y="875"/>
                  <a:pt x="714" y="874"/>
                  <a:pt x="715" y="874"/>
                </a:cubicBezTo>
                <a:cubicBezTo>
                  <a:pt x="724" y="870"/>
                  <a:pt x="733" y="868"/>
                  <a:pt x="742" y="868"/>
                </a:cubicBezTo>
                <a:cubicBezTo>
                  <a:pt x="745" y="867"/>
                  <a:pt x="748" y="867"/>
                  <a:pt x="750" y="867"/>
                </a:cubicBezTo>
                <a:cubicBezTo>
                  <a:pt x="750" y="867"/>
                  <a:pt x="750" y="867"/>
                  <a:pt x="750" y="867"/>
                </a:cubicBezTo>
                <a:cubicBezTo>
                  <a:pt x="751" y="867"/>
                  <a:pt x="751" y="867"/>
                  <a:pt x="751" y="867"/>
                </a:cubicBezTo>
                <a:cubicBezTo>
                  <a:pt x="753" y="867"/>
                  <a:pt x="754" y="867"/>
                  <a:pt x="756" y="867"/>
                </a:cubicBezTo>
                <a:cubicBezTo>
                  <a:pt x="760" y="868"/>
                  <a:pt x="765" y="868"/>
                  <a:pt x="769" y="869"/>
                </a:cubicBezTo>
                <a:cubicBezTo>
                  <a:pt x="772" y="869"/>
                  <a:pt x="776" y="871"/>
                  <a:pt x="780" y="872"/>
                </a:cubicBezTo>
                <a:cubicBezTo>
                  <a:pt x="782" y="873"/>
                  <a:pt x="784" y="873"/>
                  <a:pt x="786" y="874"/>
                </a:cubicBezTo>
                <a:cubicBezTo>
                  <a:pt x="789" y="875"/>
                  <a:pt x="793" y="877"/>
                  <a:pt x="796" y="879"/>
                </a:cubicBezTo>
                <a:cubicBezTo>
                  <a:pt x="798" y="880"/>
                  <a:pt x="800" y="881"/>
                  <a:pt x="802" y="883"/>
                </a:cubicBezTo>
                <a:cubicBezTo>
                  <a:pt x="805" y="884"/>
                  <a:pt x="807" y="886"/>
                  <a:pt x="809" y="888"/>
                </a:cubicBezTo>
                <a:cubicBezTo>
                  <a:pt x="811" y="890"/>
                  <a:pt x="814" y="892"/>
                  <a:pt x="817" y="894"/>
                </a:cubicBezTo>
                <a:cubicBezTo>
                  <a:pt x="819" y="897"/>
                  <a:pt x="821" y="899"/>
                  <a:pt x="823" y="902"/>
                </a:cubicBezTo>
                <a:cubicBezTo>
                  <a:pt x="829" y="909"/>
                  <a:pt x="834" y="916"/>
                  <a:pt x="837" y="925"/>
                </a:cubicBezTo>
                <a:cubicBezTo>
                  <a:pt x="842" y="936"/>
                  <a:pt x="844" y="948"/>
                  <a:pt x="844" y="961"/>
                </a:cubicBezTo>
                <a:cubicBezTo>
                  <a:pt x="844" y="962"/>
                  <a:pt x="844" y="962"/>
                  <a:pt x="844" y="963"/>
                </a:cubicBezTo>
                <a:cubicBezTo>
                  <a:pt x="844" y="966"/>
                  <a:pt x="844" y="970"/>
                  <a:pt x="843" y="973"/>
                </a:cubicBezTo>
                <a:cubicBezTo>
                  <a:pt x="850" y="972"/>
                  <a:pt x="856" y="972"/>
                  <a:pt x="863" y="973"/>
                </a:cubicBezTo>
                <a:cubicBezTo>
                  <a:pt x="864" y="973"/>
                  <a:pt x="865" y="973"/>
                  <a:pt x="866" y="973"/>
                </a:cubicBezTo>
                <a:cubicBezTo>
                  <a:pt x="872" y="973"/>
                  <a:pt x="878" y="975"/>
                  <a:pt x="884" y="977"/>
                </a:cubicBezTo>
                <a:cubicBezTo>
                  <a:pt x="885" y="977"/>
                  <a:pt x="886" y="977"/>
                  <a:pt x="887" y="978"/>
                </a:cubicBezTo>
                <a:cubicBezTo>
                  <a:pt x="893" y="980"/>
                  <a:pt x="899" y="983"/>
                  <a:pt x="904" y="986"/>
                </a:cubicBezTo>
                <a:cubicBezTo>
                  <a:pt x="905" y="986"/>
                  <a:pt x="906" y="987"/>
                  <a:pt x="906" y="987"/>
                </a:cubicBezTo>
                <a:cubicBezTo>
                  <a:pt x="912" y="991"/>
                  <a:pt x="917" y="995"/>
                  <a:pt x="922" y="999"/>
                </a:cubicBezTo>
                <a:cubicBezTo>
                  <a:pt x="940" y="1017"/>
                  <a:pt x="949" y="1041"/>
                  <a:pt x="949" y="1066"/>
                </a:cubicBezTo>
                <a:cubicBezTo>
                  <a:pt x="949" y="1072"/>
                  <a:pt x="949" y="1078"/>
                  <a:pt x="948" y="1084"/>
                </a:cubicBezTo>
                <a:cubicBezTo>
                  <a:pt x="947" y="1086"/>
                  <a:pt x="946" y="1088"/>
                  <a:pt x="946" y="1090"/>
                </a:cubicBezTo>
                <a:cubicBezTo>
                  <a:pt x="945" y="1094"/>
                  <a:pt x="944" y="1098"/>
                  <a:pt x="942" y="1101"/>
                </a:cubicBezTo>
                <a:cubicBezTo>
                  <a:pt x="942" y="1104"/>
                  <a:pt x="940" y="1106"/>
                  <a:pt x="939" y="1108"/>
                </a:cubicBezTo>
                <a:cubicBezTo>
                  <a:pt x="937" y="1111"/>
                  <a:pt x="936" y="1114"/>
                  <a:pt x="934" y="1117"/>
                </a:cubicBezTo>
                <a:cubicBezTo>
                  <a:pt x="933" y="1120"/>
                  <a:pt x="931" y="1121"/>
                  <a:pt x="929" y="1124"/>
                </a:cubicBezTo>
                <a:cubicBezTo>
                  <a:pt x="927" y="1126"/>
                  <a:pt x="926" y="1129"/>
                  <a:pt x="923" y="1131"/>
                </a:cubicBezTo>
                <a:cubicBezTo>
                  <a:pt x="924" y="1131"/>
                  <a:pt x="924" y="1131"/>
                  <a:pt x="925" y="1131"/>
                </a:cubicBezTo>
                <a:cubicBezTo>
                  <a:pt x="926" y="1132"/>
                  <a:pt x="928" y="1132"/>
                  <a:pt x="929" y="1132"/>
                </a:cubicBezTo>
                <a:cubicBezTo>
                  <a:pt x="933" y="1133"/>
                  <a:pt x="937" y="1134"/>
                  <a:pt x="941" y="1136"/>
                </a:cubicBezTo>
                <a:cubicBezTo>
                  <a:pt x="943" y="1136"/>
                  <a:pt x="944" y="1137"/>
                  <a:pt x="946" y="1138"/>
                </a:cubicBezTo>
                <a:cubicBezTo>
                  <a:pt x="950" y="1140"/>
                  <a:pt x="953" y="1141"/>
                  <a:pt x="957" y="1144"/>
                </a:cubicBezTo>
                <a:cubicBezTo>
                  <a:pt x="958" y="1144"/>
                  <a:pt x="960" y="1145"/>
                  <a:pt x="961" y="1146"/>
                </a:cubicBezTo>
                <a:cubicBezTo>
                  <a:pt x="966" y="1149"/>
                  <a:pt x="970" y="1153"/>
                  <a:pt x="975" y="1157"/>
                </a:cubicBezTo>
                <a:cubicBezTo>
                  <a:pt x="1132" y="1315"/>
                  <a:pt x="1132" y="1315"/>
                  <a:pt x="1132" y="1315"/>
                </a:cubicBezTo>
                <a:cubicBezTo>
                  <a:pt x="1153" y="1336"/>
                  <a:pt x="1189" y="1336"/>
                  <a:pt x="1210" y="1315"/>
                </a:cubicBezTo>
                <a:cubicBezTo>
                  <a:pt x="1231" y="1294"/>
                  <a:pt x="1231" y="1259"/>
                  <a:pt x="1210" y="1238"/>
                </a:cubicBezTo>
                <a:cubicBezTo>
                  <a:pt x="1238" y="1210"/>
                  <a:pt x="1238" y="1210"/>
                  <a:pt x="1238" y="1210"/>
                </a:cubicBezTo>
                <a:cubicBezTo>
                  <a:pt x="1258" y="1230"/>
                  <a:pt x="1294" y="1230"/>
                  <a:pt x="1315" y="1210"/>
                </a:cubicBezTo>
                <a:cubicBezTo>
                  <a:pt x="1325" y="1199"/>
                  <a:pt x="1331" y="1186"/>
                  <a:pt x="1331" y="1171"/>
                </a:cubicBezTo>
                <a:cubicBezTo>
                  <a:pt x="1331" y="1156"/>
                  <a:pt x="1325" y="1143"/>
                  <a:pt x="1315" y="1132"/>
                </a:cubicBezTo>
                <a:cubicBezTo>
                  <a:pt x="1262" y="1080"/>
                  <a:pt x="1262" y="1080"/>
                  <a:pt x="1262" y="1080"/>
                </a:cubicBezTo>
                <a:cubicBezTo>
                  <a:pt x="1290" y="1052"/>
                  <a:pt x="1290" y="1052"/>
                  <a:pt x="1290" y="1052"/>
                </a:cubicBezTo>
                <a:cubicBezTo>
                  <a:pt x="1300" y="1062"/>
                  <a:pt x="1314" y="1068"/>
                  <a:pt x="1329" y="1068"/>
                </a:cubicBezTo>
                <a:cubicBezTo>
                  <a:pt x="1344" y="1068"/>
                  <a:pt x="1357" y="1062"/>
                  <a:pt x="1368" y="1052"/>
                </a:cubicBezTo>
                <a:cubicBezTo>
                  <a:pt x="1378" y="1042"/>
                  <a:pt x="1384" y="1028"/>
                  <a:pt x="1384" y="1013"/>
                </a:cubicBezTo>
                <a:cubicBezTo>
                  <a:pt x="1384" y="999"/>
                  <a:pt x="1378" y="985"/>
                  <a:pt x="1368" y="975"/>
                </a:cubicBezTo>
                <a:close/>
                <a:moveTo>
                  <a:pt x="1564" y="645"/>
                </a:moveTo>
                <a:cubicBezTo>
                  <a:pt x="1171" y="252"/>
                  <a:pt x="1171" y="252"/>
                  <a:pt x="1171" y="252"/>
                </a:cubicBezTo>
                <a:cubicBezTo>
                  <a:pt x="936" y="487"/>
                  <a:pt x="936" y="487"/>
                  <a:pt x="936" y="487"/>
                </a:cubicBezTo>
                <a:cubicBezTo>
                  <a:pt x="936" y="487"/>
                  <a:pt x="936" y="487"/>
                  <a:pt x="936" y="487"/>
                </a:cubicBezTo>
                <a:cubicBezTo>
                  <a:pt x="764" y="659"/>
                  <a:pt x="764" y="659"/>
                  <a:pt x="764" y="659"/>
                </a:cubicBezTo>
                <a:cubicBezTo>
                  <a:pt x="759" y="665"/>
                  <a:pt x="755" y="671"/>
                  <a:pt x="752" y="678"/>
                </a:cubicBezTo>
                <a:cubicBezTo>
                  <a:pt x="750" y="684"/>
                  <a:pt x="748" y="691"/>
                  <a:pt x="748" y="698"/>
                </a:cubicBezTo>
                <a:cubicBezTo>
                  <a:pt x="748" y="707"/>
                  <a:pt x="751" y="715"/>
                  <a:pt x="754" y="722"/>
                </a:cubicBezTo>
                <a:cubicBezTo>
                  <a:pt x="757" y="727"/>
                  <a:pt x="760" y="732"/>
                  <a:pt x="764" y="736"/>
                </a:cubicBezTo>
                <a:cubicBezTo>
                  <a:pt x="775" y="747"/>
                  <a:pt x="788" y="752"/>
                  <a:pt x="803" y="752"/>
                </a:cubicBezTo>
                <a:cubicBezTo>
                  <a:pt x="803" y="752"/>
                  <a:pt x="803" y="752"/>
                  <a:pt x="803" y="752"/>
                </a:cubicBezTo>
                <a:cubicBezTo>
                  <a:pt x="814" y="752"/>
                  <a:pt x="825" y="749"/>
                  <a:pt x="834" y="743"/>
                </a:cubicBezTo>
                <a:cubicBezTo>
                  <a:pt x="836" y="741"/>
                  <a:pt x="839" y="739"/>
                  <a:pt x="842" y="737"/>
                </a:cubicBezTo>
                <a:cubicBezTo>
                  <a:pt x="1013" y="565"/>
                  <a:pt x="1013" y="565"/>
                  <a:pt x="1013" y="565"/>
                </a:cubicBezTo>
                <a:cubicBezTo>
                  <a:pt x="1329" y="880"/>
                  <a:pt x="1329" y="880"/>
                  <a:pt x="1329" y="880"/>
                </a:cubicBezTo>
                <a:lnTo>
                  <a:pt x="1564" y="645"/>
                </a:lnTo>
                <a:close/>
                <a:moveTo>
                  <a:pt x="152" y="507"/>
                </a:moveTo>
                <a:cubicBezTo>
                  <a:pt x="205" y="560"/>
                  <a:pt x="205" y="560"/>
                  <a:pt x="205" y="560"/>
                </a:cubicBezTo>
                <a:cubicBezTo>
                  <a:pt x="257" y="507"/>
                  <a:pt x="257" y="507"/>
                  <a:pt x="257" y="507"/>
                </a:cubicBezTo>
                <a:cubicBezTo>
                  <a:pt x="205" y="455"/>
                  <a:pt x="205" y="455"/>
                  <a:pt x="205" y="455"/>
                </a:cubicBezTo>
                <a:lnTo>
                  <a:pt x="152" y="507"/>
                </a:lnTo>
                <a:close/>
                <a:moveTo>
                  <a:pt x="1664" y="507"/>
                </a:moveTo>
                <a:cubicBezTo>
                  <a:pt x="1612" y="455"/>
                  <a:pt x="1612" y="455"/>
                  <a:pt x="1612" y="455"/>
                </a:cubicBezTo>
                <a:cubicBezTo>
                  <a:pt x="1559" y="507"/>
                  <a:pt x="1559" y="507"/>
                  <a:pt x="1559" y="507"/>
                </a:cubicBezTo>
                <a:cubicBezTo>
                  <a:pt x="1612" y="560"/>
                  <a:pt x="1612" y="560"/>
                  <a:pt x="1612" y="560"/>
                </a:cubicBezTo>
                <a:lnTo>
                  <a:pt x="1664" y="50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US" sz="506" dirty="0"/>
          </a:p>
        </p:txBody>
      </p:sp>
      <p:sp>
        <p:nvSpPr>
          <p:cNvPr id="7" name="TextBox 6"/>
          <p:cNvSpPr txBox="1"/>
          <p:nvPr/>
        </p:nvSpPr>
        <p:spPr>
          <a:xfrm>
            <a:off x="1933706" y="2571750"/>
            <a:ext cx="5276586" cy="4226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dirty="0" err="1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resentamos</a:t>
            </a:r>
            <a:r>
              <a:rPr lang="en-US" sz="1200" b="1" dirty="0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s</a:t>
            </a:r>
            <a:r>
              <a:rPr lang="en-US" sz="1200" b="1" dirty="0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vos</a:t>
            </a:r>
            <a:r>
              <a:rPr lang="en-US" sz="1200" b="1" dirty="0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mplates de ppt </a:t>
            </a:r>
            <a:r>
              <a:rPr lang="en-US" sz="1200" b="1" dirty="0" err="1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tnet</a:t>
            </a:r>
            <a:r>
              <a:rPr lang="en-US" sz="1200" b="1" dirty="0">
                <a:solidFill>
                  <a:srgbClr val="EC0000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</a:p>
          <a:p>
            <a:pPr algn="ctr">
              <a:lnSpc>
                <a:spcPct val="120000"/>
              </a:lnSpc>
            </a:pP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tes de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eçar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ê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ma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da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s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óximos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lides e boa </a:t>
            </a:r>
            <a:r>
              <a:rPr lang="en-US" sz="1200" b="1" dirty="0" err="1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resentação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b="1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:)</a:t>
            </a:r>
            <a:endParaRPr lang="en-US" sz="1200" b="1" dirty="0">
              <a:solidFill>
                <a:schemeClr val="accent3"/>
              </a:solidFill>
              <a:latin typeface="Lato" panose="020F0502020204030203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176837" y="3698755"/>
            <a:ext cx="4790326" cy="300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900" b="1" cap="all" spc="20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rketing | </a:t>
            </a:r>
            <a:r>
              <a:rPr lang="en-US" sz="900" b="1" cap="all" spc="20" dirty="0" err="1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xperiência</a:t>
            </a:r>
            <a:r>
              <a:rPr lang="en-US" sz="900" b="1" cap="all" spc="20" dirty="0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 </a:t>
            </a:r>
            <a:r>
              <a:rPr lang="en-US" sz="900" b="1" cap="all" spc="20" dirty="0" err="1">
                <a:solidFill>
                  <a:srgbClr val="EC0000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liente</a:t>
            </a:r>
            <a:endParaRPr lang="en-US" sz="900" b="1" spc="20" dirty="0">
              <a:solidFill>
                <a:srgbClr val="EC0000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>
              <a:lnSpc>
                <a:spcPct val="120000"/>
              </a:lnSpc>
            </a:pPr>
            <a:r>
              <a:rPr lang="en-US" sz="800" b="1" spc="2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0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83368" y="1529233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76836" y="1731330"/>
            <a:ext cx="4790327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cap="all" spc="8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EM-VINDO!</a:t>
            </a:r>
          </a:p>
        </p:txBody>
      </p:sp>
    </p:spTree>
    <p:extLst>
      <p:ext uri="{BB962C8B-B14F-4D97-AF65-F5344CB8AC3E}">
        <p14:creationId xmlns:p14="http://schemas.microsoft.com/office/powerpoint/2010/main" val="256928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5593961" y="1579033"/>
            <a:ext cx="2487278" cy="2487278"/>
            <a:chOff x="5593961" y="1579033"/>
            <a:chExt cx="2487278" cy="2487278"/>
          </a:xfrm>
        </p:grpSpPr>
        <p:sp>
          <p:nvSpPr>
            <p:cNvPr id="4" name="Oval 3"/>
            <p:cNvSpPr/>
            <p:nvPr/>
          </p:nvSpPr>
          <p:spPr>
            <a:xfrm>
              <a:off x="5593961" y="1579033"/>
              <a:ext cx="2487278" cy="2487278"/>
            </a:xfrm>
            <a:prstGeom prst="ellipse">
              <a:avLst/>
            </a:prstGeom>
            <a:solidFill>
              <a:schemeClr val="accent3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6619422" y="2042870"/>
              <a:ext cx="436354" cy="463282"/>
            </a:xfrm>
            <a:custGeom>
              <a:avLst/>
              <a:gdLst>
                <a:gd name="T0" fmla="*/ 2278 w 2311"/>
                <a:gd name="T1" fmla="*/ 2451 h 2451"/>
                <a:gd name="T2" fmla="*/ 0 w 2311"/>
                <a:gd name="T3" fmla="*/ 2419 h 2451"/>
                <a:gd name="T4" fmla="*/ 32 w 2311"/>
                <a:gd name="T5" fmla="*/ 140 h 2451"/>
                <a:gd name="T6" fmla="*/ 64 w 2311"/>
                <a:gd name="T7" fmla="*/ 2387 h 2451"/>
                <a:gd name="T8" fmla="*/ 2311 w 2311"/>
                <a:gd name="T9" fmla="*/ 2419 h 2451"/>
                <a:gd name="T10" fmla="*/ 2095 w 2311"/>
                <a:gd name="T11" fmla="*/ 702 h 2451"/>
                <a:gd name="T12" fmla="*/ 2170 w 2311"/>
                <a:gd name="T13" fmla="*/ 2095 h 2451"/>
                <a:gd name="T14" fmla="*/ 1760 w 2311"/>
                <a:gd name="T15" fmla="*/ 2170 h 2451"/>
                <a:gd name="T16" fmla="*/ 1685 w 2311"/>
                <a:gd name="T17" fmla="*/ 777 h 2451"/>
                <a:gd name="T18" fmla="*/ 2095 w 2311"/>
                <a:gd name="T19" fmla="*/ 766 h 2451"/>
                <a:gd name="T20" fmla="*/ 1749 w 2311"/>
                <a:gd name="T21" fmla="*/ 777 h 2451"/>
                <a:gd name="T22" fmla="*/ 1760 w 2311"/>
                <a:gd name="T23" fmla="*/ 2106 h 2451"/>
                <a:gd name="T24" fmla="*/ 2106 w 2311"/>
                <a:gd name="T25" fmla="*/ 2095 h 2451"/>
                <a:gd name="T26" fmla="*/ 2095 w 2311"/>
                <a:gd name="T27" fmla="*/ 766 h 2451"/>
                <a:gd name="T28" fmla="*/ 1468 w 2311"/>
                <a:gd name="T29" fmla="*/ 1198 h 2451"/>
                <a:gd name="T30" fmla="*/ 1393 w 2311"/>
                <a:gd name="T31" fmla="*/ 2170 h 2451"/>
                <a:gd name="T32" fmla="*/ 982 w 2311"/>
                <a:gd name="T33" fmla="*/ 2095 h 2451"/>
                <a:gd name="T34" fmla="*/ 1058 w 2311"/>
                <a:gd name="T35" fmla="*/ 1123 h 2451"/>
                <a:gd name="T36" fmla="*/ 1393 w 2311"/>
                <a:gd name="T37" fmla="*/ 1187 h 2451"/>
                <a:gd name="T38" fmla="*/ 1047 w 2311"/>
                <a:gd name="T39" fmla="*/ 1198 h 2451"/>
                <a:gd name="T40" fmla="*/ 1058 w 2311"/>
                <a:gd name="T41" fmla="*/ 2106 h 2451"/>
                <a:gd name="T42" fmla="*/ 1404 w 2311"/>
                <a:gd name="T43" fmla="*/ 2095 h 2451"/>
                <a:gd name="T44" fmla="*/ 1393 w 2311"/>
                <a:gd name="T45" fmla="*/ 1187 h 2451"/>
                <a:gd name="T46" fmla="*/ 280 w 2311"/>
                <a:gd name="T47" fmla="*/ 1479 h 2451"/>
                <a:gd name="T48" fmla="*/ 691 w 2311"/>
                <a:gd name="T49" fmla="*/ 1404 h 2451"/>
                <a:gd name="T50" fmla="*/ 766 w 2311"/>
                <a:gd name="T51" fmla="*/ 2095 h 2451"/>
                <a:gd name="T52" fmla="*/ 355 w 2311"/>
                <a:gd name="T53" fmla="*/ 2170 h 2451"/>
                <a:gd name="T54" fmla="*/ 345 w 2311"/>
                <a:gd name="T55" fmla="*/ 2095 h 2451"/>
                <a:gd name="T56" fmla="*/ 691 w 2311"/>
                <a:gd name="T57" fmla="*/ 2106 h 2451"/>
                <a:gd name="T58" fmla="*/ 702 w 2311"/>
                <a:gd name="T59" fmla="*/ 1479 h 2451"/>
                <a:gd name="T60" fmla="*/ 355 w 2311"/>
                <a:gd name="T61" fmla="*/ 1468 h 2451"/>
                <a:gd name="T62" fmla="*/ 345 w 2311"/>
                <a:gd name="T63" fmla="*/ 2095 h 2451"/>
                <a:gd name="T64" fmla="*/ 528 w 2311"/>
                <a:gd name="T65" fmla="*/ 1175 h 2451"/>
                <a:gd name="T66" fmla="*/ 1428 w 2311"/>
                <a:gd name="T67" fmla="*/ 69 h 2451"/>
                <a:gd name="T68" fmla="*/ 1457 w 2311"/>
                <a:gd name="T69" fmla="*/ 0 h 2451"/>
                <a:gd name="T70" fmla="*/ 1889 w 2311"/>
                <a:gd name="T71" fmla="*/ 40 h 2451"/>
                <a:gd name="T72" fmla="*/ 1864 w 2311"/>
                <a:gd name="T73" fmla="*/ 470 h 2451"/>
                <a:gd name="T74" fmla="*/ 1714 w 2311"/>
                <a:gd name="T75" fmla="*/ 355 h 2451"/>
                <a:gd name="T76" fmla="*/ 556 w 2311"/>
                <a:gd name="T77" fmla="*/ 1245 h 2451"/>
                <a:gd name="T78" fmla="*/ 841 w 2311"/>
                <a:gd name="T79" fmla="*/ 953 h 2451"/>
                <a:gd name="T80" fmla="*/ 1739 w 2311"/>
                <a:gd name="T81" fmla="*/ 290 h 2451"/>
                <a:gd name="T82" fmla="*/ 1825 w 2311"/>
                <a:gd name="T83" fmla="*/ 64 h 2451"/>
                <a:gd name="T84" fmla="*/ 1599 w 2311"/>
                <a:gd name="T85" fmla="*/ 149 h 2451"/>
                <a:gd name="T86" fmla="*/ 1599 w 2311"/>
                <a:gd name="T87" fmla="*/ 195 h 2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11" h="2451">
                  <a:moveTo>
                    <a:pt x="2311" y="2419"/>
                  </a:moveTo>
                  <a:cubicBezTo>
                    <a:pt x="2311" y="2437"/>
                    <a:pt x="2296" y="2451"/>
                    <a:pt x="2278" y="2451"/>
                  </a:cubicBezTo>
                  <a:cubicBezTo>
                    <a:pt x="32" y="2451"/>
                    <a:pt x="32" y="2451"/>
                    <a:pt x="32" y="2451"/>
                  </a:cubicBezTo>
                  <a:cubicBezTo>
                    <a:pt x="14" y="2451"/>
                    <a:pt x="0" y="2437"/>
                    <a:pt x="0" y="2419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54"/>
                    <a:pt x="14" y="140"/>
                    <a:pt x="32" y="140"/>
                  </a:cubicBezTo>
                  <a:cubicBezTo>
                    <a:pt x="49" y="140"/>
                    <a:pt x="64" y="154"/>
                    <a:pt x="64" y="172"/>
                  </a:cubicBezTo>
                  <a:cubicBezTo>
                    <a:pt x="64" y="2387"/>
                    <a:pt x="64" y="2387"/>
                    <a:pt x="64" y="2387"/>
                  </a:cubicBezTo>
                  <a:cubicBezTo>
                    <a:pt x="2278" y="2387"/>
                    <a:pt x="2278" y="2387"/>
                    <a:pt x="2278" y="2387"/>
                  </a:cubicBezTo>
                  <a:cubicBezTo>
                    <a:pt x="2296" y="2387"/>
                    <a:pt x="2311" y="2401"/>
                    <a:pt x="2311" y="2419"/>
                  </a:cubicBezTo>
                  <a:close/>
                  <a:moveTo>
                    <a:pt x="1760" y="702"/>
                  </a:moveTo>
                  <a:cubicBezTo>
                    <a:pt x="2095" y="702"/>
                    <a:pt x="2095" y="702"/>
                    <a:pt x="2095" y="702"/>
                  </a:cubicBezTo>
                  <a:cubicBezTo>
                    <a:pt x="2136" y="702"/>
                    <a:pt x="2170" y="735"/>
                    <a:pt x="2170" y="777"/>
                  </a:cubicBezTo>
                  <a:cubicBezTo>
                    <a:pt x="2170" y="2095"/>
                    <a:pt x="2170" y="2095"/>
                    <a:pt x="2170" y="2095"/>
                  </a:cubicBezTo>
                  <a:cubicBezTo>
                    <a:pt x="2170" y="2137"/>
                    <a:pt x="2136" y="2170"/>
                    <a:pt x="2095" y="2170"/>
                  </a:cubicBezTo>
                  <a:cubicBezTo>
                    <a:pt x="1760" y="2170"/>
                    <a:pt x="1760" y="2170"/>
                    <a:pt x="1760" y="2170"/>
                  </a:cubicBezTo>
                  <a:cubicBezTo>
                    <a:pt x="1718" y="2170"/>
                    <a:pt x="1685" y="2137"/>
                    <a:pt x="1685" y="2095"/>
                  </a:cubicBezTo>
                  <a:cubicBezTo>
                    <a:pt x="1685" y="777"/>
                    <a:pt x="1685" y="777"/>
                    <a:pt x="1685" y="777"/>
                  </a:cubicBezTo>
                  <a:cubicBezTo>
                    <a:pt x="1685" y="735"/>
                    <a:pt x="1718" y="702"/>
                    <a:pt x="1760" y="702"/>
                  </a:cubicBezTo>
                  <a:close/>
                  <a:moveTo>
                    <a:pt x="2095" y="766"/>
                  </a:moveTo>
                  <a:cubicBezTo>
                    <a:pt x="1760" y="766"/>
                    <a:pt x="1760" y="766"/>
                    <a:pt x="1760" y="766"/>
                  </a:cubicBezTo>
                  <a:cubicBezTo>
                    <a:pt x="1754" y="766"/>
                    <a:pt x="1749" y="771"/>
                    <a:pt x="1749" y="777"/>
                  </a:cubicBezTo>
                  <a:cubicBezTo>
                    <a:pt x="1749" y="2095"/>
                    <a:pt x="1749" y="2095"/>
                    <a:pt x="1749" y="2095"/>
                  </a:cubicBezTo>
                  <a:cubicBezTo>
                    <a:pt x="1749" y="2101"/>
                    <a:pt x="1754" y="2106"/>
                    <a:pt x="1760" y="2106"/>
                  </a:cubicBezTo>
                  <a:cubicBezTo>
                    <a:pt x="2095" y="2106"/>
                    <a:pt x="2095" y="2106"/>
                    <a:pt x="2095" y="2106"/>
                  </a:cubicBezTo>
                  <a:cubicBezTo>
                    <a:pt x="2101" y="2106"/>
                    <a:pt x="2106" y="2101"/>
                    <a:pt x="2106" y="2095"/>
                  </a:cubicBezTo>
                  <a:cubicBezTo>
                    <a:pt x="2106" y="777"/>
                    <a:pt x="2106" y="777"/>
                    <a:pt x="2106" y="777"/>
                  </a:cubicBezTo>
                  <a:cubicBezTo>
                    <a:pt x="2106" y="771"/>
                    <a:pt x="2101" y="766"/>
                    <a:pt x="2095" y="766"/>
                  </a:cubicBezTo>
                  <a:close/>
                  <a:moveTo>
                    <a:pt x="1393" y="1123"/>
                  </a:moveTo>
                  <a:cubicBezTo>
                    <a:pt x="1434" y="1123"/>
                    <a:pt x="1468" y="1157"/>
                    <a:pt x="1468" y="1198"/>
                  </a:cubicBezTo>
                  <a:cubicBezTo>
                    <a:pt x="1468" y="2095"/>
                    <a:pt x="1468" y="2095"/>
                    <a:pt x="1468" y="2095"/>
                  </a:cubicBezTo>
                  <a:cubicBezTo>
                    <a:pt x="1468" y="2137"/>
                    <a:pt x="1434" y="2170"/>
                    <a:pt x="1393" y="2170"/>
                  </a:cubicBezTo>
                  <a:cubicBezTo>
                    <a:pt x="1058" y="2170"/>
                    <a:pt x="1058" y="2170"/>
                    <a:pt x="1058" y="2170"/>
                  </a:cubicBezTo>
                  <a:cubicBezTo>
                    <a:pt x="1016" y="2170"/>
                    <a:pt x="982" y="2137"/>
                    <a:pt x="982" y="2095"/>
                  </a:cubicBezTo>
                  <a:cubicBezTo>
                    <a:pt x="982" y="1198"/>
                    <a:pt x="982" y="1198"/>
                    <a:pt x="982" y="1198"/>
                  </a:cubicBezTo>
                  <a:cubicBezTo>
                    <a:pt x="982" y="1157"/>
                    <a:pt x="1016" y="1123"/>
                    <a:pt x="1058" y="1123"/>
                  </a:cubicBezTo>
                  <a:lnTo>
                    <a:pt x="1393" y="1123"/>
                  </a:lnTo>
                  <a:close/>
                  <a:moveTo>
                    <a:pt x="1393" y="1187"/>
                  </a:moveTo>
                  <a:cubicBezTo>
                    <a:pt x="1058" y="1187"/>
                    <a:pt x="1058" y="1187"/>
                    <a:pt x="1058" y="1187"/>
                  </a:cubicBezTo>
                  <a:cubicBezTo>
                    <a:pt x="1052" y="1187"/>
                    <a:pt x="1047" y="1192"/>
                    <a:pt x="1047" y="1198"/>
                  </a:cubicBezTo>
                  <a:cubicBezTo>
                    <a:pt x="1047" y="2095"/>
                    <a:pt x="1047" y="2095"/>
                    <a:pt x="1047" y="2095"/>
                  </a:cubicBezTo>
                  <a:cubicBezTo>
                    <a:pt x="1047" y="2101"/>
                    <a:pt x="1052" y="2106"/>
                    <a:pt x="1058" y="2106"/>
                  </a:cubicBezTo>
                  <a:cubicBezTo>
                    <a:pt x="1393" y="2106"/>
                    <a:pt x="1393" y="2106"/>
                    <a:pt x="1393" y="2106"/>
                  </a:cubicBezTo>
                  <a:cubicBezTo>
                    <a:pt x="1399" y="2106"/>
                    <a:pt x="1404" y="2101"/>
                    <a:pt x="1404" y="2095"/>
                  </a:cubicBezTo>
                  <a:cubicBezTo>
                    <a:pt x="1404" y="1198"/>
                    <a:pt x="1404" y="1198"/>
                    <a:pt x="1404" y="1198"/>
                  </a:cubicBezTo>
                  <a:cubicBezTo>
                    <a:pt x="1404" y="1192"/>
                    <a:pt x="1399" y="1187"/>
                    <a:pt x="1393" y="1187"/>
                  </a:cubicBezTo>
                  <a:close/>
                  <a:moveTo>
                    <a:pt x="280" y="2095"/>
                  </a:moveTo>
                  <a:cubicBezTo>
                    <a:pt x="280" y="1479"/>
                    <a:pt x="280" y="1479"/>
                    <a:pt x="280" y="1479"/>
                  </a:cubicBezTo>
                  <a:cubicBezTo>
                    <a:pt x="280" y="1437"/>
                    <a:pt x="314" y="1404"/>
                    <a:pt x="355" y="1404"/>
                  </a:cubicBezTo>
                  <a:cubicBezTo>
                    <a:pt x="691" y="1404"/>
                    <a:pt x="691" y="1404"/>
                    <a:pt x="691" y="1404"/>
                  </a:cubicBezTo>
                  <a:cubicBezTo>
                    <a:pt x="732" y="1404"/>
                    <a:pt x="766" y="1437"/>
                    <a:pt x="766" y="1479"/>
                  </a:cubicBezTo>
                  <a:cubicBezTo>
                    <a:pt x="766" y="2095"/>
                    <a:pt x="766" y="2095"/>
                    <a:pt x="766" y="2095"/>
                  </a:cubicBezTo>
                  <a:cubicBezTo>
                    <a:pt x="766" y="2137"/>
                    <a:pt x="732" y="2170"/>
                    <a:pt x="691" y="2170"/>
                  </a:cubicBezTo>
                  <a:cubicBezTo>
                    <a:pt x="355" y="2170"/>
                    <a:pt x="355" y="2170"/>
                    <a:pt x="355" y="2170"/>
                  </a:cubicBezTo>
                  <a:cubicBezTo>
                    <a:pt x="314" y="2170"/>
                    <a:pt x="280" y="2137"/>
                    <a:pt x="280" y="2095"/>
                  </a:cubicBezTo>
                  <a:close/>
                  <a:moveTo>
                    <a:pt x="345" y="2095"/>
                  </a:moveTo>
                  <a:cubicBezTo>
                    <a:pt x="345" y="2101"/>
                    <a:pt x="350" y="2106"/>
                    <a:pt x="355" y="2106"/>
                  </a:cubicBezTo>
                  <a:cubicBezTo>
                    <a:pt x="691" y="2106"/>
                    <a:pt x="691" y="2106"/>
                    <a:pt x="691" y="2106"/>
                  </a:cubicBezTo>
                  <a:cubicBezTo>
                    <a:pt x="697" y="2106"/>
                    <a:pt x="702" y="2101"/>
                    <a:pt x="702" y="2095"/>
                  </a:cubicBezTo>
                  <a:cubicBezTo>
                    <a:pt x="702" y="1479"/>
                    <a:pt x="702" y="1479"/>
                    <a:pt x="702" y="1479"/>
                  </a:cubicBezTo>
                  <a:cubicBezTo>
                    <a:pt x="702" y="1473"/>
                    <a:pt x="697" y="1468"/>
                    <a:pt x="691" y="1468"/>
                  </a:cubicBezTo>
                  <a:cubicBezTo>
                    <a:pt x="355" y="1468"/>
                    <a:pt x="355" y="1468"/>
                    <a:pt x="355" y="1468"/>
                  </a:cubicBezTo>
                  <a:cubicBezTo>
                    <a:pt x="350" y="1468"/>
                    <a:pt x="345" y="1473"/>
                    <a:pt x="345" y="1479"/>
                  </a:cubicBezTo>
                  <a:lnTo>
                    <a:pt x="345" y="2095"/>
                  </a:lnTo>
                  <a:close/>
                  <a:moveTo>
                    <a:pt x="526" y="1231"/>
                  </a:moveTo>
                  <a:cubicBezTo>
                    <a:pt x="511" y="1215"/>
                    <a:pt x="512" y="1191"/>
                    <a:pt x="528" y="1175"/>
                  </a:cubicBezTo>
                  <a:cubicBezTo>
                    <a:pt x="1531" y="172"/>
                    <a:pt x="1531" y="172"/>
                    <a:pt x="1531" y="172"/>
                  </a:cubicBezTo>
                  <a:cubicBezTo>
                    <a:pt x="1428" y="69"/>
                    <a:pt x="1428" y="69"/>
                    <a:pt x="1428" y="69"/>
                  </a:cubicBezTo>
                  <a:cubicBezTo>
                    <a:pt x="1416" y="58"/>
                    <a:pt x="1413" y="40"/>
                    <a:pt x="1419" y="25"/>
                  </a:cubicBezTo>
                  <a:cubicBezTo>
                    <a:pt x="1425" y="10"/>
                    <a:pt x="1440" y="0"/>
                    <a:pt x="1457" y="0"/>
                  </a:cubicBezTo>
                  <a:cubicBezTo>
                    <a:pt x="1849" y="0"/>
                    <a:pt x="1849" y="0"/>
                    <a:pt x="1849" y="0"/>
                  </a:cubicBezTo>
                  <a:cubicBezTo>
                    <a:pt x="1871" y="0"/>
                    <a:pt x="1889" y="18"/>
                    <a:pt x="1889" y="40"/>
                  </a:cubicBezTo>
                  <a:cubicBezTo>
                    <a:pt x="1889" y="432"/>
                    <a:pt x="1889" y="432"/>
                    <a:pt x="1889" y="432"/>
                  </a:cubicBezTo>
                  <a:cubicBezTo>
                    <a:pt x="1889" y="449"/>
                    <a:pt x="1879" y="464"/>
                    <a:pt x="1864" y="470"/>
                  </a:cubicBezTo>
                  <a:cubicBezTo>
                    <a:pt x="1849" y="476"/>
                    <a:pt x="1831" y="473"/>
                    <a:pt x="1820" y="461"/>
                  </a:cubicBezTo>
                  <a:cubicBezTo>
                    <a:pt x="1714" y="355"/>
                    <a:pt x="1714" y="355"/>
                    <a:pt x="1714" y="355"/>
                  </a:cubicBezTo>
                  <a:cubicBezTo>
                    <a:pt x="582" y="1236"/>
                    <a:pt x="582" y="1236"/>
                    <a:pt x="582" y="1236"/>
                  </a:cubicBezTo>
                  <a:cubicBezTo>
                    <a:pt x="574" y="1242"/>
                    <a:pt x="565" y="1245"/>
                    <a:pt x="556" y="1245"/>
                  </a:cubicBezTo>
                  <a:cubicBezTo>
                    <a:pt x="545" y="1245"/>
                    <a:pt x="534" y="1240"/>
                    <a:pt x="526" y="1231"/>
                  </a:cubicBezTo>
                  <a:close/>
                  <a:moveTo>
                    <a:pt x="841" y="953"/>
                  </a:moveTo>
                  <a:cubicBezTo>
                    <a:pt x="1697" y="287"/>
                    <a:pt x="1697" y="287"/>
                    <a:pt x="1697" y="287"/>
                  </a:cubicBezTo>
                  <a:cubicBezTo>
                    <a:pt x="1710" y="277"/>
                    <a:pt x="1728" y="278"/>
                    <a:pt x="1739" y="290"/>
                  </a:cubicBezTo>
                  <a:cubicBezTo>
                    <a:pt x="1825" y="375"/>
                    <a:pt x="1825" y="375"/>
                    <a:pt x="1825" y="375"/>
                  </a:cubicBezTo>
                  <a:cubicBezTo>
                    <a:pt x="1825" y="64"/>
                    <a:pt x="1825" y="64"/>
                    <a:pt x="1825" y="64"/>
                  </a:cubicBezTo>
                  <a:cubicBezTo>
                    <a:pt x="1514" y="64"/>
                    <a:pt x="1514" y="64"/>
                    <a:pt x="1514" y="64"/>
                  </a:cubicBezTo>
                  <a:cubicBezTo>
                    <a:pt x="1599" y="149"/>
                    <a:pt x="1599" y="149"/>
                    <a:pt x="1599" y="149"/>
                  </a:cubicBezTo>
                  <a:cubicBezTo>
                    <a:pt x="1605" y="156"/>
                    <a:pt x="1608" y="164"/>
                    <a:pt x="1608" y="172"/>
                  </a:cubicBezTo>
                  <a:cubicBezTo>
                    <a:pt x="1608" y="181"/>
                    <a:pt x="1605" y="189"/>
                    <a:pt x="1599" y="195"/>
                  </a:cubicBezTo>
                  <a:lnTo>
                    <a:pt x="841" y="9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092068" y="2748027"/>
              <a:ext cx="149106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CRESCIMENTO DE</a:t>
              </a:r>
            </a:p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NEGÓCIO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092037" y="3118695"/>
              <a:ext cx="1491126" cy="4501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gu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28361" y="1579033"/>
            <a:ext cx="2487278" cy="2487278"/>
            <a:chOff x="3328361" y="1579033"/>
            <a:chExt cx="2487278" cy="2487278"/>
          </a:xfrm>
        </p:grpSpPr>
        <p:sp>
          <p:nvSpPr>
            <p:cNvPr id="5" name="Oval 4"/>
            <p:cNvSpPr/>
            <p:nvPr/>
          </p:nvSpPr>
          <p:spPr>
            <a:xfrm>
              <a:off x="3328361" y="1579033"/>
              <a:ext cx="2487278" cy="2487278"/>
            </a:xfrm>
            <a:prstGeom prst="ellipse">
              <a:avLst/>
            </a:prstGeom>
            <a:solidFill>
              <a:srgbClr val="EC0000">
                <a:alpha val="80000"/>
              </a:srgbClr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4352693" y="1929046"/>
              <a:ext cx="438614" cy="577106"/>
            </a:xfrm>
            <a:custGeom>
              <a:avLst/>
              <a:gdLst>
                <a:gd name="T0" fmla="*/ 1896 w 2057"/>
                <a:gd name="T1" fmla="*/ 1661 h 2703"/>
                <a:gd name="T2" fmla="*/ 1766 w 2057"/>
                <a:gd name="T3" fmla="*/ 1375 h 2703"/>
                <a:gd name="T4" fmla="*/ 864 w 2057"/>
                <a:gd name="T5" fmla="*/ 1267 h 2703"/>
                <a:gd name="T6" fmla="*/ 519 w 2057"/>
                <a:gd name="T7" fmla="*/ 673 h 2703"/>
                <a:gd name="T8" fmla="*/ 346 w 2057"/>
                <a:gd name="T9" fmla="*/ 1235 h 2703"/>
                <a:gd name="T10" fmla="*/ 346 w 2057"/>
                <a:gd name="T11" fmla="*/ 2703 h 2703"/>
                <a:gd name="T12" fmla="*/ 1718 w 2057"/>
                <a:gd name="T13" fmla="*/ 2563 h 2703"/>
                <a:gd name="T14" fmla="*/ 1858 w 2057"/>
                <a:gd name="T15" fmla="*/ 2282 h 2703"/>
                <a:gd name="T16" fmla="*/ 1957 w 2057"/>
                <a:gd name="T17" fmla="*/ 1969 h 2703"/>
                <a:gd name="T18" fmla="*/ 65 w 2057"/>
                <a:gd name="T19" fmla="*/ 2639 h 2703"/>
                <a:gd name="T20" fmla="*/ 281 w 2057"/>
                <a:gd name="T21" fmla="*/ 2639 h 2703"/>
                <a:gd name="T22" fmla="*/ 1874 w 2057"/>
                <a:gd name="T23" fmla="*/ 1548 h 2703"/>
                <a:gd name="T24" fmla="*/ 1220 w 2057"/>
                <a:gd name="T25" fmla="*/ 1624 h 2703"/>
                <a:gd name="T26" fmla="*/ 1766 w 2057"/>
                <a:gd name="T27" fmla="*/ 1440 h 2703"/>
                <a:gd name="T28" fmla="*/ 583 w 2057"/>
                <a:gd name="T29" fmla="*/ 1440 h 2703"/>
                <a:gd name="T30" fmla="*/ 800 w 2057"/>
                <a:gd name="T31" fmla="*/ 846 h 2703"/>
                <a:gd name="T32" fmla="*/ 800 w 2057"/>
                <a:gd name="T33" fmla="*/ 1798 h 2703"/>
                <a:gd name="T34" fmla="*/ 1162 w 2057"/>
                <a:gd name="T35" fmla="*/ 1440 h 2703"/>
                <a:gd name="T36" fmla="*/ 1141 w 2057"/>
                <a:gd name="T37" fmla="*/ 1474 h 2703"/>
                <a:gd name="T38" fmla="*/ 1127 w 2057"/>
                <a:gd name="T39" fmla="*/ 1515 h 2703"/>
                <a:gd name="T40" fmla="*/ 1130 w 2057"/>
                <a:gd name="T41" fmla="*/ 1590 h 2703"/>
                <a:gd name="T42" fmla="*/ 1150 w 2057"/>
                <a:gd name="T43" fmla="*/ 1638 h 2703"/>
                <a:gd name="T44" fmla="*/ 1156 w 2057"/>
                <a:gd name="T45" fmla="*/ 1656 h 2703"/>
                <a:gd name="T46" fmla="*/ 1056 w 2057"/>
                <a:gd name="T47" fmla="*/ 1969 h 2703"/>
                <a:gd name="T48" fmla="*/ 1013 w 2057"/>
                <a:gd name="T49" fmla="*/ 2013 h 2703"/>
                <a:gd name="T50" fmla="*/ 996 w 2057"/>
                <a:gd name="T51" fmla="*/ 2045 h 2703"/>
                <a:gd name="T52" fmla="*/ 983 w 2057"/>
                <a:gd name="T53" fmla="*/ 2110 h 2703"/>
                <a:gd name="T54" fmla="*/ 1162 w 2057"/>
                <a:gd name="T55" fmla="*/ 2282 h 2703"/>
                <a:gd name="T56" fmla="*/ 1141 w 2057"/>
                <a:gd name="T57" fmla="*/ 2316 h 2703"/>
                <a:gd name="T58" fmla="*/ 1127 w 2057"/>
                <a:gd name="T59" fmla="*/ 2358 h 2703"/>
                <a:gd name="T60" fmla="*/ 1130 w 2057"/>
                <a:gd name="T61" fmla="*/ 2432 h 2703"/>
                <a:gd name="T62" fmla="*/ 1150 w 2057"/>
                <a:gd name="T63" fmla="*/ 2481 h 2703"/>
                <a:gd name="T64" fmla="*/ 346 w 2057"/>
                <a:gd name="T65" fmla="*/ 2499 h 2703"/>
                <a:gd name="T66" fmla="*/ 1718 w 2057"/>
                <a:gd name="T67" fmla="*/ 2499 h 2703"/>
                <a:gd name="T68" fmla="*/ 1188 w 2057"/>
                <a:gd name="T69" fmla="*/ 2390 h 2703"/>
                <a:gd name="T70" fmla="*/ 1794 w 2057"/>
                <a:gd name="T71" fmla="*/ 2314 h 2703"/>
                <a:gd name="T72" fmla="*/ 1858 w 2057"/>
                <a:gd name="T73" fmla="*/ 2218 h 2703"/>
                <a:gd name="T74" fmla="*/ 1156 w 2057"/>
                <a:gd name="T75" fmla="*/ 2218 h 2703"/>
                <a:gd name="T76" fmla="*/ 1156 w 2057"/>
                <a:gd name="T77" fmla="*/ 2002 h 2703"/>
                <a:gd name="T78" fmla="*/ 1858 w 2057"/>
                <a:gd name="T79" fmla="*/ 1937 h 2703"/>
                <a:gd name="T80" fmla="*/ 1047 w 2057"/>
                <a:gd name="T81" fmla="*/ 1829 h 2703"/>
                <a:gd name="T82" fmla="*/ 1766 w 2057"/>
                <a:gd name="T83" fmla="*/ 1721 h 2703"/>
                <a:gd name="T84" fmla="*/ 1966 w 2057"/>
                <a:gd name="T85" fmla="*/ 1829 h 2703"/>
                <a:gd name="T86" fmla="*/ 1276 w 2057"/>
                <a:gd name="T87" fmla="*/ 972 h 2703"/>
                <a:gd name="T88" fmla="*/ 1507 w 2057"/>
                <a:gd name="T89" fmla="*/ 0 h 2703"/>
                <a:gd name="T90" fmla="*/ 972 w 2057"/>
                <a:gd name="T91" fmla="*/ 1193 h 2703"/>
                <a:gd name="T92" fmla="*/ 1992 w 2057"/>
                <a:gd name="T93" fmla="*/ 509 h 2703"/>
                <a:gd name="T94" fmla="*/ 1269 w 2057"/>
                <a:gd name="T95" fmla="*/ 898 h 2703"/>
                <a:gd name="T96" fmla="*/ 1121 w 2057"/>
                <a:gd name="T97" fmla="*/ 779 h 2703"/>
                <a:gd name="T98" fmla="*/ 1288 w 2057"/>
                <a:gd name="T99" fmla="*/ 384 h 2703"/>
                <a:gd name="T100" fmla="*/ 1775 w 2057"/>
                <a:gd name="T101" fmla="*/ 384 h 2703"/>
                <a:gd name="T102" fmla="*/ 1288 w 2057"/>
                <a:gd name="T103" fmla="*/ 470 h 2703"/>
                <a:gd name="T104" fmla="*/ 1775 w 2057"/>
                <a:gd name="T105" fmla="*/ 685 h 2703"/>
                <a:gd name="T106" fmla="*/ 1775 w 2057"/>
                <a:gd name="T107" fmla="*/ 621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57" h="2703">
                  <a:moveTo>
                    <a:pt x="2030" y="1829"/>
                  </a:moveTo>
                  <a:cubicBezTo>
                    <a:pt x="2030" y="1783"/>
                    <a:pt x="2012" y="1739"/>
                    <a:pt x="1980" y="1707"/>
                  </a:cubicBezTo>
                  <a:cubicBezTo>
                    <a:pt x="1956" y="1683"/>
                    <a:pt x="1927" y="1668"/>
                    <a:pt x="1896" y="1661"/>
                  </a:cubicBezTo>
                  <a:cubicBezTo>
                    <a:pt x="1922" y="1630"/>
                    <a:pt x="1939" y="1591"/>
                    <a:pt x="1939" y="1548"/>
                  </a:cubicBezTo>
                  <a:cubicBezTo>
                    <a:pt x="1939" y="1502"/>
                    <a:pt x="1921" y="1459"/>
                    <a:pt x="1888" y="1426"/>
                  </a:cubicBezTo>
                  <a:cubicBezTo>
                    <a:pt x="1856" y="1393"/>
                    <a:pt x="1812" y="1375"/>
                    <a:pt x="1766" y="1375"/>
                  </a:cubicBezTo>
                  <a:cubicBezTo>
                    <a:pt x="1296" y="1375"/>
                    <a:pt x="1296" y="1375"/>
                    <a:pt x="1296" y="1375"/>
                  </a:cubicBezTo>
                  <a:cubicBezTo>
                    <a:pt x="864" y="1375"/>
                    <a:pt x="864" y="1375"/>
                    <a:pt x="864" y="1375"/>
                  </a:cubicBezTo>
                  <a:cubicBezTo>
                    <a:pt x="864" y="1267"/>
                    <a:pt x="864" y="1267"/>
                    <a:pt x="864" y="1267"/>
                  </a:cubicBezTo>
                  <a:cubicBezTo>
                    <a:pt x="864" y="846"/>
                    <a:pt x="864" y="846"/>
                    <a:pt x="864" y="846"/>
                  </a:cubicBezTo>
                  <a:cubicBezTo>
                    <a:pt x="864" y="751"/>
                    <a:pt x="787" y="673"/>
                    <a:pt x="692" y="673"/>
                  </a:cubicBezTo>
                  <a:cubicBezTo>
                    <a:pt x="519" y="673"/>
                    <a:pt x="519" y="673"/>
                    <a:pt x="519" y="673"/>
                  </a:cubicBezTo>
                  <a:cubicBezTo>
                    <a:pt x="519" y="1375"/>
                    <a:pt x="519" y="1375"/>
                    <a:pt x="519" y="1375"/>
                  </a:cubicBezTo>
                  <a:cubicBezTo>
                    <a:pt x="346" y="1375"/>
                    <a:pt x="346" y="1375"/>
                    <a:pt x="346" y="1375"/>
                  </a:cubicBezTo>
                  <a:cubicBezTo>
                    <a:pt x="346" y="1235"/>
                    <a:pt x="346" y="1235"/>
                    <a:pt x="346" y="1235"/>
                  </a:cubicBezTo>
                  <a:cubicBezTo>
                    <a:pt x="0" y="1235"/>
                    <a:pt x="0" y="1235"/>
                    <a:pt x="0" y="1235"/>
                  </a:cubicBezTo>
                  <a:cubicBezTo>
                    <a:pt x="0" y="2703"/>
                    <a:pt x="0" y="2703"/>
                    <a:pt x="0" y="2703"/>
                  </a:cubicBezTo>
                  <a:cubicBezTo>
                    <a:pt x="346" y="2703"/>
                    <a:pt x="346" y="2703"/>
                    <a:pt x="346" y="2703"/>
                  </a:cubicBezTo>
                  <a:cubicBezTo>
                    <a:pt x="346" y="2563"/>
                    <a:pt x="346" y="2563"/>
                    <a:pt x="346" y="2563"/>
                  </a:cubicBezTo>
                  <a:cubicBezTo>
                    <a:pt x="1296" y="2563"/>
                    <a:pt x="1296" y="2563"/>
                    <a:pt x="1296" y="2563"/>
                  </a:cubicBezTo>
                  <a:cubicBezTo>
                    <a:pt x="1718" y="2563"/>
                    <a:pt x="1718" y="2563"/>
                    <a:pt x="1718" y="2563"/>
                  </a:cubicBezTo>
                  <a:cubicBezTo>
                    <a:pt x="1813" y="2563"/>
                    <a:pt x="1890" y="2486"/>
                    <a:pt x="1890" y="2390"/>
                  </a:cubicBezTo>
                  <a:cubicBezTo>
                    <a:pt x="1890" y="2350"/>
                    <a:pt x="1876" y="2313"/>
                    <a:pt x="1851" y="2282"/>
                  </a:cubicBezTo>
                  <a:cubicBezTo>
                    <a:pt x="1858" y="2282"/>
                    <a:pt x="1858" y="2282"/>
                    <a:pt x="1858" y="2282"/>
                  </a:cubicBezTo>
                  <a:cubicBezTo>
                    <a:pt x="1953" y="2282"/>
                    <a:pt x="2030" y="2205"/>
                    <a:pt x="2030" y="2110"/>
                  </a:cubicBezTo>
                  <a:cubicBezTo>
                    <a:pt x="2030" y="2064"/>
                    <a:pt x="2012" y="2020"/>
                    <a:pt x="1980" y="1988"/>
                  </a:cubicBezTo>
                  <a:cubicBezTo>
                    <a:pt x="1973" y="1981"/>
                    <a:pt x="1965" y="1975"/>
                    <a:pt x="1957" y="1969"/>
                  </a:cubicBezTo>
                  <a:cubicBezTo>
                    <a:pt x="2001" y="1938"/>
                    <a:pt x="2030" y="1887"/>
                    <a:pt x="2030" y="1829"/>
                  </a:cubicBezTo>
                  <a:close/>
                  <a:moveTo>
                    <a:pt x="281" y="2639"/>
                  </a:moveTo>
                  <a:cubicBezTo>
                    <a:pt x="65" y="2639"/>
                    <a:pt x="65" y="2639"/>
                    <a:pt x="65" y="2639"/>
                  </a:cubicBezTo>
                  <a:cubicBezTo>
                    <a:pt x="65" y="1299"/>
                    <a:pt x="65" y="1299"/>
                    <a:pt x="65" y="1299"/>
                  </a:cubicBezTo>
                  <a:cubicBezTo>
                    <a:pt x="281" y="1299"/>
                    <a:pt x="281" y="1299"/>
                    <a:pt x="281" y="1299"/>
                  </a:cubicBezTo>
                  <a:lnTo>
                    <a:pt x="281" y="2639"/>
                  </a:lnTo>
                  <a:close/>
                  <a:moveTo>
                    <a:pt x="1766" y="1440"/>
                  </a:moveTo>
                  <a:cubicBezTo>
                    <a:pt x="1795" y="1440"/>
                    <a:pt x="1822" y="1451"/>
                    <a:pt x="1842" y="1472"/>
                  </a:cubicBezTo>
                  <a:cubicBezTo>
                    <a:pt x="1863" y="1492"/>
                    <a:pt x="1874" y="1519"/>
                    <a:pt x="1874" y="1548"/>
                  </a:cubicBezTo>
                  <a:cubicBezTo>
                    <a:pt x="1874" y="1608"/>
                    <a:pt x="1826" y="1656"/>
                    <a:pt x="1766" y="1656"/>
                  </a:cubicBezTo>
                  <a:cubicBezTo>
                    <a:pt x="1296" y="1656"/>
                    <a:pt x="1296" y="1656"/>
                    <a:pt x="1296" y="1656"/>
                  </a:cubicBezTo>
                  <a:cubicBezTo>
                    <a:pt x="1268" y="1656"/>
                    <a:pt x="1240" y="1645"/>
                    <a:pt x="1220" y="1624"/>
                  </a:cubicBezTo>
                  <a:cubicBezTo>
                    <a:pt x="1200" y="1604"/>
                    <a:pt x="1188" y="1577"/>
                    <a:pt x="1188" y="1548"/>
                  </a:cubicBezTo>
                  <a:cubicBezTo>
                    <a:pt x="1188" y="1488"/>
                    <a:pt x="1237" y="1440"/>
                    <a:pt x="1296" y="1440"/>
                  </a:cubicBezTo>
                  <a:lnTo>
                    <a:pt x="1766" y="1440"/>
                  </a:lnTo>
                  <a:close/>
                  <a:moveTo>
                    <a:pt x="346" y="2499"/>
                  </a:moveTo>
                  <a:cubicBezTo>
                    <a:pt x="346" y="1440"/>
                    <a:pt x="346" y="1440"/>
                    <a:pt x="346" y="1440"/>
                  </a:cubicBezTo>
                  <a:cubicBezTo>
                    <a:pt x="583" y="1440"/>
                    <a:pt x="583" y="1440"/>
                    <a:pt x="583" y="1440"/>
                  </a:cubicBezTo>
                  <a:cubicBezTo>
                    <a:pt x="583" y="738"/>
                    <a:pt x="583" y="738"/>
                    <a:pt x="583" y="738"/>
                  </a:cubicBezTo>
                  <a:cubicBezTo>
                    <a:pt x="692" y="738"/>
                    <a:pt x="692" y="738"/>
                    <a:pt x="692" y="738"/>
                  </a:cubicBezTo>
                  <a:cubicBezTo>
                    <a:pt x="751" y="738"/>
                    <a:pt x="800" y="786"/>
                    <a:pt x="800" y="846"/>
                  </a:cubicBezTo>
                  <a:cubicBezTo>
                    <a:pt x="800" y="1267"/>
                    <a:pt x="800" y="1267"/>
                    <a:pt x="800" y="1267"/>
                  </a:cubicBezTo>
                  <a:cubicBezTo>
                    <a:pt x="800" y="1440"/>
                    <a:pt x="800" y="1440"/>
                    <a:pt x="800" y="1440"/>
                  </a:cubicBezTo>
                  <a:cubicBezTo>
                    <a:pt x="800" y="1798"/>
                    <a:pt x="800" y="1798"/>
                    <a:pt x="800" y="1798"/>
                  </a:cubicBezTo>
                  <a:cubicBezTo>
                    <a:pt x="864" y="1798"/>
                    <a:pt x="864" y="1798"/>
                    <a:pt x="864" y="1798"/>
                  </a:cubicBezTo>
                  <a:cubicBezTo>
                    <a:pt x="864" y="1440"/>
                    <a:pt x="864" y="1440"/>
                    <a:pt x="864" y="1440"/>
                  </a:cubicBezTo>
                  <a:cubicBezTo>
                    <a:pt x="1162" y="1440"/>
                    <a:pt x="1162" y="1440"/>
                    <a:pt x="1162" y="1440"/>
                  </a:cubicBezTo>
                  <a:cubicBezTo>
                    <a:pt x="1160" y="1442"/>
                    <a:pt x="1159" y="1444"/>
                    <a:pt x="1157" y="1446"/>
                  </a:cubicBezTo>
                  <a:cubicBezTo>
                    <a:pt x="1155" y="1450"/>
                    <a:pt x="1153" y="1453"/>
                    <a:pt x="1151" y="1457"/>
                  </a:cubicBezTo>
                  <a:cubicBezTo>
                    <a:pt x="1147" y="1462"/>
                    <a:pt x="1144" y="1468"/>
                    <a:pt x="1141" y="1474"/>
                  </a:cubicBezTo>
                  <a:cubicBezTo>
                    <a:pt x="1139" y="1477"/>
                    <a:pt x="1138" y="1481"/>
                    <a:pt x="1136" y="1485"/>
                  </a:cubicBezTo>
                  <a:cubicBezTo>
                    <a:pt x="1134" y="1491"/>
                    <a:pt x="1132" y="1498"/>
                    <a:pt x="1130" y="1505"/>
                  </a:cubicBezTo>
                  <a:cubicBezTo>
                    <a:pt x="1129" y="1509"/>
                    <a:pt x="1128" y="1512"/>
                    <a:pt x="1127" y="1515"/>
                  </a:cubicBezTo>
                  <a:cubicBezTo>
                    <a:pt x="1125" y="1526"/>
                    <a:pt x="1124" y="1537"/>
                    <a:pt x="1124" y="1548"/>
                  </a:cubicBezTo>
                  <a:cubicBezTo>
                    <a:pt x="1124" y="1559"/>
                    <a:pt x="1125" y="1569"/>
                    <a:pt x="1127" y="1580"/>
                  </a:cubicBezTo>
                  <a:cubicBezTo>
                    <a:pt x="1128" y="1583"/>
                    <a:pt x="1129" y="1586"/>
                    <a:pt x="1130" y="1590"/>
                  </a:cubicBezTo>
                  <a:cubicBezTo>
                    <a:pt x="1131" y="1597"/>
                    <a:pt x="1133" y="1603"/>
                    <a:pt x="1136" y="1610"/>
                  </a:cubicBezTo>
                  <a:cubicBezTo>
                    <a:pt x="1137" y="1614"/>
                    <a:pt x="1139" y="1617"/>
                    <a:pt x="1141" y="1621"/>
                  </a:cubicBezTo>
                  <a:cubicBezTo>
                    <a:pt x="1144" y="1627"/>
                    <a:pt x="1147" y="1633"/>
                    <a:pt x="1150" y="1638"/>
                  </a:cubicBezTo>
                  <a:cubicBezTo>
                    <a:pt x="1152" y="1642"/>
                    <a:pt x="1155" y="1645"/>
                    <a:pt x="1157" y="1649"/>
                  </a:cubicBezTo>
                  <a:cubicBezTo>
                    <a:pt x="1159" y="1651"/>
                    <a:pt x="1160" y="1654"/>
                    <a:pt x="1162" y="1656"/>
                  </a:cubicBezTo>
                  <a:cubicBezTo>
                    <a:pt x="1156" y="1656"/>
                    <a:pt x="1156" y="1656"/>
                    <a:pt x="1156" y="1656"/>
                  </a:cubicBezTo>
                  <a:cubicBezTo>
                    <a:pt x="1061" y="1656"/>
                    <a:pt x="983" y="1734"/>
                    <a:pt x="983" y="1829"/>
                  </a:cubicBezTo>
                  <a:cubicBezTo>
                    <a:pt x="983" y="1875"/>
                    <a:pt x="1001" y="1918"/>
                    <a:pt x="1034" y="1950"/>
                  </a:cubicBezTo>
                  <a:cubicBezTo>
                    <a:pt x="1041" y="1957"/>
                    <a:pt x="1048" y="1964"/>
                    <a:pt x="1056" y="1969"/>
                  </a:cubicBezTo>
                  <a:cubicBezTo>
                    <a:pt x="1049" y="1974"/>
                    <a:pt x="1042" y="1980"/>
                    <a:pt x="1036" y="1986"/>
                  </a:cubicBezTo>
                  <a:cubicBezTo>
                    <a:pt x="1035" y="1987"/>
                    <a:pt x="1033" y="1989"/>
                    <a:pt x="1032" y="1990"/>
                  </a:cubicBezTo>
                  <a:cubicBezTo>
                    <a:pt x="1025" y="1997"/>
                    <a:pt x="1019" y="2005"/>
                    <a:pt x="1013" y="2013"/>
                  </a:cubicBezTo>
                  <a:cubicBezTo>
                    <a:pt x="1013" y="2014"/>
                    <a:pt x="1012" y="2014"/>
                    <a:pt x="1012" y="2015"/>
                  </a:cubicBezTo>
                  <a:cubicBezTo>
                    <a:pt x="1007" y="2023"/>
                    <a:pt x="1002" y="2031"/>
                    <a:pt x="998" y="2040"/>
                  </a:cubicBezTo>
                  <a:cubicBezTo>
                    <a:pt x="998" y="2041"/>
                    <a:pt x="997" y="2043"/>
                    <a:pt x="996" y="2045"/>
                  </a:cubicBezTo>
                  <a:cubicBezTo>
                    <a:pt x="992" y="2054"/>
                    <a:pt x="990" y="2063"/>
                    <a:pt x="987" y="2073"/>
                  </a:cubicBezTo>
                  <a:cubicBezTo>
                    <a:pt x="987" y="2075"/>
                    <a:pt x="987" y="2076"/>
                    <a:pt x="986" y="2078"/>
                  </a:cubicBezTo>
                  <a:cubicBezTo>
                    <a:pt x="984" y="2089"/>
                    <a:pt x="983" y="2099"/>
                    <a:pt x="983" y="2110"/>
                  </a:cubicBezTo>
                  <a:cubicBezTo>
                    <a:pt x="983" y="2156"/>
                    <a:pt x="1001" y="2199"/>
                    <a:pt x="1034" y="2232"/>
                  </a:cubicBezTo>
                  <a:cubicBezTo>
                    <a:pt x="1067" y="2264"/>
                    <a:pt x="1110" y="2282"/>
                    <a:pt x="1156" y="2282"/>
                  </a:cubicBezTo>
                  <a:cubicBezTo>
                    <a:pt x="1162" y="2282"/>
                    <a:pt x="1162" y="2282"/>
                    <a:pt x="1162" y="2282"/>
                  </a:cubicBezTo>
                  <a:cubicBezTo>
                    <a:pt x="1160" y="2284"/>
                    <a:pt x="1159" y="2287"/>
                    <a:pt x="1157" y="2289"/>
                  </a:cubicBezTo>
                  <a:cubicBezTo>
                    <a:pt x="1155" y="2292"/>
                    <a:pt x="1153" y="2296"/>
                    <a:pt x="1150" y="2299"/>
                  </a:cubicBezTo>
                  <a:cubicBezTo>
                    <a:pt x="1147" y="2305"/>
                    <a:pt x="1144" y="2310"/>
                    <a:pt x="1141" y="2316"/>
                  </a:cubicBezTo>
                  <a:cubicBezTo>
                    <a:pt x="1139" y="2320"/>
                    <a:pt x="1138" y="2323"/>
                    <a:pt x="1136" y="2327"/>
                  </a:cubicBezTo>
                  <a:cubicBezTo>
                    <a:pt x="1134" y="2334"/>
                    <a:pt x="1132" y="2341"/>
                    <a:pt x="1130" y="2348"/>
                  </a:cubicBezTo>
                  <a:cubicBezTo>
                    <a:pt x="1129" y="2351"/>
                    <a:pt x="1128" y="2354"/>
                    <a:pt x="1127" y="2358"/>
                  </a:cubicBezTo>
                  <a:cubicBezTo>
                    <a:pt x="1125" y="2368"/>
                    <a:pt x="1124" y="2379"/>
                    <a:pt x="1124" y="2390"/>
                  </a:cubicBezTo>
                  <a:cubicBezTo>
                    <a:pt x="1124" y="2401"/>
                    <a:pt x="1125" y="2412"/>
                    <a:pt x="1127" y="2422"/>
                  </a:cubicBezTo>
                  <a:cubicBezTo>
                    <a:pt x="1128" y="2425"/>
                    <a:pt x="1129" y="2428"/>
                    <a:pt x="1130" y="2432"/>
                  </a:cubicBezTo>
                  <a:cubicBezTo>
                    <a:pt x="1131" y="2439"/>
                    <a:pt x="1133" y="2446"/>
                    <a:pt x="1136" y="2452"/>
                  </a:cubicBezTo>
                  <a:cubicBezTo>
                    <a:pt x="1137" y="2456"/>
                    <a:pt x="1139" y="2460"/>
                    <a:pt x="1141" y="2463"/>
                  </a:cubicBezTo>
                  <a:cubicBezTo>
                    <a:pt x="1144" y="2469"/>
                    <a:pt x="1147" y="2475"/>
                    <a:pt x="1150" y="2481"/>
                  </a:cubicBezTo>
                  <a:cubicBezTo>
                    <a:pt x="1152" y="2484"/>
                    <a:pt x="1155" y="2488"/>
                    <a:pt x="1157" y="2491"/>
                  </a:cubicBezTo>
                  <a:cubicBezTo>
                    <a:pt x="1159" y="2494"/>
                    <a:pt x="1160" y="2496"/>
                    <a:pt x="1162" y="2499"/>
                  </a:cubicBezTo>
                  <a:lnTo>
                    <a:pt x="346" y="2499"/>
                  </a:lnTo>
                  <a:close/>
                  <a:moveTo>
                    <a:pt x="1794" y="2314"/>
                  </a:moveTo>
                  <a:cubicBezTo>
                    <a:pt x="1815" y="2334"/>
                    <a:pt x="1826" y="2362"/>
                    <a:pt x="1826" y="2390"/>
                  </a:cubicBezTo>
                  <a:cubicBezTo>
                    <a:pt x="1826" y="2450"/>
                    <a:pt x="1777" y="2499"/>
                    <a:pt x="1718" y="2499"/>
                  </a:cubicBezTo>
                  <a:cubicBezTo>
                    <a:pt x="1296" y="2499"/>
                    <a:pt x="1296" y="2499"/>
                    <a:pt x="1296" y="2499"/>
                  </a:cubicBezTo>
                  <a:cubicBezTo>
                    <a:pt x="1268" y="2499"/>
                    <a:pt x="1240" y="2488"/>
                    <a:pt x="1220" y="2467"/>
                  </a:cubicBezTo>
                  <a:cubicBezTo>
                    <a:pt x="1200" y="2446"/>
                    <a:pt x="1188" y="2419"/>
                    <a:pt x="1188" y="2390"/>
                  </a:cubicBezTo>
                  <a:cubicBezTo>
                    <a:pt x="1188" y="2331"/>
                    <a:pt x="1237" y="2282"/>
                    <a:pt x="1296" y="2282"/>
                  </a:cubicBezTo>
                  <a:cubicBezTo>
                    <a:pt x="1718" y="2282"/>
                    <a:pt x="1718" y="2282"/>
                    <a:pt x="1718" y="2282"/>
                  </a:cubicBezTo>
                  <a:cubicBezTo>
                    <a:pt x="1746" y="2282"/>
                    <a:pt x="1774" y="2293"/>
                    <a:pt x="1794" y="2314"/>
                  </a:cubicBezTo>
                  <a:close/>
                  <a:moveTo>
                    <a:pt x="1934" y="2033"/>
                  </a:moveTo>
                  <a:cubicBezTo>
                    <a:pt x="1955" y="2054"/>
                    <a:pt x="1966" y="2081"/>
                    <a:pt x="1966" y="2110"/>
                  </a:cubicBezTo>
                  <a:cubicBezTo>
                    <a:pt x="1966" y="2169"/>
                    <a:pt x="1918" y="2218"/>
                    <a:pt x="1858" y="2218"/>
                  </a:cubicBezTo>
                  <a:cubicBezTo>
                    <a:pt x="1718" y="2218"/>
                    <a:pt x="1718" y="2218"/>
                    <a:pt x="1718" y="2218"/>
                  </a:cubicBezTo>
                  <a:cubicBezTo>
                    <a:pt x="1296" y="2218"/>
                    <a:pt x="1296" y="2218"/>
                    <a:pt x="1296" y="2218"/>
                  </a:cubicBezTo>
                  <a:cubicBezTo>
                    <a:pt x="1156" y="2218"/>
                    <a:pt x="1156" y="2218"/>
                    <a:pt x="1156" y="2218"/>
                  </a:cubicBezTo>
                  <a:cubicBezTo>
                    <a:pt x="1127" y="2218"/>
                    <a:pt x="1100" y="2207"/>
                    <a:pt x="1080" y="2186"/>
                  </a:cubicBezTo>
                  <a:cubicBezTo>
                    <a:pt x="1059" y="2166"/>
                    <a:pt x="1047" y="2138"/>
                    <a:pt x="1047" y="2110"/>
                  </a:cubicBezTo>
                  <a:cubicBezTo>
                    <a:pt x="1047" y="2050"/>
                    <a:pt x="1096" y="2002"/>
                    <a:pt x="1156" y="2002"/>
                  </a:cubicBezTo>
                  <a:cubicBezTo>
                    <a:pt x="1858" y="2002"/>
                    <a:pt x="1858" y="2002"/>
                    <a:pt x="1858" y="2002"/>
                  </a:cubicBezTo>
                  <a:cubicBezTo>
                    <a:pt x="1887" y="2002"/>
                    <a:pt x="1914" y="2013"/>
                    <a:pt x="1934" y="2033"/>
                  </a:cubicBezTo>
                  <a:close/>
                  <a:moveTo>
                    <a:pt x="1858" y="1937"/>
                  </a:moveTo>
                  <a:cubicBezTo>
                    <a:pt x="1156" y="1937"/>
                    <a:pt x="1156" y="1937"/>
                    <a:pt x="1156" y="1937"/>
                  </a:cubicBezTo>
                  <a:cubicBezTo>
                    <a:pt x="1127" y="1937"/>
                    <a:pt x="1100" y="1926"/>
                    <a:pt x="1080" y="1905"/>
                  </a:cubicBezTo>
                  <a:cubicBezTo>
                    <a:pt x="1059" y="1885"/>
                    <a:pt x="1047" y="1857"/>
                    <a:pt x="1047" y="1829"/>
                  </a:cubicBezTo>
                  <a:cubicBezTo>
                    <a:pt x="1047" y="1769"/>
                    <a:pt x="1096" y="1721"/>
                    <a:pt x="1156" y="1721"/>
                  </a:cubicBezTo>
                  <a:cubicBezTo>
                    <a:pt x="1296" y="1721"/>
                    <a:pt x="1296" y="1721"/>
                    <a:pt x="1296" y="1721"/>
                  </a:cubicBezTo>
                  <a:cubicBezTo>
                    <a:pt x="1766" y="1721"/>
                    <a:pt x="1766" y="1721"/>
                    <a:pt x="1766" y="1721"/>
                  </a:cubicBezTo>
                  <a:cubicBezTo>
                    <a:pt x="1858" y="1721"/>
                    <a:pt x="1858" y="1721"/>
                    <a:pt x="1858" y="1721"/>
                  </a:cubicBezTo>
                  <a:cubicBezTo>
                    <a:pt x="1887" y="1721"/>
                    <a:pt x="1914" y="1732"/>
                    <a:pt x="1934" y="1752"/>
                  </a:cubicBezTo>
                  <a:cubicBezTo>
                    <a:pt x="1955" y="1773"/>
                    <a:pt x="1966" y="1800"/>
                    <a:pt x="1966" y="1829"/>
                  </a:cubicBezTo>
                  <a:cubicBezTo>
                    <a:pt x="1966" y="1889"/>
                    <a:pt x="1918" y="1937"/>
                    <a:pt x="1858" y="1937"/>
                  </a:cubicBezTo>
                  <a:close/>
                  <a:moveTo>
                    <a:pt x="972" y="1193"/>
                  </a:moveTo>
                  <a:cubicBezTo>
                    <a:pt x="1276" y="972"/>
                    <a:pt x="1276" y="972"/>
                    <a:pt x="1276" y="972"/>
                  </a:cubicBezTo>
                  <a:cubicBezTo>
                    <a:pt x="1349" y="1003"/>
                    <a:pt x="1426" y="1019"/>
                    <a:pt x="1507" y="1019"/>
                  </a:cubicBezTo>
                  <a:cubicBezTo>
                    <a:pt x="1810" y="1019"/>
                    <a:pt x="2057" y="791"/>
                    <a:pt x="2057" y="509"/>
                  </a:cubicBezTo>
                  <a:cubicBezTo>
                    <a:pt x="2057" y="228"/>
                    <a:pt x="1810" y="0"/>
                    <a:pt x="1507" y="0"/>
                  </a:cubicBezTo>
                  <a:cubicBezTo>
                    <a:pt x="1204" y="0"/>
                    <a:pt x="957" y="228"/>
                    <a:pt x="957" y="509"/>
                  </a:cubicBezTo>
                  <a:cubicBezTo>
                    <a:pt x="957" y="617"/>
                    <a:pt x="993" y="720"/>
                    <a:pt x="1061" y="807"/>
                  </a:cubicBezTo>
                  <a:lnTo>
                    <a:pt x="972" y="1193"/>
                  </a:lnTo>
                  <a:close/>
                  <a:moveTo>
                    <a:pt x="1021" y="509"/>
                  </a:moveTo>
                  <a:cubicBezTo>
                    <a:pt x="1021" y="264"/>
                    <a:pt x="1239" y="64"/>
                    <a:pt x="1507" y="64"/>
                  </a:cubicBezTo>
                  <a:cubicBezTo>
                    <a:pt x="1775" y="64"/>
                    <a:pt x="1992" y="264"/>
                    <a:pt x="1992" y="509"/>
                  </a:cubicBezTo>
                  <a:cubicBezTo>
                    <a:pt x="1992" y="755"/>
                    <a:pt x="1775" y="955"/>
                    <a:pt x="1507" y="955"/>
                  </a:cubicBezTo>
                  <a:cubicBezTo>
                    <a:pt x="1430" y="955"/>
                    <a:pt x="1355" y="938"/>
                    <a:pt x="1286" y="906"/>
                  </a:cubicBezTo>
                  <a:cubicBezTo>
                    <a:pt x="1269" y="898"/>
                    <a:pt x="1269" y="898"/>
                    <a:pt x="1269" y="898"/>
                  </a:cubicBezTo>
                  <a:cubicBezTo>
                    <a:pt x="1073" y="1040"/>
                    <a:pt x="1073" y="1040"/>
                    <a:pt x="1073" y="1040"/>
                  </a:cubicBezTo>
                  <a:cubicBezTo>
                    <a:pt x="1131" y="791"/>
                    <a:pt x="1131" y="791"/>
                    <a:pt x="1131" y="791"/>
                  </a:cubicBezTo>
                  <a:cubicBezTo>
                    <a:pt x="1121" y="779"/>
                    <a:pt x="1121" y="779"/>
                    <a:pt x="1121" y="779"/>
                  </a:cubicBezTo>
                  <a:cubicBezTo>
                    <a:pt x="1056" y="700"/>
                    <a:pt x="1021" y="607"/>
                    <a:pt x="1021" y="509"/>
                  </a:cubicBezTo>
                  <a:close/>
                  <a:moveTo>
                    <a:pt x="1775" y="384"/>
                  </a:moveTo>
                  <a:cubicBezTo>
                    <a:pt x="1288" y="384"/>
                    <a:pt x="1288" y="384"/>
                    <a:pt x="1288" y="384"/>
                  </a:cubicBezTo>
                  <a:cubicBezTo>
                    <a:pt x="1288" y="320"/>
                    <a:pt x="1288" y="320"/>
                    <a:pt x="1288" y="320"/>
                  </a:cubicBezTo>
                  <a:cubicBezTo>
                    <a:pt x="1775" y="320"/>
                    <a:pt x="1775" y="320"/>
                    <a:pt x="1775" y="320"/>
                  </a:cubicBezTo>
                  <a:lnTo>
                    <a:pt x="1775" y="384"/>
                  </a:lnTo>
                  <a:close/>
                  <a:moveTo>
                    <a:pt x="1775" y="534"/>
                  </a:moveTo>
                  <a:cubicBezTo>
                    <a:pt x="1288" y="534"/>
                    <a:pt x="1288" y="534"/>
                    <a:pt x="1288" y="534"/>
                  </a:cubicBezTo>
                  <a:cubicBezTo>
                    <a:pt x="1288" y="470"/>
                    <a:pt x="1288" y="470"/>
                    <a:pt x="1288" y="470"/>
                  </a:cubicBezTo>
                  <a:cubicBezTo>
                    <a:pt x="1775" y="470"/>
                    <a:pt x="1775" y="470"/>
                    <a:pt x="1775" y="470"/>
                  </a:cubicBezTo>
                  <a:lnTo>
                    <a:pt x="1775" y="534"/>
                  </a:lnTo>
                  <a:close/>
                  <a:moveTo>
                    <a:pt x="1775" y="685"/>
                  </a:moveTo>
                  <a:cubicBezTo>
                    <a:pt x="1288" y="685"/>
                    <a:pt x="1288" y="685"/>
                    <a:pt x="1288" y="685"/>
                  </a:cubicBezTo>
                  <a:cubicBezTo>
                    <a:pt x="1288" y="621"/>
                    <a:pt x="1288" y="621"/>
                    <a:pt x="1288" y="621"/>
                  </a:cubicBezTo>
                  <a:cubicBezTo>
                    <a:pt x="1775" y="621"/>
                    <a:pt x="1775" y="621"/>
                    <a:pt x="1775" y="621"/>
                  </a:cubicBezTo>
                  <a:lnTo>
                    <a:pt x="1775" y="68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826468" y="2748027"/>
              <a:ext cx="149106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SATISFAÇÃO DO</a:t>
              </a:r>
            </a:p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CLIENTE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826437" y="3118695"/>
              <a:ext cx="1491126" cy="4501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gu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OS </a:t>
            </a:r>
            <a:r>
              <a:rPr lang="en-US" dirty="0">
                <a:solidFill>
                  <a:srgbClr val="EC0000"/>
                </a:solidFill>
              </a:rPr>
              <a:t>PRINCIPAIS VALO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Nam et </a:t>
            </a:r>
            <a:r>
              <a:rPr lang="en-US" dirty="0" err="1"/>
              <a:t>eli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hendrerit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ac </a:t>
            </a:r>
            <a:r>
              <a:rPr lang="en-US" dirty="0" err="1"/>
              <a:t>ut</a:t>
            </a:r>
            <a:r>
              <a:rPr lang="en-US" dirty="0"/>
              <a:t> lorem </a:t>
            </a:r>
            <a:r>
              <a:rPr lang="en-US" dirty="0" err="1"/>
              <a:t>faucibus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1062761" y="1579033"/>
            <a:ext cx="2487278" cy="2487278"/>
            <a:chOff x="1062761" y="1579033"/>
            <a:chExt cx="2487278" cy="2487278"/>
          </a:xfrm>
        </p:grpSpPr>
        <p:sp>
          <p:nvSpPr>
            <p:cNvPr id="6" name="Oval 5"/>
            <p:cNvSpPr/>
            <p:nvPr/>
          </p:nvSpPr>
          <p:spPr>
            <a:xfrm>
              <a:off x="1062761" y="1579033"/>
              <a:ext cx="2487278" cy="2487278"/>
            </a:xfrm>
            <a:prstGeom prst="ellipse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2119553" y="1943604"/>
              <a:ext cx="373694" cy="562548"/>
            </a:xfrm>
            <a:custGeom>
              <a:avLst/>
              <a:gdLst>
                <a:gd name="T0" fmla="*/ 742 w 1399"/>
                <a:gd name="T1" fmla="*/ 13 h 2108"/>
                <a:gd name="T2" fmla="*/ 0 w 1399"/>
                <a:gd name="T3" fmla="*/ 703 h 2108"/>
                <a:gd name="T4" fmla="*/ 55 w 1399"/>
                <a:gd name="T5" fmla="*/ 978 h 2108"/>
                <a:gd name="T6" fmla="*/ 130 w 1399"/>
                <a:gd name="T7" fmla="*/ 1106 h 2108"/>
                <a:gd name="T8" fmla="*/ 358 w 1399"/>
                <a:gd name="T9" fmla="*/ 1605 h 2108"/>
                <a:gd name="T10" fmla="*/ 397 w 1399"/>
                <a:gd name="T11" fmla="*/ 1734 h 2108"/>
                <a:gd name="T12" fmla="*/ 397 w 1399"/>
                <a:gd name="T13" fmla="*/ 1842 h 2108"/>
                <a:gd name="T14" fmla="*/ 397 w 1399"/>
                <a:gd name="T15" fmla="*/ 1909 h 2108"/>
                <a:gd name="T16" fmla="*/ 577 w 1399"/>
                <a:gd name="T17" fmla="*/ 2108 h 2108"/>
                <a:gd name="T18" fmla="*/ 930 w 1399"/>
                <a:gd name="T19" fmla="*/ 1994 h 2108"/>
                <a:gd name="T20" fmla="*/ 987 w 1399"/>
                <a:gd name="T21" fmla="*/ 1892 h 2108"/>
                <a:gd name="T22" fmla="*/ 987 w 1399"/>
                <a:gd name="T23" fmla="*/ 1784 h 2108"/>
                <a:gd name="T24" fmla="*/ 987 w 1399"/>
                <a:gd name="T25" fmla="*/ 1657 h 2108"/>
                <a:gd name="T26" fmla="*/ 1104 w 1399"/>
                <a:gd name="T27" fmla="*/ 1389 h 2108"/>
                <a:gd name="T28" fmla="*/ 1256 w 1399"/>
                <a:gd name="T29" fmla="*/ 1122 h 2108"/>
                <a:gd name="T30" fmla="*/ 1324 w 1399"/>
                <a:gd name="T31" fmla="*/ 983 h 2108"/>
                <a:gd name="T32" fmla="*/ 1332 w 1399"/>
                <a:gd name="T33" fmla="*/ 973 h 2108"/>
                <a:gd name="T34" fmla="*/ 1365 w 1399"/>
                <a:gd name="T35" fmla="*/ 540 h 2108"/>
                <a:gd name="T36" fmla="*/ 577 w 1399"/>
                <a:gd name="T37" fmla="*/ 2059 h 2108"/>
                <a:gd name="T38" fmla="*/ 880 w 1399"/>
                <a:gd name="T39" fmla="*/ 2000 h 2108"/>
                <a:gd name="T40" fmla="*/ 938 w 1399"/>
                <a:gd name="T41" fmla="*/ 1909 h 2108"/>
                <a:gd name="T42" fmla="*/ 488 w 1399"/>
                <a:gd name="T43" fmla="*/ 1951 h 2108"/>
                <a:gd name="T44" fmla="*/ 447 w 1399"/>
                <a:gd name="T45" fmla="*/ 1892 h 2108"/>
                <a:gd name="T46" fmla="*/ 938 w 1399"/>
                <a:gd name="T47" fmla="*/ 1909 h 2108"/>
                <a:gd name="T48" fmla="*/ 447 w 1399"/>
                <a:gd name="T49" fmla="*/ 1842 h 2108"/>
                <a:gd name="T50" fmla="*/ 938 w 1399"/>
                <a:gd name="T51" fmla="*/ 1784 h 2108"/>
                <a:gd name="T52" fmla="*/ 938 w 1399"/>
                <a:gd name="T53" fmla="*/ 1676 h 2108"/>
                <a:gd name="T54" fmla="*/ 447 w 1399"/>
                <a:gd name="T55" fmla="*/ 1734 h 2108"/>
                <a:gd name="T56" fmla="*/ 456 w 1399"/>
                <a:gd name="T57" fmla="*/ 1676 h 2108"/>
                <a:gd name="T58" fmla="*/ 795 w 1399"/>
                <a:gd name="T59" fmla="*/ 1676 h 2108"/>
                <a:gd name="T60" fmla="*/ 938 w 1399"/>
                <a:gd name="T61" fmla="*/ 1676 h 2108"/>
                <a:gd name="T62" fmla="*/ 545 w 1399"/>
                <a:gd name="T63" fmla="*/ 1034 h 2108"/>
                <a:gd name="T64" fmla="*/ 706 w 1399"/>
                <a:gd name="T65" fmla="*/ 1120 h 2108"/>
                <a:gd name="T66" fmla="*/ 773 w 1399"/>
                <a:gd name="T67" fmla="*/ 1158 h 2108"/>
                <a:gd name="T68" fmla="*/ 770 w 1399"/>
                <a:gd name="T69" fmla="*/ 1626 h 2108"/>
                <a:gd name="T70" fmla="*/ 614 w 1399"/>
                <a:gd name="T71" fmla="*/ 1170 h 2108"/>
                <a:gd name="T72" fmla="*/ 1285 w 1399"/>
                <a:gd name="T73" fmla="*/ 953 h 2108"/>
                <a:gd name="T74" fmla="*/ 1216 w 1399"/>
                <a:gd name="T75" fmla="*/ 1073 h 2108"/>
                <a:gd name="T76" fmla="*/ 1059 w 1399"/>
                <a:gd name="T77" fmla="*/ 1369 h 2108"/>
                <a:gd name="T78" fmla="*/ 928 w 1399"/>
                <a:gd name="T79" fmla="*/ 1626 h 2108"/>
                <a:gd name="T80" fmla="*/ 820 w 1399"/>
                <a:gd name="T81" fmla="*/ 1176 h 2108"/>
                <a:gd name="T82" fmla="*/ 923 w 1399"/>
                <a:gd name="T83" fmla="*/ 943 h 2108"/>
                <a:gd name="T84" fmla="*/ 692 w 1399"/>
                <a:gd name="T85" fmla="*/ 1070 h 2108"/>
                <a:gd name="T86" fmla="*/ 461 w 1399"/>
                <a:gd name="T87" fmla="*/ 943 h 2108"/>
                <a:gd name="T88" fmla="*/ 565 w 1399"/>
                <a:gd name="T89" fmla="*/ 1176 h 2108"/>
                <a:gd name="T90" fmla="*/ 456 w 1399"/>
                <a:gd name="T91" fmla="*/ 1626 h 2108"/>
                <a:gd name="T92" fmla="*/ 326 w 1399"/>
                <a:gd name="T93" fmla="*/ 1369 h 2108"/>
                <a:gd name="T94" fmla="*/ 102 w 1399"/>
                <a:gd name="T95" fmla="*/ 957 h 2108"/>
                <a:gd name="T96" fmla="*/ 50 w 1399"/>
                <a:gd name="T97" fmla="*/ 703 h 2108"/>
                <a:gd name="T98" fmla="*/ 738 w 1399"/>
                <a:gd name="T99" fmla="*/ 63 h 2108"/>
                <a:gd name="T100" fmla="*/ 1317 w 1399"/>
                <a:gd name="T101" fmla="*/ 551 h 2108"/>
                <a:gd name="T102" fmla="*/ 900 w 1399"/>
                <a:gd name="T103" fmla="*/ 277 h 2108"/>
                <a:gd name="T104" fmla="*/ 717 w 1399"/>
                <a:gd name="T105" fmla="*/ 269 h 2108"/>
                <a:gd name="T106" fmla="*/ 208 w 1399"/>
                <a:gd name="T107" fmla="*/ 779 h 2108"/>
                <a:gd name="T108" fmla="*/ 717 w 1399"/>
                <a:gd name="T109" fmla="*/ 220 h 2108"/>
                <a:gd name="T110" fmla="*/ 900 w 1399"/>
                <a:gd name="T111" fmla="*/ 277 h 2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99" h="2108">
                  <a:moveTo>
                    <a:pt x="1365" y="540"/>
                  </a:moveTo>
                  <a:cubicBezTo>
                    <a:pt x="1296" y="251"/>
                    <a:pt x="1040" y="34"/>
                    <a:pt x="742" y="13"/>
                  </a:cubicBezTo>
                  <a:cubicBezTo>
                    <a:pt x="547" y="0"/>
                    <a:pt x="362" y="65"/>
                    <a:pt x="220" y="197"/>
                  </a:cubicBezTo>
                  <a:cubicBezTo>
                    <a:pt x="80" y="328"/>
                    <a:pt x="0" y="512"/>
                    <a:pt x="0" y="703"/>
                  </a:cubicBezTo>
                  <a:cubicBezTo>
                    <a:pt x="0" y="798"/>
                    <a:pt x="19" y="890"/>
                    <a:pt x="56" y="976"/>
                  </a:cubicBezTo>
                  <a:cubicBezTo>
                    <a:pt x="55" y="978"/>
                    <a:pt x="55" y="978"/>
                    <a:pt x="55" y="978"/>
                  </a:cubicBezTo>
                  <a:cubicBezTo>
                    <a:pt x="59" y="981"/>
                    <a:pt x="59" y="981"/>
                    <a:pt x="59" y="981"/>
                  </a:cubicBezTo>
                  <a:cubicBezTo>
                    <a:pt x="68" y="997"/>
                    <a:pt x="96" y="1046"/>
                    <a:pt x="130" y="1106"/>
                  </a:cubicBezTo>
                  <a:cubicBezTo>
                    <a:pt x="184" y="1202"/>
                    <a:pt x="254" y="1329"/>
                    <a:pt x="280" y="1389"/>
                  </a:cubicBezTo>
                  <a:cubicBezTo>
                    <a:pt x="300" y="1432"/>
                    <a:pt x="333" y="1530"/>
                    <a:pt x="358" y="1605"/>
                  </a:cubicBezTo>
                  <a:cubicBezTo>
                    <a:pt x="365" y="1627"/>
                    <a:pt x="379" y="1645"/>
                    <a:pt x="397" y="1657"/>
                  </a:cubicBezTo>
                  <a:cubicBezTo>
                    <a:pt x="397" y="1734"/>
                    <a:pt x="397" y="1734"/>
                    <a:pt x="397" y="1734"/>
                  </a:cubicBezTo>
                  <a:cubicBezTo>
                    <a:pt x="397" y="1784"/>
                    <a:pt x="397" y="1784"/>
                    <a:pt x="397" y="1784"/>
                  </a:cubicBezTo>
                  <a:cubicBezTo>
                    <a:pt x="397" y="1842"/>
                    <a:pt x="397" y="1842"/>
                    <a:pt x="397" y="1842"/>
                  </a:cubicBezTo>
                  <a:cubicBezTo>
                    <a:pt x="397" y="1892"/>
                    <a:pt x="397" y="1892"/>
                    <a:pt x="397" y="1892"/>
                  </a:cubicBezTo>
                  <a:cubicBezTo>
                    <a:pt x="397" y="1909"/>
                    <a:pt x="397" y="1909"/>
                    <a:pt x="397" y="1909"/>
                  </a:cubicBezTo>
                  <a:cubicBezTo>
                    <a:pt x="397" y="1947"/>
                    <a:pt x="421" y="1980"/>
                    <a:pt x="454" y="1994"/>
                  </a:cubicBezTo>
                  <a:cubicBezTo>
                    <a:pt x="459" y="2057"/>
                    <a:pt x="512" y="2108"/>
                    <a:pt x="577" y="2108"/>
                  </a:cubicBezTo>
                  <a:cubicBezTo>
                    <a:pt x="807" y="2108"/>
                    <a:pt x="807" y="2108"/>
                    <a:pt x="807" y="2108"/>
                  </a:cubicBezTo>
                  <a:cubicBezTo>
                    <a:pt x="872" y="2108"/>
                    <a:pt x="925" y="2057"/>
                    <a:pt x="930" y="1994"/>
                  </a:cubicBezTo>
                  <a:cubicBezTo>
                    <a:pt x="964" y="1980"/>
                    <a:pt x="987" y="1947"/>
                    <a:pt x="987" y="1909"/>
                  </a:cubicBezTo>
                  <a:cubicBezTo>
                    <a:pt x="987" y="1892"/>
                    <a:pt x="987" y="1892"/>
                    <a:pt x="987" y="1892"/>
                  </a:cubicBezTo>
                  <a:cubicBezTo>
                    <a:pt x="987" y="1842"/>
                    <a:pt x="987" y="1842"/>
                    <a:pt x="987" y="1842"/>
                  </a:cubicBezTo>
                  <a:cubicBezTo>
                    <a:pt x="987" y="1784"/>
                    <a:pt x="987" y="1784"/>
                    <a:pt x="987" y="1784"/>
                  </a:cubicBezTo>
                  <a:cubicBezTo>
                    <a:pt x="987" y="1734"/>
                    <a:pt x="987" y="1734"/>
                    <a:pt x="987" y="1734"/>
                  </a:cubicBezTo>
                  <a:cubicBezTo>
                    <a:pt x="987" y="1657"/>
                    <a:pt x="987" y="1657"/>
                    <a:pt x="987" y="1657"/>
                  </a:cubicBezTo>
                  <a:cubicBezTo>
                    <a:pt x="1005" y="1645"/>
                    <a:pt x="1019" y="1627"/>
                    <a:pt x="1026" y="1605"/>
                  </a:cubicBezTo>
                  <a:cubicBezTo>
                    <a:pt x="1061" y="1500"/>
                    <a:pt x="1089" y="1423"/>
                    <a:pt x="1104" y="1389"/>
                  </a:cubicBezTo>
                  <a:cubicBezTo>
                    <a:pt x="1131" y="1328"/>
                    <a:pt x="1201" y="1200"/>
                    <a:pt x="1245" y="1122"/>
                  </a:cubicBezTo>
                  <a:cubicBezTo>
                    <a:pt x="1256" y="1122"/>
                    <a:pt x="1256" y="1122"/>
                    <a:pt x="1256" y="1122"/>
                  </a:cubicBezTo>
                  <a:cubicBezTo>
                    <a:pt x="1256" y="1103"/>
                    <a:pt x="1256" y="1103"/>
                    <a:pt x="1256" y="1103"/>
                  </a:cubicBezTo>
                  <a:cubicBezTo>
                    <a:pt x="1288" y="1046"/>
                    <a:pt x="1315" y="999"/>
                    <a:pt x="1324" y="983"/>
                  </a:cubicBezTo>
                  <a:cubicBezTo>
                    <a:pt x="1325" y="981"/>
                    <a:pt x="1326" y="980"/>
                    <a:pt x="1327" y="978"/>
                  </a:cubicBezTo>
                  <a:cubicBezTo>
                    <a:pt x="1332" y="973"/>
                    <a:pt x="1332" y="973"/>
                    <a:pt x="1332" y="973"/>
                  </a:cubicBezTo>
                  <a:cubicBezTo>
                    <a:pt x="1332" y="968"/>
                    <a:pt x="1332" y="968"/>
                    <a:pt x="1332" y="968"/>
                  </a:cubicBezTo>
                  <a:cubicBezTo>
                    <a:pt x="1388" y="832"/>
                    <a:pt x="1399" y="684"/>
                    <a:pt x="1365" y="540"/>
                  </a:cubicBezTo>
                  <a:close/>
                  <a:moveTo>
                    <a:pt x="807" y="2059"/>
                  </a:moveTo>
                  <a:cubicBezTo>
                    <a:pt x="577" y="2059"/>
                    <a:pt x="577" y="2059"/>
                    <a:pt x="577" y="2059"/>
                  </a:cubicBezTo>
                  <a:cubicBezTo>
                    <a:pt x="542" y="2059"/>
                    <a:pt x="512" y="2034"/>
                    <a:pt x="505" y="2000"/>
                  </a:cubicBezTo>
                  <a:cubicBezTo>
                    <a:pt x="880" y="2000"/>
                    <a:pt x="880" y="2000"/>
                    <a:pt x="880" y="2000"/>
                  </a:cubicBezTo>
                  <a:cubicBezTo>
                    <a:pt x="873" y="2034"/>
                    <a:pt x="843" y="2059"/>
                    <a:pt x="807" y="2059"/>
                  </a:cubicBezTo>
                  <a:close/>
                  <a:moveTo>
                    <a:pt x="938" y="1909"/>
                  </a:moveTo>
                  <a:cubicBezTo>
                    <a:pt x="938" y="1932"/>
                    <a:pt x="919" y="1951"/>
                    <a:pt x="896" y="1951"/>
                  </a:cubicBezTo>
                  <a:cubicBezTo>
                    <a:pt x="488" y="1951"/>
                    <a:pt x="488" y="1951"/>
                    <a:pt x="488" y="1951"/>
                  </a:cubicBezTo>
                  <a:cubicBezTo>
                    <a:pt x="465" y="1951"/>
                    <a:pt x="447" y="1932"/>
                    <a:pt x="447" y="1909"/>
                  </a:cubicBezTo>
                  <a:cubicBezTo>
                    <a:pt x="447" y="1892"/>
                    <a:pt x="447" y="1892"/>
                    <a:pt x="447" y="1892"/>
                  </a:cubicBezTo>
                  <a:cubicBezTo>
                    <a:pt x="938" y="1892"/>
                    <a:pt x="938" y="1892"/>
                    <a:pt x="938" y="1892"/>
                  </a:cubicBezTo>
                  <a:lnTo>
                    <a:pt x="938" y="1909"/>
                  </a:lnTo>
                  <a:close/>
                  <a:moveTo>
                    <a:pt x="938" y="1842"/>
                  </a:moveTo>
                  <a:cubicBezTo>
                    <a:pt x="447" y="1842"/>
                    <a:pt x="447" y="1842"/>
                    <a:pt x="447" y="1842"/>
                  </a:cubicBezTo>
                  <a:cubicBezTo>
                    <a:pt x="447" y="1784"/>
                    <a:pt x="447" y="1784"/>
                    <a:pt x="447" y="1784"/>
                  </a:cubicBezTo>
                  <a:cubicBezTo>
                    <a:pt x="938" y="1784"/>
                    <a:pt x="938" y="1784"/>
                    <a:pt x="938" y="1784"/>
                  </a:cubicBezTo>
                  <a:lnTo>
                    <a:pt x="938" y="1842"/>
                  </a:lnTo>
                  <a:close/>
                  <a:moveTo>
                    <a:pt x="938" y="1676"/>
                  </a:moveTo>
                  <a:cubicBezTo>
                    <a:pt x="938" y="1734"/>
                    <a:pt x="938" y="1734"/>
                    <a:pt x="938" y="1734"/>
                  </a:cubicBezTo>
                  <a:cubicBezTo>
                    <a:pt x="447" y="1734"/>
                    <a:pt x="447" y="1734"/>
                    <a:pt x="447" y="1734"/>
                  </a:cubicBezTo>
                  <a:cubicBezTo>
                    <a:pt x="447" y="1676"/>
                    <a:pt x="447" y="1676"/>
                    <a:pt x="447" y="1676"/>
                  </a:cubicBezTo>
                  <a:cubicBezTo>
                    <a:pt x="456" y="1676"/>
                    <a:pt x="456" y="1676"/>
                    <a:pt x="456" y="1676"/>
                  </a:cubicBezTo>
                  <a:cubicBezTo>
                    <a:pt x="589" y="1676"/>
                    <a:pt x="589" y="1676"/>
                    <a:pt x="589" y="1676"/>
                  </a:cubicBezTo>
                  <a:cubicBezTo>
                    <a:pt x="795" y="1676"/>
                    <a:pt x="795" y="1676"/>
                    <a:pt x="795" y="1676"/>
                  </a:cubicBezTo>
                  <a:cubicBezTo>
                    <a:pt x="928" y="1676"/>
                    <a:pt x="928" y="1676"/>
                    <a:pt x="928" y="1676"/>
                  </a:cubicBezTo>
                  <a:lnTo>
                    <a:pt x="938" y="1676"/>
                  </a:lnTo>
                  <a:close/>
                  <a:moveTo>
                    <a:pt x="611" y="1158"/>
                  </a:moveTo>
                  <a:cubicBezTo>
                    <a:pt x="545" y="1034"/>
                    <a:pt x="545" y="1034"/>
                    <a:pt x="545" y="1034"/>
                  </a:cubicBezTo>
                  <a:cubicBezTo>
                    <a:pt x="679" y="1120"/>
                    <a:pt x="679" y="1120"/>
                    <a:pt x="679" y="1120"/>
                  </a:cubicBezTo>
                  <a:cubicBezTo>
                    <a:pt x="687" y="1125"/>
                    <a:pt x="697" y="1125"/>
                    <a:pt x="706" y="1120"/>
                  </a:cubicBezTo>
                  <a:cubicBezTo>
                    <a:pt x="840" y="1034"/>
                    <a:pt x="840" y="1034"/>
                    <a:pt x="840" y="1034"/>
                  </a:cubicBezTo>
                  <a:cubicBezTo>
                    <a:pt x="773" y="1158"/>
                    <a:pt x="773" y="1158"/>
                    <a:pt x="773" y="1158"/>
                  </a:cubicBezTo>
                  <a:cubicBezTo>
                    <a:pt x="771" y="1162"/>
                    <a:pt x="770" y="1166"/>
                    <a:pt x="770" y="1170"/>
                  </a:cubicBezTo>
                  <a:cubicBezTo>
                    <a:pt x="770" y="1626"/>
                    <a:pt x="770" y="1626"/>
                    <a:pt x="770" y="1626"/>
                  </a:cubicBezTo>
                  <a:cubicBezTo>
                    <a:pt x="614" y="1626"/>
                    <a:pt x="614" y="1626"/>
                    <a:pt x="614" y="1626"/>
                  </a:cubicBezTo>
                  <a:cubicBezTo>
                    <a:pt x="614" y="1170"/>
                    <a:pt x="614" y="1170"/>
                    <a:pt x="614" y="1170"/>
                  </a:cubicBezTo>
                  <a:cubicBezTo>
                    <a:pt x="614" y="1166"/>
                    <a:pt x="613" y="1162"/>
                    <a:pt x="611" y="1158"/>
                  </a:cubicBezTo>
                  <a:close/>
                  <a:moveTo>
                    <a:pt x="1285" y="953"/>
                  </a:moveTo>
                  <a:cubicBezTo>
                    <a:pt x="1282" y="957"/>
                    <a:pt x="1282" y="957"/>
                    <a:pt x="1282" y="957"/>
                  </a:cubicBezTo>
                  <a:cubicBezTo>
                    <a:pt x="1273" y="973"/>
                    <a:pt x="1247" y="1017"/>
                    <a:pt x="1216" y="1073"/>
                  </a:cubicBezTo>
                  <a:cubicBezTo>
                    <a:pt x="1209" y="1085"/>
                    <a:pt x="1209" y="1085"/>
                    <a:pt x="1209" y="1085"/>
                  </a:cubicBezTo>
                  <a:cubicBezTo>
                    <a:pt x="1165" y="1163"/>
                    <a:pt x="1088" y="1302"/>
                    <a:pt x="1059" y="1369"/>
                  </a:cubicBezTo>
                  <a:cubicBezTo>
                    <a:pt x="1039" y="1414"/>
                    <a:pt x="1004" y="1514"/>
                    <a:pt x="979" y="1590"/>
                  </a:cubicBezTo>
                  <a:cubicBezTo>
                    <a:pt x="972" y="1611"/>
                    <a:pt x="952" y="1626"/>
                    <a:pt x="928" y="1626"/>
                  </a:cubicBezTo>
                  <a:cubicBezTo>
                    <a:pt x="820" y="1626"/>
                    <a:pt x="820" y="1626"/>
                    <a:pt x="820" y="1626"/>
                  </a:cubicBezTo>
                  <a:cubicBezTo>
                    <a:pt x="820" y="1176"/>
                    <a:pt x="820" y="1176"/>
                    <a:pt x="820" y="1176"/>
                  </a:cubicBezTo>
                  <a:cubicBezTo>
                    <a:pt x="928" y="973"/>
                    <a:pt x="928" y="973"/>
                    <a:pt x="928" y="973"/>
                  </a:cubicBezTo>
                  <a:cubicBezTo>
                    <a:pt x="933" y="963"/>
                    <a:pt x="931" y="951"/>
                    <a:pt x="923" y="943"/>
                  </a:cubicBezTo>
                  <a:cubicBezTo>
                    <a:pt x="915" y="935"/>
                    <a:pt x="902" y="934"/>
                    <a:pt x="893" y="941"/>
                  </a:cubicBezTo>
                  <a:cubicBezTo>
                    <a:pt x="692" y="1070"/>
                    <a:pt x="692" y="1070"/>
                    <a:pt x="692" y="1070"/>
                  </a:cubicBezTo>
                  <a:cubicBezTo>
                    <a:pt x="492" y="941"/>
                    <a:pt x="492" y="941"/>
                    <a:pt x="492" y="941"/>
                  </a:cubicBezTo>
                  <a:cubicBezTo>
                    <a:pt x="482" y="934"/>
                    <a:pt x="470" y="935"/>
                    <a:pt x="461" y="943"/>
                  </a:cubicBezTo>
                  <a:cubicBezTo>
                    <a:pt x="453" y="951"/>
                    <a:pt x="451" y="963"/>
                    <a:pt x="456" y="973"/>
                  </a:cubicBezTo>
                  <a:cubicBezTo>
                    <a:pt x="565" y="1176"/>
                    <a:pt x="565" y="1176"/>
                    <a:pt x="565" y="1176"/>
                  </a:cubicBezTo>
                  <a:cubicBezTo>
                    <a:pt x="565" y="1626"/>
                    <a:pt x="565" y="1626"/>
                    <a:pt x="565" y="1626"/>
                  </a:cubicBezTo>
                  <a:cubicBezTo>
                    <a:pt x="456" y="1626"/>
                    <a:pt x="456" y="1626"/>
                    <a:pt x="456" y="1626"/>
                  </a:cubicBezTo>
                  <a:cubicBezTo>
                    <a:pt x="433" y="1626"/>
                    <a:pt x="412" y="1611"/>
                    <a:pt x="405" y="1590"/>
                  </a:cubicBezTo>
                  <a:cubicBezTo>
                    <a:pt x="380" y="1514"/>
                    <a:pt x="346" y="1414"/>
                    <a:pt x="326" y="1369"/>
                  </a:cubicBezTo>
                  <a:cubicBezTo>
                    <a:pt x="298" y="1307"/>
                    <a:pt x="228" y="1179"/>
                    <a:pt x="173" y="1082"/>
                  </a:cubicBezTo>
                  <a:cubicBezTo>
                    <a:pt x="139" y="1021"/>
                    <a:pt x="111" y="972"/>
                    <a:pt x="102" y="957"/>
                  </a:cubicBezTo>
                  <a:cubicBezTo>
                    <a:pt x="101" y="955"/>
                    <a:pt x="101" y="955"/>
                    <a:pt x="101" y="955"/>
                  </a:cubicBezTo>
                  <a:cubicBezTo>
                    <a:pt x="67" y="875"/>
                    <a:pt x="50" y="791"/>
                    <a:pt x="50" y="703"/>
                  </a:cubicBezTo>
                  <a:cubicBezTo>
                    <a:pt x="50" y="526"/>
                    <a:pt x="124" y="355"/>
                    <a:pt x="254" y="233"/>
                  </a:cubicBezTo>
                  <a:cubicBezTo>
                    <a:pt x="386" y="111"/>
                    <a:pt x="558" y="50"/>
                    <a:pt x="738" y="63"/>
                  </a:cubicBezTo>
                  <a:cubicBezTo>
                    <a:pt x="738" y="63"/>
                    <a:pt x="738" y="63"/>
                    <a:pt x="738" y="63"/>
                  </a:cubicBezTo>
                  <a:cubicBezTo>
                    <a:pt x="1015" y="82"/>
                    <a:pt x="1253" y="283"/>
                    <a:pt x="1317" y="551"/>
                  </a:cubicBezTo>
                  <a:cubicBezTo>
                    <a:pt x="1349" y="687"/>
                    <a:pt x="1338" y="826"/>
                    <a:pt x="1285" y="953"/>
                  </a:cubicBezTo>
                  <a:close/>
                  <a:moveTo>
                    <a:pt x="900" y="277"/>
                  </a:moveTo>
                  <a:cubicBezTo>
                    <a:pt x="895" y="290"/>
                    <a:pt x="881" y="297"/>
                    <a:pt x="868" y="293"/>
                  </a:cubicBezTo>
                  <a:cubicBezTo>
                    <a:pt x="820" y="277"/>
                    <a:pt x="769" y="269"/>
                    <a:pt x="717" y="269"/>
                  </a:cubicBezTo>
                  <a:cubicBezTo>
                    <a:pt x="450" y="269"/>
                    <a:pt x="233" y="487"/>
                    <a:pt x="233" y="754"/>
                  </a:cubicBezTo>
                  <a:cubicBezTo>
                    <a:pt x="233" y="767"/>
                    <a:pt x="222" y="779"/>
                    <a:pt x="208" y="779"/>
                  </a:cubicBezTo>
                  <a:cubicBezTo>
                    <a:pt x="194" y="779"/>
                    <a:pt x="183" y="767"/>
                    <a:pt x="183" y="754"/>
                  </a:cubicBezTo>
                  <a:cubicBezTo>
                    <a:pt x="183" y="459"/>
                    <a:pt x="423" y="220"/>
                    <a:pt x="717" y="220"/>
                  </a:cubicBezTo>
                  <a:cubicBezTo>
                    <a:pt x="774" y="220"/>
                    <a:pt x="830" y="229"/>
                    <a:pt x="884" y="246"/>
                  </a:cubicBezTo>
                  <a:cubicBezTo>
                    <a:pt x="897" y="251"/>
                    <a:pt x="904" y="264"/>
                    <a:pt x="900" y="27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560868" y="2748027"/>
              <a:ext cx="149106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SER</a:t>
              </a:r>
            </a:p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INOVADOR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560837" y="3118695"/>
              <a:ext cx="1491126" cy="4501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ongu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704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 QUE FAZER &amp; NÃO FAZER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endParaRPr lang="en-US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Freeform 3"/>
          <p:cNvSpPr>
            <a:spLocks noEditPoints="1"/>
          </p:cNvSpPr>
          <p:nvPr/>
        </p:nvSpPr>
        <p:spPr bwMode="auto">
          <a:xfrm>
            <a:off x="593725" y="1552279"/>
            <a:ext cx="402992" cy="400923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" name="Freeform 17"/>
          <p:cNvSpPr>
            <a:spLocks noEditPoints="1"/>
          </p:cNvSpPr>
          <p:nvPr/>
        </p:nvSpPr>
        <p:spPr bwMode="auto">
          <a:xfrm>
            <a:off x="593725" y="2579631"/>
            <a:ext cx="402992" cy="400923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22" name="Freeform 21"/>
          <p:cNvSpPr>
            <a:spLocks noEditPoints="1"/>
          </p:cNvSpPr>
          <p:nvPr/>
        </p:nvSpPr>
        <p:spPr bwMode="auto">
          <a:xfrm>
            <a:off x="593725" y="3606983"/>
            <a:ext cx="402992" cy="400923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grpSp>
        <p:nvGrpSpPr>
          <p:cNvPr id="15" name="Group 14"/>
          <p:cNvGrpSpPr/>
          <p:nvPr/>
        </p:nvGrpSpPr>
        <p:grpSpPr>
          <a:xfrm>
            <a:off x="1196899" y="1514449"/>
            <a:ext cx="2865864" cy="2738137"/>
            <a:chOff x="1196899" y="1514449"/>
            <a:chExt cx="2865864" cy="2738137"/>
          </a:xfrm>
        </p:grpSpPr>
        <p:grpSp>
          <p:nvGrpSpPr>
            <p:cNvPr id="5" name="Group 4"/>
            <p:cNvGrpSpPr/>
            <p:nvPr/>
          </p:nvGrpSpPr>
          <p:grpSpPr>
            <a:xfrm>
              <a:off x="1196899" y="1514449"/>
              <a:ext cx="2865864" cy="683433"/>
              <a:chOff x="1196899" y="1514449"/>
              <a:chExt cx="2865864" cy="683433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1196899" y="1717751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13" name="Title 2"/>
              <p:cNvSpPr txBox="1">
                <a:spLocks/>
              </p:cNvSpPr>
              <p:nvPr/>
            </p:nvSpPr>
            <p:spPr>
              <a:xfrm>
                <a:off x="1196899" y="1514449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rgbClr val="EC0000"/>
                    </a:solidFill>
                    <a:latin typeface="Lato" panose="020F0502020204030203" pitchFamily="34" charset="0"/>
                  </a:rPr>
                  <a:t>COOPERAR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196899" y="2541801"/>
              <a:ext cx="2865864" cy="683433"/>
              <a:chOff x="1196899" y="2541801"/>
              <a:chExt cx="2865864" cy="683433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1196899" y="2745103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20" name="Title 2"/>
              <p:cNvSpPr txBox="1">
                <a:spLocks/>
              </p:cNvSpPr>
              <p:nvPr/>
            </p:nvSpPr>
            <p:spPr>
              <a:xfrm>
                <a:off x="1196899" y="2541801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rgbClr val="EC0000"/>
                    </a:solidFill>
                    <a:latin typeface="Lato" panose="020F0502020204030203" pitchFamily="34" charset="0"/>
                  </a:rPr>
                  <a:t>ESTUDAR OS DADOS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196899" y="3569153"/>
              <a:ext cx="2865864" cy="683433"/>
              <a:chOff x="1196899" y="3569153"/>
              <a:chExt cx="2865864" cy="683433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196899" y="3772455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24" name="Title 2"/>
              <p:cNvSpPr txBox="1">
                <a:spLocks/>
              </p:cNvSpPr>
              <p:nvPr/>
            </p:nvSpPr>
            <p:spPr>
              <a:xfrm>
                <a:off x="1196899" y="3569153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rgbClr val="EC0000"/>
                    </a:solidFill>
                    <a:latin typeface="Lato" panose="020F0502020204030203" pitchFamily="34" charset="0"/>
                  </a:rPr>
                  <a:t>ENCORAJAR A EQUIPE</a:t>
                </a: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5671712" y="1514449"/>
            <a:ext cx="2865864" cy="2738137"/>
            <a:chOff x="5671712" y="1514449"/>
            <a:chExt cx="2865864" cy="2738137"/>
          </a:xfrm>
        </p:grpSpPr>
        <p:grpSp>
          <p:nvGrpSpPr>
            <p:cNvPr id="8" name="Group 7"/>
            <p:cNvGrpSpPr/>
            <p:nvPr/>
          </p:nvGrpSpPr>
          <p:grpSpPr>
            <a:xfrm>
              <a:off x="5671712" y="1514449"/>
              <a:ext cx="2865864" cy="683433"/>
              <a:chOff x="5671712" y="1514449"/>
              <a:chExt cx="2865864" cy="683433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5671712" y="1717751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36" name="Title 2"/>
              <p:cNvSpPr txBox="1">
                <a:spLocks/>
              </p:cNvSpPr>
              <p:nvPr/>
            </p:nvSpPr>
            <p:spPr>
              <a:xfrm>
                <a:off x="5671712" y="1514449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NÃO CONVERSAR COM PESSOAS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671712" y="2541801"/>
              <a:ext cx="2865864" cy="683433"/>
              <a:chOff x="5671712" y="2541801"/>
              <a:chExt cx="2865864" cy="683433"/>
            </a:xfrm>
          </p:grpSpPr>
          <p:sp>
            <p:nvSpPr>
              <p:cNvPr id="39" name="TextBox 38"/>
              <p:cNvSpPr txBox="1"/>
              <p:nvPr/>
            </p:nvSpPr>
            <p:spPr>
              <a:xfrm>
                <a:off x="5671712" y="2745103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40" name="Title 2"/>
              <p:cNvSpPr txBox="1">
                <a:spLocks/>
              </p:cNvSpPr>
              <p:nvPr/>
            </p:nvSpPr>
            <p:spPr>
              <a:xfrm>
                <a:off x="5671712" y="2541801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INFORMAÇÕES FALSA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5671712" y="3569153"/>
              <a:ext cx="2865864" cy="683433"/>
              <a:chOff x="5671712" y="3569153"/>
              <a:chExt cx="2865864" cy="683433"/>
            </a:xfrm>
          </p:grpSpPr>
          <p:sp>
            <p:nvSpPr>
              <p:cNvPr id="43" name="TextBox 42"/>
              <p:cNvSpPr txBox="1"/>
              <p:nvPr/>
            </p:nvSpPr>
            <p:spPr>
              <a:xfrm>
                <a:off x="5671712" y="3772455"/>
                <a:ext cx="2865864" cy="48013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iqua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ug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lesti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l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honc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ffic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onec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vel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osuer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is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 Ut et mi ac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tu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lentesqu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cursus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ncidunt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olor.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urabitu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ligul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e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44" name="Title 2"/>
              <p:cNvSpPr txBox="1">
                <a:spLocks/>
              </p:cNvSpPr>
              <p:nvPr/>
            </p:nvSpPr>
            <p:spPr>
              <a:xfrm>
                <a:off x="5671712" y="3569153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ESCONDER INFORMAÇÕES VERDADEIRAS</a:t>
                </a:r>
              </a:p>
            </p:txBody>
          </p:sp>
        </p:grpSp>
      </p:grpSp>
      <p:sp>
        <p:nvSpPr>
          <p:cNvPr id="28" name="Freeform 27"/>
          <p:cNvSpPr>
            <a:spLocks/>
          </p:cNvSpPr>
          <p:nvPr/>
        </p:nvSpPr>
        <p:spPr bwMode="auto">
          <a:xfrm>
            <a:off x="5137636" y="1543050"/>
            <a:ext cx="304314" cy="304314"/>
          </a:xfrm>
          <a:custGeom>
            <a:avLst/>
            <a:gdLst>
              <a:gd name="T0" fmla="*/ 156 w 289"/>
              <a:gd name="T1" fmla="*/ 145 h 289"/>
              <a:gd name="T2" fmla="*/ 287 w 289"/>
              <a:gd name="T3" fmla="*/ 14 h 289"/>
              <a:gd name="T4" fmla="*/ 289 w 289"/>
              <a:gd name="T5" fmla="*/ 8 h 289"/>
              <a:gd name="T6" fmla="*/ 281 w 289"/>
              <a:gd name="T7" fmla="*/ 0 h 289"/>
              <a:gd name="T8" fmla="*/ 275 w 289"/>
              <a:gd name="T9" fmla="*/ 3 h 289"/>
              <a:gd name="T10" fmla="*/ 144 w 289"/>
              <a:gd name="T11" fmla="*/ 133 h 289"/>
              <a:gd name="T12" fmla="*/ 14 w 289"/>
              <a:gd name="T13" fmla="*/ 3 h 289"/>
              <a:gd name="T14" fmla="*/ 8 w 289"/>
              <a:gd name="T15" fmla="*/ 0 h 289"/>
              <a:gd name="T16" fmla="*/ 0 w 289"/>
              <a:gd name="T17" fmla="*/ 8 h 289"/>
              <a:gd name="T18" fmla="*/ 2 w 289"/>
              <a:gd name="T19" fmla="*/ 14 h 289"/>
              <a:gd name="T20" fmla="*/ 133 w 289"/>
              <a:gd name="T21" fmla="*/ 145 h 289"/>
              <a:gd name="T22" fmla="*/ 2 w 289"/>
              <a:gd name="T23" fmla="*/ 276 h 289"/>
              <a:gd name="T24" fmla="*/ 0 w 289"/>
              <a:gd name="T25" fmla="*/ 281 h 289"/>
              <a:gd name="T26" fmla="*/ 8 w 289"/>
              <a:gd name="T27" fmla="*/ 289 h 289"/>
              <a:gd name="T28" fmla="*/ 14 w 289"/>
              <a:gd name="T29" fmla="*/ 287 h 289"/>
              <a:gd name="T30" fmla="*/ 144 w 289"/>
              <a:gd name="T31" fmla="*/ 156 h 289"/>
              <a:gd name="T32" fmla="*/ 275 w 289"/>
              <a:gd name="T33" fmla="*/ 287 h 289"/>
              <a:gd name="T34" fmla="*/ 281 w 289"/>
              <a:gd name="T35" fmla="*/ 289 h 289"/>
              <a:gd name="T36" fmla="*/ 289 w 289"/>
              <a:gd name="T37" fmla="*/ 281 h 289"/>
              <a:gd name="T38" fmla="*/ 287 w 289"/>
              <a:gd name="T39" fmla="*/ 276 h 289"/>
              <a:gd name="T40" fmla="*/ 156 w 289"/>
              <a:gd name="T41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89">
                <a:moveTo>
                  <a:pt x="156" y="145"/>
                </a:moveTo>
                <a:cubicBezTo>
                  <a:pt x="287" y="14"/>
                  <a:pt x="287" y="14"/>
                  <a:pt x="287" y="14"/>
                </a:cubicBezTo>
                <a:cubicBezTo>
                  <a:pt x="288" y="12"/>
                  <a:pt x="289" y="10"/>
                  <a:pt x="289" y="8"/>
                </a:cubicBezTo>
                <a:cubicBezTo>
                  <a:pt x="289" y="4"/>
                  <a:pt x="285" y="0"/>
                  <a:pt x="281" y="0"/>
                </a:cubicBezTo>
                <a:cubicBezTo>
                  <a:pt x="279" y="0"/>
                  <a:pt x="277" y="1"/>
                  <a:pt x="275" y="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"/>
                  <a:pt x="1" y="12"/>
                  <a:pt x="2" y="14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2" y="276"/>
                  <a:pt x="2" y="276"/>
                  <a:pt x="2" y="276"/>
                </a:cubicBezTo>
                <a:cubicBezTo>
                  <a:pt x="1" y="277"/>
                  <a:pt x="0" y="279"/>
                  <a:pt x="0" y="281"/>
                </a:cubicBezTo>
                <a:cubicBezTo>
                  <a:pt x="0" y="286"/>
                  <a:pt x="4" y="289"/>
                  <a:pt x="8" y="289"/>
                </a:cubicBezTo>
                <a:cubicBezTo>
                  <a:pt x="10" y="289"/>
                  <a:pt x="12" y="288"/>
                  <a:pt x="14" y="287"/>
                </a:cubicBezTo>
                <a:cubicBezTo>
                  <a:pt x="144" y="156"/>
                  <a:pt x="144" y="156"/>
                  <a:pt x="144" y="156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7" y="288"/>
                  <a:pt x="279" y="289"/>
                  <a:pt x="281" y="289"/>
                </a:cubicBezTo>
                <a:cubicBezTo>
                  <a:pt x="285" y="289"/>
                  <a:pt x="289" y="286"/>
                  <a:pt x="289" y="281"/>
                </a:cubicBezTo>
                <a:cubicBezTo>
                  <a:pt x="289" y="279"/>
                  <a:pt x="288" y="277"/>
                  <a:pt x="287" y="276"/>
                </a:cubicBezTo>
                <a:lnTo>
                  <a:pt x="156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5139209" y="2585221"/>
            <a:ext cx="304314" cy="304314"/>
          </a:xfrm>
          <a:custGeom>
            <a:avLst/>
            <a:gdLst>
              <a:gd name="T0" fmla="*/ 156 w 289"/>
              <a:gd name="T1" fmla="*/ 145 h 289"/>
              <a:gd name="T2" fmla="*/ 287 w 289"/>
              <a:gd name="T3" fmla="*/ 14 h 289"/>
              <a:gd name="T4" fmla="*/ 289 w 289"/>
              <a:gd name="T5" fmla="*/ 8 h 289"/>
              <a:gd name="T6" fmla="*/ 281 w 289"/>
              <a:gd name="T7" fmla="*/ 0 h 289"/>
              <a:gd name="T8" fmla="*/ 275 w 289"/>
              <a:gd name="T9" fmla="*/ 3 h 289"/>
              <a:gd name="T10" fmla="*/ 144 w 289"/>
              <a:gd name="T11" fmla="*/ 133 h 289"/>
              <a:gd name="T12" fmla="*/ 14 w 289"/>
              <a:gd name="T13" fmla="*/ 3 h 289"/>
              <a:gd name="T14" fmla="*/ 8 w 289"/>
              <a:gd name="T15" fmla="*/ 0 h 289"/>
              <a:gd name="T16" fmla="*/ 0 w 289"/>
              <a:gd name="T17" fmla="*/ 8 h 289"/>
              <a:gd name="T18" fmla="*/ 2 w 289"/>
              <a:gd name="T19" fmla="*/ 14 h 289"/>
              <a:gd name="T20" fmla="*/ 133 w 289"/>
              <a:gd name="T21" fmla="*/ 145 h 289"/>
              <a:gd name="T22" fmla="*/ 2 w 289"/>
              <a:gd name="T23" fmla="*/ 276 h 289"/>
              <a:gd name="T24" fmla="*/ 0 w 289"/>
              <a:gd name="T25" fmla="*/ 281 h 289"/>
              <a:gd name="T26" fmla="*/ 8 w 289"/>
              <a:gd name="T27" fmla="*/ 289 h 289"/>
              <a:gd name="T28" fmla="*/ 14 w 289"/>
              <a:gd name="T29" fmla="*/ 287 h 289"/>
              <a:gd name="T30" fmla="*/ 144 w 289"/>
              <a:gd name="T31" fmla="*/ 156 h 289"/>
              <a:gd name="T32" fmla="*/ 275 w 289"/>
              <a:gd name="T33" fmla="*/ 287 h 289"/>
              <a:gd name="T34" fmla="*/ 281 w 289"/>
              <a:gd name="T35" fmla="*/ 289 h 289"/>
              <a:gd name="T36" fmla="*/ 289 w 289"/>
              <a:gd name="T37" fmla="*/ 281 h 289"/>
              <a:gd name="T38" fmla="*/ 287 w 289"/>
              <a:gd name="T39" fmla="*/ 276 h 289"/>
              <a:gd name="T40" fmla="*/ 156 w 289"/>
              <a:gd name="T41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89">
                <a:moveTo>
                  <a:pt x="156" y="145"/>
                </a:moveTo>
                <a:cubicBezTo>
                  <a:pt x="287" y="14"/>
                  <a:pt x="287" y="14"/>
                  <a:pt x="287" y="14"/>
                </a:cubicBezTo>
                <a:cubicBezTo>
                  <a:pt x="288" y="12"/>
                  <a:pt x="289" y="10"/>
                  <a:pt x="289" y="8"/>
                </a:cubicBezTo>
                <a:cubicBezTo>
                  <a:pt x="289" y="4"/>
                  <a:pt x="285" y="0"/>
                  <a:pt x="281" y="0"/>
                </a:cubicBezTo>
                <a:cubicBezTo>
                  <a:pt x="279" y="0"/>
                  <a:pt x="277" y="1"/>
                  <a:pt x="275" y="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"/>
                  <a:pt x="1" y="12"/>
                  <a:pt x="2" y="14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2" y="276"/>
                  <a:pt x="2" y="276"/>
                  <a:pt x="2" y="276"/>
                </a:cubicBezTo>
                <a:cubicBezTo>
                  <a:pt x="1" y="277"/>
                  <a:pt x="0" y="279"/>
                  <a:pt x="0" y="281"/>
                </a:cubicBezTo>
                <a:cubicBezTo>
                  <a:pt x="0" y="286"/>
                  <a:pt x="4" y="289"/>
                  <a:pt x="8" y="289"/>
                </a:cubicBezTo>
                <a:cubicBezTo>
                  <a:pt x="10" y="289"/>
                  <a:pt x="12" y="288"/>
                  <a:pt x="14" y="287"/>
                </a:cubicBezTo>
                <a:cubicBezTo>
                  <a:pt x="144" y="156"/>
                  <a:pt x="144" y="156"/>
                  <a:pt x="144" y="156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7" y="288"/>
                  <a:pt x="279" y="289"/>
                  <a:pt x="281" y="289"/>
                </a:cubicBezTo>
                <a:cubicBezTo>
                  <a:pt x="285" y="289"/>
                  <a:pt x="289" y="286"/>
                  <a:pt x="289" y="281"/>
                </a:cubicBezTo>
                <a:cubicBezTo>
                  <a:pt x="289" y="279"/>
                  <a:pt x="288" y="277"/>
                  <a:pt x="287" y="276"/>
                </a:cubicBezTo>
                <a:lnTo>
                  <a:pt x="156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0" name="Freeform 29"/>
          <p:cNvSpPr>
            <a:spLocks/>
          </p:cNvSpPr>
          <p:nvPr/>
        </p:nvSpPr>
        <p:spPr bwMode="auto">
          <a:xfrm>
            <a:off x="5137636" y="3612573"/>
            <a:ext cx="304314" cy="304314"/>
          </a:xfrm>
          <a:custGeom>
            <a:avLst/>
            <a:gdLst>
              <a:gd name="T0" fmla="*/ 156 w 289"/>
              <a:gd name="T1" fmla="*/ 145 h 289"/>
              <a:gd name="T2" fmla="*/ 287 w 289"/>
              <a:gd name="T3" fmla="*/ 14 h 289"/>
              <a:gd name="T4" fmla="*/ 289 w 289"/>
              <a:gd name="T5" fmla="*/ 8 h 289"/>
              <a:gd name="T6" fmla="*/ 281 w 289"/>
              <a:gd name="T7" fmla="*/ 0 h 289"/>
              <a:gd name="T8" fmla="*/ 275 w 289"/>
              <a:gd name="T9" fmla="*/ 3 h 289"/>
              <a:gd name="T10" fmla="*/ 144 w 289"/>
              <a:gd name="T11" fmla="*/ 133 h 289"/>
              <a:gd name="T12" fmla="*/ 14 w 289"/>
              <a:gd name="T13" fmla="*/ 3 h 289"/>
              <a:gd name="T14" fmla="*/ 8 w 289"/>
              <a:gd name="T15" fmla="*/ 0 h 289"/>
              <a:gd name="T16" fmla="*/ 0 w 289"/>
              <a:gd name="T17" fmla="*/ 8 h 289"/>
              <a:gd name="T18" fmla="*/ 2 w 289"/>
              <a:gd name="T19" fmla="*/ 14 h 289"/>
              <a:gd name="T20" fmla="*/ 133 w 289"/>
              <a:gd name="T21" fmla="*/ 145 h 289"/>
              <a:gd name="T22" fmla="*/ 2 w 289"/>
              <a:gd name="T23" fmla="*/ 276 h 289"/>
              <a:gd name="T24" fmla="*/ 0 w 289"/>
              <a:gd name="T25" fmla="*/ 281 h 289"/>
              <a:gd name="T26" fmla="*/ 8 w 289"/>
              <a:gd name="T27" fmla="*/ 289 h 289"/>
              <a:gd name="T28" fmla="*/ 14 w 289"/>
              <a:gd name="T29" fmla="*/ 287 h 289"/>
              <a:gd name="T30" fmla="*/ 144 w 289"/>
              <a:gd name="T31" fmla="*/ 156 h 289"/>
              <a:gd name="T32" fmla="*/ 275 w 289"/>
              <a:gd name="T33" fmla="*/ 287 h 289"/>
              <a:gd name="T34" fmla="*/ 281 w 289"/>
              <a:gd name="T35" fmla="*/ 289 h 289"/>
              <a:gd name="T36" fmla="*/ 289 w 289"/>
              <a:gd name="T37" fmla="*/ 281 h 289"/>
              <a:gd name="T38" fmla="*/ 287 w 289"/>
              <a:gd name="T39" fmla="*/ 276 h 289"/>
              <a:gd name="T40" fmla="*/ 156 w 289"/>
              <a:gd name="T41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89">
                <a:moveTo>
                  <a:pt x="156" y="145"/>
                </a:moveTo>
                <a:cubicBezTo>
                  <a:pt x="287" y="14"/>
                  <a:pt x="287" y="14"/>
                  <a:pt x="287" y="14"/>
                </a:cubicBezTo>
                <a:cubicBezTo>
                  <a:pt x="288" y="12"/>
                  <a:pt x="289" y="10"/>
                  <a:pt x="289" y="8"/>
                </a:cubicBezTo>
                <a:cubicBezTo>
                  <a:pt x="289" y="4"/>
                  <a:pt x="285" y="0"/>
                  <a:pt x="281" y="0"/>
                </a:cubicBezTo>
                <a:cubicBezTo>
                  <a:pt x="279" y="0"/>
                  <a:pt x="277" y="1"/>
                  <a:pt x="275" y="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"/>
                  <a:pt x="1" y="12"/>
                  <a:pt x="2" y="14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2" y="276"/>
                  <a:pt x="2" y="276"/>
                  <a:pt x="2" y="276"/>
                </a:cubicBezTo>
                <a:cubicBezTo>
                  <a:pt x="1" y="277"/>
                  <a:pt x="0" y="279"/>
                  <a:pt x="0" y="281"/>
                </a:cubicBezTo>
                <a:cubicBezTo>
                  <a:pt x="0" y="286"/>
                  <a:pt x="4" y="289"/>
                  <a:pt x="8" y="289"/>
                </a:cubicBezTo>
                <a:cubicBezTo>
                  <a:pt x="10" y="289"/>
                  <a:pt x="12" y="288"/>
                  <a:pt x="14" y="287"/>
                </a:cubicBezTo>
                <a:cubicBezTo>
                  <a:pt x="144" y="156"/>
                  <a:pt x="144" y="156"/>
                  <a:pt x="144" y="156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7" y="288"/>
                  <a:pt x="279" y="289"/>
                  <a:pt x="281" y="289"/>
                </a:cubicBezTo>
                <a:cubicBezTo>
                  <a:pt x="285" y="289"/>
                  <a:pt x="289" y="286"/>
                  <a:pt x="289" y="281"/>
                </a:cubicBezTo>
                <a:cubicBezTo>
                  <a:pt x="289" y="279"/>
                  <a:pt x="288" y="277"/>
                  <a:pt x="287" y="276"/>
                </a:cubicBezTo>
                <a:lnTo>
                  <a:pt x="156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636680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ntos-chave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roje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Aenean</a:t>
            </a:r>
            <a:r>
              <a:rPr lang="en-US" dirty="0"/>
              <a:t> nisi </a:t>
            </a:r>
            <a:r>
              <a:rPr lang="en-US" dirty="0" err="1"/>
              <a:t>purus</a:t>
            </a:r>
            <a:r>
              <a:rPr lang="en-US" dirty="0"/>
              <a:t>, </a:t>
            </a:r>
            <a:r>
              <a:rPr lang="en-US" dirty="0" err="1"/>
              <a:t>finibus</a:t>
            </a:r>
            <a:r>
              <a:rPr lang="en-US" dirty="0"/>
              <a:t> a diam vitae,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iverra</a:t>
            </a:r>
            <a:r>
              <a:rPr lang="en-US" dirty="0"/>
              <a:t> ipsum</a:t>
            </a:r>
          </a:p>
        </p:txBody>
      </p:sp>
      <p:sp>
        <p:nvSpPr>
          <p:cNvPr id="5" name="Freeform 4"/>
          <p:cNvSpPr>
            <a:spLocks noEditPoints="1"/>
          </p:cNvSpPr>
          <p:nvPr/>
        </p:nvSpPr>
        <p:spPr bwMode="auto">
          <a:xfrm>
            <a:off x="593725" y="154305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990600" y="1517444"/>
            <a:ext cx="1760538" cy="656245"/>
            <a:chOff x="990600" y="1517444"/>
            <a:chExt cx="1760538" cy="656245"/>
          </a:xfrm>
        </p:grpSpPr>
        <p:sp>
          <p:nvSpPr>
            <p:cNvPr id="51" name="TextBox 50"/>
            <p:cNvSpPr txBox="1"/>
            <p:nvPr/>
          </p:nvSpPr>
          <p:spPr>
            <a:xfrm>
              <a:off x="990617" y="151744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1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90600" y="1710292"/>
              <a:ext cx="1760538" cy="4633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28" name="Freeform 127"/>
          <p:cNvSpPr>
            <a:spLocks noEditPoints="1"/>
          </p:cNvSpPr>
          <p:nvPr/>
        </p:nvSpPr>
        <p:spPr bwMode="auto">
          <a:xfrm>
            <a:off x="3493294" y="154305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0" name="Group 9"/>
          <p:cNvGrpSpPr/>
          <p:nvPr/>
        </p:nvGrpSpPr>
        <p:grpSpPr>
          <a:xfrm>
            <a:off x="3890169" y="1517444"/>
            <a:ext cx="1760538" cy="672979"/>
            <a:chOff x="3890169" y="1517444"/>
            <a:chExt cx="1760538" cy="672979"/>
          </a:xfrm>
        </p:grpSpPr>
        <p:sp>
          <p:nvSpPr>
            <p:cNvPr id="129" name="TextBox 128"/>
            <p:cNvSpPr txBox="1"/>
            <p:nvPr/>
          </p:nvSpPr>
          <p:spPr>
            <a:xfrm>
              <a:off x="3890186" y="151744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2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3890169" y="1710292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38" name="Freeform 137"/>
          <p:cNvSpPr>
            <a:spLocks noEditPoints="1"/>
          </p:cNvSpPr>
          <p:nvPr/>
        </p:nvSpPr>
        <p:spPr bwMode="auto">
          <a:xfrm>
            <a:off x="6380163" y="154305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1" name="Group 10"/>
          <p:cNvGrpSpPr/>
          <p:nvPr/>
        </p:nvGrpSpPr>
        <p:grpSpPr>
          <a:xfrm>
            <a:off x="6777038" y="1517444"/>
            <a:ext cx="1760538" cy="672979"/>
            <a:chOff x="6777038" y="1517444"/>
            <a:chExt cx="1760538" cy="672979"/>
          </a:xfrm>
        </p:grpSpPr>
        <p:sp>
          <p:nvSpPr>
            <p:cNvPr id="139" name="TextBox 138"/>
            <p:cNvSpPr txBox="1"/>
            <p:nvPr/>
          </p:nvSpPr>
          <p:spPr>
            <a:xfrm>
              <a:off x="6777055" y="151744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3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777038" y="1710292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92" name="Freeform 91"/>
          <p:cNvSpPr>
            <a:spLocks noEditPoints="1"/>
          </p:cNvSpPr>
          <p:nvPr/>
        </p:nvSpPr>
        <p:spPr bwMode="auto">
          <a:xfrm>
            <a:off x="593725" y="2558555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6" name="Group 5"/>
          <p:cNvGrpSpPr/>
          <p:nvPr/>
        </p:nvGrpSpPr>
        <p:grpSpPr>
          <a:xfrm>
            <a:off x="990600" y="2532949"/>
            <a:ext cx="1760538" cy="672979"/>
            <a:chOff x="990600" y="2532949"/>
            <a:chExt cx="1760538" cy="672979"/>
          </a:xfrm>
        </p:grpSpPr>
        <p:sp>
          <p:nvSpPr>
            <p:cNvPr id="93" name="TextBox 92"/>
            <p:cNvSpPr txBox="1"/>
            <p:nvPr/>
          </p:nvSpPr>
          <p:spPr>
            <a:xfrm>
              <a:off x="990617" y="2532949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4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990600" y="2725797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31" name="Freeform 130"/>
          <p:cNvSpPr>
            <a:spLocks noEditPoints="1"/>
          </p:cNvSpPr>
          <p:nvPr/>
        </p:nvSpPr>
        <p:spPr bwMode="auto">
          <a:xfrm>
            <a:off x="3493294" y="2558555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9" name="Group 8"/>
          <p:cNvGrpSpPr/>
          <p:nvPr/>
        </p:nvGrpSpPr>
        <p:grpSpPr>
          <a:xfrm>
            <a:off x="3890169" y="2532949"/>
            <a:ext cx="1760538" cy="672979"/>
            <a:chOff x="3890169" y="2532949"/>
            <a:chExt cx="1760538" cy="672979"/>
          </a:xfrm>
        </p:grpSpPr>
        <p:sp>
          <p:nvSpPr>
            <p:cNvPr id="132" name="TextBox 131"/>
            <p:cNvSpPr txBox="1"/>
            <p:nvPr/>
          </p:nvSpPr>
          <p:spPr>
            <a:xfrm>
              <a:off x="3890186" y="2532949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5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3890169" y="2725797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41" name="Freeform 140"/>
          <p:cNvSpPr>
            <a:spLocks noEditPoints="1"/>
          </p:cNvSpPr>
          <p:nvPr/>
        </p:nvSpPr>
        <p:spPr bwMode="auto">
          <a:xfrm>
            <a:off x="6380163" y="2558555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2" name="Group 11"/>
          <p:cNvGrpSpPr/>
          <p:nvPr/>
        </p:nvGrpSpPr>
        <p:grpSpPr>
          <a:xfrm>
            <a:off x="6777038" y="2532949"/>
            <a:ext cx="1760538" cy="672979"/>
            <a:chOff x="6777038" y="2532949"/>
            <a:chExt cx="1760538" cy="672979"/>
          </a:xfrm>
        </p:grpSpPr>
        <p:sp>
          <p:nvSpPr>
            <p:cNvPr id="142" name="TextBox 141"/>
            <p:cNvSpPr txBox="1"/>
            <p:nvPr/>
          </p:nvSpPr>
          <p:spPr>
            <a:xfrm>
              <a:off x="6777055" y="2532949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6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6777038" y="2725797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96" name="Freeform 95"/>
          <p:cNvSpPr>
            <a:spLocks noEditPoints="1"/>
          </p:cNvSpPr>
          <p:nvPr/>
        </p:nvSpPr>
        <p:spPr bwMode="auto">
          <a:xfrm>
            <a:off x="593725" y="357406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7" name="Group 6"/>
          <p:cNvGrpSpPr/>
          <p:nvPr/>
        </p:nvGrpSpPr>
        <p:grpSpPr>
          <a:xfrm>
            <a:off x="990600" y="3548454"/>
            <a:ext cx="1760538" cy="672979"/>
            <a:chOff x="990600" y="3548454"/>
            <a:chExt cx="1760538" cy="672979"/>
          </a:xfrm>
        </p:grpSpPr>
        <p:sp>
          <p:nvSpPr>
            <p:cNvPr id="97" name="TextBox 96"/>
            <p:cNvSpPr txBox="1"/>
            <p:nvPr/>
          </p:nvSpPr>
          <p:spPr>
            <a:xfrm>
              <a:off x="990617" y="354845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7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990600" y="3741302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34" name="Freeform 133"/>
          <p:cNvSpPr>
            <a:spLocks noEditPoints="1"/>
          </p:cNvSpPr>
          <p:nvPr/>
        </p:nvSpPr>
        <p:spPr bwMode="auto">
          <a:xfrm>
            <a:off x="3493294" y="357406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8" name="Group 7"/>
          <p:cNvGrpSpPr/>
          <p:nvPr/>
        </p:nvGrpSpPr>
        <p:grpSpPr>
          <a:xfrm>
            <a:off x="3890169" y="3548454"/>
            <a:ext cx="1760538" cy="672979"/>
            <a:chOff x="3890169" y="3548454"/>
            <a:chExt cx="1760538" cy="672979"/>
          </a:xfrm>
        </p:grpSpPr>
        <p:sp>
          <p:nvSpPr>
            <p:cNvPr id="135" name="TextBox 134"/>
            <p:cNvSpPr txBox="1"/>
            <p:nvPr/>
          </p:nvSpPr>
          <p:spPr>
            <a:xfrm>
              <a:off x="3890186" y="354845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8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6" name="TextBox 135"/>
            <p:cNvSpPr txBox="1"/>
            <p:nvPr/>
          </p:nvSpPr>
          <p:spPr>
            <a:xfrm>
              <a:off x="3890169" y="3741302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144" name="Freeform 143"/>
          <p:cNvSpPr>
            <a:spLocks noEditPoints="1"/>
          </p:cNvSpPr>
          <p:nvPr/>
        </p:nvSpPr>
        <p:spPr bwMode="auto">
          <a:xfrm>
            <a:off x="6380163" y="3574060"/>
            <a:ext cx="254199" cy="254199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3" name="Group 12"/>
          <p:cNvGrpSpPr/>
          <p:nvPr/>
        </p:nvGrpSpPr>
        <p:grpSpPr>
          <a:xfrm>
            <a:off x="6777038" y="3548454"/>
            <a:ext cx="1760538" cy="672979"/>
            <a:chOff x="6777038" y="3548454"/>
            <a:chExt cx="1760538" cy="672979"/>
          </a:xfrm>
        </p:grpSpPr>
        <p:sp>
          <p:nvSpPr>
            <p:cNvPr id="145" name="TextBox 144"/>
            <p:cNvSpPr txBox="1"/>
            <p:nvPr/>
          </p:nvSpPr>
          <p:spPr>
            <a:xfrm>
              <a:off x="6777055" y="3548454"/>
              <a:ext cx="176046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nto-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hav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9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777038" y="3741302"/>
              <a:ext cx="176053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576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LISTA DE </a:t>
            </a:r>
            <a:r>
              <a:rPr lang="en-US" dirty="0">
                <a:solidFill>
                  <a:srgbClr val="EC0000"/>
                </a:solidFill>
              </a:rPr>
              <a:t>OPÇÕ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Pellentesque neque magna, lobortis ac placerat ac, pretium nec lectus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593725" y="3858285"/>
            <a:ext cx="7943851" cy="3033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  <a:spcAft>
                <a:spcPts val="900"/>
              </a:spcAft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sue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sl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Ut et mi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incidun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urab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n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232180" y="1455396"/>
            <a:ext cx="1873389" cy="1793130"/>
            <a:chOff x="1232180" y="1455396"/>
            <a:chExt cx="1873389" cy="1793130"/>
          </a:xfrm>
        </p:grpSpPr>
        <p:sp>
          <p:nvSpPr>
            <p:cNvPr id="4" name="TextBox 3"/>
            <p:cNvSpPr txBox="1"/>
            <p:nvPr/>
          </p:nvSpPr>
          <p:spPr>
            <a:xfrm>
              <a:off x="1232180" y="2029538"/>
              <a:ext cx="1873389" cy="12189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232180" y="1455396"/>
              <a:ext cx="584688" cy="507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 dirty="0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1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772348" y="1718552"/>
              <a:ext cx="1333221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edes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ociais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635306" y="1455396"/>
            <a:ext cx="1873389" cy="1791719"/>
            <a:chOff x="3635306" y="1455396"/>
            <a:chExt cx="1873389" cy="1791719"/>
          </a:xfrm>
        </p:grpSpPr>
        <p:sp>
          <p:nvSpPr>
            <p:cNvPr id="7" name="TextBox 6"/>
            <p:cNvSpPr txBox="1"/>
            <p:nvPr/>
          </p:nvSpPr>
          <p:spPr>
            <a:xfrm>
              <a:off x="3635306" y="2029538"/>
              <a:ext cx="1873389" cy="12175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635306" y="1455396"/>
              <a:ext cx="584688" cy="507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 dirty="0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2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175474" y="1718552"/>
              <a:ext cx="1333221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dução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de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vídeo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038432" y="1455396"/>
            <a:ext cx="1873389" cy="1791719"/>
            <a:chOff x="6038432" y="1455396"/>
            <a:chExt cx="1873389" cy="1791719"/>
          </a:xfrm>
        </p:grpSpPr>
        <p:sp>
          <p:nvSpPr>
            <p:cNvPr id="10" name="TextBox 9"/>
            <p:cNvSpPr txBox="1"/>
            <p:nvPr/>
          </p:nvSpPr>
          <p:spPr>
            <a:xfrm>
              <a:off x="6038432" y="2029538"/>
              <a:ext cx="1873389" cy="12175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u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olutp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. 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038432" y="1455396"/>
              <a:ext cx="584688" cy="5078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200" b="1" dirty="0">
                  <a:solidFill>
                    <a:srgbClr val="EC0000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3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578600" y="1718552"/>
              <a:ext cx="1333221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esign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Gráfico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778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destaques</a:t>
            </a:r>
            <a:r>
              <a:rPr lang="en-US" dirty="0"/>
              <a:t> das </a:t>
            </a:r>
            <a:r>
              <a:rPr lang="en-US" dirty="0" err="1">
                <a:solidFill>
                  <a:srgbClr val="EC0000"/>
                </a:solidFill>
              </a:rPr>
              <a:t>venda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sert some short and brief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explanatory text about title here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3159919" y="1583115"/>
            <a:ext cx="0" cy="258304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5984081" y="1583115"/>
            <a:ext cx="0" cy="2583043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785246" y="1757368"/>
            <a:ext cx="1683314" cy="2297821"/>
            <a:chOff x="785246" y="1757368"/>
            <a:chExt cx="1683314" cy="2297821"/>
          </a:xfrm>
        </p:grpSpPr>
        <p:sp>
          <p:nvSpPr>
            <p:cNvPr id="7" name="TextBox 6"/>
            <p:cNvSpPr txBox="1"/>
            <p:nvPr/>
          </p:nvSpPr>
          <p:spPr>
            <a:xfrm>
              <a:off x="785246" y="3271705"/>
              <a:ext cx="1683314" cy="7834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sl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et mi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. 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785246" y="1757368"/>
              <a:ext cx="16833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cap="all" spc="30" dirty="0">
                  <a:solidFill>
                    <a:schemeClr val="accent3"/>
                  </a:solidFill>
                  <a:latin typeface="Lato Black" panose="020F0A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CEITA DE VENDA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85246" y="1941629"/>
              <a:ext cx="168331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cap="all" dirty="0">
                  <a:solidFill>
                    <a:srgbClr val="EC0000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$2.8m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1453072" y="2715963"/>
              <a:ext cx="347663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/>
            <p:cNvSpPr txBox="1"/>
            <p:nvPr/>
          </p:nvSpPr>
          <p:spPr>
            <a:xfrm>
              <a:off x="785246" y="3038971"/>
              <a:ext cx="16833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ndas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retas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738249" y="1757368"/>
            <a:ext cx="1683314" cy="2297821"/>
            <a:chOff x="3738249" y="1757368"/>
            <a:chExt cx="1683314" cy="2297821"/>
          </a:xfrm>
        </p:grpSpPr>
        <p:sp>
          <p:nvSpPr>
            <p:cNvPr id="10" name="TextBox 9"/>
            <p:cNvSpPr txBox="1"/>
            <p:nvPr/>
          </p:nvSpPr>
          <p:spPr>
            <a:xfrm>
              <a:off x="3738249" y="3271705"/>
              <a:ext cx="1683314" cy="7834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sl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et mi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. 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738249" y="1757368"/>
              <a:ext cx="16833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cap="all" spc="30" dirty="0">
                  <a:solidFill>
                    <a:schemeClr val="accent3"/>
                  </a:solidFill>
                  <a:latin typeface="Lato Black" panose="020F0A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RESCIMENTO DE RECEITA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738249" y="1941629"/>
              <a:ext cx="168331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cap="all" dirty="0">
                  <a:solidFill>
                    <a:srgbClr val="EC0000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+3.2%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4406075" y="2715963"/>
              <a:ext cx="347663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3738249" y="3038971"/>
              <a:ext cx="16833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os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lientes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691252" y="1757368"/>
            <a:ext cx="1683314" cy="2297821"/>
            <a:chOff x="6691252" y="1757368"/>
            <a:chExt cx="1683314" cy="2297821"/>
          </a:xfrm>
        </p:grpSpPr>
        <p:sp>
          <p:nvSpPr>
            <p:cNvPr id="13" name="TextBox 12"/>
            <p:cNvSpPr txBox="1"/>
            <p:nvPr/>
          </p:nvSpPr>
          <p:spPr>
            <a:xfrm>
              <a:off x="6691252" y="3271705"/>
              <a:ext cx="1683314" cy="7834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suer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sl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et mi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. 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691252" y="1757368"/>
              <a:ext cx="1683314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cap="all" spc="30" dirty="0">
                  <a:solidFill>
                    <a:schemeClr val="accent3"/>
                  </a:solidFill>
                  <a:latin typeface="Lato Black" panose="020F0A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OS CLIENTE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691252" y="1941629"/>
              <a:ext cx="1683314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cap="all" dirty="0">
                  <a:solidFill>
                    <a:srgbClr val="EC0000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+14K</a:t>
              </a: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7359078" y="2715963"/>
              <a:ext cx="347663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6691252" y="3038971"/>
              <a:ext cx="168331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vos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mos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1783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SCRITÓRIOS </a:t>
            </a:r>
            <a:r>
              <a:rPr lang="en-US" dirty="0">
                <a:solidFill>
                  <a:srgbClr val="EC0000"/>
                </a:solidFill>
              </a:rPr>
              <a:t>GLOBA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estibulum et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 </a:t>
            </a:r>
            <a:r>
              <a:rPr lang="en-US" dirty="0" err="1"/>
              <a:t>Proi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 ac </a:t>
            </a:r>
            <a:r>
              <a:rPr lang="en-US" dirty="0" err="1"/>
              <a:t>mauris</a:t>
            </a:r>
            <a:r>
              <a:rPr lang="en-US" dirty="0"/>
              <a:t> porta semper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683834" y="1510466"/>
            <a:ext cx="5776332" cy="2857736"/>
            <a:chOff x="3128211" y="3034900"/>
            <a:chExt cx="18127578" cy="8968292"/>
          </a:xfrm>
          <a:solidFill>
            <a:schemeClr val="accent6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12253989" y="9697873"/>
              <a:ext cx="641670" cy="641669"/>
            </a:xfrm>
            <a:custGeom>
              <a:avLst/>
              <a:gdLst>
                <a:gd name="T0" fmla="*/ 471 w 1270"/>
                <a:gd name="T1" fmla="*/ 1211 h 1267"/>
                <a:gd name="T2" fmla="*/ 527 w 1270"/>
                <a:gd name="T3" fmla="*/ 1182 h 1267"/>
                <a:gd name="T4" fmla="*/ 580 w 1270"/>
                <a:gd name="T5" fmla="*/ 1253 h 1267"/>
                <a:gd name="T6" fmla="*/ 707 w 1270"/>
                <a:gd name="T7" fmla="*/ 1250 h 1267"/>
                <a:gd name="T8" fmla="*/ 772 w 1270"/>
                <a:gd name="T9" fmla="*/ 1185 h 1267"/>
                <a:gd name="T10" fmla="*/ 772 w 1270"/>
                <a:gd name="T11" fmla="*/ 526 h 1267"/>
                <a:gd name="T12" fmla="*/ 872 w 1270"/>
                <a:gd name="T13" fmla="*/ 488 h 1267"/>
                <a:gd name="T14" fmla="*/ 872 w 1270"/>
                <a:gd name="T15" fmla="*/ 146 h 1267"/>
                <a:gd name="T16" fmla="*/ 967 w 1270"/>
                <a:gd name="T17" fmla="*/ 134 h 1267"/>
                <a:gd name="T18" fmla="*/ 1079 w 1270"/>
                <a:gd name="T19" fmla="*/ 102 h 1267"/>
                <a:gd name="T20" fmla="*/ 1132 w 1270"/>
                <a:gd name="T21" fmla="*/ 140 h 1267"/>
                <a:gd name="T22" fmla="*/ 1203 w 1270"/>
                <a:gd name="T23" fmla="*/ 96 h 1267"/>
                <a:gd name="T24" fmla="*/ 1270 w 1270"/>
                <a:gd name="T25" fmla="*/ 83 h 1267"/>
                <a:gd name="T26" fmla="*/ 1262 w 1270"/>
                <a:gd name="T27" fmla="*/ 60 h 1267"/>
                <a:gd name="T28" fmla="*/ 1052 w 1270"/>
                <a:gd name="T29" fmla="*/ 75 h 1267"/>
                <a:gd name="T30" fmla="*/ 898 w 1270"/>
                <a:gd name="T31" fmla="*/ 85 h 1267"/>
                <a:gd name="T32" fmla="*/ 678 w 1270"/>
                <a:gd name="T33" fmla="*/ 85 h 1267"/>
                <a:gd name="T34" fmla="*/ 643 w 1270"/>
                <a:gd name="T35" fmla="*/ 50 h 1267"/>
                <a:gd name="T36" fmla="*/ 299 w 1270"/>
                <a:gd name="T37" fmla="*/ 50 h 1267"/>
                <a:gd name="T38" fmla="*/ 209 w 1270"/>
                <a:gd name="T39" fmla="*/ 25 h 1267"/>
                <a:gd name="T40" fmla="*/ 114 w 1270"/>
                <a:gd name="T41" fmla="*/ 20 h 1267"/>
                <a:gd name="T42" fmla="*/ 69 w 1270"/>
                <a:gd name="T43" fmla="*/ 0 h 1267"/>
                <a:gd name="T44" fmla="*/ 34 w 1270"/>
                <a:gd name="T45" fmla="*/ 25 h 1267"/>
                <a:gd name="T46" fmla="*/ 3 w 1270"/>
                <a:gd name="T47" fmla="*/ 33 h 1267"/>
                <a:gd name="T48" fmla="*/ 59 w 1270"/>
                <a:gd name="T49" fmla="*/ 164 h 1267"/>
                <a:gd name="T50" fmla="*/ 157 w 1270"/>
                <a:gd name="T51" fmla="*/ 367 h 1267"/>
                <a:gd name="T52" fmla="*/ 259 w 1270"/>
                <a:gd name="T53" fmla="*/ 575 h 1267"/>
                <a:gd name="T54" fmla="*/ 263 w 1270"/>
                <a:gd name="T55" fmla="*/ 743 h 1267"/>
                <a:gd name="T56" fmla="*/ 298 w 1270"/>
                <a:gd name="T57" fmla="*/ 900 h 1267"/>
                <a:gd name="T58" fmla="*/ 366 w 1270"/>
                <a:gd name="T59" fmla="*/ 1142 h 1267"/>
                <a:gd name="T60" fmla="*/ 428 w 1270"/>
                <a:gd name="T61" fmla="*/ 1222 h 1267"/>
                <a:gd name="T62" fmla="*/ 471 w 1270"/>
                <a:gd name="T63" fmla="*/ 1211 h 1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70" h="1267">
                  <a:moveTo>
                    <a:pt x="471" y="1211"/>
                  </a:moveTo>
                  <a:cubicBezTo>
                    <a:pt x="471" y="1191"/>
                    <a:pt x="507" y="1152"/>
                    <a:pt x="527" y="1182"/>
                  </a:cubicBezTo>
                  <a:cubicBezTo>
                    <a:pt x="548" y="1211"/>
                    <a:pt x="539" y="1253"/>
                    <a:pt x="580" y="1253"/>
                  </a:cubicBezTo>
                  <a:cubicBezTo>
                    <a:pt x="622" y="1253"/>
                    <a:pt x="695" y="1267"/>
                    <a:pt x="707" y="1250"/>
                  </a:cubicBezTo>
                  <a:cubicBezTo>
                    <a:pt x="719" y="1232"/>
                    <a:pt x="772" y="1217"/>
                    <a:pt x="772" y="1185"/>
                  </a:cubicBezTo>
                  <a:cubicBezTo>
                    <a:pt x="772" y="1152"/>
                    <a:pt x="772" y="550"/>
                    <a:pt x="772" y="526"/>
                  </a:cubicBezTo>
                  <a:cubicBezTo>
                    <a:pt x="772" y="503"/>
                    <a:pt x="872" y="526"/>
                    <a:pt x="872" y="488"/>
                  </a:cubicBezTo>
                  <a:cubicBezTo>
                    <a:pt x="872" y="450"/>
                    <a:pt x="872" y="146"/>
                    <a:pt x="872" y="146"/>
                  </a:cubicBezTo>
                  <a:cubicBezTo>
                    <a:pt x="872" y="146"/>
                    <a:pt x="946" y="140"/>
                    <a:pt x="967" y="134"/>
                  </a:cubicBezTo>
                  <a:cubicBezTo>
                    <a:pt x="988" y="128"/>
                    <a:pt x="1061" y="90"/>
                    <a:pt x="1079" y="102"/>
                  </a:cubicBezTo>
                  <a:cubicBezTo>
                    <a:pt x="1097" y="113"/>
                    <a:pt x="1120" y="155"/>
                    <a:pt x="1132" y="140"/>
                  </a:cubicBezTo>
                  <a:cubicBezTo>
                    <a:pt x="1144" y="125"/>
                    <a:pt x="1174" y="96"/>
                    <a:pt x="1203" y="96"/>
                  </a:cubicBezTo>
                  <a:cubicBezTo>
                    <a:pt x="1219" y="96"/>
                    <a:pt x="1246" y="89"/>
                    <a:pt x="1270" y="83"/>
                  </a:cubicBezTo>
                  <a:cubicBezTo>
                    <a:pt x="1265" y="74"/>
                    <a:pt x="1262" y="66"/>
                    <a:pt x="1262" y="60"/>
                  </a:cubicBezTo>
                  <a:cubicBezTo>
                    <a:pt x="1262" y="35"/>
                    <a:pt x="1082" y="65"/>
                    <a:pt x="1052" y="75"/>
                  </a:cubicBezTo>
                  <a:cubicBezTo>
                    <a:pt x="1023" y="85"/>
                    <a:pt x="928" y="100"/>
                    <a:pt x="898" y="85"/>
                  </a:cubicBezTo>
                  <a:cubicBezTo>
                    <a:pt x="868" y="70"/>
                    <a:pt x="678" y="85"/>
                    <a:pt x="678" y="85"/>
                  </a:cubicBezTo>
                  <a:cubicBezTo>
                    <a:pt x="643" y="50"/>
                    <a:pt x="643" y="50"/>
                    <a:pt x="643" y="50"/>
                  </a:cubicBezTo>
                  <a:cubicBezTo>
                    <a:pt x="643" y="50"/>
                    <a:pt x="334" y="50"/>
                    <a:pt x="299" y="50"/>
                  </a:cubicBezTo>
                  <a:cubicBezTo>
                    <a:pt x="264" y="50"/>
                    <a:pt x="239" y="45"/>
                    <a:pt x="209" y="25"/>
                  </a:cubicBezTo>
                  <a:cubicBezTo>
                    <a:pt x="179" y="5"/>
                    <a:pt x="149" y="5"/>
                    <a:pt x="114" y="20"/>
                  </a:cubicBezTo>
                  <a:cubicBezTo>
                    <a:pt x="79" y="35"/>
                    <a:pt x="94" y="0"/>
                    <a:pt x="69" y="0"/>
                  </a:cubicBezTo>
                  <a:cubicBezTo>
                    <a:pt x="44" y="0"/>
                    <a:pt x="34" y="25"/>
                    <a:pt x="34" y="25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0" y="63"/>
                    <a:pt x="27" y="119"/>
                    <a:pt x="59" y="164"/>
                  </a:cubicBezTo>
                  <a:cubicBezTo>
                    <a:pt x="93" y="209"/>
                    <a:pt x="135" y="295"/>
                    <a:pt x="157" y="367"/>
                  </a:cubicBezTo>
                  <a:cubicBezTo>
                    <a:pt x="179" y="439"/>
                    <a:pt x="242" y="521"/>
                    <a:pt x="259" y="575"/>
                  </a:cubicBezTo>
                  <a:cubicBezTo>
                    <a:pt x="275" y="630"/>
                    <a:pt x="247" y="708"/>
                    <a:pt x="263" y="743"/>
                  </a:cubicBezTo>
                  <a:cubicBezTo>
                    <a:pt x="279" y="779"/>
                    <a:pt x="290" y="839"/>
                    <a:pt x="298" y="900"/>
                  </a:cubicBezTo>
                  <a:cubicBezTo>
                    <a:pt x="307" y="960"/>
                    <a:pt x="312" y="1089"/>
                    <a:pt x="366" y="1142"/>
                  </a:cubicBezTo>
                  <a:cubicBezTo>
                    <a:pt x="387" y="1162"/>
                    <a:pt x="408" y="1190"/>
                    <a:pt x="428" y="1222"/>
                  </a:cubicBezTo>
                  <a:cubicBezTo>
                    <a:pt x="453" y="1224"/>
                    <a:pt x="471" y="1227"/>
                    <a:pt x="471" y="121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2895658" y="9627508"/>
              <a:ext cx="403766" cy="351829"/>
            </a:xfrm>
            <a:custGeom>
              <a:avLst/>
              <a:gdLst>
                <a:gd name="T0" fmla="*/ 529 w 799"/>
                <a:gd name="T1" fmla="*/ 32 h 695"/>
                <a:gd name="T2" fmla="*/ 515 w 799"/>
                <a:gd name="T3" fmla="*/ 0 h 695"/>
                <a:gd name="T4" fmla="*/ 429 w 799"/>
                <a:gd name="T5" fmla="*/ 2 h 695"/>
                <a:gd name="T6" fmla="*/ 373 w 799"/>
                <a:gd name="T7" fmla="*/ 53 h 695"/>
                <a:gd name="T8" fmla="*/ 281 w 799"/>
                <a:gd name="T9" fmla="*/ 123 h 695"/>
                <a:gd name="T10" fmla="*/ 178 w 799"/>
                <a:gd name="T11" fmla="*/ 236 h 695"/>
                <a:gd name="T12" fmla="*/ 51 w 799"/>
                <a:gd name="T13" fmla="*/ 215 h 695"/>
                <a:gd name="T14" fmla="*/ 0 w 799"/>
                <a:gd name="T15" fmla="*/ 223 h 695"/>
                <a:gd name="T16" fmla="*/ 57 w 799"/>
                <a:gd name="T17" fmla="*/ 280 h 695"/>
                <a:gd name="T18" fmla="*/ 112 w 799"/>
                <a:gd name="T19" fmla="*/ 399 h 695"/>
                <a:gd name="T20" fmla="*/ 212 w 799"/>
                <a:gd name="T21" fmla="*/ 469 h 695"/>
                <a:gd name="T22" fmla="*/ 252 w 799"/>
                <a:gd name="T23" fmla="*/ 544 h 695"/>
                <a:gd name="T24" fmla="*/ 322 w 799"/>
                <a:gd name="T25" fmla="*/ 614 h 695"/>
                <a:gd name="T26" fmla="*/ 392 w 799"/>
                <a:gd name="T27" fmla="*/ 656 h 695"/>
                <a:gd name="T28" fmla="*/ 487 w 799"/>
                <a:gd name="T29" fmla="*/ 674 h 695"/>
                <a:gd name="T30" fmla="*/ 601 w 799"/>
                <a:gd name="T31" fmla="*/ 695 h 695"/>
                <a:gd name="T32" fmla="*/ 702 w 799"/>
                <a:gd name="T33" fmla="*/ 594 h 695"/>
                <a:gd name="T34" fmla="*/ 728 w 799"/>
                <a:gd name="T35" fmla="*/ 497 h 695"/>
                <a:gd name="T36" fmla="*/ 782 w 799"/>
                <a:gd name="T37" fmla="*/ 422 h 695"/>
                <a:gd name="T38" fmla="*/ 751 w 799"/>
                <a:gd name="T39" fmla="*/ 346 h 695"/>
                <a:gd name="T40" fmla="*/ 777 w 799"/>
                <a:gd name="T41" fmla="*/ 258 h 695"/>
                <a:gd name="T42" fmla="*/ 773 w 799"/>
                <a:gd name="T43" fmla="*/ 103 h 695"/>
                <a:gd name="T44" fmla="*/ 658 w 799"/>
                <a:gd name="T45" fmla="*/ 63 h 695"/>
                <a:gd name="T46" fmla="*/ 529 w 799"/>
                <a:gd name="T47" fmla="*/ 32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9" h="695">
                  <a:moveTo>
                    <a:pt x="529" y="32"/>
                  </a:moveTo>
                  <a:cubicBezTo>
                    <a:pt x="515" y="0"/>
                    <a:pt x="515" y="0"/>
                    <a:pt x="515" y="0"/>
                  </a:cubicBezTo>
                  <a:cubicBezTo>
                    <a:pt x="429" y="2"/>
                    <a:pt x="429" y="2"/>
                    <a:pt x="429" y="2"/>
                  </a:cubicBezTo>
                  <a:cubicBezTo>
                    <a:pt x="373" y="17"/>
                    <a:pt x="373" y="35"/>
                    <a:pt x="373" y="53"/>
                  </a:cubicBezTo>
                  <a:cubicBezTo>
                    <a:pt x="373" y="70"/>
                    <a:pt x="320" y="112"/>
                    <a:pt x="281" y="123"/>
                  </a:cubicBezTo>
                  <a:cubicBezTo>
                    <a:pt x="243" y="135"/>
                    <a:pt x="202" y="224"/>
                    <a:pt x="178" y="236"/>
                  </a:cubicBezTo>
                  <a:cubicBezTo>
                    <a:pt x="154" y="247"/>
                    <a:pt x="75" y="218"/>
                    <a:pt x="51" y="215"/>
                  </a:cubicBezTo>
                  <a:cubicBezTo>
                    <a:pt x="40" y="214"/>
                    <a:pt x="21" y="218"/>
                    <a:pt x="0" y="223"/>
                  </a:cubicBezTo>
                  <a:cubicBezTo>
                    <a:pt x="15" y="249"/>
                    <a:pt x="46" y="280"/>
                    <a:pt x="57" y="280"/>
                  </a:cubicBezTo>
                  <a:cubicBezTo>
                    <a:pt x="72" y="280"/>
                    <a:pt x="77" y="384"/>
                    <a:pt x="112" y="399"/>
                  </a:cubicBezTo>
                  <a:cubicBezTo>
                    <a:pt x="147" y="414"/>
                    <a:pt x="212" y="449"/>
                    <a:pt x="212" y="469"/>
                  </a:cubicBezTo>
                  <a:cubicBezTo>
                    <a:pt x="212" y="489"/>
                    <a:pt x="252" y="514"/>
                    <a:pt x="252" y="544"/>
                  </a:cubicBezTo>
                  <a:cubicBezTo>
                    <a:pt x="252" y="574"/>
                    <a:pt x="291" y="615"/>
                    <a:pt x="322" y="614"/>
                  </a:cubicBezTo>
                  <a:cubicBezTo>
                    <a:pt x="385" y="612"/>
                    <a:pt x="392" y="638"/>
                    <a:pt x="392" y="656"/>
                  </a:cubicBezTo>
                  <a:cubicBezTo>
                    <a:pt x="392" y="674"/>
                    <a:pt x="476" y="656"/>
                    <a:pt x="487" y="674"/>
                  </a:cubicBezTo>
                  <a:cubicBezTo>
                    <a:pt x="497" y="690"/>
                    <a:pt x="580" y="684"/>
                    <a:pt x="601" y="695"/>
                  </a:cubicBezTo>
                  <a:cubicBezTo>
                    <a:pt x="635" y="661"/>
                    <a:pt x="685" y="617"/>
                    <a:pt x="702" y="594"/>
                  </a:cubicBezTo>
                  <a:cubicBezTo>
                    <a:pt x="728" y="559"/>
                    <a:pt x="706" y="510"/>
                    <a:pt x="728" y="497"/>
                  </a:cubicBezTo>
                  <a:cubicBezTo>
                    <a:pt x="751" y="483"/>
                    <a:pt x="799" y="426"/>
                    <a:pt x="782" y="422"/>
                  </a:cubicBezTo>
                  <a:cubicBezTo>
                    <a:pt x="764" y="417"/>
                    <a:pt x="777" y="373"/>
                    <a:pt x="751" y="346"/>
                  </a:cubicBezTo>
                  <a:cubicBezTo>
                    <a:pt x="724" y="320"/>
                    <a:pt x="782" y="306"/>
                    <a:pt x="777" y="258"/>
                  </a:cubicBezTo>
                  <a:cubicBezTo>
                    <a:pt x="773" y="209"/>
                    <a:pt x="786" y="112"/>
                    <a:pt x="773" y="103"/>
                  </a:cubicBezTo>
                  <a:cubicBezTo>
                    <a:pt x="759" y="94"/>
                    <a:pt x="697" y="89"/>
                    <a:pt x="658" y="63"/>
                  </a:cubicBezTo>
                  <a:cubicBezTo>
                    <a:pt x="618" y="36"/>
                    <a:pt x="529" y="32"/>
                    <a:pt x="529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12644351" y="9739758"/>
              <a:ext cx="449001" cy="489210"/>
            </a:xfrm>
            <a:custGeom>
              <a:avLst/>
              <a:gdLst>
                <a:gd name="T0" fmla="*/ 820 w 890"/>
                <a:gd name="T1" fmla="*/ 391 h 966"/>
                <a:gd name="T2" fmla="*/ 750 w 890"/>
                <a:gd name="T3" fmla="*/ 321 h 966"/>
                <a:gd name="T4" fmla="*/ 710 w 890"/>
                <a:gd name="T5" fmla="*/ 246 h 966"/>
                <a:gd name="T6" fmla="*/ 610 w 890"/>
                <a:gd name="T7" fmla="*/ 176 h 966"/>
                <a:gd name="T8" fmla="*/ 555 w 890"/>
                <a:gd name="T9" fmla="*/ 57 h 966"/>
                <a:gd name="T10" fmla="*/ 498 w 890"/>
                <a:gd name="T11" fmla="*/ 0 h 966"/>
                <a:gd name="T12" fmla="*/ 431 w 890"/>
                <a:gd name="T13" fmla="*/ 13 h 966"/>
                <a:gd name="T14" fmla="*/ 360 w 890"/>
                <a:gd name="T15" fmla="*/ 57 h 966"/>
                <a:gd name="T16" fmla="*/ 307 w 890"/>
                <a:gd name="T17" fmla="*/ 19 h 966"/>
                <a:gd name="T18" fmla="*/ 195 w 890"/>
                <a:gd name="T19" fmla="*/ 51 h 966"/>
                <a:gd name="T20" fmla="*/ 100 w 890"/>
                <a:gd name="T21" fmla="*/ 63 h 966"/>
                <a:gd name="T22" fmla="*/ 100 w 890"/>
                <a:gd name="T23" fmla="*/ 405 h 966"/>
                <a:gd name="T24" fmla="*/ 0 w 890"/>
                <a:gd name="T25" fmla="*/ 443 h 966"/>
                <a:gd name="T26" fmla="*/ 0 w 890"/>
                <a:gd name="T27" fmla="*/ 737 h 966"/>
                <a:gd name="T28" fmla="*/ 47 w 890"/>
                <a:gd name="T29" fmla="*/ 768 h 966"/>
                <a:gd name="T30" fmla="*/ 80 w 890"/>
                <a:gd name="T31" fmla="*/ 880 h 966"/>
                <a:gd name="T32" fmla="*/ 59 w 890"/>
                <a:gd name="T33" fmla="*/ 904 h 966"/>
                <a:gd name="T34" fmla="*/ 77 w 890"/>
                <a:gd name="T35" fmla="*/ 948 h 966"/>
                <a:gd name="T36" fmla="*/ 177 w 890"/>
                <a:gd name="T37" fmla="*/ 942 h 966"/>
                <a:gd name="T38" fmla="*/ 269 w 890"/>
                <a:gd name="T39" fmla="*/ 839 h 966"/>
                <a:gd name="T40" fmla="*/ 337 w 890"/>
                <a:gd name="T41" fmla="*/ 786 h 966"/>
                <a:gd name="T42" fmla="*/ 455 w 890"/>
                <a:gd name="T43" fmla="*/ 824 h 966"/>
                <a:gd name="T44" fmla="*/ 549 w 890"/>
                <a:gd name="T45" fmla="*/ 780 h 966"/>
                <a:gd name="T46" fmla="*/ 587 w 890"/>
                <a:gd name="T47" fmla="*/ 706 h 966"/>
                <a:gd name="T48" fmla="*/ 673 w 890"/>
                <a:gd name="T49" fmla="*/ 644 h 966"/>
                <a:gd name="T50" fmla="*/ 714 w 890"/>
                <a:gd name="T51" fmla="*/ 576 h 966"/>
                <a:gd name="T52" fmla="*/ 794 w 890"/>
                <a:gd name="T53" fmla="*/ 517 h 966"/>
                <a:gd name="T54" fmla="*/ 856 w 890"/>
                <a:gd name="T55" fmla="*/ 482 h 966"/>
                <a:gd name="T56" fmla="*/ 890 w 890"/>
                <a:gd name="T57" fmla="*/ 434 h 966"/>
                <a:gd name="T58" fmla="*/ 890 w 890"/>
                <a:gd name="T59" fmla="*/ 433 h 966"/>
                <a:gd name="T60" fmla="*/ 820 w 890"/>
                <a:gd name="T61" fmla="*/ 391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90" h="966">
                  <a:moveTo>
                    <a:pt x="820" y="391"/>
                  </a:moveTo>
                  <a:cubicBezTo>
                    <a:pt x="789" y="392"/>
                    <a:pt x="750" y="351"/>
                    <a:pt x="750" y="321"/>
                  </a:cubicBezTo>
                  <a:cubicBezTo>
                    <a:pt x="750" y="291"/>
                    <a:pt x="710" y="266"/>
                    <a:pt x="710" y="246"/>
                  </a:cubicBezTo>
                  <a:cubicBezTo>
                    <a:pt x="710" y="226"/>
                    <a:pt x="645" y="191"/>
                    <a:pt x="610" y="176"/>
                  </a:cubicBezTo>
                  <a:cubicBezTo>
                    <a:pt x="575" y="161"/>
                    <a:pt x="570" y="57"/>
                    <a:pt x="555" y="57"/>
                  </a:cubicBezTo>
                  <a:cubicBezTo>
                    <a:pt x="544" y="57"/>
                    <a:pt x="513" y="26"/>
                    <a:pt x="498" y="0"/>
                  </a:cubicBezTo>
                  <a:cubicBezTo>
                    <a:pt x="474" y="6"/>
                    <a:pt x="447" y="13"/>
                    <a:pt x="431" y="13"/>
                  </a:cubicBezTo>
                  <a:cubicBezTo>
                    <a:pt x="402" y="13"/>
                    <a:pt x="372" y="42"/>
                    <a:pt x="360" y="57"/>
                  </a:cubicBezTo>
                  <a:cubicBezTo>
                    <a:pt x="348" y="72"/>
                    <a:pt x="325" y="30"/>
                    <a:pt x="307" y="19"/>
                  </a:cubicBezTo>
                  <a:cubicBezTo>
                    <a:pt x="289" y="7"/>
                    <a:pt x="216" y="45"/>
                    <a:pt x="195" y="51"/>
                  </a:cubicBezTo>
                  <a:cubicBezTo>
                    <a:pt x="174" y="57"/>
                    <a:pt x="100" y="63"/>
                    <a:pt x="100" y="63"/>
                  </a:cubicBezTo>
                  <a:cubicBezTo>
                    <a:pt x="100" y="63"/>
                    <a:pt x="100" y="367"/>
                    <a:pt x="100" y="405"/>
                  </a:cubicBezTo>
                  <a:cubicBezTo>
                    <a:pt x="100" y="443"/>
                    <a:pt x="0" y="420"/>
                    <a:pt x="0" y="443"/>
                  </a:cubicBezTo>
                  <a:cubicBezTo>
                    <a:pt x="0" y="455"/>
                    <a:pt x="0" y="591"/>
                    <a:pt x="0" y="737"/>
                  </a:cubicBezTo>
                  <a:cubicBezTo>
                    <a:pt x="22" y="745"/>
                    <a:pt x="42" y="755"/>
                    <a:pt x="47" y="768"/>
                  </a:cubicBezTo>
                  <a:cubicBezTo>
                    <a:pt x="59" y="798"/>
                    <a:pt x="86" y="863"/>
                    <a:pt x="80" y="880"/>
                  </a:cubicBezTo>
                  <a:cubicBezTo>
                    <a:pt x="74" y="898"/>
                    <a:pt x="59" y="886"/>
                    <a:pt x="59" y="904"/>
                  </a:cubicBezTo>
                  <a:cubicBezTo>
                    <a:pt x="59" y="922"/>
                    <a:pt x="47" y="948"/>
                    <a:pt x="77" y="948"/>
                  </a:cubicBezTo>
                  <a:cubicBezTo>
                    <a:pt x="106" y="948"/>
                    <a:pt x="157" y="966"/>
                    <a:pt x="177" y="942"/>
                  </a:cubicBezTo>
                  <a:cubicBezTo>
                    <a:pt x="198" y="919"/>
                    <a:pt x="266" y="866"/>
                    <a:pt x="269" y="839"/>
                  </a:cubicBezTo>
                  <a:cubicBezTo>
                    <a:pt x="272" y="812"/>
                    <a:pt x="286" y="753"/>
                    <a:pt x="337" y="786"/>
                  </a:cubicBezTo>
                  <a:cubicBezTo>
                    <a:pt x="387" y="818"/>
                    <a:pt x="390" y="824"/>
                    <a:pt x="455" y="824"/>
                  </a:cubicBezTo>
                  <a:cubicBezTo>
                    <a:pt x="520" y="824"/>
                    <a:pt x="537" y="821"/>
                    <a:pt x="549" y="780"/>
                  </a:cubicBezTo>
                  <a:cubicBezTo>
                    <a:pt x="561" y="739"/>
                    <a:pt x="549" y="706"/>
                    <a:pt x="587" y="706"/>
                  </a:cubicBezTo>
                  <a:cubicBezTo>
                    <a:pt x="626" y="706"/>
                    <a:pt x="673" y="671"/>
                    <a:pt x="673" y="644"/>
                  </a:cubicBezTo>
                  <a:cubicBezTo>
                    <a:pt x="673" y="618"/>
                    <a:pt x="691" y="576"/>
                    <a:pt x="714" y="576"/>
                  </a:cubicBezTo>
                  <a:cubicBezTo>
                    <a:pt x="738" y="576"/>
                    <a:pt x="788" y="547"/>
                    <a:pt x="794" y="517"/>
                  </a:cubicBezTo>
                  <a:cubicBezTo>
                    <a:pt x="800" y="488"/>
                    <a:pt x="841" y="500"/>
                    <a:pt x="856" y="482"/>
                  </a:cubicBezTo>
                  <a:cubicBezTo>
                    <a:pt x="863" y="473"/>
                    <a:pt x="878" y="453"/>
                    <a:pt x="890" y="434"/>
                  </a:cubicBezTo>
                  <a:cubicBezTo>
                    <a:pt x="890" y="433"/>
                    <a:pt x="890" y="433"/>
                    <a:pt x="890" y="433"/>
                  </a:cubicBezTo>
                  <a:cubicBezTo>
                    <a:pt x="890" y="415"/>
                    <a:pt x="883" y="389"/>
                    <a:pt x="820" y="39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3173770" y="10160277"/>
              <a:ext cx="68691" cy="85444"/>
            </a:xfrm>
            <a:custGeom>
              <a:avLst/>
              <a:gdLst>
                <a:gd name="T0" fmla="*/ 68 w 134"/>
                <a:gd name="T1" fmla="*/ 0 h 167"/>
                <a:gd name="T2" fmla="*/ 0 w 134"/>
                <a:gd name="T3" fmla="*/ 72 h 167"/>
                <a:gd name="T4" fmla="*/ 62 w 134"/>
                <a:gd name="T5" fmla="*/ 165 h 167"/>
                <a:gd name="T6" fmla="*/ 117 w 134"/>
                <a:gd name="T7" fmla="*/ 142 h 167"/>
                <a:gd name="T8" fmla="*/ 134 w 134"/>
                <a:gd name="T9" fmla="*/ 115 h 167"/>
                <a:gd name="T10" fmla="*/ 125 w 134"/>
                <a:gd name="T11" fmla="*/ 29 h 167"/>
                <a:gd name="T12" fmla="*/ 68 w 134"/>
                <a:gd name="T13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167">
                  <a:moveTo>
                    <a:pt x="68" y="0"/>
                  </a:moveTo>
                  <a:cubicBezTo>
                    <a:pt x="43" y="0"/>
                    <a:pt x="0" y="60"/>
                    <a:pt x="0" y="72"/>
                  </a:cubicBezTo>
                  <a:cubicBezTo>
                    <a:pt x="0" y="84"/>
                    <a:pt x="31" y="163"/>
                    <a:pt x="62" y="165"/>
                  </a:cubicBezTo>
                  <a:cubicBezTo>
                    <a:pt x="93" y="167"/>
                    <a:pt x="115" y="165"/>
                    <a:pt x="117" y="142"/>
                  </a:cubicBezTo>
                  <a:cubicBezTo>
                    <a:pt x="118" y="131"/>
                    <a:pt x="126" y="122"/>
                    <a:pt x="134" y="115"/>
                  </a:cubicBezTo>
                  <a:cubicBezTo>
                    <a:pt x="132" y="96"/>
                    <a:pt x="127" y="54"/>
                    <a:pt x="125" y="29"/>
                  </a:cubicBezTo>
                  <a:cubicBezTo>
                    <a:pt x="107" y="17"/>
                    <a:pt x="84" y="0"/>
                    <a:pt x="68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2991155" y="10304360"/>
              <a:ext cx="113926" cy="122302"/>
            </a:xfrm>
            <a:custGeom>
              <a:avLst/>
              <a:gdLst>
                <a:gd name="T0" fmla="*/ 159 w 224"/>
                <a:gd name="T1" fmla="*/ 24 h 242"/>
                <a:gd name="T2" fmla="*/ 59 w 224"/>
                <a:gd name="T3" fmla="*/ 65 h 242"/>
                <a:gd name="T4" fmla="*/ 0 w 224"/>
                <a:gd name="T5" fmla="*/ 154 h 242"/>
                <a:gd name="T6" fmla="*/ 59 w 224"/>
                <a:gd name="T7" fmla="*/ 237 h 242"/>
                <a:gd name="T8" fmla="*/ 100 w 224"/>
                <a:gd name="T9" fmla="*/ 242 h 242"/>
                <a:gd name="T10" fmla="*/ 124 w 224"/>
                <a:gd name="T11" fmla="*/ 189 h 242"/>
                <a:gd name="T12" fmla="*/ 189 w 224"/>
                <a:gd name="T13" fmla="*/ 172 h 242"/>
                <a:gd name="T14" fmla="*/ 224 w 224"/>
                <a:gd name="T15" fmla="*/ 101 h 242"/>
                <a:gd name="T16" fmla="*/ 159 w 224"/>
                <a:gd name="T17" fmla="*/ 24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4" h="242">
                  <a:moveTo>
                    <a:pt x="159" y="24"/>
                  </a:moveTo>
                  <a:cubicBezTo>
                    <a:pt x="147" y="0"/>
                    <a:pt x="71" y="42"/>
                    <a:pt x="59" y="65"/>
                  </a:cubicBezTo>
                  <a:cubicBezTo>
                    <a:pt x="47" y="89"/>
                    <a:pt x="0" y="154"/>
                    <a:pt x="0" y="154"/>
                  </a:cubicBezTo>
                  <a:cubicBezTo>
                    <a:pt x="59" y="237"/>
                    <a:pt x="59" y="237"/>
                    <a:pt x="59" y="237"/>
                  </a:cubicBezTo>
                  <a:cubicBezTo>
                    <a:pt x="100" y="242"/>
                    <a:pt x="100" y="242"/>
                    <a:pt x="100" y="242"/>
                  </a:cubicBezTo>
                  <a:cubicBezTo>
                    <a:pt x="100" y="242"/>
                    <a:pt x="112" y="213"/>
                    <a:pt x="124" y="189"/>
                  </a:cubicBezTo>
                  <a:cubicBezTo>
                    <a:pt x="136" y="166"/>
                    <a:pt x="189" y="195"/>
                    <a:pt x="189" y="172"/>
                  </a:cubicBezTo>
                  <a:cubicBezTo>
                    <a:pt x="189" y="148"/>
                    <a:pt x="224" y="124"/>
                    <a:pt x="224" y="101"/>
                  </a:cubicBezTo>
                  <a:cubicBezTo>
                    <a:pt x="224" y="77"/>
                    <a:pt x="171" y="48"/>
                    <a:pt x="159" y="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" name="Freeform 10"/>
            <p:cNvSpPr>
              <a:spLocks noEditPoints="1"/>
            </p:cNvSpPr>
            <p:nvPr/>
          </p:nvSpPr>
          <p:spPr bwMode="auto">
            <a:xfrm>
              <a:off x="12470112" y="9959232"/>
              <a:ext cx="809208" cy="712035"/>
            </a:xfrm>
            <a:custGeom>
              <a:avLst/>
              <a:gdLst>
                <a:gd name="T0" fmla="*/ 1528 w 1603"/>
                <a:gd name="T1" fmla="*/ 525 h 1410"/>
                <a:gd name="T2" fmla="*/ 1527 w 1603"/>
                <a:gd name="T3" fmla="*/ 514 h 1410"/>
                <a:gd name="T4" fmla="*/ 1510 w 1603"/>
                <a:gd name="T5" fmla="*/ 541 h 1410"/>
                <a:gd name="T6" fmla="*/ 1455 w 1603"/>
                <a:gd name="T7" fmla="*/ 564 h 1410"/>
                <a:gd name="T8" fmla="*/ 1393 w 1603"/>
                <a:gd name="T9" fmla="*/ 471 h 1410"/>
                <a:gd name="T10" fmla="*/ 1461 w 1603"/>
                <a:gd name="T11" fmla="*/ 399 h 1410"/>
                <a:gd name="T12" fmla="*/ 1518 w 1603"/>
                <a:gd name="T13" fmla="*/ 428 h 1410"/>
                <a:gd name="T14" fmla="*/ 1517 w 1603"/>
                <a:gd name="T15" fmla="*/ 410 h 1410"/>
                <a:gd name="T16" fmla="*/ 1508 w 1603"/>
                <a:gd name="T17" fmla="*/ 228 h 1410"/>
                <a:gd name="T18" fmla="*/ 1446 w 1603"/>
                <a:gd name="T19" fmla="*/ 42 h 1410"/>
                <a:gd name="T20" fmla="*/ 1329 w 1603"/>
                <a:gd name="T21" fmla="*/ 18 h 1410"/>
                <a:gd name="T22" fmla="*/ 1234 w 1603"/>
                <a:gd name="T23" fmla="*/ 1 h 1410"/>
                <a:gd name="T24" fmla="*/ 1200 w 1603"/>
                <a:gd name="T25" fmla="*/ 49 h 1410"/>
                <a:gd name="T26" fmla="*/ 1138 w 1603"/>
                <a:gd name="T27" fmla="*/ 84 h 1410"/>
                <a:gd name="T28" fmla="*/ 1058 w 1603"/>
                <a:gd name="T29" fmla="*/ 143 h 1410"/>
                <a:gd name="T30" fmla="*/ 1017 w 1603"/>
                <a:gd name="T31" fmla="*/ 211 h 1410"/>
                <a:gd name="T32" fmla="*/ 931 w 1603"/>
                <a:gd name="T33" fmla="*/ 273 h 1410"/>
                <a:gd name="T34" fmla="*/ 893 w 1603"/>
                <a:gd name="T35" fmla="*/ 347 h 1410"/>
                <a:gd name="T36" fmla="*/ 799 w 1603"/>
                <a:gd name="T37" fmla="*/ 391 h 1410"/>
                <a:gd name="T38" fmla="*/ 681 w 1603"/>
                <a:gd name="T39" fmla="*/ 353 h 1410"/>
                <a:gd name="T40" fmla="*/ 613 w 1603"/>
                <a:gd name="T41" fmla="*/ 406 h 1410"/>
                <a:gd name="T42" fmla="*/ 521 w 1603"/>
                <a:gd name="T43" fmla="*/ 509 h 1410"/>
                <a:gd name="T44" fmla="*/ 421 w 1603"/>
                <a:gd name="T45" fmla="*/ 515 h 1410"/>
                <a:gd name="T46" fmla="*/ 403 w 1603"/>
                <a:gd name="T47" fmla="*/ 471 h 1410"/>
                <a:gd name="T48" fmla="*/ 424 w 1603"/>
                <a:gd name="T49" fmla="*/ 447 h 1410"/>
                <a:gd name="T50" fmla="*/ 391 w 1603"/>
                <a:gd name="T51" fmla="*/ 335 h 1410"/>
                <a:gd name="T52" fmla="*/ 344 w 1603"/>
                <a:gd name="T53" fmla="*/ 304 h 1410"/>
                <a:gd name="T54" fmla="*/ 344 w 1603"/>
                <a:gd name="T55" fmla="*/ 669 h 1410"/>
                <a:gd name="T56" fmla="*/ 279 w 1603"/>
                <a:gd name="T57" fmla="*/ 734 h 1410"/>
                <a:gd name="T58" fmla="*/ 152 w 1603"/>
                <a:gd name="T59" fmla="*/ 737 h 1410"/>
                <a:gd name="T60" fmla="*/ 99 w 1603"/>
                <a:gd name="T61" fmla="*/ 666 h 1410"/>
                <a:gd name="T62" fmla="*/ 43 w 1603"/>
                <a:gd name="T63" fmla="*/ 695 h 1410"/>
                <a:gd name="T64" fmla="*/ 0 w 1603"/>
                <a:gd name="T65" fmla="*/ 706 h 1410"/>
                <a:gd name="T66" fmla="*/ 76 w 1603"/>
                <a:gd name="T67" fmla="*/ 865 h 1410"/>
                <a:gd name="T68" fmla="*/ 171 w 1603"/>
                <a:gd name="T69" fmla="*/ 1063 h 1410"/>
                <a:gd name="T70" fmla="*/ 171 w 1603"/>
                <a:gd name="T71" fmla="*/ 1156 h 1410"/>
                <a:gd name="T72" fmla="*/ 173 w 1603"/>
                <a:gd name="T73" fmla="*/ 1237 h 1410"/>
                <a:gd name="T74" fmla="*/ 205 w 1603"/>
                <a:gd name="T75" fmla="*/ 1322 h 1410"/>
                <a:gd name="T76" fmla="*/ 247 w 1603"/>
                <a:gd name="T77" fmla="*/ 1348 h 1410"/>
                <a:gd name="T78" fmla="*/ 300 w 1603"/>
                <a:gd name="T79" fmla="*/ 1390 h 1410"/>
                <a:gd name="T80" fmla="*/ 365 w 1603"/>
                <a:gd name="T81" fmla="*/ 1386 h 1410"/>
                <a:gd name="T82" fmla="*/ 483 w 1603"/>
                <a:gd name="T83" fmla="*/ 1355 h 1410"/>
                <a:gd name="T84" fmla="*/ 574 w 1603"/>
                <a:gd name="T85" fmla="*/ 1318 h 1410"/>
                <a:gd name="T86" fmla="*/ 728 w 1603"/>
                <a:gd name="T87" fmla="*/ 1317 h 1410"/>
                <a:gd name="T88" fmla="*/ 824 w 1603"/>
                <a:gd name="T89" fmla="*/ 1305 h 1410"/>
                <a:gd name="T90" fmla="*/ 887 w 1603"/>
                <a:gd name="T91" fmla="*/ 1292 h 1410"/>
                <a:gd name="T92" fmla="*/ 970 w 1603"/>
                <a:gd name="T93" fmla="*/ 1263 h 1410"/>
                <a:gd name="T94" fmla="*/ 1175 w 1603"/>
                <a:gd name="T95" fmla="*/ 1134 h 1410"/>
                <a:gd name="T96" fmla="*/ 1413 w 1603"/>
                <a:gd name="T97" fmla="*/ 843 h 1410"/>
                <a:gd name="T98" fmla="*/ 1556 w 1603"/>
                <a:gd name="T99" fmla="*/ 683 h 1410"/>
                <a:gd name="T100" fmla="*/ 1603 w 1603"/>
                <a:gd name="T101" fmla="*/ 519 h 1410"/>
                <a:gd name="T102" fmla="*/ 1528 w 1603"/>
                <a:gd name="T103" fmla="*/ 525 h 1410"/>
                <a:gd name="T104" fmla="*/ 1221 w 1603"/>
                <a:gd name="T105" fmla="*/ 855 h 1410"/>
                <a:gd name="T106" fmla="*/ 1156 w 1603"/>
                <a:gd name="T107" fmla="*/ 872 h 1410"/>
                <a:gd name="T108" fmla="*/ 1132 w 1603"/>
                <a:gd name="T109" fmla="*/ 925 h 1410"/>
                <a:gd name="T110" fmla="*/ 1091 w 1603"/>
                <a:gd name="T111" fmla="*/ 920 h 1410"/>
                <a:gd name="T112" fmla="*/ 1032 w 1603"/>
                <a:gd name="T113" fmla="*/ 837 h 1410"/>
                <a:gd name="T114" fmla="*/ 1091 w 1603"/>
                <a:gd name="T115" fmla="*/ 748 h 1410"/>
                <a:gd name="T116" fmla="*/ 1191 w 1603"/>
                <a:gd name="T117" fmla="*/ 707 h 1410"/>
                <a:gd name="T118" fmla="*/ 1256 w 1603"/>
                <a:gd name="T119" fmla="*/ 784 h 1410"/>
                <a:gd name="T120" fmla="*/ 1221 w 1603"/>
                <a:gd name="T121" fmla="*/ 855 h 1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03" h="1410">
                  <a:moveTo>
                    <a:pt x="1528" y="525"/>
                  </a:moveTo>
                  <a:cubicBezTo>
                    <a:pt x="1528" y="525"/>
                    <a:pt x="1528" y="521"/>
                    <a:pt x="1527" y="514"/>
                  </a:cubicBezTo>
                  <a:cubicBezTo>
                    <a:pt x="1519" y="521"/>
                    <a:pt x="1511" y="530"/>
                    <a:pt x="1510" y="541"/>
                  </a:cubicBezTo>
                  <a:cubicBezTo>
                    <a:pt x="1508" y="564"/>
                    <a:pt x="1486" y="566"/>
                    <a:pt x="1455" y="564"/>
                  </a:cubicBezTo>
                  <a:cubicBezTo>
                    <a:pt x="1424" y="562"/>
                    <a:pt x="1393" y="483"/>
                    <a:pt x="1393" y="471"/>
                  </a:cubicBezTo>
                  <a:cubicBezTo>
                    <a:pt x="1393" y="459"/>
                    <a:pt x="1436" y="399"/>
                    <a:pt x="1461" y="399"/>
                  </a:cubicBezTo>
                  <a:cubicBezTo>
                    <a:pt x="1477" y="399"/>
                    <a:pt x="1500" y="416"/>
                    <a:pt x="1518" y="428"/>
                  </a:cubicBezTo>
                  <a:cubicBezTo>
                    <a:pt x="1517" y="419"/>
                    <a:pt x="1517" y="412"/>
                    <a:pt x="1517" y="410"/>
                  </a:cubicBezTo>
                  <a:cubicBezTo>
                    <a:pt x="1520" y="396"/>
                    <a:pt x="1535" y="244"/>
                    <a:pt x="1508" y="228"/>
                  </a:cubicBezTo>
                  <a:cubicBezTo>
                    <a:pt x="1482" y="213"/>
                    <a:pt x="1455" y="58"/>
                    <a:pt x="1446" y="42"/>
                  </a:cubicBezTo>
                  <a:cubicBezTo>
                    <a:pt x="1438" y="27"/>
                    <a:pt x="1340" y="36"/>
                    <a:pt x="1329" y="18"/>
                  </a:cubicBezTo>
                  <a:cubicBezTo>
                    <a:pt x="1318" y="0"/>
                    <a:pt x="1236" y="17"/>
                    <a:pt x="1234" y="1"/>
                  </a:cubicBezTo>
                  <a:cubicBezTo>
                    <a:pt x="1222" y="20"/>
                    <a:pt x="1207" y="40"/>
                    <a:pt x="1200" y="49"/>
                  </a:cubicBezTo>
                  <a:cubicBezTo>
                    <a:pt x="1185" y="67"/>
                    <a:pt x="1144" y="55"/>
                    <a:pt x="1138" y="84"/>
                  </a:cubicBezTo>
                  <a:cubicBezTo>
                    <a:pt x="1132" y="114"/>
                    <a:pt x="1082" y="143"/>
                    <a:pt x="1058" y="143"/>
                  </a:cubicBezTo>
                  <a:cubicBezTo>
                    <a:pt x="1035" y="143"/>
                    <a:pt x="1017" y="185"/>
                    <a:pt x="1017" y="211"/>
                  </a:cubicBezTo>
                  <a:cubicBezTo>
                    <a:pt x="1017" y="238"/>
                    <a:pt x="970" y="273"/>
                    <a:pt x="931" y="273"/>
                  </a:cubicBezTo>
                  <a:cubicBezTo>
                    <a:pt x="893" y="273"/>
                    <a:pt x="905" y="306"/>
                    <a:pt x="893" y="347"/>
                  </a:cubicBezTo>
                  <a:cubicBezTo>
                    <a:pt x="881" y="388"/>
                    <a:pt x="864" y="391"/>
                    <a:pt x="799" y="391"/>
                  </a:cubicBezTo>
                  <a:cubicBezTo>
                    <a:pt x="734" y="391"/>
                    <a:pt x="731" y="385"/>
                    <a:pt x="681" y="353"/>
                  </a:cubicBezTo>
                  <a:cubicBezTo>
                    <a:pt x="630" y="320"/>
                    <a:pt x="616" y="379"/>
                    <a:pt x="613" y="406"/>
                  </a:cubicBezTo>
                  <a:cubicBezTo>
                    <a:pt x="610" y="433"/>
                    <a:pt x="542" y="486"/>
                    <a:pt x="521" y="509"/>
                  </a:cubicBezTo>
                  <a:cubicBezTo>
                    <a:pt x="501" y="533"/>
                    <a:pt x="450" y="515"/>
                    <a:pt x="421" y="515"/>
                  </a:cubicBezTo>
                  <a:cubicBezTo>
                    <a:pt x="391" y="515"/>
                    <a:pt x="403" y="489"/>
                    <a:pt x="403" y="471"/>
                  </a:cubicBezTo>
                  <a:cubicBezTo>
                    <a:pt x="403" y="453"/>
                    <a:pt x="418" y="465"/>
                    <a:pt x="424" y="447"/>
                  </a:cubicBezTo>
                  <a:cubicBezTo>
                    <a:pt x="430" y="430"/>
                    <a:pt x="403" y="365"/>
                    <a:pt x="391" y="335"/>
                  </a:cubicBezTo>
                  <a:cubicBezTo>
                    <a:pt x="386" y="322"/>
                    <a:pt x="366" y="312"/>
                    <a:pt x="344" y="304"/>
                  </a:cubicBezTo>
                  <a:cubicBezTo>
                    <a:pt x="344" y="471"/>
                    <a:pt x="344" y="651"/>
                    <a:pt x="344" y="669"/>
                  </a:cubicBezTo>
                  <a:cubicBezTo>
                    <a:pt x="344" y="701"/>
                    <a:pt x="291" y="716"/>
                    <a:pt x="279" y="734"/>
                  </a:cubicBezTo>
                  <a:cubicBezTo>
                    <a:pt x="267" y="751"/>
                    <a:pt x="194" y="737"/>
                    <a:pt x="152" y="737"/>
                  </a:cubicBezTo>
                  <a:cubicBezTo>
                    <a:pt x="111" y="737"/>
                    <a:pt x="120" y="695"/>
                    <a:pt x="99" y="666"/>
                  </a:cubicBezTo>
                  <a:cubicBezTo>
                    <a:pt x="79" y="636"/>
                    <a:pt x="43" y="675"/>
                    <a:pt x="43" y="695"/>
                  </a:cubicBezTo>
                  <a:cubicBezTo>
                    <a:pt x="43" y="711"/>
                    <a:pt x="25" y="708"/>
                    <a:pt x="0" y="706"/>
                  </a:cubicBezTo>
                  <a:cubicBezTo>
                    <a:pt x="33" y="757"/>
                    <a:pt x="61" y="816"/>
                    <a:pt x="76" y="865"/>
                  </a:cubicBezTo>
                  <a:cubicBezTo>
                    <a:pt x="99" y="943"/>
                    <a:pt x="157" y="1017"/>
                    <a:pt x="171" y="1063"/>
                  </a:cubicBezTo>
                  <a:cubicBezTo>
                    <a:pt x="186" y="1109"/>
                    <a:pt x="202" y="1151"/>
                    <a:pt x="171" y="1156"/>
                  </a:cubicBezTo>
                  <a:cubicBezTo>
                    <a:pt x="140" y="1160"/>
                    <a:pt x="140" y="1187"/>
                    <a:pt x="173" y="1237"/>
                  </a:cubicBezTo>
                  <a:cubicBezTo>
                    <a:pt x="205" y="1287"/>
                    <a:pt x="177" y="1317"/>
                    <a:pt x="205" y="1322"/>
                  </a:cubicBezTo>
                  <a:cubicBezTo>
                    <a:pt x="233" y="1328"/>
                    <a:pt x="225" y="1346"/>
                    <a:pt x="247" y="1348"/>
                  </a:cubicBezTo>
                  <a:cubicBezTo>
                    <a:pt x="269" y="1349"/>
                    <a:pt x="285" y="1371"/>
                    <a:pt x="300" y="1390"/>
                  </a:cubicBezTo>
                  <a:cubicBezTo>
                    <a:pt x="315" y="1410"/>
                    <a:pt x="349" y="1410"/>
                    <a:pt x="365" y="1386"/>
                  </a:cubicBezTo>
                  <a:cubicBezTo>
                    <a:pt x="381" y="1362"/>
                    <a:pt x="431" y="1355"/>
                    <a:pt x="483" y="1355"/>
                  </a:cubicBezTo>
                  <a:cubicBezTo>
                    <a:pt x="534" y="1355"/>
                    <a:pt x="524" y="1333"/>
                    <a:pt x="574" y="1318"/>
                  </a:cubicBezTo>
                  <a:cubicBezTo>
                    <a:pt x="624" y="1303"/>
                    <a:pt x="685" y="1302"/>
                    <a:pt x="728" y="1317"/>
                  </a:cubicBezTo>
                  <a:cubicBezTo>
                    <a:pt x="771" y="1331"/>
                    <a:pt x="803" y="1318"/>
                    <a:pt x="824" y="1305"/>
                  </a:cubicBezTo>
                  <a:cubicBezTo>
                    <a:pt x="844" y="1292"/>
                    <a:pt x="884" y="1325"/>
                    <a:pt x="887" y="1292"/>
                  </a:cubicBezTo>
                  <a:cubicBezTo>
                    <a:pt x="890" y="1257"/>
                    <a:pt x="931" y="1263"/>
                    <a:pt x="970" y="1263"/>
                  </a:cubicBezTo>
                  <a:cubicBezTo>
                    <a:pt x="1008" y="1263"/>
                    <a:pt x="1101" y="1203"/>
                    <a:pt x="1175" y="1134"/>
                  </a:cubicBezTo>
                  <a:cubicBezTo>
                    <a:pt x="1249" y="1064"/>
                    <a:pt x="1371" y="912"/>
                    <a:pt x="1413" y="843"/>
                  </a:cubicBezTo>
                  <a:cubicBezTo>
                    <a:pt x="1454" y="774"/>
                    <a:pt x="1522" y="714"/>
                    <a:pt x="1556" y="683"/>
                  </a:cubicBezTo>
                  <a:cubicBezTo>
                    <a:pt x="1581" y="660"/>
                    <a:pt x="1596" y="579"/>
                    <a:pt x="1603" y="519"/>
                  </a:cubicBezTo>
                  <a:cubicBezTo>
                    <a:pt x="1568" y="519"/>
                    <a:pt x="1528" y="525"/>
                    <a:pt x="1528" y="525"/>
                  </a:cubicBezTo>
                  <a:close/>
                  <a:moveTo>
                    <a:pt x="1221" y="855"/>
                  </a:moveTo>
                  <a:cubicBezTo>
                    <a:pt x="1221" y="878"/>
                    <a:pt x="1168" y="849"/>
                    <a:pt x="1156" y="872"/>
                  </a:cubicBezTo>
                  <a:cubicBezTo>
                    <a:pt x="1144" y="896"/>
                    <a:pt x="1132" y="925"/>
                    <a:pt x="1132" y="925"/>
                  </a:cubicBezTo>
                  <a:cubicBezTo>
                    <a:pt x="1091" y="920"/>
                    <a:pt x="1091" y="920"/>
                    <a:pt x="1091" y="920"/>
                  </a:cubicBezTo>
                  <a:cubicBezTo>
                    <a:pt x="1032" y="837"/>
                    <a:pt x="1032" y="837"/>
                    <a:pt x="1032" y="837"/>
                  </a:cubicBezTo>
                  <a:cubicBezTo>
                    <a:pt x="1032" y="837"/>
                    <a:pt x="1079" y="772"/>
                    <a:pt x="1091" y="748"/>
                  </a:cubicBezTo>
                  <a:cubicBezTo>
                    <a:pt x="1103" y="725"/>
                    <a:pt x="1179" y="683"/>
                    <a:pt x="1191" y="707"/>
                  </a:cubicBezTo>
                  <a:cubicBezTo>
                    <a:pt x="1203" y="731"/>
                    <a:pt x="1256" y="760"/>
                    <a:pt x="1256" y="784"/>
                  </a:cubicBezTo>
                  <a:cubicBezTo>
                    <a:pt x="1256" y="807"/>
                    <a:pt x="1221" y="831"/>
                    <a:pt x="1221" y="8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12255664" y="9121544"/>
              <a:ext cx="589733" cy="628266"/>
            </a:xfrm>
            <a:custGeom>
              <a:avLst/>
              <a:gdLst>
                <a:gd name="T0" fmla="*/ 66 w 1168"/>
                <a:gd name="T1" fmla="*/ 1140 h 1240"/>
                <a:gd name="T2" fmla="*/ 111 w 1168"/>
                <a:gd name="T3" fmla="*/ 1160 h 1240"/>
                <a:gd name="T4" fmla="*/ 206 w 1168"/>
                <a:gd name="T5" fmla="*/ 1165 h 1240"/>
                <a:gd name="T6" fmla="*/ 296 w 1168"/>
                <a:gd name="T7" fmla="*/ 1190 h 1240"/>
                <a:gd name="T8" fmla="*/ 640 w 1168"/>
                <a:gd name="T9" fmla="*/ 1190 h 1240"/>
                <a:gd name="T10" fmla="*/ 675 w 1168"/>
                <a:gd name="T11" fmla="*/ 1225 h 1240"/>
                <a:gd name="T12" fmla="*/ 895 w 1168"/>
                <a:gd name="T13" fmla="*/ 1225 h 1240"/>
                <a:gd name="T14" fmla="*/ 1049 w 1168"/>
                <a:gd name="T15" fmla="*/ 1215 h 1240"/>
                <a:gd name="T16" fmla="*/ 1077 w 1168"/>
                <a:gd name="T17" fmla="*/ 1208 h 1240"/>
                <a:gd name="T18" fmla="*/ 963 w 1168"/>
                <a:gd name="T19" fmla="*/ 1052 h 1240"/>
                <a:gd name="T20" fmla="*/ 973 w 1168"/>
                <a:gd name="T21" fmla="*/ 720 h 1240"/>
                <a:gd name="T22" fmla="*/ 1121 w 1168"/>
                <a:gd name="T23" fmla="*/ 726 h 1240"/>
                <a:gd name="T24" fmla="*/ 1147 w 1168"/>
                <a:gd name="T25" fmla="*/ 700 h 1240"/>
                <a:gd name="T26" fmla="*/ 1168 w 1168"/>
                <a:gd name="T27" fmla="*/ 502 h 1240"/>
                <a:gd name="T28" fmla="*/ 1141 w 1168"/>
                <a:gd name="T29" fmla="*/ 501 h 1240"/>
                <a:gd name="T30" fmla="*/ 1052 w 1168"/>
                <a:gd name="T31" fmla="*/ 509 h 1240"/>
                <a:gd name="T32" fmla="*/ 999 w 1168"/>
                <a:gd name="T33" fmla="*/ 536 h 1240"/>
                <a:gd name="T34" fmla="*/ 999 w 1168"/>
                <a:gd name="T35" fmla="*/ 456 h 1240"/>
                <a:gd name="T36" fmla="*/ 951 w 1168"/>
                <a:gd name="T37" fmla="*/ 377 h 1240"/>
                <a:gd name="T38" fmla="*/ 964 w 1168"/>
                <a:gd name="T39" fmla="*/ 235 h 1240"/>
                <a:gd name="T40" fmla="*/ 946 w 1168"/>
                <a:gd name="T41" fmla="*/ 155 h 1240"/>
                <a:gd name="T42" fmla="*/ 880 w 1168"/>
                <a:gd name="T43" fmla="*/ 142 h 1240"/>
                <a:gd name="T44" fmla="*/ 831 w 1168"/>
                <a:gd name="T45" fmla="*/ 120 h 1240"/>
                <a:gd name="T46" fmla="*/ 751 w 1168"/>
                <a:gd name="T47" fmla="*/ 120 h 1240"/>
                <a:gd name="T48" fmla="*/ 712 w 1168"/>
                <a:gd name="T49" fmla="*/ 208 h 1240"/>
                <a:gd name="T50" fmla="*/ 596 w 1168"/>
                <a:gd name="T51" fmla="*/ 226 h 1240"/>
                <a:gd name="T52" fmla="*/ 512 w 1168"/>
                <a:gd name="T53" fmla="*/ 164 h 1240"/>
                <a:gd name="T54" fmla="*/ 472 w 1168"/>
                <a:gd name="T55" fmla="*/ 89 h 1240"/>
                <a:gd name="T56" fmla="*/ 455 w 1168"/>
                <a:gd name="T57" fmla="*/ 5 h 1240"/>
                <a:gd name="T58" fmla="*/ 132 w 1168"/>
                <a:gd name="T59" fmla="*/ 5 h 1240"/>
                <a:gd name="T60" fmla="*/ 75 w 1168"/>
                <a:gd name="T61" fmla="*/ 36 h 1240"/>
                <a:gd name="T62" fmla="*/ 163 w 1168"/>
                <a:gd name="T63" fmla="*/ 244 h 1240"/>
                <a:gd name="T64" fmla="*/ 146 w 1168"/>
                <a:gd name="T65" fmla="*/ 349 h 1240"/>
                <a:gd name="T66" fmla="*/ 208 w 1168"/>
                <a:gd name="T67" fmla="*/ 558 h 1240"/>
                <a:gd name="T68" fmla="*/ 137 w 1168"/>
                <a:gd name="T69" fmla="*/ 703 h 1240"/>
                <a:gd name="T70" fmla="*/ 65 w 1168"/>
                <a:gd name="T71" fmla="*/ 895 h 1240"/>
                <a:gd name="T72" fmla="*/ 14 w 1168"/>
                <a:gd name="T73" fmla="*/ 1035 h 1240"/>
                <a:gd name="T74" fmla="*/ 0 w 1168"/>
                <a:gd name="T75" fmla="*/ 1169 h 1240"/>
                <a:gd name="T76" fmla="*/ 0 w 1168"/>
                <a:gd name="T77" fmla="*/ 1173 h 1240"/>
                <a:gd name="T78" fmla="*/ 31 w 1168"/>
                <a:gd name="T79" fmla="*/ 1165 h 1240"/>
                <a:gd name="T80" fmla="*/ 66 w 1168"/>
                <a:gd name="T81" fmla="*/ 114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68" h="1240">
                  <a:moveTo>
                    <a:pt x="66" y="1140"/>
                  </a:moveTo>
                  <a:cubicBezTo>
                    <a:pt x="91" y="1140"/>
                    <a:pt x="76" y="1175"/>
                    <a:pt x="111" y="1160"/>
                  </a:cubicBezTo>
                  <a:cubicBezTo>
                    <a:pt x="146" y="1145"/>
                    <a:pt x="176" y="1145"/>
                    <a:pt x="206" y="1165"/>
                  </a:cubicBezTo>
                  <a:cubicBezTo>
                    <a:pt x="236" y="1185"/>
                    <a:pt x="261" y="1190"/>
                    <a:pt x="296" y="1190"/>
                  </a:cubicBezTo>
                  <a:cubicBezTo>
                    <a:pt x="331" y="1190"/>
                    <a:pt x="640" y="1190"/>
                    <a:pt x="640" y="1190"/>
                  </a:cubicBezTo>
                  <a:cubicBezTo>
                    <a:pt x="675" y="1225"/>
                    <a:pt x="675" y="1225"/>
                    <a:pt x="675" y="1225"/>
                  </a:cubicBezTo>
                  <a:cubicBezTo>
                    <a:pt x="675" y="1225"/>
                    <a:pt x="865" y="1210"/>
                    <a:pt x="895" y="1225"/>
                  </a:cubicBezTo>
                  <a:cubicBezTo>
                    <a:pt x="925" y="1240"/>
                    <a:pt x="1020" y="1225"/>
                    <a:pt x="1049" y="1215"/>
                  </a:cubicBezTo>
                  <a:cubicBezTo>
                    <a:pt x="1055" y="1213"/>
                    <a:pt x="1064" y="1211"/>
                    <a:pt x="1077" y="1208"/>
                  </a:cubicBezTo>
                  <a:cubicBezTo>
                    <a:pt x="963" y="1052"/>
                    <a:pt x="963" y="1052"/>
                    <a:pt x="963" y="1052"/>
                  </a:cubicBezTo>
                  <a:cubicBezTo>
                    <a:pt x="973" y="720"/>
                    <a:pt x="973" y="720"/>
                    <a:pt x="973" y="720"/>
                  </a:cubicBezTo>
                  <a:cubicBezTo>
                    <a:pt x="1121" y="726"/>
                    <a:pt x="1121" y="726"/>
                    <a:pt x="1121" y="726"/>
                  </a:cubicBezTo>
                  <a:cubicBezTo>
                    <a:pt x="1147" y="700"/>
                    <a:pt x="1147" y="700"/>
                    <a:pt x="1147" y="700"/>
                  </a:cubicBezTo>
                  <a:cubicBezTo>
                    <a:pt x="1168" y="502"/>
                    <a:pt x="1168" y="502"/>
                    <a:pt x="1168" y="502"/>
                  </a:cubicBezTo>
                  <a:cubicBezTo>
                    <a:pt x="1160" y="498"/>
                    <a:pt x="1151" y="496"/>
                    <a:pt x="1141" y="501"/>
                  </a:cubicBezTo>
                  <a:cubicBezTo>
                    <a:pt x="1110" y="514"/>
                    <a:pt x="1083" y="509"/>
                    <a:pt x="1052" y="509"/>
                  </a:cubicBezTo>
                  <a:cubicBezTo>
                    <a:pt x="1021" y="509"/>
                    <a:pt x="1017" y="541"/>
                    <a:pt x="999" y="536"/>
                  </a:cubicBezTo>
                  <a:cubicBezTo>
                    <a:pt x="982" y="532"/>
                    <a:pt x="995" y="478"/>
                    <a:pt x="999" y="456"/>
                  </a:cubicBezTo>
                  <a:cubicBezTo>
                    <a:pt x="1004" y="434"/>
                    <a:pt x="973" y="394"/>
                    <a:pt x="951" y="377"/>
                  </a:cubicBezTo>
                  <a:cubicBezTo>
                    <a:pt x="929" y="359"/>
                    <a:pt x="977" y="248"/>
                    <a:pt x="964" y="235"/>
                  </a:cubicBezTo>
                  <a:cubicBezTo>
                    <a:pt x="951" y="222"/>
                    <a:pt x="946" y="186"/>
                    <a:pt x="946" y="155"/>
                  </a:cubicBezTo>
                  <a:cubicBezTo>
                    <a:pt x="946" y="124"/>
                    <a:pt x="924" y="142"/>
                    <a:pt x="880" y="142"/>
                  </a:cubicBezTo>
                  <a:cubicBezTo>
                    <a:pt x="836" y="142"/>
                    <a:pt x="831" y="120"/>
                    <a:pt x="831" y="120"/>
                  </a:cubicBezTo>
                  <a:cubicBezTo>
                    <a:pt x="831" y="120"/>
                    <a:pt x="778" y="107"/>
                    <a:pt x="751" y="120"/>
                  </a:cubicBezTo>
                  <a:cubicBezTo>
                    <a:pt x="725" y="133"/>
                    <a:pt x="729" y="213"/>
                    <a:pt x="712" y="208"/>
                  </a:cubicBezTo>
                  <a:cubicBezTo>
                    <a:pt x="694" y="204"/>
                    <a:pt x="641" y="213"/>
                    <a:pt x="596" y="226"/>
                  </a:cubicBezTo>
                  <a:cubicBezTo>
                    <a:pt x="552" y="239"/>
                    <a:pt x="535" y="217"/>
                    <a:pt x="512" y="164"/>
                  </a:cubicBezTo>
                  <a:cubicBezTo>
                    <a:pt x="490" y="111"/>
                    <a:pt x="464" y="129"/>
                    <a:pt x="472" y="89"/>
                  </a:cubicBezTo>
                  <a:cubicBezTo>
                    <a:pt x="481" y="49"/>
                    <a:pt x="455" y="5"/>
                    <a:pt x="455" y="5"/>
                  </a:cubicBezTo>
                  <a:cubicBezTo>
                    <a:pt x="455" y="5"/>
                    <a:pt x="163" y="0"/>
                    <a:pt x="132" y="5"/>
                  </a:cubicBezTo>
                  <a:cubicBezTo>
                    <a:pt x="119" y="7"/>
                    <a:pt x="97" y="20"/>
                    <a:pt x="75" y="36"/>
                  </a:cubicBezTo>
                  <a:cubicBezTo>
                    <a:pt x="93" y="104"/>
                    <a:pt x="150" y="217"/>
                    <a:pt x="163" y="244"/>
                  </a:cubicBezTo>
                  <a:cubicBezTo>
                    <a:pt x="176" y="272"/>
                    <a:pt x="146" y="297"/>
                    <a:pt x="146" y="349"/>
                  </a:cubicBezTo>
                  <a:cubicBezTo>
                    <a:pt x="146" y="400"/>
                    <a:pt x="202" y="495"/>
                    <a:pt x="208" y="558"/>
                  </a:cubicBezTo>
                  <a:cubicBezTo>
                    <a:pt x="214" y="622"/>
                    <a:pt x="173" y="661"/>
                    <a:pt x="137" y="703"/>
                  </a:cubicBezTo>
                  <a:cubicBezTo>
                    <a:pt x="102" y="744"/>
                    <a:pt x="65" y="837"/>
                    <a:pt x="65" y="895"/>
                  </a:cubicBezTo>
                  <a:cubicBezTo>
                    <a:pt x="65" y="952"/>
                    <a:pt x="12" y="1008"/>
                    <a:pt x="14" y="1035"/>
                  </a:cubicBezTo>
                  <a:cubicBezTo>
                    <a:pt x="15" y="1061"/>
                    <a:pt x="6" y="1140"/>
                    <a:pt x="0" y="1169"/>
                  </a:cubicBezTo>
                  <a:cubicBezTo>
                    <a:pt x="0" y="1170"/>
                    <a:pt x="0" y="1172"/>
                    <a:pt x="0" y="1173"/>
                  </a:cubicBezTo>
                  <a:cubicBezTo>
                    <a:pt x="31" y="1165"/>
                    <a:pt x="31" y="1165"/>
                    <a:pt x="31" y="1165"/>
                  </a:cubicBezTo>
                  <a:cubicBezTo>
                    <a:pt x="31" y="1165"/>
                    <a:pt x="41" y="1140"/>
                    <a:pt x="66" y="114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12741523" y="9240496"/>
              <a:ext cx="581356" cy="512665"/>
            </a:xfrm>
            <a:custGeom>
              <a:avLst/>
              <a:gdLst>
                <a:gd name="T0" fmla="*/ 884 w 1149"/>
                <a:gd name="T1" fmla="*/ 41 h 1012"/>
                <a:gd name="T2" fmla="*/ 812 w 1149"/>
                <a:gd name="T3" fmla="*/ 0 h 1012"/>
                <a:gd name="T4" fmla="*/ 692 w 1149"/>
                <a:gd name="T5" fmla="*/ 18 h 1012"/>
                <a:gd name="T6" fmla="*/ 665 w 1149"/>
                <a:gd name="T7" fmla="*/ 84 h 1012"/>
                <a:gd name="T8" fmla="*/ 652 w 1149"/>
                <a:gd name="T9" fmla="*/ 137 h 1012"/>
                <a:gd name="T10" fmla="*/ 647 w 1149"/>
                <a:gd name="T11" fmla="*/ 248 h 1012"/>
                <a:gd name="T12" fmla="*/ 625 w 1149"/>
                <a:gd name="T13" fmla="*/ 341 h 1012"/>
                <a:gd name="T14" fmla="*/ 692 w 1149"/>
                <a:gd name="T15" fmla="*/ 421 h 1012"/>
                <a:gd name="T16" fmla="*/ 758 w 1149"/>
                <a:gd name="T17" fmla="*/ 398 h 1012"/>
                <a:gd name="T18" fmla="*/ 771 w 1149"/>
                <a:gd name="T19" fmla="*/ 469 h 1012"/>
                <a:gd name="T20" fmla="*/ 754 w 1149"/>
                <a:gd name="T21" fmla="*/ 514 h 1012"/>
                <a:gd name="T22" fmla="*/ 683 w 1149"/>
                <a:gd name="T23" fmla="*/ 514 h 1012"/>
                <a:gd name="T24" fmla="*/ 643 w 1149"/>
                <a:gd name="T25" fmla="*/ 429 h 1012"/>
                <a:gd name="T26" fmla="*/ 568 w 1149"/>
                <a:gd name="T27" fmla="*/ 412 h 1012"/>
                <a:gd name="T28" fmla="*/ 515 w 1149"/>
                <a:gd name="T29" fmla="*/ 354 h 1012"/>
                <a:gd name="T30" fmla="*/ 479 w 1149"/>
                <a:gd name="T31" fmla="*/ 372 h 1012"/>
                <a:gd name="T32" fmla="*/ 435 w 1149"/>
                <a:gd name="T33" fmla="*/ 385 h 1012"/>
                <a:gd name="T34" fmla="*/ 351 w 1149"/>
                <a:gd name="T35" fmla="*/ 359 h 1012"/>
                <a:gd name="T36" fmla="*/ 320 w 1149"/>
                <a:gd name="T37" fmla="*/ 310 h 1012"/>
                <a:gd name="T38" fmla="*/ 258 w 1149"/>
                <a:gd name="T39" fmla="*/ 314 h 1012"/>
                <a:gd name="T40" fmla="*/ 231 w 1149"/>
                <a:gd name="T41" fmla="*/ 292 h 1012"/>
                <a:gd name="T42" fmla="*/ 205 w 1149"/>
                <a:gd name="T43" fmla="*/ 267 h 1012"/>
                <a:gd name="T44" fmla="*/ 184 w 1149"/>
                <a:gd name="T45" fmla="*/ 465 h 1012"/>
                <a:gd name="T46" fmla="*/ 158 w 1149"/>
                <a:gd name="T47" fmla="*/ 491 h 1012"/>
                <a:gd name="T48" fmla="*/ 10 w 1149"/>
                <a:gd name="T49" fmla="*/ 485 h 1012"/>
                <a:gd name="T50" fmla="*/ 0 w 1149"/>
                <a:gd name="T51" fmla="*/ 817 h 1012"/>
                <a:gd name="T52" fmla="*/ 114 w 1149"/>
                <a:gd name="T53" fmla="*/ 973 h 1012"/>
                <a:gd name="T54" fmla="*/ 296 w 1149"/>
                <a:gd name="T55" fmla="*/ 965 h 1012"/>
                <a:gd name="T56" fmla="*/ 304 w 1149"/>
                <a:gd name="T57" fmla="*/ 988 h 1012"/>
                <a:gd name="T58" fmla="*/ 355 w 1149"/>
                <a:gd name="T59" fmla="*/ 980 h 1012"/>
                <a:gd name="T60" fmla="*/ 482 w 1149"/>
                <a:gd name="T61" fmla="*/ 1001 h 1012"/>
                <a:gd name="T62" fmla="*/ 585 w 1149"/>
                <a:gd name="T63" fmla="*/ 888 h 1012"/>
                <a:gd name="T64" fmla="*/ 677 w 1149"/>
                <a:gd name="T65" fmla="*/ 818 h 1012"/>
                <a:gd name="T66" fmla="*/ 733 w 1149"/>
                <a:gd name="T67" fmla="*/ 767 h 1012"/>
                <a:gd name="T68" fmla="*/ 819 w 1149"/>
                <a:gd name="T69" fmla="*/ 765 h 1012"/>
                <a:gd name="T70" fmla="*/ 824 w 1149"/>
                <a:gd name="T71" fmla="*/ 765 h 1012"/>
                <a:gd name="T72" fmla="*/ 804 w 1149"/>
                <a:gd name="T73" fmla="*/ 691 h 1012"/>
                <a:gd name="T74" fmla="*/ 1080 w 1149"/>
                <a:gd name="T75" fmla="*/ 591 h 1012"/>
                <a:gd name="T76" fmla="*/ 1063 w 1149"/>
                <a:gd name="T77" fmla="*/ 547 h 1012"/>
                <a:gd name="T78" fmla="*/ 1078 w 1149"/>
                <a:gd name="T79" fmla="*/ 450 h 1012"/>
                <a:gd name="T80" fmla="*/ 1119 w 1149"/>
                <a:gd name="T81" fmla="*/ 424 h 1012"/>
                <a:gd name="T82" fmla="*/ 1114 w 1149"/>
                <a:gd name="T83" fmla="*/ 261 h 1012"/>
                <a:gd name="T84" fmla="*/ 1149 w 1149"/>
                <a:gd name="T85" fmla="*/ 240 h 1012"/>
                <a:gd name="T86" fmla="*/ 1103 w 1149"/>
                <a:gd name="T87" fmla="*/ 133 h 1012"/>
                <a:gd name="T88" fmla="*/ 976 w 1149"/>
                <a:gd name="T89" fmla="*/ 77 h 1012"/>
                <a:gd name="T90" fmla="*/ 884 w 1149"/>
                <a:gd name="T91" fmla="*/ 41 h 10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49" h="1012">
                  <a:moveTo>
                    <a:pt x="884" y="41"/>
                  </a:moveTo>
                  <a:cubicBezTo>
                    <a:pt x="870" y="41"/>
                    <a:pt x="839" y="20"/>
                    <a:pt x="812" y="0"/>
                  </a:cubicBezTo>
                  <a:cubicBezTo>
                    <a:pt x="792" y="21"/>
                    <a:pt x="725" y="18"/>
                    <a:pt x="692" y="18"/>
                  </a:cubicBezTo>
                  <a:cubicBezTo>
                    <a:pt x="656" y="18"/>
                    <a:pt x="687" y="66"/>
                    <a:pt x="665" y="84"/>
                  </a:cubicBezTo>
                  <a:cubicBezTo>
                    <a:pt x="643" y="102"/>
                    <a:pt x="634" y="128"/>
                    <a:pt x="652" y="137"/>
                  </a:cubicBezTo>
                  <a:cubicBezTo>
                    <a:pt x="669" y="146"/>
                    <a:pt x="647" y="221"/>
                    <a:pt x="647" y="248"/>
                  </a:cubicBezTo>
                  <a:cubicBezTo>
                    <a:pt x="647" y="274"/>
                    <a:pt x="612" y="332"/>
                    <a:pt x="625" y="341"/>
                  </a:cubicBezTo>
                  <a:cubicBezTo>
                    <a:pt x="638" y="350"/>
                    <a:pt x="661" y="412"/>
                    <a:pt x="692" y="421"/>
                  </a:cubicBezTo>
                  <a:cubicBezTo>
                    <a:pt x="723" y="429"/>
                    <a:pt x="745" y="398"/>
                    <a:pt x="758" y="398"/>
                  </a:cubicBezTo>
                  <a:cubicBezTo>
                    <a:pt x="771" y="398"/>
                    <a:pt x="771" y="438"/>
                    <a:pt x="771" y="469"/>
                  </a:cubicBezTo>
                  <a:cubicBezTo>
                    <a:pt x="771" y="500"/>
                    <a:pt x="754" y="514"/>
                    <a:pt x="754" y="514"/>
                  </a:cubicBezTo>
                  <a:cubicBezTo>
                    <a:pt x="754" y="514"/>
                    <a:pt x="705" y="531"/>
                    <a:pt x="683" y="514"/>
                  </a:cubicBezTo>
                  <a:cubicBezTo>
                    <a:pt x="661" y="496"/>
                    <a:pt x="643" y="447"/>
                    <a:pt x="643" y="429"/>
                  </a:cubicBezTo>
                  <a:cubicBezTo>
                    <a:pt x="643" y="412"/>
                    <a:pt x="590" y="412"/>
                    <a:pt x="568" y="412"/>
                  </a:cubicBezTo>
                  <a:cubicBezTo>
                    <a:pt x="546" y="412"/>
                    <a:pt x="523" y="372"/>
                    <a:pt x="515" y="354"/>
                  </a:cubicBezTo>
                  <a:cubicBezTo>
                    <a:pt x="506" y="336"/>
                    <a:pt x="479" y="359"/>
                    <a:pt x="479" y="372"/>
                  </a:cubicBezTo>
                  <a:cubicBezTo>
                    <a:pt x="479" y="385"/>
                    <a:pt x="457" y="385"/>
                    <a:pt x="435" y="385"/>
                  </a:cubicBezTo>
                  <a:cubicBezTo>
                    <a:pt x="413" y="385"/>
                    <a:pt x="368" y="350"/>
                    <a:pt x="351" y="359"/>
                  </a:cubicBezTo>
                  <a:cubicBezTo>
                    <a:pt x="333" y="367"/>
                    <a:pt x="315" y="328"/>
                    <a:pt x="320" y="310"/>
                  </a:cubicBezTo>
                  <a:cubicBezTo>
                    <a:pt x="324" y="292"/>
                    <a:pt x="275" y="306"/>
                    <a:pt x="258" y="314"/>
                  </a:cubicBezTo>
                  <a:cubicBezTo>
                    <a:pt x="240" y="323"/>
                    <a:pt x="231" y="292"/>
                    <a:pt x="231" y="292"/>
                  </a:cubicBezTo>
                  <a:cubicBezTo>
                    <a:pt x="231" y="292"/>
                    <a:pt x="221" y="274"/>
                    <a:pt x="205" y="267"/>
                  </a:cubicBezTo>
                  <a:cubicBezTo>
                    <a:pt x="184" y="465"/>
                    <a:pt x="184" y="465"/>
                    <a:pt x="184" y="465"/>
                  </a:cubicBezTo>
                  <a:cubicBezTo>
                    <a:pt x="158" y="491"/>
                    <a:pt x="158" y="491"/>
                    <a:pt x="158" y="491"/>
                  </a:cubicBezTo>
                  <a:cubicBezTo>
                    <a:pt x="10" y="485"/>
                    <a:pt x="10" y="485"/>
                    <a:pt x="10" y="485"/>
                  </a:cubicBezTo>
                  <a:cubicBezTo>
                    <a:pt x="0" y="817"/>
                    <a:pt x="0" y="817"/>
                    <a:pt x="0" y="817"/>
                  </a:cubicBezTo>
                  <a:cubicBezTo>
                    <a:pt x="114" y="973"/>
                    <a:pt x="114" y="973"/>
                    <a:pt x="114" y="973"/>
                  </a:cubicBezTo>
                  <a:cubicBezTo>
                    <a:pt x="173" y="961"/>
                    <a:pt x="296" y="944"/>
                    <a:pt x="296" y="965"/>
                  </a:cubicBezTo>
                  <a:cubicBezTo>
                    <a:pt x="296" y="971"/>
                    <a:pt x="299" y="979"/>
                    <a:pt x="304" y="988"/>
                  </a:cubicBezTo>
                  <a:cubicBezTo>
                    <a:pt x="325" y="983"/>
                    <a:pt x="344" y="979"/>
                    <a:pt x="355" y="980"/>
                  </a:cubicBezTo>
                  <a:cubicBezTo>
                    <a:pt x="379" y="983"/>
                    <a:pt x="458" y="1012"/>
                    <a:pt x="482" y="1001"/>
                  </a:cubicBezTo>
                  <a:cubicBezTo>
                    <a:pt x="506" y="989"/>
                    <a:pt x="547" y="900"/>
                    <a:pt x="585" y="888"/>
                  </a:cubicBezTo>
                  <a:cubicBezTo>
                    <a:pt x="624" y="877"/>
                    <a:pt x="677" y="835"/>
                    <a:pt x="677" y="818"/>
                  </a:cubicBezTo>
                  <a:cubicBezTo>
                    <a:pt x="677" y="800"/>
                    <a:pt x="677" y="782"/>
                    <a:pt x="733" y="767"/>
                  </a:cubicBezTo>
                  <a:cubicBezTo>
                    <a:pt x="819" y="765"/>
                    <a:pt x="819" y="765"/>
                    <a:pt x="819" y="765"/>
                  </a:cubicBezTo>
                  <a:cubicBezTo>
                    <a:pt x="824" y="765"/>
                    <a:pt x="824" y="765"/>
                    <a:pt x="824" y="765"/>
                  </a:cubicBezTo>
                  <a:cubicBezTo>
                    <a:pt x="804" y="691"/>
                    <a:pt x="804" y="691"/>
                    <a:pt x="804" y="691"/>
                  </a:cubicBezTo>
                  <a:cubicBezTo>
                    <a:pt x="804" y="691"/>
                    <a:pt x="1065" y="593"/>
                    <a:pt x="1080" y="591"/>
                  </a:cubicBezTo>
                  <a:cubicBezTo>
                    <a:pt x="1069" y="567"/>
                    <a:pt x="1057" y="549"/>
                    <a:pt x="1063" y="547"/>
                  </a:cubicBezTo>
                  <a:cubicBezTo>
                    <a:pt x="1073" y="542"/>
                    <a:pt x="1078" y="470"/>
                    <a:pt x="1078" y="450"/>
                  </a:cubicBezTo>
                  <a:cubicBezTo>
                    <a:pt x="1078" y="429"/>
                    <a:pt x="1139" y="445"/>
                    <a:pt x="1119" y="424"/>
                  </a:cubicBezTo>
                  <a:cubicBezTo>
                    <a:pt x="1098" y="404"/>
                    <a:pt x="1103" y="286"/>
                    <a:pt x="1114" y="261"/>
                  </a:cubicBezTo>
                  <a:cubicBezTo>
                    <a:pt x="1124" y="235"/>
                    <a:pt x="1149" y="261"/>
                    <a:pt x="1149" y="240"/>
                  </a:cubicBezTo>
                  <a:cubicBezTo>
                    <a:pt x="1149" y="220"/>
                    <a:pt x="1119" y="153"/>
                    <a:pt x="1103" y="133"/>
                  </a:cubicBezTo>
                  <a:cubicBezTo>
                    <a:pt x="1092" y="118"/>
                    <a:pt x="1001" y="82"/>
                    <a:pt x="976" y="77"/>
                  </a:cubicBezTo>
                  <a:cubicBezTo>
                    <a:pt x="950" y="72"/>
                    <a:pt x="909" y="41"/>
                    <a:pt x="884" y="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13086651" y="8878615"/>
              <a:ext cx="98848" cy="85444"/>
            </a:xfrm>
            <a:custGeom>
              <a:avLst/>
              <a:gdLst>
                <a:gd name="T0" fmla="*/ 159 w 196"/>
                <a:gd name="T1" fmla="*/ 0 h 171"/>
                <a:gd name="T2" fmla="*/ 104 w 196"/>
                <a:gd name="T3" fmla="*/ 18 h 171"/>
                <a:gd name="T4" fmla="*/ 54 w 196"/>
                <a:gd name="T5" fmla="*/ 27 h 171"/>
                <a:gd name="T6" fmla="*/ 42 w 196"/>
                <a:gd name="T7" fmla="*/ 36 h 171"/>
                <a:gd name="T8" fmla="*/ 22 w 196"/>
                <a:gd name="T9" fmla="*/ 100 h 171"/>
                <a:gd name="T10" fmla="*/ 0 w 196"/>
                <a:gd name="T11" fmla="*/ 129 h 171"/>
                <a:gd name="T12" fmla="*/ 20 w 196"/>
                <a:gd name="T13" fmla="*/ 158 h 171"/>
                <a:gd name="T14" fmla="*/ 53 w 196"/>
                <a:gd name="T15" fmla="*/ 161 h 171"/>
                <a:gd name="T16" fmla="*/ 104 w 196"/>
                <a:gd name="T17" fmla="*/ 131 h 171"/>
                <a:gd name="T18" fmla="*/ 191 w 196"/>
                <a:gd name="T19" fmla="*/ 110 h 171"/>
                <a:gd name="T20" fmla="*/ 175 w 196"/>
                <a:gd name="T21" fmla="*/ 44 h 171"/>
                <a:gd name="T22" fmla="*/ 159 w 196"/>
                <a:gd name="T23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171">
                  <a:moveTo>
                    <a:pt x="159" y="0"/>
                  </a:moveTo>
                  <a:cubicBezTo>
                    <a:pt x="137" y="6"/>
                    <a:pt x="113" y="13"/>
                    <a:pt x="104" y="18"/>
                  </a:cubicBezTo>
                  <a:cubicBezTo>
                    <a:pt x="90" y="25"/>
                    <a:pt x="82" y="30"/>
                    <a:pt x="54" y="27"/>
                  </a:cubicBezTo>
                  <a:cubicBezTo>
                    <a:pt x="51" y="31"/>
                    <a:pt x="47" y="35"/>
                    <a:pt x="42" y="36"/>
                  </a:cubicBezTo>
                  <a:cubicBezTo>
                    <a:pt x="17" y="45"/>
                    <a:pt x="22" y="100"/>
                    <a:pt x="22" y="100"/>
                  </a:cubicBezTo>
                  <a:cubicBezTo>
                    <a:pt x="22" y="100"/>
                    <a:pt x="0" y="103"/>
                    <a:pt x="0" y="129"/>
                  </a:cubicBezTo>
                  <a:cubicBezTo>
                    <a:pt x="0" y="147"/>
                    <a:pt x="12" y="155"/>
                    <a:pt x="20" y="158"/>
                  </a:cubicBezTo>
                  <a:cubicBezTo>
                    <a:pt x="32" y="159"/>
                    <a:pt x="44" y="160"/>
                    <a:pt x="53" y="161"/>
                  </a:cubicBezTo>
                  <a:cubicBezTo>
                    <a:pt x="109" y="171"/>
                    <a:pt x="104" y="131"/>
                    <a:pt x="104" y="131"/>
                  </a:cubicBezTo>
                  <a:cubicBezTo>
                    <a:pt x="104" y="131"/>
                    <a:pt x="186" y="136"/>
                    <a:pt x="191" y="110"/>
                  </a:cubicBezTo>
                  <a:cubicBezTo>
                    <a:pt x="196" y="85"/>
                    <a:pt x="175" y="44"/>
                    <a:pt x="175" y="44"/>
                  </a:cubicBezTo>
                  <a:lnTo>
                    <a:pt x="159" y="0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3694813" y="8200086"/>
              <a:ext cx="522718" cy="703658"/>
            </a:xfrm>
            <a:custGeom>
              <a:avLst/>
              <a:gdLst>
                <a:gd name="T0" fmla="*/ 241 w 1035"/>
                <a:gd name="T1" fmla="*/ 264 h 1392"/>
                <a:gd name="T2" fmla="*/ 307 w 1035"/>
                <a:gd name="T3" fmla="*/ 324 h 1392"/>
                <a:gd name="T4" fmla="*/ 509 w 1035"/>
                <a:gd name="T5" fmla="*/ 394 h 1392"/>
                <a:gd name="T6" fmla="*/ 646 w 1035"/>
                <a:gd name="T7" fmla="*/ 425 h 1392"/>
                <a:gd name="T8" fmla="*/ 681 w 1035"/>
                <a:gd name="T9" fmla="*/ 447 h 1392"/>
                <a:gd name="T10" fmla="*/ 416 w 1035"/>
                <a:gd name="T11" fmla="*/ 713 h 1392"/>
                <a:gd name="T12" fmla="*/ 305 w 1035"/>
                <a:gd name="T13" fmla="*/ 733 h 1392"/>
                <a:gd name="T14" fmla="*/ 175 w 1035"/>
                <a:gd name="T15" fmla="*/ 802 h 1392"/>
                <a:gd name="T16" fmla="*/ 94 w 1035"/>
                <a:gd name="T17" fmla="*/ 814 h 1392"/>
                <a:gd name="T18" fmla="*/ 46 w 1035"/>
                <a:gd name="T19" fmla="*/ 884 h 1392"/>
                <a:gd name="T20" fmla="*/ 0 w 1035"/>
                <a:gd name="T21" fmla="*/ 956 h 1392"/>
                <a:gd name="T22" fmla="*/ 5 w 1035"/>
                <a:gd name="T23" fmla="*/ 1313 h 1392"/>
                <a:gd name="T24" fmla="*/ 55 w 1035"/>
                <a:gd name="T25" fmla="*/ 1392 h 1392"/>
                <a:gd name="T26" fmla="*/ 276 w 1035"/>
                <a:gd name="T27" fmla="*/ 1157 h 1392"/>
                <a:gd name="T28" fmla="*/ 451 w 1035"/>
                <a:gd name="T29" fmla="*/ 1025 h 1392"/>
                <a:gd name="T30" fmla="*/ 699 w 1035"/>
                <a:gd name="T31" fmla="*/ 781 h 1392"/>
                <a:gd name="T32" fmla="*/ 814 w 1035"/>
                <a:gd name="T33" fmla="*/ 597 h 1392"/>
                <a:gd name="T34" fmla="*/ 904 w 1035"/>
                <a:gd name="T35" fmla="*/ 442 h 1392"/>
                <a:gd name="T36" fmla="*/ 997 w 1035"/>
                <a:gd name="T37" fmla="*/ 244 h 1392"/>
                <a:gd name="T38" fmla="*/ 1031 w 1035"/>
                <a:gd name="T39" fmla="*/ 70 h 1392"/>
                <a:gd name="T40" fmla="*/ 966 w 1035"/>
                <a:gd name="T41" fmla="*/ 36 h 1392"/>
                <a:gd name="T42" fmla="*/ 741 w 1035"/>
                <a:gd name="T43" fmla="*/ 96 h 1392"/>
                <a:gd name="T44" fmla="*/ 582 w 1035"/>
                <a:gd name="T45" fmla="*/ 133 h 1392"/>
                <a:gd name="T46" fmla="*/ 452 w 1035"/>
                <a:gd name="T47" fmla="*/ 157 h 1392"/>
                <a:gd name="T48" fmla="*/ 287 w 1035"/>
                <a:gd name="T49" fmla="*/ 143 h 1392"/>
                <a:gd name="T50" fmla="*/ 236 w 1035"/>
                <a:gd name="T51" fmla="*/ 87 h 1392"/>
                <a:gd name="T52" fmla="*/ 179 w 1035"/>
                <a:gd name="T53" fmla="*/ 173 h 1392"/>
                <a:gd name="T54" fmla="*/ 241 w 1035"/>
                <a:gd name="T55" fmla="*/ 264 h 1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35" h="1392">
                  <a:moveTo>
                    <a:pt x="241" y="264"/>
                  </a:moveTo>
                  <a:cubicBezTo>
                    <a:pt x="259" y="273"/>
                    <a:pt x="287" y="319"/>
                    <a:pt x="307" y="324"/>
                  </a:cubicBezTo>
                  <a:cubicBezTo>
                    <a:pt x="327" y="328"/>
                    <a:pt x="438" y="366"/>
                    <a:pt x="509" y="394"/>
                  </a:cubicBezTo>
                  <a:cubicBezTo>
                    <a:pt x="580" y="423"/>
                    <a:pt x="624" y="425"/>
                    <a:pt x="646" y="425"/>
                  </a:cubicBezTo>
                  <a:cubicBezTo>
                    <a:pt x="668" y="425"/>
                    <a:pt x="701" y="432"/>
                    <a:pt x="681" y="447"/>
                  </a:cubicBezTo>
                  <a:cubicBezTo>
                    <a:pt x="662" y="463"/>
                    <a:pt x="445" y="682"/>
                    <a:pt x="416" y="713"/>
                  </a:cubicBezTo>
                  <a:cubicBezTo>
                    <a:pt x="387" y="744"/>
                    <a:pt x="369" y="733"/>
                    <a:pt x="305" y="733"/>
                  </a:cubicBezTo>
                  <a:cubicBezTo>
                    <a:pt x="241" y="733"/>
                    <a:pt x="192" y="804"/>
                    <a:pt x="175" y="802"/>
                  </a:cubicBezTo>
                  <a:cubicBezTo>
                    <a:pt x="164" y="800"/>
                    <a:pt x="126" y="807"/>
                    <a:pt x="94" y="814"/>
                  </a:cubicBezTo>
                  <a:cubicBezTo>
                    <a:pt x="46" y="884"/>
                    <a:pt x="46" y="884"/>
                    <a:pt x="46" y="884"/>
                  </a:cubicBezTo>
                  <a:cubicBezTo>
                    <a:pt x="0" y="956"/>
                    <a:pt x="0" y="956"/>
                    <a:pt x="0" y="956"/>
                  </a:cubicBezTo>
                  <a:cubicBezTo>
                    <a:pt x="5" y="1313"/>
                    <a:pt x="5" y="1313"/>
                    <a:pt x="5" y="1313"/>
                  </a:cubicBezTo>
                  <a:cubicBezTo>
                    <a:pt x="55" y="1392"/>
                    <a:pt x="55" y="1392"/>
                    <a:pt x="55" y="1392"/>
                  </a:cubicBezTo>
                  <a:cubicBezTo>
                    <a:pt x="94" y="1339"/>
                    <a:pt x="199" y="1239"/>
                    <a:pt x="276" y="1157"/>
                  </a:cubicBezTo>
                  <a:cubicBezTo>
                    <a:pt x="361" y="1069"/>
                    <a:pt x="403" y="1048"/>
                    <a:pt x="451" y="1025"/>
                  </a:cubicBezTo>
                  <a:cubicBezTo>
                    <a:pt x="498" y="1001"/>
                    <a:pt x="617" y="884"/>
                    <a:pt x="699" y="781"/>
                  </a:cubicBezTo>
                  <a:cubicBezTo>
                    <a:pt x="750" y="716"/>
                    <a:pt x="806" y="644"/>
                    <a:pt x="814" y="597"/>
                  </a:cubicBezTo>
                  <a:cubicBezTo>
                    <a:pt x="821" y="549"/>
                    <a:pt x="868" y="487"/>
                    <a:pt x="904" y="442"/>
                  </a:cubicBezTo>
                  <a:cubicBezTo>
                    <a:pt x="939" y="396"/>
                    <a:pt x="998" y="279"/>
                    <a:pt x="997" y="244"/>
                  </a:cubicBezTo>
                  <a:cubicBezTo>
                    <a:pt x="995" y="208"/>
                    <a:pt x="1026" y="133"/>
                    <a:pt x="1031" y="70"/>
                  </a:cubicBezTo>
                  <a:cubicBezTo>
                    <a:pt x="1035" y="6"/>
                    <a:pt x="982" y="0"/>
                    <a:pt x="966" y="36"/>
                  </a:cubicBezTo>
                  <a:cubicBezTo>
                    <a:pt x="949" y="71"/>
                    <a:pt x="822" y="95"/>
                    <a:pt x="741" y="96"/>
                  </a:cubicBezTo>
                  <a:cubicBezTo>
                    <a:pt x="660" y="98"/>
                    <a:pt x="611" y="105"/>
                    <a:pt x="582" y="133"/>
                  </a:cubicBezTo>
                  <a:cubicBezTo>
                    <a:pt x="552" y="161"/>
                    <a:pt x="479" y="126"/>
                    <a:pt x="452" y="157"/>
                  </a:cubicBezTo>
                  <a:cubicBezTo>
                    <a:pt x="426" y="188"/>
                    <a:pt x="321" y="214"/>
                    <a:pt x="287" y="143"/>
                  </a:cubicBezTo>
                  <a:cubicBezTo>
                    <a:pt x="272" y="114"/>
                    <a:pt x="253" y="97"/>
                    <a:pt x="236" y="87"/>
                  </a:cubicBezTo>
                  <a:cubicBezTo>
                    <a:pt x="207" y="116"/>
                    <a:pt x="173" y="159"/>
                    <a:pt x="179" y="173"/>
                  </a:cubicBezTo>
                  <a:cubicBezTo>
                    <a:pt x="188" y="193"/>
                    <a:pt x="223" y="255"/>
                    <a:pt x="241" y="26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11000807" y="6916748"/>
              <a:ext cx="606486" cy="484183"/>
            </a:xfrm>
            <a:custGeom>
              <a:avLst/>
              <a:gdLst>
                <a:gd name="T0" fmla="*/ 443 w 1202"/>
                <a:gd name="T1" fmla="*/ 958 h 958"/>
                <a:gd name="T2" fmla="*/ 441 w 1202"/>
                <a:gd name="T3" fmla="*/ 822 h 958"/>
                <a:gd name="T4" fmla="*/ 600 w 1202"/>
                <a:gd name="T5" fmla="*/ 717 h 958"/>
                <a:gd name="T6" fmla="*/ 665 w 1202"/>
                <a:gd name="T7" fmla="*/ 698 h 958"/>
                <a:gd name="T8" fmla="*/ 753 w 1202"/>
                <a:gd name="T9" fmla="*/ 678 h 958"/>
                <a:gd name="T10" fmla="*/ 805 w 1202"/>
                <a:gd name="T11" fmla="*/ 620 h 958"/>
                <a:gd name="T12" fmla="*/ 880 w 1202"/>
                <a:gd name="T13" fmla="*/ 594 h 958"/>
                <a:gd name="T14" fmla="*/ 926 w 1202"/>
                <a:gd name="T15" fmla="*/ 564 h 958"/>
                <a:gd name="T16" fmla="*/ 939 w 1202"/>
                <a:gd name="T17" fmla="*/ 503 h 958"/>
                <a:gd name="T18" fmla="*/ 971 w 1202"/>
                <a:gd name="T19" fmla="*/ 477 h 958"/>
                <a:gd name="T20" fmla="*/ 1030 w 1202"/>
                <a:gd name="T21" fmla="*/ 441 h 958"/>
                <a:gd name="T22" fmla="*/ 1176 w 1202"/>
                <a:gd name="T23" fmla="*/ 434 h 958"/>
                <a:gd name="T24" fmla="*/ 1199 w 1202"/>
                <a:gd name="T25" fmla="*/ 395 h 958"/>
                <a:gd name="T26" fmla="*/ 1160 w 1202"/>
                <a:gd name="T27" fmla="*/ 327 h 958"/>
                <a:gd name="T28" fmla="*/ 1153 w 1202"/>
                <a:gd name="T29" fmla="*/ 236 h 958"/>
                <a:gd name="T30" fmla="*/ 1124 w 1202"/>
                <a:gd name="T31" fmla="*/ 132 h 958"/>
                <a:gd name="T32" fmla="*/ 1108 w 1202"/>
                <a:gd name="T33" fmla="*/ 101 h 958"/>
                <a:gd name="T34" fmla="*/ 992 w 1202"/>
                <a:gd name="T35" fmla="*/ 74 h 958"/>
                <a:gd name="T36" fmla="*/ 822 w 1202"/>
                <a:gd name="T37" fmla="*/ 56 h 958"/>
                <a:gd name="T38" fmla="*/ 729 w 1202"/>
                <a:gd name="T39" fmla="*/ 13 h 958"/>
                <a:gd name="T40" fmla="*/ 620 w 1202"/>
                <a:gd name="T41" fmla="*/ 217 h 958"/>
                <a:gd name="T42" fmla="*/ 468 w 1202"/>
                <a:gd name="T43" fmla="*/ 289 h 958"/>
                <a:gd name="T44" fmla="*/ 393 w 1202"/>
                <a:gd name="T45" fmla="*/ 375 h 958"/>
                <a:gd name="T46" fmla="*/ 337 w 1202"/>
                <a:gd name="T47" fmla="*/ 469 h 958"/>
                <a:gd name="T48" fmla="*/ 337 w 1202"/>
                <a:gd name="T49" fmla="*/ 621 h 958"/>
                <a:gd name="T50" fmla="*/ 219 w 1202"/>
                <a:gd name="T51" fmla="*/ 785 h 958"/>
                <a:gd name="T52" fmla="*/ 72 w 1202"/>
                <a:gd name="T53" fmla="*/ 884 h 958"/>
                <a:gd name="T54" fmla="*/ 0 w 1202"/>
                <a:gd name="T55" fmla="*/ 919 h 958"/>
                <a:gd name="T56" fmla="*/ 371 w 1202"/>
                <a:gd name="T57" fmla="*/ 919 h 958"/>
                <a:gd name="T58" fmla="*/ 443 w 1202"/>
                <a:gd name="T59" fmla="*/ 958 h 9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2" h="958">
                  <a:moveTo>
                    <a:pt x="443" y="958"/>
                  </a:moveTo>
                  <a:cubicBezTo>
                    <a:pt x="441" y="892"/>
                    <a:pt x="439" y="828"/>
                    <a:pt x="441" y="822"/>
                  </a:cubicBezTo>
                  <a:cubicBezTo>
                    <a:pt x="444" y="809"/>
                    <a:pt x="577" y="730"/>
                    <a:pt x="600" y="717"/>
                  </a:cubicBezTo>
                  <a:cubicBezTo>
                    <a:pt x="623" y="704"/>
                    <a:pt x="665" y="724"/>
                    <a:pt x="665" y="698"/>
                  </a:cubicBezTo>
                  <a:cubicBezTo>
                    <a:pt x="665" y="672"/>
                    <a:pt x="721" y="685"/>
                    <a:pt x="753" y="678"/>
                  </a:cubicBezTo>
                  <a:cubicBezTo>
                    <a:pt x="786" y="672"/>
                    <a:pt x="805" y="649"/>
                    <a:pt x="805" y="620"/>
                  </a:cubicBezTo>
                  <a:cubicBezTo>
                    <a:pt x="805" y="590"/>
                    <a:pt x="851" y="597"/>
                    <a:pt x="880" y="594"/>
                  </a:cubicBezTo>
                  <a:cubicBezTo>
                    <a:pt x="909" y="590"/>
                    <a:pt x="906" y="564"/>
                    <a:pt x="926" y="564"/>
                  </a:cubicBezTo>
                  <a:cubicBezTo>
                    <a:pt x="945" y="564"/>
                    <a:pt x="935" y="535"/>
                    <a:pt x="939" y="503"/>
                  </a:cubicBezTo>
                  <a:cubicBezTo>
                    <a:pt x="942" y="470"/>
                    <a:pt x="942" y="477"/>
                    <a:pt x="971" y="477"/>
                  </a:cubicBezTo>
                  <a:cubicBezTo>
                    <a:pt x="1000" y="477"/>
                    <a:pt x="1030" y="460"/>
                    <a:pt x="1030" y="441"/>
                  </a:cubicBezTo>
                  <a:cubicBezTo>
                    <a:pt x="1030" y="421"/>
                    <a:pt x="1157" y="434"/>
                    <a:pt x="1176" y="434"/>
                  </a:cubicBezTo>
                  <a:cubicBezTo>
                    <a:pt x="1196" y="434"/>
                    <a:pt x="1202" y="412"/>
                    <a:pt x="1199" y="395"/>
                  </a:cubicBezTo>
                  <a:cubicBezTo>
                    <a:pt x="1196" y="379"/>
                    <a:pt x="1179" y="330"/>
                    <a:pt x="1160" y="327"/>
                  </a:cubicBezTo>
                  <a:cubicBezTo>
                    <a:pt x="1140" y="324"/>
                    <a:pt x="1153" y="275"/>
                    <a:pt x="1153" y="236"/>
                  </a:cubicBezTo>
                  <a:cubicBezTo>
                    <a:pt x="1153" y="197"/>
                    <a:pt x="1147" y="161"/>
                    <a:pt x="1124" y="132"/>
                  </a:cubicBezTo>
                  <a:cubicBezTo>
                    <a:pt x="1119" y="126"/>
                    <a:pt x="1114" y="114"/>
                    <a:pt x="1108" y="101"/>
                  </a:cubicBezTo>
                  <a:cubicBezTo>
                    <a:pt x="1072" y="102"/>
                    <a:pt x="1029" y="75"/>
                    <a:pt x="992" y="74"/>
                  </a:cubicBezTo>
                  <a:cubicBezTo>
                    <a:pt x="940" y="72"/>
                    <a:pt x="860" y="99"/>
                    <a:pt x="822" y="56"/>
                  </a:cubicBezTo>
                  <a:cubicBezTo>
                    <a:pt x="784" y="13"/>
                    <a:pt x="757" y="0"/>
                    <a:pt x="729" y="13"/>
                  </a:cubicBezTo>
                  <a:cubicBezTo>
                    <a:pt x="701" y="27"/>
                    <a:pt x="649" y="174"/>
                    <a:pt x="620" y="217"/>
                  </a:cubicBezTo>
                  <a:cubicBezTo>
                    <a:pt x="590" y="260"/>
                    <a:pt x="508" y="289"/>
                    <a:pt x="468" y="289"/>
                  </a:cubicBezTo>
                  <a:cubicBezTo>
                    <a:pt x="428" y="289"/>
                    <a:pt x="424" y="350"/>
                    <a:pt x="393" y="375"/>
                  </a:cubicBezTo>
                  <a:cubicBezTo>
                    <a:pt x="362" y="400"/>
                    <a:pt x="373" y="440"/>
                    <a:pt x="337" y="469"/>
                  </a:cubicBezTo>
                  <a:cubicBezTo>
                    <a:pt x="300" y="499"/>
                    <a:pt x="317" y="589"/>
                    <a:pt x="337" y="621"/>
                  </a:cubicBezTo>
                  <a:cubicBezTo>
                    <a:pt x="356" y="654"/>
                    <a:pt x="269" y="756"/>
                    <a:pt x="219" y="785"/>
                  </a:cubicBezTo>
                  <a:cubicBezTo>
                    <a:pt x="168" y="815"/>
                    <a:pt x="152" y="871"/>
                    <a:pt x="72" y="884"/>
                  </a:cubicBezTo>
                  <a:cubicBezTo>
                    <a:pt x="41" y="889"/>
                    <a:pt x="18" y="903"/>
                    <a:pt x="0" y="919"/>
                  </a:cubicBezTo>
                  <a:cubicBezTo>
                    <a:pt x="124" y="919"/>
                    <a:pt x="308" y="919"/>
                    <a:pt x="371" y="919"/>
                  </a:cubicBezTo>
                  <a:cubicBezTo>
                    <a:pt x="448" y="919"/>
                    <a:pt x="431" y="937"/>
                    <a:pt x="443" y="95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12034514" y="6829628"/>
              <a:ext cx="216124" cy="410467"/>
            </a:xfrm>
            <a:custGeom>
              <a:avLst/>
              <a:gdLst>
                <a:gd name="T0" fmla="*/ 118 w 429"/>
                <a:gd name="T1" fmla="*/ 205 h 810"/>
                <a:gd name="T2" fmla="*/ 89 w 429"/>
                <a:gd name="T3" fmla="*/ 311 h 810"/>
                <a:gd name="T4" fmla="*/ 24 w 429"/>
                <a:gd name="T5" fmla="*/ 376 h 810"/>
                <a:gd name="T6" fmla="*/ 65 w 429"/>
                <a:gd name="T7" fmla="*/ 482 h 810"/>
                <a:gd name="T8" fmla="*/ 106 w 429"/>
                <a:gd name="T9" fmla="*/ 547 h 810"/>
                <a:gd name="T10" fmla="*/ 183 w 429"/>
                <a:gd name="T11" fmla="*/ 606 h 810"/>
                <a:gd name="T12" fmla="*/ 230 w 429"/>
                <a:gd name="T13" fmla="*/ 784 h 810"/>
                <a:gd name="T14" fmla="*/ 239 w 429"/>
                <a:gd name="T15" fmla="*/ 810 h 810"/>
                <a:gd name="T16" fmla="*/ 280 w 429"/>
                <a:gd name="T17" fmla="*/ 773 h 810"/>
                <a:gd name="T18" fmla="*/ 298 w 429"/>
                <a:gd name="T19" fmla="*/ 693 h 810"/>
                <a:gd name="T20" fmla="*/ 307 w 429"/>
                <a:gd name="T21" fmla="*/ 649 h 810"/>
                <a:gd name="T22" fmla="*/ 384 w 429"/>
                <a:gd name="T23" fmla="*/ 577 h 810"/>
                <a:gd name="T24" fmla="*/ 426 w 429"/>
                <a:gd name="T25" fmla="*/ 546 h 810"/>
                <a:gd name="T26" fmla="*/ 429 w 429"/>
                <a:gd name="T27" fmla="*/ 494 h 810"/>
                <a:gd name="T28" fmla="*/ 391 w 429"/>
                <a:gd name="T29" fmla="*/ 451 h 810"/>
                <a:gd name="T30" fmla="*/ 350 w 429"/>
                <a:gd name="T31" fmla="*/ 418 h 810"/>
                <a:gd name="T32" fmla="*/ 272 w 429"/>
                <a:gd name="T33" fmla="*/ 384 h 810"/>
                <a:gd name="T34" fmla="*/ 350 w 429"/>
                <a:gd name="T35" fmla="*/ 314 h 810"/>
                <a:gd name="T36" fmla="*/ 353 w 429"/>
                <a:gd name="T37" fmla="*/ 180 h 810"/>
                <a:gd name="T38" fmla="*/ 370 w 429"/>
                <a:gd name="T39" fmla="*/ 93 h 810"/>
                <a:gd name="T40" fmla="*/ 357 w 429"/>
                <a:gd name="T41" fmla="*/ 57 h 810"/>
                <a:gd name="T42" fmla="*/ 310 w 429"/>
                <a:gd name="T43" fmla="*/ 41 h 810"/>
                <a:gd name="T44" fmla="*/ 173 w 429"/>
                <a:gd name="T45" fmla="*/ 34 h 810"/>
                <a:gd name="T46" fmla="*/ 119 w 429"/>
                <a:gd name="T47" fmla="*/ 49 h 810"/>
                <a:gd name="T48" fmla="*/ 118 w 429"/>
                <a:gd name="T49" fmla="*/ 205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9" h="810">
                  <a:moveTo>
                    <a:pt x="118" y="205"/>
                  </a:moveTo>
                  <a:cubicBezTo>
                    <a:pt x="142" y="240"/>
                    <a:pt x="112" y="299"/>
                    <a:pt x="89" y="311"/>
                  </a:cubicBezTo>
                  <a:cubicBezTo>
                    <a:pt x="65" y="323"/>
                    <a:pt x="47" y="376"/>
                    <a:pt x="24" y="376"/>
                  </a:cubicBezTo>
                  <a:cubicBezTo>
                    <a:pt x="0" y="376"/>
                    <a:pt x="24" y="465"/>
                    <a:pt x="65" y="482"/>
                  </a:cubicBezTo>
                  <a:cubicBezTo>
                    <a:pt x="106" y="500"/>
                    <a:pt x="106" y="530"/>
                    <a:pt x="106" y="547"/>
                  </a:cubicBezTo>
                  <a:cubicBezTo>
                    <a:pt x="106" y="565"/>
                    <a:pt x="165" y="583"/>
                    <a:pt x="183" y="606"/>
                  </a:cubicBezTo>
                  <a:cubicBezTo>
                    <a:pt x="201" y="630"/>
                    <a:pt x="230" y="742"/>
                    <a:pt x="230" y="784"/>
                  </a:cubicBezTo>
                  <a:cubicBezTo>
                    <a:pt x="230" y="794"/>
                    <a:pt x="234" y="803"/>
                    <a:pt x="239" y="810"/>
                  </a:cubicBezTo>
                  <a:cubicBezTo>
                    <a:pt x="254" y="799"/>
                    <a:pt x="273" y="788"/>
                    <a:pt x="280" y="773"/>
                  </a:cubicBezTo>
                  <a:cubicBezTo>
                    <a:pt x="294" y="748"/>
                    <a:pt x="304" y="705"/>
                    <a:pt x="298" y="693"/>
                  </a:cubicBezTo>
                  <a:cubicBezTo>
                    <a:pt x="292" y="682"/>
                    <a:pt x="294" y="661"/>
                    <a:pt x="307" y="649"/>
                  </a:cubicBezTo>
                  <a:cubicBezTo>
                    <a:pt x="320" y="637"/>
                    <a:pt x="373" y="581"/>
                    <a:pt x="384" y="577"/>
                  </a:cubicBezTo>
                  <a:cubicBezTo>
                    <a:pt x="394" y="572"/>
                    <a:pt x="428" y="578"/>
                    <a:pt x="426" y="546"/>
                  </a:cubicBezTo>
                  <a:cubicBezTo>
                    <a:pt x="426" y="533"/>
                    <a:pt x="427" y="513"/>
                    <a:pt x="429" y="494"/>
                  </a:cubicBezTo>
                  <a:cubicBezTo>
                    <a:pt x="405" y="479"/>
                    <a:pt x="391" y="460"/>
                    <a:pt x="391" y="451"/>
                  </a:cubicBezTo>
                  <a:cubicBezTo>
                    <a:pt x="391" y="432"/>
                    <a:pt x="364" y="400"/>
                    <a:pt x="350" y="418"/>
                  </a:cubicBezTo>
                  <a:cubicBezTo>
                    <a:pt x="335" y="435"/>
                    <a:pt x="279" y="421"/>
                    <a:pt x="272" y="384"/>
                  </a:cubicBezTo>
                  <a:cubicBezTo>
                    <a:pt x="264" y="347"/>
                    <a:pt x="308" y="348"/>
                    <a:pt x="350" y="314"/>
                  </a:cubicBezTo>
                  <a:cubicBezTo>
                    <a:pt x="391" y="280"/>
                    <a:pt x="397" y="215"/>
                    <a:pt x="353" y="180"/>
                  </a:cubicBezTo>
                  <a:cubicBezTo>
                    <a:pt x="308" y="144"/>
                    <a:pt x="339" y="125"/>
                    <a:pt x="370" y="93"/>
                  </a:cubicBezTo>
                  <a:cubicBezTo>
                    <a:pt x="401" y="60"/>
                    <a:pt x="373" y="43"/>
                    <a:pt x="357" y="57"/>
                  </a:cubicBezTo>
                  <a:cubicBezTo>
                    <a:pt x="341" y="72"/>
                    <a:pt x="314" y="77"/>
                    <a:pt x="310" y="41"/>
                  </a:cubicBezTo>
                  <a:cubicBezTo>
                    <a:pt x="306" y="6"/>
                    <a:pt x="210" y="0"/>
                    <a:pt x="173" y="34"/>
                  </a:cubicBezTo>
                  <a:cubicBezTo>
                    <a:pt x="160" y="46"/>
                    <a:pt x="140" y="49"/>
                    <a:pt x="119" y="49"/>
                  </a:cubicBezTo>
                  <a:cubicBezTo>
                    <a:pt x="110" y="108"/>
                    <a:pt x="102" y="181"/>
                    <a:pt x="118" y="20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11221957" y="6843031"/>
              <a:ext cx="1050462" cy="1010252"/>
            </a:xfrm>
            <a:custGeom>
              <a:avLst/>
              <a:gdLst>
                <a:gd name="T0" fmla="*/ 714 w 2081"/>
                <a:gd name="T1" fmla="*/ 382 h 1999"/>
                <a:gd name="T2" fmla="*/ 721 w 2081"/>
                <a:gd name="T3" fmla="*/ 473 h 1999"/>
                <a:gd name="T4" fmla="*/ 760 w 2081"/>
                <a:gd name="T5" fmla="*/ 541 h 1999"/>
                <a:gd name="T6" fmla="*/ 737 w 2081"/>
                <a:gd name="T7" fmla="*/ 580 h 1999"/>
                <a:gd name="T8" fmla="*/ 591 w 2081"/>
                <a:gd name="T9" fmla="*/ 587 h 1999"/>
                <a:gd name="T10" fmla="*/ 532 w 2081"/>
                <a:gd name="T11" fmla="*/ 623 h 1999"/>
                <a:gd name="T12" fmla="*/ 500 w 2081"/>
                <a:gd name="T13" fmla="*/ 649 h 1999"/>
                <a:gd name="T14" fmla="*/ 487 w 2081"/>
                <a:gd name="T15" fmla="*/ 710 h 1999"/>
                <a:gd name="T16" fmla="*/ 441 w 2081"/>
                <a:gd name="T17" fmla="*/ 740 h 1999"/>
                <a:gd name="T18" fmla="*/ 366 w 2081"/>
                <a:gd name="T19" fmla="*/ 766 h 1999"/>
                <a:gd name="T20" fmla="*/ 314 w 2081"/>
                <a:gd name="T21" fmla="*/ 824 h 1999"/>
                <a:gd name="T22" fmla="*/ 226 w 2081"/>
                <a:gd name="T23" fmla="*/ 844 h 1999"/>
                <a:gd name="T24" fmla="*/ 161 w 2081"/>
                <a:gd name="T25" fmla="*/ 863 h 1999"/>
                <a:gd name="T26" fmla="*/ 2 w 2081"/>
                <a:gd name="T27" fmla="*/ 968 h 1999"/>
                <a:gd name="T28" fmla="*/ 4 w 2081"/>
                <a:gd name="T29" fmla="*/ 1104 h 1999"/>
                <a:gd name="T30" fmla="*/ 24 w 2081"/>
                <a:gd name="T31" fmla="*/ 1122 h 1999"/>
                <a:gd name="T32" fmla="*/ 992 w 2081"/>
                <a:gd name="T33" fmla="*/ 1767 h 1999"/>
                <a:gd name="T34" fmla="*/ 1055 w 2081"/>
                <a:gd name="T35" fmla="*/ 1859 h 1999"/>
                <a:gd name="T36" fmla="*/ 1167 w 2081"/>
                <a:gd name="T37" fmla="*/ 1894 h 1999"/>
                <a:gd name="T38" fmla="*/ 1217 w 2081"/>
                <a:gd name="T39" fmla="*/ 1999 h 1999"/>
                <a:gd name="T40" fmla="*/ 1315 w 2081"/>
                <a:gd name="T41" fmla="*/ 1978 h 1999"/>
                <a:gd name="T42" fmla="*/ 1469 w 2081"/>
                <a:gd name="T43" fmla="*/ 1929 h 1999"/>
                <a:gd name="T44" fmla="*/ 1652 w 2081"/>
                <a:gd name="T45" fmla="*/ 1781 h 1999"/>
                <a:gd name="T46" fmla="*/ 2080 w 2081"/>
                <a:gd name="T47" fmla="*/ 1515 h 1999"/>
                <a:gd name="T48" fmla="*/ 2081 w 2081"/>
                <a:gd name="T49" fmla="*/ 1515 h 1999"/>
                <a:gd name="T50" fmla="*/ 2031 w 2081"/>
                <a:gd name="T51" fmla="*/ 1429 h 1999"/>
                <a:gd name="T52" fmla="*/ 1957 w 2081"/>
                <a:gd name="T53" fmla="*/ 1407 h 1999"/>
                <a:gd name="T54" fmla="*/ 1887 w 2081"/>
                <a:gd name="T55" fmla="*/ 1367 h 1999"/>
                <a:gd name="T56" fmla="*/ 1876 w 2081"/>
                <a:gd name="T57" fmla="*/ 1290 h 1999"/>
                <a:gd name="T58" fmla="*/ 1832 w 2081"/>
                <a:gd name="T59" fmla="*/ 1227 h 1999"/>
                <a:gd name="T60" fmla="*/ 1875 w 2081"/>
                <a:gd name="T61" fmla="*/ 1178 h 1999"/>
                <a:gd name="T62" fmla="*/ 1860 w 2081"/>
                <a:gd name="T63" fmla="*/ 1132 h 1999"/>
                <a:gd name="T64" fmla="*/ 1860 w 2081"/>
                <a:gd name="T65" fmla="*/ 1070 h 1999"/>
                <a:gd name="T66" fmla="*/ 1868 w 2081"/>
                <a:gd name="T67" fmla="*/ 1002 h 1999"/>
                <a:gd name="T68" fmla="*/ 1871 w 2081"/>
                <a:gd name="T69" fmla="*/ 897 h 1999"/>
                <a:gd name="T70" fmla="*/ 1825 w 2081"/>
                <a:gd name="T71" fmla="*/ 806 h 1999"/>
                <a:gd name="T72" fmla="*/ 1847 w 2081"/>
                <a:gd name="T73" fmla="*/ 785 h 1999"/>
                <a:gd name="T74" fmla="*/ 1838 w 2081"/>
                <a:gd name="T75" fmla="*/ 759 h 1999"/>
                <a:gd name="T76" fmla="*/ 1791 w 2081"/>
                <a:gd name="T77" fmla="*/ 581 h 1999"/>
                <a:gd name="T78" fmla="*/ 1714 w 2081"/>
                <a:gd name="T79" fmla="*/ 522 h 1999"/>
                <a:gd name="T80" fmla="*/ 1673 w 2081"/>
                <a:gd name="T81" fmla="*/ 457 h 1999"/>
                <a:gd name="T82" fmla="*/ 1632 w 2081"/>
                <a:gd name="T83" fmla="*/ 351 h 1999"/>
                <a:gd name="T84" fmla="*/ 1697 w 2081"/>
                <a:gd name="T85" fmla="*/ 286 h 1999"/>
                <a:gd name="T86" fmla="*/ 1726 w 2081"/>
                <a:gd name="T87" fmla="*/ 180 h 1999"/>
                <a:gd name="T88" fmla="*/ 1727 w 2081"/>
                <a:gd name="T89" fmla="*/ 24 h 1999"/>
                <a:gd name="T90" fmla="*/ 1633 w 2081"/>
                <a:gd name="T91" fmla="*/ 6 h 1999"/>
                <a:gd name="T92" fmla="*/ 1531 w 2081"/>
                <a:gd name="T93" fmla="*/ 16 h 1999"/>
                <a:gd name="T94" fmla="*/ 1393 w 2081"/>
                <a:gd name="T95" fmla="*/ 44 h 1999"/>
                <a:gd name="T96" fmla="*/ 1018 w 2081"/>
                <a:gd name="T97" fmla="*/ 66 h 1999"/>
                <a:gd name="T98" fmla="*/ 863 w 2081"/>
                <a:gd name="T99" fmla="*/ 149 h 1999"/>
                <a:gd name="T100" fmla="*/ 706 w 2081"/>
                <a:gd name="T101" fmla="*/ 230 h 1999"/>
                <a:gd name="T102" fmla="*/ 669 w 2081"/>
                <a:gd name="T103" fmla="*/ 247 h 1999"/>
                <a:gd name="T104" fmla="*/ 685 w 2081"/>
                <a:gd name="T105" fmla="*/ 278 h 1999"/>
                <a:gd name="T106" fmla="*/ 714 w 2081"/>
                <a:gd name="T107" fmla="*/ 382 h 1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81" h="1999">
                  <a:moveTo>
                    <a:pt x="714" y="382"/>
                  </a:moveTo>
                  <a:cubicBezTo>
                    <a:pt x="714" y="421"/>
                    <a:pt x="701" y="470"/>
                    <a:pt x="721" y="473"/>
                  </a:cubicBezTo>
                  <a:cubicBezTo>
                    <a:pt x="740" y="476"/>
                    <a:pt x="757" y="525"/>
                    <a:pt x="760" y="541"/>
                  </a:cubicBezTo>
                  <a:cubicBezTo>
                    <a:pt x="763" y="558"/>
                    <a:pt x="757" y="580"/>
                    <a:pt x="737" y="580"/>
                  </a:cubicBezTo>
                  <a:cubicBezTo>
                    <a:pt x="718" y="580"/>
                    <a:pt x="591" y="567"/>
                    <a:pt x="591" y="587"/>
                  </a:cubicBezTo>
                  <a:cubicBezTo>
                    <a:pt x="591" y="606"/>
                    <a:pt x="561" y="623"/>
                    <a:pt x="532" y="623"/>
                  </a:cubicBezTo>
                  <a:cubicBezTo>
                    <a:pt x="503" y="623"/>
                    <a:pt x="503" y="616"/>
                    <a:pt x="500" y="649"/>
                  </a:cubicBezTo>
                  <a:cubicBezTo>
                    <a:pt x="496" y="681"/>
                    <a:pt x="506" y="710"/>
                    <a:pt x="487" y="710"/>
                  </a:cubicBezTo>
                  <a:cubicBezTo>
                    <a:pt x="467" y="710"/>
                    <a:pt x="470" y="736"/>
                    <a:pt x="441" y="740"/>
                  </a:cubicBezTo>
                  <a:cubicBezTo>
                    <a:pt x="412" y="743"/>
                    <a:pt x="366" y="736"/>
                    <a:pt x="366" y="766"/>
                  </a:cubicBezTo>
                  <a:cubicBezTo>
                    <a:pt x="366" y="795"/>
                    <a:pt x="347" y="818"/>
                    <a:pt x="314" y="824"/>
                  </a:cubicBezTo>
                  <a:cubicBezTo>
                    <a:pt x="282" y="831"/>
                    <a:pt x="226" y="818"/>
                    <a:pt x="226" y="844"/>
                  </a:cubicBezTo>
                  <a:cubicBezTo>
                    <a:pt x="226" y="870"/>
                    <a:pt x="184" y="850"/>
                    <a:pt x="161" y="863"/>
                  </a:cubicBezTo>
                  <a:cubicBezTo>
                    <a:pt x="138" y="876"/>
                    <a:pt x="5" y="955"/>
                    <a:pt x="2" y="968"/>
                  </a:cubicBezTo>
                  <a:cubicBezTo>
                    <a:pt x="0" y="974"/>
                    <a:pt x="2" y="1038"/>
                    <a:pt x="4" y="1104"/>
                  </a:cubicBezTo>
                  <a:cubicBezTo>
                    <a:pt x="7" y="1109"/>
                    <a:pt x="13" y="1115"/>
                    <a:pt x="24" y="1122"/>
                  </a:cubicBezTo>
                  <a:cubicBezTo>
                    <a:pt x="73" y="1150"/>
                    <a:pt x="964" y="1739"/>
                    <a:pt x="992" y="1767"/>
                  </a:cubicBezTo>
                  <a:cubicBezTo>
                    <a:pt x="1020" y="1795"/>
                    <a:pt x="1055" y="1859"/>
                    <a:pt x="1055" y="1859"/>
                  </a:cubicBezTo>
                  <a:cubicBezTo>
                    <a:pt x="1055" y="1859"/>
                    <a:pt x="1118" y="1866"/>
                    <a:pt x="1167" y="1894"/>
                  </a:cubicBezTo>
                  <a:cubicBezTo>
                    <a:pt x="1217" y="1922"/>
                    <a:pt x="1217" y="1999"/>
                    <a:pt x="1217" y="1999"/>
                  </a:cubicBezTo>
                  <a:cubicBezTo>
                    <a:pt x="1217" y="1999"/>
                    <a:pt x="1280" y="1985"/>
                    <a:pt x="1315" y="1978"/>
                  </a:cubicBezTo>
                  <a:cubicBezTo>
                    <a:pt x="1350" y="1971"/>
                    <a:pt x="1469" y="1929"/>
                    <a:pt x="1469" y="1929"/>
                  </a:cubicBezTo>
                  <a:cubicBezTo>
                    <a:pt x="1652" y="1781"/>
                    <a:pt x="1652" y="1781"/>
                    <a:pt x="1652" y="1781"/>
                  </a:cubicBezTo>
                  <a:cubicBezTo>
                    <a:pt x="2080" y="1515"/>
                    <a:pt x="2080" y="1515"/>
                    <a:pt x="2080" y="1515"/>
                  </a:cubicBezTo>
                  <a:cubicBezTo>
                    <a:pt x="2080" y="1515"/>
                    <a:pt x="2080" y="1515"/>
                    <a:pt x="2081" y="1515"/>
                  </a:cubicBezTo>
                  <a:cubicBezTo>
                    <a:pt x="2068" y="1467"/>
                    <a:pt x="2053" y="1429"/>
                    <a:pt x="2031" y="1429"/>
                  </a:cubicBezTo>
                  <a:cubicBezTo>
                    <a:pt x="2005" y="1429"/>
                    <a:pt x="1986" y="1407"/>
                    <a:pt x="1957" y="1407"/>
                  </a:cubicBezTo>
                  <a:cubicBezTo>
                    <a:pt x="1928" y="1407"/>
                    <a:pt x="1891" y="1393"/>
                    <a:pt x="1887" y="1367"/>
                  </a:cubicBezTo>
                  <a:cubicBezTo>
                    <a:pt x="1883" y="1341"/>
                    <a:pt x="1898" y="1323"/>
                    <a:pt x="1876" y="1290"/>
                  </a:cubicBezTo>
                  <a:cubicBezTo>
                    <a:pt x="1854" y="1256"/>
                    <a:pt x="1832" y="1242"/>
                    <a:pt x="1832" y="1227"/>
                  </a:cubicBezTo>
                  <a:cubicBezTo>
                    <a:pt x="1832" y="1212"/>
                    <a:pt x="1869" y="1184"/>
                    <a:pt x="1875" y="1178"/>
                  </a:cubicBezTo>
                  <a:cubicBezTo>
                    <a:pt x="1881" y="1172"/>
                    <a:pt x="1860" y="1148"/>
                    <a:pt x="1860" y="1132"/>
                  </a:cubicBezTo>
                  <a:cubicBezTo>
                    <a:pt x="1860" y="1116"/>
                    <a:pt x="1846" y="1088"/>
                    <a:pt x="1860" y="1070"/>
                  </a:cubicBezTo>
                  <a:cubicBezTo>
                    <a:pt x="1875" y="1052"/>
                    <a:pt x="1884" y="1034"/>
                    <a:pt x="1868" y="1002"/>
                  </a:cubicBezTo>
                  <a:cubicBezTo>
                    <a:pt x="1851" y="970"/>
                    <a:pt x="1890" y="940"/>
                    <a:pt x="1871" y="897"/>
                  </a:cubicBezTo>
                  <a:cubicBezTo>
                    <a:pt x="1851" y="854"/>
                    <a:pt x="1822" y="821"/>
                    <a:pt x="1825" y="806"/>
                  </a:cubicBezTo>
                  <a:cubicBezTo>
                    <a:pt x="1826" y="799"/>
                    <a:pt x="1836" y="793"/>
                    <a:pt x="1847" y="785"/>
                  </a:cubicBezTo>
                  <a:cubicBezTo>
                    <a:pt x="1842" y="778"/>
                    <a:pt x="1838" y="769"/>
                    <a:pt x="1838" y="759"/>
                  </a:cubicBezTo>
                  <a:cubicBezTo>
                    <a:pt x="1838" y="717"/>
                    <a:pt x="1809" y="605"/>
                    <a:pt x="1791" y="581"/>
                  </a:cubicBezTo>
                  <a:cubicBezTo>
                    <a:pt x="1773" y="558"/>
                    <a:pt x="1714" y="540"/>
                    <a:pt x="1714" y="522"/>
                  </a:cubicBezTo>
                  <a:cubicBezTo>
                    <a:pt x="1714" y="505"/>
                    <a:pt x="1714" y="475"/>
                    <a:pt x="1673" y="457"/>
                  </a:cubicBezTo>
                  <a:cubicBezTo>
                    <a:pt x="1632" y="440"/>
                    <a:pt x="1608" y="351"/>
                    <a:pt x="1632" y="351"/>
                  </a:cubicBezTo>
                  <a:cubicBezTo>
                    <a:pt x="1655" y="351"/>
                    <a:pt x="1673" y="298"/>
                    <a:pt x="1697" y="286"/>
                  </a:cubicBezTo>
                  <a:cubicBezTo>
                    <a:pt x="1720" y="274"/>
                    <a:pt x="1750" y="215"/>
                    <a:pt x="1726" y="180"/>
                  </a:cubicBezTo>
                  <a:cubicBezTo>
                    <a:pt x="1710" y="156"/>
                    <a:pt x="1718" y="83"/>
                    <a:pt x="1727" y="24"/>
                  </a:cubicBezTo>
                  <a:cubicBezTo>
                    <a:pt x="1688" y="24"/>
                    <a:pt x="1645" y="10"/>
                    <a:pt x="1633" y="6"/>
                  </a:cubicBezTo>
                  <a:cubicBezTo>
                    <a:pt x="1615" y="0"/>
                    <a:pt x="1564" y="15"/>
                    <a:pt x="1531" y="16"/>
                  </a:cubicBezTo>
                  <a:cubicBezTo>
                    <a:pt x="1499" y="18"/>
                    <a:pt x="1419" y="69"/>
                    <a:pt x="1393" y="44"/>
                  </a:cubicBezTo>
                  <a:cubicBezTo>
                    <a:pt x="1366" y="19"/>
                    <a:pt x="1094" y="63"/>
                    <a:pt x="1018" y="66"/>
                  </a:cubicBezTo>
                  <a:cubicBezTo>
                    <a:pt x="941" y="69"/>
                    <a:pt x="908" y="149"/>
                    <a:pt x="863" y="149"/>
                  </a:cubicBezTo>
                  <a:cubicBezTo>
                    <a:pt x="817" y="149"/>
                    <a:pt x="745" y="187"/>
                    <a:pt x="706" y="230"/>
                  </a:cubicBezTo>
                  <a:cubicBezTo>
                    <a:pt x="695" y="242"/>
                    <a:pt x="683" y="247"/>
                    <a:pt x="669" y="247"/>
                  </a:cubicBezTo>
                  <a:cubicBezTo>
                    <a:pt x="675" y="260"/>
                    <a:pt x="680" y="272"/>
                    <a:pt x="685" y="278"/>
                  </a:cubicBezTo>
                  <a:cubicBezTo>
                    <a:pt x="708" y="307"/>
                    <a:pt x="714" y="343"/>
                    <a:pt x="714" y="38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12141738" y="7079260"/>
              <a:ext cx="768998" cy="735490"/>
            </a:xfrm>
            <a:custGeom>
              <a:avLst/>
              <a:gdLst>
                <a:gd name="T0" fmla="*/ 170 w 1522"/>
                <a:gd name="T1" fmla="*/ 83 h 1455"/>
                <a:gd name="T2" fmla="*/ 93 w 1522"/>
                <a:gd name="T3" fmla="*/ 155 h 1455"/>
                <a:gd name="T4" fmla="*/ 84 w 1522"/>
                <a:gd name="T5" fmla="*/ 199 h 1455"/>
                <a:gd name="T6" fmla="*/ 66 w 1522"/>
                <a:gd name="T7" fmla="*/ 279 h 1455"/>
                <a:gd name="T8" fmla="*/ 3 w 1522"/>
                <a:gd name="T9" fmla="*/ 337 h 1455"/>
                <a:gd name="T10" fmla="*/ 49 w 1522"/>
                <a:gd name="T11" fmla="*/ 428 h 1455"/>
                <a:gd name="T12" fmla="*/ 46 w 1522"/>
                <a:gd name="T13" fmla="*/ 533 h 1455"/>
                <a:gd name="T14" fmla="*/ 38 w 1522"/>
                <a:gd name="T15" fmla="*/ 601 h 1455"/>
                <a:gd name="T16" fmla="*/ 38 w 1522"/>
                <a:gd name="T17" fmla="*/ 663 h 1455"/>
                <a:gd name="T18" fmla="*/ 53 w 1522"/>
                <a:gd name="T19" fmla="*/ 709 h 1455"/>
                <a:gd name="T20" fmla="*/ 10 w 1522"/>
                <a:gd name="T21" fmla="*/ 758 h 1455"/>
                <a:gd name="T22" fmla="*/ 54 w 1522"/>
                <a:gd name="T23" fmla="*/ 821 h 1455"/>
                <a:gd name="T24" fmla="*/ 65 w 1522"/>
                <a:gd name="T25" fmla="*/ 898 h 1455"/>
                <a:gd name="T26" fmla="*/ 135 w 1522"/>
                <a:gd name="T27" fmla="*/ 938 h 1455"/>
                <a:gd name="T28" fmla="*/ 209 w 1522"/>
                <a:gd name="T29" fmla="*/ 960 h 1455"/>
                <a:gd name="T30" fmla="*/ 259 w 1522"/>
                <a:gd name="T31" fmla="*/ 1046 h 1455"/>
                <a:gd name="T32" fmla="*/ 405 w 1522"/>
                <a:gd name="T33" fmla="*/ 1074 h 1455"/>
                <a:gd name="T34" fmla="*/ 468 w 1522"/>
                <a:gd name="T35" fmla="*/ 1137 h 1455"/>
                <a:gd name="T36" fmla="*/ 637 w 1522"/>
                <a:gd name="T37" fmla="*/ 1046 h 1455"/>
                <a:gd name="T38" fmla="*/ 1399 w 1522"/>
                <a:gd name="T39" fmla="*/ 1455 h 1455"/>
                <a:gd name="T40" fmla="*/ 1399 w 1522"/>
                <a:gd name="T41" fmla="*/ 1403 h 1455"/>
                <a:gd name="T42" fmla="*/ 1491 w 1522"/>
                <a:gd name="T43" fmla="*/ 1403 h 1455"/>
                <a:gd name="T44" fmla="*/ 1491 w 1522"/>
                <a:gd name="T45" fmla="*/ 424 h 1455"/>
                <a:gd name="T46" fmla="*/ 1491 w 1522"/>
                <a:gd name="T47" fmla="*/ 276 h 1455"/>
                <a:gd name="T48" fmla="*/ 1503 w 1522"/>
                <a:gd name="T49" fmla="*/ 153 h 1455"/>
                <a:gd name="T50" fmla="*/ 1512 w 1522"/>
                <a:gd name="T51" fmla="*/ 128 h 1455"/>
                <a:gd name="T52" fmla="*/ 1510 w 1522"/>
                <a:gd name="T53" fmla="*/ 124 h 1455"/>
                <a:gd name="T54" fmla="*/ 1375 w 1522"/>
                <a:gd name="T55" fmla="*/ 89 h 1455"/>
                <a:gd name="T56" fmla="*/ 1223 w 1522"/>
                <a:gd name="T57" fmla="*/ 11 h 1455"/>
                <a:gd name="T58" fmla="*/ 1001 w 1522"/>
                <a:gd name="T59" fmla="*/ 124 h 1455"/>
                <a:gd name="T60" fmla="*/ 1014 w 1522"/>
                <a:gd name="T61" fmla="*/ 254 h 1455"/>
                <a:gd name="T62" fmla="*/ 860 w 1522"/>
                <a:gd name="T63" fmla="*/ 256 h 1455"/>
                <a:gd name="T64" fmla="*/ 676 w 1522"/>
                <a:gd name="T65" fmla="*/ 189 h 1455"/>
                <a:gd name="T66" fmla="*/ 577 w 1522"/>
                <a:gd name="T67" fmla="*/ 118 h 1455"/>
                <a:gd name="T68" fmla="*/ 512 w 1522"/>
                <a:gd name="T69" fmla="*/ 61 h 1455"/>
                <a:gd name="T70" fmla="*/ 331 w 1522"/>
                <a:gd name="T71" fmla="*/ 24 h 1455"/>
                <a:gd name="T72" fmla="*/ 215 w 1522"/>
                <a:gd name="T73" fmla="*/ 0 h 1455"/>
                <a:gd name="T74" fmla="*/ 212 w 1522"/>
                <a:gd name="T75" fmla="*/ 52 h 1455"/>
                <a:gd name="T76" fmla="*/ 170 w 1522"/>
                <a:gd name="T77" fmla="*/ 83 h 1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22" h="1455">
                  <a:moveTo>
                    <a:pt x="170" y="83"/>
                  </a:moveTo>
                  <a:cubicBezTo>
                    <a:pt x="159" y="87"/>
                    <a:pt x="106" y="143"/>
                    <a:pt x="93" y="155"/>
                  </a:cubicBezTo>
                  <a:cubicBezTo>
                    <a:pt x="80" y="167"/>
                    <a:pt x="78" y="188"/>
                    <a:pt x="84" y="199"/>
                  </a:cubicBezTo>
                  <a:cubicBezTo>
                    <a:pt x="90" y="211"/>
                    <a:pt x="80" y="254"/>
                    <a:pt x="66" y="279"/>
                  </a:cubicBezTo>
                  <a:cubicBezTo>
                    <a:pt x="53" y="304"/>
                    <a:pt x="6" y="322"/>
                    <a:pt x="3" y="337"/>
                  </a:cubicBezTo>
                  <a:cubicBezTo>
                    <a:pt x="0" y="352"/>
                    <a:pt x="29" y="385"/>
                    <a:pt x="49" y="428"/>
                  </a:cubicBezTo>
                  <a:cubicBezTo>
                    <a:pt x="68" y="471"/>
                    <a:pt x="29" y="501"/>
                    <a:pt x="46" y="533"/>
                  </a:cubicBezTo>
                  <a:cubicBezTo>
                    <a:pt x="62" y="565"/>
                    <a:pt x="53" y="583"/>
                    <a:pt x="38" y="601"/>
                  </a:cubicBezTo>
                  <a:cubicBezTo>
                    <a:pt x="24" y="619"/>
                    <a:pt x="38" y="647"/>
                    <a:pt x="38" y="663"/>
                  </a:cubicBezTo>
                  <a:cubicBezTo>
                    <a:pt x="38" y="679"/>
                    <a:pt x="59" y="703"/>
                    <a:pt x="53" y="709"/>
                  </a:cubicBezTo>
                  <a:cubicBezTo>
                    <a:pt x="47" y="715"/>
                    <a:pt x="10" y="743"/>
                    <a:pt x="10" y="758"/>
                  </a:cubicBezTo>
                  <a:cubicBezTo>
                    <a:pt x="10" y="773"/>
                    <a:pt x="32" y="787"/>
                    <a:pt x="54" y="821"/>
                  </a:cubicBezTo>
                  <a:cubicBezTo>
                    <a:pt x="76" y="854"/>
                    <a:pt x="61" y="872"/>
                    <a:pt x="65" y="898"/>
                  </a:cubicBezTo>
                  <a:cubicBezTo>
                    <a:pt x="69" y="924"/>
                    <a:pt x="106" y="938"/>
                    <a:pt x="135" y="938"/>
                  </a:cubicBezTo>
                  <a:cubicBezTo>
                    <a:pt x="164" y="938"/>
                    <a:pt x="183" y="960"/>
                    <a:pt x="209" y="960"/>
                  </a:cubicBezTo>
                  <a:cubicBezTo>
                    <a:pt x="231" y="960"/>
                    <a:pt x="246" y="998"/>
                    <a:pt x="259" y="1046"/>
                  </a:cubicBezTo>
                  <a:cubicBezTo>
                    <a:pt x="270" y="1046"/>
                    <a:pt x="366" y="1047"/>
                    <a:pt x="405" y="1074"/>
                  </a:cubicBezTo>
                  <a:cubicBezTo>
                    <a:pt x="447" y="1102"/>
                    <a:pt x="468" y="1137"/>
                    <a:pt x="468" y="1137"/>
                  </a:cubicBezTo>
                  <a:cubicBezTo>
                    <a:pt x="637" y="1046"/>
                    <a:pt x="637" y="1046"/>
                    <a:pt x="637" y="1046"/>
                  </a:cubicBezTo>
                  <a:cubicBezTo>
                    <a:pt x="1399" y="1455"/>
                    <a:pt x="1399" y="1455"/>
                    <a:pt x="1399" y="1455"/>
                  </a:cubicBezTo>
                  <a:cubicBezTo>
                    <a:pt x="1399" y="1403"/>
                    <a:pt x="1399" y="1403"/>
                    <a:pt x="1399" y="1403"/>
                  </a:cubicBezTo>
                  <a:cubicBezTo>
                    <a:pt x="1491" y="1403"/>
                    <a:pt x="1491" y="1403"/>
                    <a:pt x="1491" y="1403"/>
                  </a:cubicBezTo>
                  <a:cubicBezTo>
                    <a:pt x="1491" y="1403"/>
                    <a:pt x="1491" y="492"/>
                    <a:pt x="1491" y="424"/>
                  </a:cubicBezTo>
                  <a:cubicBezTo>
                    <a:pt x="1491" y="356"/>
                    <a:pt x="1460" y="313"/>
                    <a:pt x="1491" y="276"/>
                  </a:cubicBezTo>
                  <a:cubicBezTo>
                    <a:pt x="1522" y="239"/>
                    <a:pt x="1479" y="221"/>
                    <a:pt x="1503" y="153"/>
                  </a:cubicBezTo>
                  <a:cubicBezTo>
                    <a:pt x="1506" y="145"/>
                    <a:pt x="1509" y="137"/>
                    <a:pt x="1512" y="128"/>
                  </a:cubicBezTo>
                  <a:cubicBezTo>
                    <a:pt x="1512" y="127"/>
                    <a:pt x="1510" y="126"/>
                    <a:pt x="1510" y="124"/>
                  </a:cubicBezTo>
                  <a:cubicBezTo>
                    <a:pt x="1502" y="104"/>
                    <a:pt x="1462" y="102"/>
                    <a:pt x="1375" y="89"/>
                  </a:cubicBezTo>
                  <a:cubicBezTo>
                    <a:pt x="1288" y="76"/>
                    <a:pt x="1321" y="16"/>
                    <a:pt x="1223" y="11"/>
                  </a:cubicBezTo>
                  <a:cubicBezTo>
                    <a:pt x="1126" y="5"/>
                    <a:pt x="1002" y="83"/>
                    <a:pt x="1001" y="124"/>
                  </a:cubicBezTo>
                  <a:cubicBezTo>
                    <a:pt x="999" y="166"/>
                    <a:pt x="1046" y="211"/>
                    <a:pt x="1014" y="254"/>
                  </a:cubicBezTo>
                  <a:cubicBezTo>
                    <a:pt x="981" y="297"/>
                    <a:pt x="911" y="301"/>
                    <a:pt x="860" y="256"/>
                  </a:cubicBezTo>
                  <a:cubicBezTo>
                    <a:pt x="810" y="210"/>
                    <a:pt x="736" y="189"/>
                    <a:pt x="676" y="189"/>
                  </a:cubicBezTo>
                  <a:cubicBezTo>
                    <a:pt x="615" y="189"/>
                    <a:pt x="573" y="151"/>
                    <a:pt x="577" y="118"/>
                  </a:cubicBezTo>
                  <a:cubicBezTo>
                    <a:pt x="581" y="86"/>
                    <a:pt x="562" y="71"/>
                    <a:pt x="512" y="61"/>
                  </a:cubicBezTo>
                  <a:cubicBezTo>
                    <a:pt x="462" y="50"/>
                    <a:pt x="419" y="9"/>
                    <a:pt x="331" y="24"/>
                  </a:cubicBezTo>
                  <a:cubicBezTo>
                    <a:pt x="283" y="32"/>
                    <a:pt x="243" y="18"/>
                    <a:pt x="215" y="0"/>
                  </a:cubicBezTo>
                  <a:cubicBezTo>
                    <a:pt x="213" y="19"/>
                    <a:pt x="212" y="39"/>
                    <a:pt x="212" y="52"/>
                  </a:cubicBezTo>
                  <a:cubicBezTo>
                    <a:pt x="214" y="84"/>
                    <a:pt x="180" y="78"/>
                    <a:pt x="170" y="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10819866" y="8106265"/>
              <a:ext cx="145758" cy="51936"/>
            </a:xfrm>
            <a:custGeom>
              <a:avLst/>
              <a:gdLst>
                <a:gd name="T0" fmla="*/ 143 w 289"/>
                <a:gd name="T1" fmla="*/ 64 h 102"/>
                <a:gd name="T2" fmla="*/ 227 w 289"/>
                <a:gd name="T3" fmla="*/ 86 h 102"/>
                <a:gd name="T4" fmla="*/ 289 w 289"/>
                <a:gd name="T5" fmla="*/ 69 h 102"/>
                <a:gd name="T6" fmla="*/ 235 w 289"/>
                <a:gd name="T7" fmla="*/ 62 h 102"/>
                <a:gd name="T8" fmla="*/ 140 w 289"/>
                <a:gd name="T9" fmla="*/ 21 h 102"/>
                <a:gd name="T10" fmla="*/ 13 w 289"/>
                <a:gd name="T11" fmla="*/ 41 h 102"/>
                <a:gd name="T12" fmla="*/ 0 w 289"/>
                <a:gd name="T13" fmla="*/ 102 h 102"/>
                <a:gd name="T14" fmla="*/ 30 w 289"/>
                <a:gd name="T15" fmla="*/ 95 h 102"/>
                <a:gd name="T16" fmla="*/ 143 w 289"/>
                <a:gd name="T17" fmla="*/ 6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9" h="102">
                  <a:moveTo>
                    <a:pt x="143" y="64"/>
                  </a:moveTo>
                  <a:cubicBezTo>
                    <a:pt x="164" y="45"/>
                    <a:pt x="198" y="82"/>
                    <a:pt x="227" y="86"/>
                  </a:cubicBezTo>
                  <a:cubicBezTo>
                    <a:pt x="257" y="90"/>
                    <a:pt x="289" y="69"/>
                    <a:pt x="289" y="69"/>
                  </a:cubicBezTo>
                  <a:cubicBezTo>
                    <a:pt x="289" y="69"/>
                    <a:pt x="283" y="65"/>
                    <a:pt x="235" y="62"/>
                  </a:cubicBezTo>
                  <a:cubicBezTo>
                    <a:pt x="186" y="58"/>
                    <a:pt x="183" y="0"/>
                    <a:pt x="140" y="21"/>
                  </a:cubicBezTo>
                  <a:cubicBezTo>
                    <a:pt x="97" y="41"/>
                    <a:pt x="67" y="47"/>
                    <a:pt x="13" y="41"/>
                  </a:cubicBezTo>
                  <a:cubicBezTo>
                    <a:pt x="13" y="58"/>
                    <a:pt x="3" y="80"/>
                    <a:pt x="0" y="102"/>
                  </a:cubicBezTo>
                  <a:cubicBezTo>
                    <a:pt x="14" y="98"/>
                    <a:pt x="25" y="96"/>
                    <a:pt x="30" y="95"/>
                  </a:cubicBezTo>
                  <a:cubicBezTo>
                    <a:pt x="59" y="94"/>
                    <a:pt x="123" y="82"/>
                    <a:pt x="143" y="6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0788034" y="7968884"/>
              <a:ext cx="298217" cy="234553"/>
            </a:xfrm>
            <a:custGeom>
              <a:avLst/>
              <a:gdLst>
                <a:gd name="T0" fmla="*/ 134 w 591"/>
                <a:gd name="T1" fmla="*/ 445 h 464"/>
                <a:gd name="T2" fmla="*/ 191 w 591"/>
                <a:gd name="T3" fmla="*/ 422 h 464"/>
                <a:gd name="T4" fmla="*/ 336 w 591"/>
                <a:gd name="T5" fmla="*/ 411 h 464"/>
                <a:gd name="T6" fmla="*/ 361 w 591"/>
                <a:gd name="T7" fmla="*/ 418 h 464"/>
                <a:gd name="T8" fmla="*/ 362 w 591"/>
                <a:gd name="T9" fmla="*/ 409 h 464"/>
                <a:gd name="T10" fmla="*/ 432 w 591"/>
                <a:gd name="T11" fmla="*/ 437 h 464"/>
                <a:gd name="T12" fmla="*/ 578 w 591"/>
                <a:gd name="T13" fmla="*/ 446 h 464"/>
                <a:gd name="T14" fmla="*/ 589 w 591"/>
                <a:gd name="T15" fmla="*/ 442 h 464"/>
                <a:gd name="T16" fmla="*/ 589 w 591"/>
                <a:gd name="T17" fmla="*/ 379 h 464"/>
                <a:gd name="T18" fmla="*/ 536 w 591"/>
                <a:gd name="T19" fmla="*/ 314 h 464"/>
                <a:gd name="T20" fmla="*/ 521 w 591"/>
                <a:gd name="T21" fmla="*/ 252 h 464"/>
                <a:gd name="T22" fmla="*/ 503 w 591"/>
                <a:gd name="T23" fmla="*/ 225 h 464"/>
                <a:gd name="T24" fmla="*/ 446 w 591"/>
                <a:gd name="T25" fmla="*/ 155 h 464"/>
                <a:gd name="T26" fmla="*/ 376 w 591"/>
                <a:gd name="T27" fmla="*/ 64 h 464"/>
                <a:gd name="T28" fmla="*/ 341 w 591"/>
                <a:gd name="T29" fmla="*/ 64 h 464"/>
                <a:gd name="T30" fmla="*/ 285 w 591"/>
                <a:gd name="T31" fmla="*/ 14 h 464"/>
                <a:gd name="T32" fmla="*/ 208 w 591"/>
                <a:gd name="T33" fmla="*/ 21 h 464"/>
                <a:gd name="T34" fmla="*/ 117 w 591"/>
                <a:gd name="T35" fmla="*/ 21 h 464"/>
                <a:gd name="T36" fmla="*/ 60 w 591"/>
                <a:gd name="T37" fmla="*/ 71 h 464"/>
                <a:gd name="T38" fmla="*/ 55 w 591"/>
                <a:gd name="T39" fmla="*/ 72 h 464"/>
                <a:gd name="T40" fmla="*/ 32 w 591"/>
                <a:gd name="T41" fmla="*/ 152 h 464"/>
                <a:gd name="T42" fmla="*/ 69 w 591"/>
                <a:gd name="T43" fmla="*/ 293 h 464"/>
                <a:gd name="T44" fmla="*/ 75 w 591"/>
                <a:gd name="T45" fmla="*/ 312 h 464"/>
                <a:gd name="T46" fmla="*/ 202 w 591"/>
                <a:gd name="T47" fmla="*/ 292 h 464"/>
                <a:gd name="T48" fmla="*/ 297 w 591"/>
                <a:gd name="T49" fmla="*/ 333 h 464"/>
                <a:gd name="T50" fmla="*/ 351 w 591"/>
                <a:gd name="T51" fmla="*/ 340 h 464"/>
                <a:gd name="T52" fmla="*/ 289 w 591"/>
                <a:gd name="T53" fmla="*/ 357 h 464"/>
                <a:gd name="T54" fmla="*/ 205 w 591"/>
                <a:gd name="T55" fmla="*/ 335 h 464"/>
                <a:gd name="T56" fmla="*/ 92 w 591"/>
                <a:gd name="T57" fmla="*/ 366 h 464"/>
                <a:gd name="T58" fmla="*/ 62 w 591"/>
                <a:gd name="T59" fmla="*/ 373 h 464"/>
                <a:gd name="T60" fmla="*/ 74 w 591"/>
                <a:gd name="T61" fmla="*/ 419 h 464"/>
                <a:gd name="T62" fmla="*/ 84 w 591"/>
                <a:gd name="T63" fmla="*/ 431 h 464"/>
                <a:gd name="T64" fmla="*/ 134 w 591"/>
                <a:gd name="T65" fmla="*/ 445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1" h="464">
                  <a:moveTo>
                    <a:pt x="134" y="445"/>
                  </a:moveTo>
                  <a:cubicBezTo>
                    <a:pt x="153" y="447"/>
                    <a:pt x="191" y="422"/>
                    <a:pt x="191" y="422"/>
                  </a:cubicBezTo>
                  <a:cubicBezTo>
                    <a:pt x="191" y="422"/>
                    <a:pt x="316" y="413"/>
                    <a:pt x="336" y="411"/>
                  </a:cubicBezTo>
                  <a:cubicBezTo>
                    <a:pt x="343" y="410"/>
                    <a:pt x="353" y="414"/>
                    <a:pt x="361" y="418"/>
                  </a:cubicBezTo>
                  <a:cubicBezTo>
                    <a:pt x="362" y="413"/>
                    <a:pt x="362" y="409"/>
                    <a:pt x="362" y="409"/>
                  </a:cubicBezTo>
                  <a:cubicBezTo>
                    <a:pt x="362" y="409"/>
                    <a:pt x="428" y="422"/>
                    <a:pt x="432" y="437"/>
                  </a:cubicBezTo>
                  <a:cubicBezTo>
                    <a:pt x="437" y="453"/>
                    <a:pt x="528" y="464"/>
                    <a:pt x="578" y="446"/>
                  </a:cubicBezTo>
                  <a:cubicBezTo>
                    <a:pt x="582" y="445"/>
                    <a:pt x="586" y="444"/>
                    <a:pt x="589" y="442"/>
                  </a:cubicBezTo>
                  <a:cubicBezTo>
                    <a:pt x="590" y="422"/>
                    <a:pt x="591" y="389"/>
                    <a:pt x="589" y="379"/>
                  </a:cubicBezTo>
                  <a:cubicBezTo>
                    <a:pt x="586" y="364"/>
                    <a:pt x="553" y="332"/>
                    <a:pt x="536" y="314"/>
                  </a:cubicBezTo>
                  <a:cubicBezTo>
                    <a:pt x="518" y="296"/>
                    <a:pt x="521" y="252"/>
                    <a:pt x="521" y="252"/>
                  </a:cubicBezTo>
                  <a:cubicBezTo>
                    <a:pt x="503" y="225"/>
                    <a:pt x="503" y="225"/>
                    <a:pt x="503" y="225"/>
                  </a:cubicBezTo>
                  <a:cubicBezTo>
                    <a:pt x="503" y="225"/>
                    <a:pt x="489" y="169"/>
                    <a:pt x="446" y="155"/>
                  </a:cubicBezTo>
                  <a:cubicBezTo>
                    <a:pt x="404" y="141"/>
                    <a:pt x="376" y="64"/>
                    <a:pt x="376" y="64"/>
                  </a:cubicBezTo>
                  <a:cubicBezTo>
                    <a:pt x="341" y="64"/>
                    <a:pt x="341" y="64"/>
                    <a:pt x="341" y="64"/>
                  </a:cubicBezTo>
                  <a:cubicBezTo>
                    <a:pt x="341" y="64"/>
                    <a:pt x="313" y="29"/>
                    <a:pt x="285" y="14"/>
                  </a:cubicBezTo>
                  <a:cubicBezTo>
                    <a:pt x="257" y="0"/>
                    <a:pt x="208" y="21"/>
                    <a:pt x="208" y="21"/>
                  </a:cubicBezTo>
                  <a:cubicBezTo>
                    <a:pt x="208" y="21"/>
                    <a:pt x="152" y="29"/>
                    <a:pt x="117" y="21"/>
                  </a:cubicBezTo>
                  <a:cubicBezTo>
                    <a:pt x="82" y="14"/>
                    <a:pt x="89" y="64"/>
                    <a:pt x="60" y="71"/>
                  </a:cubicBezTo>
                  <a:cubicBezTo>
                    <a:pt x="59" y="71"/>
                    <a:pt x="57" y="72"/>
                    <a:pt x="55" y="72"/>
                  </a:cubicBezTo>
                  <a:cubicBezTo>
                    <a:pt x="52" y="100"/>
                    <a:pt x="47" y="130"/>
                    <a:pt x="32" y="152"/>
                  </a:cubicBezTo>
                  <a:cubicBezTo>
                    <a:pt x="0" y="201"/>
                    <a:pt x="46" y="271"/>
                    <a:pt x="69" y="293"/>
                  </a:cubicBezTo>
                  <a:cubicBezTo>
                    <a:pt x="74" y="298"/>
                    <a:pt x="76" y="305"/>
                    <a:pt x="75" y="312"/>
                  </a:cubicBezTo>
                  <a:cubicBezTo>
                    <a:pt x="129" y="318"/>
                    <a:pt x="159" y="312"/>
                    <a:pt x="202" y="292"/>
                  </a:cubicBezTo>
                  <a:cubicBezTo>
                    <a:pt x="245" y="271"/>
                    <a:pt x="248" y="329"/>
                    <a:pt x="297" y="333"/>
                  </a:cubicBezTo>
                  <a:cubicBezTo>
                    <a:pt x="345" y="336"/>
                    <a:pt x="351" y="340"/>
                    <a:pt x="351" y="340"/>
                  </a:cubicBezTo>
                  <a:cubicBezTo>
                    <a:pt x="351" y="340"/>
                    <a:pt x="319" y="361"/>
                    <a:pt x="289" y="357"/>
                  </a:cubicBezTo>
                  <a:cubicBezTo>
                    <a:pt x="260" y="353"/>
                    <a:pt x="226" y="316"/>
                    <a:pt x="205" y="335"/>
                  </a:cubicBezTo>
                  <a:cubicBezTo>
                    <a:pt x="185" y="353"/>
                    <a:pt x="121" y="365"/>
                    <a:pt x="92" y="366"/>
                  </a:cubicBezTo>
                  <a:cubicBezTo>
                    <a:pt x="87" y="367"/>
                    <a:pt x="76" y="369"/>
                    <a:pt x="62" y="373"/>
                  </a:cubicBezTo>
                  <a:cubicBezTo>
                    <a:pt x="60" y="389"/>
                    <a:pt x="62" y="405"/>
                    <a:pt x="74" y="419"/>
                  </a:cubicBezTo>
                  <a:cubicBezTo>
                    <a:pt x="78" y="423"/>
                    <a:pt x="81" y="427"/>
                    <a:pt x="84" y="431"/>
                  </a:cubicBezTo>
                  <a:cubicBezTo>
                    <a:pt x="134" y="418"/>
                    <a:pt x="119" y="443"/>
                    <a:pt x="134" y="44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10831594" y="8176631"/>
              <a:ext cx="139057" cy="83769"/>
            </a:xfrm>
            <a:custGeom>
              <a:avLst/>
              <a:gdLst>
                <a:gd name="T0" fmla="*/ 145 w 277"/>
                <a:gd name="T1" fmla="*/ 156 h 166"/>
                <a:gd name="T2" fmla="*/ 227 w 277"/>
                <a:gd name="T3" fmla="*/ 107 h 166"/>
                <a:gd name="T4" fmla="*/ 262 w 277"/>
                <a:gd name="T5" fmla="*/ 92 h 166"/>
                <a:gd name="T6" fmla="*/ 255 w 277"/>
                <a:gd name="T7" fmla="*/ 45 h 166"/>
                <a:gd name="T8" fmla="*/ 277 w 277"/>
                <a:gd name="T9" fmla="*/ 8 h 166"/>
                <a:gd name="T10" fmla="*/ 252 w 277"/>
                <a:gd name="T11" fmla="*/ 1 h 166"/>
                <a:gd name="T12" fmla="*/ 107 w 277"/>
                <a:gd name="T13" fmla="*/ 12 h 166"/>
                <a:gd name="T14" fmla="*/ 50 w 277"/>
                <a:gd name="T15" fmla="*/ 35 h 166"/>
                <a:gd name="T16" fmla="*/ 0 w 277"/>
                <a:gd name="T17" fmla="*/ 21 h 166"/>
                <a:gd name="T18" fmla="*/ 80 w 277"/>
                <a:gd name="T19" fmla="*/ 83 h 166"/>
                <a:gd name="T20" fmla="*/ 123 w 277"/>
                <a:gd name="T21" fmla="*/ 158 h 166"/>
                <a:gd name="T22" fmla="*/ 134 w 277"/>
                <a:gd name="T23" fmla="*/ 166 h 166"/>
                <a:gd name="T24" fmla="*/ 145 w 277"/>
                <a:gd name="T25" fmla="*/ 15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7" h="166">
                  <a:moveTo>
                    <a:pt x="145" y="156"/>
                  </a:moveTo>
                  <a:cubicBezTo>
                    <a:pt x="167" y="140"/>
                    <a:pt x="211" y="100"/>
                    <a:pt x="227" y="107"/>
                  </a:cubicBezTo>
                  <a:cubicBezTo>
                    <a:pt x="242" y="114"/>
                    <a:pt x="262" y="100"/>
                    <a:pt x="262" y="92"/>
                  </a:cubicBezTo>
                  <a:cubicBezTo>
                    <a:pt x="262" y="83"/>
                    <a:pt x="231" y="54"/>
                    <a:pt x="255" y="45"/>
                  </a:cubicBezTo>
                  <a:cubicBezTo>
                    <a:pt x="272" y="39"/>
                    <a:pt x="276" y="20"/>
                    <a:pt x="277" y="8"/>
                  </a:cubicBezTo>
                  <a:cubicBezTo>
                    <a:pt x="269" y="4"/>
                    <a:pt x="259" y="0"/>
                    <a:pt x="252" y="1"/>
                  </a:cubicBezTo>
                  <a:cubicBezTo>
                    <a:pt x="232" y="3"/>
                    <a:pt x="107" y="12"/>
                    <a:pt x="107" y="12"/>
                  </a:cubicBezTo>
                  <a:cubicBezTo>
                    <a:pt x="107" y="12"/>
                    <a:pt x="69" y="37"/>
                    <a:pt x="50" y="35"/>
                  </a:cubicBezTo>
                  <a:cubicBezTo>
                    <a:pt x="35" y="33"/>
                    <a:pt x="50" y="8"/>
                    <a:pt x="0" y="21"/>
                  </a:cubicBezTo>
                  <a:cubicBezTo>
                    <a:pt x="25" y="52"/>
                    <a:pt x="28" y="68"/>
                    <a:pt x="80" y="83"/>
                  </a:cubicBezTo>
                  <a:cubicBezTo>
                    <a:pt x="137" y="99"/>
                    <a:pt x="75" y="129"/>
                    <a:pt x="123" y="158"/>
                  </a:cubicBezTo>
                  <a:cubicBezTo>
                    <a:pt x="127" y="161"/>
                    <a:pt x="130" y="164"/>
                    <a:pt x="134" y="166"/>
                  </a:cubicBezTo>
                  <a:cubicBezTo>
                    <a:pt x="138" y="161"/>
                    <a:pt x="142" y="158"/>
                    <a:pt x="145" y="15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12391370" y="8252024"/>
              <a:ext cx="619889" cy="437273"/>
            </a:xfrm>
            <a:custGeom>
              <a:avLst/>
              <a:gdLst>
                <a:gd name="T0" fmla="*/ 1133 w 1226"/>
                <a:gd name="T1" fmla="*/ 492 h 865"/>
                <a:gd name="T2" fmla="*/ 1097 w 1226"/>
                <a:gd name="T3" fmla="*/ 425 h 865"/>
                <a:gd name="T4" fmla="*/ 1035 w 1226"/>
                <a:gd name="T5" fmla="*/ 369 h 865"/>
                <a:gd name="T6" fmla="*/ 992 w 1226"/>
                <a:gd name="T7" fmla="*/ 308 h 865"/>
                <a:gd name="T8" fmla="*/ 912 w 1226"/>
                <a:gd name="T9" fmla="*/ 271 h 865"/>
                <a:gd name="T10" fmla="*/ 899 w 1226"/>
                <a:gd name="T11" fmla="*/ 240 h 865"/>
                <a:gd name="T12" fmla="*/ 856 w 1226"/>
                <a:gd name="T13" fmla="*/ 234 h 865"/>
                <a:gd name="T14" fmla="*/ 869 w 1226"/>
                <a:gd name="T15" fmla="*/ 197 h 865"/>
                <a:gd name="T16" fmla="*/ 863 w 1226"/>
                <a:gd name="T17" fmla="*/ 111 h 865"/>
                <a:gd name="T18" fmla="*/ 792 w 1226"/>
                <a:gd name="T19" fmla="*/ 16 h 865"/>
                <a:gd name="T20" fmla="*/ 775 w 1226"/>
                <a:gd name="T21" fmla="*/ 12 h 865"/>
                <a:gd name="T22" fmla="*/ 692 w 1226"/>
                <a:gd name="T23" fmla="*/ 44 h 865"/>
                <a:gd name="T24" fmla="*/ 671 w 1226"/>
                <a:gd name="T25" fmla="*/ 92 h 865"/>
                <a:gd name="T26" fmla="*/ 574 w 1226"/>
                <a:gd name="T27" fmla="*/ 192 h 865"/>
                <a:gd name="T28" fmla="*/ 432 w 1226"/>
                <a:gd name="T29" fmla="*/ 222 h 865"/>
                <a:gd name="T30" fmla="*/ 426 w 1226"/>
                <a:gd name="T31" fmla="*/ 275 h 865"/>
                <a:gd name="T32" fmla="*/ 338 w 1226"/>
                <a:gd name="T33" fmla="*/ 322 h 865"/>
                <a:gd name="T34" fmla="*/ 229 w 1226"/>
                <a:gd name="T35" fmla="*/ 354 h 865"/>
                <a:gd name="T36" fmla="*/ 164 w 1226"/>
                <a:gd name="T37" fmla="*/ 354 h 865"/>
                <a:gd name="T38" fmla="*/ 108 w 1226"/>
                <a:gd name="T39" fmla="*/ 378 h 865"/>
                <a:gd name="T40" fmla="*/ 99 w 1226"/>
                <a:gd name="T41" fmla="*/ 367 h 865"/>
                <a:gd name="T42" fmla="*/ 49 w 1226"/>
                <a:gd name="T43" fmla="*/ 430 h 865"/>
                <a:gd name="T44" fmla="*/ 0 w 1226"/>
                <a:gd name="T45" fmla="*/ 529 h 865"/>
                <a:gd name="T46" fmla="*/ 13 w 1226"/>
                <a:gd name="T47" fmla="*/ 611 h 865"/>
                <a:gd name="T48" fmla="*/ 42 w 1226"/>
                <a:gd name="T49" fmla="*/ 691 h 865"/>
                <a:gd name="T50" fmla="*/ 57 w 1226"/>
                <a:gd name="T51" fmla="*/ 751 h 865"/>
                <a:gd name="T52" fmla="*/ 80 w 1226"/>
                <a:gd name="T53" fmla="*/ 784 h 865"/>
                <a:gd name="T54" fmla="*/ 144 w 1226"/>
                <a:gd name="T55" fmla="*/ 848 h 865"/>
                <a:gd name="T56" fmla="*/ 161 w 1226"/>
                <a:gd name="T57" fmla="*/ 865 h 865"/>
                <a:gd name="T58" fmla="*/ 167 w 1226"/>
                <a:gd name="T59" fmla="*/ 855 h 865"/>
                <a:gd name="T60" fmla="*/ 185 w 1226"/>
                <a:gd name="T61" fmla="*/ 781 h 865"/>
                <a:gd name="T62" fmla="*/ 241 w 1226"/>
                <a:gd name="T63" fmla="*/ 769 h 865"/>
                <a:gd name="T64" fmla="*/ 284 w 1226"/>
                <a:gd name="T65" fmla="*/ 757 h 865"/>
                <a:gd name="T66" fmla="*/ 370 w 1226"/>
                <a:gd name="T67" fmla="*/ 769 h 865"/>
                <a:gd name="T68" fmla="*/ 370 w 1226"/>
                <a:gd name="T69" fmla="*/ 702 h 865"/>
                <a:gd name="T70" fmla="*/ 475 w 1226"/>
                <a:gd name="T71" fmla="*/ 621 h 865"/>
                <a:gd name="T72" fmla="*/ 555 w 1226"/>
                <a:gd name="T73" fmla="*/ 677 h 865"/>
                <a:gd name="T74" fmla="*/ 746 w 1226"/>
                <a:gd name="T75" fmla="*/ 714 h 865"/>
                <a:gd name="T76" fmla="*/ 776 w 1226"/>
                <a:gd name="T77" fmla="*/ 646 h 865"/>
                <a:gd name="T78" fmla="*/ 856 w 1226"/>
                <a:gd name="T79" fmla="*/ 646 h 865"/>
                <a:gd name="T80" fmla="*/ 961 w 1226"/>
                <a:gd name="T81" fmla="*/ 615 h 865"/>
                <a:gd name="T82" fmla="*/ 1041 w 1226"/>
                <a:gd name="T83" fmla="*/ 603 h 865"/>
                <a:gd name="T84" fmla="*/ 1152 w 1226"/>
                <a:gd name="T85" fmla="*/ 615 h 865"/>
                <a:gd name="T86" fmla="*/ 1226 w 1226"/>
                <a:gd name="T87" fmla="*/ 603 h 865"/>
                <a:gd name="T88" fmla="*/ 1201 w 1226"/>
                <a:gd name="T89" fmla="*/ 541 h 865"/>
                <a:gd name="T90" fmla="*/ 1133 w 1226"/>
                <a:gd name="T91" fmla="*/ 492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26" h="865">
                  <a:moveTo>
                    <a:pt x="1133" y="492"/>
                  </a:moveTo>
                  <a:cubicBezTo>
                    <a:pt x="1133" y="474"/>
                    <a:pt x="1133" y="455"/>
                    <a:pt x="1097" y="425"/>
                  </a:cubicBezTo>
                  <a:cubicBezTo>
                    <a:pt x="1060" y="394"/>
                    <a:pt x="1035" y="388"/>
                    <a:pt x="1035" y="369"/>
                  </a:cubicBezTo>
                  <a:cubicBezTo>
                    <a:pt x="1035" y="351"/>
                    <a:pt x="1023" y="344"/>
                    <a:pt x="992" y="308"/>
                  </a:cubicBezTo>
                  <a:cubicBezTo>
                    <a:pt x="961" y="271"/>
                    <a:pt x="912" y="271"/>
                    <a:pt x="912" y="271"/>
                  </a:cubicBezTo>
                  <a:cubicBezTo>
                    <a:pt x="899" y="240"/>
                    <a:pt x="899" y="240"/>
                    <a:pt x="899" y="240"/>
                  </a:cubicBezTo>
                  <a:cubicBezTo>
                    <a:pt x="856" y="234"/>
                    <a:pt x="856" y="234"/>
                    <a:pt x="856" y="234"/>
                  </a:cubicBezTo>
                  <a:cubicBezTo>
                    <a:pt x="856" y="234"/>
                    <a:pt x="832" y="215"/>
                    <a:pt x="869" y="197"/>
                  </a:cubicBezTo>
                  <a:cubicBezTo>
                    <a:pt x="906" y="178"/>
                    <a:pt x="869" y="129"/>
                    <a:pt x="863" y="111"/>
                  </a:cubicBezTo>
                  <a:cubicBezTo>
                    <a:pt x="857" y="95"/>
                    <a:pt x="805" y="32"/>
                    <a:pt x="792" y="16"/>
                  </a:cubicBezTo>
                  <a:cubicBezTo>
                    <a:pt x="785" y="16"/>
                    <a:pt x="779" y="15"/>
                    <a:pt x="775" y="12"/>
                  </a:cubicBezTo>
                  <a:cubicBezTo>
                    <a:pt x="754" y="0"/>
                    <a:pt x="713" y="24"/>
                    <a:pt x="692" y="44"/>
                  </a:cubicBezTo>
                  <a:cubicBezTo>
                    <a:pt x="671" y="65"/>
                    <a:pt x="686" y="77"/>
                    <a:pt x="671" y="92"/>
                  </a:cubicBezTo>
                  <a:cubicBezTo>
                    <a:pt x="657" y="106"/>
                    <a:pt x="606" y="151"/>
                    <a:pt x="574" y="192"/>
                  </a:cubicBezTo>
                  <a:cubicBezTo>
                    <a:pt x="541" y="233"/>
                    <a:pt x="459" y="207"/>
                    <a:pt x="432" y="222"/>
                  </a:cubicBezTo>
                  <a:cubicBezTo>
                    <a:pt x="406" y="236"/>
                    <a:pt x="444" y="260"/>
                    <a:pt x="426" y="275"/>
                  </a:cubicBezTo>
                  <a:cubicBezTo>
                    <a:pt x="409" y="289"/>
                    <a:pt x="356" y="313"/>
                    <a:pt x="338" y="322"/>
                  </a:cubicBezTo>
                  <a:cubicBezTo>
                    <a:pt x="320" y="331"/>
                    <a:pt x="249" y="328"/>
                    <a:pt x="229" y="354"/>
                  </a:cubicBezTo>
                  <a:cubicBezTo>
                    <a:pt x="208" y="381"/>
                    <a:pt x="184" y="325"/>
                    <a:pt x="164" y="354"/>
                  </a:cubicBezTo>
                  <a:cubicBezTo>
                    <a:pt x="143" y="384"/>
                    <a:pt x="119" y="387"/>
                    <a:pt x="108" y="378"/>
                  </a:cubicBezTo>
                  <a:cubicBezTo>
                    <a:pt x="105" y="376"/>
                    <a:pt x="102" y="372"/>
                    <a:pt x="99" y="367"/>
                  </a:cubicBezTo>
                  <a:cubicBezTo>
                    <a:pt x="80" y="385"/>
                    <a:pt x="56" y="405"/>
                    <a:pt x="49" y="430"/>
                  </a:cubicBezTo>
                  <a:cubicBezTo>
                    <a:pt x="35" y="472"/>
                    <a:pt x="0" y="509"/>
                    <a:pt x="0" y="529"/>
                  </a:cubicBezTo>
                  <a:cubicBezTo>
                    <a:pt x="0" y="549"/>
                    <a:pt x="13" y="576"/>
                    <a:pt x="13" y="611"/>
                  </a:cubicBezTo>
                  <a:cubicBezTo>
                    <a:pt x="13" y="647"/>
                    <a:pt x="22" y="664"/>
                    <a:pt x="42" y="691"/>
                  </a:cubicBezTo>
                  <a:cubicBezTo>
                    <a:pt x="62" y="717"/>
                    <a:pt x="57" y="751"/>
                    <a:pt x="57" y="751"/>
                  </a:cubicBezTo>
                  <a:cubicBezTo>
                    <a:pt x="57" y="751"/>
                    <a:pt x="64" y="764"/>
                    <a:pt x="80" y="784"/>
                  </a:cubicBezTo>
                  <a:cubicBezTo>
                    <a:pt x="95" y="804"/>
                    <a:pt x="139" y="832"/>
                    <a:pt x="144" y="848"/>
                  </a:cubicBezTo>
                  <a:cubicBezTo>
                    <a:pt x="146" y="855"/>
                    <a:pt x="153" y="861"/>
                    <a:pt x="161" y="865"/>
                  </a:cubicBezTo>
                  <a:cubicBezTo>
                    <a:pt x="163" y="862"/>
                    <a:pt x="165" y="858"/>
                    <a:pt x="167" y="855"/>
                  </a:cubicBezTo>
                  <a:cubicBezTo>
                    <a:pt x="192" y="825"/>
                    <a:pt x="185" y="781"/>
                    <a:pt x="185" y="781"/>
                  </a:cubicBezTo>
                  <a:cubicBezTo>
                    <a:pt x="241" y="769"/>
                    <a:pt x="241" y="769"/>
                    <a:pt x="241" y="769"/>
                  </a:cubicBezTo>
                  <a:cubicBezTo>
                    <a:pt x="284" y="757"/>
                    <a:pt x="284" y="757"/>
                    <a:pt x="284" y="757"/>
                  </a:cubicBezTo>
                  <a:cubicBezTo>
                    <a:pt x="370" y="769"/>
                    <a:pt x="370" y="769"/>
                    <a:pt x="370" y="769"/>
                  </a:cubicBezTo>
                  <a:cubicBezTo>
                    <a:pt x="370" y="702"/>
                    <a:pt x="370" y="702"/>
                    <a:pt x="370" y="702"/>
                  </a:cubicBezTo>
                  <a:cubicBezTo>
                    <a:pt x="370" y="702"/>
                    <a:pt x="432" y="621"/>
                    <a:pt x="475" y="621"/>
                  </a:cubicBezTo>
                  <a:cubicBezTo>
                    <a:pt x="518" y="621"/>
                    <a:pt x="555" y="677"/>
                    <a:pt x="555" y="677"/>
                  </a:cubicBezTo>
                  <a:cubicBezTo>
                    <a:pt x="746" y="714"/>
                    <a:pt x="746" y="714"/>
                    <a:pt x="746" y="714"/>
                  </a:cubicBezTo>
                  <a:cubicBezTo>
                    <a:pt x="746" y="714"/>
                    <a:pt x="758" y="659"/>
                    <a:pt x="776" y="646"/>
                  </a:cubicBezTo>
                  <a:cubicBezTo>
                    <a:pt x="795" y="634"/>
                    <a:pt x="832" y="659"/>
                    <a:pt x="856" y="646"/>
                  </a:cubicBezTo>
                  <a:cubicBezTo>
                    <a:pt x="881" y="634"/>
                    <a:pt x="918" y="615"/>
                    <a:pt x="961" y="615"/>
                  </a:cubicBezTo>
                  <a:cubicBezTo>
                    <a:pt x="1004" y="615"/>
                    <a:pt x="1023" y="640"/>
                    <a:pt x="1041" y="603"/>
                  </a:cubicBezTo>
                  <a:cubicBezTo>
                    <a:pt x="1060" y="566"/>
                    <a:pt x="1152" y="615"/>
                    <a:pt x="1152" y="615"/>
                  </a:cubicBezTo>
                  <a:cubicBezTo>
                    <a:pt x="1226" y="603"/>
                    <a:pt x="1226" y="603"/>
                    <a:pt x="1226" y="603"/>
                  </a:cubicBezTo>
                  <a:cubicBezTo>
                    <a:pt x="1201" y="541"/>
                    <a:pt x="1201" y="541"/>
                    <a:pt x="1201" y="541"/>
                  </a:cubicBezTo>
                  <a:cubicBezTo>
                    <a:pt x="1201" y="541"/>
                    <a:pt x="1133" y="511"/>
                    <a:pt x="1133" y="4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11801637" y="8109616"/>
              <a:ext cx="601461" cy="497586"/>
            </a:xfrm>
            <a:custGeom>
              <a:avLst/>
              <a:gdLst>
                <a:gd name="T0" fmla="*/ 732 w 1189"/>
                <a:gd name="T1" fmla="*/ 720 h 986"/>
                <a:gd name="T2" fmla="*/ 791 w 1189"/>
                <a:gd name="T3" fmla="*/ 711 h 986"/>
                <a:gd name="T4" fmla="*/ 861 w 1189"/>
                <a:gd name="T5" fmla="*/ 761 h 986"/>
                <a:gd name="T6" fmla="*/ 903 w 1189"/>
                <a:gd name="T7" fmla="*/ 717 h 986"/>
                <a:gd name="T8" fmla="*/ 976 w 1189"/>
                <a:gd name="T9" fmla="*/ 564 h 986"/>
                <a:gd name="T10" fmla="*/ 1024 w 1189"/>
                <a:gd name="T11" fmla="*/ 505 h 986"/>
                <a:gd name="T12" fmla="*/ 1036 w 1189"/>
                <a:gd name="T13" fmla="*/ 451 h 986"/>
                <a:gd name="T14" fmla="*/ 1059 w 1189"/>
                <a:gd name="T15" fmla="*/ 386 h 986"/>
                <a:gd name="T16" fmla="*/ 1118 w 1189"/>
                <a:gd name="T17" fmla="*/ 277 h 986"/>
                <a:gd name="T18" fmla="*/ 1177 w 1189"/>
                <a:gd name="T19" fmla="*/ 245 h 986"/>
                <a:gd name="T20" fmla="*/ 1171 w 1189"/>
                <a:gd name="T21" fmla="*/ 183 h 986"/>
                <a:gd name="T22" fmla="*/ 1130 w 1189"/>
                <a:gd name="T23" fmla="*/ 142 h 986"/>
                <a:gd name="T24" fmla="*/ 1136 w 1189"/>
                <a:gd name="T25" fmla="*/ 88 h 986"/>
                <a:gd name="T26" fmla="*/ 1097 w 1189"/>
                <a:gd name="T27" fmla="*/ 47 h 986"/>
                <a:gd name="T28" fmla="*/ 1062 w 1189"/>
                <a:gd name="T29" fmla="*/ 26 h 986"/>
                <a:gd name="T30" fmla="*/ 991 w 1189"/>
                <a:gd name="T31" fmla="*/ 91 h 986"/>
                <a:gd name="T32" fmla="*/ 909 w 1189"/>
                <a:gd name="T33" fmla="*/ 71 h 986"/>
                <a:gd name="T34" fmla="*/ 782 w 1189"/>
                <a:gd name="T35" fmla="*/ 68 h 986"/>
                <a:gd name="T36" fmla="*/ 708 w 1189"/>
                <a:gd name="T37" fmla="*/ 115 h 986"/>
                <a:gd name="T38" fmla="*/ 611 w 1189"/>
                <a:gd name="T39" fmla="*/ 115 h 986"/>
                <a:gd name="T40" fmla="*/ 534 w 1189"/>
                <a:gd name="T41" fmla="*/ 74 h 986"/>
                <a:gd name="T42" fmla="*/ 451 w 1189"/>
                <a:gd name="T43" fmla="*/ 97 h 986"/>
                <a:gd name="T44" fmla="*/ 395 w 1189"/>
                <a:gd name="T45" fmla="*/ 44 h 986"/>
                <a:gd name="T46" fmla="*/ 315 w 1189"/>
                <a:gd name="T47" fmla="*/ 20 h 986"/>
                <a:gd name="T48" fmla="*/ 256 w 1189"/>
                <a:gd name="T49" fmla="*/ 41 h 986"/>
                <a:gd name="T50" fmla="*/ 165 w 1189"/>
                <a:gd name="T51" fmla="*/ 41 h 986"/>
                <a:gd name="T52" fmla="*/ 141 w 1189"/>
                <a:gd name="T53" fmla="*/ 121 h 986"/>
                <a:gd name="T54" fmla="*/ 97 w 1189"/>
                <a:gd name="T55" fmla="*/ 192 h 986"/>
                <a:gd name="T56" fmla="*/ 88 w 1189"/>
                <a:gd name="T57" fmla="*/ 211 h 986"/>
                <a:gd name="T58" fmla="*/ 98 w 1189"/>
                <a:gd name="T59" fmla="*/ 279 h 986"/>
                <a:gd name="T60" fmla="*/ 87 w 1189"/>
                <a:gd name="T61" fmla="*/ 420 h 986"/>
                <a:gd name="T62" fmla="*/ 49 w 1189"/>
                <a:gd name="T63" fmla="*/ 478 h 986"/>
                <a:gd name="T64" fmla="*/ 7 w 1189"/>
                <a:gd name="T65" fmla="*/ 551 h 986"/>
                <a:gd name="T66" fmla="*/ 9 w 1189"/>
                <a:gd name="T67" fmla="*/ 668 h 986"/>
                <a:gd name="T68" fmla="*/ 40 w 1189"/>
                <a:gd name="T69" fmla="*/ 747 h 986"/>
                <a:gd name="T70" fmla="*/ 41 w 1189"/>
                <a:gd name="T71" fmla="*/ 748 h 986"/>
                <a:gd name="T72" fmla="*/ 190 w 1189"/>
                <a:gd name="T73" fmla="*/ 786 h 986"/>
                <a:gd name="T74" fmla="*/ 284 w 1189"/>
                <a:gd name="T75" fmla="*/ 888 h 986"/>
                <a:gd name="T76" fmla="*/ 338 w 1189"/>
                <a:gd name="T77" fmla="*/ 974 h 986"/>
                <a:gd name="T78" fmla="*/ 439 w 1189"/>
                <a:gd name="T79" fmla="*/ 952 h 986"/>
                <a:gd name="T80" fmla="*/ 572 w 1189"/>
                <a:gd name="T81" fmla="*/ 937 h 986"/>
                <a:gd name="T82" fmla="*/ 588 w 1189"/>
                <a:gd name="T83" fmla="*/ 936 h 986"/>
                <a:gd name="T84" fmla="*/ 617 w 1189"/>
                <a:gd name="T85" fmla="*/ 829 h 986"/>
                <a:gd name="T86" fmla="*/ 732 w 1189"/>
                <a:gd name="T87" fmla="*/ 720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89" h="986">
                  <a:moveTo>
                    <a:pt x="732" y="720"/>
                  </a:moveTo>
                  <a:cubicBezTo>
                    <a:pt x="743" y="717"/>
                    <a:pt x="770" y="726"/>
                    <a:pt x="791" y="711"/>
                  </a:cubicBezTo>
                  <a:cubicBezTo>
                    <a:pt x="811" y="696"/>
                    <a:pt x="856" y="732"/>
                    <a:pt x="861" y="761"/>
                  </a:cubicBezTo>
                  <a:cubicBezTo>
                    <a:pt x="867" y="791"/>
                    <a:pt x="885" y="750"/>
                    <a:pt x="903" y="717"/>
                  </a:cubicBezTo>
                  <a:cubicBezTo>
                    <a:pt x="920" y="684"/>
                    <a:pt x="976" y="587"/>
                    <a:pt x="976" y="564"/>
                  </a:cubicBezTo>
                  <a:cubicBezTo>
                    <a:pt x="976" y="540"/>
                    <a:pt x="1024" y="519"/>
                    <a:pt x="1024" y="505"/>
                  </a:cubicBezTo>
                  <a:cubicBezTo>
                    <a:pt x="1024" y="490"/>
                    <a:pt x="1021" y="457"/>
                    <a:pt x="1036" y="451"/>
                  </a:cubicBezTo>
                  <a:cubicBezTo>
                    <a:pt x="1050" y="446"/>
                    <a:pt x="1062" y="401"/>
                    <a:pt x="1059" y="386"/>
                  </a:cubicBezTo>
                  <a:cubicBezTo>
                    <a:pt x="1056" y="372"/>
                    <a:pt x="1109" y="289"/>
                    <a:pt x="1118" y="277"/>
                  </a:cubicBezTo>
                  <a:cubicBezTo>
                    <a:pt x="1127" y="265"/>
                    <a:pt x="1174" y="271"/>
                    <a:pt x="1177" y="245"/>
                  </a:cubicBezTo>
                  <a:cubicBezTo>
                    <a:pt x="1180" y="218"/>
                    <a:pt x="1189" y="189"/>
                    <a:pt x="1171" y="183"/>
                  </a:cubicBezTo>
                  <a:cubicBezTo>
                    <a:pt x="1154" y="177"/>
                    <a:pt x="1130" y="156"/>
                    <a:pt x="1130" y="142"/>
                  </a:cubicBezTo>
                  <a:cubicBezTo>
                    <a:pt x="1130" y="133"/>
                    <a:pt x="1131" y="109"/>
                    <a:pt x="1136" y="88"/>
                  </a:cubicBezTo>
                  <a:cubicBezTo>
                    <a:pt x="1113" y="84"/>
                    <a:pt x="1111" y="61"/>
                    <a:pt x="1097" y="47"/>
                  </a:cubicBezTo>
                  <a:cubicBezTo>
                    <a:pt x="1083" y="32"/>
                    <a:pt x="1083" y="20"/>
                    <a:pt x="1062" y="26"/>
                  </a:cubicBezTo>
                  <a:cubicBezTo>
                    <a:pt x="1041" y="32"/>
                    <a:pt x="1018" y="82"/>
                    <a:pt x="991" y="91"/>
                  </a:cubicBezTo>
                  <a:cubicBezTo>
                    <a:pt x="965" y="100"/>
                    <a:pt x="926" y="79"/>
                    <a:pt x="909" y="71"/>
                  </a:cubicBezTo>
                  <a:cubicBezTo>
                    <a:pt x="891" y="62"/>
                    <a:pt x="808" y="71"/>
                    <a:pt x="782" y="68"/>
                  </a:cubicBezTo>
                  <a:cubicBezTo>
                    <a:pt x="755" y="65"/>
                    <a:pt x="729" y="103"/>
                    <a:pt x="708" y="115"/>
                  </a:cubicBezTo>
                  <a:cubicBezTo>
                    <a:pt x="687" y="127"/>
                    <a:pt x="628" y="121"/>
                    <a:pt x="611" y="115"/>
                  </a:cubicBezTo>
                  <a:cubicBezTo>
                    <a:pt x="593" y="109"/>
                    <a:pt x="551" y="74"/>
                    <a:pt x="534" y="74"/>
                  </a:cubicBezTo>
                  <a:cubicBezTo>
                    <a:pt x="516" y="74"/>
                    <a:pt x="481" y="79"/>
                    <a:pt x="451" y="97"/>
                  </a:cubicBezTo>
                  <a:cubicBezTo>
                    <a:pt x="422" y="115"/>
                    <a:pt x="413" y="65"/>
                    <a:pt x="395" y="44"/>
                  </a:cubicBezTo>
                  <a:cubicBezTo>
                    <a:pt x="377" y="23"/>
                    <a:pt x="339" y="41"/>
                    <a:pt x="315" y="20"/>
                  </a:cubicBezTo>
                  <a:cubicBezTo>
                    <a:pt x="292" y="0"/>
                    <a:pt x="277" y="44"/>
                    <a:pt x="256" y="41"/>
                  </a:cubicBezTo>
                  <a:cubicBezTo>
                    <a:pt x="236" y="38"/>
                    <a:pt x="183" y="26"/>
                    <a:pt x="165" y="41"/>
                  </a:cubicBezTo>
                  <a:cubicBezTo>
                    <a:pt x="147" y="56"/>
                    <a:pt x="150" y="112"/>
                    <a:pt x="141" y="121"/>
                  </a:cubicBezTo>
                  <a:cubicBezTo>
                    <a:pt x="132" y="130"/>
                    <a:pt x="97" y="171"/>
                    <a:pt x="97" y="192"/>
                  </a:cubicBezTo>
                  <a:cubicBezTo>
                    <a:pt x="97" y="201"/>
                    <a:pt x="93" y="208"/>
                    <a:pt x="88" y="211"/>
                  </a:cubicBezTo>
                  <a:cubicBezTo>
                    <a:pt x="91" y="236"/>
                    <a:pt x="96" y="267"/>
                    <a:pt x="98" y="279"/>
                  </a:cubicBezTo>
                  <a:cubicBezTo>
                    <a:pt x="100" y="299"/>
                    <a:pt x="109" y="398"/>
                    <a:pt x="87" y="420"/>
                  </a:cubicBezTo>
                  <a:cubicBezTo>
                    <a:pt x="64" y="442"/>
                    <a:pt x="49" y="478"/>
                    <a:pt x="49" y="478"/>
                  </a:cubicBezTo>
                  <a:cubicBezTo>
                    <a:pt x="49" y="478"/>
                    <a:pt x="14" y="502"/>
                    <a:pt x="7" y="551"/>
                  </a:cubicBezTo>
                  <a:cubicBezTo>
                    <a:pt x="0" y="600"/>
                    <a:pt x="9" y="631"/>
                    <a:pt x="9" y="668"/>
                  </a:cubicBezTo>
                  <a:cubicBezTo>
                    <a:pt x="9" y="695"/>
                    <a:pt x="29" y="714"/>
                    <a:pt x="40" y="747"/>
                  </a:cubicBezTo>
                  <a:cubicBezTo>
                    <a:pt x="40" y="747"/>
                    <a:pt x="41" y="748"/>
                    <a:pt x="41" y="748"/>
                  </a:cubicBezTo>
                  <a:cubicBezTo>
                    <a:pt x="59" y="772"/>
                    <a:pt x="143" y="776"/>
                    <a:pt x="190" y="786"/>
                  </a:cubicBezTo>
                  <a:cubicBezTo>
                    <a:pt x="237" y="797"/>
                    <a:pt x="286" y="863"/>
                    <a:pt x="284" y="888"/>
                  </a:cubicBezTo>
                  <a:cubicBezTo>
                    <a:pt x="283" y="913"/>
                    <a:pt x="315" y="962"/>
                    <a:pt x="338" y="974"/>
                  </a:cubicBezTo>
                  <a:cubicBezTo>
                    <a:pt x="360" y="986"/>
                    <a:pt x="414" y="952"/>
                    <a:pt x="439" y="952"/>
                  </a:cubicBezTo>
                  <a:cubicBezTo>
                    <a:pt x="464" y="952"/>
                    <a:pt x="554" y="953"/>
                    <a:pt x="572" y="937"/>
                  </a:cubicBezTo>
                  <a:cubicBezTo>
                    <a:pt x="577" y="932"/>
                    <a:pt x="583" y="933"/>
                    <a:pt x="588" y="936"/>
                  </a:cubicBezTo>
                  <a:cubicBezTo>
                    <a:pt x="609" y="879"/>
                    <a:pt x="617" y="829"/>
                    <a:pt x="617" y="829"/>
                  </a:cubicBezTo>
                  <a:cubicBezTo>
                    <a:pt x="617" y="829"/>
                    <a:pt x="720" y="723"/>
                    <a:pt x="732" y="7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11704465" y="8186683"/>
              <a:ext cx="152460" cy="313295"/>
            </a:xfrm>
            <a:custGeom>
              <a:avLst/>
              <a:gdLst>
                <a:gd name="T0" fmla="*/ 200 w 302"/>
                <a:gd name="T1" fmla="*/ 398 h 622"/>
                <a:gd name="T2" fmla="*/ 242 w 302"/>
                <a:gd name="T3" fmla="*/ 325 h 622"/>
                <a:gd name="T4" fmla="*/ 280 w 302"/>
                <a:gd name="T5" fmla="*/ 267 h 622"/>
                <a:gd name="T6" fmla="*/ 291 w 302"/>
                <a:gd name="T7" fmla="*/ 126 h 622"/>
                <a:gd name="T8" fmla="*/ 281 w 302"/>
                <a:gd name="T9" fmla="*/ 58 h 622"/>
                <a:gd name="T10" fmla="*/ 249 w 302"/>
                <a:gd name="T11" fmla="*/ 56 h 622"/>
                <a:gd name="T12" fmla="*/ 216 w 302"/>
                <a:gd name="T13" fmla="*/ 9 h 622"/>
                <a:gd name="T14" fmla="*/ 181 w 302"/>
                <a:gd name="T15" fmla="*/ 56 h 622"/>
                <a:gd name="T16" fmla="*/ 154 w 302"/>
                <a:gd name="T17" fmla="*/ 95 h 622"/>
                <a:gd name="T18" fmla="*/ 72 w 302"/>
                <a:gd name="T19" fmla="*/ 112 h 622"/>
                <a:gd name="T20" fmla="*/ 16 w 302"/>
                <a:gd name="T21" fmla="*/ 151 h 622"/>
                <a:gd name="T22" fmla="*/ 0 w 302"/>
                <a:gd name="T23" fmla="*/ 152 h 622"/>
                <a:gd name="T24" fmla="*/ 54 w 302"/>
                <a:gd name="T25" fmla="*/ 245 h 622"/>
                <a:gd name="T26" fmla="*/ 74 w 302"/>
                <a:gd name="T27" fmla="*/ 320 h 622"/>
                <a:gd name="T28" fmla="*/ 89 w 302"/>
                <a:gd name="T29" fmla="*/ 438 h 622"/>
                <a:gd name="T30" fmla="*/ 98 w 302"/>
                <a:gd name="T31" fmla="*/ 622 h 622"/>
                <a:gd name="T32" fmla="*/ 165 w 302"/>
                <a:gd name="T33" fmla="*/ 616 h 622"/>
                <a:gd name="T34" fmla="*/ 233 w 302"/>
                <a:gd name="T35" fmla="*/ 594 h 622"/>
                <a:gd name="T36" fmla="*/ 202 w 302"/>
                <a:gd name="T37" fmla="*/ 515 h 622"/>
                <a:gd name="T38" fmla="*/ 200 w 302"/>
                <a:gd name="T39" fmla="*/ 398 h 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02" h="622">
                  <a:moveTo>
                    <a:pt x="200" y="398"/>
                  </a:moveTo>
                  <a:cubicBezTo>
                    <a:pt x="207" y="349"/>
                    <a:pt x="242" y="325"/>
                    <a:pt x="242" y="325"/>
                  </a:cubicBezTo>
                  <a:cubicBezTo>
                    <a:pt x="242" y="325"/>
                    <a:pt x="257" y="289"/>
                    <a:pt x="280" y="267"/>
                  </a:cubicBezTo>
                  <a:cubicBezTo>
                    <a:pt x="302" y="245"/>
                    <a:pt x="293" y="146"/>
                    <a:pt x="291" y="126"/>
                  </a:cubicBezTo>
                  <a:cubicBezTo>
                    <a:pt x="289" y="114"/>
                    <a:pt x="284" y="83"/>
                    <a:pt x="281" y="58"/>
                  </a:cubicBezTo>
                  <a:cubicBezTo>
                    <a:pt x="274" y="63"/>
                    <a:pt x="263" y="63"/>
                    <a:pt x="249" y="56"/>
                  </a:cubicBezTo>
                  <a:cubicBezTo>
                    <a:pt x="222" y="45"/>
                    <a:pt x="246" y="18"/>
                    <a:pt x="216" y="9"/>
                  </a:cubicBezTo>
                  <a:cubicBezTo>
                    <a:pt x="187" y="0"/>
                    <a:pt x="175" y="33"/>
                    <a:pt x="181" y="56"/>
                  </a:cubicBezTo>
                  <a:cubicBezTo>
                    <a:pt x="187" y="80"/>
                    <a:pt x="166" y="80"/>
                    <a:pt x="154" y="95"/>
                  </a:cubicBezTo>
                  <a:cubicBezTo>
                    <a:pt x="142" y="110"/>
                    <a:pt x="89" y="112"/>
                    <a:pt x="72" y="112"/>
                  </a:cubicBezTo>
                  <a:cubicBezTo>
                    <a:pt x="54" y="112"/>
                    <a:pt x="33" y="145"/>
                    <a:pt x="16" y="151"/>
                  </a:cubicBezTo>
                  <a:cubicBezTo>
                    <a:pt x="12" y="152"/>
                    <a:pt x="6" y="152"/>
                    <a:pt x="0" y="152"/>
                  </a:cubicBezTo>
                  <a:cubicBezTo>
                    <a:pt x="4" y="230"/>
                    <a:pt x="17" y="224"/>
                    <a:pt x="54" y="245"/>
                  </a:cubicBezTo>
                  <a:cubicBezTo>
                    <a:pt x="96" y="270"/>
                    <a:pt x="56" y="303"/>
                    <a:pt x="74" y="320"/>
                  </a:cubicBezTo>
                  <a:cubicBezTo>
                    <a:pt x="91" y="338"/>
                    <a:pt x="85" y="382"/>
                    <a:pt x="89" y="438"/>
                  </a:cubicBezTo>
                  <a:cubicBezTo>
                    <a:pt x="92" y="471"/>
                    <a:pt x="95" y="558"/>
                    <a:pt x="98" y="622"/>
                  </a:cubicBezTo>
                  <a:cubicBezTo>
                    <a:pt x="122" y="617"/>
                    <a:pt x="147" y="616"/>
                    <a:pt x="165" y="616"/>
                  </a:cubicBezTo>
                  <a:cubicBezTo>
                    <a:pt x="196" y="616"/>
                    <a:pt x="215" y="574"/>
                    <a:pt x="233" y="594"/>
                  </a:cubicBezTo>
                  <a:cubicBezTo>
                    <a:pt x="222" y="561"/>
                    <a:pt x="202" y="542"/>
                    <a:pt x="202" y="515"/>
                  </a:cubicBezTo>
                  <a:cubicBezTo>
                    <a:pt x="202" y="478"/>
                    <a:pt x="193" y="447"/>
                    <a:pt x="200" y="39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1659230" y="8255374"/>
              <a:ext cx="93821" cy="263034"/>
            </a:xfrm>
            <a:custGeom>
              <a:avLst/>
              <a:gdLst>
                <a:gd name="T0" fmla="*/ 162 w 186"/>
                <a:gd name="T1" fmla="*/ 182 h 519"/>
                <a:gd name="T2" fmla="*/ 142 w 186"/>
                <a:gd name="T3" fmla="*/ 107 h 519"/>
                <a:gd name="T4" fmla="*/ 88 w 186"/>
                <a:gd name="T5" fmla="*/ 14 h 519"/>
                <a:gd name="T6" fmla="*/ 12 w 186"/>
                <a:gd name="T7" fmla="*/ 1 h 519"/>
                <a:gd name="T8" fmla="*/ 0 w 186"/>
                <a:gd name="T9" fmla="*/ 3 h 519"/>
                <a:gd name="T10" fmla="*/ 20 w 186"/>
                <a:gd name="T11" fmla="*/ 67 h 519"/>
                <a:gd name="T12" fmla="*/ 44 w 186"/>
                <a:gd name="T13" fmla="*/ 127 h 519"/>
                <a:gd name="T14" fmla="*/ 47 w 186"/>
                <a:gd name="T15" fmla="*/ 267 h 519"/>
                <a:gd name="T16" fmla="*/ 73 w 186"/>
                <a:gd name="T17" fmla="*/ 404 h 519"/>
                <a:gd name="T18" fmla="*/ 110 w 186"/>
                <a:gd name="T19" fmla="*/ 519 h 519"/>
                <a:gd name="T20" fmla="*/ 130 w 186"/>
                <a:gd name="T21" fmla="*/ 506 h 519"/>
                <a:gd name="T22" fmla="*/ 186 w 186"/>
                <a:gd name="T23" fmla="*/ 484 h 519"/>
                <a:gd name="T24" fmla="*/ 177 w 186"/>
                <a:gd name="T25" fmla="*/ 300 h 519"/>
                <a:gd name="T26" fmla="*/ 162 w 186"/>
                <a:gd name="T27" fmla="*/ 182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6" h="519">
                  <a:moveTo>
                    <a:pt x="162" y="182"/>
                  </a:moveTo>
                  <a:cubicBezTo>
                    <a:pt x="144" y="165"/>
                    <a:pt x="184" y="132"/>
                    <a:pt x="142" y="107"/>
                  </a:cubicBezTo>
                  <a:cubicBezTo>
                    <a:pt x="105" y="86"/>
                    <a:pt x="92" y="92"/>
                    <a:pt x="88" y="14"/>
                  </a:cubicBezTo>
                  <a:cubicBezTo>
                    <a:pt x="66" y="13"/>
                    <a:pt x="35" y="3"/>
                    <a:pt x="12" y="1"/>
                  </a:cubicBezTo>
                  <a:cubicBezTo>
                    <a:pt x="7" y="0"/>
                    <a:pt x="3" y="2"/>
                    <a:pt x="0" y="3"/>
                  </a:cubicBezTo>
                  <a:cubicBezTo>
                    <a:pt x="5" y="31"/>
                    <a:pt x="12" y="63"/>
                    <a:pt x="20" y="67"/>
                  </a:cubicBezTo>
                  <a:cubicBezTo>
                    <a:pt x="36" y="76"/>
                    <a:pt x="47" y="94"/>
                    <a:pt x="44" y="127"/>
                  </a:cubicBezTo>
                  <a:cubicBezTo>
                    <a:pt x="42" y="160"/>
                    <a:pt x="33" y="233"/>
                    <a:pt x="47" y="267"/>
                  </a:cubicBezTo>
                  <a:cubicBezTo>
                    <a:pt x="60" y="300"/>
                    <a:pt x="73" y="353"/>
                    <a:pt x="73" y="404"/>
                  </a:cubicBezTo>
                  <a:cubicBezTo>
                    <a:pt x="73" y="436"/>
                    <a:pt x="91" y="483"/>
                    <a:pt x="110" y="519"/>
                  </a:cubicBezTo>
                  <a:cubicBezTo>
                    <a:pt x="117" y="515"/>
                    <a:pt x="124" y="510"/>
                    <a:pt x="130" y="506"/>
                  </a:cubicBezTo>
                  <a:cubicBezTo>
                    <a:pt x="143" y="495"/>
                    <a:pt x="164" y="488"/>
                    <a:pt x="186" y="484"/>
                  </a:cubicBezTo>
                  <a:cubicBezTo>
                    <a:pt x="183" y="420"/>
                    <a:pt x="180" y="333"/>
                    <a:pt x="177" y="300"/>
                  </a:cubicBezTo>
                  <a:cubicBezTo>
                    <a:pt x="173" y="244"/>
                    <a:pt x="179" y="200"/>
                    <a:pt x="162" y="18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2098178" y="8153176"/>
              <a:ext cx="375284" cy="581355"/>
            </a:xfrm>
            <a:custGeom>
              <a:avLst/>
              <a:gdLst>
                <a:gd name="T0" fmla="*/ 309 w 740"/>
                <a:gd name="T1" fmla="*/ 1093 h 1149"/>
                <a:gd name="T2" fmla="*/ 574 w 740"/>
                <a:gd name="T3" fmla="*/ 1100 h 1149"/>
                <a:gd name="T4" fmla="*/ 715 w 740"/>
                <a:gd name="T5" fmla="*/ 1149 h 1149"/>
                <a:gd name="T6" fmla="*/ 740 w 740"/>
                <a:gd name="T7" fmla="*/ 1060 h 1149"/>
                <a:gd name="T8" fmla="*/ 723 w 740"/>
                <a:gd name="T9" fmla="*/ 1043 h 1149"/>
                <a:gd name="T10" fmla="*/ 659 w 740"/>
                <a:gd name="T11" fmla="*/ 979 h 1149"/>
                <a:gd name="T12" fmla="*/ 636 w 740"/>
                <a:gd name="T13" fmla="*/ 946 h 1149"/>
                <a:gd name="T14" fmla="*/ 621 w 740"/>
                <a:gd name="T15" fmla="*/ 886 h 1149"/>
                <a:gd name="T16" fmla="*/ 592 w 740"/>
                <a:gd name="T17" fmla="*/ 806 h 1149"/>
                <a:gd name="T18" fmla="*/ 579 w 740"/>
                <a:gd name="T19" fmla="*/ 724 h 1149"/>
                <a:gd name="T20" fmla="*/ 628 w 740"/>
                <a:gd name="T21" fmla="*/ 625 h 1149"/>
                <a:gd name="T22" fmla="*/ 678 w 740"/>
                <a:gd name="T23" fmla="*/ 562 h 1149"/>
                <a:gd name="T24" fmla="*/ 648 w 740"/>
                <a:gd name="T25" fmla="*/ 490 h 1149"/>
                <a:gd name="T26" fmla="*/ 566 w 740"/>
                <a:gd name="T27" fmla="*/ 405 h 1149"/>
                <a:gd name="T28" fmla="*/ 542 w 740"/>
                <a:gd name="T29" fmla="*/ 334 h 1149"/>
                <a:gd name="T30" fmla="*/ 628 w 740"/>
                <a:gd name="T31" fmla="*/ 322 h 1149"/>
                <a:gd name="T32" fmla="*/ 669 w 740"/>
                <a:gd name="T33" fmla="*/ 307 h 1149"/>
                <a:gd name="T34" fmla="*/ 628 w 740"/>
                <a:gd name="T35" fmla="*/ 183 h 1149"/>
                <a:gd name="T36" fmla="*/ 616 w 740"/>
                <a:gd name="T37" fmla="*/ 95 h 1149"/>
                <a:gd name="T38" fmla="*/ 554 w 740"/>
                <a:gd name="T39" fmla="*/ 0 h 1149"/>
                <a:gd name="T40" fmla="*/ 548 w 740"/>
                <a:gd name="T41" fmla="*/ 0 h 1149"/>
                <a:gd name="T42" fmla="*/ 542 w 740"/>
                <a:gd name="T43" fmla="*/ 54 h 1149"/>
                <a:gd name="T44" fmla="*/ 583 w 740"/>
                <a:gd name="T45" fmla="*/ 95 h 1149"/>
                <a:gd name="T46" fmla="*/ 589 w 740"/>
                <a:gd name="T47" fmla="*/ 157 h 1149"/>
                <a:gd name="T48" fmla="*/ 530 w 740"/>
                <a:gd name="T49" fmla="*/ 189 h 1149"/>
                <a:gd name="T50" fmla="*/ 471 w 740"/>
                <a:gd name="T51" fmla="*/ 298 h 1149"/>
                <a:gd name="T52" fmla="*/ 448 w 740"/>
                <a:gd name="T53" fmla="*/ 363 h 1149"/>
                <a:gd name="T54" fmla="*/ 436 w 740"/>
                <a:gd name="T55" fmla="*/ 417 h 1149"/>
                <a:gd name="T56" fmla="*/ 388 w 740"/>
                <a:gd name="T57" fmla="*/ 476 h 1149"/>
                <a:gd name="T58" fmla="*/ 315 w 740"/>
                <a:gd name="T59" fmla="*/ 629 h 1149"/>
                <a:gd name="T60" fmla="*/ 273 w 740"/>
                <a:gd name="T61" fmla="*/ 673 h 1149"/>
                <a:gd name="T62" fmla="*/ 203 w 740"/>
                <a:gd name="T63" fmla="*/ 623 h 1149"/>
                <a:gd name="T64" fmla="*/ 144 w 740"/>
                <a:gd name="T65" fmla="*/ 632 h 1149"/>
                <a:gd name="T66" fmla="*/ 29 w 740"/>
                <a:gd name="T67" fmla="*/ 741 h 1149"/>
                <a:gd name="T68" fmla="*/ 0 w 740"/>
                <a:gd name="T69" fmla="*/ 848 h 1149"/>
                <a:gd name="T70" fmla="*/ 42 w 740"/>
                <a:gd name="T71" fmla="*/ 904 h 1149"/>
                <a:gd name="T72" fmla="*/ 118 w 740"/>
                <a:gd name="T73" fmla="*/ 920 h 1149"/>
                <a:gd name="T74" fmla="*/ 146 w 740"/>
                <a:gd name="T75" fmla="*/ 1017 h 1149"/>
                <a:gd name="T76" fmla="*/ 128 w 740"/>
                <a:gd name="T77" fmla="*/ 1106 h 1149"/>
                <a:gd name="T78" fmla="*/ 266 w 740"/>
                <a:gd name="T79" fmla="*/ 1106 h 1149"/>
                <a:gd name="T80" fmla="*/ 309 w 740"/>
                <a:gd name="T81" fmla="*/ 1093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0" h="1149">
                  <a:moveTo>
                    <a:pt x="309" y="1093"/>
                  </a:moveTo>
                  <a:cubicBezTo>
                    <a:pt x="309" y="1093"/>
                    <a:pt x="543" y="1106"/>
                    <a:pt x="574" y="1100"/>
                  </a:cubicBezTo>
                  <a:cubicBezTo>
                    <a:pt x="604" y="1093"/>
                    <a:pt x="715" y="1149"/>
                    <a:pt x="715" y="1149"/>
                  </a:cubicBezTo>
                  <a:cubicBezTo>
                    <a:pt x="715" y="1149"/>
                    <a:pt x="720" y="1093"/>
                    <a:pt x="740" y="1060"/>
                  </a:cubicBezTo>
                  <a:cubicBezTo>
                    <a:pt x="732" y="1056"/>
                    <a:pt x="725" y="1050"/>
                    <a:pt x="723" y="1043"/>
                  </a:cubicBezTo>
                  <a:cubicBezTo>
                    <a:pt x="718" y="1027"/>
                    <a:pt x="674" y="999"/>
                    <a:pt x="659" y="979"/>
                  </a:cubicBezTo>
                  <a:cubicBezTo>
                    <a:pt x="643" y="959"/>
                    <a:pt x="636" y="946"/>
                    <a:pt x="636" y="946"/>
                  </a:cubicBezTo>
                  <a:cubicBezTo>
                    <a:pt x="636" y="946"/>
                    <a:pt x="641" y="912"/>
                    <a:pt x="621" y="886"/>
                  </a:cubicBezTo>
                  <a:cubicBezTo>
                    <a:pt x="601" y="859"/>
                    <a:pt x="592" y="842"/>
                    <a:pt x="592" y="806"/>
                  </a:cubicBezTo>
                  <a:cubicBezTo>
                    <a:pt x="592" y="771"/>
                    <a:pt x="579" y="744"/>
                    <a:pt x="579" y="724"/>
                  </a:cubicBezTo>
                  <a:cubicBezTo>
                    <a:pt x="579" y="704"/>
                    <a:pt x="614" y="667"/>
                    <a:pt x="628" y="625"/>
                  </a:cubicBezTo>
                  <a:cubicBezTo>
                    <a:pt x="635" y="600"/>
                    <a:pt x="659" y="580"/>
                    <a:pt x="678" y="562"/>
                  </a:cubicBezTo>
                  <a:cubicBezTo>
                    <a:pt x="668" y="547"/>
                    <a:pt x="657" y="520"/>
                    <a:pt x="648" y="490"/>
                  </a:cubicBezTo>
                  <a:cubicBezTo>
                    <a:pt x="636" y="452"/>
                    <a:pt x="604" y="440"/>
                    <a:pt x="566" y="405"/>
                  </a:cubicBezTo>
                  <a:cubicBezTo>
                    <a:pt x="527" y="369"/>
                    <a:pt x="542" y="349"/>
                    <a:pt x="542" y="334"/>
                  </a:cubicBezTo>
                  <a:cubicBezTo>
                    <a:pt x="542" y="319"/>
                    <a:pt x="592" y="319"/>
                    <a:pt x="628" y="322"/>
                  </a:cubicBezTo>
                  <a:cubicBezTo>
                    <a:pt x="663" y="325"/>
                    <a:pt x="684" y="316"/>
                    <a:pt x="669" y="307"/>
                  </a:cubicBezTo>
                  <a:cubicBezTo>
                    <a:pt x="654" y="298"/>
                    <a:pt x="625" y="231"/>
                    <a:pt x="628" y="183"/>
                  </a:cubicBezTo>
                  <a:cubicBezTo>
                    <a:pt x="631" y="136"/>
                    <a:pt x="613" y="121"/>
                    <a:pt x="616" y="95"/>
                  </a:cubicBezTo>
                  <a:cubicBezTo>
                    <a:pt x="619" y="68"/>
                    <a:pt x="583" y="0"/>
                    <a:pt x="554" y="0"/>
                  </a:cubicBezTo>
                  <a:cubicBezTo>
                    <a:pt x="552" y="0"/>
                    <a:pt x="550" y="0"/>
                    <a:pt x="548" y="0"/>
                  </a:cubicBezTo>
                  <a:cubicBezTo>
                    <a:pt x="543" y="21"/>
                    <a:pt x="542" y="45"/>
                    <a:pt x="542" y="54"/>
                  </a:cubicBezTo>
                  <a:cubicBezTo>
                    <a:pt x="542" y="68"/>
                    <a:pt x="566" y="89"/>
                    <a:pt x="583" y="95"/>
                  </a:cubicBezTo>
                  <a:cubicBezTo>
                    <a:pt x="601" y="101"/>
                    <a:pt x="592" y="130"/>
                    <a:pt x="589" y="157"/>
                  </a:cubicBezTo>
                  <a:cubicBezTo>
                    <a:pt x="586" y="183"/>
                    <a:pt x="539" y="177"/>
                    <a:pt x="530" y="189"/>
                  </a:cubicBezTo>
                  <a:cubicBezTo>
                    <a:pt x="521" y="201"/>
                    <a:pt x="468" y="284"/>
                    <a:pt x="471" y="298"/>
                  </a:cubicBezTo>
                  <a:cubicBezTo>
                    <a:pt x="474" y="313"/>
                    <a:pt x="462" y="358"/>
                    <a:pt x="448" y="363"/>
                  </a:cubicBezTo>
                  <a:cubicBezTo>
                    <a:pt x="433" y="369"/>
                    <a:pt x="436" y="402"/>
                    <a:pt x="436" y="417"/>
                  </a:cubicBezTo>
                  <a:cubicBezTo>
                    <a:pt x="436" y="431"/>
                    <a:pt x="388" y="452"/>
                    <a:pt x="388" y="476"/>
                  </a:cubicBezTo>
                  <a:cubicBezTo>
                    <a:pt x="388" y="499"/>
                    <a:pt x="332" y="596"/>
                    <a:pt x="315" y="629"/>
                  </a:cubicBezTo>
                  <a:cubicBezTo>
                    <a:pt x="297" y="662"/>
                    <a:pt x="279" y="703"/>
                    <a:pt x="273" y="673"/>
                  </a:cubicBezTo>
                  <a:cubicBezTo>
                    <a:pt x="268" y="644"/>
                    <a:pt x="223" y="608"/>
                    <a:pt x="203" y="623"/>
                  </a:cubicBezTo>
                  <a:cubicBezTo>
                    <a:pt x="182" y="638"/>
                    <a:pt x="155" y="629"/>
                    <a:pt x="144" y="632"/>
                  </a:cubicBezTo>
                  <a:cubicBezTo>
                    <a:pt x="132" y="635"/>
                    <a:pt x="29" y="741"/>
                    <a:pt x="29" y="741"/>
                  </a:cubicBezTo>
                  <a:cubicBezTo>
                    <a:pt x="29" y="741"/>
                    <a:pt x="21" y="791"/>
                    <a:pt x="0" y="848"/>
                  </a:cubicBezTo>
                  <a:cubicBezTo>
                    <a:pt x="13" y="856"/>
                    <a:pt x="27" y="883"/>
                    <a:pt x="42" y="904"/>
                  </a:cubicBezTo>
                  <a:cubicBezTo>
                    <a:pt x="62" y="933"/>
                    <a:pt x="102" y="911"/>
                    <a:pt x="118" y="920"/>
                  </a:cubicBezTo>
                  <a:cubicBezTo>
                    <a:pt x="135" y="929"/>
                    <a:pt x="152" y="998"/>
                    <a:pt x="146" y="1017"/>
                  </a:cubicBezTo>
                  <a:cubicBezTo>
                    <a:pt x="141" y="1036"/>
                    <a:pt x="116" y="1083"/>
                    <a:pt x="128" y="1106"/>
                  </a:cubicBezTo>
                  <a:cubicBezTo>
                    <a:pt x="266" y="1106"/>
                    <a:pt x="266" y="1106"/>
                    <a:pt x="266" y="1106"/>
                  </a:cubicBezTo>
                  <a:lnTo>
                    <a:pt x="309" y="1093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11226982" y="8275479"/>
              <a:ext cx="311620" cy="319996"/>
            </a:xfrm>
            <a:custGeom>
              <a:avLst/>
              <a:gdLst>
                <a:gd name="T0" fmla="*/ 585 w 618"/>
                <a:gd name="T1" fmla="*/ 531 h 634"/>
                <a:gd name="T2" fmla="*/ 543 w 618"/>
                <a:gd name="T3" fmla="*/ 420 h 634"/>
                <a:gd name="T4" fmla="*/ 580 w 618"/>
                <a:gd name="T5" fmla="*/ 323 h 634"/>
                <a:gd name="T6" fmla="*/ 618 w 618"/>
                <a:gd name="T7" fmla="*/ 256 h 634"/>
                <a:gd name="T8" fmla="*/ 583 w 618"/>
                <a:gd name="T9" fmla="*/ 101 h 634"/>
                <a:gd name="T10" fmla="*/ 565 w 618"/>
                <a:gd name="T11" fmla="*/ 92 h 634"/>
                <a:gd name="T12" fmla="*/ 447 w 618"/>
                <a:gd name="T13" fmla="*/ 107 h 634"/>
                <a:gd name="T14" fmla="*/ 358 w 618"/>
                <a:gd name="T15" fmla="*/ 65 h 634"/>
                <a:gd name="T16" fmla="*/ 282 w 618"/>
                <a:gd name="T17" fmla="*/ 39 h 634"/>
                <a:gd name="T18" fmla="*/ 246 w 618"/>
                <a:gd name="T19" fmla="*/ 27 h 634"/>
                <a:gd name="T20" fmla="*/ 196 w 618"/>
                <a:gd name="T21" fmla="*/ 33 h 634"/>
                <a:gd name="T22" fmla="*/ 140 w 618"/>
                <a:gd name="T23" fmla="*/ 59 h 634"/>
                <a:gd name="T24" fmla="*/ 90 w 618"/>
                <a:gd name="T25" fmla="*/ 45 h 634"/>
                <a:gd name="T26" fmla="*/ 56 w 618"/>
                <a:gd name="T27" fmla="*/ 53 h 634"/>
                <a:gd name="T28" fmla="*/ 56 w 618"/>
                <a:gd name="T29" fmla="*/ 132 h 634"/>
                <a:gd name="T30" fmla="*/ 74 w 618"/>
                <a:gd name="T31" fmla="*/ 179 h 634"/>
                <a:gd name="T32" fmla="*/ 91 w 618"/>
                <a:gd name="T33" fmla="*/ 241 h 634"/>
                <a:gd name="T34" fmla="*/ 45 w 618"/>
                <a:gd name="T35" fmla="*/ 248 h 634"/>
                <a:gd name="T36" fmla="*/ 54 w 618"/>
                <a:gd name="T37" fmla="*/ 307 h 634"/>
                <a:gd name="T38" fmla="*/ 25 w 618"/>
                <a:gd name="T39" fmla="*/ 363 h 634"/>
                <a:gd name="T40" fmla="*/ 14 w 618"/>
                <a:gd name="T41" fmla="*/ 434 h 634"/>
                <a:gd name="T42" fmla="*/ 47 w 618"/>
                <a:gd name="T43" fmla="*/ 465 h 634"/>
                <a:gd name="T44" fmla="*/ 124 w 618"/>
                <a:gd name="T45" fmla="*/ 540 h 634"/>
                <a:gd name="T46" fmla="*/ 95 w 618"/>
                <a:gd name="T47" fmla="*/ 633 h 634"/>
                <a:gd name="T48" fmla="*/ 389 w 618"/>
                <a:gd name="T49" fmla="*/ 569 h 634"/>
                <a:gd name="T50" fmla="*/ 583 w 618"/>
                <a:gd name="T51" fmla="*/ 580 h 634"/>
                <a:gd name="T52" fmla="*/ 585 w 618"/>
                <a:gd name="T53" fmla="*/ 531 h 6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18" h="634">
                  <a:moveTo>
                    <a:pt x="585" y="531"/>
                  </a:moveTo>
                  <a:cubicBezTo>
                    <a:pt x="572" y="513"/>
                    <a:pt x="541" y="438"/>
                    <a:pt x="543" y="420"/>
                  </a:cubicBezTo>
                  <a:cubicBezTo>
                    <a:pt x="545" y="403"/>
                    <a:pt x="583" y="349"/>
                    <a:pt x="580" y="323"/>
                  </a:cubicBezTo>
                  <a:cubicBezTo>
                    <a:pt x="578" y="296"/>
                    <a:pt x="618" y="279"/>
                    <a:pt x="618" y="256"/>
                  </a:cubicBezTo>
                  <a:cubicBezTo>
                    <a:pt x="618" y="240"/>
                    <a:pt x="608" y="156"/>
                    <a:pt x="583" y="101"/>
                  </a:cubicBezTo>
                  <a:cubicBezTo>
                    <a:pt x="578" y="102"/>
                    <a:pt x="572" y="99"/>
                    <a:pt x="565" y="92"/>
                  </a:cubicBezTo>
                  <a:cubicBezTo>
                    <a:pt x="547" y="74"/>
                    <a:pt x="474" y="77"/>
                    <a:pt x="447" y="107"/>
                  </a:cubicBezTo>
                  <a:cubicBezTo>
                    <a:pt x="420" y="136"/>
                    <a:pt x="367" y="80"/>
                    <a:pt x="358" y="65"/>
                  </a:cubicBezTo>
                  <a:cubicBezTo>
                    <a:pt x="350" y="51"/>
                    <a:pt x="311" y="18"/>
                    <a:pt x="282" y="39"/>
                  </a:cubicBezTo>
                  <a:cubicBezTo>
                    <a:pt x="252" y="59"/>
                    <a:pt x="243" y="54"/>
                    <a:pt x="246" y="27"/>
                  </a:cubicBezTo>
                  <a:cubicBezTo>
                    <a:pt x="249" y="0"/>
                    <a:pt x="202" y="9"/>
                    <a:pt x="196" y="33"/>
                  </a:cubicBezTo>
                  <a:cubicBezTo>
                    <a:pt x="190" y="56"/>
                    <a:pt x="152" y="77"/>
                    <a:pt x="140" y="59"/>
                  </a:cubicBezTo>
                  <a:cubicBezTo>
                    <a:pt x="128" y="42"/>
                    <a:pt x="102" y="18"/>
                    <a:pt x="90" y="45"/>
                  </a:cubicBezTo>
                  <a:cubicBezTo>
                    <a:pt x="82" y="63"/>
                    <a:pt x="68" y="62"/>
                    <a:pt x="56" y="53"/>
                  </a:cubicBezTo>
                  <a:cubicBezTo>
                    <a:pt x="49" y="86"/>
                    <a:pt x="39" y="123"/>
                    <a:pt x="56" y="132"/>
                  </a:cubicBezTo>
                  <a:cubicBezTo>
                    <a:pt x="76" y="143"/>
                    <a:pt x="78" y="166"/>
                    <a:pt x="74" y="179"/>
                  </a:cubicBezTo>
                  <a:cubicBezTo>
                    <a:pt x="69" y="192"/>
                    <a:pt x="107" y="225"/>
                    <a:pt x="91" y="241"/>
                  </a:cubicBezTo>
                  <a:cubicBezTo>
                    <a:pt x="76" y="256"/>
                    <a:pt x="56" y="225"/>
                    <a:pt x="45" y="248"/>
                  </a:cubicBezTo>
                  <a:cubicBezTo>
                    <a:pt x="34" y="270"/>
                    <a:pt x="67" y="290"/>
                    <a:pt x="54" y="307"/>
                  </a:cubicBezTo>
                  <a:cubicBezTo>
                    <a:pt x="40" y="325"/>
                    <a:pt x="20" y="327"/>
                    <a:pt x="25" y="363"/>
                  </a:cubicBezTo>
                  <a:cubicBezTo>
                    <a:pt x="29" y="398"/>
                    <a:pt x="27" y="422"/>
                    <a:pt x="14" y="434"/>
                  </a:cubicBezTo>
                  <a:cubicBezTo>
                    <a:pt x="0" y="445"/>
                    <a:pt x="16" y="445"/>
                    <a:pt x="47" y="465"/>
                  </a:cubicBezTo>
                  <a:cubicBezTo>
                    <a:pt x="78" y="484"/>
                    <a:pt x="129" y="507"/>
                    <a:pt x="124" y="540"/>
                  </a:cubicBezTo>
                  <a:cubicBezTo>
                    <a:pt x="120" y="570"/>
                    <a:pt x="107" y="577"/>
                    <a:pt x="95" y="633"/>
                  </a:cubicBezTo>
                  <a:cubicBezTo>
                    <a:pt x="155" y="634"/>
                    <a:pt x="263" y="590"/>
                    <a:pt x="389" y="569"/>
                  </a:cubicBezTo>
                  <a:cubicBezTo>
                    <a:pt x="469" y="555"/>
                    <a:pt x="536" y="566"/>
                    <a:pt x="583" y="580"/>
                  </a:cubicBezTo>
                  <a:cubicBezTo>
                    <a:pt x="588" y="561"/>
                    <a:pt x="592" y="540"/>
                    <a:pt x="585" y="5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11500069" y="8257049"/>
              <a:ext cx="214448" cy="328374"/>
            </a:xfrm>
            <a:custGeom>
              <a:avLst/>
              <a:gdLst>
                <a:gd name="T0" fmla="*/ 363 w 426"/>
                <a:gd name="T1" fmla="*/ 264 h 647"/>
                <a:gd name="T2" fmla="*/ 360 w 426"/>
                <a:gd name="T3" fmla="*/ 124 h 647"/>
                <a:gd name="T4" fmla="*/ 336 w 426"/>
                <a:gd name="T5" fmla="*/ 64 h 647"/>
                <a:gd name="T6" fmla="*/ 316 w 426"/>
                <a:gd name="T7" fmla="*/ 0 h 647"/>
                <a:gd name="T8" fmla="*/ 290 w 426"/>
                <a:gd name="T9" fmla="*/ 25 h 647"/>
                <a:gd name="T10" fmla="*/ 39 w 426"/>
                <a:gd name="T11" fmla="*/ 19 h 647"/>
                <a:gd name="T12" fmla="*/ 56 w 426"/>
                <a:gd name="T13" fmla="*/ 119 h 647"/>
                <a:gd name="T14" fmla="*/ 42 w 426"/>
                <a:gd name="T15" fmla="*/ 137 h 647"/>
                <a:gd name="T16" fmla="*/ 77 w 426"/>
                <a:gd name="T17" fmla="*/ 292 h 647"/>
                <a:gd name="T18" fmla="*/ 39 w 426"/>
                <a:gd name="T19" fmla="*/ 359 h 647"/>
                <a:gd name="T20" fmla="*/ 2 w 426"/>
                <a:gd name="T21" fmla="*/ 456 h 647"/>
                <a:gd name="T22" fmla="*/ 44 w 426"/>
                <a:gd name="T23" fmla="*/ 567 h 647"/>
                <a:gd name="T24" fmla="*/ 42 w 426"/>
                <a:gd name="T25" fmla="*/ 616 h 647"/>
                <a:gd name="T26" fmla="*/ 117 w 426"/>
                <a:gd name="T27" fmla="*/ 643 h 647"/>
                <a:gd name="T28" fmla="*/ 310 w 426"/>
                <a:gd name="T29" fmla="*/ 565 h 647"/>
                <a:gd name="T30" fmla="*/ 426 w 426"/>
                <a:gd name="T31" fmla="*/ 516 h 647"/>
                <a:gd name="T32" fmla="*/ 389 w 426"/>
                <a:gd name="T33" fmla="*/ 401 h 647"/>
                <a:gd name="T34" fmla="*/ 363 w 426"/>
                <a:gd name="T35" fmla="*/ 264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6" h="647">
                  <a:moveTo>
                    <a:pt x="363" y="264"/>
                  </a:moveTo>
                  <a:cubicBezTo>
                    <a:pt x="349" y="230"/>
                    <a:pt x="358" y="157"/>
                    <a:pt x="360" y="124"/>
                  </a:cubicBezTo>
                  <a:cubicBezTo>
                    <a:pt x="363" y="91"/>
                    <a:pt x="352" y="73"/>
                    <a:pt x="336" y="64"/>
                  </a:cubicBezTo>
                  <a:cubicBezTo>
                    <a:pt x="328" y="60"/>
                    <a:pt x="321" y="28"/>
                    <a:pt x="316" y="0"/>
                  </a:cubicBezTo>
                  <a:cubicBezTo>
                    <a:pt x="298" y="8"/>
                    <a:pt x="297" y="37"/>
                    <a:pt x="290" y="25"/>
                  </a:cubicBezTo>
                  <a:cubicBezTo>
                    <a:pt x="281" y="10"/>
                    <a:pt x="51" y="1"/>
                    <a:pt x="39" y="19"/>
                  </a:cubicBezTo>
                  <a:cubicBezTo>
                    <a:pt x="27" y="36"/>
                    <a:pt x="59" y="101"/>
                    <a:pt x="56" y="119"/>
                  </a:cubicBezTo>
                  <a:cubicBezTo>
                    <a:pt x="55" y="130"/>
                    <a:pt x="50" y="137"/>
                    <a:pt x="42" y="137"/>
                  </a:cubicBezTo>
                  <a:cubicBezTo>
                    <a:pt x="67" y="192"/>
                    <a:pt x="77" y="276"/>
                    <a:pt x="77" y="292"/>
                  </a:cubicBezTo>
                  <a:cubicBezTo>
                    <a:pt x="77" y="315"/>
                    <a:pt x="37" y="332"/>
                    <a:pt x="39" y="359"/>
                  </a:cubicBezTo>
                  <a:cubicBezTo>
                    <a:pt x="42" y="385"/>
                    <a:pt x="4" y="439"/>
                    <a:pt x="2" y="456"/>
                  </a:cubicBezTo>
                  <a:cubicBezTo>
                    <a:pt x="0" y="474"/>
                    <a:pt x="31" y="549"/>
                    <a:pt x="44" y="567"/>
                  </a:cubicBezTo>
                  <a:cubicBezTo>
                    <a:pt x="51" y="576"/>
                    <a:pt x="47" y="597"/>
                    <a:pt x="42" y="616"/>
                  </a:cubicBezTo>
                  <a:cubicBezTo>
                    <a:pt x="82" y="627"/>
                    <a:pt x="109" y="641"/>
                    <a:pt x="117" y="643"/>
                  </a:cubicBezTo>
                  <a:cubicBezTo>
                    <a:pt x="135" y="647"/>
                    <a:pt x="260" y="590"/>
                    <a:pt x="310" y="565"/>
                  </a:cubicBezTo>
                  <a:cubicBezTo>
                    <a:pt x="350" y="545"/>
                    <a:pt x="395" y="532"/>
                    <a:pt x="426" y="516"/>
                  </a:cubicBezTo>
                  <a:cubicBezTo>
                    <a:pt x="407" y="480"/>
                    <a:pt x="389" y="433"/>
                    <a:pt x="389" y="401"/>
                  </a:cubicBezTo>
                  <a:cubicBezTo>
                    <a:pt x="389" y="350"/>
                    <a:pt x="376" y="297"/>
                    <a:pt x="363" y="26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10898609" y="8176631"/>
              <a:ext cx="381986" cy="288165"/>
            </a:xfrm>
            <a:custGeom>
              <a:avLst/>
              <a:gdLst>
                <a:gd name="T0" fmla="*/ 252 w 757"/>
                <a:gd name="T1" fmla="*/ 303 h 572"/>
                <a:gd name="T2" fmla="*/ 299 w 757"/>
                <a:gd name="T3" fmla="*/ 292 h 572"/>
                <a:gd name="T4" fmla="*/ 374 w 757"/>
                <a:gd name="T5" fmla="*/ 276 h 572"/>
                <a:gd name="T6" fmla="*/ 453 w 757"/>
                <a:gd name="T7" fmla="*/ 376 h 572"/>
                <a:gd name="T8" fmla="*/ 467 w 757"/>
                <a:gd name="T9" fmla="*/ 436 h 572"/>
                <a:gd name="T10" fmla="*/ 470 w 757"/>
                <a:gd name="T11" fmla="*/ 443 h 572"/>
                <a:gd name="T12" fmla="*/ 542 w 757"/>
                <a:gd name="T13" fmla="*/ 430 h 572"/>
                <a:gd name="T14" fmla="*/ 570 w 757"/>
                <a:gd name="T15" fmla="*/ 515 h 572"/>
                <a:gd name="T16" fmla="*/ 618 w 757"/>
                <a:gd name="T17" fmla="*/ 550 h 572"/>
                <a:gd name="T18" fmla="*/ 657 w 757"/>
                <a:gd name="T19" fmla="*/ 519 h 572"/>
                <a:gd name="T20" fmla="*/ 677 w 757"/>
                <a:gd name="T21" fmla="*/ 534 h 572"/>
                <a:gd name="T22" fmla="*/ 704 w 757"/>
                <a:gd name="T23" fmla="*/ 504 h 572"/>
                <a:gd name="T24" fmla="*/ 695 w 757"/>
                <a:gd name="T25" fmla="*/ 445 h 572"/>
                <a:gd name="T26" fmla="*/ 741 w 757"/>
                <a:gd name="T27" fmla="*/ 438 h 572"/>
                <a:gd name="T28" fmla="*/ 724 w 757"/>
                <a:gd name="T29" fmla="*/ 376 h 572"/>
                <a:gd name="T30" fmla="*/ 706 w 757"/>
                <a:gd name="T31" fmla="*/ 329 h 572"/>
                <a:gd name="T32" fmla="*/ 706 w 757"/>
                <a:gd name="T33" fmla="*/ 250 h 572"/>
                <a:gd name="T34" fmla="*/ 693 w 757"/>
                <a:gd name="T35" fmla="*/ 236 h 572"/>
                <a:gd name="T36" fmla="*/ 669 w 757"/>
                <a:gd name="T37" fmla="*/ 180 h 572"/>
                <a:gd name="T38" fmla="*/ 669 w 757"/>
                <a:gd name="T39" fmla="*/ 144 h 572"/>
                <a:gd name="T40" fmla="*/ 634 w 757"/>
                <a:gd name="T41" fmla="*/ 97 h 572"/>
                <a:gd name="T42" fmla="*/ 595 w 757"/>
                <a:gd name="T43" fmla="*/ 23 h 572"/>
                <a:gd name="T44" fmla="*/ 524 w 757"/>
                <a:gd name="T45" fmla="*/ 73 h 572"/>
                <a:gd name="T46" fmla="*/ 456 w 757"/>
                <a:gd name="T47" fmla="*/ 68 h 572"/>
                <a:gd name="T48" fmla="*/ 400 w 757"/>
                <a:gd name="T49" fmla="*/ 76 h 572"/>
                <a:gd name="T50" fmla="*/ 371 w 757"/>
                <a:gd name="T51" fmla="*/ 50 h 572"/>
                <a:gd name="T52" fmla="*/ 371 w 757"/>
                <a:gd name="T53" fmla="*/ 33 h 572"/>
                <a:gd name="T54" fmla="*/ 360 w 757"/>
                <a:gd name="T55" fmla="*/ 37 h 572"/>
                <a:gd name="T56" fmla="*/ 214 w 757"/>
                <a:gd name="T57" fmla="*/ 28 h 572"/>
                <a:gd name="T58" fmla="*/ 144 w 757"/>
                <a:gd name="T59" fmla="*/ 0 h 572"/>
                <a:gd name="T60" fmla="*/ 121 w 757"/>
                <a:gd name="T61" fmla="*/ 46 h 572"/>
                <a:gd name="T62" fmla="*/ 128 w 757"/>
                <a:gd name="T63" fmla="*/ 93 h 572"/>
                <a:gd name="T64" fmla="*/ 93 w 757"/>
                <a:gd name="T65" fmla="*/ 108 h 572"/>
                <a:gd name="T66" fmla="*/ 11 w 757"/>
                <a:gd name="T67" fmla="*/ 157 h 572"/>
                <a:gd name="T68" fmla="*/ 0 w 757"/>
                <a:gd name="T69" fmla="*/ 167 h 572"/>
                <a:gd name="T70" fmla="*/ 71 w 757"/>
                <a:gd name="T71" fmla="*/ 255 h 572"/>
                <a:gd name="T72" fmla="*/ 184 w 757"/>
                <a:gd name="T73" fmla="*/ 378 h 572"/>
                <a:gd name="T74" fmla="*/ 252 w 757"/>
                <a:gd name="T75" fmla="*/ 303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57" h="572">
                  <a:moveTo>
                    <a:pt x="252" y="303"/>
                  </a:moveTo>
                  <a:cubicBezTo>
                    <a:pt x="254" y="279"/>
                    <a:pt x="274" y="287"/>
                    <a:pt x="299" y="292"/>
                  </a:cubicBezTo>
                  <a:cubicBezTo>
                    <a:pt x="323" y="296"/>
                    <a:pt x="352" y="276"/>
                    <a:pt x="374" y="276"/>
                  </a:cubicBezTo>
                  <a:cubicBezTo>
                    <a:pt x="396" y="276"/>
                    <a:pt x="453" y="354"/>
                    <a:pt x="453" y="376"/>
                  </a:cubicBezTo>
                  <a:cubicBezTo>
                    <a:pt x="453" y="398"/>
                    <a:pt x="456" y="418"/>
                    <a:pt x="467" y="436"/>
                  </a:cubicBezTo>
                  <a:cubicBezTo>
                    <a:pt x="468" y="438"/>
                    <a:pt x="469" y="440"/>
                    <a:pt x="470" y="443"/>
                  </a:cubicBezTo>
                  <a:cubicBezTo>
                    <a:pt x="506" y="435"/>
                    <a:pt x="535" y="430"/>
                    <a:pt x="542" y="430"/>
                  </a:cubicBezTo>
                  <a:cubicBezTo>
                    <a:pt x="553" y="430"/>
                    <a:pt x="575" y="482"/>
                    <a:pt x="570" y="515"/>
                  </a:cubicBezTo>
                  <a:cubicBezTo>
                    <a:pt x="566" y="548"/>
                    <a:pt x="603" y="572"/>
                    <a:pt x="618" y="550"/>
                  </a:cubicBezTo>
                  <a:cubicBezTo>
                    <a:pt x="633" y="528"/>
                    <a:pt x="653" y="500"/>
                    <a:pt x="657" y="519"/>
                  </a:cubicBezTo>
                  <a:cubicBezTo>
                    <a:pt x="659" y="525"/>
                    <a:pt x="667" y="530"/>
                    <a:pt x="677" y="534"/>
                  </a:cubicBezTo>
                  <a:cubicBezTo>
                    <a:pt x="683" y="521"/>
                    <a:pt x="695" y="516"/>
                    <a:pt x="704" y="504"/>
                  </a:cubicBezTo>
                  <a:cubicBezTo>
                    <a:pt x="717" y="487"/>
                    <a:pt x="684" y="467"/>
                    <a:pt x="695" y="445"/>
                  </a:cubicBezTo>
                  <a:cubicBezTo>
                    <a:pt x="706" y="422"/>
                    <a:pt x="726" y="453"/>
                    <a:pt x="741" y="438"/>
                  </a:cubicBezTo>
                  <a:cubicBezTo>
                    <a:pt x="757" y="422"/>
                    <a:pt x="719" y="389"/>
                    <a:pt x="724" y="376"/>
                  </a:cubicBezTo>
                  <a:cubicBezTo>
                    <a:pt x="728" y="363"/>
                    <a:pt x="726" y="340"/>
                    <a:pt x="706" y="329"/>
                  </a:cubicBezTo>
                  <a:cubicBezTo>
                    <a:pt x="689" y="320"/>
                    <a:pt x="699" y="283"/>
                    <a:pt x="706" y="250"/>
                  </a:cubicBezTo>
                  <a:cubicBezTo>
                    <a:pt x="701" y="246"/>
                    <a:pt x="696" y="241"/>
                    <a:pt x="693" y="236"/>
                  </a:cubicBezTo>
                  <a:cubicBezTo>
                    <a:pt x="681" y="218"/>
                    <a:pt x="690" y="180"/>
                    <a:pt x="669" y="180"/>
                  </a:cubicBezTo>
                  <a:cubicBezTo>
                    <a:pt x="648" y="180"/>
                    <a:pt x="651" y="150"/>
                    <a:pt x="669" y="144"/>
                  </a:cubicBezTo>
                  <a:cubicBezTo>
                    <a:pt x="687" y="138"/>
                    <a:pt x="634" y="118"/>
                    <a:pt x="634" y="97"/>
                  </a:cubicBezTo>
                  <a:cubicBezTo>
                    <a:pt x="634" y="76"/>
                    <a:pt x="607" y="26"/>
                    <a:pt x="595" y="23"/>
                  </a:cubicBezTo>
                  <a:cubicBezTo>
                    <a:pt x="583" y="20"/>
                    <a:pt x="542" y="73"/>
                    <a:pt x="524" y="73"/>
                  </a:cubicBezTo>
                  <a:cubicBezTo>
                    <a:pt x="507" y="73"/>
                    <a:pt x="468" y="38"/>
                    <a:pt x="456" y="68"/>
                  </a:cubicBezTo>
                  <a:cubicBezTo>
                    <a:pt x="445" y="97"/>
                    <a:pt x="418" y="53"/>
                    <a:pt x="400" y="76"/>
                  </a:cubicBezTo>
                  <a:cubicBezTo>
                    <a:pt x="383" y="100"/>
                    <a:pt x="371" y="50"/>
                    <a:pt x="371" y="50"/>
                  </a:cubicBezTo>
                  <a:cubicBezTo>
                    <a:pt x="371" y="50"/>
                    <a:pt x="371" y="43"/>
                    <a:pt x="371" y="33"/>
                  </a:cubicBezTo>
                  <a:cubicBezTo>
                    <a:pt x="368" y="35"/>
                    <a:pt x="364" y="36"/>
                    <a:pt x="360" y="37"/>
                  </a:cubicBezTo>
                  <a:cubicBezTo>
                    <a:pt x="310" y="55"/>
                    <a:pt x="219" y="44"/>
                    <a:pt x="214" y="28"/>
                  </a:cubicBezTo>
                  <a:cubicBezTo>
                    <a:pt x="210" y="13"/>
                    <a:pt x="144" y="0"/>
                    <a:pt x="144" y="0"/>
                  </a:cubicBezTo>
                  <a:cubicBezTo>
                    <a:pt x="144" y="0"/>
                    <a:pt x="146" y="37"/>
                    <a:pt x="121" y="46"/>
                  </a:cubicBezTo>
                  <a:cubicBezTo>
                    <a:pt x="97" y="55"/>
                    <a:pt x="128" y="84"/>
                    <a:pt x="128" y="93"/>
                  </a:cubicBezTo>
                  <a:cubicBezTo>
                    <a:pt x="128" y="101"/>
                    <a:pt x="108" y="115"/>
                    <a:pt x="93" y="108"/>
                  </a:cubicBezTo>
                  <a:cubicBezTo>
                    <a:pt x="77" y="101"/>
                    <a:pt x="33" y="141"/>
                    <a:pt x="11" y="157"/>
                  </a:cubicBezTo>
                  <a:cubicBezTo>
                    <a:pt x="8" y="159"/>
                    <a:pt x="4" y="162"/>
                    <a:pt x="0" y="167"/>
                  </a:cubicBezTo>
                  <a:cubicBezTo>
                    <a:pt x="34" y="195"/>
                    <a:pt x="31" y="226"/>
                    <a:pt x="71" y="255"/>
                  </a:cubicBezTo>
                  <a:cubicBezTo>
                    <a:pt x="108" y="282"/>
                    <a:pt x="155" y="319"/>
                    <a:pt x="184" y="378"/>
                  </a:cubicBezTo>
                  <a:cubicBezTo>
                    <a:pt x="212" y="353"/>
                    <a:pt x="251" y="319"/>
                    <a:pt x="252" y="30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11079549" y="8394430"/>
              <a:ext cx="212773" cy="201045"/>
            </a:xfrm>
            <a:custGeom>
              <a:avLst/>
              <a:gdLst>
                <a:gd name="T0" fmla="*/ 339 w 421"/>
                <a:gd name="T1" fmla="*/ 232 h 400"/>
                <a:gd name="T2" fmla="*/ 306 w 421"/>
                <a:gd name="T3" fmla="*/ 201 h 400"/>
                <a:gd name="T4" fmla="*/ 317 w 421"/>
                <a:gd name="T5" fmla="*/ 130 h 400"/>
                <a:gd name="T6" fmla="*/ 319 w 421"/>
                <a:gd name="T7" fmla="*/ 104 h 400"/>
                <a:gd name="T8" fmla="*/ 299 w 421"/>
                <a:gd name="T9" fmla="*/ 89 h 400"/>
                <a:gd name="T10" fmla="*/ 260 w 421"/>
                <a:gd name="T11" fmla="*/ 120 h 400"/>
                <a:gd name="T12" fmla="*/ 212 w 421"/>
                <a:gd name="T13" fmla="*/ 85 h 400"/>
                <a:gd name="T14" fmla="*/ 184 w 421"/>
                <a:gd name="T15" fmla="*/ 0 h 400"/>
                <a:gd name="T16" fmla="*/ 112 w 421"/>
                <a:gd name="T17" fmla="*/ 13 h 400"/>
                <a:gd name="T18" fmla="*/ 102 w 421"/>
                <a:gd name="T19" fmla="*/ 63 h 400"/>
                <a:gd name="T20" fmla="*/ 22 w 421"/>
                <a:gd name="T21" fmla="*/ 130 h 400"/>
                <a:gd name="T22" fmla="*/ 0 w 421"/>
                <a:gd name="T23" fmla="*/ 163 h 400"/>
                <a:gd name="T24" fmla="*/ 129 w 421"/>
                <a:gd name="T25" fmla="*/ 250 h 400"/>
                <a:gd name="T26" fmla="*/ 363 w 421"/>
                <a:gd name="T27" fmla="*/ 396 h 400"/>
                <a:gd name="T28" fmla="*/ 387 w 421"/>
                <a:gd name="T29" fmla="*/ 400 h 400"/>
                <a:gd name="T30" fmla="*/ 416 w 421"/>
                <a:gd name="T31" fmla="*/ 307 h 400"/>
                <a:gd name="T32" fmla="*/ 339 w 421"/>
                <a:gd name="T33" fmla="*/ 232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1" h="400">
                  <a:moveTo>
                    <a:pt x="339" y="232"/>
                  </a:moveTo>
                  <a:cubicBezTo>
                    <a:pt x="308" y="212"/>
                    <a:pt x="292" y="212"/>
                    <a:pt x="306" y="201"/>
                  </a:cubicBezTo>
                  <a:cubicBezTo>
                    <a:pt x="319" y="189"/>
                    <a:pt x="321" y="165"/>
                    <a:pt x="317" y="130"/>
                  </a:cubicBezTo>
                  <a:cubicBezTo>
                    <a:pt x="315" y="118"/>
                    <a:pt x="317" y="111"/>
                    <a:pt x="319" y="104"/>
                  </a:cubicBezTo>
                  <a:cubicBezTo>
                    <a:pt x="309" y="100"/>
                    <a:pt x="301" y="95"/>
                    <a:pt x="299" y="89"/>
                  </a:cubicBezTo>
                  <a:cubicBezTo>
                    <a:pt x="295" y="70"/>
                    <a:pt x="275" y="98"/>
                    <a:pt x="260" y="120"/>
                  </a:cubicBezTo>
                  <a:cubicBezTo>
                    <a:pt x="245" y="142"/>
                    <a:pt x="208" y="118"/>
                    <a:pt x="212" y="85"/>
                  </a:cubicBezTo>
                  <a:cubicBezTo>
                    <a:pt x="217" y="52"/>
                    <a:pt x="195" y="0"/>
                    <a:pt x="184" y="0"/>
                  </a:cubicBezTo>
                  <a:cubicBezTo>
                    <a:pt x="177" y="0"/>
                    <a:pt x="148" y="5"/>
                    <a:pt x="112" y="13"/>
                  </a:cubicBezTo>
                  <a:cubicBezTo>
                    <a:pt x="117" y="28"/>
                    <a:pt x="106" y="46"/>
                    <a:pt x="102" y="63"/>
                  </a:cubicBezTo>
                  <a:cubicBezTo>
                    <a:pt x="98" y="83"/>
                    <a:pt x="45" y="112"/>
                    <a:pt x="22" y="130"/>
                  </a:cubicBezTo>
                  <a:cubicBezTo>
                    <a:pt x="16" y="135"/>
                    <a:pt x="8" y="147"/>
                    <a:pt x="0" y="163"/>
                  </a:cubicBezTo>
                  <a:cubicBezTo>
                    <a:pt x="41" y="190"/>
                    <a:pt x="90" y="220"/>
                    <a:pt x="129" y="250"/>
                  </a:cubicBezTo>
                  <a:cubicBezTo>
                    <a:pt x="202" y="305"/>
                    <a:pt x="311" y="377"/>
                    <a:pt x="363" y="396"/>
                  </a:cubicBezTo>
                  <a:cubicBezTo>
                    <a:pt x="369" y="399"/>
                    <a:pt x="378" y="400"/>
                    <a:pt x="387" y="400"/>
                  </a:cubicBezTo>
                  <a:cubicBezTo>
                    <a:pt x="399" y="344"/>
                    <a:pt x="412" y="337"/>
                    <a:pt x="416" y="307"/>
                  </a:cubicBezTo>
                  <a:cubicBezTo>
                    <a:pt x="421" y="274"/>
                    <a:pt x="370" y="251"/>
                    <a:pt x="339" y="2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10990755" y="8315688"/>
              <a:ext cx="149109" cy="160836"/>
            </a:xfrm>
            <a:custGeom>
              <a:avLst/>
              <a:gdLst>
                <a:gd name="T0" fmla="*/ 276 w 294"/>
                <a:gd name="T1" fmla="*/ 217 h 317"/>
                <a:gd name="T2" fmla="*/ 283 w 294"/>
                <a:gd name="T3" fmla="*/ 160 h 317"/>
                <a:gd name="T4" fmla="*/ 269 w 294"/>
                <a:gd name="T5" fmla="*/ 100 h 317"/>
                <a:gd name="T6" fmla="*/ 190 w 294"/>
                <a:gd name="T7" fmla="*/ 0 h 317"/>
                <a:gd name="T8" fmla="*/ 115 w 294"/>
                <a:gd name="T9" fmla="*/ 16 h 317"/>
                <a:gd name="T10" fmla="*/ 68 w 294"/>
                <a:gd name="T11" fmla="*/ 27 h 317"/>
                <a:gd name="T12" fmla="*/ 0 w 294"/>
                <a:gd name="T13" fmla="*/ 102 h 317"/>
                <a:gd name="T14" fmla="*/ 14 w 294"/>
                <a:gd name="T15" fmla="*/ 138 h 317"/>
                <a:gd name="T16" fmla="*/ 94 w 294"/>
                <a:gd name="T17" fmla="*/ 264 h 317"/>
                <a:gd name="T18" fmla="*/ 174 w 294"/>
                <a:gd name="T19" fmla="*/ 317 h 317"/>
                <a:gd name="T20" fmla="*/ 196 w 294"/>
                <a:gd name="T21" fmla="*/ 284 h 317"/>
                <a:gd name="T22" fmla="*/ 276 w 294"/>
                <a:gd name="T23" fmla="*/ 21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4" h="317">
                  <a:moveTo>
                    <a:pt x="276" y="217"/>
                  </a:moveTo>
                  <a:cubicBezTo>
                    <a:pt x="281" y="197"/>
                    <a:pt x="294" y="177"/>
                    <a:pt x="283" y="160"/>
                  </a:cubicBezTo>
                  <a:cubicBezTo>
                    <a:pt x="272" y="142"/>
                    <a:pt x="269" y="122"/>
                    <a:pt x="269" y="100"/>
                  </a:cubicBezTo>
                  <a:cubicBezTo>
                    <a:pt x="269" y="78"/>
                    <a:pt x="212" y="0"/>
                    <a:pt x="190" y="0"/>
                  </a:cubicBezTo>
                  <a:cubicBezTo>
                    <a:pt x="168" y="0"/>
                    <a:pt x="139" y="20"/>
                    <a:pt x="115" y="16"/>
                  </a:cubicBezTo>
                  <a:cubicBezTo>
                    <a:pt x="90" y="11"/>
                    <a:pt x="70" y="3"/>
                    <a:pt x="68" y="27"/>
                  </a:cubicBezTo>
                  <a:cubicBezTo>
                    <a:pt x="67" y="43"/>
                    <a:pt x="28" y="77"/>
                    <a:pt x="0" y="102"/>
                  </a:cubicBezTo>
                  <a:cubicBezTo>
                    <a:pt x="5" y="113"/>
                    <a:pt x="10" y="125"/>
                    <a:pt x="14" y="138"/>
                  </a:cubicBezTo>
                  <a:cubicBezTo>
                    <a:pt x="38" y="219"/>
                    <a:pt x="60" y="236"/>
                    <a:pt x="94" y="264"/>
                  </a:cubicBezTo>
                  <a:cubicBezTo>
                    <a:pt x="109" y="276"/>
                    <a:pt x="139" y="295"/>
                    <a:pt x="174" y="317"/>
                  </a:cubicBezTo>
                  <a:cubicBezTo>
                    <a:pt x="182" y="301"/>
                    <a:pt x="190" y="289"/>
                    <a:pt x="196" y="284"/>
                  </a:cubicBezTo>
                  <a:cubicBezTo>
                    <a:pt x="219" y="266"/>
                    <a:pt x="272" y="237"/>
                    <a:pt x="276" y="2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10801437" y="7380828"/>
              <a:ext cx="425546" cy="343452"/>
            </a:xfrm>
            <a:custGeom>
              <a:avLst/>
              <a:gdLst>
                <a:gd name="T0" fmla="*/ 393 w 840"/>
                <a:gd name="T1" fmla="*/ 524 h 680"/>
                <a:gd name="T2" fmla="*/ 498 w 840"/>
                <a:gd name="T3" fmla="*/ 449 h 680"/>
                <a:gd name="T4" fmla="*/ 498 w 840"/>
                <a:gd name="T5" fmla="*/ 182 h 680"/>
                <a:gd name="T6" fmla="*/ 833 w 840"/>
                <a:gd name="T7" fmla="*/ 182 h 680"/>
                <a:gd name="T8" fmla="*/ 835 w 840"/>
                <a:gd name="T9" fmla="*/ 39 h 680"/>
                <a:gd name="T10" fmla="*/ 763 w 840"/>
                <a:gd name="T11" fmla="*/ 0 h 680"/>
                <a:gd name="T12" fmla="*/ 392 w 840"/>
                <a:gd name="T13" fmla="*/ 0 h 680"/>
                <a:gd name="T14" fmla="*/ 338 w 840"/>
                <a:gd name="T15" fmla="*/ 92 h 680"/>
                <a:gd name="T16" fmla="*/ 205 w 840"/>
                <a:gd name="T17" fmla="*/ 275 h 680"/>
                <a:gd name="T18" fmla="*/ 29 w 840"/>
                <a:gd name="T19" fmla="*/ 586 h 680"/>
                <a:gd name="T20" fmla="*/ 0 w 840"/>
                <a:gd name="T21" fmla="*/ 680 h 680"/>
                <a:gd name="T22" fmla="*/ 393 w 840"/>
                <a:gd name="T23" fmla="*/ 680 h 680"/>
                <a:gd name="T24" fmla="*/ 393 w 840"/>
                <a:gd name="T25" fmla="*/ 524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0" h="680">
                  <a:moveTo>
                    <a:pt x="393" y="524"/>
                  </a:moveTo>
                  <a:cubicBezTo>
                    <a:pt x="393" y="501"/>
                    <a:pt x="498" y="472"/>
                    <a:pt x="498" y="449"/>
                  </a:cubicBezTo>
                  <a:cubicBezTo>
                    <a:pt x="498" y="426"/>
                    <a:pt x="498" y="182"/>
                    <a:pt x="498" y="182"/>
                  </a:cubicBezTo>
                  <a:cubicBezTo>
                    <a:pt x="498" y="182"/>
                    <a:pt x="823" y="189"/>
                    <a:pt x="833" y="182"/>
                  </a:cubicBezTo>
                  <a:cubicBezTo>
                    <a:pt x="838" y="179"/>
                    <a:pt x="837" y="108"/>
                    <a:pt x="835" y="39"/>
                  </a:cubicBezTo>
                  <a:cubicBezTo>
                    <a:pt x="823" y="18"/>
                    <a:pt x="840" y="0"/>
                    <a:pt x="763" y="0"/>
                  </a:cubicBezTo>
                  <a:cubicBezTo>
                    <a:pt x="700" y="0"/>
                    <a:pt x="516" y="0"/>
                    <a:pt x="392" y="0"/>
                  </a:cubicBezTo>
                  <a:cubicBezTo>
                    <a:pt x="364" y="27"/>
                    <a:pt x="348" y="63"/>
                    <a:pt x="338" y="92"/>
                  </a:cubicBezTo>
                  <a:cubicBezTo>
                    <a:pt x="320" y="139"/>
                    <a:pt x="209" y="209"/>
                    <a:pt x="205" y="275"/>
                  </a:cubicBezTo>
                  <a:cubicBezTo>
                    <a:pt x="200" y="341"/>
                    <a:pt x="97" y="445"/>
                    <a:pt x="29" y="586"/>
                  </a:cubicBezTo>
                  <a:cubicBezTo>
                    <a:pt x="10" y="625"/>
                    <a:pt x="2" y="656"/>
                    <a:pt x="0" y="680"/>
                  </a:cubicBezTo>
                  <a:cubicBezTo>
                    <a:pt x="393" y="680"/>
                    <a:pt x="393" y="680"/>
                    <a:pt x="393" y="680"/>
                  </a:cubicBezTo>
                  <a:cubicBezTo>
                    <a:pt x="393" y="680"/>
                    <a:pt x="393" y="547"/>
                    <a:pt x="393" y="52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3" name="Freeform 33"/>
            <p:cNvSpPr>
              <a:spLocks/>
            </p:cNvSpPr>
            <p:nvPr/>
          </p:nvSpPr>
          <p:spPr bwMode="auto">
            <a:xfrm>
              <a:off x="10799762" y="7400932"/>
              <a:ext cx="611513" cy="670151"/>
            </a:xfrm>
            <a:custGeom>
              <a:avLst/>
              <a:gdLst>
                <a:gd name="T0" fmla="*/ 96 w 1213"/>
                <a:gd name="T1" fmla="*/ 1147 h 1328"/>
                <a:gd name="T2" fmla="*/ 187 w 1213"/>
                <a:gd name="T3" fmla="*/ 1147 h 1328"/>
                <a:gd name="T4" fmla="*/ 264 w 1213"/>
                <a:gd name="T5" fmla="*/ 1140 h 1328"/>
                <a:gd name="T6" fmla="*/ 320 w 1213"/>
                <a:gd name="T7" fmla="*/ 1190 h 1328"/>
                <a:gd name="T8" fmla="*/ 355 w 1213"/>
                <a:gd name="T9" fmla="*/ 1190 h 1328"/>
                <a:gd name="T10" fmla="*/ 425 w 1213"/>
                <a:gd name="T11" fmla="*/ 1281 h 1328"/>
                <a:gd name="T12" fmla="*/ 473 w 1213"/>
                <a:gd name="T13" fmla="*/ 1328 h 1328"/>
                <a:gd name="T14" fmla="*/ 526 w 1213"/>
                <a:gd name="T15" fmla="*/ 1296 h 1328"/>
                <a:gd name="T16" fmla="*/ 584 w 1213"/>
                <a:gd name="T17" fmla="*/ 1273 h 1328"/>
                <a:gd name="T18" fmla="*/ 638 w 1213"/>
                <a:gd name="T19" fmla="*/ 1264 h 1328"/>
                <a:gd name="T20" fmla="*/ 705 w 1213"/>
                <a:gd name="T21" fmla="*/ 1269 h 1328"/>
                <a:gd name="T22" fmla="*/ 768 w 1213"/>
                <a:gd name="T23" fmla="*/ 1251 h 1328"/>
                <a:gd name="T24" fmla="*/ 1157 w 1213"/>
                <a:gd name="T25" fmla="*/ 1247 h 1328"/>
                <a:gd name="T26" fmla="*/ 1171 w 1213"/>
                <a:gd name="T27" fmla="*/ 1161 h 1328"/>
                <a:gd name="T28" fmla="*/ 1139 w 1213"/>
                <a:gd name="T29" fmla="*/ 1130 h 1328"/>
                <a:gd name="T30" fmla="*/ 1045 w 1213"/>
                <a:gd name="T31" fmla="*/ 248 h 1328"/>
                <a:gd name="T32" fmla="*/ 1213 w 1213"/>
                <a:gd name="T33" fmla="*/ 248 h 1328"/>
                <a:gd name="T34" fmla="*/ 861 w 1213"/>
                <a:gd name="T35" fmla="*/ 18 h 1328"/>
                <a:gd name="T36" fmla="*/ 841 w 1213"/>
                <a:gd name="T37" fmla="*/ 0 h 1328"/>
                <a:gd name="T38" fmla="*/ 839 w 1213"/>
                <a:gd name="T39" fmla="*/ 143 h 1328"/>
                <a:gd name="T40" fmla="*/ 504 w 1213"/>
                <a:gd name="T41" fmla="*/ 143 h 1328"/>
                <a:gd name="T42" fmla="*/ 504 w 1213"/>
                <a:gd name="T43" fmla="*/ 410 h 1328"/>
                <a:gd name="T44" fmla="*/ 399 w 1213"/>
                <a:gd name="T45" fmla="*/ 485 h 1328"/>
                <a:gd name="T46" fmla="*/ 399 w 1213"/>
                <a:gd name="T47" fmla="*/ 641 h 1328"/>
                <a:gd name="T48" fmla="*/ 6 w 1213"/>
                <a:gd name="T49" fmla="*/ 641 h 1328"/>
                <a:gd name="T50" fmla="*/ 62 w 1213"/>
                <a:gd name="T51" fmla="*/ 754 h 1328"/>
                <a:gd name="T52" fmla="*/ 84 w 1213"/>
                <a:gd name="T53" fmla="*/ 915 h 1328"/>
                <a:gd name="T54" fmla="*/ 51 w 1213"/>
                <a:gd name="T55" fmla="*/ 1111 h 1328"/>
                <a:gd name="T56" fmla="*/ 34 w 1213"/>
                <a:gd name="T57" fmla="*/ 1198 h 1328"/>
                <a:gd name="T58" fmla="*/ 39 w 1213"/>
                <a:gd name="T59" fmla="*/ 1197 h 1328"/>
                <a:gd name="T60" fmla="*/ 96 w 1213"/>
                <a:gd name="T61" fmla="*/ 1147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13" h="1328">
                  <a:moveTo>
                    <a:pt x="96" y="1147"/>
                  </a:moveTo>
                  <a:cubicBezTo>
                    <a:pt x="131" y="1155"/>
                    <a:pt x="187" y="1147"/>
                    <a:pt x="187" y="1147"/>
                  </a:cubicBezTo>
                  <a:cubicBezTo>
                    <a:pt x="187" y="1147"/>
                    <a:pt x="236" y="1126"/>
                    <a:pt x="264" y="1140"/>
                  </a:cubicBezTo>
                  <a:cubicBezTo>
                    <a:pt x="292" y="1155"/>
                    <a:pt x="320" y="1190"/>
                    <a:pt x="320" y="1190"/>
                  </a:cubicBezTo>
                  <a:cubicBezTo>
                    <a:pt x="355" y="1190"/>
                    <a:pt x="355" y="1190"/>
                    <a:pt x="355" y="1190"/>
                  </a:cubicBezTo>
                  <a:cubicBezTo>
                    <a:pt x="355" y="1190"/>
                    <a:pt x="383" y="1267"/>
                    <a:pt x="425" y="1281"/>
                  </a:cubicBezTo>
                  <a:cubicBezTo>
                    <a:pt x="450" y="1289"/>
                    <a:pt x="464" y="1311"/>
                    <a:pt x="473" y="1328"/>
                  </a:cubicBezTo>
                  <a:cubicBezTo>
                    <a:pt x="503" y="1327"/>
                    <a:pt x="526" y="1317"/>
                    <a:pt x="526" y="1296"/>
                  </a:cubicBezTo>
                  <a:cubicBezTo>
                    <a:pt x="526" y="1269"/>
                    <a:pt x="539" y="1233"/>
                    <a:pt x="584" y="1273"/>
                  </a:cubicBezTo>
                  <a:cubicBezTo>
                    <a:pt x="629" y="1314"/>
                    <a:pt x="629" y="1278"/>
                    <a:pt x="638" y="1264"/>
                  </a:cubicBezTo>
                  <a:cubicBezTo>
                    <a:pt x="647" y="1251"/>
                    <a:pt x="678" y="1269"/>
                    <a:pt x="705" y="1269"/>
                  </a:cubicBezTo>
                  <a:cubicBezTo>
                    <a:pt x="732" y="1269"/>
                    <a:pt x="768" y="1251"/>
                    <a:pt x="768" y="1251"/>
                  </a:cubicBezTo>
                  <a:cubicBezTo>
                    <a:pt x="768" y="1251"/>
                    <a:pt x="1139" y="1255"/>
                    <a:pt x="1157" y="1247"/>
                  </a:cubicBezTo>
                  <a:cubicBezTo>
                    <a:pt x="1175" y="1238"/>
                    <a:pt x="1171" y="1161"/>
                    <a:pt x="1171" y="1161"/>
                  </a:cubicBezTo>
                  <a:cubicBezTo>
                    <a:pt x="1139" y="1130"/>
                    <a:pt x="1139" y="1130"/>
                    <a:pt x="1139" y="1130"/>
                  </a:cubicBezTo>
                  <a:cubicBezTo>
                    <a:pt x="1045" y="248"/>
                    <a:pt x="1045" y="248"/>
                    <a:pt x="1045" y="248"/>
                  </a:cubicBezTo>
                  <a:cubicBezTo>
                    <a:pt x="1213" y="248"/>
                    <a:pt x="1213" y="248"/>
                    <a:pt x="1213" y="248"/>
                  </a:cubicBezTo>
                  <a:cubicBezTo>
                    <a:pt x="1034" y="129"/>
                    <a:pt x="880" y="29"/>
                    <a:pt x="861" y="18"/>
                  </a:cubicBezTo>
                  <a:cubicBezTo>
                    <a:pt x="850" y="11"/>
                    <a:pt x="844" y="5"/>
                    <a:pt x="841" y="0"/>
                  </a:cubicBezTo>
                  <a:cubicBezTo>
                    <a:pt x="843" y="69"/>
                    <a:pt x="844" y="140"/>
                    <a:pt x="839" y="143"/>
                  </a:cubicBezTo>
                  <a:cubicBezTo>
                    <a:pt x="829" y="150"/>
                    <a:pt x="504" y="143"/>
                    <a:pt x="504" y="143"/>
                  </a:cubicBezTo>
                  <a:cubicBezTo>
                    <a:pt x="504" y="143"/>
                    <a:pt x="504" y="387"/>
                    <a:pt x="504" y="410"/>
                  </a:cubicBezTo>
                  <a:cubicBezTo>
                    <a:pt x="504" y="433"/>
                    <a:pt x="399" y="462"/>
                    <a:pt x="399" y="485"/>
                  </a:cubicBezTo>
                  <a:cubicBezTo>
                    <a:pt x="399" y="508"/>
                    <a:pt x="399" y="641"/>
                    <a:pt x="399" y="641"/>
                  </a:cubicBezTo>
                  <a:cubicBezTo>
                    <a:pt x="6" y="641"/>
                    <a:pt x="6" y="641"/>
                    <a:pt x="6" y="641"/>
                  </a:cubicBezTo>
                  <a:cubicBezTo>
                    <a:pt x="0" y="706"/>
                    <a:pt x="39" y="728"/>
                    <a:pt x="62" y="754"/>
                  </a:cubicBezTo>
                  <a:cubicBezTo>
                    <a:pt x="93" y="789"/>
                    <a:pt x="38" y="851"/>
                    <a:pt x="84" y="915"/>
                  </a:cubicBezTo>
                  <a:cubicBezTo>
                    <a:pt x="129" y="978"/>
                    <a:pt x="73" y="1076"/>
                    <a:pt x="51" y="1111"/>
                  </a:cubicBezTo>
                  <a:cubicBezTo>
                    <a:pt x="39" y="1130"/>
                    <a:pt x="38" y="1164"/>
                    <a:pt x="34" y="1198"/>
                  </a:cubicBezTo>
                  <a:cubicBezTo>
                    <a:pt x="36" y="1198"/>
                    <a:pt x="38" y="1197"/>
                    <a:pt x="39" y="1197"/>
                  </a:cubicBezTo>
                  <a:cubicBezTo>
                    <a:pt x="68" y="1190"/>
                    <a:pt x="61" y="1140"/>
                    <a:pt x="96" y="114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4" name="Freeform 34"/>
            <p:cNvSpPr>
              <a:spLocks/>
            </p:cNvSpPr>
            <p:nvPr/>
          </p:nvSpPr>
          <p:spPr bwMode="auto">
            <a:xfrm>
              <a:off x="11037665" y="7526585"/>
              <a:ext cx="842715" cy="787427"/>
            </a:xfrm>
            <a:custGeom>
              <a:avLst/>
              <a:gdLst>
                <a:gd name="T0" fmla="*/ 1581 w 1669"/>
                <a:gd name="T1" fmla="*/ 647 h 1561"/>
                <a:gd name="T2" fmla="*/ 1531 w 1669"/>
                <a:gd name="T3" fmla="*/ 542 h 1561"/>
                <a:gd name="T4" fmla="*/ 1419 w 1669"/>
                <a:gd name="T5" fmla="*/ 507 h 1561"/>
                <a:gd name="T6" fmla="*/ 1356 w 1669"/>
                <a:gd name="T7" fmla="*/ 415 h 1561"/>
                <a:gd name="T8" fmla="*/ 740 w 1669"/>
                <a:gd name="T9" fmla="*/ 0 h 1561"/>
                <a:gd name="T10" fmla="*/ 572 w 1669"/>
                <a:gd name="T11" fmla="*/ 0 h 1561"/>
                <a:gd name="T12" fmla="*/ 666 w 1669"/>
                <a:gd name="T13" fmla="*/ 882 h 1561"/>
                <a:gd name="T14" fmla="*/ 698 w 1669"/>
                <a:gd name="T15" fmla="*/ 913 h 1561"/>
                <a:gd name="T16" fmla="*/ 684 w 1669"/>
                <a:gd name="T17" fmla="*/ 999 h 1561"/>
                <a:gd name="T18" fmla="*/ 295 w 1669"/>
                <a:gd name="T19" fmla="*/ 1003 h 1561"/>
                <a:gd name="T20" fmla="*/ 232 w 1669"/>
                <a:gd name="T21" fmla="*/ 1021 h 1561"/>
                <a:gd name="T22" fmla="*/ 165 w 1669"/>
                <a:gd name="T23" fmla="*/ 1016 h 1561"/>
                <a:gd name="T24" fmla="*/ 111 w 1669"/>
                <a:gd name="T25" fmla="*/ 1025 h 1561"/>
                <a:gd name="T26" fmla="*/ 53 w 1669"/>
                <a:gd name="T27" fmla="*/ 1048 h 1561"/>
                <a:gd name="T28" fmla="*/ 0 w 1669"/>
                <a:gd name="T29" fmla="*/ 1080 h 1561"/>
                <a:gd name="T30" fmla="*/ 9 w 1669"/>
                <a:gd name="T31" fmla="*/ 1103 h 1561"/>
                <a:gd name="T32" fmla="*/ 27 w 1669"/>
                <a:gd name="T33" fmla="*/ 1130 h 1561"/>
                <a:gd name="T34" fmla="*/ 42 w 1669"/>
                <a:gd name="T35" fmla="*/ 1192 h 1561"/>
                <a:gd name="T36" fmla="*/ 95 w 1669"/>
                <a:gd name="T37" fmla="*/ 1257 h 1561"/>
                <a:gd name="T38" fmla="*/ 95 w 1669"/>
                <a:gd name="T39" fmla="*/ 1337 h 1561"/>
                <a:gd name="T40" fmla="*/ 124 w 1669"/>
                <a:gd name="T41" fmla="*/ 1363 h 1561"/>
                <a:gd name="T42" fmla="*/ 180 w 1669"/>
                <a:gd name="T43" fmla="*/ 1355 h 1561"/>
                <a:gd name="T44" fmla="*/ 248 w 1669"/>
                <a:gd name="T45" fmla="*/ 1360 h 1561"/>
                <a:gd name="T46" fmla="*/ 319 w 1669"/>
                <a:gd name="T47" fmla="*/ 1310 h 1561"/>
                <a:gd name="T48" fmla="*/ 358 w 1669"/>
                <a:gd name="T49" fmla="*/ 1384 h 1561"/>
                <a:gd name="T50" fmla="*/ 393 w 1669"/>
                <a:gd name="T51" fmla="*/ 1431 h 1561"/>
                <a:gd name="T52" fmla="*/ 393 w 1669"/>
                <a:gd name="T53" fmla="*/ 1467 h 1561"/>
                <a:gd name="T54" fmla="*/ 417 w 1669"/>
                <a:gd name="T55" fmla="*/ 1523 h 1561"/>
                <a:gd name="T56" fmla="*/ 464 w 1669"/>
                <a:gd name="T57" fmla="*/ 1529 h 1561"/>
                <a:gd name="T58" fmla="*/ 514 w 1669"/>
                <a:gd name="T59" fmla="*/ 1543 h 1561"/>
                <a:gd name="T60" fmla="*/ 570 w 1669"/>
                <a:gd name="T61" fmla="*/ 1517 h 1561"/>
                <a:gd name="T62" fmla="*/ 620 w 1669"/>
                <a:gd name="T63" fmla="*/ 1511 h 1561"/>
                <a:gd name="T64" fmla="*/ 656 w 1669"/>
                <a:gd name="T65" fmla="*/ 1523 h 1561"/>
                <a:gd name="T66" fmla="*/ 684 w 1669"/>
                <a:gd name="T67" fmla="*/ 1517 h 1561"/>
                <a:gd name="T68" fmla="*/ 712 w 1669"/>
                <a:gd name="T69" fmla="*/ 1440 h 1561"/>
                <a:gd name="T70" fmla="*/ 706 w 1669"/>
                <a:gd name="T71" fmla="*/ 1375 h 1561"/>
                <a:gd name="T72" fmla="*/ 785 w 1669"/>
                <a:gd name="T73" fmla="*/ 1340 h 1561"/>
                <a:gd name="T74" fmla="*/ 818 w 1669"/>
                <a:gd name="T75" fmla="*/ 1278 h 1561"/>
                <a:gd name="T76" fmla="*/ 850 w 1669"/>
                <a:gd name="T77" fmla="*/ 1204 h 1561"/>
                <a:gd name="T78" fmla="*/ 912 w 1669"/>
                <a:gd name="T79" fmla="*/ 1207 h 1561"/>
                <a:gd name="T80" fmla="*/ 957 w 1669"/>
                <a:gd name="T81" fmla="*/ 1160 h 1561"/>
                <a:gd name="T82" fmla="*/ 1004 w 1669"/>
                <a:gd name="T83" fmla="*/ 1136 h 1561"/>
                <a:gd name="T84" fmla="*/ 1042 w 1669"/>
                <a:gd name="T85" fmla="*/ 1115 h 1561"/>
                <a:gd name="T86" fmla="*/ 1128 w 1669"/>
                <a:gd name="T87" fmla="*/ 1080 h 1561"/>
                <a:gd name="T88" fmla="*/ 1202 w 1669"/>
                <a:gd name="T89" fmla="*/ 1048 h 1561"/>
                <a:gd name="T90" fmla="*/ 1329 w 1669"/>
                <a:gd name="T91" fmla="*/ 1053 h 1561"/>
                <a:gd name="T92" fmla="*/ 1408 w 1669"/>
                <a:gd name="T93" fmla="*/ 1027 h 1561"/>
                <a:gd name="T94" fmla="*/ 1565 w 1669"/>
                <a:gd name="T95" fmla="*/ 1012 h 1561"/>
                <a:gd name="T96" fmla="*/ 1627 w 1669"/>
                <a:gd name="T97" fmla="*/ 968 h 1561"/>
                <a:gd name="T98" fmla="*/ 1659 w 1669"/>
                <a:gd name="T99" fmla="*/ 894 h 1561"/>
                <a:gd name="T100" fmla="*/ 1666 w 1669"/>
                <a:gd name="T101" fmla="*/ 629 h 1561"/>
                <a:gd name="T102" fmla="*/ 1581 w 1669"/>
                <a:gd name="T103" fmla="*/ 647 h 1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69" h="1561">
                  <a:moveTo>
                    <a:pt x="1581" y="647"/>
                  </a:moveTo>
                  <a:cubicBezTo>
                    <a:pt x="1581" y="647"/>
                    <a:pt x="1581" y="570"/>
                    <a:pt x="1531" y="542"/>
                  </a:cubicBezTo>
                  <a:cubicBezTo>
                    <a:pt x="1482" y="514"/>
                    <a:pt x="1419" y="507"/>
                    <a:pt x="1419" y="507"/>
                  </a:cubicBezTo>
                  <a:cubicBezTo>
                    <a:pt x="1419" y="507"/>
                    <a:pt x="1384" y="443"/>
                    <a:pt x="1356" y="415"/>
                  </a:cubicBezTo>
                  <a:cubicBezTo>
                    <a:pt x="1339" y="398"/>
                    <a:pt x="1011" y="179"/>
                    <a:pt x="740" y="0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666" y="882"/>
                    <a:pt x="666" y="882"/>
                    <a:pt x="666" y="882"/>
                  </a:cubicBezTo>
                  <a:cubicBezTo>
                    <a:pt x="698" y="913"/>
                    <a:pt x="698" y="913"/>
                    <a:pt x="698" y="913"/>
                  </a:cubicBezTo>
                  <a:cubicBezTo>
                    <a:pt x="698" y="913"/>
                    <a:pt x="702" y="990"/>
                    <a:pt x="684" y="999"/>
                  </a:cubicBezTo>
                  <a:cubicBezTo>
                    <a:pt x="666" y="1007"/>
                    <a:pt x="295" y="1003"/>
                    <a:pt x="295" y="1003"/>
                  </a:cubicBezTo>
                  <a:cubicBezTo>
                    <a:pt x="295" y="1003"/>
                    <a:pt x="259" y="1021"/>
                    <a:pt x="232" y="1021"/>
                  </a:cubicBezTo>
                  <a:cubicBezTo>
                    <a:pt x="205" y="1021"/>
                    <a:pt x="174" y="1003"/>
                    <a:pt x="165" y="1016"/>
                  </a:cubicBezTo>
                  <a:cubicBezTo>
                    <a:pt x="156" y="1030"/>
                    <a:pt x="156" y="1066"/>
                    <a:pt x="111" y="1025"/>
                  </a:cubicBezTo>
                  <a:cubicBezTo>
                    <a:pt x="66" y="985"/>
                    <a:pt x="53" y="1021"/>
                    <a:pt x="53" y="1048"/>
                  </a:cubicBezTo>
                  <a:cubicBezTo>
                    <a:pt x="53" y="1069"/>
                    <a:pt x="30" y="1079"/>
                    <a:pt x="0" y="1080"/>
                  </a:cubicBezTo>
                  <a:cubicBezTo>
                    <a:pt x="6" y="1093"/>
                    <a:pt x="9" y="1103"/>
                    <a:pt x="9" y="1103"/>
                  </a:cubicBezTo>
                  <a:cubicBezTo>
                    <a:pt x="27" y="1130"/>
                    <a:pt x="27" y="1130"/>
                    <a:pt x="27" y="1130"/>
                  </a:cubicBezTo>
                  <a:cubicBezTo>
                    <a:pt x="27" y="1130"/>
                    <a:pt x="24" y="1174"/>
                    <a:pt x="42" y="1192"/>
                  </a:cubicBezTo>
                  <a:cubicBezTo>
                    <a:pt x="59" y="1210"/>
                    <a:pt x="92" y="1242"/>
                    <a:pt x="95" y="1257"/>
                  </a:cubicBezTo>
                  <a:cubicBezTo>
                    <a:pt x="98" y="1272"/>
                    <a:pt x="95" y="1337"/>
                    <a:pt x="95" y="1337"/>
                  </a:cubicBezTo>
                  <a:cubicBezTo>
                    <a:pt x="95" y="1337"/>
                    <a:pt x="107" y="1387"/>
                    <a:pt x="124" y="1363"/>
                  </a:cubicBezTo>
                  <a:cubicBezTo>
                    <a:pt x="142" y="1340"/>
                    <a:pt x="169" y="1384"/>
                    <a:pt x="180" y="1355"/>
                  </a:cubicBezTo>
                  <a:cubicBezTo>
                    <a:pt x="192" y="1325"/>
                    <a:pt x="231" y="1360"/>
                    <a:pt x="248" y="1360"/>
                  </a:cubicBezTo>
                  <a:cubicBezTo>
                    <a:pt x="266" y="1360"/>
                    <a:pt x="307" y="1307"/>
                    <a:pt x="319" y="1310"/>
                  </a:cubicBezTo>
                  <a:cubicBezTo>
                    <a:pt x="331" y="1313"/>
                    <a:pt x="358" y="1363"/>
                    <a:pt x="358" y="1384"/>
                  </a:cubicBezTo>
                  <a:cubicBezTo>
                    <a:pt x="358" y="1405"/>
                    <a:pt x="411" y="1425"/>
                    <a:pt x="393" y="1431"/>
                  </a:cubicBezTo>
                  <a:cubicBezTo>
                    <a:pt x="375" y="1437"/>
                    <a:pt x="372" y="1467"/>
                    <a:pt x="393" y="1467"/>
                  </a:cubicBezTo>
                  <a:cubicBezTo>
                    <a:pt x="414" y="1467"/>
                    <a:pt x="405" y="1505"/>
                    <a:pt x="417" y="1523"/>
                  </a:cubicBezTo>
                  <a:cubicBezTo>
                    <a:pt x="428" y="1540"/>
                    <a:pt x="452" y="1555"/>
                    <a:pt x="464" y="1529"/>
                  </a:cubicBezTo>
                  <a:cubicBezTo>
                    <a:pt x="476" y="1502"/>
                    <a:pt x="502" y="1526"/>
                    <a:pt x="514" y="1543"/>
                  </a:cubicBezTo>
                  <a:cubicBezTo>
                    <a:pt x="526" y="1561"/>
                    <a:pt x="564" y="1540"/>
                    <a:pt x="570" y="1517"/>
                  </a:cubicBezTo>
                  <a:cubicBezTo>
                    <a:pt x="576" y="1493"/>
                    <a:pt x="623" y="1484"/>
                    <a:pt x="620" y="1511"/>
                  </a:cubicBezTo>
                  <a:cubicBezTo>
                    <a:pt x="617" y="1538"/>
                    <a:pt x="626" y="1543"/>
                    <a:pt x="656" y="1523"/>
                  </a:cubicBezTo>
                  <a:cubicBezTo>
                    <a:pt x="665" y="1516"/>
                    <a:pt x="674" y="1516"/>
                    <a:pt x="684" y="1517"/>
                  </a:cubicBezTo>
                  <a:cubicBezTo>
                    <a:pt x="694" y="1483"/>
                    <a:pt x="706" y="1451"/>
                    <a:pt x="712" y="1440"/>
                  </a:cubicBezTo>
                  <a:cubicBezTo>
                    <a:pt x="721" y="1422"/>
                    <a:pt x="691" y="1381"/>
                    <a:pt x="706" y="1375"/>
                  </a:cubicBezTo>
                  <a:cubicBezTo>
                    <a:pt x="721" y="1369"/>
                    <a:pt x="771" y="1381"/>
                    <a:pt x="785" y="1340"/>
                  </a:cubicBezTo>
                  <a:cubicBezTo>
                    <a:pt x="800" y="1298"/>
                    <a:pt x="818" y="1278"/>
                    <a:pt x="818" y="1278"/>
                  </a:cubicBezTo>
                  <a:cubicBezTo>
                    <a:pt x="818" y="1278"/>
                    <a:pt x="824" y="1189"/>
                    <a:pt x="850" y="1204"/>
                  </a:cubicBezTo>
                  <a:cubicBezTo>
                    <a:pt x="877" y="1219"/>
                    <a:pt x="909" y="1242"/>
                    <a:pt x="912" y="1207"/>
                  </a:cubicBezTo>
                  <a:cubicBezTo>
                    <a:pt x="915" y="1171"/>
                    <a:pt x="948" y="1192"/>
                    <a:pt x="957" y="1160"/>
                  </a:cubicBezTo>
                  <a:cubicBezTo>
                    <a:pt x="966" y="1127"/>
                    <a:pt x="983" y="1130"/>
                    <a:pt x="1004" y="1136"/>
                  </a:cubicBezTo>
                  <a:cubicBezTo>
                    <a:pt x="1025" y="1142"/>
                    <a:pt x="1042" y="1133"/>
                    <a:pt x="1042" y="1115"/>
                  </a:cubicBezTo>
                  <a:cubicBezTo>
                    <a:pt x="1042" y="1098"/>
                    <a:pt x="1089" y="1107"/>
                    <a:pt x="1128" y="1080"/>
                  </a:cubicBezTo>
                  <a:cubicBezTo>
                    <a:pt x="1166" y="1053"/>
                    <a:pt x="1187" y="1033"/>
                    <a:pt x="1202" y="1048"/>
                  </a:cubicBezTo>
                  <a:cubicBezTo>
                    <a:pt x="1216" y="1062"/>
                    <a:pt x="1314" y="1059"/>
                    <a:pt x="1329" y="1053"/>
                  </a:cubicBezTo>
                  <a:cubicBezTo>
                    <a:pt x="1343" y="1048"/>
                    <a:pt x="1373" y="1021"/>
                    <a:pt x="1408" y="1027"/>
                  </a:cubicBezTo>
                  <a:cubicBezTo>
                    <a:pt x="1444" y="1033"/>
                    <a:pt x="1529" y="1012"/>
                    <a:pt x="1565" y="1012"/>
                  </a:cubicBezTo>
                  <a:cubicBezTo>
                    <a:pt x="1600" y="1012"/>
                    <a:pt x="1615" y="980"/>
                    <a:pt x="1627" y="968"/>
                  </a:cubicBezTo>
                  <a:cubicBezTo>
                    <a:pt x="1638" y="956"/>
                    <a:pt x="1647" y="903"/>
                    <a:pt x="1659" y="894"/>
                  </a:cubicBezTo>
                  <a:cubicBezTo>
                    <a:pt x="1669" y="887"/>
                    <a:pt x="1667" y="702"/>
                    <a:pt x="1666" y="629"/>
                  </a:cubicBezTo>
                  <a:cubicBezTo>
                    <a:pt x="1630" y="636"/>
                    <a:pt x="1581" y="647"/>
                    <a:pt x="1581" y="64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11382793" y="8047628"/>
              <a:ext cx="415493" cy="296541"/>
            </a:xfrm>
            <a:custGeom>
              <a:avLst/>
              <a:gdLst>
                <a:gd name="T0" fmla="*/ 816 w 822"/>
                <a:gd name="T1" fmla="*/ 329 h 587"/>
                <a:gd name="T2" fmla="*/ 775 w 822"/>
                <a:gd name="T3" fmla="*/ 311 h 587"/>
                <a:gd name="T4" fmla="*/ 769 w 822"/>
                <a:gd name="T5" fmla="*/ 256 h 587"/>
                <a:gd name="T6" fmla="*/ 718 w 822"/>
                <a:gd name="T7" fmla="*/ 263 h 587"/>
                <a:gd name="T8" fmla="*/ 678 w 822"/>
                <a:gd name="T9" fmla="*/ 227 h 587"/>
                <a:gd name="T10" fmla="*/ 660 w 822"/>
                <a:gd name="T11" fmla="*/ 189 h 587"/>
                <a:gd name="T12" fmla="*/ 614 w 822"/>
                <a:gd name="T13" fmla="*/ 136 h 587"/>
                <a:gd name="T14" fmla="*/ 580 w 822"/>
                <a:gd name="T15" fmla="*/ 79 h 587"/>
                <a:gd name="T16" fmla="*/ 580 w 822"/>
                <a:gd name="T17" fmla="*/ 25 h 587"/>
                <a:gd name="T18" fmla="*/ 518 w 822"/>
                <a:gd name="T19" fmla="*/ 15 h 587"/>
                <a:gd name="T20" fmla="*/ 444 w 822"/>
                <a:gd name="T21" fmla="*/ 47 h 587"/>
                <a:gd name="T22" fmla="*/ 358 w 822"/>
                <a:gd name="T23" fmla="*/ 82 h 587"/>
                <a:gd name="T24" fmla="*/ 320 w 822"/>
                <a:gd name="T25" fmla="*/ 103 h 587"/>
                <a:gd name="T26" fmla="*/ 273 w 822"/>
                <a:gd name="T27" fmla="*/ 127 h 587"/>
                <a:gd name="T28" fmla="*/ 228 w 822"/>
                <a:gd name="T29" fmla="*/ 174 h 587"/>
                <a:gd name="T30" fmla="*/ 166 w 822"/>
                <a:gd name="T31" fmla="*/ 171 h 587"/>
                <a:gd name="T32" fmla="*/ 134 w 822"/>
                <a:gd name="T33" fmla="*/ 245 h 587"/>
                <a:gd name="T34" fmla="*/ 101 w 822"/>
                <a:gd name="T35" fmla="*/ 307 h 587"/>
                <a:gd name="T36" fmla="*/ 22 w 822"/>
                <a:gd name="T37" fmla="*/ 342 h 587"/>
                <a:gd name="T38" fmla="*/ 28 w 822"/>
                <a:gd name="T39" fmla="*/ 407 h 587"/>
                <a:gd name="T40" fmla="*/ 0 w 822"/>
                <a:gd name="T41" fmla="*/ 484 h 587"/>
                <a:gd name="T42" fmla="*/ 48 w 822"/>
                <a:gd name="T43" fmla="*/ 516 h 587"/>
                <a:gd name="T44" fmla="*/ 137 w 822"/>
                <a:gd name="T45" fmla="*/ 558 h 587"/>
                <a:gd name="T46" fmla="*/ 255 w 822"/>
                <a:gd name="T47" fmla="*/ 543 h 587"/>
                <a:gd name="T48" fmla="*/ 287 w 822"/>
                <a:gd name="T49" fmla="*/ 534 h 587"/>
                <a:gd name="T50" fmla="*/ 270 w 822"/>
                <a:gd name="T51" fmla="*/ 434 h 587"/>
                <a:gd name="T52" fmla="*/ 521 w 822"/>
                <a:gd name="T53" fmla="*/ 440 h 587"/>
                <a:gd name="T54" fmla="*/ 559 w 822"/>
                <a:gd name="T55" fmla="*/ 413 h 587"/>
                <a:gd name="T56" fmla="*/ 651 w 822"/>
                <a:gd name="T57" fmla="*/ 425 h 587"/>
                <a:gd name="T58" fmla="*/ 707 w 822"/>
                <a:gd name="T59" fmla="*/ 386 h 587"/>
                <a:gd name="T60" fmla="*/ 789 w 822"/>
                <a:gd name="T61" fmla="*/ 369 h 587"/>
                <a:gd name="T62" fmla="*/ 816 w 822"/>
                <a:gd name="T63" fmla="*/ 330 h 587"/>
                <a:gd name="T64" fmla="*/ 816 w 822"/>
                <a:gd name="T65" fmla="*/ 329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22" h="587">
                  <a:moveTo>
                    <a:pt x="816" y="329"/>
                  </a:moveTo>
                  <a:cubicBezTo>
                    <a:pt x="801" y="315"/>
                    <a:pt x="780" y="311"/>
                    <a:pt x="775" y="311"/>
                  </a:cubicBezTo>
                  <a:cubicBezTo>
                    <a:pt x="766" y="311"/>
                    <a:pt x="773" y="263"/>
                    <a:pt x="769" y="256"/>
                  </a:cubicBezTo>
                  <a:cubicBezTo>
                    <a:pt x="764" y="249"/>
                    <a:pt x="735" y="269"/>
                    <a:pt x="718" y="263"/>
                  </a:cubicBezTo>
                  <a:cubicBezTo>
                    <a:pt x="700" y="256"/>
                    <a:pt x="693" y="227"/>
                    <a:pt x="678" y="227"/>
                  </a:cubicBezTo>
                  <a:cubicBezTo>
                    <a:pt x="662" y="227"/>
                    <a:pt x="660" y="209"/>
                    <a:pt x="660" y="189"/>
                  </a:cubicBezTo>
                  <a:cubicBezTo>
                    <a:pt x="660" y="169"/>
                    <a:pt x="631" y="150"/>
                    <a:pt x="614" y="136"/>
                  </a:cubicBezTo>
                  <a:cubicBezTo>
                    <a:pt x="596" y="123"/>
                    <a:pt x="591" y="85"/>
                    <a:pt x="580" y="79"/>
                  </a:cubicBezTo>
                  <a:cubicBezTo>
                    <a:pt x="574" y="75"/>
                    <a:pt x="576" y="48"/>
                    <a:pt x="580" y="25"/>
                  </a:cubicBezTo>
                  <a:cubicBezTo>
                    <a:pt x="552" y="25"/>
                    <a:pt x="525" y="22"/>
                    <a:pt x="518" y="15"/>
                  </a:cubicBezTo>
                  <a:cubicBezTo>
                    <a:pt x="503" y="0"/>
                    <a:pt x="482" y="20"/>
                    <a:pt x="444" y="47"/>
                  </a:cubicBezTo>
                  <a:cubicBezTo>
                    <a:pt x="405" y="74"/>
                    <a:pt x="358" y="65"/>
                    <a:pt x="358" y="82"/>
                  </a:cubicBezTo>
                  <a:cubicBezTo>
                    <a:pt x="358" y="100"/>
                    <a:pt x="341" y="109"/>
                    <a:pt x="320" y="103"/>
                  </a:cubicBezTo>
                  <a:cubicBezTo>
                    <a:pt x="299" y="97"/>
                    <a:pt x="282" y="94"/>
                    <a:pt x="273" y="127"/>
                  </a:cubicBezTo>
                  <a:cubicBezTo>
                    <a:pt x="264" y="159"/>
                    <a:pt x="231" y="138"/>
                    <a:pt x="228" y="174"/>
                  </a:cubicBezTo>
                  <a:cubicBezTo>
                    <a:pt x="225" y="209"/>
                    <a:pt x="193" y="186"/>
                    <a:pt x="166" y="171"/>
                  </a:cubicBezTo>
                  <a:cubicBezTo>
                    <a:pt x="140" y="156"/>
                    <a:pt x="134" y="245"/>
                    <a:pt x="134" y="245"/>
                  </a:cubicBezTo>
                  <a:cubicBezTo>
                    <a:pt x="134" y="245"/>
                    <a:pt x="116" y="265"/>
                    <a:pt x="101" y="307"/>
                  </a:cubicBezTo>
                  <a:cubicBezTo>
                    <a:pt x="87" y="348"/>
                    <a:pt x="37" y="336"/>
                    <a:pt x="22" y="342"/>
                  </a:cubicBezTo>
                  <a:cubicBezTo>
                    <a:pt x="7" y="348"/>
                    <a:pt x="37" y="389"/>
                    <a:pt x="28" y="407"/>
                  </a:cubicBezTo>
                  <a:cubicBezTo>
                    <a:pt x="22" y="418"/>
                    <a:pt x="10" y="450"/>
                    <a:pt x="0" y="484"/>
                  </a:cubicBezTo>
                  <a:cubicBezTo>
                    <a:pt x="22" y="488"/>
                    <a:pt x="42" y="506"/>
                    <a:pt x="48" y="516"/>
                  </a:cubicBezTo>
                  <a:cubicBezTo>
                    <a:pt x="57" y="531"/>
                    <a:pt x="110" y="587"/>
                    <a:pt x="137" y="558"/>
                  </a:cubicBezTo>
                  <a:cubicBezTo>
                    <a:pt x="164" y="528"/>
                    <a:pt x="237" y="525"/>
                    <a:pt x="255" y="543"/>
                  </a:cubicBezTo>
                  <a:cubicBezTo>
                    <a:pt x="273" y="561"/>
                    <a:pt x="285" y="552"/>
                    <a:pt x="287" y="534"/>
                  </a:cubicBezTo>
                  <a:cubicBezTo>
                    <a:pt x="290" y="516"/>
                    <a:pt x="258" y="451"/>
                    <a:pt x="270" y="434"/>
                  </a:cubicBezTo>
                  <a:cubicBezTo>
                    <a:pt x="282" y="416"/>
                    <a:pt x="512" y="425"/>
                    <a:pt x="521" y="440"/>
                  </a:cubicBezTo>
                  <a:cubicBezTo>
                    <a:pt x="529" y="454"/>
                    <a:pt x="529" y="410"/>
                    <a:pt x="559" y="413"/>
                  </a:cubicBezTo>
                  <a:cubicBezTo>
                    <a:pt x="588" y="416"/>
                    <a:pt x="633" y="431"/>
                    <a:pt x="651" y="425"/>
                  </a:cubicBezTo>
                  <a:cubicBezTo>
                    <a:pt x="668" y="419"/>
                    <a:pt x="689" y="386"/>
                    <a:pt x="707" y="386"/>
                  </a:cubicBezTo>
                  <a:cubicBezTo>
                    <a:pt x="724" y="386"/>
                    <a:pt x="777" y="384"/>
                    <a:pt x="789" y="369"/>
                  </a:cubicBezTo>
                  <a:cubicBezTo>
                    <a:pt x="801" y="354"/>
                    <a:pt x="822" y="354"/>
                    <a:pt x="816" y="330"/>
                  </a:cubicBezTo>
                  <a:cubicBezTo>
                    <a:pt x="816" y="330"/>
                    <a:pt x="816" y="330"/>
                    <a:pt x="816" y="32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11672633" y="7608679"/>
              <a:ext cx="784076" cy="611512"/>
            </a:xfrm>
            <a:custGeom>
              <a:avLst/>
              <a:gdLst>
                <a:gd name="T0" fmla="*/ 1481 w 1552"/>
                <a:gd name="T1" fmla="*/ 176 h 1212"/>
                <a:gd name="T2" fmla="*/ 1476 w 1552"/>
                <a:gd name="T3" fmla="*/ 48 h 1212"/>
                <a:gd name="T4" fmla="*/ 1396 w 1552"/>
                <a:gd name="T5" fmla="*/ 91 h 1212"/>
                <a:gd name="T6" fmla="*/ 1333 w 1552"/>
                <a:gd name="T7" fmla="*/ 28 h 1212"/>
                <a:gd name="T8" fmla="*/ 1186 w 1552"/>
                <a:gd name="T9" fmla="*/ 0 h 1212"/>
                <a:gd name="T10" fmla="*/ 758 w 1552"/>
                <a:gd name="T11" fmla="*/ 266 h 1212"/>
                <a:gd name="T12" fmla="*/ 575 w 1552"/>
                <a:gd name="T13" fmla="*/ 414 h 1212"/>
                <a:gd name="T14" fmla="*/ 421 w 1552"/>
                <a:gd name="T15" fmla="*/ 463 h 1212"/>
                <a:gd name="T16" fmla="*/ 408 w 1552"/>
                <a:gd name="T17" fmla="*/ 466 h 1212"/>
                <a:gd name="T18" fmla="*/ 401 w 1552"/>
                <a:gd name="T19" fmla="*/ 731 h 1212"/>
                <a:gd name="T20" fmla="*/ 369 w 1552"/>
                <a:gd name="T21" fmla="*/ 805 h 1212"/>
                <a:gd name="T22" fmla="*/ 307 w 1552"/>
                <a:gd name="T23" fmla="*/ 849 h 1212"/>
                <a:gd name="T24" fmla="*/ 150 w 1552"/>
                <a:gd name="T25" fmla="*/ 864 h 1212"/>
                <a:gd name="T26" fmla="*/ 71 w 1552"/>
                <a:gd name="T27" fmla="*/ 890 h 1212"/>
                <a:gd name="T28" fmla="*/ 6 w 1552"/>
                <a:gd name="T29" fmla="*/ 895 h 1212"/>
                <a:gd name="T30" fmla="*/ 6 w 1552"/>
                <a:gd name="T31" fmla="*/ 949 h 1212"/>
                <a:gd name="T32" fmla="*/ 40 w 1552"/>
                <a:gd name="T33" fmla="*/ 1006 h 1212"/>
                <a:gd name="T34" fmla="*/ 86 w 1552"/>
                <a:gd name="T35" fmla="*/ 1059 h 1212"/>
                <a:gd name="T36" fmla="*/ 104 w 1552"/>
                <a:gd name="T37" fmla="*/ 1097 h 1212"/>
                <a:gd name="T38" fmla="*/ 144 w 1552"/>
                <a:gd name="T39" fmla="*/ 1133 h 1212"/>
                <a:gd name="T40" fmla="*/ 195 w 1552"/>
                <a:gd name="T41" fmla="*/ 1126 h 1212"/>
                <a:gd name="T42" fmla="*/ 201 w 1552"/>
                <a:gd name="T43" fmla="*/ 1181 h 1212"/>
                <a:gd name="T44" fmla="*/ 242 w 1552"/>
                <a:gd name="T45" fmla="*/ 1199 h 1212"/>
                <a:gd name="T46" fmla="*/ 277 w 1552"/>
                <a:gd name="T47" fmla="*/ 1153 h 1212"/>
                <a:gd name="T48" fmla="*/ 310 w 1552"/>
                <a:gd name="T49" fmla="*/ 1200 h 1212"/>
                <a:gd name="T50" fmla="*/ 351 w 1552"/>
                <a:gd name="T51" fmla="*/ 1183 h 1212"/>
                <a:gd name="T52" fmla="*/ 395 w 1552"/>
                <a:gd name="T53" fmla="*/ 1112 h 1212"/>
                <a:gd name="T54" fmla="*/ 419 w 1552"/>
                <a:gd name="T55" fmla="*/ 1032 h 1212"/>
                <a:gd name="T56" fmla="*/ 510 w 1552"/>
                <a:gd name="T57" fmla="*/ 1032 h 1212"/>
                <a:gd name="T58" fmla="*/ 569 w 1552"/>
                <a:gd name="T59" fmla="*/ 1011 h 1212"/>
                <a:gd name="T60" fmla="*/ 649 w 1552"/>
                <a:gd name="T61" fmla="*/ 1035 h 1212"/>
                <a:gd name="T62" fmla="*/ 705 w 1552"/>
                <a:gd name="T63" fmla="*/ 1088 h 1212"/>
                <a:gd name="T64" fmla="*/ 788 w 1552"/>
                <a:gd name="T65" fmla="*/ 1065 h 1212"/>
                <a:gd name="T66" fmla="*/ 865 w 1552"/>
                <a:gd name="T67" fmla="*/ 1106 h 1212"/>
                <a:gd name="T68" fmla="*/ 962 w 1552"/>
                <a:gd name="T69" fmla="*/ 1106 h 1212"/>
                <a:gd name="T70" fmla="*/ 1036 w 1552"/>
                <a:gd name="T71" fmla="*/ 1059 h 1212"/>
                <a:gd name="T72" fmla="*/ 1163 w 1552"/>
                <a:gd name="T73" fmla="*/ 1062 h 1212"/>
                <a:gd name="T74" fmla="*/ 1245 w 1552"/>
                <a:gd name="T75" fmla="*/ 1082 h 1212"/>
                <a:gd name="T76" fmla="*/ 1316 w 1552"/>
                <a:gd name="T77" fmla="*/ 1017 h 1212"/>
                <a:gd name="T78" fmla="*/ 1330 w 1552"/>
                <a:gd name="T79" fmla="*/ 1017 h 1212"/>
                <a:gd name="T80" fmla="*/ 1331 w 1552"/>
                <a:gd name="T81" fmla="*/ 985 h 1212"/>
                <a:gd name="T82" fmla="*/ 1352 w 1552"/>
                <a:gd name="T83" fmla="*/ 899 h 1212"/>
                <a:gd name="T84" fmla="*/ 1511 w 1552"/>
                <a:gd name="T85" fmla="*/ 699 h 1212"/>
                <a:gd name="T86" fmla="*/ 1523 w 1552"/>
                <a:gd name="T87" fmla="*/ 451 h 1212"/>
                <a:gd name="T88" fmla="*/ 1540 w 1552"/>
                <a:gd name="T89" fmla="*/ 344 h 1212"/>
                <a:gd name="T90" fmla="*/ 1523 w 1552"/>
                <a:gd name="T91" fmla="*/ 268 h 1212"/>
                <a:gd name="T92" fmla="*/ 1481 w 1552"/>
                <a:gd name="T93" fmla="*/ 176 h 1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52" h="1212">
                  <a:moveTo>
                    <a:pt x="1481" y="176"/>
                  </a:moveTo>
                  <a:cubicBezTo>
                    <a:pt x="1481" y="162"/>
                    <a:pt x="1478" y="96"/>
                    <a:pt x="1476" y="48"/>
                  </a:cubicBezTo>
                  <a:cubicBezTo>
                    <a:pt x="1396" y="91"/>
                    <a:pt x="1396" y="91"/>
                    <a:pt x="1396" y="91"/>
                  </a:cubicBezTo>
                  <a:cubicBezTo>
                    <a:pt x="1396" y="91"/>
                    <a:pt x="1375" y="56"/>
                    <a:pt x="1333" y="28"/>
                  </a:cubicBezTo>
                  <a:cubicBezTo>
                    <a:pt x="1291" y="0"/>
                    <a:pt x="1186" y="0"/>
                    <a:pt x="1186" y="0"/>
                  </a:cubicBezTo>
                  <a:cubicBezTo>
                    <a:pt x="758" y="266"/>
                    <a:pt x="758" y="266"/>
                    <a:pt x="758" y="266"/>
                  </a:cubicBezTo>
                  <a:cubicBezTo>
                    <a:pt x="575" y="414"/>
                    <a:pt x="575" y="414"/>
                    <a:pt x="575" y="414"/>
                  </a:cubicBezTo>
                  <a:cubicBezTo>
                    <a:pt x="575" y="414"/>
                    <a:pt x="456" y="456"/>
                    <a:pt x="421" y="463"/>
                  </a:cubicBezTo>
                  <a:cubicBezTo>
                    <a:pt x="417" y="464"/>
                    <a:pt x="412" y="464"/>
                    <a:pt x="408" y="466"/>
                  </a:cubicBezTo>
                  <a:cubicBezTo>
                    <a:pt x="409" y="539"/>
                    <a:pt x="411" y="724"/>
                    <a:pt x="401" y="731"/>
                  </a:cubicBezTo>
                  <a:cubicBezTo>
                    <a:pt x="389" y="740"/>
                    <a:pt x="380" y="793"/>
                    <a:pt x="369" y="805"/>
                  </a:cubicBezTo>
                  <a:cubicBezTo>
                    <a:pt x="357" y="817"/>
                    <a:pt x="342" y="849"/>
                    <a:pt x="307" y="849"/>
                  </a:cubicBezTo>
                  <a:cubicBezTo>
                    <a:pt x="271" y="849"/>
                    <a:pt x="186" y="870"/>
                    <a:pt x="150" y="864"/>
                  </a:cubicBezTo>
                  <a:cubicBezTo>
                    <a:pt x="115" y="858"/>
                    <a:pt x="85" y="885"/>
                    <a:pt x="71" y="890"/>
                  </a:cubicBezTo>
                  <a:cubicBezTo>
                    <a:pt x="63" y="893"/>
                    <a:pt x="34" y="896"/>
                    <a:pt x="6" y="895"/>
                  </a:cubicBezTo>
                  <a:cubicBezTo>
                    <a:pt x="2" y="918"/>
                    <a:pt x="0" y="945"/>
                    <a:pt x="6" y="949"/>
                  </a:cubicBezTo>
                  <a:cubicBezTo>
                    <a:pt x="17" y="955"/>
                    <a:pt x="22" y="993"/>
                    <a:pt x="40" y="1006"/>
                  </a:cubicBezTo>
                  <a:cubicBezTo>
                    <a:pt x="57" y="1020"/>
                    <a:pt x="86" y="1039"/>
                    <a:pt x="86" y="1059"/>
                  </a:cubicBezTo>
                  <a:cubicBezTo>
                    <a:pt x="86" y="1079"/>
                    <a:pt x="88" y="1097"/>
                    <a:pt x="104" y="1097"/>
                  </a:cubicBezTo>
                  <a:cubicBezTo>
                    <a:pt x="119" y="1097"/>
                    <a:pt x="126" y="1126"/>
                    <a:pt x="144" y="1133"/>
                  </a:cubicBezTo>
                  <a:cubicBezTo>
                    <a:pt x="161" y="1139"/>
                    <a:pt x="190" y="1119"/>
                    <a:pt x="195" y="1126"/>
                  </a:cubicBezTo>
                  <a:cubicBezTo>
                    <a:pt x="199" y="1133"/>
                    <a:pt x="192" y="1181"/>
                    <a:pt x="201" y="1181"/>
                  </a:cubicBezTo>
                  <a:cubicBezTo>
                    <a:pt x="206" y="1181"/>
                    <a:pt x="227" y="1185"/>
                    <a:pt x="242" y="1199"/>
                  </a:cubicBezTo>
                  <a:cubicBezTo>
                    <a:pt x="236" y="1176"/>
                    <a:pt x="248" y="1144"/>
                    <a:pt x="277" y="1153"/>
                  </a:cubicBezTo>
                  <a:cubicBezTo>
                    <a:pt x="307" y="1162"/>
                    <a:pt x="283" y="1189"/>
                    <a:pt x="310" y="1200"/>
                  </a:cubicBezTo>
                  <a:cubicBezTo>
                    <a:pt x="336" y="1212"/>
                    <a:pt x="351" y="1203"/>
                    <a:pt x="351" y="1183"/>
                  </a:cubicBezTo>
                  <a:cubicBezTo>
                    <a:pt x="351" y="1162"/>
                    <a:pt x="386" y="1121"/>
                    <a:pt x="395" y="1112"/>
                  </a:cubicBezTo>
                  <a:cubicBezTo>
                    <a:pt x="404" y="1103"/>
                    <a:pt x="401" y="1047"/>
                    <a:pt x="419" y="1032"/>
                  </a:cubicBezTo>
                  <a:cubicBezTo>
                    <a:pt x="437" y="1017"/>
                    <a:pt x="490" y="1029"/>
                    <a:pt x="510" y="1032"/>
                  </a:cubicBezTo>
                  <a:cubicBezTo>
                    <a:pt x="531" y="1035"/>
                    <a:pt x="546" y="991"/>
                    <a:pt x="569" y="1011"/>
                  </a:cubicBezTo>
                  <a:cubicBezTo>
                    <a:pt x="593" y="1032"/>
                    <a:pt x="631" y="1014"/>
                    <a:pt x="649" y="1035"/>
                  </a:cubicBezTo>
                  <a:cubicBezTo>
                    <a:pt x="667" y="1056"/>
                    <a:pt x="676" y="1106"/>
                    <a:pt x="705" y="1088"/>
                  </a:cubicBezTo>
                  <a:cubicBezTo>
                    <a:pt x="735" y="1070"/>
                    <a:pt x="770" y="1065"/>
                    <a:pt x="788" y="1065"/>
                  </a:cubicBezTo>
                  <a:cubicBezTo>
                    <a:pt x="805" y="1065"/>
                    <a:pt x="847" y="1100"/>
                    <a:pt x="865" y="1106"/>
                  </a:cubicBezTo>
                  <a:cubicBezTo>
                    <a:pt x="882" y="1112"/>
                    <a:pt x="941" y="1118"/>
                    <a:pt x="962" y="1106"/>
                  </a:cubicBezTo>
                  <a:cubicBezTo>
                    <a:pt x="983" y="1094"/>
                    <a:pt x="1009" y="1056"/>
                    <a:pt x="1036" y="1059"/>
                  </a:cubicBezTo>
                  <a:cubicBezTo>
                    <a:pt x="1062" y="1062"/>
                    <a:pt x="1145" y="1053"/>
                    <a:pt x="1163" y="1062"/>
                  </a:cubicBezTo>
                  <a:cubicBezTo>
                    <a:pt x="1180" y="1070"/>
                    <a:pt x="1219" y="1091"/>
                    <a:pt x="1245" y="1082"/>
                  </a:cubicBezTo>
                  <a:cubicBezTo>
                    <a:pt x="1272" y="1073"/>
                    <a:pt x="1295" y="1023"/>
                    <a:pt x="1316" y="1017"/>
                  </a:cubicBezTo>
                  <a:cubicBezTo>
                    <a:pt x="1323" y="1016"/>
                    <a:pt x="1327" y="1016"/>
                    <a:pt x="1330" y="1017"/>
                  </a:cubicBezTo>
                  <a:cubicBezTo>
                    <a:pt x="1331" y="1006"/>
                    <a:pt x="1331" y="995"/>
                    <a:pt x="1331" y="985"/>
                  </a:cubicBezTo>
                  <a:cubicBezTo>
                    <a:pt x="1331" y="932"/>
                    <a:pt x="1343" y="952"/>
                    <a:pt x="1352" y="899"/>
                  </a:cubicBezTo>
                  <a:cubicBezTo>
                    <a:pt x="1360" y="846"/>
                    <a:pt x="1499" y="708"/>
                    <a:pt x="1511" y="699"/>
                  </a:cubicBezTo>
                  <a:cubicBezTo>
                    <a:pt x="1523" y="690"/>
                    <a:pt x="1523" y="480"/>
                    <a:pt x="1523" y="451"/>
                  </a:cubicBezTo>
                  <a:cubicBezTo>
                    <a:pt x="1523" y="421"/>
                    <a:pt x="1529" y="386"/>
                    <a:pt x="1540" y="344"/>
                  </a:cubicBezTo>
                  <a:cubicBezTo>
                    <a:pt x="1552" y="303"/>
                    <a:pt x="1520" y="306"/>
                    <a:pt x="1523" y="268"/>
                  </a:cubicBezTo>
                  <a:cubicBezTo>
                    <a:pt x="1526" y="229"/>
                    <a:pt x="1481" y="200"/>
                    <a:pt x="1481" y="1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12346134" y="7608679"/>
              <a:ext cx="505964" cy="839363"/>
            </a:xfrm>
            <a:custGeom>
              <a:avLst/>
              <a:gdLst>
                <a:gd name="T0" fmla="*/ 997 w 1003"/>
                <a:gd name="T1" fmla="*/ 409 h 1661"/>
                <a:gd name="T2" fmla="*/ 235 w 1003"/>
                <a:gd name="T3" fmla="*/ 0 h 1661"/>
                <a:gd name="T4" fmla="*/ 146 w 1003"/>
                <a:gd name="T5" fmla="*/ 48 h 1661"/>
                <a:gd name="T6" fmla="*/ 151 w 1003"/>
                <a:gd name="T7" fmla="*/ 176 h 1661"/>
                <a:gd name="T8" fmla="*/ 193 w 1003"/>
                <a:gd name="T9" fmla="*/ 268 h 1661"/>
                <a:gd name="T10" fmla="*/ 210 w 1003"/>
                <a:gd name="T11" fmla="*/ 344 h 1661"/>
                <a:gd name="T12" fmla="*/ 193 w 1003"/>
                <a:gd name="T13" fmla="*/ 451 h 1661"/>
                <a:gd name="T14" fmla="*/ 181 w 1003"/>
                <a:gd name="T15" fmla="*/ 699 h 1661"/>
                <a:gd name="T16" fmla="*/ 22 w 1003"/>
                <a:gd name="T17" fmla="*/ 899 h 1661"/>
                <a:gd name="T18" fmla="*/ 1 w 1003"/>
                <a:gd name="T19" fmla="*/ 985 h 1661"/>
                <a:gd name="T20" fmla="*/ 0 w 1003"/>
                <a:gd name="T21" fmla="*/ 1017 h 1661"/>
                <a:gd name="T22" fmla="*/ 21 w 1003"/>
                <a:gd name="T23" fmla="*/ 1038 h 1661"/>
                <a:gd name="T24" fmla="*/ 66 w 1003"/>
                <a:gd name="T25" fmla="*/ 1079 h 1661"/>
                <a:gd name="T26" fmla="*/ 128 w 1003"/>
                <a:gd name="T27" fmla="*/ 1174 h 1661"/>
                <a:gd name="T28" fmla="*/ 140 w 1003"/>
                <a:gd name="T29" fmla="*/ 1262 h 1661"/>
                <a:gd name="T30" fmla="*/ 181 w 1003"/>
                <a:gd name="T31" fmla="*/ 1386 h 1661"/>
                <a:gd name="T32" fmla="*/ 140 w 1003"/>
                <a:gd name="T33" fmla="*/ 1401 h 1661"/>
                <a:gd name="T34" fmla="*/ 54 w 1003"/>
                <a:gd name="T35" fmla="*/ 1413 h 1661"/>
                <a:gd name="T36" fmla="*/ 78 w 1003"/>
                <a:gd name="T37" fmla="*/ 1484 h 1661"/>
                <a:gd name="T38" fmla="*/ 160 w 1003"/>
                <a:gd name="T39" fmla="*/ 1569 h 1661"/>
                <a:gd name="T40" fmla="*/ 199 w 1003"/>
                <a:gd name="T41" fmla="*/ 1652 h 1661"/>
                <a:gd name="T42" fmla="*/ 255 w 1003"/>
                <a:gd name="T43" fmla="*/ 1628 h 1661"/>
                <a:gd name="T44" fmla="*/ 320 w 1003"/>
                <a:gd name="T45" fmla="*/ 1628 h 1661"/>
                <a:gd name="T46" fmla="*/ 429 w 1003"/>
                <a:gd name="T47" fmla="*/ 1596 h 1661"/>
                <a:gd name="T48" fmla="*/ 517 w 1003"/>
                <a:gd name="T49" fmla="*/ 1549 h 1661"/>
                <a:gd name="T50" fmla="*/ 523 w 1003"/>
                <a:gd name="T51" fmla="*/ 1496 h 1661"/>
                <a:gd name="T52" fmla="*/ 665 w 1003"/>
                <a:gd name="T53" fmla="*/ 1466 h 1661"/>
                <a:gd name="T54" fmla="*/ 762 w 1003"/>
                <a:gd name="T55" fmla="*/ 1366 h 1661"/>
                <a:gd name="T56" fmla="*/ 783 w 1003"/>
                <a:gd name="T57" fmla="*/ 1318 h 1661"/>
                <a:gd name="T58" fmla="*/ 866 w 1003"/>
                <a:gd name="T59" fmla="*/ 1286 h 1661"/>
                <a:gd name="T60" fmla="*/ 883 w 1003"/>
                <a:gd name="T61" fmla="*/ 1290 h 1661"/>
                <a:gd name="T62" fmla="*/ 880 w 1003"/>
                <a:gd name="T63" fmla="*/ 1286 h 1661"/>
                <a:gd name="T64" fmla="*/ 892 w 1003"/>
                <a:gd name="T65" fmla="*/ 1243 h 1661"/>
                <a:gd name="T66" fmla="*/ 843 w 1003"/>
                <a:gd name="T67" fmla="*/ 1181 h 1661"/>
                <a:gd name="T68" fmla="*/ 824 w 1003"/>
                <a:gd name="T69" fmla="*/ 1108 h 1661"/>
                <a:gd name="T70" fmla="*/ 812 w 1003"/>
                <a:gd name="T71" fmla="*/ 1052 h 1661"/>
                <a:gd name="T72" fmla="*/ 818 w 1003"/>
                <a:gd name="T73" fmla="*/ 978 h 1661"/>
                <a:gd name="T74" fmla="*/ 861 w 1003"/>
                <a:gd name="T75" fmla="*/ 904 h 1661"/>
                <a:gd name="T76" fmla="*/ 898 w 1003"/>
                <a:gd name="T77" fmla="*/ 843 h 1661"/>
                <a:gd name="T78" fmla="*/ 984 w 1003"/>
                <a:gd name="T79" fmla="*/ 787 h 1661"/>
                <a:gd name="T80" fmla="*/ 997 w 1003"/>
                <a:gd name="T81" fmla="*/ 683 h 1661"/>
                <a:gd name="T82" fmla="*/ 997 w 1003"/>
                <a:gd name="T83" fmla="*/ 409 h 1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003" h="1661">
                  <a:moveTo>
                    <a:pt x="997" y="409"/>
                  </a:moveTo>
                  <a:cubicBezTo>
                    <a:pt x="235" y="0"/>
                    <a:pt x="235" y="0"/>
                    <a:pt x="235" y="0"/>
                  </a:cubicBezTo>
                  <a:cubicBezTo>
                    <a:pt x="146" y="48"/>
                    <a:pt x="146" y="48"/>
                    <a:pt x="146" y="48"/>
                  </a:cubicBezTo>
                  <a:cubicBezTo>
                    <a:pt x="148" y="96"/>
                    <a:pt x="151" y="162"/>
                    <a:pt x="151" y="176"/>
                  </a:cubicBezTo>
                  <a:cubicBezTo>
                    <a:pt x="151" y="200"/>
                    <a:pt x="196" y="229"/>
                    <a:pt x="193" y="268"/>
                  </a:cubicBezTo>
                  <a:cubicBezTo>
                    <a:pt x="190" y="306"/>
                    <a:pt x="222" y="303"/>
                    <a:pt x="210" y="344"/>
                  </a:cubicBezTo>
                  <a:cubicBezTo>
                    <a:pt x="199" y="386"/>
                    <a:pt x="193" y="421"/>
                    <a:pt x="193" y="451"/>
                  </a:cubicBezTo>
                  <a:cubicBezTo>
                    <a:pt x="193" y="480"/>
                    <a:pt x="193" y="690"/>
                    <a:pt x="181" y="699"/>
                  </a:cubicBezTo>
                  <a:cubicBezTo>
                    <a:pt x="169" y="708"/>
                    <a:pt x="30" y="846"/>
                    <a:pt x="22" y="899"/>
                  </a:cubicBezTo>
                  <a:cubicBezTo>
                    <a:pt x="13" y="952"/>
                    <a:pt x="1" y="932"/>
                    <a:pt x="1" y="985"/>
                  </a:cubicBezTo>
                  <a:cubicBezTo>
                    <a:pt x="1" y="995"/>
                    <a:pt x="1" y="1006"/>
                    <a:pt x="0" y="1017"/>
                  </a:cubicBezTo>
                  <a:cubicBezTo>
                    <a:pt x="8" y="1020"/>
                    <a:pt x="11" y="1028"/>
                    <a:pt x="21" y="1038"/>
                  </a:cubicBezTo>
                  <a:cubicBezTo>
                    <a:pt x="36" y="1053"/>
                    <a:pt x="36" y="1079"/>
                    <a:pt x="66" y="1079"/>
                  </a:cubicBezTo>
                  <a:cubicBezTo>
                    <a:pt x="95" y="1079"/>
                    <a:pt x="131" y="1147"/>
                    <a:pt x="128" y="1174"/>
                  </a:cubicBezTo>
                  <a:cubicBezTo>
                    <a:pt x="125" y="1200"/>
                    <a:pt x="143" y="1215"/>
                    <a:pt x="140" y="1262"/>
                  </a:cubicBezTo>
                  <a:cubicBezTo>
                    <a:pt x="137" y="1310"/>
                    <a:pt x="166" y="1377"/>
                    <a:pt x="181" y="1386"/>
                  </a:cubicBezTo>
                  <a:cubicBezTo>
                    <a:pt x="196" y="1395"/>
                    <a:pt x="175" y="1404"/>
                    <a:pt x="140" y="1401"/>
                  </a:cubicBezTo>
                  <a:cubicBezTo>
                    <a:pt x="104" y="1398"/>
                    <a:pt x="54" y="1398"/>
                    <a:pt x="54" y="1413"/>
                  </a:cubicBezTo>
                  <a:cubicBezTo>
                    <a:pt x="54" y="1428"/>
                    <a:pt x="39" y="1448"/>
                    <a:pt x="78" y="1484"/>
                  </a:cubicBezTo>
                  <a:cubicBezTo>
                    <a:pt x="116" y="1519"/>
                    <a:pt x="148" y="1531"/>
                    <a:pt x="160" y="1569"/>
                  </a:cubicBezTo>
                  <a:cubicBezTo>
                    <a:pt x="172" y="1608"/>
                    <a:pt x="187" y="1643"/>
                    <a:pt x="199" y="1652"/>
                  </a:cubicBezTo>
                  <a:cubicBezTo>
                    <a:pt x="210" y="1661"/>
                    <a:pt x="234" y="1658"/>
                    <a:pt x="255" y="1628"/>
                  </a:cubicBezTo>
                  <a:cubicBezTo>
                    <a:pt x="275" y="1599"/>
                    <a:pt x="299" y="1655"/>
                    <a:pt x="320" y="1628"/>
                  </a:cubicBezTo>
                  <a:cubicBezTo>
                    <a:pt x="340" y="1602"/>
                    <a:pt x="411" y="1605"/>
                    <a:pt x="429" y="1596"/>
                  </a:cubicBezTo>
                  <a:cubicBezTo>
                    <a:pt x="447" y="1587"/>
                    <a:pt x="500" y="1563"/>
                    <a:pt x="517" y="1549"/>
                  </a:cubicBezTo>
                  <a:cubicBezTo>
                    <a:pt x="535" y="1534"/>
                    <a:pt x="497" y="1510"/>
                    <a:pt x="523" y="1496"/>
                  </a:cubicBezTo>
                  <a:cubicBezTo>
                    <a:pt x="550" y="1481"/>
                    <a:pt x="632" y="1507"/>
                    <a:pt x="665" y="1466"/>
                  </a:cubicBezTo>
                  <a:cubicBezTo>
                    <a:pt x="697" y="1425"/>
                    <a:pt x="748" y="1380"/>
                    <a:pt x="762" y="1366"/>
                  </a:cubicBezTo>
                  <a:cubicBezTo>
                    <a:pt x="777" y="1351"/>
                    <a:pt x="762" y="1339"/>
                    <a:pt x="783" y="1318"/>
                  </a:cubicBezTo>
                  <a:cubicBezTo>
                    <a:pt x="804" y="1298"/>
                    <a:pt x="845" y="1274"/>
                    <a:pt x="866" y="1286"/>
                  </a:cubicBezTo>
                  <a:cubicBezTo>
                    <a:pt x="870" y="1289"/>
                    <a:pt x="876" y="1290"/>
                    <a:pt x="883" y="1290"/>
                  </a:cubicBezTo>
                  <a:cubicBezTo>
                    <a:pt x="881" y="1288"/>
                    <a:pt x="880" y="1286"/>
                    <a:pt x="880" y="1286"/>
                  </a:cubicBezTo>
                  <a:cubicBezTo>
                    <a:pt x="892" y="1243"/>
                    <a:pt x="892" y="1243"/>
                    <a:pt x="892" y="1243"/>
                  </a:cubicBezTo>
                  <a:cubicBezTo>
                    <a:pt x="892" y="1243"/>
                    <a:pt x="843" y="1218"/>
                    <a:pt x="843" y="1181"/>
                  </a:cubicBezTo>
                  <a:cubicBezTo>
                    <a:pt x="843" y="1144"/>
                    <a:pt x="855" y="1108"/>
                    <a:pt x="824" y="1108"/>
                  </a:cubicBezTo>
                  <a:cubicBezTo>
                    <a:pt x="794" y="1108"/>
                    <a:pt x="787" y="1077"/>
                    <a:pt x="812" y="1052"/>
                  </a:cubicBezTo>
                  <a:cubicBezTo>
                    <a:pt x="837" y="1028"/>
                    <a:pt x="775" y="978"/>
                    <a:pt x="818" y="978"/>
                  </a:cubicBezTo>
                  <a:cubicBezTo>
                    <a:pt x="861" y="978"/>
                    <a:pt x="830" y="911"/>
                    <a:pt x="861" y="904"/>
                  </a:cubicBezTo>
                  <a:cubicBezTo>
                    <a:pt x="892" y="898"/>
                    <a:pt x="898" y="874"/>
                    <a:pt x="898" y="843"/>
                  </a:cubicBezTo>
                  <a:cubicBezTo>
                    <a:pt x="898" y="812"/>
                    <a:pt x="966" y="794"/>
                    <a:pt x="984" y="787"/>
                  </a:cubicBezTo>
                  <a:cubicBezTo>
                    <a:pt x="1003" y="781"/>
                    <a:pt x="997" y="683"/>
                    <a:pt x="997" y="683"/>
                  </a:cubicBezTo>
                  <a:lnTo>
                    <a:pt x="997" y="409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12880580" y="7144599"/>
              <a:ext cx="551199" cy="549524"/>
            </a:xfrm>
            <a:custGeom>
              <a:avLst/>
              <a:gdLst>
                <a:gd name="T0" fmla="*/ 1021 w 1093"/>
                <a:gd name="T1" fmla="*/ 236 h 1088"/>
                <a:gd name="T2" fmla="*/ 949 w 1093"/>
                <a:gd name="T3" fmla="*/ 60 h 1088"/>
                <a:gd name="T4" fmla="*/ 938 w 1093"/>
                <a:gd name="T5" fmla="*/ 76 h 1088"/>
                <a:gd name="T6" fmla="*/ 832 w 1093"/>
                <a:gd name="T7" fmla="*/ 70 h 1088"/>
                <a:gd name="T8" fmla="*/ 706 w 1093"/>
                <a:gd name="T9" fmla="*/ 44 h 1088"/>
                <a:gd name="T10" fmla="*/ 498 w 1093"/>
                <a:gd name="T11" fmla="*/ 77 h 1088"/>
                <a:gd name="T12" fmla="*/ 386 w 1093"/>
                <a:gd name="T13" fmla="*/ 88 h 1088"/>
                <a:gd name="T14" fmla="*/ 203 w 1093"/>
                <a:gd name="T15" fmla="*/ 36 h 1088"/>
                <a:gd name="T16" fmla="*/ 52 w 1093"/>
                <a:gd name="T17" fmla="*/ 0 h 1088"/>
                <a:gd name="T18" fmla="*/ 43 w 1093"/>
                <a:gd name="T19" fmla="*/ 25 h 1088"/>
                <a:gd name="T20" fmla="*/ 31 w 1093"/>
                <a:gd name="T21" fmla="*/ 148 h 1088"/>
                <a:gd name="T22" fmla="*/ 31 w 1093"/>
                <a:gd name="T23" fmla="*/ 296 h 1088"/>
                <a:gd name="T24" fmla="*/ 31 w 1093"/>
                <a:gd name="T25" fmla="*/ 1065 h 1088"/>
                <a:gd name="T26" fmla="*/ 640 w 1093"/>
                <a:gd name="T27" fmla="*/ 1065 h 1088"/>
                <a:gd name="T28" fmla="*/ 675 w 1093"/>
                <a:gd name="T29" fmla="*/ 1041 h 1088"/>
                <a:gd name="T30" fmla="*/ 723 w 1093"/>
                <a:gd name="T31" fmla="*/ 1059 h 1088"/>
                <a:gd name="T32" fmla="*/ 852 w 1093"/>
                <a:gd name="T33" fmla="*/ 1059 h 1088"/>
                <a:gd name="T34" fmla="*/ 906 w 1093"/>
                <a:gd name="T35" fmla="*/ 1088 h 1088"/>
                <a:gd name="T36" fmla="*/ 965 w 1093"/>
                <a:gd name="T37" fmla="*/ 1041 h 1088"/>
                <a:gd name="T38" fmla="*/ 1030 w 1093"/>
                <a:gd name="T39" fmla="*/ 970 h 1088"/>
                <a:gd name="T40" fmla="*/ 1083 w 1093"/>
                <a:gd name="T41" fmla="*/ 935 h 1088"/>
                <a:gd name="T42" fmla="*/ 1086 w 1093"/>
                <a:gd name="T43" fmla="*/ 931 h 1088"/>
                <a:gd name="T44" fmla="*/ 1086 w 1093"/>
                <a:gd name="T45" fmla="*/ 891 h 1088"/>
                <a:gd name="T46" fmla="*/ 1040 w 1093"/>
                <a:gd name="T47" fmla="*/ 780 h 1088"/>
                <a:gd name="T48" fmla="*/ 934 w 1093"/>
                <a:gd name="T49" fmla="*/ 576 h 1088"/>
                <a:gd name="T50" fmla="*/ 886 w 1093"/>
                <a:gd name="T51" fmla="*/ 474 h 1088"/>
                <a:gd name="T52" fmla="*/ 819 w 1093"/>
                <a:gd name="T53" fmla="*/ 364 h 1088"/>
                <a:gd name="T54" fmla="*/ 773 w 1093"/>
                <a:gd name="T55" fmla="*/ 181 h 1088"/>
                <a:gd name="T56" fmla="*/ 839 w 1093"/>
                <a:gd name="T57" fmla="*/ 309 h 1088"/>
                <a:gd name="T58" fmla="*/ 940 w 1093"/>
                <a:gd name="T59" fmla="*/ 441 h 1088"/>
                <a:gd name="T60" fmla="*/ 1000 w 1093"/>
                <a:gd name="T61" fmla="*/ 299 h 1088"/>
                <a:gd name="T62" fmla="*/ 1002 w 1093"/>
                <a:gd name="T63" fmla="*/ 303 h 1088"/>
                <a:gd name="T64" fmla="*/ 1006 w 1093"/>
                <a:gd name="T65" fmla="*/ 276 h 1088"/>
                <a:gd name="T66" fmla="*/ 1021 w 1093"/>
                <a:gd name="T67" fmla="*/ 236 h 1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93" h="1088">
                  <a:moveTo>
                    <a:pt x="1021" y="236"/>
                  </a:moveTo>
                  <a:cubicBezTo>
                    <a:pt x="949" y="60"/>
                    <a:pt x="949" y="60"/>
                    <a:pt x="949" y="60"/>
                  </a:cubicBezTo>
                  <a:cubicBezTo>
                    <a:pt x="944" y="68"/>
                    <a:pt x="940" y="74"/>
                    <a:pt x="938" y="76"/>
                  </a:cubicBezTo>
                  <a:cubicBezTo>
                    <a:pt x="926" y="88"/>
                    <a:pt x="878" y="58"/>
                    <a:pt x="832" y="70"/>
                  </a:cubicBezTo>
                  <a:cubicBezTo>
                    <a:pt x="786" y="82"/>
                    <a:pt x="751" y="66"/>
                    <a:pt x="706" y="44"/>
                  </a:cubicBezTo>
                  <a:cubicBezTo>
                    <a:pt x="662" y="21"/>
                    <a:pt x="517" y="49"/>
                    <a:pt x="498" y="77"/>
                  </a:cubicBezTo>
                  <a:cubicBezTo>
                    <a:pt x="479" y="105"/>
                    <a:pt x="430" y="105"/>
                    <a:pt x="386" y="88"/>
                  </a:cubicBezTo>
                  <a:cubicBezTo>
                    <a:pt x="342" y="70"/>
                    <a:pt x="284" y="44"/>
                    <a:pt x="203" y="36"/>
                  </a:cubicBezTo>
                  <a:cubicBezTo>
                    <a:pt x="127" y="29"/>
                    <a:pt x="66" y="18"/>
                    <a:pt x="52" y="0"/>
                  </a:cubicBezTo>
                  <a:cubicBezTo>
                    <a:pt x="49" y="9"/>
                    <a:pt x="46" y="17"/>
                    <a:pt x="43" y="25"/>
                  </a:cubicBezTo>
                  <a:cubicBezTo>
                    <a:pt x="19" y="93"/>
                    <a:pt x="62" y="111"/>
                    <a:pt x="31" y="148"/>
                  </a:cubicBezTo>
                  <a:cubicBezTo>
                    <a:pt x="0" y="185"/>
                    <a:pt x="31" y="228"/>
                    <a:pt x="31" y="296"/>
                  </a:cubicBezTo>
                  <a:cubicBezTo>
                    <a:pt x="31" y="342"/>
                    <a:pt x="31" y="791"/>
                    <a:pt x="31" y="1065"/>
                  </a:cubicBezTo>
                  <a:cubicBezTo>
                    <a:pt x="640" y="1065"/>
                    <a:pt x="640" y="1065"/>
                    <a:pt x="640" y="1065"/>
                  </a:cubicBezTo>
                  <a:cubicBezTo>
                    <a:pt x="640" y="1065"/>
                    <a:pt x="658" y="1053"/>
                    <a:pt x="675" y="1041"/>
                  </a:cubicBezTo>
                  <a:cubicBezTo>
                    <a:pt x="693" y="1029"/>
                    <a:pt x="723" y="1059"/>
                    <a:pt x="723" y="1059"/>
                  </a:cubicBezTo>
                  <a:cubicBezTo>
                    <a:pt x="852" y="1059"/>
                    <a:pt x="852" y="1059"/>
                    <a:pt x="852" y="1059"/>
                  </a:cubicBezTo>
                  <a:cubicBezTo>
                    <a:pt x="852" y="1059"/>
                    <a:pt x="876" y="1088"/>
                    <a:pt x="906" y="1088"/>
                  </a:cubicBezTo>
                  <a:cubicBezTo>
                    <a:pt x="935" y="1088"/>
                    <a:pt x="917" y="1041"/>
                    <a:pt x="965" y="1041"/>
                  </a:cubicBezTo>
                  <a:cubicBezTo>
                    <a:pt x="1012" y="1041"/>
                    <a:pt x="1000" y="970"/>
                    <a:pt x="1030" y="970"/>
                  </a:cubicBezTo>
                  <a:cubicBezTo>
                    <a:pt x="1059" y="970"/>
                    <a:pt x="1053" y="976"/>
                    <a:pt x="1083" y="935"/>
                  </a:cubicBezTo>
                  <a:cubicBezTo>
                    <a:pt x="1084" y="934"/>
                    <a:pt x="1085" y="932"/>
                    <a:pt x="1086" y="931"/>
                  </a:cubicBezTo>
                  <a:cubicBezTo>
                    <a:pt x="1084" y="918"/>
                    <a:pt x="1083" y="904"/>
                    <a:pt x="1086" y="891"/>
                  </a:cubicBezTo>
                  <a:cubicBezTo>
                    <a:pt x="1093" y="843"/>
                    <a:pt x="1061" y="846"/>
                    <a:pt x="1040" y="780"/>
                  </a:cubicBezTo>
                  <a:cubicBezTo>
                    <a:pt x="1019" y="713"/>
                    <a:pt x="937" y="615"/>
                    <a:pt x="934" y="576"/>
                  </a:cubicBezTo>
                  <a:cubicBezTo>
                    <a:pt x="931" y="538"/>
                    <a:pt x="885" y="516"/>
                    <a:pt x="886" y="474"/>
                  </a:cubicBezTo>
                  <a:cubicBezTo>
                    <a:pt x="888" y="433"/>
                    <a:pt x="864" y="429"/>
                    <a:pt x="819" y="364"/>
                  </a:cubicBezTo>
                  <a:cubicBezTo>
                    <a:pt x="773" y="299"/>
                    <a:pt x="759" y="185"/>
                    <a:pt x="773" y="181"/>
                  </a:cubicBezTo>
                  <a:cubicBezTo>
                    <a:pt x="786" y="176"/>
                    <a:pt x="824" y="277"/>
                    <a:pt x="839" y="309"/>
                  </a:cubicBezTo>
                  <a:cubicBezTo>
                    <a:pt x="854" y="342"/>
                    <a:pt x="904" y="441"/>
                    <a:pt x="940" y="441"/>
                  </a:cubicBezTo>
                  <a:cubicBezTo>
                    <a:pt x="975" y="441"/>
                    <a:pt x="988" y="291"/>
                    <a:pt x="1000" y="299"/>
                  </a:cubicBezTo>
                  <a:cubicBezTo>
                    <a:pt x="1001" y="299"/>
                    <a:pt x="1002" y="301"/>
                    <a:pt x="1002" y="303"/>
                  </a:cubicBezTo>
                  <a:cubicBezTo>
                    <a:pt x="1006" y="276"/>
                    <a:pt x="1006" y="276"/>
                    <a:pt x="1006" y="276"/>
                  </a:cubicBezTo>
                  <a:lnTo>
                    <a:pt x="1021" y="236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12106556" y="8706050"/>
              <a:ext cx="286490" cy="316646"/>
            </a:xfrm>
            <a:custGeom>
              <a:avLst/>
              <a:gdLst>
                <a:gd name="T0" fmla="*/ 285 w 569"/>
                <a:gd name="T1" fmla="*/ 597 h 626"/>
                <a:gd name="T2" fmla="*/ 297 w 569"/>
                <a:gd name="T3" fmla="*/ 517 h 626"/>
                <a:gd name="T4" fmla="*/ 359 w 569"/>
                <a:gd name="T5" fmla="*/ 474 h 626"/>
                <a:gd name="T6" fmla="*/ 402 w 569"/>
                <a:gd name="T7" fmla="*/ 418 h 626"/>
                <a:gd name="T8" fmla="*/ 457 w 569"/>
                <a:gd name="T9" fmla="*/ 480 h 626"/>
                <a:gd name="T10" fmla="*/ 532 w 569"/>
                <a:gd name="T11" fmla="*/ 492 h 626"/>
                <a:gd name="T12" fmla="*/ 562 w 569"/>
                <a:gd name="T13" fmla="*/ 375 h 626"/>
                <a:gd name="T14" fmla="*/ 538 w 569"/>
                <a:gd name="T15" fmla="*/ 270 h 626"/>
                <a:gd name="T16" fmla="*/ 519 w 569"/>
                <a:gd name="T17" fmla="*/ 190 h 626"/>
                <a:gd name="T18" fmla="*/ 532 w 569"/>
                <a:gd name="T19" fmla="*/ 110 h 626"/>
                <a:gd name="T20" fmla="*/ 433 w 569"/>
                <a:gd name="T21" fmla="*/ 110 h 626"/>
                <a:gd name="T22" fmla="*/ 443 w 569"/>
                <a:gd name="T23" fmla="*/ 7 h 626"/>
                <a:gd name="T24" fmla="*/ 295 w 569"/>
                <a:gd name="T25" fmla="*/ 0 h 626"/>
                <a:gd name="T26" fmla="*/ 276 w 569"/>
                <a:gd name="T27" fmla="*/ 6 h 626"/>
                <a:gd name="T28" fmla="*/ 272 w 569"/>
                <a:gd name="T29" fmla="*/ 134 h 626"/>
                <a:gd name="T30" fmla="*/ 137 w 569"/>
                <a:gd name="T31" fmla="*/ 141 h 626"/>
                <a:gd name="T32" fmla="*/ 90 w 569"/>
                <a:gd name="T33" fmla="*/ 147 h 626"/>
                <a:gd name="T34" fmla="*/ 73 w 569"/>
                <a:gd name="T35" fmla="*/ 168 h 626"/>
                <a:gd name="T36" fmla="*/ 112 w 569"/>
                <a:gd name="T37" fmla="*/ 218 h 626"/>
                <a:gd name="T38" fmla="*/ 57 w 569"/>
                <a:gd name="T39" fmla="*/ 259 h 626"/>
                <a:gd name="T40" fmla="*/ 17 w 569"/>
                <a:gd name="T41" fmla="*/ 323 h 626"/>
                <a:gd name="T42" fmla="*/ 66 w 569"/>
                <a:gd name="T43" fmla="*/ 411 h 626"/>
                <a:gd name="T44" fmla="*/ 138 w 569"/>
                <a:gd name="T45" fmla="*/ 503 h 626"/>
                <a:gd name="T46" fmla="*/ 237 w 569"/>
                <a:gd name="T47" fmla="*/ 626 h 626"/>
                <a:gd name="T48" fmla="*/ 285 w 569"/>
                <a:gd name="T49" fmla="*/ 597 h 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69" h="626">
                  <a:moveTo>
                    <a:pt x="285" y="597"/>
                  </a:moveTo>
                  <a:cubicBezTo>
                    <a:pt x="334" y="597"/>
                    <a:pt x="316" y="566"/>
                    <a:pt x="297" y="517"/>
                  </a:cubicBezTo>
                  <a:cubicBezTo>
                    <a:pt x="279" y="468"/>
                    <a:pt x="328" y="474"/>
                    <a:pt x="359" y="474"/>
                  </a:cubicBezTo>
                  <a:cubicBezTo>
                    <a:pt x="390" y="474"/>
                    <a:pt x="377" y="418"/>
                    <a:pt x="402" y="418"/>
                  </a:cubicBezTo>
                  <a:cubicBezTo>
                    <a:pt x="427" y="418"/>
                    <a:pt x="433" y="486"/>
                    <a:pt x="457" y="480"/>
                  </a:cubicBezTo>
                  <a:cubicBezTo>
                    <a:pt x="482" y="474"/>
                    <a:pt x="501" y="498"/>
                    <a:pt x="532" y="492"/>
                  </a:cubicBezTo>
                  <a:cubicBezTo>
                    <a:pt x="562" y="486"/>
                    <a:pt x="562" y="424"/>
                    <a:pt x="562" y="375"/>
                  </a:cubicBezTo>
                  <a:cubicBezTo>
                    <a:pt x="562" y="326"/>
                    <a:pt x="569" y="289"/>
                    <a:pt x="538" y="270"/>
                  </a:cubicBezTo>
                  <a:cubicBezTo>
                    <a:pt x="507" y="252"/>
                    <a:pt x="482" y="208"/>
                    <a:pt x="519" y="190"/>
                  </a:cubicBezTo>
                  <a:cubicBezTo>
                    <a:pt x="556" y="171"/>
                    <a:pt x="562" y="134"/>
                    <a:pt x="532" y="110"/>
                  </a:cubicBezTo>
                  <a:cubicBezTo>
                    <a:pt x="501" y="85"/>
                    <a:pt x="433" y="134"/>
                    <a:pt x="433" y="110"/>
                  </a:cubicBezTo>
                  <a:cubicBezTo>
                    <a:pt x="433" y="96"/>
                    <a:pt x="438" y="48"/>
                    <a:pt x="443" y="7"/>
                  </a:cubicBezTo>
                  <a:cubicBezTo>
                    <a:pt x="372" y="4"/>
                    <a:pt x="295" y="0"/>
                    <a:pt x="295" y="0"/>
                  </a:cubicBezTo>
                  <a:cubicBezTo>
                    <a:pt x="276" y="6"/>
                    <a:pt x="276" y="6"/>
                    <a:pt x="276" y="6"/>
                  </a:cubicBezTo>
                  <a:cubicBezTo>
                    <a:pt x="281" y="78"/>
                    <a:pt x="272" y="134"/>
                    <a:pt x="272" y="134"/>
                  </a:cubicBezTo>
                  <a:cubicBezTo>
                    <a:pt x="272" y="134"/>
                    <a:pt x="161" y="141"/>
                    <a:pt x="137" y="141"/>
                  </a:cubicBezTo>
                  <a:cubicBezTo>
                    <a:pt x="131" y="141"/>
                    <a:pt x="114" y="143"/>
                    <a:pt x="90" y="147"/>
                  </a:cubicBezTo>
                  <a:cubicBezTo>
                    <a:pt x="85" y="155"/>
                    <a:pt x="79" y="162"/>
                    <a:pt x="73" y="168"/>
                  </a:cubicBezTo>
                  <a:cubicBezTo>
                    <a:pt x="60" y="181"/>
                    <a:pt x="104" y="199"/>
                    <a:pt x="112" y="218"/>
                  </a:cubicBezTo>
                  <a:cubicBezTo>
                    <a:pt x="119" y="237"/>
                    <a:pt x="56" y="231"/>
                    <a:pt x="57" y="259"/>
                  </a:cubicBezTo>
                  <a:cubicBezTo>
                    <a:pt x="59" y="287"/>
                    <a:pt x="35" y="309"/>
                    <a:pt x="17" y="323"/>
                  </a:cubicBezTo>
                  <a:cubicBezTo>
                    <a:pt x="0" y="336"/>
                    <a:pt x="65" y="392"/>
                    <a:pt x="66" y="411"/>
                  </a:cubicBezTo>
                  <a:cubicBezTo>
                    <a:pt x="68" y="430"/>
                    <a:pt x="82" y="448"/>
                    <a:pt x="138" y="503"/>
                  </a:cubicBezTo>
                  <a:cubicBezTo>
                    <a:pt x="192" y="555"/>
                    <a:pt x="166" y="568"/>
                    <a:pt x="237" y="626"/>
                  </a:cubicBezTo>
                  <a:cubicBezTo>
                    <a:pt x="247" y="611"/>
                    <a:pt x="261" y="597"/>
                    <a:pt x="285" y="59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12136713" y="8709401"/>
              <a:ext cx="110575" cy="70366"/>
            </a:xfrm>
            <a:custGeom>
              <a:avLst/>
              <a:gdLst>
                <a:gd name="T0" fmla="*/ 212 w 221"/>
                <a:gd name="T1" fmla="*/ 128 h 141"/>
                <a:gd name="T2" fmla="*/ 216 w 221"/>
                <a:gd name="T3" fmla="*/ 0 h 141"/>
                <a:gd name="T4" fmla="*/ 192 w 221"/>
                <a:gd name="T5" fmla="*/ 7 h 141"/>
                <a:gd name="T6" fmla="*/ 54 w 221"/>
                <a:gd name="T7" fmla="*/ 7 h 141"/>
                <a:gd name="T8" fmla="*/ 55 w 221"/>
                <a:gd name="T9" fmla="*/ 10 h 141"/>
                <a:gd name="T10" fmla="*/ 31 w 221"/>
                <a:gd name="T11" fmla="*/ 75 h 141"/>
                <a:gd name="T12" fmla="*/ 27 w 221"/>
                <a:gd name="T13" fmla="*/ 114 h 141"/>
                <a:gd name="T14" fmla="*/ 30 w 221"/>
                <a:gd name="T15" fmla="*/ 141 h 141"/>
                <a:gd name="T16" fmla="*/ 77 w 221"/>
                <a:gd name="T17" fmla="*/ 135 h 141"/>
                <a:gd name="T18" fmla="*/ 212 w 221"/>
                <a:gd name="T19" fmla="*/ 128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1" h="141">
                  <a:moveTo>
                    <a:pt x="212" y="128"/>
                  </a:moveTo>
                  <a:cubicBezTo>
                    <a:pt x="212" y="128"/>
                    <a:pt x="221" y="72"/>
                    <a:pt x="216" y="0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8"/>
                    <a:pt x="54" y="9"/>
                    <a:pt x="55" y="10"/>
                  </a:cubicBezTo>
                  <a:cubicBezTo>
                    <a:pt x="70" y="32"/>
                    <a:pt x="62" y="64"/>
                    <a:pt x="31" y="75"/>
                  </a:cubicBezTo>
                  <a:cubicBezTo>
                    <a:pt x="0" y="85"/>
                    <a:pt x="2" y="113"/>
                    <a:pt x="27" y="114"/>
                  </a:cubicBezTo>
                  <a:cubicBezTo>
                    <a:pt x="42" y="115"/>
                    <a:pt x="39" y="128"/>
                    <a:pt x="30" y="141"/>
                  </a:cubicBezTo>
                  <a:cubicBezTo>
                    <a:pt x="54" y="137"/>
                    <a:pt x="71" y="135"/>
                    <a:pt x="77" y="135"/>
                  </a:cubicBezTo>
                  <a:cubicBezTo>
                    <a:pt x="101" y="135"/>
                    <a:pt x="212" y="128"/>
                    <a:pt x="212" y="12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12225507" y="8634010"/>
              <a:ext cx="356856" cy="445650"/>
            </a:xfrm>
            <a:custGeom>
              <a:avLst/>
              <a:gdLst>
                <a:gd name="T0" fmla="*/ 190 w 706"/>
                <a:gd name="T1" fmla="*/ 831 h 880"/>
                <a:gd name="T2" fmla="*/ 257 w 706"/>
                <a:gd name="T3" fmla="*/ 837 h 880"/>
                <a:gd name="T4" fmla="*/ 338 w 706"/>
                <a:gd name="T5" fmla="*/ 843 h 880"/>
                <a:gd name="T6" fmla="*/ 381 w 706"/>
                <a:gd name="T7" fmla="*/ 837 h 880"/>
                <a:gd name="T8" fmla="*/ 443 w 706"/>
                <a:gd name="T9" fmla="*/ 781 h 880"/>
                <a:gd name="T10" fmla="*/ 480 w 706"/>
                <a:gd name="T11" fmla="*/ 707 h 880"/>
                <a:gd name="T12" fmla="*/ 486 w 706"/>
                <a:gd name="T13" fmla="*/ 541 h 880"/>
                <a:gd name="T14" fmla="*/ 572 w 706"/>
                <a:gd name="T15" fmla="*/ 430 h 880"/>
                <a:gd name="T16" fmla="*/ 646 w 706"/>
                <a:gd name="T17" fmla="*/ 220 h 880"/>
                <a:gd name="T18" fmla="*/ 683 w 706"/>
                <a:gd name="T19" fmla="*/ 115 h 880"/>
                <a:gd name="T20" fmla="*/ 698 w 706"/>
                <a:gd name="T21" fmla="*/ 11 h 880"/>
                <a:gd name="T22" fmla="*/ 698 w 706"/>
                <a:gd name="T23" fmla="*/ 12 h 880"/>
                <a:gd name="T24" fmla="*/ 612 w 706"/>
                <a:gd name="T25" fmla="*/ 0 h 880"/>
                <a:gd name="T26" fmla="*/ 569 w 706"/>
                <a:gd name="T27" fmla="*/ 12 h 880"/>
                <a:gd name="T28" fmla="*/ 513 w 706"/>
                <a:gd name="T29" fmla="*/ 24 h 880"/>
                <a:gd name="T30" fmla="*/ 495 w 706"/>
                <a:gd name="T31" fmla="*/ 98 h 880"/>
                <a:gd name="T32" fmla="*/ 464 w 706"/>
                <a:gd name="T33" fmla="*/ 197 h 880"/>
                <a:gd name="T34" fmla="*/ 323 w 706"/>
                <a:gd name="T35" fmla="*/ 148 h 880"/>
                <a:gd name="T36" fmla="*/ 206 w 706"/>
                <a:gd name="T37" fmla="*/ 148 h 880"/>
                <a:gd name="T38" fmla="*/ 196 w 706"/>
                <a:gd name="T39" fmla="*/ 251 h 880"/>
                <a:gd name="T40" fmla="*/ 295 w 706"/>
                <a:gd name="T41" fmla="*/ 251 h 880"/>
                <a:gd name="T42" fmla="*/ 282 w 706"/>
                <a:gd name="T43" fmla="*/ 331 h 880"/>
                <a:gd name="T44" fmla="*/ 301 w 706"/>
                <a:gd name="T45" fmla="*/ 411 h 880"/>
                <a:gd name="T46" fmla="*/ 325 w 706"/>
                <a:gd name="T47" fmla="*/ 516 h 880"/>
                <a:gd name="T48" fmla="*/ 295 w 706"/>
                <a:gd name="T49" fmla="*/ 633 h 880"/>
                <a:gd name="T50" fmla="*/ 220 w 706"/>
                <a:gd name="T51" fmla="*/ 621 h 880"/>
                <a:gd name="T52" fmla="*/ 165 w 706"/>
                <a:gd name="T53" fmla="*/ 559 h 880"/>
                <a:gd name="T54" fmla="*/ 122 w 706"/>
                <a:gd name="T55" fmla="*/ 615 h 880"/>
                <a:gd name="T56" fmla="*/ 60 w 706"/>
                <a:gd name="T57" fmla="*/ 658 h 880"/>
                <a:gd name="T58" fmla="*/ 48 w 706"/>
                <a:gd name="T59" fmla="*/ 738 h 880"/>
                <a:gd name="T60" fmla="*/ 0 w 706"/>
                <a:gd name="T61" fmla="*/ 767 h 880"/>
                <a:gd name="T62" fmla="*/ 11 w 706"/>
                <a:gd name="T63" fmla="*/ 775 h 880"/>
                <a:gd name="T64" fmla="*/ 96 w 706"/>
                <a:gd name="T65" fmla="*/ 880 h 880"/>
                <a:gd name="T66" fmla="*/ 190 w 706"/>
                <a:gd name="T67" fmla="*/ 831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06" h="880">
                  <a:moveTo>
                    <a:pt x="190" y="831"/>
                  </a:moveTo>
                  <a:cubicBezTo>
                    <a:pt x="208" y="837"/>
                    <a:pt x="220" y="868"/>
                    <a:pt x="257" y="837"/>
                  </a:cubicBezTo>
                  <a:cubicBezTo>
                    <a:pt x="295" y="806"/>
                    <a:pt x="338" y="812"/>
                    <a:pt x="338" y="843"/>
                  </a:cubicBezTo>
                  <a:cubicBezTo>
                    <a:pt x="338" y="874"/>
                    <a:pt x="350" y="868"/>
                    <a:pt x="381" y="837"/>
                  </a:cubicBezTo>
                  <a:cubicBezTo>
                    <a:pt x="412" y="806"/>
                    <a:pt x="443" y="843"/>
                    <a:pt x="443" y="781"/>
                  </a:cubicBezTo>
                  <a:cubicBezTo>
                    <a:pt x="443" y="720"/>
                    <a:pt x="480" y="775"/>
                    <a:pt x="480" y="707"/>
                  </a:cubicBezTo>
                  <a:cubicBezTo>
                    <a:pt x="480" y="639"/>
                    <a:pt x="486" y="572"/>
                    <a:pt x="486" y="541"/>
                  </a:cubicBezTo>
                  <a:cubicBezTo>
                    <a:pt x="486" y="510"/>
                    <a:pt x="572" y="479"/>
                    <a:pt x="572" y="430"/>
                  </a:cubicBezTo>
                  <a:cubicBezTo>
                    <a:pt x="572" y="380"/>
                    <a:pt x="646" y="282"/>
                    <a:pt x="646" y="220"/>
                  </a:cubicBezTo>
                  <a:cubicBezTo>
                    <a:pt x="646" y="158"/>
                    <a:pt x="665" y="146"/>
                    <a:pt x="683" y="115"/>
                  </a:cubicBezTo>
                  <a:cubicBezTo>
                    <a:pt x="696" y="94"/>
                    <a:pt x="706" y="52"/>
                    <a:pt x="698" y="11"/>
                  </a:cubicBezTo>
                  <a:cubicBezTo>
                    <a:pt x="698" y="12"/>
                    <a:pt x="698" y="12"/>
                    <a:pt x="698" y="12"/>
                  </a:cubicBezTo>
                  <a:cubicBezTo>
                    <a:pt x="612" y="0"/>
                    <a:pt x="612" y="0"/>
                    <a:pt x="612" y="0"/>
                  </a:cubicBezTo>
                  <a:cubicBezTo>
                    <a:pt x="569" y="12"/>
                    <a:pt x="569" y="12"/>
                    <a:pt x="569" y="12"/>
                  </a:cubicBezTo>
                  <a:cubicBezTo>
                    <a:pt x="513" y="24"/>
                    <a:pt x="513" y="24"/>
                    <a:pt x="513" y="24"/>
                  </a:cubicBezTo>
                  <a:cubicBezTo>
                    <a:pt x="513" y="24"/>
                    <a:pt x="520" y="68"/>
                    <a:pt x="495" y="98"/>
                  </a:cubicBezTo>
                  <a:cubicBezTo>
                    <a:pt x="470" y="129"/>
                    <a:pt x="464" y="197"/>
                    <a:pt x="464" y="197"/>
                  </a:cubicBezTo>
                  <a:cubicBezTo>
                    <a:pt x="464" y="197"/>
                    <a:pt x="353" y="141"/>
                    <a:pt x="323" y="148"/>
                  </a:cubicBezTo>
                  <a:cubicBezTo>
                    <a:pt x="310" y="150"/>
                    <a:pt x="259" y="150"/>
                    <a:pt x="206" y="148"/>
                  </a:cubicBezTo>
                  <a:cubicBezTo>
                    <a:pt x="201" y="189"/>
                    <a:pt x="196" y="237"/>
                    <a:pt x="196" y="251"/>
                  </a:cubicBezTo>
                  <a:cubicBezTo>
                    <a:pt x="196" y="275"/>
                    <a:pt x="264" y="226"/>
                    <a:pt x="295" y="251"/>
                  </a:cubicBezTo>
                  <a:cubicBezTo>
                    <a:pt x="325" y="275"/>
                    <a:pt x="319" y="312"/>
                    <a:pt x="282" y="331"/>
                  </a:cubicBezTo>
                  <a:cubicBezTo>
                    <a:pt x="245" y="349"/>
                    <a:pt x="270" y="393"/>
                    <a:pt x="301" y="411"/>
                  </a:cubicBezTo>
                  <a:cubicBezTo>
                    <a:pt x="332" y="430"/>
                    <a:pt x="325" y="467"/>
                    <a:pt x="325" y="516"/>
                  </a:cubicBezTo>
                  <a:cubicBezTo>
                    <a:pt x="325" y="565"/>
                    <a:pt x="325" y="627"/>
                    <a:pt x="295" y="633"/>
                  </a:cubicBezTo>
                  <a:cubicBezTo>
                    <a:pt x="264" y="639"/>
                    <a:pt x="245" y="615"/>
                    <a:pt x="220" y="621"/>
                  </a:cubicBezTo>
                  <a:cubicBezTo>
                    <a:pt x="196" y="627"/>
                    <a:pt x="190" y="559"/>
                    <a:pt x="165" y="559"/>
                  </a:cubicBezTo>
                  <a:cubicBezTo>
                    <a:pt x="140" y="559"/>
                    <a:pt x="153" y="615"/>
                    <a:pt x="122" y="615"/>
                  </a:cubicBezTo>
                  <a:cubicBezTo>
                    <a:pt x="91" y="615"/>
                    <a:pt x="42" y="609"/>
                    <a:pt x="60" y="658"/>
                  </a:cubicBezTo>
                  <a:cubicBezTo>
                    <a:pt x="79" y="707"/>
                    <a:pt x="97" y="738"/>
                    <a:pt x="48" y="738"/>
                  </a:cubicBezTo>
                  <a:cubicBezTo>
                    <a:pt x="24" y="738"/>
                    <a:pt x="10" y="752"/>
                    <a:pt x="0" y="767"/>
                  </a:cubicBezTo>
                  <a:cubicBezTo>
                    <a:pt x="3" y="769"/>
                    <a:pt x="7" y="772"/>
                    <a:pt x="11" y="775"/>
                  </a:cubicBezTo>
                  <a:cubicBezTo>
                    <a:pt x="52" y="807"/>
                    <a:pt x="78" y="844"/>
                    <a:pt x="96" y="880"/>
                  </a:cubicBezTo>
                  <a:cubicBezTo>
                    <a:pt x="137" y="852"/>
                    <a:pt x="179" y="827"/>
                    <a:pt x="190" y="8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2" name="Freeform 42"/>
            <p:cNvSpPr>
              <a:spLocks/>
            </p:cNvSpPr>
            <p:nvPr/>
          </p:nvSpPr>
          <p:spPr bwMode="auto">
            <a:xfrm>
              <a:off x="12736497" y="7615380"/>
              <a:ext cx="836014" cy="1030356"/>
            </a:xfrm>
            <a:custGeom>
              <a:avLst/>
              <a:gdLst>
                <a:gd name="T0" fmla="*/ 1248 w 1655"/>
                <a:gd name="T1" fmla="*/ 110 h 2040"/>
                <a:gd name="T2" fmla="*/ 1135 w 1655"/>
                <a:gd name="T3" fmla="*/ 128 h 2040"/>
                <a:gd name="T4" fmla="*/ 958 w 1655"/>
                <a:gd name="T5" fmla="*/ 110 h 2040"/>
                <a:gd name="T6" fmla="*/ 314 w 1655"/>
                <a:gd name="T7" fmla="*/ 134 h 2040"/>
                <a:gd name="T8" fmla="*/ 222 w 1655"/>
                <a:gd name="T9" fmla="*/ 344 h 2040"/>
                <a:gd name="T10" fmla="*/ 209 w 1655"/>
                <a:gd name="T11" fmla="*/ 774 h 2040"/>
                <a:gd name="T12" fmla="*/ 86 w 1655"/>
                <a:gd name="T13" fmla="*/ 891 h 2040"/>
                <a:gd name="T14" fmla="*/ 37 w 1655"/>
                <a:gd name="T15" fmla="*/ 1039 h 2040"/>
                <a:gd name="T16" fmla="*/ 68 w 1655"/>
                <a:gd name="T17" fmla="*/ 1168 h 2040"/>
                <a:gd name="T18" fmla="*/ 105 w 1655"/>
                <a:gd name="T19" fmla="*/ 1273 h 2040"/>
                <a:gd name="T20" fmla="*/ 185 w 1655"/>
                <a:gd name="T21" fmla="*/ 1458 h 2040"/>
                <a:gd name="T22" fmla="*/ 215 w 1655"/>
                <a:gd name="T23" fmla="*/ 1501 h 2040"/>
                <a:gd name="T24" fmla="*/ 308 w 1655"/>
                <a:gd name="T25" fmla="*/ 1569 h 2040"/>
                <a:gd name="T26" fmla="*/ 413 w 1655"/>
                <a:gd name="T27" fmla="*/ 1686 h 2040"/>
                <a:gd name="T28" fmla="*/ 517 w 1655"/>
                <a:gd name="T29" fmla="*/ 1802 h 2040"/>
                <a:gd name="T30" fmla="*/ 566 w 1655"/>
                <a:gd name="T31" fmla="*/ 1886 h 2040"/>
                <a:gd name="T32" fmla="*/ 671 w 1655"/>
                <a:gd name="T33" fmla="*/ 1936 h 2040"/>
                <a:gd name="T34" fmla="*/ 776 w 1655"/>
                <a:gd name="T35" fmla="*/ 1929 h 2040"/>
                <a:gd name="T36" fmla="*/ 965 w 1655"/>
                <a:gd name="T37" fmla="*/ 2005 h 2040"/>
                <a:gd name="T38" fmla="*/ 1100 w 1655"/>
                <a:gd name="T39" fmla="*/ 2003 h 2040"/>
                <a:gd name="T40" fmla="*/ 1196 w 1655"/>
                <a:gd name="T41" fmla="*/ 1966 h 2040"/>
                <a:gd name="T42" fmla="*/ 1288 w 1655"/>
                <a:gd name="T43" fmla="*/ 1896 h 2040"/>
                <a:gd name="T44" fmla="*/ 1373 w 1655"/>
                <a:gd name="T45" fmla="*/ 1918 h 2040"/>
                <a:gd name="T46" fmla="*/ 1282 w 1655"/>
                <a:gd name="T47" fmla="*/ 1756 h 2040"/>
                <a:gd name="T48" fmla="*/ 1103 w 1655"/>
                <a:gd name="T49" fmla="*/ 1596 h 2040"/>
                <a:gd name="T50" fmla="*/ 1202 w 1655"/>
                <a:gd name="T51" fmla="*/ 1522 h 2040"/>
                <a:gd name="T52" fmla="*/ 1245 w 1655"/>
                <a:gd name="T53" fmla="*/ 1318 h 2040"/>
                <a:gd name="T54" fmla="*/ 1319 w 1655"/>
                <a:gd name="T55" fmla="*/ 1176 h 2040"/>
                <a:gd name="T56" fmla="*/ 1424 w 1655"/>
                <a:gd name="T57" fmla="*/ 1053 h 2040"/>
                <a:gd name="T58" fmla="*/ 1467 w 1655"/>
                <a:gd name="T59" fmla="*/ 800 h 2040"/>
                <a:gd name="T60" fmla="*/ 1560 w 1655"/>
                <a:gd name="T61" fmla="*/ 646 h 2040"/>
                <a:gd name="T62" fmla="*/ 1593 w 1655"/>
                <a:gd name="T63" fmla="*/ 500 h 2040"/>
                <a:gd name="T64" fmla="*/ 1512 w 1655"/>
                <a:gd name="T65" fmla="*/ 178 h 2040"/>
                <a:gd name="T66" fmla="*/ 1369 w 1655"/>
                <a:gd name="T67" fmla="*/ 0 h 2040"/>
                <a:gd name="T68" fmla="*/ 1313 w 1655"/>
                <a:gd name="T69" fmla="*/ 39 h 2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55" h="2040">
                  <a:moveTo>
                    <a:pt x="1313" y="39"/>
                  </a:moveTo>
                  <a:cubicBezTo>
                    <a:pt x="1283" y="39"/>
                    <a:pt x="1295" y="110"/>
                    <a:pt x="1248" y="110"/>
                  </a:cubicBezTo>
                  <a:cubicBezTo>
                    <a:pt x="1200" y="110"/>
                    <a:pt x="1218" y="157"/>
                    <a:pt x="1189" y="157"/>
                  </a:cubicBezTo>
                  <a:cubicBezTo>
                    <a:pt x="1159" y="157"/>
                    <a:pt x="1135" y="128"/>
                    <a:pt x="1135" y="128"/>
                  </a:cubicBezTo>
                  <a:cubicBezTo>
                    <a:pt x="1006" y="128"/>
                    <a:pt x="1006" y="128"/>
                    <a:pt x="1006" y="128"/>
                  </a:cubicBezTo>
                  <a:cubicBezTo>
                    <a:pt x="1006" y="128"/>
                    <a:pt x="976" y="98"/>
                    <a:pt x="958" y="110"/>
                  </a:cubicBezTo>
                  <a:cubicBezTo>
                    <a:pt x="941" y="122"/>
                    <a:pt x="923" y="134"/>
                    <a:pt x="923" y="134"/>
                  </a:cubicBezTo>
                  <a:cubicBezTo>
                    <a:pt x="314" y="134"/>
                    <a:pt x="314" y="134"/>
                    <a:pt x="314" y="134"/>
                  </a:cubicBezTo>
                  <a:cubicBezTo>
                    <a:pt x="314" y="256"/>
                    <a:pt x="314" y="344"/>
                    <a:pt x="314" y="344"/>
                  </a:cubicBezTo>
                  <a:cubicBezTo>
                    <a:pt x="222" y="344"/>
                    <a:pt x="222" y="344"/>
                    <a:pt x="222" y="344"/>
                  </a:cubicBezTo>
                  <a:cubicBezTo>
                    <a:pt x="222" y="670"/>
                    <a:pt x="222" y="670"/>
                    <a:pt x="222" y="670"/>
                  </a:cubicBezTo>
                  <a:cubicBezTo>
                    <a:pt x="222" y="670"/>
                    <a:pt x="228" y="768"/>
                    <a:pt x="209" y="774"/>
                  </a:cubicBezTo>
                  <a:cubicBezTo>
                    <a:pt x="191" y="781"/>
                    <a:pt x="123" y="799"/>
                    <a:pt x="123" y="830"/>
                  </a:cubicBezTo>
                  <a:cubicBezTo>
                    <a:pt x="123" y="861"/>
                    <a:pt x="117" y="885"/>
                    <a:pt x="86" y="891"/>
                  </a:cubicBezTo>
                  <a:cubicBezTo>
                    <a:pt x="55" y="898"/>
                    <a:pt x="86" y="965"/>
                    <a:pt x="43" y="965"/>
                  </a:cubicBezTo>
                  <a:cubicBezTo>
                    <a:pt x="0" y="965"/>
                    <a:pt x="62" y="1015"/>
                    <a:pt x="37" y="1039"/>
                  </a:cubicBezTo>
                  <a:cubicBezTo>
                    <a:pt x="12" y="1064"/>
                    <a:pt x="19" y="1095"/>
                    <a:pt x="49" y="1095"/>
                  </a:cubicBezTo>
                  <a:cubicBezTo>
                    <a:pt x="80" y="1095"/>
                    <a:pt x="68" y="1131"/>
                    <a:pt x="68" y="1168"/>
                  </a:cubicBezTo>
                  <a:cubicBezTo>
                    <a:pt x="68" y="1205"/>
                    <a:pt x="117" y="1230"/>
                    <a:pt x="117" y="1230"/>
                  </a:cubicBezTo>
                  <a:cubicBezTo>
                    <a:pt x="105" y="1273"/>
                    <a:pt x="105" y="1273"/>
                    <a:pt x="105" y="1273"/>
                  </a:cubicBezTo>
                  <a:cubicBezTo>
                    <a:pt x="105" y="1273"/>
                    <a:pt x="172" y="1353"/>
                    <a:pt x="179" y="1372"/>
                  </a:cubicBezTo>
                  <a:cubicBezTo>
                    <a:pt x="185" y="1390"/>
                    <a:pt x="222" y="1439"/>
                    <a:pt x="185" y="1458"/>
                  </a:cubicBezTo>
                  <a:cubicBezTo>
                    <a:pt x="148" y="1476"/>
                    <a:pt x="172" y="1495"/>
                    <a:pt x="172" y="1495"/>
                  </a:cubicBezTo>
                  <a:cubicBezTo>
                    <a:pt x="215" y="1501"/>
                    <a:pt x="215" y="1501"/>
                    <a:pt x="215" y="1501"/>
                  </a:cubicBezTo>
                  <a:cubicBezTo>
                    <a:pt x="228" y="1532"/>
                    <a:pt x="228" y="1532"/>
                    <a:pt x="228" y="1532"/>
                  </a:cubicBezTo>
                  <a:cubicBezTo>
                    <a:pt x="228" y="1532"/>
                    <a:pt x="277" y="1532"/>
                    <a:pt x="308" y="1569"/>
                  </a:cubicBezTo>
                  <a:cubicBezTo>
                    <a:pt x="339" y="1605"/>
                    <a:pt x="351" y="1612"/>
                    <a:pt x="351" y="1630"/>
                  </a:cubicBezTo>
                  <a:cubicBezTo>
                    <a:pt x="351" y="1649"/>
                    <a:pt x="376" y="1655"/>
                    <a:pt x="413" y="1686"/>
                  </a:cubicBezTo>
                  <a:cubicBezTo>
                    <a:pt x="449" y="1716"/>
                    <a:pt x="449" y="1735"/>
                    <a:pt x="449" y="1753"/>
                  </a:cubicBezTo>
                  <a:cubicBezTo>
                    <a:pt x="449" y="1772"/>
                    <a:pt x="517" y="1802"/>
                    <a:pt x="517" y="1802"/>
                  </a:cubicBezTo>
                  <a:cubicBezTo>
                    <a:pt x="540" y="1860"/>
                    <a:pt x="540" y="1860"/>
                    <a:pt x="540" y="1860"/>
                  </a:cubicBezTo>
                  <a:cubicBezTo>
                    <a:pt x="552" y="1866"/>
                    <a:pt x="561" y="1874"/>
                    <a:pt x="566" y="1886"/>
                  </a:cubicBezTo>
                  <a:cubicBezTo>
                    <a:pt x="578" y="1917"/>
                    <a:pt x="609" y="1936"/>
                    <a:pt x="609" y="1936"/>
                  </a:cubicBezTo>
                  <a:cubicBezTo>
                    <a:pt x="609" y="1936"/>
                    <a:pt x="646" y="1960"/>
                    <a:pt x="671" y="1936"/>
                  </a:cubicBezTo>
                  <a:cubicBezTo>
                    <a:pt x="696" y="1911"/>
                    <a:pt x="726" y="1942"/>
                    <a:pt x="726" y="1942"/>
                  </a:cubicBezTo>
                  <a:cubicBezTo>
                    <a:pt x="726" y="1942"/>
                    <a:pt x="757" y="1917"/>
                    <a:pt x="776" y="1929"/>
                  </a:cubicBezTo>
                  <a:cubicBezTo>
                    <a:pt x="788" y="1938"/>
                    <a:pt x="843" y="1983"/>
                    <a:pt x="891" y="2027"/>
                  </a:cubicBezTo>
                  <a:cubicBezTo>
                    <a:pt x="898" y="2024"/>
                    <a:pt x="945" y="2007"/>
                    <a:pt x="965" y="2005"/>
                  </a:cubicBezTo>
                  <a:cubicBezTo>
                    <a:pt x="987" y="2003"/>
                    <a:pt x="1018" y="2040"/>
                    <a:pt x="1027" y="2027"/>
                  </a:cubicBezTo>
                  <a:cubicBezTo>
                    <a:pt x="1036" y="2014"/>
                    <a:pt x="1082" y="1994"/>
                    <a:pt x="1100" y="2003"/>
                  </a:cubicBezTo>
                  <a:cubicBezTo>
                    <a:pt x="1118" y="2012"/>
                    <a:pt x="1160" y="2014"/>
                    <a:pt x="1162" y="1998"/>
                  </a:cubicBezTo>
                  <a:cubicBezTo>
                    <a:pt x="1163" y="1988"/>
                    <a:pt x="1182" y="1977"/>
                    <a:pt x="1196" y="1966"/>
                  </a:cubicBezTo>
                  <a:cubicBezTo>
                    <a:pt x="1202" y="1961"/>
                    <a:pt x="1207" y="1955"/>
                    <a:pt x="1208" y="1950"/>
                  </a:cubicBezTo>
                  <a:cubicBezTo>
                    <a:pt x="1213" y="1932"/>
                    <a:pt x="1266" y="1901"/>
                    <a:pt x="1288" y="1896"/>
                  </a:cubicBezTo>
                  <a:cubicBezTo>
                    <a:pt x="1310" y="1892"/>
                    <a:pt x="1337" y="1890"/>
                    <a:pt x="1348" y="1903"/>
                  </a:cubicBezTo>
                  <a:cubicBezTo>
                    <a:pt x="1353" y="1909"/>
                    <a:pt x="1363" y="1914"/>
                    <a:pt x="1373" y="1918"/>
                  </a:cubicBezTo>
                  <a:cubicBezTo>
                    <a:pt x="1380" y="1862"/>
                    <a:pt x="1393" y="1831"/>
                    <a:pt x="1375" y="1831"/>
                  </a:cubicBezTo>
                  <a:cubicBezTo>
                    <a:pt x="1350" y="1831"/>
                    <a:pt x="1300" y="1806"/>
                    <a:pt x="1282" y="1756"/>
                  </a:cubicBezTo>
                  <a:cubicBezTo>
                    <a:pt x="1263" y="1707"/>
                    <a:pt x="1208" y="1676"/>
                    <a:pt x="1196" y="1645"/>
                  </a:cubicBezTo>
                  <a:cubicBezTo>
                    <a:pt x="1183" y="1615"/>
                    <a:pt x="1115" y="1621"/>
                    <a:pt x="1103" y="1596"/>
                  </a:cubicBezTo>
                  <a:cubicBezTo>
                    <a:pt x="1091" y="1571"/>
                    <a:pt x="1122" y="1571"/>
                    <a:pt x="1122" y="1540"/>
                  </a:cubicBezTo>
                  <a:cubicBezTo>
                    <a:pt x="1122" y="1510"/>
                    <a:pt x="1196" y="1528"/>
                    <a:pt x="1202" y="1522"/>
                  </a:cubicBezTo>
                  <a:cubicBezTo>
                    <a:pt x="1208" y="1516"/>
                    <a:pt x="1214" y="1448"/>
                    <a:pt x="1214" y="1411"/>
                  </a:cubicBezTo>
                  <a:cubicBezTo>
                    <a:pt x="1214" y="1374"/>
                    <a:pt x="1263" y="1337"/>
                    <a:pt x="1245" y="1318"/>
                  </a:cubicBezTo>
                  <a:cubicBezTo>
                    <a:pt x="1226" y="1300"/>
                    <a:pt x="1263" y="1294"/>
                    <a:pt x="1288" y="1275"/>
                  </a:cubicBezTo>
                  <a:cubicBezTo>
                    <a:pt x="1313" y="1257"/>
                    <a:pt x="1294" y="1201"/>
                    <a:pt x="1319" y="1176"/>
                  </a:cubicBezTo>
                  <a:cubicBezTo>
                    <a:pt x="1344" y="1152"/>
                    <a:pt x="1362" y="1102"/>
                    <a:pt x="1381" y="1102"/>
                  </a:cubicBezTo>
                  <a:cubicBezTo>
                    <a:pt x="1399" y="1102"/>
                    <a:pt x="1424" y="1078"/>
                    <a:pt x="1424" y="1053"/>
                  </a:cubicBezTo>
                  <a:cubicBezTo>
                    <a:pt x="1424" y="1028"/>
                    <a:pt x="1467" y="979"/>
                    <a:pt x="1461" y="936"/>
                  </a:cubicBezTo>
                  <a:cubicBezTo>
                    <a:pt x="1455" y="893"/>
                    <a:pt x="1436" y="837"/>
                    <a:pt x="1467" y="800"/>
                  </a:cubicBezTo>
                  <a:cubicBezTo>
                    <a:pt x="1498" y="763"/>
                    <a:pt x="1510" y="732"/>
                    <a:pt x="1504" y="701"/>
                  </a:cubicBezTo>
                  <a:cubicBezTo>
                    <a:pt x="1498" y="670"/>
                    <a:pt x="1541" y="664"/>
                    <a:pt x="1560" y="646"/>
                  </a:cubicBezTo>
                  <a:cubicBezTo>
                    <a:pt x="1573" y="633"/>
                    <a:pt x="1620" y="613"/>
                    <a:pt x="1655" y="557"/>
                  </a:cubicBezTo>
                  <a:cubicBezTo>
                    <a:pt x="1632" y="529"/>
                    <a:pt x="1608" y="507"/>
                    <a:pt x="1593" y="500"/>
                  </a:cubicBezTo>
                  <a:cubicBezTo>
                    <a:pt x="1558" y="484"/>
                    <a:pt x="1534" y="422"/>
                    <a:pt x="1534" y="343"/>
                  </a:cubicBezTo>
                  <a:cubicBezTo>
                    <a:pt x="1534" y="265"/>
                    <a:pt x="1515" y="203"/>
                    <a:pt x="1512" y="178"/>
                  </a:cubicBezTo>
                  <a:cubicBezTo>
                    <a:pt x="1509" y="153"/>
                    <a:pt x="1470" y="100"/>
                    <a:pt x="1425" y="75"/>
                  </a:cubicBezTo>
                  <a:cubicBezTo>
                    <a:pt x="1392" y="57"/>
                    <a:pt x="1374" y="30"/>
                    <a:pt x="1369" y="0"/>
                  </a:cubicBezTo>
                  <a:cubicBezTo>
                    <a:pt x="1368" y="1"/>
                    <a:pt x="1367" y="3"/>
                    <a:pt x="1366" y="4"/>
                  </a:cubicBezTo>
                  <a:cubicBezTo>
                    <a:pt x="1336" y="45"/>
                    <a:pt x="1342" y="39"/>
                    <a:pt x="1313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3" name="Freeform 43"/>
            <p:cNvSpPr>
              <a:spLocks/>
            </p:cNvSpPr>
            <p:nvPr/>
          </p:nvSpPr>
          <p:spPr bwMode="auto">
            <a:xfrm>
              <a:off x="13729995" y="8173280"/>
              <a:ext cx="100523" cy="95496"/>
            </a:xfrm>
            <a:custGeom>
              <a:avLst/>
              <a:gdLst>
                <a:gd name="T0" fmla="*/ 71 w 196"/>
                <a:gd name="T1" fmla="*/ 22 h 189"/>
                <a:gd name="T2" fmla="*/ 22 w 196"/>
                <a:gd name="T3" fmla="*/ 92 h 189"/>
                <a:gd name="T4" fmla="*/ 19 w 196"/>
                <a:gd name="T5" fmla="*/ 176 h 189"/>
                <a:gd name="T6" fmla="*/ 75 w 196"/>
                <a:gd name="T7" fmla="*/ 172 h 189"/>
                <a:gd name="T8" fmla="*/ 122 w 196"/>
                <a:gd name="T9" fmla="*/ 189 h 189"/>
                <a:gd name="T10" fmla="*/ 163 w 196"/>
                <a:gd name="T11" fmla="*/ 140 h 189"/>
                <a:gd name="T12" fmla="*/ 110 w 196"/>
                <a:gd name="T13" fmla="*/ 117 h 189"/>
                <a:gd name="T14" fmla="*/ 168 w 196"/>
                <a:gd name="T15" fmla="*/ 71 h 189"/>
                <a:gd name="T16" fmla="*/ 159 w 196"/>
                <a:gd name="T17" fmla="*/ 12 h 189"/>
                <a:gd name="T18" fmla="*/ 145 w 196"/>
                <a:gd name="T19" fmla="*/ 0 h 189"/>
                <a:gd name="T20" fmla="*/ 118 w 196"/>
                <a:gd name="T21" fmla="*/ 19 h 189"/>
                <a:gd name="T22" fmla="*/ 71 w 196"/>
                <a:gd name="T23" fmla="*/ 2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189">
                  <a:moveTo>
                    <a:pt x="71" y="22"/>
                  </a:moveTo>
                  <a:cubicBezTo>
                    <a:pt x="65" y="32"/>
                    <a:pt x="41" y="70"/>
                    <a:pt x="22" y="92"/>
                  </a:cubicBezTo>
                  <a:cubicBezTo>
                    <a:pt x="0" y="116"/>
                    <a:pt x="13" y="163"/>
                    <a:pt x="19" y="176"/>
                  </a:cubicBezTo>
                  <a:cubicBezTo>
                    <a:pt x="25" y="188"/>
                    <a:pt x="56" y="185"/>
                    <a:pt x="75" y="172"/>
                  </a:cubicBezTo>
                  <a:cubicBezTo>
                    <a:pt x="90" y="163"/>
                    <a:pt x="100" y="168"/>
                    <a:pt x="122" y="189"/>
                  </a:cubicBezTo>
                  <a:cubicBezTo>
                    <a:pt x="133" y="172"/>
                    <a:pt x="149" y="154"/>
                    <a:pt x="163" y="140"/>
                  </a:cubicBezTo>
                  <a:cubicBezTo>
                    <a:pt x="139" y="125"/>
                    <a:pt x="116" y="123"/>
                    <a:pt x="110" y="117"/>
                  </a:cubicBezTo>
                  <a:cubicBezTo>
                    <a:pt x="100" y="107"/>
                    <a:pt x="139" y="77"/>
                    <a:pt x="168" y="71"/>
                  </a:cubicBezTo>
                  <a:cubicBezTo>
                    <a:pt x="196" y="65"/>
                    <a:pt x="182" y="33"/>
                    <a:pt x="159" y="12"/>
                  </a:cubicBezTo>
                  <a:cubicBezTo>
                    <a:pt x="155" y="9"/>
                    <a:pt x="150" y="4"/>
                    <a:pt x="145" y="0"/>
                  </a:cubicBezTo>
                  <a:cubicBezTo>
                    <a:pt x="132" y="8"/>
                    <a:pt x="122" y="15"/>
                    <a:pt x="118" y="19"/>
                  </a:cubicBezTo>
                  <a:cubicBezTo>
                    <a:pt x="111" y="29"/>
                    <a:pt x="95" y="25"/>
                    <a:pt x="71" y="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13461935" y="7896844"/>
              <a:ext cx="341777" cy="291516"/>
            </a:xfrm>
            <a:custGeom>
              <a:avLst/>
              <a:gdLst>
                <a:gd name="T0" fmla="*/ 124 w 676"/>
                <a:gd name="T1" fmla="*/ 89 h 578"/>
                <a:gd name="T2" fmla="*/ 68 w 676"/>
                <a:gd name="T3" fmla="*/ 144 h 578"/>
                <a:gd name="T4" fmla="*/ 31 w 676"/>
                <a:gd name="T5" fmla="*/ 243 h 578"/>
                <a:gd name="T6" fmla="*/ 25 w 676"/>
                <a:gd name="T7" fmla="*/ 378 h 578"/>
                <a:gd name="T8" fmla="*/ 108 w 676"/>
                <a:gd name="T9" fmla="*/ 382 h 578"/>
                <a:gd name="T10" fmla="*/ 139 w 676"/>
                <a:gd name="T11" fmla="*/ 351 h 578"/>
                <a:gd name="T12" fmla="*/ 186 w 676"/>
                <a:gd name="T13" fmla="*/ 339 h 578"/>
                <a:gd name="T14" fmla="*/ 248 w 676"/>
                <a:gd name="T15" fmla="*/ 364 h 578"/>
                <a:gd name="T16" fmla="*/ 292 w 676"/>
                <a:gd name="T17" fmla="*/ 364 h 578"/>
                <a:gd name="T18" fmla="*/ 391 w 676"/>
                <a:gd name="T19" fmla="*/ 364 h 578"/>
                <a:gd name="T20" fmla="*/ 603 w 676"/>
                <a:gd name="T21" fmla="*/ 569 h 578"/>
                <a:gd name="T22" fmla="*/ 602 w 676"/>
                <a:gd name="T23" fmla="*/ 571 h 578"/>
                <a:gd name="T24" fmla="*/ 649 w 676"/>
                <a:gd name="T25" fmla="*/ 568 h 578"/>
                <a:gd name="T26" fmla="*/ 676 w 676"/>
                <a:gd name="T27" fmla="*/ 549 h 578"/>
                <a:gd name="T28" fmla="*/ 570 w 676"/>
                <a:gd name="T29" fmla="*/ 430 h 578"/>
                <a:gd name="T30" fmla="*/ 412 w 676"/>
                <a:gd name="T31" fmla="*/ 320 h 578"/>
                <a:gd name="T32" fmla="*/ 349 w 676"/>
                <a:gd name="T33" fmla="*/ 257 h 578"/>
                <a:gd name="T34" fmla="*/ 275 w 676"/>
                <a:gd name="T35" fmla="*/ 111 h 578"/>
                <a:gd name="T36" fmla="*/ 219 w 676"/>
                <a:gd name="T37" fmla="*/ 0 h 578"/>
                <a:gd name="T38" fmla="*/ 124 w 676"/>
                <a:gd name="T39" fmla="*/ 89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76" h="578">
                  <a:moveTo>
                    <a:pt x="124" y="89"/>
                  </a:moveTo>
                  <a:cubicBezTo>
                    <a:pt x="105" y="107"/>
                    <a:pt x="62" y="113"/>
                    <a:pt x="68" y="144"/>
                  </a:cubicBezTo>
                  <a:cubicBezTo>
                    <a:pt x="74" y="175"/>
                    <a:pt x="62" y="206"/>
                    <a:pt x="31" y="243"/>
                  </a:cubicBezTo>
                  <a:cubicBezTo>
                    <a:pt x="0" y="280"/>
                    <a:pt x="18" y="335"/>
                    <a:pt x="25" y="378"/>
                  </a:cubicBezTo>
                  <a:cubicBezTo>
                    <a:pt x="62" y="375"/>
                    <a:pt x="101" y="375"/>
                    <a:pt x="108" y="382"/>
                  </a:cubicBezTo>
                  <a:cubicBezTo>
                    <a:pt x="124" y="398"/>
                    <a:pt x="130" y="382"/>
                    <a:pt x="139" y="351"/>
                  </a:cubicBezTo>
                  <a:cubicBezTo>
                    <a:pt x="149" y="320"/>
                    <a:pt x="167" y="323"/>
                    <a:pt x="186" y="339"/>
                  </a:cubicBezTo>
                  <a:cubicBezTo>
                    <a:pt x="205" y="354"/>
                    <a:pt x="217" y="379"/>
                    <a:pt x="248" y="364"/>
                  </a:cubicBezTo>
                  <a:cubicBezTo>
                    <a:pt x="279" y="348"/>
                    <a:pt x="276" y="357"/>
                    <a:pt x="292" y="364"/>
                  </a:cubicBezTo>
                  <a:cubicBezTo>
                    <a:pt x="307" y="370"/>
                    <a:pt x="370" y="361"/>
                    <a:pt x="391" y="364"/>
                  </a:cubicBezTo>
                  <a:cubicBezTo>
                    <a:pt x="413" y="367"/>
                    <a:pt x="603" y="569"/>
                    <a:pt x="603" y="569"/>
                  </a:cubicBezTo>
                  <a:cubicBezTo>
                    <a:pt x="603" y="569"/>
                    <a:pt x="603" y="570"/>
                    <a:pt x="602" y="571"/>
                  </a:cubicBezTo>
                  <a:cubicBezTo>
                    <a:pt x="626" y="574"/>
                    <a:pt x="642" y="578"/>
                    <a:pt x="649" y="568"/>
                  </a:cubicBezTo>
                  <a:cubicBezTo>
                    <a:pt x="653" y="564"/>
                    <a:pt x="663" y="557"/>
                    <a:pt x="676" y="549"/>
                  </a:cubicBezTo>
                  <a:cubicBezTo>
                    <a:pt x="652" y="526"/>
                    <a:pt x="617" y="489"/>
                    <a:pt x="570" y="430"/>
                  </a:cubicBezTo>
                  <a:cubicBezTo>
                    <a:pt x="514" y="359"/>
                    <a:pt x="448" y="320"/>
                    <a:pt x="412" y="320"/>
                  </a:cubicBezTo>
                  <a:cubicBezTo>
                    <a:pt x="377" y="320"/>
                    <a:pt x="371" y="260"/>
                    <a:pt x="349" y="257"/>
                  </a:cubicBezTo>
                  <a:cubicBezTo>
                    <a:pt x="327" y="254"/>
                    <a:pt x="276" y="167"/>
                    <a:pt x="275" y="111"/>
                  </a:cubicBezTo>
                  <a:cubicBezTo>
                    <a:pt x="274" y="79"/>
                    <a:pt x="248" y="35"/>
                    <a:pt x="219" y="0"/>
                  </a:cubicBezTo>
                  <a:cubicBezTo>
                    <a:pt x="184" y="56"/>
                    <a:pt x="137" y="76"/>
                    <a:pt x="124" y="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13287696" y="8057680"/>
              <a:ext cx="760621" cy="591408"/>
            </a:xfrm>
            <a:custGeom>
              <a:avLst/>
              <a:gdLst>
                <a:gd name="T0" fmla="*/ 105 w 1505"/>
                <a:gd name="T1" fmla="*/ 768 h 1170"/>
                <a:gd name="T2" fmla="*/ 191 w 1505"/>
                <a:gd name="T3" fmla="*/ 879 h 1170"/>
                <a:gd name="T4" fmla="*/ 284 w 1505"/>
                <a:gd name="T5" fmla="*/ 954 h 1170"/>
                <a:gd name="T6" fmla="*/ 282 w 1505"/>
                <a:gd name="T7" fmla="*/ 1041 h 1170"/>
                <a:gd name="T8" fmla="*/ 314 w 1505"/>
                <a:gd name="T9" fmla="*/ 1055 h 1170"/>
                <a:gd name="T10" fmla="*/ 416 w 1505"/>
                <a:gd name="T11" fmla="*/ 1075 h 1170"/>
                <a:gd name="T12" fmla="*/ 531 w 1505"/>
                <a:gd name="T13" fmla="*/ 1141 h 1170"/>
                <a:gd name="T14" fmla="*/ 647 w 1505"/>
                <a:gd name="T15" fmla="*/ 1161 h 1170"/>
                <a:gd name="T16" fmla="*/ 713 w 1505"/>
                <a:gd name="T17" fmla="*/ 1108 h 1170"/>
                <a:gd name="T18" fmla="*/ 799 w 1505"/>
                <a:gd name="T19" fmla="*/ 1090 h 1170"/>
                <a:gd name="T20" fmla="*/ 848 w 1505"/>
                <a:gd name="T21" fmla="*/ 1110 h 1170"/>
                <a:gd name="T22" fmla="*/ 898 w 1505"/>
                <a:gd name="T23" fmla="*/ 1096 h 1170"/>
                <a:gd name="T24" fmla="*/ 979 w 1505"/>
                <a:gd name="T25" fmla="*/ 1084 h 1170"/>
                <a:gd name="T26" fmla="*/ 1109 w 1505"/>
                <a:gd name="T27" fmla="*/ 1015 h 1170"/>
                <a:gd name="T28" fmla="*/ 1220 w 1505"/>
                <a:gd name="T29" fmla="*/ 995 h 1170"/>
                <a:gd name="T30" fmla="*/ 1485 w 1505"/>
                <a:gd name="T31" fmla="*/ 729 h 1170"/>
                <a:gd name="T32" fmla="*/ 1450 w 1505"/>
                <a:gd name="T33" fmla="*/ 707 h 1170"/>
                <a:gd name="T34" fmla="*/ 1313 w 1505"/>
                <a:gd name="T35" fmla="*/ 676 h 1170"/>
                <a:gd name="T36" fmla="*/ 1111 w 1505"/>
                <a:gd name="T37" fmla="*/ 606 h 1170"/>
                <a:gd name="T38" fmla="*/ 1045 w 1505"/>
                <a:gd name="T39" fmla="*/ 546 h 1170"/>
                <a:gd name="T40" fmla="*/ 983 w 1505"/>
                <a:gd name="T41" fmla="*/ 455 h 1170"/>
                <a:gd name="T42" fmla="*/ 998 w 1505"/>
                <a:gd name="T43" fmla="*/ 418 h 1170"/>
                <a:gd name="T44" fmla="*/ 951 w 1505"/>
                <a:gd name="T45" fmla="*/ 401 h 1170"/>
                <a:gd name="T46" fmla="*/ 895 w 1505"/>
                <a:gd name="T47" fmla="*/ 405 h 1170"/>
                <a:gd name="T48" fmla="*/ 898 w 1505"/>
                <a:gd name="T49" fmla="*/ 321 h 1170"/>
                <a:gd name="T50" fmla="*/ 948 w 1505"/>
                <a:gd name="T51" fmla="*/ 249 h 1170"/>
                <a:gd name="T52" fmla="*/ 736 w 1505"/>
                <a:gd name="T53" fmla="*/ 44 h 1170"/>
                <a:gd name="T54" fmla="*/ 637 w 1505"/>
                <a:gd name="T55" fmla="*/ 44 h 1170"/>
                <a:gd name="T56" fmla="*/ 593 w 1505"/>
                <a:gd name="T57" fmla="*/ 44 h 1170"/>
                <a:gd name="T58" fmla="*/ 531 w 1505"/>
                <a:gd name="T59" fmla="*/ 19 h 1170"/>
                <a:gd name="T60" fmla="*/ 484 w 1505"/>
                <a:gd name="T61" fmla="*/ 31 h 1170"/>
                <a:gd name="T62" fmla="*/ 453 w 1505"/>
                <a:gd name="T63" fmla="*/ 62 h 1170"/>
                <a:gd name="T64" fmla="*/ 370 w 1505"/>
                <a:gd name="T65" fmla="*/ 58 h 1170"/>
                <a:gd name="T66" fmla="*/ 370 w 1505"/>
                <a:gd name="T67" fmla="*/ 59 h 1170"/>
                <a:gd name="T68" fmla="*/ 333 w 1505"/>
                <a:gd name="T69" fmla="*/ 176 h 1170"/>
                <a:gd name="T70" fmla="*/ 290 w 1505"/>
                <a:gd name="T71" fmla="*/ 225 h 1170"/>
                <a:gd name="T72" fmla="*/ 228 w 1505"/>
                <a:gd name="T73" fmla="*/ 299 h 1170"/>
                <a:gd name="T74" fmla="*/ 197 w 1505"/>
                <a:gd name="T75" fmla="*/ 398 h 1170"/>
                <a:gd name="T76" fmla="*/ 154 w 1505"/>
                <a:gd name="T77" fmla="*/ 441 h 1170"/>
                <a:gd name="T78" fmla="*/ 123 w 1505"/>
                <a:gd name="T79" fmla="*/ 534 h 1170"/>
                <a:gd name="T80" fmla="*/ 111 w 1505"/>
                <a:gd name="T81" fmla="*/ 645 h 1170"/>
                <a:gd name="T82" fmla="*/ 31 w 1505"/>
                <a:gd name="T83" fmla="*/ 663 h 1170"/>
                <a:gd name="T84" fmla="*/ 12 w 1505"/>
                <a:gd name="T85" fmla="*/ 719 h 1170"/>
                <a:gd name="T86" fmla="*/ 105 w 1505"/>
                <a:gd name="T87" fmla="*/ 768 h 1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05" h="1170">
                  <a:moveTo>
                    <a:pt x="105" y="768"/>
                  </a:moveTo>
                  <a:cubicBezTo>
                    <a:pt x="117" y="799"/>
                    <a:pt x="172" y="830"/>
                    <a:pt x="191" y="879"/>
                  </a:cubicBezTo>
                  <a:cubicBezTo>
                    <a:pt x="209" y="929"/>
                    <a:pt x="259" y="954"/>
                    <a:pt x="284" y="954"/>
                  </a:cubicBezTo>
                  <a:cubicBezTo>
                    <a:pt x="302" y="954"/>
                    <a:pt x="289" y="985"/>
                    <a:pt x="282" y="1041"/>
                  </a:cubicBezTo>
                  <a:cubicBezTo>
                    <a:pt x="294" y="1046"/>
                    <a:pt x="306" y="1050"/>
                    <a:pt x="314" y="1055"/>
                  </a:cubicBezTo>
                  <a:cubicBezTo>
                    <a:pt x="330" y="1064"/>
                    <a:pt x="394" y="1055"/>
                    <a:pt x="416" y="1075"/>
                  </a:cubicBezTo>
                  <a:cubicBezTo>
                    <a:pt x="438" y="1095"/>
                    <a:pt x="509" y="1141"/>
                    <a:pt x="531" y="1141"/>
                  </a:cubicBezTo>
                  <a:cubicBezTo>
                    <a:pt x="554" y="1141"/>
                    <a:pt x="633" y="1152"/>
                    <a:pt x="647" y="1161"/>
                  </a:cubicBezTo>
                  <a:cubicBezTo>
                    <a:pt x="660" y="1170"/>
                    <a:pt x="678" y="1128"/>
                    <a:pt x="713" y="1108"/>
                  </a:cubicBezTo>
                  <a:cubicBezTo>
                    <a:pt x="748" y="1088"/>
                    <a:pt x="793" y="1075"/>
                    <a:pt x="799" y="1090"/>
                  </a:cubicBezTo>
                  <a:cubicBezTo>
                    <a:pt x="806" y="1106"/>
                    <a:pt x="830" y="1119"/>
                    <a:pt x="848" y="1110"/>
                  </a:cubicBezTo>
                  <a:cubicBezTo>
                    <a:pt x="855" y="1107"/>
                    <a:pt x="875" y="1101"/>
                    <a:pt x="898" y="1096"/>
                  </a:cubicBezTo>
                  <a:cubicBezTo>
                    <a:pt x="930" y="1089"/>
                    <a:pt x="968" y="1082"/>
                    <a:pt x="979" y="1084"/>
                  </a:cubicBezTo>
                  <a:cubicBezTo>
                    <a:pt x="996" y="1086"/>
                    <a:pt x="1045" y="1015"/>
                    <a:pt x="1109" y="1015"/>
                  </a:cubicBezTo>
                  <a:cubicBezTo>
                    <a:pt x="1173" y="1015"/>
                    <a:pt x="1191" y="1026"/>
                    <a:pt x="1220" y="995"/>
                  </a:cubicBezTo>
                  <a:cubicBezTo>
                    <a:pt x="1249" y="964"/>
                    <a:pt x="1466" y="745"/>
                    <a:pt x="1485" y="729"/>
                  </a:cubicBezTo>
                  <a:cubicBezTo>
                    <a:pt x="1505" y="714"/>
                    <a:pt x="1472" y="707"/>
                    <a:pt x="1450" y="707"/>
                  </a:cubicBezTo>
                  <a:cubicBezTo>
                    <a:pt x="1428" y="707"/>
                    <a:pt x="1384" y="705"/>
                    <a:pt x="1313" y="676"/>
                  </a:cubicBezTo>
                  <a:cubicBezTo>
                    <a:pt x="1242" y="648"/>
                    <a:pt x="1131" y="610"/>
                    <a:pt x="1111" y="606"/>
                  </a:cubicBezTo>
                  <a:cubicBezTo>
                    <a:pt x="1091" y="601"/>
                    <a:pt x="1063" y="555"/>
                    <a:pt x="1045" y="546"/>
                  </a:cubicBezTo>
                  <a:cubicBezTo>
                    <a:pt x="1027" y="537"/>
                    <a:pt x="992" y="475"/>
                    <a:pt x="983" y="455"/>
                  </a:cubicBezTo>
                  <a:cubicBezTo>
                    <a:pt x="980" y="448"/>
                    <a:pt x="987" y="434"/>
                    <a:pt x="998" y="418"/>
                  </a:cubicBezTo>
                  <a:cubicBezTo>
                    <a:pt x="976" y="397"/>
                    <a:pt x="966" y="392"/>
                    <a:pt x="951" y="401"/>
                  </a:cubicBezTo>
                  <a:cubicBezTo>
                    <a:pt x="932" y="414"/>
                    <a:pt x="901" y="417"/>
                    <a:pt x="895" y="405"/>
                  </a:cubicBezTo>
                  <a:cubicBezTo>
                    <a:pt x="889" y="392"/>
                    <a:pt x="876" y="345"/>
                    <a:pt x="898" y="321"/>
                  </a:cubicBezTo>
                  <a:cubicBezTo>
                    <a:pt x="920" y="296"/>
                    <a:pt x="948" y="249"/>
                    <a:pt x="948" y="249"/>
                  </a:cubicBezTo>
                  <a:cubicBezTo>
                    <a:pt x="948" y="249"/>
                    <a:pt x="758" y="47"/>
                    <a:pt x="736" y="44"/>
                  </a:cubicBezTo>
                  <a:cubicBezTo>
                    <a:pt x="715" y="41"/>
                    <a:pt x="652" y="50"/>
                    <a:pt x="637" y="44"/>
                  </a:cubicBezTo>
                  <a:cubicBezTo>
                    <a:pt x="621" y="37"/>
                    <a:pt x="624" y="28"/>
                    <a:pt x="593" y="44"/>
                  </a:cubicBezTo>
                  <a:cubicBezTo>
                    <a:pt x="562" y="59"/>
                    <a:pt x="550" y="34"/>
                    <a:pt x="531" y="19"/>
                  </a:cubicBezTo>
                  <a:cubicBezTo>
                    <a:pt x="512" y="3"/>
                    <a:pt x="494" y="0"/>
                    <a:pt x="484" y="31"/>
                  </a:cubicBezTo>
                  <a:cubicBezTo>
                    <a:pt x="475" y="62"/>
                    <a:pt x="469" y="78"/>
                    <a:pt x="453" y="62"/>
                  </a:cubicBezTo>
                  <a:cubicBezTo>
                    <a:pt x="446" y="55"/>
                    <a:pt x="407" y="55"/>
                    <a:pt x="370" y="58"/>
                  </a:cubicBezTo>
                  <a:cubicBezTo>
                    <a:pt x="370" y="58"/>
                    <a:pt x="370" y="58"/>
                    <a:pt x="370" y="59"/>
                  </a:cubicBezTo>
                  <a:cubicBezTo>
                    <a:pt x="376" y="102"/>
                    <a:pt x="333" y="151"/>
                    <a:pt x="333" y="176"/>
                  </a:cubicBezTo>
                  <a:cubicBezTo>
                    <a:pt x="333" y="201"/>
                    <a:pt x="308" y="225"/>
                    <a:pt x="290" y="225"/>
                  </a:cubicBezTo>
                  <a:cubicBezTo>
                    <a:pt x="271" y="225"/>
                    <a:pt x="253" y="275"/>
                    <a:pt x="228" y="299"/>
                  </a:cubicBezTo>
                  <a:cubicBezTo>
                    <a:pt x="203" y="324"/>
                    <a:pt x="222" y="380"/>
                    <a:pt x="197" y="398"/>
                  </a:cubicBezTo>
                  <a:cubicBezTo>
                    <a:pt x="172" y="417"/>
                    <a:pt x="135" y="423"/>
                    <a:pt x="154" y="441"/>
                  </a:cubicBezTo>
                  <a:cubicBezTo>
                    <a:pt x="172" y="460"/>
                    <a:pt x="123" y="497"/>
                    <a:pt x="123" y="534"/>
                  </a:cubicBezTo>
                  <a:cubicBezTo>
                    <a:pt x="123" y="571"/>
                    <a:pt x="117" y="639"/>
                    <a:pt x="111" y="645"/>
                  </a:cubicBezTo>
                  <a:cubicBezTo>
                    <a:pt x="105" y="651"/>
                    <a:pt x="31" y="633"/>
                    <a:pt x="31" y="663"/>
                  </a:cubicBezTo>
                  <a:cubicBezTo>
                    <a:pt x="31" y="694"/>
                    <a:pt x="0" y="694"/>
                    <a:pt x="12" y="719"/>
                  </a:cubicBezTo>
                  <a:cubicBezTo>
                    <a:pt x="24" y="744"/>
                    <a:pt x="92" y="738"/>
                    <a:pt x="105" y="76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13406648" y="6977061"/>
              <a:ext cx="78743" cy="93821"/>
            </a:xfrm>
            <a:custGeom>
              <a:avLst/>
              <a:gdLst>
                <a:gd name="T0" fmla="*/ 123 w 153"/>
                <a:gd name="T1" fmla="*/ 81 h 186"/>
                <a:gd name="T2" fmla="*/ 75 w 153"/>
                <a:gd name="T3" fmla="*/ 3 h 186"/>
                <a:gd name="T4" fmla="*/ 74 w 153"/>
                <a:gd name="T5" fmla="*/ 16 h 186"/>
                <a:gd name="T6" fmla="*/ 0 w 153"/>
                <a:gd name="T7" fmla="*/ 166 h 186"/>
                <a:gd name="T8" fmla="*/ 47 w 153"/>
                <a:gd name="T9" fmla="*/ 186 h 186"/>
                <a:gd name="T10" fmla="*/ 123 w 153"/>
                <a:gd name="T11" fmla="*/ 81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3" h="186">
                  <a:moveTo>
                    <a:pt x="123" y="81"/>
                  </a:moveTo>
                  <a:cubicBezTo>
                    <a:pt x="142" y="64"/>
                    <a:pt x="153" y="0"/>
                    <a:pt x="75" y="3"/>
                  </a:cubicBezTo>
                  <a:cubicBezTo>
                    <a:pt x="74" y="7"/>
                    <a:pt x="74" y="12"/>
                    <a:pt x="74" y="16"/>
                  </a:cubicBezTo>
                  <a:cubicBezTo>
                    <a:pt x="74" y="46"/>
                    <a:pt x="26" y="109"/>
                    <a:pt x="0" y="166"/>
                  </a:cubicBezTo>
                  <a:cubicBezTo>
                    <a:pt x="47" y="186"/>
                    <a:pt x="47" y="186"/>
                    <a:pt x="47" y="186"/>
                  </a:cubicBezTo>
                  <a:cubicBezTo>
                    <a:pt x="72" y="142"/>
                    <a:pt x="108" y="94"/>
                    <a:pt x="123" y="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13431778" y="6838006"/>
              <a:ext cx="346804" cy="276437"/>
            </a:xfrm>
            <a:custGeom>
              <a:avLst/>
              <a:gdLst>
                <a:gd name="T0" fmla="*/ 76 w 687"/>
                <a:gd name="T1" fmla="*/ 358 h 548"/>
                <a:gd name="T2" fmla="*/ 0 w 687"/>
                <a:gd name="T3" fmla="*/ 463 h 548"/>
                <a:gd name="T4" fmla="*/ 5 w 687"/>
                <a:gd name="T5" fmla="*/ 465 h 548"/>
                <a:gd name="T6" fmla="*/ 13 w 687"/>
                <a:gd name="T7" fmla="*/ 501 h 548"/>
                <a:gd name="T8" fmla="*/ 104 w 687"/>
                <a:gd name="T9" fmla="*/ 548 h 548"/>
                <a:gd name="T10" fmla="*/ 198 w 687"/>
                <a:gd name="T11" fmla="*/ 497 h 548"/>
                <a:gd name="T12" fmla="*/ 541 w 687"/>
                <a:gd name="T13" fmla="*/ 323 h 548"/>
                <a:gd name="T14" fmla="*/ 565 w 687"/>
                <a:gd name="T15" fmla="*/ 264 h 548"/>
                <a:gd name="T16" fmla="*/ 573 w 687"/>
                <a:gd name="T17" fmla="*/ 185 h 548"/>
                <a:gd name="T18" fmla="*/ 565 w 687"/>
                <a:gd name="T19" fmla="*/ 102 h 548"/>
                <a:gd name="T20" fmla="*/ 628 w 687"/>
                <a:gd name="T21" fmla="*/ 55 h 548"/>
                <a:gd name="T22" fmla="*/ 687 w 687"/>
                <a:gd name="T23" fmla="*/ 12 h 548"/>
                <a:gd name="T24" fmla="*/ 648 w 687"/>
                <a:gd name="T25" fmla="*/ 0 h 548"/>
                <a:gd name="T26" fmla="*/ 537 w 687"/>
                <a:gd name="T27" fmla="*/ 16 h 548"/>
                <a:gd name="T28" fmla="*/ 403 w 687"/>
                <a:gd name="T29" fmla="*/ 55 h 548"/>
                <a:gd name="T30" fmla="*/ 289 w 687"/>
                <a:gd name="T31" fmla="*/ 51 h 548"/>
                <a:gd name="T32" fmla="*/ 226 w 687"/>
                <a:gd name="T33" fmla="*/ 63 h 548"/>
                <a:gd name="T34" fmla="*/ 135 w 687"/>
                <a:gd name="T35" fmla="*/ 63 h 548"/>
                <a:gd name="T36" fmla="*/ 96 w 687"/>
                <a:gd name="T37" fmla="*/ 87 h 548"/>
                <a:gd name="T38" fmla="*/ 37 w 687"/>
                <a:gd name="T39" fmla="*/ 156 h 548"/>
                <a:gd name="T40" fmla="*/ 36 w 687"/>
                <a:gd name="T41" fmla="*/ 206 h 548"/>
                <a:gd name="T42" fmla="*/ 28 w 687"/>
                <a:gd name="T43" fmla="*/ 280 h 548"/>
                <a:gd name="T44" fmla="*/ 76 w 687"/>
                <a:gd name="T45" fmla="*/ 358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87" h="548">
                  <a:moveTo>
                    <a:pt x="76" y="358"/>
                  </a:moveTo>
                  <a:cubicBezTo>
                    <a:pt x="61" y="371"/>
                    <a:pt x="25" y="419"/>
                    <a:pt x="0" y="463"/>
                  </a:cubicBezTo>
                  <a:cubicBezTo>
                    <a:pt x="5" y="465"/>
                    <a:pt x="5" y="465"/>
                    <a:pt x="5" y="465"/>
                  </a:cubicBezTo>
                  <a:cubicBezTo>
                    <a:pt x="13" y="501"/>
                    <a:pt x="13" y="501"/>
                    <a:pt x="13" y="501"/>
                  </a:cubicBezTo>
                  <a:cubicBezTo>
                    <a:pt x="104" y="548"/>
                    <a:pt x="104" y="548"/>
                    <a:pt x="104" y="548"/>
                  </a:cubicBezTo>
                  <a:cubicBezTo>
                    <a:pt x="104" y="548"/>
                    <a:pt x="171" y="501"/>
                    <a:pt x="198" y="497"/>
                  </a:cubicBezTo>
                  <a:cubicBezTo>
                    <a:pt x="226" y="493"/>
                    <a:pt x="541" y="323"/>
                    <a:pt x="541" y="323"/>
                  </a:cubicBezTo>
                  <a:cubicBezTo>
                    <a:pt x="541" y="323"/>
                    <a:pt x="569" y="280"/>
                    <a:pt x="565" y="264"/>
                  </a:cubicBezTo>
                  <a:cubicBezTo>
                    <a:pt x="561" y="248"/>
                    <a:pt x="557" y="205"/>
                    <a:pt x="573" y="185"/>
                  </a:cubicBezTo>
                  <a:cubicBezTo>
                    <a:pt x="589" y="166"/>
                    <a:pt x="553" y="134"/>
                    <a:pt x="565" y="102"/>
                  </a:cubicBezTo>
                  <a:cubicBezTo>
                    <a:pt x="577" y="71"/>
                    <a:pt x="628" y="55"/>
                    <a:pt x="628" y="55"/>
                  </a:cubicBezTo>
                  <a:cubicBezTo>
                    <a:pt x="687" y="12"/>
                    <a:pt x="687" y="12"/>
                    <a:pt x="687" y="12"/>
                  </a:cubicBezTo>
                  <a:cubicBezTo>
                    <a:pt x="648" y="0"/>
                    <a:pt x="648" y="0"/>
                    <a:pt x="648" y="0"/>
                  </a:cubicBezTo>
                  <a:cubicBezTo>
                    <a:pt x="648" y="0"/>
                    <a:pt x="596" y="20"/>
                    <a:pt x="537" y="16"/>
                  </a:cubicBezTo>
                  <a:cubicBezTo>
                    <a:pt x="478" y="12"/>
                    <a:pt x="466" y="55"/>
                    <a:pt x="403" y="55"/>
                  </a:cubicBezTo>
                  <a:cubicBezTo>
                    <a:pt x="340" y="55"/>
                    <a:pt x="305" y="71"/>
                    <a:pt x="289" y="51"/>
                  </a:cubicBezTo>
                  <a:cubicBezTo>
                    <a:pt x="273" y="32"/>
                    <a:pt x="269" y="43"/>
                    <a:pt x="226" y="63"/>
                  </a:cubicBezTo>
                  <a:cubicBezTo>
                    <a:pt x="183" y="83"/>
                    <a:pt x="155" y="79"/>
                    <a:pt x="135" y="63"/>
                  </a:cubicBezTo>
                  <a:cubicBezTo>
                    <a:pt x="116" y="47"/>
                    <a:pt x="100" y="67"/>
                    <a:pt x="96" y="87"/>
                  </a:cubicBezTo>
                  <a:cubicBezTo>
                    <a:pt x="92" y="105"/>
                    <a:pt x="98" y="148"/>
                    <a:pt x="37" y="156"/>
                  </a:cubicBezTo>
                  <a:cubicBezTo>
                    <a:pt x="33" y="174"/>
                    <a:pt x="25" y="193"/>
                    <a:pt x="36" y="206"/>
                  </a:cubicBezTo>
                  <a:cubicBezTo>
                    <a:pt x="52" y="226"/>
                    <a:pt x="33" y="249"/>
                    <a:pt x="28" y="280"/>
                  </a:cubicBezTo>
                  <a:cubicBezTo>
                    <a:pt x="106" y="277"/>
                    <a:pt x="95" y="341"/>
                    <a:pt x="76" y="35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17970375" y="6776016"/>
              <a:ext cx="192669" cy="239578"/>
            </a:xfrm>
            <a:custGeom>
              <a:avLst/>
              <a:gdLst>
                <a:gd name="T0" fmla="*/ 95 w 383"/>
                <a:gd name="T1" fmla="*/ 39 h 473"/>
                <a:gd name="T2" fmla="*/ 36 w 383"/>
                <a:gd name="T3" fmla="*/ 84 h 473"/>
                <a:gd name="T4" fmla="*/ 67 w 383"/>
                <a:gd name="T5" fmla="*/ 136 h 473"/>
                <a:gd name="T6" fmla="*/ 61 w 383"/>
                <a:gd name="T7" fmla="*/ 179 h 473"/>
                <a:gd name="T8" fmla="*/ 56 w 383"/>
                <a:gd name="T9" fmla="*/ 271 h 473"/>
                <a:gd name="T10" fmla="*/ 24 w 383"/>
                <a:gd name="T11" fmla="*/ 392 h 473"/>
                <a:gd name="T12" fmla="*/ 39 w 383"/>
                <a:gd name="T13" fmla="*/ 458 h 473"/>
                <a:gd name="T14" fmla="*/ 229 w 383"/>
                <a:gd name="T15" fmla="*/ 396 h 473"/>
                <a:gd name="T16" fmla="*/ 327 w 383"/>
                <a:gd name="T17" fmla="*/ 355 h 473"/>
                <a:gd name="T18" fmla="*/ 368 w 383"/>
                <a:gd name="T19" fmla="*/ 312 h 473"/>
                <a:gd name="T20" fmla="*/ 341 w 383"/>
                <a:gd name="T21" fmla="*/ 167 h 473"/>
                <a:gd name="T22" fmla="*/ 238 w 383"/>
                <a:gd name="T23" fmla="*/ 0 h 473"/>
                <a:gd name="T24" fmla="*/ 185 w 383"/>
                <a:gd name="T25" fmla="*/ 20 h 473"/>
                <a:gd name="T26" fmla="*/ 95 w 383"/>
                <a:gd name="T27" fmla="*/ 39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3" h="473">
                  <a:moveTo>
                    <a:pt x="95" y="39"/>
                  </a:moveTo>
                  <a:cubicBezTo>
                    <a:pt x="86" y="48"/>
                    <a:pt x="59" y="65"/>
                    <a:pt x="36" y="84"/>
                  </a:cubicBezTo>
                  <a:cubicBezTo>
                    <a:pt x="47" y="102"/>
                    <a:pt x="45" y="134"/>
                    <a:pt x="67" y="136"/>
                  </a:cubicBezTo>
                  <a:cubicBezTo>
                    <a:pt x="98" y="139"/>
                    <a:pt x="95" y="187"/>
                    <a:pt x="61" y="179"/>
                  </a:cubicBezTo>
                  <a:cubicBezTo>
                    <a:pt x="27" y="172"/>
                    <a:pt x="27" y="225"/>
                    <a:pt x="56" y="271"/>
                  </a:cubicBezTo>
                  <a:cubicBezTo>
                    <a:pt x="86" y="316"/>
                    <a:pt x="0" y="368"/>
                    <a:pt x="24" y="392"/>
                  </a:cubicBezTo>
                  <a:cubicBezTo>
                    <a:pt x="48" y="415"/>
                    <a:pt x="28" y="443"/>
                    <a:pt x="39" y="458"/>
                  </a:cubicBezTo>
                  <a:cubicBezTo>
                    <a:pt x="49" y="473"/>
                    <a:pt x="175" y="452"/>
                    <a:pt x="229" y="396"/>
                  </a:cubicBezTo>
                  <a:cubicBezTo>
                    <a:pt x="284" y="340"/>
                    <a:pt x="299" y="347"/>
                    <a:pt x="327" y="355"/>
                  </a:cubicBezTo>
                  <a:cubicBezTo>
                    <a:pt x="355" y="362"/>
                    <a:pt x="383" y="334"/>
                    <a:pt x="368" y="312"/>
                  </a:cubicBezTo>
                  <a:cubicBezTo>
                    <a:pt x="353" y="290"/>
                    <a:pt x="337" y="235"/>
                    <a:pt x="341" y="167"/>
                  </a:cubicBezTo>
                  <a:cubicBezTo>
                    <a:pt x="344" y="128"/>
                    <a:pt x="290" y="57"/>
                    <a:pt x="238" y="0"/>
                  </a:cubicBezTo>
                  <a:cubicBezTo>
                    <a:pt x="222" y="13"/>
                    <a:pt x="207" y="20"/>
                    <a:pt x="185" y="20"/>
                  </a:cubicBezTo>
                  <a:cubicBezTo>
                    <a:pt x="150" y="20"/>
                    <a:pt x="110" y="23"/>
                    <a:pt x="95" y="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16072172" y="7449518"/>
              <a:ext cx="226176" cy="296541"/>
            </a:xfrm>
            <a:custGeom>
              <a:avLst/>
              <a:gdLst>
                <a:gd name="T0" fmla="*/ 447 w 447"/>
                <a:gd name="T1" fmla="*/ 492 h 587"/>
                <a:gd name="T2" fmla="*/ 406 w 447"/>
                <a:gd name="T3" fmla="*/ 299 h 587"/>
                <a:gd name="T4" fmla="*/ 335 w 447"/>
                <a:gd name="T5" fmla="*/ 377 h 587"/>
                <a:gd name="T6" fmla="*/ 341 w 447"/>
                <a:gd name="T7" fmla="*/ 270 h 587"/>
                <a:gd name="T8" fmla="*/ 418 w 447"/>
                <a:gd name="T9" fmla="*/ 168 h 587"/>
                <a:gd name="T10" fmla="*/ 347 w 447"/>
                <a:gd name="T11" fmla="*/ 144 h 587"/>
                <a:gd name="T12" fmla="*/ 233 w 447"/>
                <a:gd name="T13" fmla="*/ 150 h 587"/>
                <a:gd name="T14" fmla="*/ 185 w 447"/>
                <a:gd name="T15" fmla="*/ 102 h 587"/>
                <a:gd name="T16" fmla="*/ 119 w 447"/>
                <a:gd name="T17" fmla="*/ 48 h 587"/>
                <a:gd name="T18" fmla="*/ 35 w 447"/>
                <a:gd name="T19" fmla="*/ 48 h 587"/>
                <a:gd name="T20" fmla="*/ 101 w 447"/>
                <a:gd name="T21" fmla="*/ 132 h 587"/>
                <a:gd name="T22" fmla="*/ 47 w 447"/>
                <a:gd name="T23" fmla="*/ 174 h 587"/>
                <a:gd name="T24" fmla="*/ 71 w 447"/>
                <a:gd name="T25" fmla="*/ 323 h 587"/>
                <a:gd name="T26" fmla="*/ 107 w 447"/>
                <a:gd name="T27" fmla="*/ 506 h 587"/>
                <a:gd name="T28" fmla="*/ 173 w 447"/>
                <a:gd name="T29" fmla="*/ 488 h 587"/>
                <a:gd name="T30" fmla="*/ 253 w 447"/>
                <a:gd name="T31" fmla="*/ 449 h 587"/>
                <a:gd name="T32" fmla="*/ 313 w 447"/>
                <a:gd name="T33" fmla="*/ 401 h 587"/>
                <a:gd name="T34" fmla="*/ 367 w 447"/>
                <a:gd name="T35" fmla="*/ 536 h 587"/>
                <a:gd name="T36" fmla="*/ 382 w 447"/>
                <a:gd name="T37" fmla="*/ 587 h 587"/>
                <a:gd name="T38" fmla="*/ 418 w 447"/>
                <a:gd name="T39" fmla="*/ 558 h 587"/>
                <a:gd name="T40" fmla="*/ 447 w 447"/>
                <a:gd name="T41" fmla="*/ 49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7" h="587">
                  <a:moveTo>
                    <a:pt x="447" y="492"/>
                  </a:moveTo>
                  <a:cubicBezTo>
                    <a:pt x="429" y="394"/>
                    <a:pt x="419" y="299"/>
                    <a:pt x="406" y="299"/>
                  </a:cubicBezTo>
                  <a:cubicBezTo>
                    <a:pt x="388" y="299"/>
                    <a:pt x="364" y="383"/>
                    <a:pt x="335" y="377"/>
                  </a:cubicBezTo>
                  <a:cubicBezTo>
                    <a:pt x="305" y="371"/>
                    <a:pt x="305" y="270"/>
                    <a:pt x="341" y="270"/>
                  </a:cubicBezTo>
                  <a:cubicBezTo>
                    <a:pt x="376" y="270"/>
                    <a:pt x="418" y="192"/>
                    <a:pt x="418" y="168"/>
                  </a:cubicBezTo>
                  <a:cubicBezTo>
                    <a:pt x="418" y="144"/>
                    <a:pt x="382" y="144"/>
                    <a:pt x="347" y="144"/>
                  </a:cubicBezTo>
                  <a:cubicBezTo>
                    <a:pt x="311" y="144"/>
                    <a:pt x="233" y="150"/>
                    <a:pt x="233" y="150"/>
                  </a:cubicBezTo>
                  <a:cubicBezTo>
                    <a:pt x="233" y="150"/>
                    <a:pt x="185" y="132"/>
                    <a:pt x="185" y="102"/>
                  </a:cubicBezTo>
                  <a:cubicBezTo>
                    <a:pt x="185" y="72"/>
                    <a:pt x="167" y="48"/>
                    <a:pt x="119" y="48"/>
                  </a:cubicBezTo>
                  <a:cubicBezTo>
                    <a:pt x="71" y="48"/>
                    <a:pt x="71" y="0"/>
                    <a:pt x="35" y="48"/>
                  </a:cubicBezTo>
                  <a:cubicBezTo>
                    <a:pt x="0" y="96"/>
                    <a:pt x="113" y="96"/>
                    <a:pt x="101" y="132"/>
                  </a:cubicBezTo>
                  <a:cubicBezTo>
                    <a:pt x="89" y="168"/>
                    <a:pt x="53" y="144"/>
                    <a:pt x="47" y="174"/>
                  </a:cubicBezTo>
                  <a:cubicBezTo>
                    <a:pt x="41" y="204"/>
                    <a:pt x="54" y="281"/>
                    <a:pt x="71" y="323"/>
                  </a:cubicBezTo>
                  <a:cubicBezTo>
                    <a:pt x="85" y="356"/>
                    <a:pt x="106" y="437"/>
                    <a:pt x="107" y="506"/>
                  </a:cubicBezTo>
                  <a:cubicBezTo>
                    <a:pt x="134" y="501"/>
                    <a:pt x="147" y="488"/>
                    <a:pt x="173" y="488"/>
                  </a:cubicBezTo>
                  <a:cubicBezTo>
                    <a:pt x="206" y="488"/>
                    <a:pt x="250" y="483"/>
                    <a:pt x="253" y="449"/>
                  </a:cubicBezTo>
                  <a:cubicBezTo>
                    <a:pt x="256" y="415"/>
                    <a:pt x="293" y="390"/>
                    <a:pt x="313" y="401"/>
                  </a:cubicBezTo>
                  <a:cubicBezTo>
                    <a:pt x="334" y="411"/>
                    <a:pt x="365" y="494"/>
                    <a:pt x="367" y="536"/>
                  </a:cubicBezTo>
                  <a:cubicBezTo>
                    <a:pt x="367" y="550"/>
                    <a:pt x="373" y="568"/>
                    <a:pt x="382" y="587"/>
                  </a:cubicBezTo>
                  <a:cubicBezTo>
                    <a:pt x="399" y="571"/>
                    <a:pt x="418" y="558"/>
                    <a:pt x="418" y="558"/>
                  </a:cubicBezTo>
                  <a:cubicBezTo>
                    <a:pt x="418" y="558"/>
                    <a:pt x="430" y="512"/>
                    <a:pt x="447" y="4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15105480" y="6945230"/>
              <a:ext cx="1403966" cy="1484384"/>
            </a:xfrm>
            <a:custGeom>
              <a:avLst/>
              <a:gdLst>
                <a:gd name="T0" fmla="*/ 1961 w 2781"/>
                <a:gd name="T1" fmla="*/ 1173 h 2936"/>
                <a:gd name="T2" fmla="*/ 1949 w 2781"/>
                <a:gd name="T3" fmla="*/ 1047 h 2936"/>
                <a:gd name="T4" fmla="*/ 2099 w 2781"/>
                <a:gd name="T5" fmla="*/ 1101 h 2936"/>
                <a:gd name="T6" fmla="*/ 2261 w 2781"/>
                <a:gd name="T7" fmla="*/ 1143 h 2936"/>
                <a:gd name="T8" fmla="*/ 2255 w 2781"/>
                <a:gd name="T9" fmla="*/ 1269 h 2936"/>
                <a:gd name="T10" fmla="*/ 2320 w 2781"/>
                <a:gd name="T11" fmla="*/ 1298 h 2936"/>
                <a:gd name="T12" fmla="*/ 2375 w 2781"/>
                <a:gd name="T13" fmla="*/ 1482 h 2936"/>
                <a:gd name="T14" fmla="*/ 2423 w 2781"/>
                <a:gd name="T15" fmla="*/ 1277 h 2936"/>
                <a:gd name="T16" fmla="*/ 2537 w 2781"/>
                <a:gd name="T17" fmla="*/ 1159 h 2936"/>
                <a:gd name="T18" fmla="*/ 2631 w 2781"/>
                <a:gd name="T19" fmla="*/ 958 h 2936"/>
                <a:gd name="T20" fmla="*/ 2758 w 2781"/>
                <a:gd name="T21" fmla="*/ 922 h 2936"/>
                <a:gd name="T22" fmla="*/ 2773 w 2781"/>
                <a:gd name="T23" fmla="*/ 808 h 2936"/>
                <a:gd name="T24" fmla="*/ 2675 w 2781"/>
                <a:gd name="T25" fmla="*/ 709 h 2936"/>
                <a:gd name="T26" fmla="*/ 2505 w 2781"/>
                <a:gd name="T27" fmla="*/ 721 h 2936"/>
                <a:gd name="T28" fmla="*/ 2379 w 2781"/>
                <a:gd name="T29" fmla="*/ 816 h 2936"/>
                <a:gd name="T30" fmla="*/ 2281 w 2781"/>
                <a:gd name="T31" fmla="*/ 879 h 2936"/>
                <a:gd name="T32" fmla="*/ 2194 w 2781"/>
                <a:gd name="T33" fmla="*/ 977 h 2936"/>
                <a:gd name="T34" fmla="*/ 2032 w 2781"/>
                <a:gd name="T35" fmla="*/ 954 h 2936"/>
                <a:gd name="T36" fmla="*/ 1969 w 2781"/>
                <a:gd name="T37" fmla="*/ 835 h 2936"/>
                <a:gd name="T38" fmla="*/ 1926 w 2781"/>
                <a:gd name="T39" fmla="*/ 985 h 2936"/>
                <a:gd name="T40" fmla="*/ 1623 w 2781"/>
                <a:gd name="T41" fmla="*/ 950 h 2936"/>
                <a:gd name="T42" fmla="*/ 1473 w 2781"/>
                <a:gd name="T43" fmla="*/ 910 h 2936"/>
                <a:gd name="T44" fmla="*/ 1315 w 2781"/>
                <a:gd name="T45" fmla="*/ 824 h 2936"/>
                <a:gd name="T46" fmla="*/ 1185 w 2781"/>
                <a:gd name="T47" fmla="*/ 745 h 2936"/>
                <a:gd name="T48" fmla="*/ 1248 w 2781"/>
                <a:gd name="T49" fmla="*/ 607 h 2936"/>
                <a:gd name="T50" fmla="*/ 1146 w 2781"/>
                <a:gd name="T51" fmla="*/ 512 h 2936"/>
                <a:gd name="T52" fmla="*/ 1027 w 2781"/>
                <a:gd name="T53" fmla="*/ 374 h 2936"/>
                <a:gd name="T54" fmla="*/ 1110 w 2781"/>
                <a:gd name="T55" fmla="*/ 295 h 2936"/>
                <a:gd name="T56" fmla="*/ 1051 w 2781"/>
                <a:gd name="T57" fmla="*/ 114 h 2936"/>
                <a:gd name="T58" fmla="*/ 952 w 2781"/>
                <a:gd name="T59" fmla="*/ 0 h 2936"/>
                <a:gd name="T60" fmla="*/ 874 w 2781"/>
                <a:gd name="T61" fmla="*/ 75 h 2936"/>
                <a:gd name="T62" fmla="*/ 625 w 2781"/>
                <a:gd name="T63" fmla="*/ 87 h 2936"/>
                <a:gd name="T64" fmla="*/ 590 w 2781"/>
                <a:gd name="T65" fmla="*/ 236 h 2936"/>
                <a:gd name="T66" fmla="*/ 696 w 2781"/>
                <a:gd name="T67" fmla="*/ 374 h 2936"/>
                <a:gd name="T68" fmla="*/ 625 w 2781"/>
                <a:gd name="T69" fmla="*/ 524 h 2936"/>
                <a:gd name="T70" fmla="*/ 519 w 2781"/>
                <a:gd name="T71" fmla="*/ 626 h 2936"/>
                <a:gd name="T72" fmla="*/ 397 w 2781"/>
                <a:gd name="T73" fmla="*/ 784 h 2936"/>
                <a:gd name="T74" fmla="*/ 275 w 2781"/>
                <a:gd name="T75" fmla="*/ 863 h 2936"/>
                <a:gd name="T76" fmla="*/ 125 w 2781"/>
                <a:gd name="T77" fmla="*/ 950 h 2936"/>
                <a:gd name="T78" fmla="*/ 231 w 2781"/>
                <a:gd name="T79" fmla="*/ 1123 h 2936"/>
                <a:gd name="T80" fmla="*/ 192 w 2781"/>
                <a:gd name="T81" fmla="*/ 1233 h 2936"/>
                <a:gd name="T82" fmla="*/ 7 w 2781"/>
                <a:gd name="T83" fmla="*/ 1300 h 2936"/>
                <a:gd name="T84" fmla="*/ 92 w 2781"/>
                <a:gd name="T85" fmla="*/ 1392 h 2936"/>
                <a:gd name="T86" fmla="*/ 63 w 2781"/>
                <a:gd name="T87" fmla="*/ 1445 h 2936"/>
                <a:gd name="T88" fmla="*/ 380 w 2781"/>
                <a:gd name="T89" fmla="*/ 1515 h 2936"/>
                <a:gd name="T90" fmla="*/ 436 w 2781"/>
                <a:gd name="T91" fmla="*/ 1566 h 2936"/>
                <a:gd name="T92" fmla="*/ 455 w 2781"/>
                <a:gd name="T93" fmla="*/ 1826 h 2936"/>
                <a:gd name="T94" fmla="*/ 594 w 2781"/>
                <a:gd name="T95" fmla="*/ 2273 h 2936"/>
                <a:gd name="T96" fmla="*/ 786 w 2781"/>
                <a:gd name="T97" fmla="*/ 2741 h 2936"/>
                <a:gd name="T98" fmla="*/ 976 w 2781"/>
                <a:gd name="T99" fmla="*/ 2856 h 2936"/>
                <a:gd name="T100" fmla="*/ 1107 w 2781"/>
                <a:gd name="T101" fmla="*/ 2695 h 2936"/>
                <a:gd name="T102" fmla="*/ 1163 w 2781"/>
                <a:gd name="T103" fmla="*/ 2498 h 2936"/>
                <a:gd name="T104" fmla="*/ 1186 w 2781"/>
                <a:gd name="T105" fmla="*/ 2210 h 2936"/>
                <a:gd name="T106" fmla="*/ 1321 w 2781"/>
                <a:gd name="T107" fmla="*/ 2059 h 2936"/>
                <a:gd name="T108" fmla="*/ 1634 w 2781"/>
                <a:gd name="T109" fmla="*/ 1776 h 2936"/>
                <a:gd name="T110" fmla="*/ 1817 w 2781"/>
                <a:gd name="T111" fmla="*/ 1568 h 2936"/>
                <a:gd name="T112" fmla="*/ 2021 w 2781"/>
                <a:gd name="T113" fmla="*/ 1505 h 2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81" h="2936">
                  <a:moveTo>
                    <a:pt x="1985" y="1322"/>
                  </a:moveTo>
                  <a:cubicBezTo>
                    <a:pt x="1968" y="1280"/>
                    <a:pt x="1955" y="1203"/>
                    <a:pt x="1961" y="1173"/>
                  </a:cubicBezTo>
                  <a:cubicBezTo>
                    <a:pt x="1967" y="1143"/>
                    <a:pt x="2003" y="1167"/>
                    <a:pt x="2015" y="1131"/>
                  </a:cubicBezTo>
                  <a:cubicBezTo>
                    <a:pt x="2027" y="1095"/>
                    <a:pt x="1914" y="1095"/>
                    <a:pt x="1949" y="1047"/>
                  </a:cubicBezTo>
                  <a:cubicBezTo>
                    <a:pt x="1985" y="999"/>
                    <a:pt x="1985" y="1047"/>
                    <a:pt x="2033" y="1047"/>
                  </a:cubicBezTo>
                  <a:cubicBezTo>
                    <a:pt x="2081" y="1047"/>
                    <a:pt x="2099" y="1071"/>
                    <a:pt x="2099" y="1101"/>
                  </a:cubicBezTo>
                  <a:cubicBezTo>
                    <a:pt x="2099" y="1131"/>
                    <a:pt x="2147" y="1149"/>
                    <a:pt x="2147" y="1149"/>
                  </a:cubicBezTo>
                  <a:cubicBezTo>
                    <a:pt x="2147" y="1149"/>
                    <a:pt x="2225" y="1143"/>
                    <a:pt x="2261" y="1143"/>
                  </a:cubicBezTo>
                  <a:cubicBezTo>
                    <a:pt x="2296" y="1143"/>
                    <a:pt x="2332" y="1143"/>
                    <a:pt x="2332" y="1167"/>
                  </a:cubicBezTo>
                  <a:cubicBezTo>
                    <a:pt x="2332" y="1191"/>
                    <a:pt x="2290" y="1269"/>
                    <a:pt x="2255" y="1269"/>
                  </a:cubicBezTo>
                  <a:cubicBezTo>
                    <a:pt x="2219" y="1269"/>
                    <a:pt x="2219" y="1370"/>
                    <a:pt x="2249" y="1376"/>
                  </a:cubicBezTo>
                  <a:cubicBezTo>
                    <a:pt x="2278" y="1382"/>
                    <a:pt x="2302" y="1298"/>
                    <a:pt x="2320" y="1298"/>
                  </a:cubicBezTo>
                  <a:cubicBezTo>
                    <a:pt x="2333" y="1298"/>
                    <a:pt x="2343" y="1393"/>
                    <a:pt x="2361" y="1491"/>
                  </a:cubicBezTo>
                  <a:cubicBezTo>
                    <a:pt x="2365" y="1486"/>
                    <a:pt x="2370" y="1482"/>
                    <a:pt x="2375" y="1482"/>
                  </a:cubicBezTo>
                  <a:cubicBezTo>
                    <a:pt x="2399" y="1482"/>
                    <a:pt x="2387" y="1399"/>
                    <a:pt x="2403" y="1375"/>
                  </a:cubicBezTo>
                  <a:cubicBezTo>
                    <a:pt x="2419" y="1352"/>
                    <a:pt x="2411" y="1277"/>
                    <a:pt x="2423" y="1277"/>
                  </a:cubicBezTo>
                  <a:cubicBezTo>
                    <a:pt x="2434" y="1277"/>
                    <a:pt x="2505" y="1300"/>
                    <a:pt x="2501" y="1281"/>
                  </a:cubicBezTo>
                  <a:cubicBezTo>
                    <a:pt x="2497" y="1261"/>
                    <a:pt x="2545" y="1194"/>
                    <a:pt x="2537" y="1159"/>
                  </a:cubicBezTo>
                  <a:cubicBezTo>
                    <a:pt x="2529" y="1123"/>
                    <a:pt x="2564" y="1080"/>
                    <a:pt x="2564" y="1036"/>
                  </a:cubicBezTo>
                  <a:cubicBezTo>
                    <a:pt x="2564" y="993"/>
                    <a:pt x="2604" y="981"/>
                    <a:pt x="2631" y="958"/>
                  </a:cubicBezTo>
                  <a:cubicBezTo>
                    <a:pt x="2659" y="934"/>
                    <a:pt x="2706" y="902"/>
                    <a:pt x="2714" y="922"/>
                  </a:cubicBezTo>
                  <a:cubicBezTo>
                    <a:pt x="2722" y="942"/>
                    <a:pt x="2781" y="958"/>
                    <a:pt x="2758" y="922"/>
                  </a:cubicBezTo>
                  <a:cubicBezTo>
                    <a:pt x="2734" y="887"/>
                    <a:pt x="2734" y="863"/>
                    <a:pt x="2750" y="855"/>
                  </a:cubicBezTo>
                  <a:cubicBezTo>
                    <a:pt x="2765" y="847"/>
                    <a:pt x="2773" y="808"/>
                    <a:pt x="2773" y="808"/>
                  </a:cubicBezTo>
                  <a:cubicBezTo>
                    <a:pt x="2773" y="808"/>
                    <a:pt x="2722" y="800"/>
                    <a:pt x="2714" y="776"/>
                  </a:cubicBezTo>
                  <a:cubicBezTo>
                    <a:pt x="2706" y="753"/>
                    <a:pt x="2675" y="729"/>
                    <a:pt x="2675" y="709"/>
                  </a:cubicBezTo>
                  <a:cubicBezTo>
                    <a:pt x="2675" y="690"/>
                    <a:pt x="2647" y="697"/>
                    <a:pt x="2624" y="717"/>
                  </a:cubicBezTo>
                  <a:cubicBezTo>
                    <a:pt x="2600" y="737"/>
                    <a:pt x="2556" y="694"/>
                    <a:pt x="2505" y="721"/>
                  </a:cubicBezTo>
                  <a:cubicBezTo>
                    <a:pt x="2454" y="749"/>
                    <a:pt x="2442" y="780"/>
                    <a:pt x="2419" y="776"/>
                  </a:cubicBezTo>
                  <a:cubicBezTo>
                    <a:pt x="2395" y="772"/>
                    <a:pt x="2399" y="796"/>
                    <a:pt x="2379" y="816"/>
                  </a:cubicBezTo>
                  <a:cubicBezTo>
                    <a:pt x="2359" y="835"/>
                    <a:pt x="2344" y="859"/>
                    <a:pt x="2332" y="859"/>
                  </a:cubicBezTo>
                  <a:cubicBezTo>
                    <a:pt x="2320" y="859"/>
                    <a:pt x="2281" y="879"/>
                    <a:pt x="2281" y="879"/>
                  </a:cubicBezTo>
                  <a:cubicBezTo>
                    <a:pt x="2281" y="879"/>
                    <a:pt x="2308" y="938"/>
                    <a:pt x="2292" y="965"/>
                  </a:cubicBezTo>
                  <a:cubicBezTo>
                    <a:pt x="2277" y="993"/>
                    <a:pt x="2237" y="965"/>
                    <a:pt x="2194" y="977"/>
                  </a:cubicBezTo>
                  <a:cubicBezTo>
                    <a:pt x="2151" y="989"/>
                    <a:pt x="2131" y="961"/>
                    <a:pt x="2099" y="969"/>
                  </a:cubicBezTo>
                  <a:cubicBezTo>
                    <a:pt x="2068" y="977"/>
                    <a:pt x="2048" y="950"/>
                    <a:pt x="2032" y="954"/>
                  </a:cubicBezTo>
                  <a:cubicBezTo>
                    <a:pt x="2017" y="958"/>
                    <a:pt x="1993" y="918"/>
                    <a:pt x="2001" y="887"/>
                  </a:cubicBezTo>
                  <a:cubicBezTo>
                    <a:pt x="2009" y="855"/>
                    <a:pt x="1985" y="812"/>
                    <a:pt x="1969" y="835"/>
                  </a:cubicBezTo>
                  <a:cubicBezTo>
                    <a:pt x="1953" y="859"/>
                    <a:pt x="1930" y="847"/>
                    <a:pt x="1930" y="883"/>
                  </a:cubicBezTo>
                  <a:cubicBezTo>
                    <a:pt x="1930" y="918"/>
                    <a:pt x="1950" y="961"/>
                    <a:pt x="1926" y="985"/>
                  </a:cubicBezTo>
                  <a:cubicBezTo>
                    <a:pt x="1902" y="1009"/>
                    <a:pt x="1776" y="1021"/>
                    <a:pt x="1753" y="1001"/>
                  </a:cubicBezTo>
                  <a:cubicBezTo>
                    <a:pt x="1729" y="981"/>
                    <a:pt x="1626" y="969"/>
                    <a:pt x="1623" y="950"/>
                  </a:cubicBezTo>
                  <a:cubicBezTo>
                    <a:pt x="1619" y="930"/>
                    <a:pt x="1587" y="895"/>
                    <a:pt x="1567" y="895"/>
                  </a:cubicBezTo>
                  <a:cubicBezTo>
                    <a:pt x="1548" y="895"/>
                    <a:pt x="1488" y="922"/>
                    <a:pt x="1473" y="910"/>
                  </a:cubicBezTo>
                  <a:cubicBezTo>
                    <a:pt x="1457" y="898"/>
                    <a:pt x="1417" y="867"/>
                    <a:pt x="1390" y="863"/>
                  </a:cubicBezTo>
                  <a:cubicBezTo>
                    <a:pt x="1362" y="859"/>
                    <a:pt x="1319" y="839"/>
                    <a:pt x="1315" y="824"/>
                  </a:cubicBezTo>
                  <a:cubicBezTo>
                    <a:pt x="1311" y="808"/>
                    <a:pt x="1248" y="800"/>
                    <a:pt x="1236" y="784"/>
                  </a:cubicBezTo>
                  <a:cubicBezTo>
                    <a:pt x="1224" y="768"/>
                    <a:pt x="1185" y="764"/>
                    <a:pt x="1185" y="745"/>
                  </a:cubicBezTo>
                  <a:cubicBezTo>
                    <a:pt x="1185" y="725"/>
                    <a:pt x="1201" y="694"/>
                    <a:pt x="1201" y="670"/>
                  </a:cubicBezTo>
                  <a:cubicBezTo>
                    <a:pt x="1201" y="646"/>
                    <a:pt x="1248" y="623"/>
                    <a:pt x="1248" y="607"/>
                  </a:cubicBezTo>
                  <a:cubicBezTo>
                    <a:pt x="1248" y="591"/>
                    <a:pt x="1205" y="563"/>
                    <a:pt x="1205" y="563"/>
                  </a:cubicBezTo>
                  <a:cubicBezTo>
                    <a:pt x="1205" y="563"/>
                    <a:pt x="1177" y="512"/>
                    <a:pt x="1146" y="512"/>
                  </a:cubicBezTo>
                  <a:cubicBezTo>
                    <a:pt x="1114" y="512"/>
                    <a:pt x="1090" y="457"/>
                    <a:pt x="1063" y="453"/>
                  </a:cubicBezTo>
                  <a:cubicBezTo>
                    <a:pt x="1035" y="449"/>
                    <a:pt x="1043" y="394"/>
                    <a:pt x="1027" y="374"/>
                  </a:cubicBezTo>
                  <a:cubicBezTo>
                    <a:pt x="1012" y="355"/>
                    <a:pt x="1023" y="307"/>
                    <a:pt x="1051" y="331"/>
                  </a:cubicBezTo>
                  <a:cubicBezTo>
                    <a:pt x="1079" y="355"/>
                    <a:pt x="1130" y="331"/>
                    <a:pt x="1110" y="295"/>
                  </a:cubicBezTo>
                  <a:cubicBezTo>
                    <a:pt x="1090" y="260"/>
                    <a:pt x="1055" y="229"/>
                    <a:pt x="1055" y="209"/>
                  </a:cubicBezTo>
                  <a:cubicBezTo>
                    <a:pt x="1055" y="189"/>
                    <a:pt x="1079" y="130"/>
                    <a:pt x="1051" y="114"/>
                  </a:cubicBezTo>
                  <a:cubicBezTo>
                    <a:pt x="1023" y="98"/>
                    <a:pt x="1000" y="75"/>
                    <a:pt x="992" y="47"/>
                  </a:cubicBezTo>
                  <a:cubicBezTo>
                    <a:pt x="984" y="20"/>
                    <a:pt x="952" y="0"/>
                    <a:pt x="952" y="0"/>
                  </a:cubicBezTo>
                  <a:cubicBezTo>
                    <a:pt x="913" y="4"/>
                    <a:pt x="913" y="4"/>
                    <a:pt x="913" y="4"/>
                  </a:cubicBezTo>
                  <a:cubicBezTo>
                    <a:pt x="913" y="4"/>
                    <a:pt x="889" y="67"/>
                    <a:pt x="874" y="75"/>
                  </a:cubicBezTo>
                  <a:cubicBezTo>
                    <a:pt x="858" y="83"/>
                    <a:pt x="803" y="94"/>
                    <a:pt x="775" y="114"/>
                  </a:cubicBezTo>
                  <a:cubicBezTo>
                    <a:pt x="748" y="134"/>
                    <a:pt x="669" y="87"/>
                    <a:pt x="625" y="87"/>
                  </a:cubicBezTo>
                  <a:cubicBezTo>
                    <a:pt x="582" y="87"/>
                    <a:pt x="554" y="130"/>
                    <a:pt x="574" y="142"/>
                  </a:cubicBezTo>
                  <a:cubicBezTo>
                    <a:pt x="594" y="154"/>
                    <a:pt x="590" y="236"/>
                    <a:pt x="590" y="236"/>
                  </a:cubicBezTo>
                  <a:cubicBezTo>
                    <a:pt x="590" y="236"/>
                    <a:pt x="614" y="339"/>
                    <a:pt x="649" y="331"/>
                  </a:cubicBezTo>
                  <a:cubicBezTo>
                    <a:pt x="684" y="323"/>
                    <a:pt x="728" y="366"/>
                    <a:pt x="696" y="374"/>
                  </a:cubicBezTo>
                  <a:cubicBezTo>
                    <a:pt x="665" y="382"/>
                    <a:pt x="649" y="418"/>
                    <a:pt x="645" y="449"/>
                  </a:cubicBezTo>
                  <a:cubicBezTo>
                    <a:pt x="641" y="481"/>
                    <a:pt x="649" y="520"/>
                    <a:pt x="625" y="524"/>
                  </a:cubicBezTo>
                  <a:cubicBezTo>
                    <a:pt x="602" y="528"/>
                    <a:pt x="578" y="536"/>
                    <a:pt x="578" y="579"/>
                  </a:cubicBezTo>
                  <a:cubicBezTo>
                    <a:pt x="578" y="623"/>
                    <a:pt x="527" y="611"/>
                    <a:pt x="519" y="626"/>
                  </a:cubicBezTo>
                  <a:cubicBezTo>
                    <a:pt x="511" y="642"/>
                    <a:pt x="491" y="721"/>
                    <a:pt x="480" y="733"/>
                  </a:cubicBezTo>
                  <a:cubicBezTo>
                    <a:pt x="468" y="745"/>
                    <a:pt x="401" y="749"/>
                    <a:pt x="397" y="784"/>
                  </a:cubicBezTo>
                  <a:cubicBezTo>
                    <a:pt x="393" y="820"/>
                    <a:pt x="361" y="863"/>
                    <a:pt x="342" y="859"/>
                  </a:cubicBezTo>
                  <a:cubicBezTo>
                    <a:pt x="322" y="855"/>
                    <a:pt x="286" y="839"/>
                    <a:pt x="275" y="863"/>
                  </a:cubicBezTo>
                  <a:cubicBezTo>
                    <a:pt x="263" y="887"/>
                    <a:pt x="212" y="843"/>
                    <a:pt x="200" y="855"/>
                  </a:cubicBezTo>
                  <a:cubicBezTo>
                    <a:pt x="188" y="867"/>
                    <a:pt x="125" y="918"/>
                    <a:pt x="125" y="950"/>
                  </a:cubicBezTo>
                  <a:cubicBezTo>
                    <a:pt x="125" y="981"/>
                    <a:pt x="192" y="981"/>
                    <a:pt x="188" y="1021"/>
                  </a:cubicBezTo>
                  <a:cubicBezTo>
                    <a:pt x="184" y="1060"/>
                    <a:pt x="212" y="1103"/>
                    <a:pt x="231" y="1123"/>
                  </a:cubicBezTo>
                  <a:cubicBezTo>
                    <a:pt x="251" y="1143"/>
                    <a:pt x="282" y="1190"/>
                    <a:pt x="267" y="1214"/>
                  </a:cubicBezTo>
                  <a:cubicBezTo>
                    <a:pt x="251" y="1237"/>
                    <a:pt x="227" y="1241"/>
                    <a:pt x="192" y="1233"/>
                  </a:cubicBezTo>
                  <a:cubicBezTo>
                    <a:pt x="156" y="1225"/>
                    <a:pt x="160" y="1249"/>
                    <a:pt x="97" y="1237"/>
                  </a:cubicBezTo>
                  <a:cubicBezTo>
                    <a:pt x="34" y="1225"/>
                    <a:pt x="30" y="1273"/>
                    <a:pt x="7" y="1300"/>
                  </a:cubicBezTo>
                  <a:cubicBezTo>
                    <a:pt x="5" y="1302"/>
                    <a:pt x="3" y="1305"/>
                    <a:pt x="0" y="1308"/>
                  </a:cubicBezTo>
                  <a:cubicBezTo>
                    <a:pt x="30" y="1331"/>
                    <a:pt x="43" y="1373"/>
                    <a:pt x="92" y="1392"/>
                  </a:cubicBezTo>
                  <a:cubicBezTo>
                    <a:pt x="150" y="1414"/>
                    <a:pt x="201" y="1355"/>
                    <a:pt x="201" y="1398"/>
                  </a:cubicBezTo>
                  <a:cubicBezTo>
                    <a:pt x="201" y="1441"/>
                    <a:pt x="65" y="1432"/>
                    <a:pt x="63" y="1445"/>
                  </a:cubicBezTo>
                  <a:cubicBezTo>
                    <a:pt x="60" y="1459"/>
                    <a:pt x="203" y="1631"/>
                    <a:pt x="275" y="1618"/>
                  </a:cubicBezTo>
                  <a:cubicBezTo>
                    <a:pt x="347" y="1605"/>
                    <a:pt x="401" y="1527"/>
                    <a:pt x="380" y="1515"/>
                  </a:cubicBezTo>
                  <a:cubicBezTo>
                    <a:pt x="359" y="1503"/>
                    <a:pt x="392" y="1454"/>
                    <a:pt x="411" y="1463"/>
                  </a:cubicBezTo>
                  <a:cubicBezTo>
                    <a:pt x="430" y="1472"/>
                    <a:pt x="414" y="1549"/>
                    <a:pt x="436" y="1566"/>
                  </a:cubicBezTo>
                  <a:cubicBezTo>
                    <a:pt x="458" y="1584"/>
                    <a:pt x="451" y="1617"/>
                    <a:pt x="436" y="1658"/>
                  </a:cubicBezTo>
                  <a:cubicBezTo>
                    <a:pt x="421" y="1699"/>
                    <a:pt x="451" y="1780"/>
                    <a:pt x="455" y="1826"/>
                  </a:cubicBezTo>
                  <a:cubicBezTo>
                    <a:pt x="460" y="1872"/>
                    <a:pt x="491" y="1938"/>
                    <a:pt x="501" y="2006"/>
                  </a:cubicBezTo>
                  <a:cubicBezTo>
                    <a:pt x="511" y="2074"/>
                    <a:pt x="554" y="2198"/>
                    <a:pt x="594" y="2273"/>
                  </a:cubicBezTo>
                  <a:cubicBezTo>
                    <a:pt x="634" y="2349"/>
                    <a:pt x="665" y="2496"/>
                    <a:pt x="691" y="2532"/>
                  </a:cubicBezTo>
                  <a:cubicBezTo>
                    <a:pt x="718" y="2567"/>
                    <a:pt x="786" y="2675"/>
                    <a:pt x="786" y="2741"/>
                  </a:cubicBezTo>
                  <a:cubicBezTo>
                    <a:pt x="786" y="2808"/>
                    <a:pt x="858" y="2900"/>
                    <a:pt x="883" y="2918"/>
                  </a:cubicBezTo>
                  <a:cubicBezTo>
                    <a:pt x="908" y="2936"/>
                    <a:pt x="963" y="2898"/>
                    <a:pt x="976" y="2856"/>
                  </a:cubicBezTo>
                  <a:cubicBezTo>
                    <a:pt x="989" y="2815"/>
                    <a:pt x="1065" y="2799"/>
                    <a:pt x="1069" y="2763"/>
                  </a:cubicBezTo>
                  <a:cubicBezTo>
                    <a:pt x="1073" y="2728"/>
                    <a:pt x="1081" y="2700"/>
                    <a:pt x="1107" y="2695"/>
                  </a:cubicBezTo>
                  <a:cubicBezTo>
                    <a:pt x="1134" y="2691"/>
                    <a:pt x="1134" y="2663"/>
                    <a:pt x="1134" y="2625"/>
                  </a:cubicBezTo>
                  <a:cubicBezTo>
                    <a:pt x="1134" y="2586"/>
                    <a:pt x="1137" y="2532"/>
                    <a:pt x="1163" y="2498"/>
                  </a:cubicBezTo>
                  <a:cubicBezTo>
                    <a:pt x="1190" y="2464"/>
                    <a:pt x="1194" y="2372"/>
                    <a:pt x="1178" y="2335"/>
                  </a:cubicBezTo>
                  <a:cubicBezTo>
                    <a:pt x="1162" y="2298"/>
                    <a:pt x="1171" y="2247"/>
                    <a:pt x="1186" y="2210"/>
                  </a:cubicBezTo>
                  <a:cubicBezTo>
                    <a:pt x="1200" y="2173"/>
                    <a:pt x="1194" y="2130"/>
                    <a:pt x="1223" y="2127"/>
                  </a:cubicBezTo>
                  <a:cubicBezTo>
                    <a:pt x="1251" y="2124"/>
                    <a:pt x="1292" y="2099"/>
                    <a:pt x="1321" y="2059"/>
                  </a:cubicBezTo>
                  <a:cubicBezTo>
                    <a:pt x="1351" y="2020"/>
                    <a:pt x="1441" y="1965"/>
                    <a:pt x="1473" y="1938"/>
                  </a:cubicBezTo>
                  <a:cubicBezTo>
                    <a:pt x="1506" y="1912"/>
                    <a:pt x="1605" y="1825"/>
                    <a:pt x="1634" y="1776"/>
                  </a:cubicBezTo>
                  <a:cubicBezTo>
                    <a:pt x="1664" y="1727"/>
                    <a:pt x="1748" y="1711"/>
                    <a:pt x="1786" y="1671"/>
                  </a:cubicBezTo>
                  <a:cubicBezTo>
                    <a:pt x="1825" y="1631"/>
                    <a:pt x="1810" y="1611"/>
                    <a:pt x="1817" y="1568"/>
                  </a:cubicBezTo>
                  <a:cubicBezTo>
                    <a:pt x="1825" y="1525"/>
                    <a:pt x="1949" y="1507"/>
                    <a:pt x="1996" y="1507"/>
                  </a:cubicBezTo>
                  <a:cubicBezTo>
                    <a:pt x="2005" y="1507"/>
                    <a:pt x="2013" y="1506"/>
                    <a:pt x="2021" y="1505"/>
                  </a:cubicBezTo>
                  <a:cubicBezTo>
                    <a:pt x="2020" y="1436"/>
                    <a:pt x="1999" y="1355"/>
                    <a:pt x="1985" y="132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16075523" y="5909847"/>
              <a:ext cx="1586582" cy="683554"/>
            </a:xfrm>
            <a:custGeom>
              <a:avLst/>
              <a:gdLst>
                <a:gd name="T0" fmla="*/ 2909 w 3140"/>
                <a:gd name="T1" fmla="*/ 578 h 1350"/>
                <a:gd name="T2" fmla="*/ 2710 w 3140"/>
                <a:gd name="T3" fmla="*/ 559 h 1350"/>
                <a:gd name="T4" fmla="*/ 2729 w 3140"/>
                <a:gd name="T5" fmla="*/ 456 h 1350"/>
                <a:gd name="T6" fmla="*/ 2737 w 3140"/>
                <a:gd name="T7" fmla="*/ 290 h 1350"/>
                <a:gd name="T8" fmla="*/ 2527 w 3140"/>
                <a:gd name="T9" fmla="*/ 266 h 1350"/>
                <a:gd name="T10" fmla="*/ 2368 w 3140"/>
                <a:gd name="T11" fmla="*/ 349 h 1350"/>
                <a:gd name="T12" fmla="*/ 2105 w 3140"/>
                <a:gd name="T13" fmla="*/ 381 h 1350"/>
                <a:gd name="T14" fmla="*/ 1925 w 3140"/>
                <a:gd name="T15" fmla="*/ 301 h 1350"/>
                <a:gd name="T16" fmla="*/ 1766 w 3140"/>
                <a:gd name="T17" fmla="*/ 242 h 1350"/>
                <a:gd name="T18" fmla="*/ 1583 w 3140"/>
                <a:gd name="T19" fmla="*/ 233 h 1350"/>
                <a:gd name="T20" fmla="*/ 1423 w 3140"/>
                <a:gd name="T21" fmla="*/ 242 h 1350"/>
                <a:gd name="T22" fmla="*/ 1349 w 3140"/>
                <a:gd name="T23" fmla="*/ 110 h 1350"/>
                <a:gd name="T24" fmla="*/ 1178 w 3140"/>
                <a:gd name="T25" fmla="*/ 50 h 1350"/>
                <a:gd name="T26" fmla="*/ 1042 w 3140"/>
                <a:gd name="T27" fmla="*/ 6 h 1350"/>
                <a:gd name="T28" fmla="*/ 954 w 3140"/>
                <a:gd name="T29" fmla="*/ 74 h 1350"/>
                <a:gd name="T30" fmla="*/ 948 w 3140"/>
                <a:gd name="T31" fmla="*/ 207 h 1350"/>
                <a:gd name="T32" fmla="*/ 862 w 3140"/>
                <a:gd name="T33" fmla="*/ 307 h 1350"/>
                <a:gd name="T34" fmla="*/ 712 w 3140"/>
                <a:gd name="T35" fmla="*/ 293 h 1350"/>
                <a:gd name="T36" fmla="*/ 597 w 3140"/>
                <a:gd name="T37" fmla="*/ 204 h 1350"/>
                <a:gd name="T38" fmla="*/ 387 w 3140"/>
                <a:gd name="T39" fmla="*/ 192 h 1350"/>
                <a:gd name="T40" fmla="*/ 254 w 3140"/>
                <a:gd name="T41" fmla="*/ 266 h 1350"/>
                <a:gd name="T42" fmla="*/ 86 w 3140"/>
                <a:gd name="T43" fmla="*/ 352 h 1350"/>
                <a:gd name="T44" fmla="*/ 0 w 3140"/>
                <a:gd name="T45" fmla="*/ 384 h 1350"/>
                <a:gd name="T46" fmla="*/ 75 w 3140"/>
                <a:gd name="T47" fmla="*/ 488 h 1350"/>
                <a:gd name="T48" fmla="*/ 251 w 3140"/>
                <a:gd name="T49" fmla="*/ 607 h 1350"/>
                <a:gd name="T50" fmla="*/ 298 w 3140"/>
                <a:gd name="T51" fmla="*/ 782 h 1350"/>
                <a:gd name="T52" fmla="*/ 500 w 3140"/>
                <a:gd name="T53" fmla="*/ 919 h 1350"/>
                <a:gd name="T54" fmla="*/ 639 w 3140"/>
                <a:gd name="T55" fmla="*/ 1009 h 1350"/>
                <a:gd name="T56" fmla="*/ 774 w 3140"/>
                <a:gd name="T57" fmla="*/ 1196 h 1350"/>
                <a:gd name="T58" fmla="*/ 1141 w 3140"/>
                <a:gd name="T59" fmla="*/ 1215 h 1350"/>
                <a:gd name="T60" fmla="*/ 1430 w 3140"/>
                <a:gd name="T61" fmla="*/ 1279 h 1350"/>
                <a:gd name="T62" fmla="*/ 1610 w 3140"/>
                <a:gd name="T63" fmla="*/ 1344 h 1350"/>
                <a:gd name="T64" fmla="*/ 2009 w 3140"/>
                <a:gd name="T65" fmla="*/ 1247 h 1350"/>
                <a:gd name="T66" fmla="*/ 2311 w 3140"/>
                <a:gd name="T67" fmla="*/ 1074 h 1350"/>
                <a:gd name="T68" fmla="*/ 2382 w 3140"/>
                <a:gd name="T69" fmla="*/ 932 h 1350"/>
                <a:gd name="T70" fmla="*/ 2690 w 3140"/>
                <a:gd name="T71" fmla="*/ 874 h 1350"/>
                <a:gd name="T72" fmla="*/ 2903 w 3140"/>
                <a:gd name="T73" fmla="*/ 739 h 1350"/>
                <a:gd name="T74" fmla="*/ 3134 w 3140"/>
                <a:gd name="T75" fmla="*/ 701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40" h="1350">
                  <a:moveTo>
                    <a:pt x="3005" y="565"/>
                  </a:moveTo>
                  <a:cubicBezTo>
                    <a:pt x="2973" y="527"/>
                    <a:pt x="2922" y="546"/>
                    <a:pt x="2909" y="578"/>
                  </a:cubicBezTo>
                  <a:cubicBezTo>
                    <a:pt x="2896" y="611"/>
                    <a:pt x="2870" y="565"/>
                    <a:pt x="2813" y="565"/>
                  </a:cubicBezTo>
                  <a:cubicBezTo>
                    <a:pt x="2755" y="565"/>
                    <a:pt x="2748" y="598"/>
                    <a:pt x="2710" y="559"/>
                  </a:cubicBezTo>
                  <a:cubicBezTo>
                    <a:pt x="2671" y="521"/>
                    <a:pt x="2722" y="508"/>
                    <a:pt x="2722" y="508"/>
                  </a:cubicBezTo>
                  <a:cubicBezTo>
                    <a:pt x="2729" y="456"/>
                    <a:pt x="2729" y="456"/>
                    <a:pt x="2729" y="456"/>
                  </a:cubicBezTo>
                  <a:cubicBezTo>
                    <a:pt x="2809" y="297"/>
                    <a:pt x="2809" y="297"/>
                    <a:pt x="2809" y="297"/>
                  </a:cubicBezTo>
                  <a:cubicBezTo>
                    <a:pt x="2786" y="287"/>
                    <a:pt x="2753" y="284"/>
                    <a:pt x="2737" y="290"/>
                  </a:cubicBezTo>
                  <a:cubicBezTo>
                    <a:pt x="2713" y="298"/>
                    <a:pt x="2657" y="293"/>
                    <a:pt x="2651" y="272"/>
                  </a:cubicBezTo>
                  <a:cubicBezTo>
                    <a:pt x="2645" y="251"/>
                    <a:pt x="2551" y="248"/>
                    <a:pt x="2527" y="266"/>
                  </a:cubicBezTo>
                  <a:cubicBezTo>
                    <a:pt x="2503" y="284"/>
                    <a:pt x="2450" y="298"/>
                    <a:pt x="2447" y="319"/>
                  </a:cubicBezTo>
                  <a:cubicBezTo>
                    <a:pt x="2444" y="340"/>
                    <a:pt x="2388" y="334"/>
                    <a:pt x="2368" y="349"/>
                  </a:cubicBezTo>
                  <a:cubicBezTo>
                    <a:pt x="2347" y="363"/>
                    <a:pt x="2241" y="369"/>
                    <a:pt x="2238" y="381"/>
                  </a:cubicBezTo>
                  <a:cubicBezTo>
                    <a:pt x="2235" y="393"/>
                    <a:pt x="2123" y="396"/>
                    <a:pt x="2105" y="381"/>
                  </a:cubicBezTo>
                  <a:cubicBezTo>
                    <a:pt x="2087" y="366"/>
                    <a:pt x="1990" y="381"/>
                    <a:pt x="1978" y="357"/>
                  </a:cubicBezTo>
                  <a:cubicBezTo>
                    <a:pt x="1966" y="334"/>
                    <a:pt x="1925" y="322"/>
                    <a:pt x="1925" y="301"/>
                  </a:cubicBezTo>
                  <a:cubicBezTo>
                    <a:pt x="1925" y="281"/>
                    <a:pt x="1851" y="281"/>
                    <a:pt x="1842" y="263"/>
                  </a:cubicBezTo>
                  <a:cubicBezTo>
                    <a:pt x="1833" y="245"/>
                    <a:pt x="1774" y="236"/>
                    <a:pt x="1766" y="242"/>
                  </a:cubicBezTo>
                  <a:cubicBezTo>
                    <a:pt x="1757" y="248"/>
                    <a:pt x="1692" y="225"/>
                    <a:pt x="1674" y="222"/>
                  </a:cubicBezTo>
                  <a:cubicBezTo>
                    <a:pt x="1656" y="219"/>
                    <a:pt x="1600" y="233"/>
                    <a:pt x="1583" y="233"/>
                  </a:cubicBezTo>
                  <a:cubicBezTo>
                    <a:pt x="1565" y="233"/>
                    <a:pt x="1532" y="266"/>
                    <a:pt x="1512" y="269"/>
                  </a:cubicBezTo>
                  <a:cubicBezTo>
                    <a:pt x="1491" y="272"/>
                    <a:pt x="1435" y="233"/>
                    <a:pt x="1423" y="242"/>
                  </a:cubicBezTo>
                  <a:cubicBezTo>
                    <a:pt x="1411" y="251"/>
                    <a:pt x="1376" y="213"/>
                    <a:pt x="1361" y="195"/>
                  </a:cubicBezTo>
                  <a:cubicBezTo>
                    <a:pt x="1346" y="177"/>
                    <a:pt x="1361" y="127"/>
                    <a:pt x="1349" y="110"/>
                  </a:cubicBezTo>
                  <a:cubicBezTo>
                    <a:pt x="1338" y="92"/>
                    <a:pt x="1273" y="92"/>
                    <a:pt x="1252" y="80"/>
                  </a:cubicBezTo>
                  <a:cubicBezTo>
                    <a:pt x="1231" y="68"/>
                    <a:pt x="1199" y="50"/>
                    <a:pt x="1178" y="50"/>
                  </a:cubicBezTo>
                  <a:cubicBezTo>
                    <a:pt x="1158" y="50"/>
                    <a:pt x="1125" y="45"/>
                    <a:pt x="1116" y="36"/>
                  </a:cubicBezTo>
                  <a:cubicBezTo>
                    <a:pt x="1107" y="27"/>
                    <a:pt x="1063" y="12"/>
                    <a:pt x="1042" y="6"/>
                  </a:cubicBezTo>
                  <a:cubicBezTo>
                    <a:pt x="1022" y="0"/>
                    <a:pt x="1019" y="27"/>
                    <a:pt x="1007" y="39"/>
                  </a:cubicBezTo>
                  <a:cubicBezTo>
                    <a:pt x="995" y="50"/>
                    <a:pt x="960" y="53"/>
                    <a:pt x="954" y="74"/>
                  </a:cubicBezTo>
                  <a:cubicBezTo>
                    <a:pt x="948" y="95"/>
                    <a:pt x="907" y="101"/>
                    <a:pt x="913" y="124"/>
                  </a:cubicBezTo>
                  <a:cubicBezTo>
                    <a:pt x="918" y="148"/>
                    <a:pt x="933" y="195"/>
                    <a:pt x="948" y="207"/>
                  </a:cubicBezTo>
                  <a:cubicBezTo>
                    <a:pt x="963" y="219"/>
                    <a:pt x="954" y="254"/>
                    <a:pt x="945" y="266"/>
                  </a:cubicBezTo>
                  <a:cubicBezTo>
                    <a:pt x="936" y="278"/>
                    <a:pt x="874" y="287"/>
                    <a:pt x="862" y="307"/>
                  </a:cubicBezTo>
                  <a:cubicBezTo>
                    <a:pt x="851" y="328"/>
                    <a:pt x="821" y="304"/>
                    <a:pt x="792" y="287"/>
                  </a:cubicBezTo>
                  <a:cubicBezTo>
                    <a:pt x="762" y="269"/>
                    <a:pt x="727" y="281"/>
                    <a:pt x="712" y="293"/>
                  </a:cubicBezTo>
                  <a:cubicBezTo>
                    <a:pt x="697" y="304"/>
                    <a:pt x="644" y="263"/>
                    <a:pt x="629" y="260"/>
                  </a:cubicBezTo>
                  <a:cubicBezTo>
                    <a:pt x="614" y="257"/>
                    <a:pt x="611" y="201"/>
                    <a:pt x="597" y="204"/>
                  </a:cubicBezTo>
                  <a:cubicBezTo>
                    <a:pt x="582" y="207"/>
                    <a:pt x="479" y="186"/>
                    <a:pt x="458" y="180"/>
                  </a:cubicBezTo>
                  <a:cubicBezTo>
                    <a:pt x="437" y="174"/>
                    <a:pt x="393" y="177"/>
                    <a:pt x="387" y="192"/>
                  </a:cubicBezTo>
                  <a:cubicBezTo>
                    <a:pt x="381" y="207"/>
                    <a:pt x="328" y="204"/>
                    <a:pt x="319" y="222"/>
                  </a:cubicBezTo>
                  <a:cubicBezTo>
                    <a:pt x="310" y="239"/>
                    <a:pt x="269" y="248"/>
                    <a:pt x="254" y="266"/>
                  </a:cubicBezTo>
                  <a:cubicBezTo>
                    <a:pt x="240" y="284"/>
                    <a:pt x="189" y="284"/>
                    <a:pt x="178" y="310"/>
                  </a:cubicBezTo>
                  <a:cubicBezTo>
                    <a:pt x="166" y="337"/>
                    <a:pt x="104" y="349"/>
                    <a:pt x="86" y="352"/>
                  </a:cubicBezTo>
                  <a:cubicBezTo>
                    <a:pt x="68" y="355"/>
                    <a:pt x="21" y="363"/>
                    <a:pt x="18" y="378"/>
                  </a:cubicBezTo>
                  <a:cubicBezTo>
                    <a:pt x="17" y="384"/>
                    <a:pt x="10" y="385"/>
                    <a:pt x="0" y="384"/>
                  </a:cubicBezTo>
                  <a:cubicBezTo>
                    <a:pt x="1" y="388"/>
                    <a:pt x="3" y="392"/>
                    <a:pt x="4" y="396"/>
                  </a:cubicBezTo>
                  <a:cubicBezTo>
                    <a:pt x="16" y="463"/>
                    <a:pt x="44" y="461"/>
                    <a:pt x="75" y="488"/>
                  </a:cubicBezTo>
                  <a:cubicBezTo>
                    <a:pt x="106" y="515"/>
                    <a:pt x="132" y="535"/>
                    <a:pt x="165" y="537"/>
                  </a:cubicBezTo>
                  <a:cubicBezTo>
                    <a:pt x="198" y="539"/>
                    <a:pt x="247" y="578"/>
                    <a:pt x="251" y="607"/>
                  </a:cubicBezTo>
                  <a:cubicBezTo>
                    <a:pt x="255" y="635"/>
                    <a:pt x="285" y="668"/>
                    <a:pt x="304" y="682"/>
                  </a:cubicBezTo>
                  <a:cubicBezTo>
                    <a:pt x="322" y="696"/>
                    <a:pt x="298" y="745"/>
                    <a:pt x="298" y="782"/>
                  </a:cubicBezTo>
                  <a:cubicBezTo>
                    <a:pt x="298" y="819"/>
                    <a:pt x="253" y="827"/>
                    <a:pt x="275" y="864"/>
                  </a:cubicBezTo>
                  <a:cubicBezTo>
                    <a:pt x="298" y="901"/>
                    <a:pt x="455" y="919"/>
                    <a:pt x="500" y="919"/>
                  </a:cubicBezTo>
                  <a:cubicBezTo>
                    <a:pt x="545" y="919"/>
                    <a:pt x="561" y="962"/>
                    <a:pt x="575" y="964"/>
                  </a:cubicBezTo>
                  <a:cubicBezTo>
                    <a:pt x="603" y="969"/>
                    <a:pt x="607" y="1003"/>
                    <a:pt x="639" y="1009"/>
                  </a:cubicBezTo>
                  <a:cubicBezTo>
                    <a:pt x="671" y="1016"/>
                    <a:pt x="703" y="1035"/>
                    <a:pt x="716" y="1093"/>
                  </a:cubicBezTo>
                  <a:cubicBezTo>
                    <a:pt x="729" y="1151"/>
                    <a:pt x="768" y="1170"/>
                    <a:pt x="774" y="1196"/>
                  </a:cubicBezTo>
                  <a:cubicBezTo>
                    <a:pt x="781" y="1221"/>
                    <a:pt x="851" y="1202"/>
                    <a:pt x="903" y="1209"/>
                  </a:cubicBezTo>
                  <a:cubicBezTo>
                    <a:pt x="954" y="1215"/>
                    <a:pt x="1102" y="1209"/>
                    <a:pt x="1141" y="1215"/>
                  </a:cubicBezTo>
                  <a:cubicBezTo>
                    <a:pt x="1179" y="1221"/>
                    <a:pt x="1269" y="1215"/>
                    <a:pt x="1321" y="1254"/>
                  </a:cubicBezTo>
                  <a:cubicBezTo>
                    <a:pt x="1372" y="1292"/>
                    <a:pt x="1398" y="1260"/>
                    <a:pt x="1430" y="1279"/>
                  </a:cubicBezTo>
                  <a:cubicBezTo>
                    <a:pt x="1462" y="1298"/>
                    <a:pt x="1488" y="1311"/>
                    <a:pt x="1533" y="1305"/>
                  </a:cubicBezTo>
                  <a:cubicBezTo>
                    <a:pt x="1578" y="1298"/>
                    <a:pt x="1578" y="1337"/>
                    <a:pt x="1610" y="1344"/>
                  </a:cubicBezTo>
                  <a:cubicBezTo>
                    <a:pt x="1642" y="1350"/>
                    <a:pt x="1700" y="1292"/>
                    <a:pt x="1784" y="1254"/>
                  </a:cubicBezTo>
                  <a:cubicBezTo>
                    <a:pt x="1867" y="1215"/>
                    <a:pt x="1964" y="1241"/>
                    <a:pt x="2009" y="1247"/>
                  </a:cubicBezTo>
                  <a:cubicBezTo>
                    <a:pt x="2054" y="1254"/>
                    <a:pt x="2137" y="1228"/>
                    <a:pt x="2189" y="1170"/>
                  </a:cubicBezTo>
                  <a:cubicBezTo>
                    <a:pt x="2240" y="1112"/>
                    <a:pt x="2304" y="1125"/>
                    <a:pt x="2311" y="1074"/>
                  </a:cubicBezTo>
                  <a:cubicBezTo>
                    <a:pt x="2317" y="1022"/>
                    <a:pt x="2260" y="1003"/>
                    <a:pt x="2285" y="958"/>
                  </a:cubicBezTo>
                  <a:cubicBezTo>
                    <a:pt x="2311" y="913"/>
                    <a:pt x="2356" y="919"/>
                    <a:pt x="2382" y="932"/>
                  </a:cubicBezTo>
                  <a:cubicBezTo>
                    <a:pt x="2407" y="945"/>
                    <a:pt x="2478" y="964"/>
                    <a:pt x="2542" y="919"/>
                  </a:cubicBezTo>
                  <a:cubicBezTo>
                    <a:pt x="2607" y="874"/>
                    <a:pt x="2633" y="881"/>
                    <a:pt x="2690" y="874"/>
                  </a:cubicBezTo>
                  <a:cubicBezTo>
                    <a:pt x="2748" y="868"/>
                    <a:pt x="2742" y="829"/>
                    <a:pt x="2780" y="791"/>
                  </a:cubicBezTo>
                  <a:cubicBezTo>
                    <a:pt x="2819" y="752"/>
                    <a:pt x="2864" y="739"/>
                    <a:pt x="2903" y="739"/>
                  </a:cubicBezTo>
                  <a:cubicBezTo>
                    <a:pt x="2941" y="739"/>
                    <a:pt x="2993" y="701"/>
                    <a:pt x="3031" y="713"/>
                  </a:cubicBezTo>
                  <a:cubicBezTo>
                    <a:pt x="3070" y="726"/>
                    <a:pt x="3128" y="733"/>
                    <a:pt x="3134" y="701"/>
                  </a:cubicBezTo>
                  <a:cubicBezTo>
                    <a:pt x="3140" y="668"/>
                    <a:pt x="3038" y="604"/>
                    <a:pt x="3005" y="5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13403297" y="7106066"/>
              <a:ext cx="25131" cy="68690"/>
            </a:xfrm>
            <a:custGeom>
              <a:avLst/>
              <a:gdLst>
                <a:gd name="T0" fmla="*/ 21 w 51"/>
                <a:gd name="T1" fmla="*/ 1 h 137"/>
                <a:gd name="T2" fmla="*/ 0 w 51"/>
                <a:gd name="T3" fmla="*/ 74 h 137"/>
                <a:gd name="T4" fmla="*/ 37 w 51"/>
                <a:gd name="T5" fmla="*/ 137 h 137"/>
                <a:gd name="T6" fmla="*/ 48 w 51"/>
                <a:gd name="T7" fmla="*/ 20 h 137"/>
                <a:gd name="T8" fmla="*/ 51 w 51"/>
                <a:gd name="T9" fmla="*/ 1 h 137"/>
                <a:gd name="T10" fmla="*/ 21 w 51"/>
                <a:gd name="T11" fmla="*/ 1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137">
                  <a:moveTo>
                    <a:pt x="21" y="1"/>
                  </a:moveTo>
                  <a:cubicBezTo>
                    <a:pt x="6" y="7"/>
                    <a:pt x="0" y="65"/>
                    <a:pt x="0" y="74"/>
                  </a:cubicBezTo>
                  <a:cubicBezTo>
                    <a:pt x="0" y="80"/>
                    <a:pt x="9" y="109"/>
                    <a:pt x="37" y="137"/>
                  </a:cubicBezTo>
                  <a:cubicBezTo>
                    <a:pt x="42" y="93"/>
                    <a:pt x="44" y="36"/>
                    <a:pt x="48" y="20"/>
                  </a:cubicBezTo>
                  <a:cubicBezTo>
                    <a:pt x="49" y="16"/>
                    <a:pt x="50" y="9"/>
                    <a:pt x="51" y="1"/>
                  </a:cubicBezTo>
                  <a:cubicBezTo>
                    <a:pt x="36" y="0"/>
                    <a:pt x="25" y="0"/>
                    <a:pt x="21" y="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13359738" y="7060830"/>
              <a:ext cx="73717" cy="211097"/>
            </a:xfrm>
            <a:custGeom>
              <a:avLst/>
              <a:gdLst>
                <a:gd name="T0" fmla="*/ 68 w 145"/>
                <a:gd name="T1" fmla="*/ 412 h 417"/>
                <a:gd name="T2" fmla="*/ 78 w 145"/>
                <a:gd name="T3" fmla="*/ 417 h 417"/>
                <a:gd name="T4" fmla="*/ 110 w 145"/>
                <a:gd name="T5" fmla="*/ 272 h 417"/>
                <a:gd name="T6" fmla="*/ 123 w 145"/>
                <a:gd name="T7" fmla="*/ 224 h 417"/>
                <a:gd name="T8" fmla="*/ 86 w 145"/>
                <a:gd name="T9" fmla="*/ 161 h 417"/>
                <a:gd name="T10" fmla="*/ 107 w 145"/>
                <a:gd name="T11" fmla="*/ 88 h 417"/>
                <a:gd name="T12" fmla="*/ 137 w 145"/>
                <a:gd name="T13" fmla="*/ 88 h 417"/>
                <a:gd name="T14" fmla="*/ 145 w 145"/>
                <a:gd name="T15" fmla="*/ 21 h 417"/>
                <a:gd name="T16" fmla="*/ 95 w 145"/>
                <a:gd name="T17" fmla="*/ 0 h 417"/>
                <a:gd name="T18" fmla="*/ 79 w 145"/>
                <a:gd name="T19" fmla="*/ 47 h 417"/>
                <a:gd name="T20" fmla="*/ 0 w 145"/>
                <a:gd name="T21" fmla="*/ 224 h 417"/>
                <a:gd name="T22" fmla="*/ 72 w 145"/>
                <a:gd name="T23" fmla="*/ 400 h 417"/>
                <a:gd name="T24" fmla="*/ 68 w 145"/>
                <a:gd name="T25" fmla="*/ 41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5" h="417">
                  <a:moveTo>
                    <a:pt x="68" y="412"/>
                  </a:moveTo>
                  <a:cubicBezTo>
                    <a:pt x="71" y="413"/>
                    <a:pt x="74" y="415"/>
                    <a:pt x="78" y="417"/>
                  </a:cubicBezTo>
                  <a:cubicBezTo>
                    <a:pt x="86" y="357"/>
                    <a:pt x="99" y="287"/>
                    <a:pt x="110" y="272"/>
                  </a:cubicBezTo>
                  <a:cubicBezTo>
                    <a:pt x="116" y="265"/>
                    <a:pt x="120" y="246"/>
                    <a:pt x="123" y="224"/>
                  </a:cubicBezTo>
                  <a:cubicBezTo>
                    <a:pt x="95" y="196"/>
                    <a:pt x="86" y="167"/>
                    <a:pt x="86" y="161"/>
                  </a:cubicBezTo>
                  <a:cubicBezTo>
                    <a:pt x="86" y="152"/>
                    <a:pt x="92" y="94"/>
                    <a:pt x="107" y="88"/>
                  </a:cubicBezTo>
                  <a:cubicBezTo>
                    <a:pt x="111" y="87"/>
                    <a:pt x="122" y="87"/>
                    <a:pt x="137" y="88"/>
                  </a:cubicBezTo>
                  <a:cubicBezTo>
                    <a:pt x="140" y="70"/>
                    <a:pt x="143" y="44"/>
                    <a:pt x="145" y="21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87" y="16"/>
                    <a:pt x="81" y="32"/>
                    <a:pt x="79" y="47"/>
                  </a:cubicBezTo>
                  <a:cubicBezTo>
                    <a:pt x="71" y="100"/>
                    <a:pt x="23" y="188"/>
                    <a:pt x="0" y="224"/>
                  </a:cubicBezTo>
                  <a:cubicBezTo>
                    <a:pt x="72" y="400"/>
                    <a:pt x="72" y="400"/>
                    <a:pt x="72" y="400"/>
                  </a:cubicBezTo>
                  <a:lnTo>
                    <a:pt x="68" y="412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13398271" y="7057479"/>
              <a:ext cx="212773" cy="236228"/>
            </a:xfrm>
            <a:custGeom>
              <a:avLst/>
              <a:gdLst>
                <a:gd name="T0" fmla="*/ 390 w 421"/>
                <a:gd name="T1" fmla="*/ 0 h 466"/>
                <a:gd name="T2" fmla="*/ 262 w 421"/>
                <a:gd name="T3" fmla="*/ 61 h 466"/>
                <a:gd name="T4" fmla="*/ 168 w 421"/>
                <a:gd name="T5" fmla="*/ 112 h 466"/>
                <a:gd name="T6" fmla="*/ 77 w 421"/>
                <a:gd name="T7" fmla="*/ 65 h 466"/>
                <a:gd name="T8" fmla="*/ 69 w 421"/>
                <a:gd name="T9" fmla="*/ 29 h 466"/>
                <a:gd name="T10" fmla="*/ 67 w 421"/>
                <a:gd name="T11" fmla="*/ 28 h 466"/>
                <a:gd name="T12" fmla="*/ 56 w 421"/>
                <a:gd name="T13" fmla="*/ 114 h 466"/>
                <a:gd name="T14" fmla="*/ 32 w 421"/>
                <a:gd name="T15" fmla="*/ 279 h 466"/>
                <a:gd name="T16" fmla="*/ 0 w 421"/>
                <a:gd name="T17" fmla="*/ 424 h 466"/>
                <a:gd name="T18" fmla="*/ 89 w 421"/>
                <a:gd name="T19" fmla="*/ 463 h 466"/>
                <a:gd name="T20" fmla="*/ 168 w 421"/>
                <a:gd name="T21" fmla="*/ 403 h 466"/>
                <a:gd name="T22" fmla="*/ 231 w 421"/>
                <a:gd name="T23" fmla="*/ 376 h 466"/>
                <a:gd name="T24" fmla="*/ 290 w 421"/>
                <a:gd name="T25" fmla="*/ 329 h 466"/>
                <a:gd name="T26" fmla="*/ 215 w 421"/>
                <a:gd name="T27" fmla="*/ 242 h 466"/>
                <a:gd name="T28" fmla="*/ 314 w 421"/>
                <a:gd name="T29" fmla="*/ 179 h 466"/>
                <a:gd name="T30" fmla="*/ 416 w 421"/>
                <a:gd name="T31" fmla="*/ 147 h 466"/>
                <a:gd name="T32" fmla="*/ 421 w 421"/>
                <a:gd name="T33" fmla="*/ 147 h 466"/>
                <a:gd name="T34" fmla="*/ 398 w 421"/>
                <a:gd name="T35" fmla="*/ 49 h 466"/>
                <a:gd name="T36" fmla="*/ 390 w 421"/>
                <a:gd name="T37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1" h="466">
                  <a:moveTo>
                    <a:pt x="390" y="0"/>
                  </a:moveTo>
                  <a:cubicBezTo>
                    <a:pt x="328" y="32"/>
                    <a:pt x="273" y="59"/>
                    <a:pt x="262" y="61"/>
                  </a:cubicBezTo>
                  <a:cubicBezTo>
                    <a:pt x="235" y="65"/>
                    <a:pt x="168" y="112"/>
                    <a:pt x="168" y="112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4" y="62"/>
                    <a:pt x="59" y="102"/>
                    <a:pt x="56" y="114"/>
                  </a:cubicBezTo>
                  <a:cubicBezTo>
                    <a:pt x="50" y="138"/>
                    <a:pt x="50" y="256"/>
                    <a:pt x="32" y="279"/>
                  </a:cubicBezTo>
                  <a:cubicBezTo>
                    <a:pt x="21" y="294"/>
                    <a:pt x="8" y="364"/>
                    <a:pt x="0" y="424"/>
                  </a:cubicBezTo>
                  <a:cubicBezTo>
                    <a:pt x="33" y="442"/>
                    <a:pt x="71" y="461"/>
                    <a:pt x="89" y="463"/>
                  </a:cubicBezTo>
                  <a:cubicBezTo>
                    <a:pt x="124" y="466"/>
                    <a:pt x="168" y="427"/>
                    <a:pt x="168" y="403"/>
                  </a:cubicBezTo>
                  <a:cubicBezTo>
                    <a:pt x="168" y="380"/>
                    <a:pt x="199" y="376"/>
                    <a:pt x="231" y="376"/>
                  </a:cubicBezTo>
                  <a:cubicBezTo>
                    <a:pt x="262" y="376"/>
                    <a:pt x="266" y="340"/>
                    <a:pt x="290" y="329"/>
                  </a:cubicBezTo>
                  <a:cubicBezTo>
                    <a:pt x="314" y="317"/>
                    <a:pt x="239" y="250"/>
                    <a:pt x="215" y="242"/>
                  </a:cubicBezTo>
                  <a:cubicBezTo>
                    <a:pt x="191" y="234"/>
                    <a:pt x="235" y="183"/>
                    <a:pt x="314" y="179"/>
                  </a:cubicBezTo>
                  <a:cubicBezTo>
                    <a:pt x="392" y="175"/>
                    <a:pt x="373" y="147"/>
                    <a:pt x="416" y="147"/>
                  </a:cubicBezTo>
                  <a:cubicBezTo>
                    <a:pt x="418" y="147"/>
                    <a:pt x="420" y="147"/>
                    <a:pt x="421" y="147"/>
                  </a:cubicBezTo>
                  <a:cubicBezTo>
                    <a:pt x="414" y="113"/>
                    <a:pt x="404" y="71"/>
                    <a:pt x="398" y="49"/>
                  </a:cubicBezTo>
                  <a:cubicBezTo>
                    <a:pt x="394" y="36"/>
                    <a:pt x="392" y="19"/>
                    <a:pt x="390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15160767" y="6481150"/>
              <a:ext cx="551199" cy="241254"/>
            </a:xfrm>
            <a:custGeom>
              <a:avLst/>
              <a:gdLst>
                <a:gd name="T0" fmla="*/ 1009 w 1092"/>
                <a:gd name="T1" fmla="*/ 91 h 475"/>
                <a:gd name="T2" fmla="*/ 914 w 1092"/>
                <a:gd name="T3" fmla="*/ 65 h 475"/>
                <a:gd name="T4" fmla="*/ 658 w 1092"/>
                <a:gd name="T5" fmla="*/ 50 h 475"/>
                <a:gd name="T6" fmla="*/ 525 w 1092"/>
                <a:gd name="T7" fmla="*/ 12 h 475"/>
                <a:gd name="T8" fmla="*/ 421 w 1092"/>
                <a:gd name="T9" fmla="*/ 53 h 475"/>
                <a:gd name="T10" fmla="*/ 333 w 1092"/>
                <a:gd name="T11" fmla="*/ 68 h 475"/>
                <a:gd name="T12" fmla="*/ 197 w 1092"/>
                <a:gd name="T13" fmla="*/ 71 h 475"/>
                <a:gd name="T14" fmla="*/ 135 w 1092"/>
                <a:gd name="T15" fmla="*/ 138 h 475"/>
                <a:gd name="T16" fmla="*/ 105 w 1092"/>
                <a:gd name="T17" fmla="*/ 194 h 475"/>
                <a:gd name="T18" fmla="*/ 142 w 1092"/>
                <a:gd name="T19" fmla="*/ 227 h 475"/>
                <a:gd name="T20" fmla="*/ 221 w 1092"/>
                <a:gd name="T21" fmla="*/ 223 h 475"/>
                <a:gd name="T22" fmla="*/ 359 w 1092"/>
                <a:gd name="T23" fmla="*/ 286 h 475"/>
                <a:gd name="T24" fmla="*/ 315 w 1092"/>
                <a:gd name="T25" fmla="*/ 338 h 475"/>
                <a:gd name="T26" fmla="*/ 221 w 1092"/>
                <a:gd name="T27" fmla="*/ 353 h 475"/>
                <a:gd name="T28" fmla="*/ 75 w 1092"/>
                <a:gd name="T29" fmla="*/ 373 h 475"/>
                <a:gd name="T30" fmla="*/ 4 w 1092"/>
                <a:gd name="T31" fmla="*/ 432 h 475"/>
                <a:gd name="T32" fmla="*/ 146 w 1092"/>
                <a:gd name="T33" fmla="*/ 444 h 475"/>
                <a:gd name="T34" fmla="*/ 237 w 1092"/>
                <a:gd name="T35" fmla="*/ 448 h 475"/>
                <a:gd name="T36" fmla="*/ 319 w 1092"/>
                <a:gd name="T37" fmla="*/ 464 h 475"/>
                <a:gd name="T38" fmla="*/ 449 w 1092"/>
                <a:gd name="T39" fmla="*/ 456 h 475"/>
                <a:gd name="T40" fmla="*/ 466 w 1092"/>
                <a:gd name="T41" fmla="*/ 406 h 475"/>
                <a:gd name="T42" fmla="*/ 510 w 1092"/>
                <a:gd name="T43" fmla="*/ 380 h 475"/>
                <a:gd name="T44" fmla="*/ 565 w 1092"/>
                <a:gd name="T45" fmla="*/ 344 h 475"/>
                <a:gd name="T46" fmla="*/ 625 w 1092"/>
                <a:gd name="T47" fmla="*/ 324 h 475"/>
                <a:gd name="T48" fmla="*/ 687 w 1092"/>
                <a:gd name="T49" fmla="*/ 344 h 475"/>
                <a:gd name="T50" fmla="*/ 747 w 1092"/>
                <a:gd name="T51" fmla="*/ 304 h 475"/>
                <a:gd name="T52" fmla="*/ 838 w 1092"/>
                <a:gd name="T53" fmla="*/ 278 h 475"/>
                <a:gd name="T54" fmla="*/ 917 w 1092"/>
                <a:gd name="T55" fmla="*/ 234 h 475"/>
                <a:gd name="T56" fmla="*/ 995 w 1092"/>
                <a:gd name="T57" fmla="*/ 189 h 475"/>
                <a:gd name="T58" fmla="*/ 1083 w 1092"/>
                <a:gd name="T59" fmla="*/ 145 h 475"/>
                <a:gd name="T60" fmla="*/ 1092 w 1092"/>
                <a:gd name="T61" fmla="*/ 124 h 475"/>
                <a:gd name="T62" fmla="*/ 1009 w 1092"/>
                <a:gd name="T63" fmla="*/ 91 h 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2" h="475">
                  <a:moveTo>
                    <a:pt x="1009" y="91"/>
                  </a:moveTo>
                  <a:cubicBezTo>
                    <a:pt x="970" y="47"/>
                    <a:pt x="959" y="76"/>
                    <a:pt x="914" y="65"/>
                  </a:cubicBezTo>
                  <a:cubicBezTo>
                    <a:pt x="870" y="53"/>
                    <a:pt x="693" y="35"/>
                    <a:pt x="658" y="50"/>
                  </a:cubicBezTo>
                  <a:cubicBezTo>
                    <a:pt x="622" y="65"/>
                    <a:pt x="548" y="23"/>
                    <a:pt x="525" y="12"/>
                  </a:cubicBezTo>
                  <a:cubicBezTo>
                    <a:pt x="501" y="0"/>
                    <a:pt x="424" y="12"/>
                    <a:pt x="421" y="53"/>
                  </a:cubicBezTo>
                  <a:cubicBezTo>
                    <a:pt x="418" y="94"/>
                    <a:pt x="386" y="94"/>
                    <a:pt x="333" y="68"/>
                  </a:cubicBezTo>
                  <a:cubicBezTo>
                    <a:pt x="280" y="41"/>
                    <a:pt x="200" y="41"/>
                    <a:pt x="197" y="71"/>
                  </a:cubicBezTo>
                  <a:cubicBezTo>
                    <a:pt x="194" y="100"/>
                    <a:pt x="156" y="130"/>
                    <a:pt x="135" y="138"/>
                  </a:cubicBezTo>
                  <a:cubicBezTo>
                    <a:pt x="127" y="142"/>
                    <a:pt x="116" y="166"/>
                    <a:pt x="105" y="194"/>
                  </a:cubicBezTo>
                  <a:cubicBezTo>
                    <a:pt x="121" y="200"/>
                    <a:pt x="131" y="214"/>
                    <a:pt x="142" y="227"/>
                  </a:cubicBezTo>
                  <a:cubicBezTo>
                    <a:pt x="162" y="251"/>
                    <a:pt x="213" y="247"/>
                    <a:pt x="221" y="223"/>
                  </a:cubicBezTo>
                  <a:cubicBezTo>
                    <a:pt x="229" y="200"/>
                    <a:pt x="311" y="247"/>
                    <a:pt x="359" y="286"/>
                  </a:cubicBezTo>
                  <a:cubicBezTo>
                    <a:pt x="406" y="326"/>
                    <a:pt x="335" y="298"/>
                    <a:pt x="315" y="338"/>
                  </a:cubicBezTo>
                  <a:cubicBezTo>
                    <a:pt x="296" y="377"/>
                    <a:pt x="237" y="338"/>
                    <a:pt x="221" y="353"/>
                  </a:cubicBezTo>
                  <a:cubicBezTo>
                    <a:pt x="205" y="369"/>
                    <a:pt x="103" y="377"/>
                    <a:pt x="75" y="373"/>
                  </a:cubicBezTo>
                  <a:cubicBezTo>
                    <a:pt x="47" y="369"/>
                    <a:pt x="0" y="412"/>
                    <a:pt x="4" y="432"/>
                  </a:cubicBezTo>
                  <a:cubicBezTo>
                    <a:pt x="8" y="452"/>
                    <a:pt x="110" y="420"/>
                    <a:pt x="146" y="444"/>
                  </a:cubicBezTo>
                  <a:cubicBezTo>
                    <a:pt x="181" y="468"/>
                    <a:pt x="217" y="420"/>
                    <a:pt x="237" y="448"/>
                  </a:cubicBezTo>
                  <a:cubicBezTo>
                    <a:pt x="256" y="475"/>
                    <a:pt x="300" y="456"/>
                    <a:pt x="319" y="464"/>
                  </a:cubicBezTo>
                  <a:cubicBezTo>
                    <a:pt x="339" y="472"/>
                    <a:pt x="448" y="456"/>
                    <a:pt x="449" y="456"/>
                  </a:cubicBezTo>
                  <a:cubicBezTo>
                    <a:pt x="461" y="442"/>
                    <a:pt x="466" y="423"/>
                    <a:pt x="466" y="406"/>
                  </a:cubicBezTo>
                  <a:cubicBezTo>
                    <a:pt x="466" y="380"/>
                    <a:pt x="488" y="386"/>
                    <a:pt x="510" y="380"/>
                  </a:cubicBezTo>
                  <a:cubicBezTo>
                    <a:pt x="532" y="373"/>
                    <a:pt x="548" y="344"/>
                    <a:pt x="565" y="344"/>
                  </a:cubicBezTo>
                  <a:cubicBezTo>
                    <a:pt x="583" y="344"/>
                    <a:pt x="607" y="318"/>
                    <a:pt x="625" y="324"/>
                  </a:cubicBezTo>
                  <a:cubicBezTo>
                    <a:pt x="643" y="331"/>
                    <a:pt x="665" y="362"/>
                    <a:pt x="687" y="344"/>
                  </a:cubicBezTo>
                  <a:cubicBezTo>
                    <a:pt x="709" y="327"/>
                    <a:pt x="716" y="342"/>
                    <a:pt x="747" y="304"/>
                  </a:cubicBezTo>
                  <a:cubicBezTo>
                    <a:pt x="778" y="267"/>
                    <a:pt x="798" y="273"/>
                    <a:pt x="838" y="278"/>
                  </a:cubicBezTo>
                  <a:cubicBezTo>
                    <a:pt x="884" y="283"/>
                    <a:pt x="904" y="260"/>
                    <a:pt x="917" y="234"/>
                  </a:cubicBezTo>
                  <a:cubicBezTo>
                    <a:pt x="930" y="207"/>
                    <a:pt x="970" y="207"/>
                    <a:pt x="995" y="189"/>
                  </a:cubicBezTo>
                  <a:cubicBezTo>
                    <a:pt x="1019" y="172"/>
                    <a:pt x="1068" y="152"/>
                    <a:pt x="1083" y="145"/>
                  </a:cubicBezTo>
                  <a:cubicBezTo>
                    <a:pt x="1091" y="142"/>
                    <a:pt x="1092" y="134"/>
                    <a:pt x="1092" y="124"/>
                  </a:cubicBezTo>
                  <a:cubicBezTo>
                    <a:pt x="1057" y="95"/>
                    <a:pt x="1041" y="128"/>
                    <a:pt x="1009" y="9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13649577" y="6454344"/>
              <a:ext cx="350154" cy="157485"/>
            </a:xfrm>
            <a:custGeom>
              <a:avLst/>
              <a:gdLst>
                <a:gd name="T0" fmla="*/ 274 w 693"/>
                <a:gd name="T1" fmla="*/ 242 h 312"/>
                <a:gd name="T2" fmla="*/ 345 w 693"/>
                <a:gd name="T3" fmla="*/ 298 h 312"/>
                <a:gd name="T4" fmla="*/ 349 w 693"/>
                <a:gd name="T5" fmla="*/ 304 h 312"/>
                <a:gd name="T6" fmla="*/ 450 w 693"/>
                <a:gd name="T7" fmla="*/ 284 h 312"/>
                <a:gd name="T8" fmla="*/ 539 w 693"/>
                <a:gd name="T9" fmla="*/ 293 h 312"/>
                <a:gd name="T10" fmla="*/ 534 w 693"/>
                <a:gd name="T11" fmla="*/ 271 h 312"/>
                <a:gd name="T12" fmla="*/ 602 w 693"/>
                <a:gd name="T13" fmla="*/ 292 h 312"/>
                <a:gd name="T14" fmla="*/ 678 w 693"/>
                <a:gd name="T15" fmla="*/ 298 h 312"/>
                <a:gd name="T16" fmla="*/ 646 w 693"/>
                <a:gd name="T17" fmla="*/ 254 h 312"/>
                <a:gd name="T18" fmla="*/ 666 w 693"/>
                <a:gd name="T19" fmla="*/ 217 h 312"/>
                <a:gd name="T20" fmla="*/ 605 w 693"/>
                <a:gd name="T21" fmla="*/ 186 h 312"/>
                <a:gd name="T22" fmla="*/ 573 w 693"/>
                <a:gd name="T23" fmla="*/ 124 h 312"/>
                <a:gd name="T24" fmla="*/ 538 w 693"/>
                <a:gd name="T25" fmla="*/ 110 h 312"/>
                <a:gd name="T26" fmla="*/ 436 w 693"/>
                <a:gd name="T27" fmla="*/ 124 h 312"/>
                <a:gd name="T28" fmla="*/ 374 w 693"/>
                <a:gd name="T29" fmla="*/ 93 h 312"/>
                <a:gd name="T30" fmla="*/ 312 w 693"/>
                <a:gd name="T31" fmla="*/ 53 h 312"/>
                <a:gd name="T32" fmla="*/ 157 w 693"/>
                <a:gd name="T33" fmla="*/ 39 h 312"/>
                <a:gd name="T34" fmla="*/ 38 w 693"/>
                <a:gd name="T35" fmla="*/ 4 h 312"/>
                <a:gd name="T36" fmla="*/ 0 w 693"/>
                <a:gd name="T37" fmla="*/ 22 h 312"/>
                <a:gd name="T38" fmla="*/ 154 w 693"/>
                <a:gd name="T39" fmla="*/ 107 h 312"/>
                <a:gd name="T40" fmla="*/ 193 w 693"/>
                <a:gd name="T41" fmla="*/ 211 h 312"/>
                <a:gd name="T42" fmla="*/ 170 w 693"/>
                <a:gd name="T43" fmla="*/ 245 h 312"/>
                <a:gd name="T44" fmla="*/ 274 w 693"/>
                <a:gd name="T45" fmla="*/ 24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3" h="312">
                  <a:moveTo>
                    <a:pt x="274" y="242"/>
                  </a:moveTo>
                  <a:cubicBezTo>
                    <a:pt x="306" y="227"/>
                    <a:pt x="318" y="262"/>
                    <a:pt x="345" y="298"/>
                  </a:cubicBezTo>
                  <a:cubicBezTo>
                    <a:pt x="347" y="300"/>
                    <a:pt x="348" y="302"/>
                    <a:pt x="349" y="304"/>
                  </a:cubicBezTo>
                  <a:cubicBezTo>
                    <a:pt x="386" y="299"/>
                    <a:pt x="413" y="288"/>
                    <a:pt x="450" y="284"/>
                  </a:cubicBezTo>
                  <a:cubicBezTo>
                    <a:pt x="477" y="281"/>
                    <a:pt x="512" y="287"/>
                    <a:pt x="539" y="293"/>
                  </a:cubicBezTo>
                  <a:cubicBezTo>
                    <a:pt x="534" y="284"/>
                    <a:pt x="531" y="277"/>
                    <a:pt x="534" y="271"/>
                  </a:cubicBezTo>
                  <a:cubicBezTo>
                    <a:pt x="542" y="254"/>
                    <a:pt x="587" y="277"/>
                    <a:pt x="602" y="292"/>
                  </a:cubicBezTo>
                  <a:cubicBezTo>
                    <a:pt x="616" y="307"/>
                    <a:pt x="664" y="312"/>
                    <a:pt x="678" y="298"/>
                  </a:cubicBezTo>
                  <a:cubicBezTo>
                    <a:pt x="693" y="283"/>
                    <a:pt x="655" y="268"/>
                    <a:pt x="646" y="254"/>
                  </a:cubicBezTo>
                  <a:cubicBezTo>
                    <a:pt x="641" y="246"/>
                    <a:pt x="653" y="231"/>
                    <a:pt x="666" y="217"/>
                  </a:cubicBezTo>
                  <a:cubicBezTo>
                    <a:pt x="640" y="203"/>
                    <a:pt x="614" y="183"/>
                    <a:pt x="605" y="186"/>
                  </a:cubicBezTo>
                  <a:cubicBezTo>
                    <a:pt x="591" y="190"/>
                    <a:pt x="591" y="124"/>
                    <a:pt x="573" y="124"/>
                  </a:cubicBezTo>
                  <a:cubicBezTo>
                    <a:pt x="556" y="124"/>
                    <a:pt x="556" y="110"/>
                    <a:pt x="538" y="110"/>
                  </a:cubicBezTo>
                  <a:cubicBezTo>
                    <a:pt x="520" y="110"/>
                    <a:pt x="454" y="110"/>
                    <a:pt x="436" y="124"/>
                  </a:cubicBezTo>
                  <a:cubicBezTo>
                    <a:pt x="419" y="137"/>
                    <a:pt x="396" y="93"/>
                    <a:pt x="374" y="93"/>
                  </a:cubicBezTo>
                  <a:cubicBezTo>
                    <a:pt x="352" y="93"/>
                    <a:pt x="326" y="70"/>
                    <a:pt x="312" y="53"/>
                  </a:cubicBezTo>
                  <a:cubicBezTo>
                    <a:pt x="299" y="35"/>
                    <a:pt x="188" y="62"/>
                    <a:pt x="157" y="39"/>
                  </a:cubicBezTo>
                  <a:cubicBezTo>
                    <a:pt x="126" y="17"/>
                    <a:pt x="69" y="0"/>
                    <a:pt x="38" y="4"/>
                  </a:cubicBezTo>
                  <a:cubicBezTo>
                    <a:pt x="30" y="5"/>
                    <a:pt x="16" y="12"/>
                    <a:pt x="0" y="22"/>
                  </a:cubicBezTo>
                  <a:cubicBezTo>
                    <a:pt x="59" y="55"/>
                    <a:pt x="143" y="46"/>
                    <a:pt x="154" y="107"/>
                  </a:cubicBezTo>
                  <a:cubicBezTo>
                    <a:pt x="168" y="178"/>
                    <a:pt x="208" y="150"/>
                    <a:pt x="193" y="211"/>
                  </a:cubicBezTo>
                  <a:cubicBezTo>
                    <a:pt x="190" y="223"/>
                    <a:pt x="181" y="234"/>
                    <a:pt x="170" y="245"/>
                  </a:cubicBezTo>
                  <a:cubicBezTo>
                    <a:pt x="216" y="248"/>
                    <a:pt x="259" y="248"/>
                    <a:pt x="274" y="2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7" name="Freeform 57"/>
            <p:cNvSpPr>
              <a:spLocks noEditPoints="1"/>
            </p:cNvSpPr>
            <p:nvPr/>
          </p:nvSpPr>
          <p:spPr bwMode="auto">
            <a:xfrm>
              <a:off x="12952621" y="6541463"/>
              <a:ext cx="946588" cy="375284"/>
            </a:xfrm>
            <a:custGeom>
              <a:avLst/>
              <a:gdLst>
                <a:gd name="T0" fmla="*/ 1824 w 1875"/>
                <a:gd name="T1" fmla="*/ 518 h 741"/>
                <a:gd name="T2" fmla="*/ 1824 w 1875"/>
                <a:gd name="T3" fmla="*/ 412 h 741"/>
                <a:gd name="T4" fmla="*/ 1820 w 1875"/>
                <a:gd name="T5" fmla="*/ 329 h 741"/>
                <a:gd name="T6" fmla="*/ 1846 w 1875"/>
                <a:gd name="T7" fmla="*/ 277 h 741"/>
                <a:gd name="T8" fmla="*/ 1828 w 1875"/>
                <a:gd name="T9" fmla="*/ 241 h 741"/>
                <a:gd name="T10" fmla="*/ 1751 w 1875"/>
                <a:gd name="T11" fmla="*/ 208 h 741"/>
                <a:gd name="T12" fmla="*/ 1725 w 1875"/>
                <a:gd name="T13" fmla="*/ 123 h 741"/>
                <a:gd name="T14" fmla="*/ 1654 w 1875"/>
                <a:gd name="T15" fmla="*/ 67 h 741"/>
                <a:gd name="T16" fmla="*/ 1550 w 1875"/>
                <a:gd name="T17" fmla="*/ 70 h 741"/>
                <a:gd name="T18" fmla="*/ 1365 w 1875"/>
                <a:gd name="T19" fmla="*/ 132 h 741"/>
                <a:gd name="T20" fmla="*/ 1191 w 1875"/>
                <a:gd name="T21" fmla="*/ 136 h 741"/>
                <a:gd name="T22" fmla="*/ 1072 w 1875"/>
                <a:gd name="T23" fmla="*/ 98 h 741"/>
                <a:gd name="T24" fmla="*/ 984 w 1875"/>
                <a:gd name="T25" fmla="*/ 58 h 741"/>
                <a:gd name="T26" fmla="*/ 835 w 1875"/>
                <a:gd name="T27" fmla="*/ 18 h 741"/>
                <a:gd name="T28" fmla="*/ 532 w 1875"/>
                <a:gd name="T29" fmla="*/ 111 h 741"/>
                <a:gd name="T30" fmla="*/ 314 w 1875"/>
                <a:gd name="T31" fmla="*/ 123 h 741"/>
                <a:gd name="T32" fmla="*/ 264 w 1875"/>
                <a:gd name="T33" fmla="*/ 199 h 741"/>
                <a:gd name="T34" fmla="*/ 54 w 1875"/>
                <a:gd name="T35" fmla="*/ 217 h 741"/>
                <a:gd name="T36" fmla="*/ 34 w 1875"/>
                <a:gd name="T37" fmla="*/ 291 h 741"/>
                <a:gd name="T38" fmla="*/ 75 w 1875"/>
                <a:gd name="T39" fmla="*/ 319 h 741"/>
                <a:gd name="T40" fmla="*/ 84 w 1875"/>
                <a:gd name="T41" fmla="*/ 393 h 741"/>
                <a:gd name="T42" fmla="*/ 87 w 1875"/>
                <a:gd name="T43" fmla="*/ 462 h 741"/>
                <a:gd name="T44" fmla="*/ 87 w 1875"/>
                <a:gd name="T45" fmla="*/ 517 h 741"/>
                <a:gd name="T46" fmla="*/ 137 w 1875"/>
                <a:gd name="T47" fmla="*/ 568 h 741"/>
                <a:gd name="T48" fmla="*/ 202 w 1875"/>
                <a:gd name="T49" fmla="*/ 608 h 741"/>
                <a:gd name="T50" fmla="*/ 252 w 1875"/>
                <a:gd name="T51" fmla="*/ 623 h 741"/>
                <a:gd name="T52" fmla="*/ 314 w 1875"/>
                <a:gd name="T53" fmla="*/ 687 h 741"/>
                <a:gd name="T54" fmla="*/ 442 w 1875"/>
                <a:gd name="T55" fmla="*/ 663 h 741"/>
                <a:gd name="T56" fmla="*/ 523 w 1875"/>
                <a:gd name="T57" fmla="*/ 626 h 741"/>
                <a:gd name="T58" fmla="*/ 659 w 1875"/>
                <a:gd name="T59" fmla="*/ 706 h 741"/>
                <a:gd name="T60" fmla="*/ 763 w 1875"/>
                <a:gd name="T61" fmla="*/ 688 h 741"/>
                <a:gd name="T62" fmla="*/ 856 w 1875"/>
                <a:gd name="T63" fmla="*/ 629 h 741"/>
                <a:gd name="T64" fmla="*/ 932 w 1875"/>
                <a:gd name="T65" fmla="*/ 648 h 741"/>
                <a:gd name="T66" fmla="*/ 1009 w 1875"/>
                <a:gd name="T67" fmla="*/ 627 h 741"/>
                <a:gd name="T68" fmla="*/ 982 w 1875"/>
                <a:gd name="T69" fmla="*/ 707 h 741"/>
                <a:gd name="T70" fmla="*/ 985 w 1875"/>
                <a:gd name="T71" fmla="*/ 741 h 741"/>
                <a:gd name="T72" fmla="*/ 1044 w 1875"/>
                <a:gd name="T73" fmla="*/ 672 h 741"/>
                <a:gd name="T74" fmla="*/ 1083 w 1875"/>
                <a:gd name="T75" fmla="*/ 648 h 741"/>
                <a:gd name="T76" fmla="*/ 1174 w 1875"/>
                <a:gd name="T77" fmla="*/ 648 h 741"/>
                <a:gd name="T78" fmla="*/ 1237 w 1875"/>
                <a:gd name="T79" fmla="*/ 636 h 741"/>
                <a:gd name="T80" fmla="*/ 1351 w 1875"/>
                <a:gd name="T81" fmla="*/ 640 h 741"/>
                <a:gd name="T82" fmla="*/ 1485 w 1875"/>
                <a:gd name="T83" fmla="*/ 601 h 741"/>
                <a:gd name="T84" fmla="*/ 1596 w 1875"/>
                <a:gd name="T85" fmla="*/ 585 h 741"/>
                <a:gd name="T86" fmla="*/ 1633 w 1875"/>
                <a:gd name="T87" fmla="*/ 596 h 741"/>
                <a:gd name="T88" fmla="*/ 1678 w 1875"/>
                <a:gd name="T89" fmla="*/ 562 h 741"/>
                <a:gd name="T90" fmla="*/ 1766 w 1875"/>
                <a:gd name="T91" fmla="*/ 580 h 741"/>
                <a:gd name="T92" fmla="*/ 1871 w 1875"/>
                <a:gd name="T93" fmla="*/ 597 h 741"/>
                <a:gd name="T94" fmla="*/ 1824 w 1875"/>
                <a:gd name="T95" fmla="*/ 518 h 741"/>
                <a:gd name="T96" fmla="*/ 162 w 1875"/>
                <a:gd name="T97" fmla="*/ 137 h 741"/>
                <a:gd name="T98" fmla="*/ 296 w 1875"/>
                <a:gd name="T99" fmla="*/ 124 h 741"/>
                <a:gd name="T100" fmla="*/ 221 w 1875"/>
                <a:gd name="T101" fmla="*/ 64 h 741"/>
                <a:gd name="T102" fmla="*/ 196 w 1875"/>
                <a:gd name="T103" fmla="*/ 12 h 741"/>
                <a:gd name="T104" fmla="*/ 156 w 1875"/>
                <a:gd name="T105" fmla="*/ 19 h 741"/>
                <a:gd name="T106" fmla="*/ 54 w 1875"/>
                <a:gd name="T107" fmla="*/ 19 h 741"/>
                <a:gd name="T108" fmla="*/ 63 w 1875"/>
                <a:gd name="T109" fmla="*/ 86 h 741"/>
                <a:gd name="T110" fmla="*/ 34 w 1875"/>
                <a:gd name="T111" fmla="*/ 132 h 741"/>
                <a:gd name="T112" fmla="*/ 11 w 1875"/>
                <a:gd name="T113" fmla="*/ 167 h 741"/>
                <a:gd name="T114" fmla="*/ 69 w 1875"/>
                <a:gd name="T115" fmla="*/ 195 h 741"/>
                <a:gd name="T116" fmla="*/ 162 w 1875"/>
                <a:gd name="T117" fmla="*/ 137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75" h="741">
                  <a:moveTo>
                    <a:pt x="1824" y="518"/>
                  </a:moveTo>
                  <a:cubicBezTo>
                    <a:pt x="1808" y="514"/>
                    <a:pt x="1832" y="427"/>
                    <a:pt x="1824" y="412"/>
                  </a:cubicBezTo>
                  <a:cubicBezTo>
                    <a:pt x="1816" y="396"/>
                    <a:pt x="1797" y="329"/>
                    <a:pt x="1820" y="329"/>
                  </a:cubicBezTo>
                  <a:cubicBezTo>
                    <a:pt x="1842" y="329"/>
                    <a:pt x="1818" y="280"/>
                    <a:pt x="1846" y="277"/>
                  </a:cubicBezTo>
                  <a:cubicBezTo>
                    <a:pt x="1840" y="261"/>
                    <a:pt x="1834" y="245"/>
                    <a:pt x="1828" y="241"/>
                  </a:cubicBezTo>
                  <a:cubicBezTo>
                    <a:pt x="1813" y="229"/>
                    <a:pt x="1769" y="253"/>
                    <a:pt x="1751" y="208"/>
                  </a:cubicBezTo>
                  <a:cubicBezTo>
                    <a:pt x="1734" y="164"/>
                    <a:pt x="1751" y="158"/>
                    <a:pt x="1725" y="123"/>
                  </a:cubicBezTo>
                  <a:cubicBezTo>
                    <a:pt x="1698" y="87"/>
                    <a:pt x="1686" y="52"/>
                    <a:pt x="1654" y="67"/>
                  </a:cubicBezTo>
                  <a:cubicBezTo>
                    <a:pt x="1639" y="73"/>
                    <a:pt x="1596" y="73"/>
                    <a:pt x="1550" y="70"/>
                  </a:cubicBezTo>
                  <a:cubicBezTo>
                    <a:pt x="1502" y="114"/>
                    <a:pt x="1397" y="143"/>
                    <a:pt x="1365" y="132"/>
                  </a:cubicBezTo>
                  <a:cubicBezTo>
                    <a:pt x="1325" y="117"/>
                    <a:pt x="1248" y="136"/>
                    <a:pt x="1191" y="136"/>
                  </a:cubicBezTo>
                  <a:cubicBezTo>
                    <a:pt x="1133" y="136"/>
                    <a:pt x="1117" y="95"/>
                    <a:pt x="1072" y="98"/>
                  </a:cubicBezTo>
                  <a:cubicBezTo>
                    <a:pt x="1028" y="101"/>
                    <a:pt x="1028" y="58"/>
                    <a:pt x="984" y="58"/>
                  </a:cubicBezTo>
                  <a:cubicBezTo>
                    <a:pt x="940" y="58"/>
                    <a:pt x="974" y="36"/>
                    <a:pt x="835" y="18"/>
                  </a:cubicBezTo>
                  <a:cubicBezTo>
                    <a:pt x="696" y="0"/>
                    <a:pt x="577" y="73"/>
                    <a:pt x="532" y="111"/>
                  </a:cubicBezTo>
                  <a:cubicBezTo>
                    <a:pt x="488" y="149"/>
                    <a:pt x="329" y="112"/>
                    <a:pt x="314" y="123"/>
                  </a:cubicBezTo>
                  <a:cubicBezTo>
                    <a:pt x="299" y="133"/>
                    <a:pt x="317" y="179"/>
                    <a:pt x="264" y="199"/>
                  </a:cubicBezTo>
                  <a:cubicBezTo>
                    <a:pt x="211" y="220"/>
                    <a:pt x="94" y="199"/>
                    <a:pt x="54" y="217"/>
                  </a:cubicBezTo>
                  <a:cubicBezTo>
                    <a:pt x="14" y="235"/>
                    <a:pt x="0" y="294"/>
                    <a:pt x="34" y="291"/>
                  </a:cubicBezTo>
                  <a:cubicBezTo>
                    <a:pt x="67" y="288"/>
                    <a:pt x="85" y="304"/>
                    <a:pt x="75" y="319"/>
                  </a:cubicBezTo>
                  <a:cubicBezTo>
                    <a:pt x="65" y="334"/>
                    <a:pt x="103" y="375"/>
                    <a:pt x="84" y="393"/>
                  </a:cubicBezTo>
                  <a:cubicBezTo>
                    <a:pt x="65" y="411"/>
                    <a:pt x="63" y="444"/>
                    <a:pt x="87" y="462"/>
                  </a:cubicBezTo>
                  <a:cubicBezTo>
                    <a:pt x="110" y="480"/>
                    <a:pt x="115" y="512"/>
                    <a:pt x="87" y="517"/>
                  </a:cubicBezTo>
                  <a:cubicBezTo>
                    <a:pt x="59" y="521"/>
                    <a:pt x="135" y="554"/>
                    <a:pt x="137" y="568"/>
                  </a:cubicBezTo>
                  <a:cubicBezTo>
                    <a:pt x="138" y="583"/>
                    <a:pt x="202" y="591"/>
                    <a:pt x="202" y="608"/>
                  </a:cubicBezTo>
                  <a:cubicBezTo>
                    <a:pt x="202" y="626"/>
                    <a:pt x="221" y="632"/>
                    <a:pt x="252" y="623"/>
                  </a:cubicBezTo>
                  <a:cubicBezTo>
                    <a:pt x="283" y="614"/>
                    <a:pt x="295" y="657"/>
                    <a:pt x="314" y="687"/>
                  </a:cubicBezTo>
                  <a:cubicBezTo>
                    <a:pt x="333" y="716"/>
                    <a:pt x="442" y="695"/>
                    <a:pt x="442" y="663"/>
                  </a:cubicBezTo>
                  <a:cubicBezTo>
                    <a:pt x="442" y="630"/>
                    <a:pt x="475" y="622"/>
                    <a:pt x="523" y="626"/>
                  </a:cubicBezTo>
                  <a:cubicBezTo>
                    <a:pt x="572" y="630"/>
                    <a:pt x="636" y="697"/>
                    <a:pt x="659" y="706"/>
                  </a:cubicBezTo>
                  <a:cubicBezTo>
                    <a:pt x="683" y="714"/>
                    <a:pt x="732" y="688"/>
                    <a:pt x="763" y="688"/>
                  </a:cubicBezTo>
                  <a:cubicBezTo>
                    <a:pt x="794" y="688"/>
                    <a:pt x="838" y="639"/>
                    <a:pt x="856" y="629"/>
                  </a:cubicBezTo>
                  <a:cubicBezTo>
                    <a:pt x="873" y="619"/>
                    <a:pt x="904" y="663"/>
                    <a:pt x="932" y="648"/>
                  </a:cubicBezTo>
                  <a:cubicBezTo>
                    <a:pt x="960" y="633"/>
                    <a:pt x="991" y="617"/>
                    <a:pt x="1009" y="627"/>
                  </a:cubicBezTo>
                  <a:cubicBezTo>
                    <a:pt x="1027" y="638"/>
                    <a:pt x="966" y="683"/>
                    <a:pt x="982" y="707"/>
                  </a:cubicBezTo>
                  <a:cubicBezTo>
                    <a:pt x="989" y="717"/>
                    <a:pt x="988" y="729"/>
                    <a:pt x="985" y="741"/>
                  </a:cubicBezTo>
                  <a:cubicBezTo>
                    <a:pt x="1046" y="733"/>
                    <a:pt x="1040" y="690"/>
                    <a:pt x="1044" y="672"/>
                  </a:cubicBezTo>
                  <a:cubicBezTo>
                    <a:pt x="1048" y="652"/>
                    <a:pt x="1064" y="632"/>
                    <a:pt x="1083" y="648"/>
                  </a:cubicBezTo>
                  <a:cubicBezTo>
                    <a:pt x="1103" y="664"/>
                    <a:pt x="1131" y="668"/>
                    <a:pt x="1174" y="648"/>
                  </a:cubicBezTo>
                  <a:cubicBezTo>
                    <a:pt x="1217" y="628"/>
                    <a:pt x="1221" y="617"/>
                    <a:pt x="1237" y="636"/>
                  </a:cubicBezTo>
                  <a:cubicBezTo>
                    <a:pt x="1253" y="656"/>
                    <a:pt x="1288" y="640"/>
                    <a:pt x="1351" y="640"/>
                  </a:cubicBezTo>
                  <a:cubicBezTo>
                    <a:pt x="1414" y="640"/>
                    <a:pt x="1426" y="597"/>
                    <a:pt x="1485" y="601"/>
                  </a:cubicBezTo>
                  <a:cubicBezTo>
                    <a:pt x="1544" y="605"/>
                    <a:pt x="1596" y="585"/>
                    <a:pt x="1596" y="585"/>
                  </a:cubicBezTo>
                  <a:cubicBezTo>
                    <a:pt x="1633" y="596"/>
                    <a:pt x="1633" y="596"/>
                    <a:pt x="1633" y="596"/>
                  </a:cubicBezTo>
                  <a:cubicBezTo>
                    <a:pt x="1648" y="582"/>
                    <a:pt x="1647" y="566"/>
                    <a:pt x="1678" y="562"/>
                  </a:cubicBezTo>
                  <a:cubicBezTo>
                    <a:pt x="1725" y="557"/>
                    <a:pt x="1742" y="592"/>
                    <a:pt x="1766" y="580"/>
                  </a:cubicBezTo>
                  <a:cubicBezTo>
                    <a:pt x="1790" y="568"/>
                    <a:pt x="1865" y="649"/>
                    <a:pt x="1871" y="597"/>
                  </a:cubicBezTo>
                  <a:cubicBezTo>
                    <a:pt x="1875" y="585"/>
                    <a:pt x="1840" y="522"/>
                    <a:pt x="1824" y="518"/>
                  </a:cubicBezTo>
                  <a:close/>
                  <a:moveTo>
                    <a:pt x="162" y="137"/>
                  </a:moveTo>
                  <a:cubicBezTo>
                    <a:pt x="197" y="124"/>
                    <a:pt x="277" y="142"/>
                    <a:pt x="296" y="124"/>
                  </a:cubicBezTo>
                  <a:cubicBezTo>
                    <a:pt x="315" y="107"/>
                    <a:pt x="246" y="84"/>
                    <a:pt x="221" y="64"/>
                  </a:cubicBezTo>
                  <a:cubicBezTo>
                    <a:pt x="206" y="52"/>
                    <a:pt x="201" y="29"/>
                    <a:pt x="196" y="12"/>
                  </a:cubicBezTo>
                  <a:cubicBezTo>
                    <a:pt x="185" y="20"/>
                    <a:pt x="169" y="26"/>
                    <a:pt x="156" y="19"/>
                  </a:cubicBezTo>
                  <a:cubicBezTo>
                    <a:pt x="130" y="6"/>
                    <a:pt x="65" y="15"/>
                    <a:pt x="54" y="19"/>
                  </a:cubicBezTo>
                  <a:cubicBezTo>
                    <a:pt x="43" y="24"/>
                    <a:pt x="63" y="61"/>
                    <a:pt x="63" y="86"/>
                  </a:cubicBezTo>
                  <a:cubicBezTo>
                    <a:pt x="63" y="110"/>
                    <a:pt x="34" y="117"/>
                    <a:pt x="34" y="132"/>
                  </a:cubicBezTo>
                  <a:cubicBezTo>
                    <a:pt x="34" y="144"/>
                    <a:pt x="24" y="152"/>
                    <a:pt x="11" y="167"/>
                  </a:cubicBezTo>
                  <a:cubicBezTo>
                    <a:pt x="30" y="181"/>
                    <a:pt x="49" y="195"/>
                    <a:pt x="69" y="195"/>
                  </a:cubicBezTo>
                  <a:cubicBezTo>
                    <a:pt x="110" y="195"/>
                    <a:pt x="126" y="151"/>
                    <a:pt x="162" y="1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15598041" y="6921774"/>
              <a:ext cx="118952" cy="110575"/>
            </a:xfrm>
            <a:custGeom>
              <a:avLst/>
              <a:gdLst>
                <a:gd name="T0" fmla="*/ 113 w 237"/>
                <a:gd name="T1" fmla="*/ 2 h 221"/>
                <a:gd name="T2" fmla="*/ 0 w 237"/>
                <a:gd name="T3" fmla="*/ 67 h 221"/>
                <a:gd name="T4" fmla="*/ 17 w 237"/>
                <a:gd name="T5" fmla="*/ 95 h 221"/>
                <a:gd name="T6" fmla="*/ 76 w 237"/>
                <a:gd name="T7" fmla="*/ 162 h 221"/>
                <a:gd name="T8" fmla="*/ 86 w 237"/>
                <a:gd name="T9" fmla="*/ 221 h 221"/>
                <a:gd name="T10" fmla="*/ 129 w 237"/>
                <a:gd name="T11" fmla="*/ 217 h 221"/>
                <a:gd name="T12" fmla="*/ 228 w 237"/>
                <a:gd name="T13" fmla="*/ 97 h 221"/>
                <a:gd name="T14" fmla="*/ 113 w 237"/>
                <a:gd name="T15" fmla="*/ 2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7" h="221">
                  <a:moveTo>
                    <a:pt x="113" y="2"/>
                  </a:moveTo>
                  <a:cubicBezTo>
                    <a:pt x="78" y="0"/>
                    <a:pt x="10" y="35"/>
                    <a:pt x="0" y="67"/>
                  </a:cubicBezTo>
                  <a:cubicBezTo>
                    <a:pt x="7" y="75"/>
                    <a:pt x="14" y="84"/>
                    <a:pt x="17" y="95"/>
                  </a:cubicBezTo>
                  <a:cubicBezTo>
                    <a:pt x="25" y="123"/>
                    <a:pt x="48" y="146"/>
                    <a:pt x="76" y="162"/>
                  </a:cubicBezTo>
                  <a:cubicBezTo>
                    <a:pt x="93" y="172"/>
                    <a:pt x="91" y="198"/>
                    <a:pt x="86" y="221"/>
                  </a:cubicBezTo>
                  <a:cubicBezTo>
                    <a:pt x="102" y="221"/>
                    <a:pt x="118" y="219"/>
                    <a:pt x="129" y="217"/>
                  </a:cubicBezTo>
                  <a:cubicBezTo>
                    <a:pt x="157" y="210"/>
                    <a:pt x="219" y="122"/>
                    <a:pt x="228" y="97"/>
                  </a:cubicBezTo>
                  <a:cubicBezTo>
                    <a:pt x="237" y="73"/>
                    <a:pt x="151" y="4"/>
                    <a:pt x="113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17874878" y="6501254"/>
              <a:ext cx="346804" cy="330049"/>
            </a:xfrm>
            <a:custGeom>
              <a:avLst/>
              <a:gdLst>
                <a:gd name="T0" fmla="*/ 659 w 686"/>
                <a:gd name="T1" fmla="*/ 32 h 651"/>
                <a:gd name="T2" fmla="*/ 575 w 686"/>
                <a:gd name="T3" fmla="*/ 0 h 651"/>
                <a:gd name="T4" fmla="*/ 517 w 686"/>
                <a:gd name="T5" fmla="*/ 77 h 651"/>
                <a:gd name="T6" fmla="*/ 447 w 686"/>
                <a:gd name="T7" fmla="*/ 128 h 651"/>
                <a:gd name="T8" fmla="*/ 408 w 686"/>
                <a:gd name="T9" fmla="*/ 167 h 651"/>
                <a:gd name="T10" fmla="*/ 344 w 686"/>
                <a:gd name="T11" fmla="*/ 186 h 651"/>
                <a:gd name="T12" fmla="*/ 279 w 686"/>
                <a:gd name="T13" fmla="*/ 161 h 651"/>
                <a:gd name="T14" fmla="*/ 215 w 686"/>
                <a:gd name="T15" fmla="*/ 231 h 651"/>
                <a:gd name="T16" fmla="*/ 29 w 686"/>
                <a:gd name="T17" fmla="*/ 334 h 651"/>
                <a:gd name="T18" fmla="*/ 0 w 686"/>
                <a:gd name="T19" fmla="*/ 378 h 651"/>
                <a:gd name="T20" fmla="*/ 115 w 686"/>
                <a:gd name="T21" fmla="*/ 434 h 651"/>
                <a:gd name="T22" fmla="*/ 56 w 686"/>
                <a:gd name="T23" fmla="*/ 542 h 651"/>
                <a:gd name="T24" fmla="*/ 73 w 686"/>
                <a:gd name="T25" fmla="*/ 603 h 651"/>
                <a:gd name="T26" fmla="*/ 124 w 686"/>
                <a:gd name="T27" fmla="*/ 628 h 651"/>
                <a:gd name="T28" fmla="*/ 200 w 686"/>
                <a:gd name="T29" fmla="*/ 613 h 651"/>
                <a:gd name="T30" fmla="*/ 224 w 686"/>
                <a:gd name="T31" fmla="*/ 627 h 651"/>
                <a:gd name="T32" fmla="*/ 283 w 686"/>
                <a:gd name="T33" fmla="*/ 582 h 651"/>
                <a:gd name="T34" fmla="*/ 373 w 686"/>
                <a:gd name="T35" fmla="*/ 563 h 651"/>
                <a:gd name="T36" fmla="*/ 426 w 686"/>
                <a:gd name="T37" fmla="*/ 543 h 651"/>
                <a:gd name="T38" fmla="*/ 337 w 686"/>
                <a:gd name="T39" fmla="*/ 460 h 651"/>
                <a:gd name="T40" fmla="*/ 365 w 686"/>
                <a:gd name="T41" fmla="*/ 371 h 651"/>
                <a:gd name="T42" fmla="*/ 540 w 686"/>
                <a:gd name="T43" fmla="*/ 265 h 651"/>
                <a:gd name="T44" fmla="*/ 575 w 686"/>
                <a:gd name="T45" fmla="*/ 144 h 651"/>
                <a:gd name="T46" fmla="*/ 686 w 686"/>
                <a:gd name="T47" fmla="*/ 36 h 651"/>
                <a:gd name="T48" fmla="*/ 659 w 686"/>
                <a:gd name="T49" fmla="*/ 32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86" h="651">
                  <a:moveTo>
                    <a:pt x="659" y="32"/>
                  </a:moveTo>
                  <a:cubicBezTo>
                    <a:pt x="620" y="45"/>
                    <a:pt x="607" y="0"/>
                    <a:pt x="575" y="0"/>
                  </a:cubicBezTo>
                  <a:cubicBezTo>
                    <a:pt x="543" y="0"/>
                    <a:pt x="549" y="77"/>
                    <a:pt x="517" y="77"/>
                  </a:cubicBezTo>
                  <a:cubicBezTo>
                    <a:pt x="485" y="77"/>
                    <a:pt x="492" y="122"/>
                    <a:pt x="447" y="128"/>
                  </a:cubicBezTo>
                  <a:cubicBezTo>
                    <a:pt x="402" y="135"/>
                    <a:pt x="389" y="135"/>
                    <a:pt x="408" y="167"/>
                  </a:cubicBezTo>
                  <a:cubicBezTo>
                    <a:pt x="427" y="199"/>
                    <a:pt x="382" y="186"/>
                    <a:pt x="344" y="186"/>
                  </a:cubicBezTo>
                  <a:cubicBezTo>
                    <a:pt x="305" y="186"/>
                    <a:pt x="305" y="161"/>
                    <a:pt x="279" y="161"/>
                  </a:cubicBezTo>
                  <a:cubicBezTo>
                    <a:pt x="254" y="161"/>
                    <a:pt x="234" y="206"/>
                    <a:pt x="215" y="231"/>
                  </a:cubicBezTo>
                  <a:cubicBezTo>
                    <a:pt x="196" y="257"/>
                    <a:pt x="67" y="315"/>
                    <a:pt x="29" y="334"/>
                  </a:cubicBezTo>
                  <a:cubicBezTo>
                    <a:pt x="18" y="340"/>
                    <a:pt x="8" y="357"/>
                    <a:pt x="0" y="378"/>
                  </a:cubicBezTo>
                  <a:cubicBezTo>
                    <a:pt x="47" y="382"/>
                    <a:pt x="94" y="408"/>
                    <a:pt x="115" y="434"/>
                  </a:cubicBezTo>
                  <a:cubicBezTo>
                    <a:pt x="143" y="470"/>
                    <a:pt x="82" y="510"/>
                    <a:pt x="56" y="542"/>
                  </a:cubicBezTo>
                  <a:cubicBezTo>
                    <a:pt x="29" y="575"/>
                    <a:pt x="72" y="576"/>
                    <a:pt x="73" y="603"/>
                  </a:cubicBezTo>
                  <a:cubicBezTo>
                    <a:pt x="75" y="629"/>
                    <a:pt x="110" y="651"/>
                    <a:pt x="124" y="628"/>
                  </a:cubicBezTo>
                  <a:cubicBezTo>
                    <a:pt x="137" y="604"/>
                    <a:pt x="159" y="613"/>
                    <a:pt x="200" y="613"/>
                  </a:cubicBezTo>
                  <a:cubicBezTo>
                    <a:pt x="212" y="613"/>
                    <a:pt x="219" y="619"/>
                    <a:pt x="224" y="627"/>
                  </a:cubicBezTo>
                  <a:cubicBezTo>
                    <a:pt x="247" y="608"/>
                    <a:pt x="274" y="591"/>
                    <a:pt x="283" y="582"/>
                  </a:cubicBezTo>
                  <a:cubicBezTo>
                    <a:pt x="298" y="566"/>
                    <a:pt x="338" y="563"/>
                    <a:pt x="373" y="563"/>
                  </a:cubicBezTo>
                  <a:cubicBezTo>
                    <a:pt x="395" y="563"/>
                    <a:pt x="410" y="556"/>
                    <a:pt x="426" y="543"/>
                  </a:cubicBezTo>
                  <a:cubicBezTo>
                    <a:pt x="388" y="502"/>
                    <a:pt x="352" y="468"/>
                    <a:pt x="337" y="460"/>
                  </a:cubicBezTo>
                  <a:cubicBezTo>
                    <a:pt x="304" y="439"/>
                    <a:pt x="324" y="381"/>
                    <a:pt x="365" y="371"/>
                  </a:cubicBezTo>
                  <a:cubicBezTo>
                    <a:pt x="407" y="361"/>
                    <a:pt x="509" y="282"/>
                    <a:pt x="540" y="265"/>
                  </a:cubicBezTo>
                  <a:cubicBezTo>
                    <a:pt x="571" y="247"/>
                    <a:pt x="550" y="190"/>
                    <a:pt x="575" y="144"/>
                  </a:cubicBezTo>
                  <a:cubicBezTo>
                    <a:pt x="588" y="120"/>
                    <a:pt x="637" y="74"/>
                    <a:pt x="686" y="36"/>
                  </a:cubicBezTo>
                  <a:cubicBezTo>
                    <a:pt x="676" y="32"/>
                    <a:pt x="666" y="30"/>
                    <a:pt x="659" y="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15703589" y="7236745"/>
              <a:ext cx="387013" cy="224501"/>
            </a:xfrm>
            <a:custGeom>
              <a:avLst/>
              <a:gdLst>
                <a:gd name="T0" fmla="*/ 752 w 765"/>
                <a:gd name="T1" fmla="*/ 282 h 443"/>
                <a:gd name="T2" fmla="*/ 729 w 765"/>
                <a:gd name="T3" fmla="*/ 282 h 443"/>
                <a:gd name="T4" fmla="*/ 598 w 765"/>
                <a:gd name="T5" fmla="*/ 257 h 443"/>
                <a:gd name="T6" fmla="*/ 406 w 765"/>
                <a:gd name="T7" fmla="*/ 180 h 443"/>
                <a:gd name="T8" fmla="*/ 202 w 765"/>
                <a:gd name="T9" fmla="*/ 31 h 443"/>
                <a:gd name="T10" fmla="*/ 122 w 765"/>
                <a:gd name="T11" fmla="*/ 16 h 443"/>
                <a:gd name="T12" fmla="*/ 61 w 765"/>
                <a:gd name="T13" fmla="*/ 35 h 443"/>
                <a:gd name="T14" fmla="*/ 16 w 765"/>
                <a:gd name="T15" fmla="*/ 92 h 443"/>
                <a:gd name="T16" fmla="*/ 0 w 765"/>
                <a:gd name="T17" fmla="*/ 167 h 443"/>
                <a:gd name="T18" fmla="*/ 51 w 765"/>
                <a:gd name="T19" fmla="*/ 206 h 443"/>
                <a:gd name="T20" fmla="*/ 130 w 765"/>
                <a:gd name="T21" fmla="*/ 246 h 443"/>
                <a:gd name="T22" fmla="*/ 205 w 765"/>
                <a:gd name="T23" fmla="*/ 285 h 443"/>
                <a:gd name="T24" fmla="*/ 288 w 765"/>
                <a:gd name="T25" fmla="*/ 332 h 443"/>
                <a:gd name="T26" fmla="*/ 382 w 765"/>
                <a:gd name="T27" fmla="*/ 317 h 443"/>
                <a:gd name="T28" fmla="*/ 438 w 765"/>
                <a:gd name="T29" fmla="*/ 372 h 443"/>
                <a:gd name="T30" fmla="*/ 568 w 765"/>
                <a:gd name="T31" fmla="*/ 423 h 443"/>
                <a:gd name="T32" fmla="*/ 741 w 765"/>
                <a:gd name="T33" fmla="*/ 407 h 443"/>
                <a:gd name="T34" fmla="*/ 745 w 765"/>
                <a:gd name="T35" fmla="*/ 305 h 443"/>
                <a:gd name="T36" fmla="*/ 752 w 765"/>
                <a:gd name="T37" fmla="*/ 28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65" h="443">
                  <a:moveTo>
                    <a:pt x="752" y="282"/>
                  </a:moveTo>
                  <a:cubicBezTo>
                    <a:pt x="745" y="282"/>
                    <a:pt x="738" y="281"/>
                    <a:pt x="729" y="282"/>
                  </a:cubicBezTo>
                  <a:cubicBezTo>
                    <a:pt x="671" y="284"/>
                    <a:pt x="636" y="255"/>
                    <a:pt x="598" y="257"/>
                  </a:cubicBezTo>
                  <a:cubicBezTo>
                    <a:pt x="561" y="259"/>
                    <a:pt x="452" y="217"/>
                    <a:pt x="406" y="180"/>
                  </a:cubicBezTo>
                  <a:cubicBezTo>
                    <a:pt x="359" y="142"/>
                    <a:pt x="233" y="62"/>
                    <a:pt x="202" y="31"/>
                  </a:cubicBezTo>
                  <a:cubicBezTo>
                    <a:pt x="171" y="0"/>
                    <a:pt x="127" y="0"/>
                    <a:pt x="122" y="16"/>
                  </a:cubicBezTo>
                  <a:cubicBezTo>
                    <a:pt x="118" y="30"/>
                    <a:pt x="96" y="31"/>
                    <a:pt x="61" y="35"/>
                  </a:cubicBezTo>
                  <a:cubicBezTo>
                    <a:pt x="52" y="50"/>
                    <a:pt x="16" y="71"/>
                    <a:pt x="16" y="92"/>
                  </a:cubicBezTo>
                  <a:cubicBezTo>
                    <a:pt x="16" y="116"/>
                    <a:pt x="0" y="147"/>
                    <a:pt x="0" y="167"/>
                  </a:cubicBezTo>
                  <a:cubicBezTo>
                    <a:pt x="0" y="186"/>
                    <a:pt x="39" y="190"/>
                    <a:pt x="51" y="206"/>
                  </a:cubicBezTo>
                  <a:cubicBezTo>
                    <a:pt x="63" y="222"/>
                    <a:pt x="126" y="230"/>
                    <a:pt x="130" y="246"/>
                  </a:cubicBezTo>
                  <a:cubicBezTo>
                    <a:pt x="134" y="261"/>
                    <a:pt x="177" y="281"/>
                    <a:pt x="205" y="285"/>
                  </a:cubicBezTo>
                  <a:cubicBezTo>
                    <a:pt x="232" y="289"/>
                    <a:pt x="272" y="320"/>
                    <a:pt x="288" y="332"/>
                  </a:cubicBezTo>
                  <a:cubicBezTo>
                    <a:pt x="303" y="344"/>
                    <a:pt x="363" y="317"/>
                    <a:pt x="382" y="317"/>
                  </a:cubicBezTo>
                  <a:cubicBezTo>
                    <a:pt x="402" y="317"/>
                    <a:pt x="434" y="352"/>
                    <a:pt x="438" y="372"/>
                  </a:cubicBezTo>
                  <a:cubicBezTo>
                    <a:pt x="441" y="391"/>
                    <a:pt x="544" y="403"/>
                    <a:pt x="568" y="423"/>
                  </a:cubicBezTo>
                  <a:cubicBezTo>
                    <a:pt x="591" y="443"/>
                    <a:pt x="717" y="431"/>
                    <a:pt x="741" y="407"/>
                  </a:cubicBezTo>
                  <a:cubicBezTo>
                    <a:pt x="765" y="383"/>
                    <a:pt x="745" y="340"/>
                    <a:pt x="745" y="305"/>
                  </a:cubicBezTo>
                  <a:cubicBezTo>
                    <a:pt x="745" y="293"/>
                    <a:pt x="748" y="287"/>
                    <a:pt x="752" y="28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16264841" y="7338943"/>
              <a:ext cx="432247" cy="953289"/>
            </a:xfrm>
            <a:custGeom>
              <a:avLst/>
              <a:gdLst>
                <a:gd name="T0" fmla="*/ 690 w 854"/>
                <a:gd name="T1" fmla="*/ 1715 h 1886"/>
                <a:gd name="T2" fmla="*/ 659 w 854"/>
                <a:gd name="T3" fmla="*/ 1640 h 1886"/>
                <a:gd name="T4" fmla="*/ 619 w 854"/>
                <a:gd name="T5" fmla="*/ 1518 h 1886"/>
                <a:gd name="T6" fmla="*/ 584 w 854"/>
                <a:gd name="T7" fmla="*/ 1411 h 1886"/>
                <a:gd name="T8" fmla="*/ 599 w 854"/>
                <a:gd name="T9" fmla="*/ 1340 h 1886"/>
                <a:gd name="T10" fmla="*/ 603 w 854"/>
                <a:gd name="T11" fmla="*/ 1293 h 1886"/>
                <a:gd name="T12" fmla="*/ 584 w 854"/>
                <a:gd name="T13" fmla="*/ 1226 h 1886"/>
                <a:gd name="T14" fmla="*/ 509 w 854"/>
                <a:gd name="T15" fmla="*/ 1135 h 1886"/>
                <a:gd name="T16" fmla="*/ 529 w 854"/>
                <a:gd name="T17" fmla="*/ 978 h 1886"/>
                <a:gd name="T18" fmla="*/ 584 w 854"/>
                <a:gd name="T19" fmla="*/ 946 h 1886"/>
                <a:gd name="T20" fmla="*/ 659 w 854"/>
                <a:gd name="T21" fmla="*/ 922 h 1886"/>
                <a:gd name="T22" fmla="*/ 749 w 854"/>
                <a:gd name="T23" fmla="*/ 871 h 1886"/>
                <a:gd name="T24" fmla="*/ 801 w 854"/>
                <a:gd name="T25" fmla="*/ 828 h 1886"/>
                <a:gd name="T26" fmla="*/ 852 w 854"/>
                <a:gd name="T27" fmla="*/ 745 h 1886"/>
                <a:gd name="T28" fmla="*/ 854 w 854"/>
                <a:gd name="T29" fmla="*/ 745 h 1886"/>
                <a:gd name="T30" fmla="*/ 809 w 854"/>
                <a:gd name="T31" fmla="*/ 755 h 1886"/>
                <a:gd name="T32" fmla="*/ 747 w 854"/>
                <a:gd name="T33" fmla="*/ 721 h 1886"/>
                <a:gd name="T34" fmla="*/ 691 w 854"/>
                <a:gd name="T35" fmla="*/ 695 h 1886"/>
                <a:gd name="T36" fmla="*/ 691 w 854"/>
                <a:gd name="T37" fmla="*/ 628 h 1886"/>
                <a:gd name="T38" fmla="*/ 654 w 854"/>
                <a:gd name="T39" fmla="*/ 584 h 1886"/>
                <a:gd name="T40" fmla="*/ 623 w 854"/>
                <a:gd name="T41" fmla="*/ 502 h 1886"/>
                <a:gd name="T42" fmla="*/ 532 w 854"/>
                <a:gd name="T43" fmla="*/ 485 h 1886"/>
                <a:gd name="T44" fmla="*/ 514 w 854"/>
                <a:gd name="T45" fmla="*/ 436 h 1886"/>
                <a:gd name="T46" fmla="*/ 596 w 854"/>
                <a:gd name="T47" fmla="*/ 297 h 1886"/>
                <a:gd name="T48" fmla="*/ 621 w 854"/>
                <a:gd name="T49" fmla="*/ 150 h 1886"/>
                <a:gd name="T50" fmla="*/ 581 w 854"/>
                <a:gd name="T51" fmla="*/ 102 h 1886"/>
                <a:gd name="T52" fmla="*/ 559 w 854"/>
                <a:gd name="T53" fmla="*/ 46 h 1886"/>
                <a:gd name="T54" fmla="*/ 492 w 854"/>
                <a:gd name="T55" fmla="*/ 18 h 1886"/>
                <a:gd name="T56" fmla="*/ 475 w 854"/>
                <a:gd name="T57" fmla="*/ 27 h 1886"/>
                <a:gd name="T58" fmla="*/ 477 w 854"/>
                <a:gd name="T59" fmla="*/ 28 h 1886"/>
                <a:gd name="T60" fmla="*/ 454 w 854"/>
                <a:gd name="T61" fmla="*/ 75 h 1886"/>
                <a:gd name="T62" fmla="*/ 462 w 854"/>
                <a:gd name="T63" fmla="*/ 142 h 1886"/>
                <a:gd name="T64" fmla="*/ 418 w 854"/>
                <a:gd name="T65" fmla="*/ 142 h 1886"/>
                <a:gd name="T66" fmla="*/ 335 w 854"/>
                <a:gd name="T67" fmla="*/ 178 h 1886"/>
                <a:gd name="T68" fmla="*/ 268 w 854"/>
                <a:gd name="T69" fmla="*/ 256 h 1886"/>
                <a:gd name="T70" fmla="*/ 241 w 854"/>
                <a:gd name="T71" fmla="*/ 379 h 1886"/>
                <a:gd name="T72" fmla="*/ 205 w 854"/>
                <a:gd name="T73" fmla="*/ 501 h 1886"/>
                <a:gd name="T74" fmla="*/ 127 w 854"/>
                <a:gd name="T75" fmla="*/ 497 h 1886"/>
                <a:gd name="T76" fmla="*/ 107 w 854"/>
                <a:gd name="T77" fmla="*/ 595 h 1886"/>
                <a:gd name="T78" fmla="*/ 79 w 854"/>
                <a:gd name="T79" fmla="*/ 702 h 1886"/>
                <a:gd name="T80" fmla="*/ 36 w 854"/>
                <a:gd name="T81" fmla="*/ 777 h 1886"/>
                <a:gd name="T82" fmla="*/ 0 w 854"/>
                <a:gd name="T83" fmla="*/ 806 h 1886"/>
                <a:gd name="T84" fmla="*/ 94 w 854"/>
                <a:gd name="T85" fmla="*/ 905 h 1886"/>
                <a:gd name="T86" fmla="*/ 207 w 854"/>
                <a:gd name="T87" fmla="*/ 1107 h 1886"/>
                <a:gd name="T88" fmla="*/ 193 w 854"/>
                <a:gd name="T89" fmla="*/ 1267 h 1886"/>
                <a:gd name="T90" fmla="*/ 234 w 854"/>
                <a:gd name="T91" fmla="*/ 1322 h 1886"/>
                <a:gd name="T92" fmla="*/ 331 w 854"/>
                <a:gd name="T93" fmla="*/ 1310 h 1886"/>
                <a:gd name="T94" fmla="*/ 416 w 854"/>
                <a:gd name="T95" fmla="*/ 1210 h 1886"/>
                <a:gd name="T96" fmla="*/ 467 w 854"/>
                <a:gd name="T97" fmla="*/ 1250 h 1886"/>
                <a:gd name="T98" fmla="*/ 507 w 854"/>
                <a:gd name="T99" fmla="*/ 1360 h 1886"/>
                <a:gd name="T100" fmla="*/ 559 w 854"/>
                <a:gd name="T101" fmla="*/ 1576 h 1886"/>
                <a:gd name="T102" fmla="*/ 597 w 854"/>
                <a:gd name="T103" fmla="*/ 1734 h 1886"/>
                <a:gd name="T104" fmla="*/ 610 w 854"/>
                <a:gd name="T105" fmla="*/ 1852 h 1886"/>
                <a:gd name="T106" fmla="*/ 604 w 854"/>
                <a:gd name="T107" fmla="*/ 1879 h 1886"/>
                <a:gd name="T108" fmla="*/ 690 w 854"/>
                <a:gd name="T109" fmla="*/ 1715 h 1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54" h="1886">
                  <a:moveTo>
                    <a:pt x="690" y="1715"/>
                  </a:moveTo>
                  <a:cubicBezTo>
                    <a:pt x="690" y="1675"/>
                    <a:pt x="659" y="1671"/>
                    <a:pt x="659" y="1640"/>
                  </a:cubicBezTo>
                  <a:cubicBezTo>
                    <a:pt x="659" y="1608"/>
                    <a:pt x="659" y="1553"/>
                    <a:pt x="619" y="1518"/>
                  </a:cubicBezTo>
                  <a:cubicBezTo>
                    <a:pt x="580" y="1482"/>
                    <a:pt x="560" y="1431"/>
                    <a:pt x="584" y="1411"/>
                  </a:cubicBezTo>
                  <a:cubicBezTo>
                    <a:pt x="607" y="1391"/>
                    <a:pt x="588" y="1336"/>
                    <a:pt x="599" y="1340"/>
                  </a:cubicBezTo>
                  <a:cubicBezTo>
                    <a:pt x="611" y="1344"/>
                    <a:pt x="627" y="1305"/>
                    <a:pt x="603" y="1293"/>
                  </a:cubicBezTo>
                  <a:cubicBezTo>
                    <a:pt x="580" y="1281"/>
                    <a:pt x="603" y="1234"/>
                    <a:pt x="584" y="1226"/>
                  </a:cubicBezTo>
                  <a:cubicBezTo>
                    <a:pt x="564" y="1218"/>
                    <a:pt x="509" y="1155"/>
                    <a:pt x="509" y="1135"/>
                  </a:cubicBezTo>
                  <a:cubicBezTo>
                    <a:pt x="509" y="1116"/>
                    <a:pt x="525" y="1005"/>
                    <a:pt x="529" y="978"/>
                  </a:cubicBezTo>
                  <a:cubicBezTo>
                    <a:pt x="532" y="950"/>
                    <a:pt x="572" y="946"/>
                    <a:pt x="584" y="946"/>
                  </a:cubicBezTo>
                  <a:cubicBezTo>
                    <a:pt x="596" y="946"/>
                    <a:pt x="643" y="950"/>
                    <a:pt x="659" y="922"/>
                  </a:cubicBezTo>
                  <a:cubicBezTo>
                    <a:pt x="674" y="895"/>
                    <a:pt x="741" y="891"/>
                    <a:pt x="749" y="871"/>
                  </a:cubicBezTo>
                  <a:cubicBezTo>
                    <a:pt x="757" y="852"/>
                    <a:pt x="801" y="852"/>
                    <a:pt x="801" y="828"/>
                  </a:cubicBezTo>
                  <a:cubicBezTo>
                    <a:pt x="801" y="804"/>
                    <a:pt x="852" y="745"/>
                    <a:pt x="852" y="745"/>
                  </a:cubicBezTo>
                  <a:cubicBezTo>
                    <a:pt x="852" y="745"/>
                    <a:pt x="853" y="745"/>
                    <a:pt x="854" y="745"/>
                  </a:cubicBezTo>
                  <a:cubicBezTo>
                    <a:pt x="848" y="735"/>
                    <a:pt x="835" y="744"/>
                    <a:pt x="809" y="755"/>
                  </a:cubicBezTo>
                  <a:cubicBezTo>
                    <a:pt x="764" y="772"/>
                    <a:pt x="742" y="748"/>
                    <a:pt x="747" y="721"/>
                  </a:cubicBezTo>
                  <a:cubicBezTo>
                    <a:pt x="751" y="695"/>
                    <a:pt x="716" y="695"/>
                    <a:pt x="691" y="695"/>
                  </a:cubicBezTo>
                  <a:cubicBezTo>
                    <a:pt x="667" y="695"/>
                    <a:pt x="683" y="655"/>
                    <a:pt x="691" y="628"/>
                  </a:cubicBezTo>
                  <a:cubicBezTo>
                    <a:pt x="700" y="602"/>
                    <a:pt x="683" y="586"/>
                    <a:pt x="654" y="584"/>
                  </a:cubicBezTo>
                  <a:cubicBezTo>
                    <a:pt x="625" y="582"/>
                    <a:pt x="612" y="520"/>
                    <a:pt x="623" y="502"/>
                  </a:cubicBezTo>
                  <a:cubicBezTo>
                    <a:pt x="634" y="485"/>
                    <a:pt x="563" y="469"/>
                    <a:pt x="532" y="485"/>
                  </a:cubicBezTo>
                  <a:cubicBezTo>
                    <a:pt x="501" y="500"/>
                    <a:pt x="523" y="458"/>
                    <a:pt x="514" y="436"/>
                  </a:cubicBezTo>
                  <a:cubicBezTo>
                    <a:pt x="505" y="414"/>
                    <a:pt x="554" y="338"/>
                    <a:pt x="596" y="297"/>
                  </a:cubicBezTo>
                  <a:cubicBezTo>
                    <a:pt x="638" y="254"/>
                    <a:pt x="621" y="199"/>
                    <a:pt x="621" y="150"/>
                  </a:cubicBezTo>
                  <a:cubicBezTo>
                    <a:pt x="621" y="102"/>
                    <a:pt x="601" y="102"/>
                    <a:pt x="581" y="102"/>
                  </a:cubicBezTo>
                  <a:cubicBezTo>
                    <a:pt x="561" y="102"/>
                    <a:pt x="559" y="73"/>
                    <a:pt x="559" y="46"/>
                  </a:cubicBezTo>
                  <a:cubicBezTo>
                    <a:pt x="559" y="20"/>
                    <a:pt x="517" y="0"/>
                    <a:pt x="492" y="18"/>
                  </a:cubicBezTo>
                  <a:cubicBezTo>
                    <a:pt x="489" y="20"/>
                    <a:pt x="483" y="23"/>
                    <a:pt x="475" y="27"/>
                  </a:cubicBezTo>
                  <a:cubicBezTo>
                    <a:pt x="476" y="28"/>
                    <a:pt x="477" y="28"/>
                    <a:pt x="477" y="28"/>
                  </a:cubicBezTo>
                  <a:cubicBezTo>
                    <a:pt x="477" y="28"/>
                    <a:pt x="469" y="67"/>
                    <a:pt x="454" y="75"/>
                  </a:cubicBezTo>
                  <a:cubicBezTo>
                    <a:pt x="438" y="83"/>
                    <a:pt x="438" y="107"/>
                    <a:pt x="462" y="142"/>
                  </a:cubicBezTo>
                  <a:cubicBezTo>
                    <a:pt x="485" y="178"/>
                    <a:pt x="426" y="162"/>
                    <a:pt x="418" y="142"/>
                  </a:cubicBezTo>
                  <a:cubicBezTo>
                    <a:pt x="410" y="122"/>
                    <a:pt x="363" y="154"/>
                    <a:pt x="335" y="178"/>
                  </a:cubicBezTo>
                  <a:cubicBezTo>
                    <a:pt x="308" y="201"/>
                    <a:pt x="268" y="213"/>
                    <a:pt x="268" y="256"/>
                  </a:cubicBezTo>
                  <a:cubicBezTo>
                    <a:pt x="268" y="300"/>
                    <a:pt x="233" y="343"/>
                    <a:pt x="241" y="379"/>
                  </a:cubicBezTo>
                  <a:cubicBezTo>
                    <a:pt x="249" y="414"/>
                    <a:pt x="201" y="481"/>
                    <a:pt x="205" y="501"/>
                  </a:cubicBezTo>
                  <a:cubicBezTo>
                    <a:pt x="209" y="520"/>
                    <a:pt x="138" y="497"/>
                    <a:pt x="127" y="497"/>
                  </a:cubicBezTo>
                  <a:cubicBezTo>
                    <a:pt x="115" y="497"/>
                    <a:pt x="123" y="572"/>
                    <a:pt x="107" y="595"/>
                  </a:cubicBezTo>
                  <a:cubicBezTo>
                    <a:pt x="91" y="619"/>
                    <a:pt x="103" y="702"/>
                    <a:pt x="79" y="702"/>
                  </a:cubicBezTo>
                  <a:cubicBezTo>
                    <a:pt x="56" y="702"/>
                    <a:pt x="36" y="777"/>
                    <a:pt x="36" y="777"/>
                  </a:cubicBezTo>
                  <a:cubicBezTo>
                    <a:pt x="36" y="777"/>
                    <a:pt x="17" y="790"/>
                    <a:pt x="0" y="806"/>
                  </a:cubicBezTo>
                  <a:cubicBezTo>
                    <a:pt x="19" y="845"/>
                    <a:pt x="55" y="888"/>
                    <a:pt x="94" y="905"/>
                  </a:cubicBezTo>
                  <a:cubicBezTo>
                    <a:pt x="151" y="928"/>
                    <a:pt x="190" y="1045"/>
                    <a:pt x="207" y="1107"/>
                  </a:cubicBezTo>
                  <a:cubicBezTo>
                    <a:pt x="225" y="1169"/>
                    <a:pt x="213" y="1232"/>
                    <a:pt x="193" y="1267"/>
                  </a:cubicBezTo>
                  <a:cubicBezTo>
                    <a:pt x="172" y="1303"/>
                    <a:pt x="200" y="1304"/>
                    <a:pt x="234" y="1322"/>
                  </a:cubicBezTo>
                  <a:cubicBezTo>
                    <a:pt x="268" y="1340"/>
                    <a:pt x="306" y="1346"/>
                    <a:pt x="331" y="1310"/>
                  </a:cubicBezTo>
                  <a:cubicBezTo>
                    <a:pt x="357" y="1275"/>
                    <a:pt x="408" y="1250"/>
                    <a:pt x="416" y="1210"/>
                  </a:cubicBezTo>
                  <a:cubicBezTo>
                    <a:pt x="423" y="1170"/>
                    <a:pt x="447" y="1229"/>
                    <a:pt x="467" y="1250"/>
                  </a:cubicBezTo>
                  <a:cubicBezTo>
                    <a:pt x="488" y="1271"/>
                    <a:pt x="503" y="1310"/>
                    <a:pt x="507" y="1360"/>
                  </a:cubicBezTo>
                  <a:cubicBezTo>
                    <a:pt x="511" y="1411"/>
                    <a:pt x="516" y="1536"/>
                    <a:pt x="559" y="1576"/>
                  </a:cubicBezTo>
                  <a:cubicBezTo>
                    <a:pt x="601" y="1616"/>
                    <a:pt x="609" y="1703"/>
                    <a:pt x="597" y="1734"/>
                  </a:cubicBezTo>
                  <a:cubicBezTo>
                    <a:pt x="585" y="1765"/>
                    <a:pt x="619" y="1818"/>
                    <a:pt x="610" y="1852"/>
                  </a:cubicBezTo>
                  <a:cubicBezTo>
                    <a:pt x="609" y="1859"/>
                    <a:pt x="607" y="1868"/>
                    <a:pt x="604" y="1879"/>
                  </a:cubicBezTo>
                  <a:cubicBezTo>
                    <a:pt x="643" y="1886"/>
                    <a:pt x="690" y="1715"/>
                    <a:pt x="690" y="17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16119083" y="7355696"/>
              <a:ext cx="152460" cy="92145"/>
            </a:xfrm>
            <a:custGeom>
              <a:avLst/>
              <a:gdLst>
                <a:gd name="T0" fmla="*/ 291 w 302"/>
                <a:gd name="T1" fmla="*/ 60 h 182"/>
                <a:gd name="T2" fmla="*/ 176 w 302"/>
                <a:gd name="T3" fmla="*/ 29 h 182"/>
                <a:gd name="T4" fmla="*/ 94 w 302"/>
                <a:gd name="T5" fmla="*/ 15 h 182"/>
                <a:gd name="T6" fmla="*/ 23 w 302"/>
                <a:gd name="T7" fmla="*/ 77 h 182"/>
                <a:gd name="T8" fmla="*/ 0 w 302"/>
                <a:gd name="T9" fmla="*/ 119 h 182"/>
                <a:gd name="T10" fmla="*/ 26 w 302"/>
                <a:gd name="T11" fmla="*/ 143 h 182"/>
                <a:gd name="T12" fmla="*/ 93 w 302"/>
                <a:gd name="T13" fmla="*/ 158 h 182"/>
                <a:gd name="T14" fmla="*/ 188 w 302"/>
                <a:gd name="T15" fmla="*/ 166 h 182"/>
                <a:gd name="T16" fmla="*/ 286 w 302"/>
                <a:gd name="T17" fmla="*/ 154 h 182"/>
                <a:gd name="T18" fmla="*/ 275 w 302"/>
                <a:gd name="T19" fmla="*/ 68 h 182"/>
                <a:gd name="T20" fmla="*/ 291 w 302"/>
                <a:gd name="T21" fmla="*/ 6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2" h="182">
                  <a:moveTo>
                    <a:pt x="291" y="60"/>
                  </a:moveTo>
                  <a:cubicBezTo>
                    <a:pt x="232" y="5"/>
                    <a:pt x="215" y="50"/>
                    <a:pt x="176" y="29"/>
                  </a:cubicBezTo>
                  <a:cubicBezTo>
                    <a:pt x="134" y="6"/>
                    <a:pt x="114" y="0"/>
                    <a:pt x="94" y="15"/>
                  </a:cubicBezTo>
                  <a:cubicBezTo>
                    <a:pt x="74" y="31"/>
                    <a:pt x="43" y="29"/>
                    <a:pt x="23" y="77"/>
                  </a:cubicBezTo>
                  <a:cubicBezTo>
                    <a:pt x="16" y="93"/>
                    <a:pt x="8" y="108"/>
                    <a:pt x="0" y="119"/>
                  </a:cubicBezTo>
                  <a:cubicBezTo>
                    <a:pt x="7" y="134"/>
                    <a:pt x="18" y="145"/>
                    <a:pt x="26" y="143"/>
                  </a:cubicBezTo>
                  <a:cubicBezTo>
                    <a:pt x="42" y="139"/>
                    <a:pt x="62" y="166"/>
                    <a:pt x="93" y="158"/>
                  </a:cubicBezTo>
                  <a:cubicBezTo>
                    <a:pt x="125" y="150"/>
                    <a:pt x="145" y="178"/>
                    <a:pt x="188" y="166"/>
                  </a:cubicBezTo>
                  <a:cubicBezTo>
                    <a:pt x="231" y="154"/>
                    <a:pt x="271" y="182"/>
                    <a:pt x="286" y="154"/>
                  </a:cubicBezTo>
                  <a:cubicBezTo>
                    <a:pt x="302" y="127"/>
                    <a:pt x="275" y="68"/>
                    <a:pt x="275" y="68"/>
                  </a:cubicBezTo>
                  <a:cubicBezTo>
                    <a:pt x="275" y="68"/>
                    <a:pt x="282" y="64"/>
                    <a:pt x="291" y="6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auto">
            <a:xfrm>
              <a:off x="16750700" y="7620406"/>
              <a:ext cx="371934" cy="775699"/>
            </a:xfrm>
            <a:custGeom>
              <a:avLst/>
              <a:gdLst>
                <a:gd name="T0" fmla="*/ 544 w 736"/>
                <a:gd name="T1" fmla="*/ 189 h 1535"/>
                <a:gd name="T2" fmla="*/ 445 w 736"/>
                <a:gd name="T3" fmla="*/ 114 h 1535"/>
                <a:gd name="T4" fmla="*/ 418 w 736"/>
                <a:gd name="T5" fmla="*/ 55 h 1535"/>
                <a:gd name="T6" fmla="*/ 335 w 736"/>
                <a:gd name="T7" fmla="*/ 12 h 1535"/>
                <a:gd name="T8" fmla="*/ 256 w 736"/>
                <a:gd name="T9" fmla="*/ 63 h 1535"/>
                <a:gd name="T10" fmla="*/ 189 w 736"/>
                <a:gd name="T11" fmla="*/ 75 h 1535"/>
                <a:gd name="T12" fmla="*/ 103 w 736"/>
                <a:gd name="T13" fmla="*/ 75 h 1535"/>
                <a:gd name="T14" fmla="*/ 28 w 736"/>
                <a:gd name="T15" fmla="*/ 83 h 1535"/>
                <a:gd name="T16" fmla="*/ 0 w 736"/>
                <a:gd name="T17" fmla="*/ 104 h 1535"/>
                <a:gd name="T18" fmla="*/ 36 w 736"/>
                <a:gd name="T19" fmla="*/ 156 h 1535"/>
                <a:gd name="T20" fmla="*/ 87 w 736"/>
                <a:gd name="T21" fmla="*/ 232 h 1535"/>
                <a:gd name="T22" fmla="*/ 169 w 736"/>
                <a:gd name="T23" fmla="*/ 277 h 1535"/>
                <a:gd name="T24" fmla="*/ 239 w 736"/>
                <a:gd name="T25" fmla="*/ 296 h 1535"/>
                <a:gd name="T26" fmla="*/ 270 w 736"/>
                <a:gd name="T27" fmla="*/ 371 h 1535"/>
                <a:gd name="T28" fmla="*/ 195 w 736"/>
                <a:gd name="T29" fmla="*/ 416 h 1535"/>
                <a:gd name="T30" fmla="*/ 302 w 736"/>
                <a:gd name="T31" fmla="*/ 511 h 1535"/>
                <a:gd name="T32" fmla="*/ 353 w 736"/>
                <a:gd name="T33" fmla="*/ 599 h 1535"/>
                <a:gd name="T34" fmla="*/ 435 w 736"/>
                <a:gd name="T35" fmla="*/ 707 h 1535"/>
                <a:gd name="T36" fmla="*/ 517 w 736"/>
                <a:gd name="T37" fmla="*/ 782 h 1535"/>
                <a:gd name="T38" fmla="*/ 536 w 736"/>
                <a:gd name="T39" fmla="*/ 884 h 1535"/>
                <a:gd name="T40" fmla="*/ 568 w 736"/>
                <a:gd name="T41" fmla="*/ 1048 h 1535"/>
                <a:gd name="T42" fmla="*/ 498 w 736"/>
                <a:gd name="T43" fmla="*/ 1162 h 1535"/>
                <a:gd name="T44" fmla="*/ 410 w 736"/>
                <a:gd name="T45" fmla="*/ 1219 h 1535"/>
                <a:gd name="T46" fmla="*/ 410 w 736"/>
                <a:gd name="T47" fmla="*/ 1307 h 1535"/>
                <a:gd name="T48" fmla="*/ 296 w 736"/>
                <a:gd name="T49" fmla="*/ 1307 h 1535"/>
                <a:gd name="T50" fmla="*/ 234 w 736"/>
                <a:gd name="T51" fmla="*/ 1355 h 1535"/>
                <a:gd name="T52" fmla="*/ 278 w 736"/>
                <a:gd name="T53" fmla="*/ 1389 h 1535"/>
                <a:gd name="T54" fmla="*/ 250 w 736"/>
                <a:gd name="T55" fmla="*/ 1476 h 1535"/>
                <a:gd name="T56" fmla="*/ 301 w 736"/>
                <a:gd name="T57" fmla="*/ 1516 h 1535"/>
                <a:gd name="T58" fmla="*/ 391 w 736"/>
                <a:gd name="T59" fmla="*/ 1446 h 1535"/>
                <a:gd name="T60" fmla="*/ 414 w 736"/>
                <a:gd name="T61" fmla="*/ 1408 h 1535"/>
                <a:gd name="T62" fmla="*/ 441 w 736"/>
                <a:gd name="T63" fmla="*/ 1355 h 1535"/>
                <a:gd name="T64" fmla="*/ 503 w 736"/>
                <a:gd name="T65" fmla="*/ 1345 h 1535"/>
                <a:gd name="T66" fmla="*/ 639 w 736"/>
                <a:gd name="T67" fmla="*/ 1280 h 1535"/>
                <a:gd name="T68" fmla="*/ 717 w 736"/>
                <a:gd name="T69" fmla="*/ 1147 h 1535"/>
                <a:gd name="T70" fmla="*/ 693 w 736"/>
                <a:gd name="T71" fmla="*/ 915 h 1535"/>
                <a:gd name="T72" fmla="*/ 599 w 736"/>
                <a:gd name="T73" fmla="*/ 759 h 1535"/>
                <a:gd name="T74" fmla="*/ 438 w 736"/>
                <a:gd name="T75" fmla="*/ 623 h 1535"/>
                <a:gd name="T76" fmla="*/ 394 w 736"/>
                <a:gd name="T77" fmla="*/ 546 h 1535"/>
                <a:gd name="T78" fmla="*/ 368 w 736"/>
                <a:gd name="T79" fmla="*/ 411 h 1535"/>
                <a:gd name="T80" fmla="*/ 439 w 736"/>
                <a:gd name="T81" fmla="*/ 323 h 1535"/>
                <a:gd name="T82" fmla="*/ 478 w 736"/>
                <a:gd name="T83" fmla="*/ 264 h 1535"/>
                <a:gd name="T84" fmla="*/ 556 w 736"/>
                <a:gd name="T85" fmla="*/ 213 h 1535"/>
                <a:gd name="T86" fmla="*/ 564 w 736"/>
                <a:gd name="T87" fmla="*/ 205 h 1535"/>
                <a:gd name="T88" fmla="*/ 544 w 736"/>
                <a:gd name="T89" fmla="*/ 189 h 1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36" h="1535">
                  <a:moveTo>
                    <a:pt x="544" y="189"/>
                  </a:moveTo>
                  <a:cubicBezTo>
                    <a:pt x="516" y="185"/>
                    <a:pt x="445" y="134"/>
                    <a:pt x="445" y="114"/>
                  </a:cubicBezTo>
                  <a:cubicBezTo>
                    <a:pt x="445" y="94"/>
                    <a:pt x="481" y="63"/>
                    <a:pt x="418" y="55"/>
                  </a:cubicBezTo>
                  <a:cubicBezTo>
                    <a:pt x="355" y="47"/>
                    <a:pt x="347" y="23"/>
                    <a:pt x="335" y="12"/>
                  </a:cubicBezTo>
                  <a:cubicBezTo>
                    <a:pt x="323" y="0"/>
                    <a:pt x="272" y="35"/>
                    <a:pt x="256" y="63"/>
                  </a:cubicBezTo>
                  <a:cubicBezTo>
                    <a:pt x="240" y="91"/>
                    <a:pt x="225" y="55"/>
                    <a:pt x="189" y="75"/>
                  </a:cubicBezTo>
                  <a:cubicBezTo>
                    <a:pt x="154" y="94"/>
                    <a:pt x="118" y="47"/>
                    <a:pt x="103" y="75"/>
                  </a:cubicBezTo>
                  <a:cubicBezTo>
                    <a:pt x="87" y="102"/>
                    <a:pt x="47" y="59"/>
                    <a:pt x="28" y="83"/>
                  </a:cubicBezTo>
                  <a:cubicBezTo>
                    <a:pt x="20" y="92"/>
                    <a:pt x="10" y="99"/>
                    <a:pt x="0" y="104"/>
                  </a:cubicBezTo>
                  <a:cubicBezTo>
                    <a:pt x="18" y="123"/>
                    <a:pt x="36" y="142"/>
                    <a:pt x="36" y="156"/>
                  </a:cubicBezTo>
                  <a:cubicBezTo>
                    <a:pt x="36" y="182"/>
                    <a:pt x="87" y="201"/>
                    <a:pt x="87" y="232"/>
                  </a:cubicBezTo>
                  <a:cubicBezTo>
                    <a:pt x="87" y="264"/>
                    <a:pt x="150" y="289"/>
                    <a:pt x="169" y="277"/>
                  </a:cubicBezTo>
                  <a:cubicBezTo>
                    <a:pt x="188" y="264"/>
                    <a:pt x="233" y="251"/>
                    <a:pt x="239" y="296"/>
                  </a:cubicBezTo>
                  <a:cubicBezTo>
                    <a:pt x="245" y="340"/>
                    <a:pt x="270" y="340"/>
                    <a:pt x="270" y="371"/>
                  </a:cubicBezTo>
                  <a:cubicBezTo>
                    <a:pt x="270" y="403"/>
                    <a:pt x="207" y="384"/>
                    <a:pt x="195" y="416"/>
                  </a:cubicBezTo>
                  <a:cubicBezTo>
                    <a:pt x="182" y="447"/>
                    <a:pt x="302" y="485"/>
                    <a:pt x="302" y="511"/>
                  </a:cubicBezTo>
                  <a:cubicBezTo>
                    <a:pt x="302" y="536"/>
                    <a:pt x="340" y="568"/>
                    <a:pt x="353" y="599"/>
                  </a:cubicBezTo>
                  <a:cubicBezTo>
                    <a:pt x="365" y="631"/>
                    <a:pt x="422" y="669"/>
                    <a:pt x="435" y="707"/>
                  </a:cubicBezTo>
                  <a:cubicBezTo>
                    <a:pt x="447" y="744"/>
                    <a:pt x="498" y="763"/>
                    <a:pt x="517" y="782"/>
                  </a:cubicBezTo>
                  <a:cubicBezTo>
                    <a:pt x="536" y="801"/>
                    <a:pt x="542" y="846"/>
                    <a:pt x="536" y="884"/>
                  </a:cubicBezTo>
                  <a:cubicBezTo>
                    <a:pt x="530" y="922"/>
                    <a:pt x="530" y="991"/>
                    <a:pt x="568" y="1048"/>
                  </a:cubicBezTo>
                  <a:cubicBezTo>
                    <a:pt x="606" y="1105"/>
                    <a:pt x="523" y="1130"/>
                    <a:pt x="498" y="1162"/>
                  </a:cubicBezTo>
                  <a:cubicBezTo>
                    <a:pt x="473" y="1193"/>
                    <a:pt x="485" y="1238"/>
                    <a:pt x="410" y="1219"/>
                  </a:cubicBezTo>
                  <a:cubicBezTo>
                    <a:pt x="334" y="1200"/>
                    <a:pt x="422" y="1282"/>
                    <a:pt x="410" y="1307"/>
                  </a:cubicBezTo>
                  <a:cubicBezTo>
                    <a:pt x="397" y="1333"/>
                    <a:pt x="296" y="1282"/>
                    <a:pt x="296" y="1307"/>
                  </a:cubicBezTo>
                  <a:cubicBezTo>
                    <a:pt x="296" y="1322"/>
                    <a:pt x="262" y="1342"/>
                    <a:pt x="234" y="1355"/>
                  </a:cubicBezTo>
                  <a:cubicBezTo>
                    <a:pt x="245" y="1370"/>
                    <a:pt x="261" y="1378"/>
                    <a:pt x="278" y="1389"/>
                  </a:cubicBezTo>
                  <a:cubicBezTo>
                    <a:pt x="302" y="1404"/>
                    <a:pt x="249" y="1429"/>
                    <a:pt x="250" y="1476"/>
                  </a:cubicBezTo>
                  <a:cubicBezTo>
                    <a:pt x="252" y="1523"/>
                    <a:pt x="287" y="1535"/>
                    <a:pt x="301" y="1516"/>
                  </a:cubicBezTo>
                  <a:cubicBezTo>
                    <a:pt x="314" y="1497"/>
                    <a:pt x="368" y="1454"/>
                    <a:pt x="391" y="1446"/>
                  </a:cubicBezTo>
                  <a:cubicBezTo>
                    <a:pt x="413" y="1439"/>
                    <a:pt x="391" y="1407"/>
                    <a:pt x="414" y="1408"/>
                  </a:cubicBezTo>
                  <a:cubicBezTo>
                    <a:pt x="438" y="1409"/>
                    <a:pt x="430" y="1374"/>
                    <a:pt x="441" y="1355"/>
                  </a:cubicBezTo>
                  <a:cubicBezTo>
                    <a:pt x="451" y="1336"/>
                    <a:pt x="467" y="1343"/>
                    <a:pt x="503" y="1345"/>
                  </a:cubicBezTo>
                  <a:cubicBezTo>
                    <a:pt x="538" y="1346"/>
                    <a:pt x="588" y="1312"/>
                    <a:pt x="639" y="1280"/>
                  </a:cubicBezTo>
                  <a:cubicBezTo>
                    <a:pt x="689" y="1247"/>
                    <a:pt x="698" y="1240"/>
                    <a:pt x="717" y="1147"/>
                  </a:cubicBezTo>
                  <a:cubicBezTo>
                    <a:pt x="736" y="1054"/>
                    <a:pt x="695" y="943"/>
                    <a:pt x="693" y="915"/>
                  </a:cubicBezTo>
                  <a:cubicBezTo>
                    <a:pt x="692" y="887"/>
                    <a:pt x="624" y="757"/>
                    <a:pt x="599" y="759"/>
                  </a:cubicBezTo>
                  <a:cubicBezTo>
                    <a:pt x="574" y="760"/>
                    <a:pt x="459" y="642"/>
                    <a:pt x="438" y="623"/>
                  </a:cubicBezTo>
                  <a:cubicBezTo>
                    <a:pt x="417" y="604"/>
                    <a:pt x="423" y="571"/>
                    <a:pt x="394" y="546"/>
                  </a:cubicBezTo>
                  <a:cubicBezTo>
                    <a:pt x="364" y="521"/>
                    <a:pt x="361" y="456"/>
                    <a:pt x="368" y="411"/>
                  </a:cubicBezTo>
                  <a:cubicBezTo>
                    <a:pt x="376" y="365"/>
                    <a:pt x="441" y="354"/>
                    <a:pt x="439" y="323"/>
                  </a:cubicBezTo>
                  <a:cubicBezTo>
                    <a:pt x="438" y="292"/>
                    <a:pt x="445" y="266"/>
                    <a:pt x="478" y="264"/>
                  </a:cubicBezTo>
                  <a:cubicBezTo>
                    <a:pt x="510" y="263"/>
                    <a:pt x="541" y="236"/>
                    <a:pt x="556" y="213"/>
                  </a:cubicBezTo>
                  <a:cubicBezTo>
                    <a:pt x="558" y="209"/>
                    <a:pt x="561" y="207"/>
                    <a:pt x="564" y="205"/>
                  </a:cubicBezTo>
                  <a:cubicBezTo>
                    <a:pt x="556" y="196"/>
                    <a:pt x="549" y="190"/>
                    <a:pt x="544" y="1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16750700" y="8086161"/>
              <a:ext cx="306594" cy="219474"/>
            </a:xfrm>
            <a:custGeom>
              <a:avLst/>
              <a:gdLst>
                <a:gd name="T0" fmla="*/ 298 w 608"/>
                <a:gd name="T1" fmla="*/ 386 h 434"/>
                <a:gd name="T2" fmla="*/ 412 w 608"/>
                <a:gd name="T3" fmla="*/ 386 h 434"/>
                <a:gd name="T4" fmla="*/ 412 w 608"/>
                <a:gd name="T5" fmla="*/ 298 h 434"/>
                <a:gd name="T6" fmla="*/ 500 w 608"/>
                <a:gd name="T7" fmla="*/ 241 h 434"/>
                <a:gd name="T8" fmla="*/ 570 w 608"/>
                <a:gd name="T9" fmla="*/ 127 h 434"/>
                <a:gd name="T10" fmla="*/ 535 w 608"/>
                <a:gd name="T11" fmla="*/ 3 h 434"/>
                <a:gd name="T12" fmla="*/ 464 w 608"/>
                <a:gd name="T13" fmla="*/ 17 h 434"/>
                <a:gd name="T14" fmla="*/ 396 w 608"/>
                <a:gd name="T15" fmla="*/ 38 h 434"/>
                <a:gd name="T16" fmla="*/ 366 w 608"/>
                <a:gd name="T17" fmla="*/ 64 h 434"/>
                <a:gd name="T18" fmla="*/ 311 w 608"/>
                <a:gd name="T19" fmla="*/ 25 h 434"/>
                <a:gd name="T20" fmla="*/ 174 w 608"/>
                <a:gd name="T21" fmla="*/ 21 h 434"/>
                <a:gd name="T22" fmla="*/ 38 w 608"/>
                <a:gd name="T23" fmla="*/ 89 h 434"/>
                <a:gd name="T24" fmla="*/ 42 w 608"/>
                <a:gd name="T25" fmla="*/ 179 h 434"/>
                <a:gd name="T26" fmla="*/ 55 w 608"/>
                <a:gd name="T27" fmla="*/ 255 h 434"/>
                <a:gd name="T28" fmla="*/ 54 w 608"/>
                <a:gd name="T29" fmla="*/ 258 h 434"/>
                <a:gd name="T30" fmla="*/ 81 w 608"/>
                <a:gd name="T31" fmla="*/ 348 h 434"/>
                <a:gd name="T32" fmla="*/ 143 w 608"/>
                <a:gd name="T33" fmla="*/ 359 h 434"/>
                <a:gd name="T34" fmla="*/ 148 w 608"/>
                <a:gd name="T35" fmla="*/ 412 h 434"/>
                <a:gd name="T36" fmla="*/ 227 w 608"/>
                <a:gd name="T37" fmla="*/ 419 h 434"/>
                <a:gd name="T38" fmla="*/ 236 w 608"/>
                <a:gd name="T39" fmla="*/ 434 h 434"/>
                <a:gd name="T40" fmla="*/ 298 w 608"/>
                <a:gd name="T41" fmla="*/ 386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8" h="434">
                  <a:moveTo>
                    <a:pt x="298" y="386"/>
                  </a:moveTo>
                  <a:cubicBezTo>
                    <a:pt x="298" y="361"/>
                    <a:pt x="399" y="412"/>
                    <a:pt x="412" y="386"/>
                  </a:cubicBezTo>
                  <a:cubicBezTo>
                    <a:pt x="424" y="361"/>
                    <a:pt x="336" y="279"/>
                    <a:pt x="412" y="298"/>
                  </a:cubicBezTo>
                  <a:cubicBezTo>
                    <a:pt x="487" y="317"/>
                    <a:pt x="475" y="272"/>
                    <a:pt x="500" y="241"/>
                  </a:cubicBezTo>
                  <a:cubicBezTo>
                    <a:pt x="525" y="209"/>
                    <a:pt x="608" y="184"/>
                    <a:pt x="570" y="127"/>
                  </a:cubicBezTo>
                  <a:cubicBezTo>
                    <a:pt x="543" y="87"/>
                    <a:pt x="535" y="40"/>
                    <a:pt x="535" y="3"/>
                  </a:cubicBezTo>
                  <a:cubicBezTo>
                    <a:pt x="511" y="22"/>
                    <a:pt x="481" y="24"/>
                    <a:pt x="464" y="17"/>
                  </a:cubicBezTo>
                  <a:cubicBezTo>
                    <a:pt x="443" y="8"/>
                    <a:pt x="396" y="4"/>
                    <a:pt x="396" y="38"/>
                  </a:cubicBezTo>
                  <a:cubicBezTo>
                    <a:pt x="396" y="72"/>
                    <a:pt x="362" y="81"/>
                    <a:pt x="366" y="64"/>
                  </a:cubicBezTo>
                  <a:cubicBezTo>
                    <a:pt x="370" y="47"/>
                    <a:pt x="332" y="51"/>
                    <a:pt x="311" y="25"/>
                  </a:cubicBezTo>
                  <a:cubicBezTo>
                    <a:pt x="289" y="0"/>
                    <a:pt x="213" y="34"/>
                    <a:pt x="174" y="21"/>
                  </a:cubicBezTo>
                  <a:cubicBezTo>
                    <a:pt x="136" y="8"/>
                    <a:pt x="77" y="42"/>
                    <a:pt x="38" y="89"/>
                  </a:cubicBezTo>
                  <a:cubicBezTo>
                    <a:pt x="0" y="136"/>
                    <a:pt x="42" y="136"/>
                    <a:pt x="42" y="179"/>
                  </a:cubicBezTo>
                  <a:cubicBezTo>
                    <a:pt x="42" y="221"/>
                    <a:pt x="68" y="221"/>
                    <a:pt x="55" y="255"/>
                  </a:cubicBezTo>
                  <a:cubicBezTo>
                    <a:pt x="55" y="256"/>
                    <a:pt x="55" y="257"/>
                    <a:pt x="54" y="258"/>
                  </a:cubicBezTo>
                  <a:cubicBezTo>
                    <a:pt x="92" y="275"/>
                    <a:pt x="77" y="322"/>
                    <a:pt x="81" y="348"/>
                  </a:cubicBezTo>
                  <a:cubicBezTo>
                    <a:pt x="86" y="376"/>
                    <a:pt x="123" y="360"/>
                    <a:pt x="143" y="359"/>
                  </a:cubicBezTo>
                  <a:cubicBezTo>
                    <a:pt x="164" y="357"/>
                    <a:pt x="130" y="391"/>
                    <a:pt x="148" y="412"/>
                  </a:cubicBezTo>
                  <a:cubicBezTo>
                    <a:pt x="165" y="432"/>
                    <a:pt x="217" y="394"/>
                    <a:pt x="227" y="419"/>
                  </a:cubicBezTo>
                  <a:cubicBezTo>
                    <a:pt x="230" y="425"/>
                    <a:pt x="233" y="430"/>
                    <a:pt x="236" y="434"/>
                  </a:cubicBezTo>
                  <a:cubicBezTo>
                    <a:pt x="264" y="421"/>
                    <a:pt x="298" y="401"/>
                    <a:pt x="298" y="3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16651853" y="7667317"/>
              <a:ext cx="373610" cy="459053"/>
            </a:xfrm>
            <a:custGeom>
              <a:avLst/>
              <a:gdLst>
                <a:gd name="T0" fmla="*/ 498 w 738"/>
                <a:gd name="T1" fmla="*/ 417 h 908"/>
                <a:gd name="T2" fmla="*/ 391 w 738"/>
                <a:gd name="T3" fmla="*/ 322 h 908"/>
                <a:gd name="T4" fmla="*/ 466 w 738"/>
                <a:gd name="T5" fmla="*/ 277 h 908"/>
                <a:gd name="T6" fmla="*/ 435 w 738"/>
                <a:gd name="T7" fmla="*/ 202 h 908"/>
                <a:gd name="T8" fmla="*/ 365 w 738"/>
                <a:gd name="T9" fmla="*/ 183 h 908"/>
                <a:gd name="T10" fmla="*/ 283 w 738"/>
                <a:gd name="T11" fmla="*/ 138 h 908"/>
                <a:gd name="T12" fmla="*/ 232 w 738"/>
                <a:gd name="T13" fmla="*/ 62 h 908"/>
                <a:gd name="T14" fmla="*/ 196 w 738"/>
                <a:gd name="T15" fmla="*/ 10 h 908"/>
                <a:gd name="T16" fmla="*/ 157 w 738"/>
                <a:gd name="T17" fmla="*/ 12 h 908"/>
                <a:gd name="T18" fmla="*/ 141 w 738"/>
                <a:gd name="T19" fmla="*/ 64 h 908"/>
                <a:gd name="T20" fmla="*/ 137 w 738"/>
                <a:gd name="T21" fmla="*/ 142 h 908"/>
                <a:gd name="T22" fmla="*/ 86 w 738"/>
                <a:gd name="T23" fmla="*/ 95 h 908"/>
                <a:gd name="T24" fmla="*/ 35 w 738"/>
                <a:gd name="T25" fmla="*/ 178 h 908"/>
                <a:gd name="T26" fmla="*/ 0 w 738"/>
                <a:gd name="T27" fmla="*/ 207 h 908"/>
                <a:gd name="T28" fmla="*/ 19 w 738"/>
                <a:gd name="T29" fmla="*/ 226 h 908"/>
                <a:gd name="T30" fmla="*/ 28 w 738"/>
                <a:gd name="T31" fmla="*/ 303 h 908"/>
                <a:gd name="T32" fmla="*/ 96 w 738"/>
                <a:gd name="T33" fmla="*/ 328 h 908"/>
                <a:gd name="T34" fmla="*/ 87 w 738"/>
                <a:gd name="T35" fmla="*/ 435 h 908"/>
                <a:gd name="T36" fmla="*/ 62 w 738"/>
                <a:gd name="T37" fmla="*/ 512 h 908"/>
                <a:gd name="T38" fmla="*/ 151 w 738"/>
                <a:gd name="T39" fmla="*/ 478 h 908"/>
                <a:gd name="T40" fmla="*/ 224 w 738"/>
                <a:gd name="T41" fmla="*/ 473 h 908"/>
                <a:gd name="T42" fmla="*/ 288 w 738"/>
                <a:gd name="T43" fmla="*/ 456 h 908"/>
                <a:gd name="T44" fmla="*/ 381 w 738"/>
                <a:gd name="T45" fmla="*/ 452 h 908"/>
                <a:gd name="T46" fmla="*/ 454 w 738"/>
                <a:gd name="T47" fmla="*/ 524 h 908"/>
                <a:gd name="T48" fmla="*/ 462 w 738"/>
                <a:gd name="T49" fmla="*/ 644 h 908"/>
                <a:gd name="T50" fmla="*/ 530 w 738"/>
                <a:gd name="T51" fmla="*/ 750 h 908"/>
                <a:gd name="T52" fmla="*/ 518 w 738"/>
                <a:gd name="T53" fmla="*/ 863 h 908"/>
                <a:gd name="T54" fmla="*/ 560 w 738"/>
                <a:gd name="T55" fmla="*/ 891 h 908"/>
                <a:gd name="T56" fmla="*/ 590 w 738"/>
                <a:gd name="T57" fmla="*/ 865 h 908"/>
                <a:gd name="T58" fmla="*/ 658 w 738"/>
                <a:gd name="T59" fmla="*/ 844 h 908"/>
                <a:gd name="T60" fmla="*/ 729 w 738"/>
                <a:gd name="T61" fmla="*/ 830 h 908"/>
                <a:gd name="T62" fmla="*/ 732 w 738"/>
                <a:gd name="T63" fmla="*/ 790 h 908"/>
                <a:gd name="T64" fmla="*/ 713 w 738"/>
                <a:gd name="T65" fmla="*/ 688 h 908"/>
                <a:gd name="T66" fmla="*/ 631 w 738"/>
                <a:gd name="T67" fmla="*/ 613 h 908"/>
                <a:gd name="T68" fmla="*/ 549 w 738"/>
                <a:gd name="T69" fmla="*/ 505 h 908"/>
                <a:gd name="T70" fmla="*/ 498 w 738"/>
                <a:gd name="T71" fmla="*/ 417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38" h="908">
                  <a:moveTo>
                    <a:pt x="498" y="417"/>
                  </a:moveTo>
                  <a:cubicBezTo>
                    <a:pt x="498" y="391"/>
                    <a:pt x="378" y="353"/>
                    <a:pt x="391" y="322"/>
                  </a:cubicBezTo>
                  <a:cubicBezTo>
                    <a:pt x="403" y="290"/>
                    <a:pt x="466" y="309"/>
                    <a:pt x="466" y="277"/>
                  </a:cubicBezTo>
                  <a:cubicBezTo>
                    <a:pt x="466" y="246"/>
                    <a:pt x="441" y="246"/>
                    <a:pt x="435" y="202"/>
                  </a:cubicBezTo>
                  <a:cubicBezTo>
                    <a:pt x="429" y="157"/>
                    <a:pt x="384" y="170"/>
                    <a:pt x="365" y="183"/>
                  </a:cubicBezTo>
                  <a:cubicBezTo>
                    <a:pt x="346" y="195"/>
                    <a:pt x="283" y="170"/>
                    <a:pt x="283" y="138"/>
                  </a:cubicBezTo>
                  <a:cubicBezTo>
                    <a:pt x="283" y="107"/>
                    <a:pt x="232" y="88"/>
                    <a:pt x="232" y="62"/>
                  </a:cubicBezTo>
                  <a:cubicBezTo>
                    <a:pt x="232" y="48"/>
                    <a:pt x="214" y="29"/>
                    <a:pt x="196" y="10"/>
                  </a:cubicBezTo>
                  <a:cubicBezTo>
                    <a:pt x="180" y="18"/>
                    <a:pt x="164" y="20"/>
                    <a:pt x="157" y="12"/>
                  </a:cubicBezTo>
                  <a:cubicBezTo>
                    <a:pt x="145" y="0"/>
                    <a:pt x="129" y="52"/>
                    <a:pt x="141" y="64"/>
                  </a:cubicBezTo>
                  <a:cubicBezTo>
                    <a:pt x="153" y="75"/>
                    <a:pt x="168" y="150"/>
                    <a:pt x="137" y="142"/>
                  </a:cubicBezTo>
                  <a:cubicBezTo>
                    <a:pt x="105" y="134"/>
                    <a:pt x="105" y="91"/>
                    <a:pt x="86" y="95"/>
                  </a:cubicBezTo>
                  <a:cubicBezTo>
                    <a:pt x="86" y="95"/>
                    <a:pt x="35" y="154"/>
                    <a:pt x="35" y="178"/>
                  </a:cubicBezTo>
                  <a:cubicBezTo>
                    <a:pt x="35" y="194"/>
                    <a:pt x="15" y="199"/>
                    <a:pt x="0" y="207"/>
                  </a:cubicBezTo>
                  <a:cubicBezTo>
                    <a:pt x="9" y="215"/>
                    <a:pt x="17" y="222"/>
                    <a:pt x="19" y="226"/>
                  </a:cubicBezTo>
                  <a:cubicBezTo>
                    <a:pt x="28" y="239"/>
                    <a:pt x="15" y="273"/>
                    <a:pt x="28" y="303"/>
                  </a:cubicBezTo>
                  <a:cubicBezTo>
                    <a:pt x="40" y="333"/>
                    <a:pt x="83" y="286"/>
                    <a:pt x="96" y="328"/>
                  </a:cubicBezTo>
                  <a:cubicBezTo>
                    <a:pt x="109" y="371"/>
                    <a:pt x="87" y="392"/>
                    <a:pt x="87" y="435"/>
                  </a:cubicBezTo>
                  <a:cubicBezTo>
                    <a:pt x="87" y="478"/>
                    <a:pt x="53" y="473"/>
                    <a:pt x="62" y="512"/>
                  </a:cubicBezTo>
                  <a:cubicBezTo>
                    <a:pt x="70" y="550"/>
                    <a:pt x="117" y="503"/>
                    <a:pt x="151" y="478"/>
                  </a:cubicBezTo>
                  <a:cubicBezTo>
                    <a:pt x="185" y="452"/>
                    <a:pt x="211" y="456"/>
                    <a:pt x="224" y="473"/>
                  </a:cubicBezTo>
                  <a:cubicBezTo>
                    <a:pt x="236" y="490"/>
                    <a:pt x="279" y="478"/>
                    <a:pt x="288" y="456"/>
                  </a:cubicBezTo>
                  <a:cubicBezTo>
                    <a:pt x="296" y="435"/>
                    <a:pt x="360" y="426"/>
                    <a:pt x="381" y="452"/>
                  </a:cubicBezTo>
                  <a:cubicBezTo>
                    <a:pt x="403" y="478"/>
                    <a:pt x="424" y="507"/>
                    <a:pt x="454" y="524"/>
                  </a:cubicBezTo>
                  <a:cubicBezTo>
                    <a:pt x="483" y="541"/>
                    <a:pt x="432" y="635"/>
                    <a:pt x="462" y="644"/>
                  </a:cubicBezTo>
                  <a:cubicBezTo>
                    <a:pt x="492" y="652"/>
                    <a:pt x="535" y="699"/>
                    <a:pt x="530" y="750"/>
                  </a:cubicBezTo>
                  <a:cubicBezTo>
                    <a:pt x="527" y="794"/>
                    <a:pt x="551" y="826"/>
                    <a:pt x="518" y="863"/>
                  </a:cubicBezTo>
                  <a:cubicBezTo>
                    <a:pt x="539" y="877"/>
                    <a:pt x="564" y="877"/>
                    <a:pt x="560" y="891"/>
                  </a:cubicBezTo>
                  <a:cubicBezTo>
                    <a:pt x="556" y="908"/>
                    <a:pt x="590" y="899"/>
                    <a:pt x="590" y="865"/>
                  </a:cubicBezTo>
                  <a:cubicBezTo>
                    <a:pt x="590" y="831"/>
                    <a:pt x="637" y="835"/>
                    <a:pt x="658" y="844"/>
                  </a:cubicBezTo>
                  <a:cubicBezTo>
                    <a:pt x="675" y="851"/>
                    <a:pt x="705" y="849"/>
                    <a:pt x="729" y="830"/>
                  </a:cubicBezTo>
                  <a:cubicBezTo>
                    <a:pt x="729" y="815"/>
                    <a:pt x="730" y="801"/>
                    <a:pt x="732" y="790"/>
                  </a:cubicBezTo>
                  <a:cubicBezTo>
                    <a:pt x="738" y="752"/>
                    <a:pt x="732" y="707"/>
                    <a:pt x="713" y="688"/>
                  </a:cubicBezTo>
                  <a:cubicBezTo>
                    <a:pt x="694" y="669"/>
                    <a:pt x="643" y="650"/>
                    <a:pt x="631" y="613"/>
                  </a:cubicBezTo>
                  <a:cubicBezTo>
                    <a:pt x="618" y="575"/>
                    <a:pt x="561" y="537"/>
                    <a:pt x="549" y="505"/>
                  </a:cubicBezTo>
                  <a:cubicBezTo>
                    <a:pt x="536" y="474"/>
                    <a:pt x="498" y="442"/>
                    <a:pt x="498" y="41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16522849" y="7772866"/>
              <a:ext cx="407117" cy="767323"/>
            </a:xfrm>
            <a:custGeom>
              <a:avLst/>
              <a:gdLst>
                <a:gd name="T0" fmla="*/ 493 w 808"/>
                <a:gd name="T1" fmla="*/ 799 h 1518"/>
                <a:gd name="T2" fmla="*/ 489 w 808"/>
                <a:gd name="T3" fmla="*/ 709 h 1518"/>
                <a:gd name="T4" fmla="*/ 625 w 808"/>
                <a:gd name="T5" fmla="*/ 641 h 1518"/>
                <a:gd name="T6" fmla="*/ 762 w 808"/>
                <a:gd name="T7" fmla="*/ 645 h 1518"/>
                <a:gd name="T8" fmla="*/ 775 w 808"/>
                <a:gd name="T9" fmla="*/ 656 h 1518"/>
                <a:gd name="T10" fmla="*/ 787 w 808"/>
                <a:gd name="T11" fmla="*/ 543 h 1518"/>
                <a:gd name="T12" fmla="*/ 719 w 808"/>
                <a:gd name="T13" fmla="*/ 437 h 1518"/>
                <a:gd name="T14" fmla="*/ 711 w 808"/>
                <a:gd name="T15" fmla="*/ 317 h 1518"/>
                <a:gd name="T16" fmla="*/ 638 w 808"/>
                <a:gd name="T17" fmla="*/ 245 h 1518"/>
                <a:gd name="T18" fmla="*/ 545 w 808"/>
                <a:gd name="T19" fmla="*/ 249 h 1518"/>
                <a:gd name="T20" fmla="*/ 481 w 808"/>
                <a:gd name="T21" fmla="*/ 266 h 1518"/>
                <a:gd name="T22" fmla="*/ 408 w 808"/>
                <a:gd name="T23" fmla="*/ 271 h 1518"/>
                <a:gd name="T24" fmla="*/ 319 w 808"/>
                <a:gd name="T25" fmla="*/ 305 h 1518"/>
                <a:gd name="T26" fmla="*/ 344 w 808"/>
                <a:gd name="T27" fmla="*/ 228 h 1518"/>
                <a:gd name="T28" fmla="*/ 353 w 808"/>
                <a:gd name="T29" fmla="*/ 121 h 1518"/>
                <a:gd name="T30" fmla="*/ 285 w 808"/>
                <a:gd name="T31" fmla="*/ 96 h 1518"/>
                <a:gd name="T32" fmla="*/ 276 w 808"/>
                <a:gd name="T33" fmla="*/ 19 h 1518"/>
                <a:gd name="T34" fmla="*/ 257 w 808"/>
                <a:gd name="T35" fmla="*/ 0 h 1518"/>
                <a:gd name="T36" fmla="*/ 240 w 808"/>
                <a:gd name="T37" fmla="*/ 14 h 1518"/>
                <a:gd name="T38" fmla="*/ 150 w 808"/>
                <a:gd name="T39" fmla="*/ 65 h 1518"/>
                <a:gd name="T40" fmla="*/ 75 w 808"/>
                <a:gd name="T41" fmla="*/ 89 h 1518"/>
                <a:gd name="T42" fmla="*/ 20 w 808"/>
                <a:gd name="T43" fmla="*/ 121 h 1518"/>
                <a:gd name="T44" fmla="*/ 0 w 808"/>
                <a:gd name="T45" fmla="*/ 278 h 1518"/>
                <a:gd name="T46" fmla="*/ 75 w 808"/>
                <a:gd name="T47" fmla="*/ 369 h 1518"/>
                <a:gd name="T48" fmla="*/ 94 w 808"/>
                <a:gd name="T49" fmla="*/ 436 h 1518"/>
                <a:gd name="T50" fmla="*/ 90 w 808"/>
                <a:gd name="T51" fmla="*/ 483 h 1518"/>
                <a:gd name="T52" fmla="*/ 75 w 808"/>
                <a:gd name="T53" fmla="*/ 554 h 1518"/>
                <a:gd name="T54" fmla="*/ 110 w 808"/>
                <a:gd name="T55" fmla="*/ 661 h 1518"/>
                <a:gd name="T56" fmla="*/ 150 w 808"/>
                <a:gd name="T57" fmla="*/ 783 h 1518"/>
                <a:gd name="T58" fmla="*/ 181 w 808"/>
                <a:gd name="T59" fmla="*/ 858 h 1518"/>
                <a:gd name="T60" fmla="*/ 95 w 808"/>
                <a:gd name="T61" fmla="*/ 1022 h 1518"/>
                <a:gd name="T62" fmla="*/ 67 w 808"/>
                <a:gd name="T63" fmla="*/ 1169 h 1518"/>
                <a:gd name="T64" fmla="*/ 73 w 808"/>
                <a:gd name="T65" fmla="*/ 1258 h 1518"/>
                <a:gd name="T66" fmla="*/ 205 w 808"/>
                <a:gd name="T67" fmla="*/ 1386 h 1518"/>
                <a:gd name="T68" fmla="*/ 234 w 808"/>
                <a:gd name="T69" fmla="*/ 1435 h 1518"/>
                <a:gd name="T70" fmla="*/ 292 w 808"/>
                <a:gd name="T71" fmla="*/ 1439 h 1518"/>
                <a:gd name="T72" fmla="*/ 341 w 808"/>
                <a:gd name="T73" fmla="*/ 1498 h 1518"/>
                <a:gd name="T74" fmla="*/ 420 w 808"/>
                <a:gd name="T75" fmla="*/ 1508 h 1518"/>
                <a:gd name="T76" fmla="*/ 451 w 808"/>
                <a:gd name="T77" fmla="*/ 1468 h 1518"/>
                <a:gd name="T78" fmla="*/ 336 w 808"/>
                <a:gd name="T79" fmla="*/ 1401 h 1518"/>
                <a:gd name="T80" fmla="*/ 267 w 808"/>
                <a:gd name="T81" fmla="*/ 1287 h 1518"/>
                <a:gd name="T82" fmla="*/ 230 w 808"/>
                <a:gd name="T83" fmla="*/ 1194 h 1518"/>
                <a:gd name="T84" fmla="*/ 166 w 808"/>
                <a:gd name="T85" fmla="*/ 1147 h 1518"/>
                <a:gd name="T86" fmla="*/ 178 w 808"/>
                <a:gd name="T87" fmla="*/ 988 h 1518"/>
                <a:gd name="T88" fmla="*/ 233 w 808"/>
                <a:gd name="T89" fmla="*/ 784 h 1518"/>
                <a:gd name="T90" fmla="*/ 317 w 808"/>
                <a:gd name="T91" fmla="*/ 759 h 1518"/>
                <a:gd name="T92" fmla="*/ 392 w 808"/>
                <a:gd name="T93" fmla="*/ 819 h 1518"/>
                <a:gd name="T94" fmla="*/ 498 w 808"/>
                <a:gd name="T95" fmla="*/ 875 h 1518"/>
                <a:gd name="T96" fmla="*/ 505 w 808"/>
                <a:gd name="T97" fmla="*/ 878 h 1518"/>
                <a:gd name="T98" fmla="*/ 506 w 808"/>
                <a:gd name="T99" fmla="*/ 875 h 1518"/>
                <a:gd name="T100" fmla="*/ 493 w 808"/>
                <a:gd name="T101" fmla="*/ 799 h 1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08" h="1518">
                  <a:moveTo>
                    <a:pt x="493" y="799"/>
                  </a:moveTo>
                  <a:cubicBezTo>
                    <a:pt x="493" y="756"/>
                    <a:pt x="451" y="756"/>
                    <a:pt x="489" y="709"/>
                  </a:cubicBezTo>
                  <a:cubicBezTo>
                    <a:pt x="528" y="662"/>
                    <a:pt x="587" y="628"/>
                    <a:pt x="625" y="641"/>
                  </a:cubicBezTo>
                  <a:cubicBezTo>
                    <a:pt x="664" y="654"/>
                    <a:pt x="740" y="620"/>
                    <a:pt x="762" y="645"/>
                  </a:cubicBezTo>
                  <a:cubicBezTo>
                    <a:pt x="766" y="650"/>
                    <a:pt x="770" y="653"/>
                    <a:pt x="775" y="656"/>
                  </a:cubicBezTo>
                  <a:cubicBezTo>
                    <a:pt x="808" y="619"/>
                    <a:pt x="784" y="587"/>
                    <a:pt x="787" y="543"/>
                  </a:cubicBezTo>
                  <a:cubicBezTo>
                    <a:pt x="792" y="492"/>
                    <a:pt x="749" y="445"/>
                    <a:pt x="719" y="437"/>
                  </a:cubicBezTo>
                  <a:cubicBezTo>
                    <a:pt x="689" y="428"/>
                    <a:pt x="740" y="334"/>
                    <a:pt x="711" y="317"/>
                  </a:cubicBezTo>
                  <a:cubicBezTo>
                    <a:pt x="681" y="300"/>
                    <a:pt x="660" y="271"/>
                    <a:pt x="638" y="245"/>
                  </a:cubicBezTo>
                  <a:cubicBezTo>
                    <a:pt x="617" y="219"/>
                    <a:pt x="553" y="228"/>
                    <a:pt x="545" y="249"/>
                  </a:cubicBezTo>
                  <a:cubicBezTo>
                    <a:pt x="536" y="271"/>
                    <a:pt x="493" y="283"/>
                    <a:pt x="481" y="266"/>
                  </a:cubicBezTo>
                  <a:cubicBezTo>
                    <a:pt x="468" y="249"/>
                    <a:pt x="442" y="245"/>
                    <a:pt x="408" y="271"/>
                  </a:cubicBezTo>
                  <a:cubicBezTo>
                    <a:pt x="374" y="296"/>
                    <a:pt x="327" y="343"/>
                    <a:pt x="319" y="305"/>
                  </a:cubicBezTo>
                  <a:cubicBezTo>
                    <a:pt x="310" y="266"/>
                    <a:pt x="344" y="271"/>
                    <a:pt x="344" y="228"/>
                  </a:cubicBezTo>
                  <a:cubicBezTo>
                    <a:pt x="344" y="185"/>
                    <a:pt x="366" y="164"/>
                    <a:pt x="353" y="121"/>
                  </a:cubicBezTo>
                  <a:cubicBezTo>
                    <a:pt x="340" y="79"/>
                    <a:pt x="297" y="126"/>
                    <a:pt x="285" y="96"/>
                  </a:cubicBezTo>
                  <a:cubicBezTo>
                    <a:pt x="272" y="66"/>
                    <a:pt x="285" y="32"/>
                    <a:pt x="276" y="19"/>
                  </a:cubicBezTo>
                  <a:cubicBezTo>
                    <a:pt x="274" y="15"/>
                    <a:pt x="266" y="8"/>
                    <a:pt x="257" y="0"/>
                  </a:cubicBezTo>
                  <a:cubicBezTo>
                    <a:pt x="249" y="4"/>
                    <a:pt x="243" y="8"/>
                    <a:pt x="240" y="14"/>
                  </a:cubicBezTo>
                  <a:cubicBezTo>
                    <a:pt x="232" y="34"/>
                    <a:pt x="165" y="38"/>
                    <a:pt x="150" y="65"/>
                  </a:cubicBezTo>
                  <a:cubicBezTo>
                    <a:pt x="134" y="93"/>
                    <a:pt x="87" y="89"/>
                    <a:pt x="75" y="89"/>
                  </a:cubicBezTo>
                  <a:cubicBezTo>
                    <a:pt x="63" y="89"/>
                    <a:pt x="23" y="93"/>
                    <a:pt x="20" y="121"/>
                  </a:cubicBezTo>
                  <a:cubicBezTo>
                    <a:pt x="16" y="148"/>
                    <a:pt x="0" y="259"/>
                    <a:pt x="0" y="278"/>
                  </a:cubicBezTo>
                  <a:cubicBezTo>
                    <a:pt x="0" y="298"/>
                    <a:pt x="55" y="361"/>
                    <a:pt x="75" y="369"/>
                  </a:cubicBezTo>
                  <a:cubicBezTo>
                    <a:pt x="94" y="377"/>
                    <a:pt x="71" y="424"/>
                    <a:pt x="94" y="436"/>
                  </a:cubicBezTo>
                  <a:cubicBezTo>
                    <a:pt x="118" y="448"/>
                    <a:pt x="102" y="487"/>
                    <a:pt x="90" y="483"/>
                  </a:cubicBezTo>
                  <a:cubicBezTo>
                    <a:pt x="79" y="479"/>
                    <a:pt x="98" y="534"/>
                    <a:pt x="75" y="554"/>
                  </a:cubicBezTo>
                  <a:cubicBezTo>
                    <a:pt x="51" y="574"/>
                    <a:pt x="71" y="625"/>
                    <a:pt x="110" y="661"/>
                  </a:cubicBezTo>
                  <a:cubicBezTo>
                    <a:pt x="150" y="696"/>
                    <a:pt x="150" y="751"/>
                    <a:pt x="150" y="783"/>
                  </a:cubicBezTo>
                  <a:cubicBezTo>
                    <a:pt x="150" y="814"/>
                    <a:pt x="181" y="818"/>
                    <a:pt x="181" y="858"/>
                  </a:cubicBezTo>
                  <a:cubicBezTo>
                    <a:pt x="181" y="858"/>
                    <a:pt x="134" y="1029"/>
                    <a:pt x="95" y="1022"/>
                  </a:cubicBezTo>
                  <a:cubicBezTo>
                    <a:pt x="87" y="1065"/>
                    <a:pt x="77" y="1132"/>
                    <a:pt x="67" y="1169"/>
                  </a:cubicBezTo>
                  <a:cubicBezTo>
                    <a:pt x="56" y="1215"/>
                    <a:pt x="47" y="1255"/>
                    <a:pt x="73" y="1258"/>
                  </a:cubicBezTo>
                  <a:cubicBezTo>
                    <a:pt x="100" y="1261"/>
                    <a:pt x="153" y="1321"/>
                    <a:pt x="205" y="1386"/>
                  </a:cubicBezTo>
                  <a:cubicBezTo>
                    <a:pt x="217" y="1402"/>
                    <a:pt x="227" y="1418"/>
                    <a:pt x="234" y="1435"/>
                  </a:cubicBezTo>
                  <a:cubicBezTo>
                    <a:pt x="252" y="1434"/>
                    <a:pt x="272" y="1436"/>
                    <a:pt x="292" y="1439"/>
                  </a:cubicBezTo>
                  <a:cubicBezTo>
                    <a:pt x="332" y="1447"/>
                    <a:pt x="341" y="1478"/>
                    <a:pt x="341" y="1498"/>
                  </a:cubicBezTo>
                  <a:cubicBezTo>
                    <a:pt x="341" y="1518"/>
                    <a:pt x="408" y="1510"/>
                    <a:pt x="420" y="1508"/>
                  </a:cubicBezTo>
                  <a:cubicBezTo>
                    <a:pt x="429" y="1506"/>
                    <a:pt x="417" y="1478"/>
                    <a:pt x="451" y="1468"/>
                  </a:cubicBezTo>
                  <a:cubicBezTo>
                    <a:pt x="431" y="1439"/>
                    <a:pt x="379" y="1405"/>
                    <a:pt x="336" y="1401"/>
                  </a:cubicBezTo>
                  <a:cubicBezTo>
                    <a:pt x="286" y="1396"/>
                    <a:pt x="262" y="1321"/>
                    <a:pt x="267" y="1287"/>
                  </a:cubicBezTo>
                  <a:cubicBezTo>
                    <a:pt x="271" y="1253"/>
                    <a:pt x="230" y="1224"/>
                    <a:pt x="230" y="1194"/>
                  </a:cubicBezTo>
                  <a:cubicBezTo>
                    <a:pt x="230" y="1165"/>
                    <a:pt x="200" y="1163"/>
                    <a:pt x="166" y="1147"/>
                  </a:cubicBezTo>
                  <a:cubicBezTo>
                    <a:pt x="132" y="1131"/>
                    <a:pt x="174" y="1030"/>
                    <a:pt x="178" y="988"/>
                  </a:cubicBezTo>
                  <a:cubicBezTo>
                    <a:pt x="182" y="945"/>
                    <a:pt x="253" y="822"/>
                    <a:pt x="233" y="784"/>
                  </a:cubicBezTo>
                  <a:cubicBezTo>
                    <a:pt x="212" y="746"/>
                    <a:pt x="305" y="716"/>
                    <a:pt x="317" y="759"/>
                  </a:cubicBezTo>
                  <a:cubicBezTo>
                    <a:pt x="329" y="802"/>
                    <a:pt x="333" y="822"/>
                    <a:pt x="392" y="819"/>
                  </a:cubicBezTo>
                  <a:cubicBezTo>
                    <a:pt x="451" y="816"/>
                    <a:pt x="451" y="862"/>
                    <a:pt x="498" y="875"/>
                  </a:cubicBezTo>
                  <a:cubicBezTo>
                    <a:pt x="501" y="876"/>
                    <a:pt x="503" y="877"/>
                    <a:pt x="505" y="878"/>
                  </a:cubicBezTo>
                  <a:cubicBezTo>
                    <a:pt x="506" y="877"/>
                    <a:pt x="506" y="876"/>
                    <a:pt x="506" y="875"/>
                  </a:cubicBezTo>
                  <a:cubicBezTo>
                    <a:pt x="519" y="841"/>
                    <a:pt x="493" y="841"/>
                    <a:pt x="493" y="79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7" name="Freeform 67"/>
            <p:cNvSpPr>
              <a:spLocks/>
            </p:cNvSpPr>
            <p:nvPr/>
          </p:nvSpPr>
          <p:spPr bwMode="auto">
            <a:xfrm>
              <a:off x="12376291" y="5700424"/>
              <a:ext cx="487535" cy="398740"/>
            </a:xfrm>
            <a:custGeom>
              <a:avLst/>
              <a:gdLst>
                <a:gd name="T0" fmla="*/ 18 w 965"/>
                <a:gd name="T1" fmla="*/ 169 h 788"/>
                <a:gd name="T2" fmla="*/ 15 w 965"/>
                <a:gd name="T3" fmla="*/ 273 h 788"/>
                <a:gd name="T4" fmla="*/ 22 w 965"/>
                <a:gd name="T5" fmla="*/ 313 h 788"/>
                <a:gd name="T6" fmla="*/ 44 w 965"/>
                <a:gd name="T7" fmla="*/ 362 h 788"/>
                <a:gd name="T8" fmla="*/ 57 w 965"/>
                <a:gd name="T9" fmla="*/ 415 h 788"/>
                <a:gd name="T10" fmla="*/ 82 w 965"/>
                <a:gd name="T11" fmla="*/ 494 h 788"/>
                <a:gd name="T12" fmla="*/ 85 w 965"/>
                <a:gd name="T13" fmla="*/ 539 h 788"/>
                <a:gd name="T14" fmla="*/ 143 w 965"/>
                <a:gd name="T15" fmla="*/ 573 h 788"/>
                <a:gd name="T16" fmla="*/ 208 w 965"/>
                <a:gd name="T17" fmla="*/ 619 h 788"/>
                <a:gd name="T18" fmla="*/ 261 w 965"/>
                <a:gd name="T19" fmla="*/ 642 h 788"/>
                <a:gd name="T20" fmla="*/ 317 w 965"/>
                <a:gd name="T21" fmla="*/ 632 h 788"/>
                <a:gd name="T22" fmla="*/ 344 w 965"/>
                <a:gd name="T23" fmla="*/ 668 h 788"/>
                <a:gd name="T24" fmla="*/ 410 w 965"/>
                <a:gd name="T25" fmla="*/ 685 h 788"/>
                <a:gd name="T26" fmla="*/ 456 w 965"/>
                <a:gd name="T27" fmla="*/ 744 h 788"/>
                <a:gd name="T28" fmla="*/ 515 w 965"/>
                <a:gd name="T29" fmla="*/ 738 h 788"/>
                <a:gd name="T30" fmla="*/ 601 w 965"/>
                <a:gd name="T31" fmla="*/ 747 h 788"/>
                <a:gd name="T32" fmla="*/ 677 w 965"/>
                <a:gd name="T33" fmla="*/ 754 h 788"/>
                <a:gd name="T34" fmla="*/ 762 w 965"/>
                <a:gd name="T35" fmla="*/ 774 h 788"/>
                <a:gd name="T36" fmla="*/ 821 w 965"/>
                <a:gd name="T37" fmla="*/ 788 h 788"/>
                <a:gd name="T38" fmla="*/ 817 w 965"/>
                <a:gd name="T39" fmla="*/ 722 h 788"/>
                <a:gd name="T40" fmla="*/ 910 w 965"/>
                <a:gd name="T41" fmla="*/ 627 h 788"/>
                <a:gd name="T42" fmla="*/ 954 w 965"/>
                <a:gd name="T43" fmla="*/ 592 h 788"/>
                <a:gd name="T44" fmla="*/ 914 w 965"/>
                <a:gd name="T45" fmla="*/ 494 h 788"/>
                <a:gd name="T46" fmla="*/ 907 w 965"/>
                <a:gd name="T47" fmla="*/ 406 h 788"/>
                <a:gd name="T48" fmla="*/ 874 w 965"/>
                <a:gd name="T49" fmla="*/ 355 h 788"/>
                <a:gd name="T50" fmla="*/ 932 w 965"/>
                <a:gd name="T51" fmla="*/ 304 h 788"/>
                <a:gd name="T52" fmla="*/ 927 w 965"/>
                <a:gd name="T53" fmla="*/ 218 h 788"/>
                <a:gd name="T54" fmla="*/ 912 w 965"/>
                <a:gd name="T55" fmla="*/ 143 h 788"/>
                <a:gd name="T56" fmla="*/ 834 w 965"/>
                <a:gd name="T57" fmla="*/ 87 h 788"/>
                <a:gd name="T58" fmla="*/ 831 w 965"/>
                <a:gd name="T59" fmla="*/ 83 h 788"/>
                <a:gd name="T60" fmla="*/ 571 w 965"/>
                <a:gd name="T61" fmla="*/ 72 h 788"/>
                <a:gd name="T62" fmla="*/ 521 w 965"/>
                <a:gd name="T63" fmla="*/ 53 h 788"/>
                <a:gd name="T64" fmla="*/ 466 w 965"/>
                <a:gd name="T65" fmla="*/ 81 h 788"/>
                <a:gd name="T66" fmla="*/ 419 w 965"/>
                <a:gd name="T67" fmla="*/ 19 h 788"/>
                <a:gd name="T68" fmla="*/ 201 w 965"/>
                <a:gd name="T69" fmla="*/ 81 h 788"/>
                <a:gd name="T70" fmla="*/ 46 w 965"/>
                <a:gd name="T71" fmla="*/ 134 h 788"/>
                <a:gd name="T72" fmla="*/ 17 w 965"/>
                <a:gd name="T73" fmla="*/ 157 h 788"/>
                <a:gd name="T74" fmla="*/ 18 w 965"/>
                <a:gd name="T75" fmla="*/ 169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65" h="788">
                  <a:moveTo>
                    <a:pt x="18" y="169"/>
                  </a:moveTo>
                  <a:cubicBezTo>
                    <a:pt x="24" y="187"/>
                    <a:pt x="31" y="249"/>
                    <a:pt x="15" y="273"/>
                  </a:cubicBezTo>
                  <a:cubicBezTo>
                    <a:pt x="0" y="297"/>
                    <a:pt x="7" y="304"/>
                    <a:pt x="22" y="313"/>
                  </a:cubicBezTo>
                  <a:cubicBezTo>
                    <a:pt x="38" y="322"/>
                    <a:pt x="44" y="344"/>
                    <a:pt x="44" y="362"/>
                  </a:cubicBezTo>
                  <a:cubicBezTo>
                    <a:pt x="44" y="379"/>
                    <a:pt x="55" y="377"/>
                    <a:pt x="57" y="415"/>
                  </a:cubicBezTo>
                  <a:cubicBezTo>
                    <a:pt x="60" y="452"/>
                    <a:pt x="69" y="479"/>
                    <a:pt x="82" y="494"/>
                  </a:cubicBezTo>
                  <a:cubicBezTo>
                    <a:pt x="92" y="507"/>
                    <a:pt x="90" y="525"/>
                    <a:pt x="85" y="539"/>
                  </a:cubicBezTo>
                  <a:cubicBezTo>
                    <a:pt x="103" y="553"/>
                    <a:pt x="124" y="566"/>
                    <a:pt x="143" y="573"/>
                  </a:cubicBezTo>
                  <a:cubicBezTo>
                    <a:pt x="189" y="589"/>
                    <a:pt x="205" y="602"/>
                    <a:pt x="208" y="619"/>
                  </a:cubicBezTo>
                  <a:cubicBezTo>
                    <a:pt x="212" y="635"/>
                    <a:pt x="251" y="665"/>
                    <a:pt x="261" y="642"/>
                  </a:cubicBezTo>
                  <a:cubicBezTo>
                    <a:pt x="271" y="619"/>
                    <a:pt x="297" y="632"/>
                    <a:pt x="317" y="632"/>
                  </a:cubicBezTo>
                  <a:cubicBezTo>
                    <a:pt x="337" y="632"/>
                    <a:pt x="340" y="655"/>
                    <a:pt x="344" y="668"/>
                  </a:cubicBezTo>
                  <a:cubicBezTo>
                    <a:pt x="347" y="682"/>
                    <a:pt x="393" y="675"/>
                    <a:pt x="410" y="685"/>
                  </a:cubicBezTo>
                  <a:cubicBezTo>
                    <a:pt x="426" y="695"/>
                    <a:pt x="433" y="731"/>
                    <a:pt x="456" y="744"/>
                  </a:cubicBezTo>
                  <a:cubicBezTo>
                    <a:pt x="479" y="757"/>
                    <a:pt x="499" y="728"/>
                    <a:pt x="515" y="738"/>
                  </a:cubicBezTo>
                  <a:cubicBezTo>
                    <a:pt x="532" y="747"/>
                    <a:pt x="575" y="757"/>
                    <a:pt x="601" y="747"/>
                  </a:cubicBezTo>
                  <a:cubicBezTo>
                    <a:pt x="627" y="738"/>
                    <a:pt x="644" y="757"/>
                    <a:pt x="677" y="754"/>
                  </a:cubicBezTo>
                  <a:cubicBezTo>
                    <a:pt x="710" y="751"/>
                    <a:pt x="752" y="764"/>
                    <a:pt x="762" y="774"/>
                  </a:cubicBezTo>
                  <a:cubicBezTo>
                    <a:pt x="768" y="779"/>
                    <a:pt x="795" y="784"/>
                    <a:pt x="821" y="788"/>
                  </a:cubicBezTo>
                  <a:cubicBezTo>
                    <a:pt x="827" y="774"/>
                    <a:pt x="815" y="733"/>
                    <a:pt x="817" y="722"/>
                  </a:cubicBezTo>
                  <a:cubicBezTo>
                    <a:pt x="819" y="711"/>
                    <a:pt x="896" y="643"/>
                    <a:pt x="910" y="627"/>
                  </a:cubicBezTo>
                  <a:cubicBezTo>
                    <a:pt x="923" y="612"/>
                    <a:pt x="943" y="612"/>
                    <a:pt x="954" y="592"/>
                  </a:cubicBezTo>
                  <a:cubicBezTo>
                    <a:pt x="965" y="572"/>
                    <a:pt x="923" y="508"/>
                    <a:pt x="914" y="494"/>
                  </a:cubicBezTo>
                  <a:cubicBezTo>
                    <a:pt x="905" y="481"/>
                    <a:pt x="901" y="428"/>
                    <a:pt x="907" y="406"/>
                  </a:cubicBezTo>
                  <a:cubicBezTo>
                    <a:pt x="914" y="384"/>
                    <a:pt x="874" y="371"/>
                    <a:pt x="874" y="355"/>
                  </a:cubicBezTo>
                  <a:cubicBezTo>
                    <a:pt x="874" y="340"/>
                    <a:pt x="912" y="313"/>
                    <a:pt x="932" y="304"/>
                  </a:cubicBezTo>
                  <a:cubicBezTo>
                    <a:pt x="952" y="295"/>
                    <a:pt x="945" y="233"/>
                    <a:pt x="927" y="218"/>
                  </a:cubicBezTo>
                  <a:cubicBezTo>
                    <a:pt x="910" y="202"/>
                    <a:pt x="901" y="174"/>
                    <a:pt x="912" y="143"/>
                  </a:cubicBezTo>
                  <a:cubicBezTo>
                    <a:pt x="923" y="112"/>
                    <a:pt x="845" y="87"/>
                    <a:pt x="834" y="87"/>
                  </a:cubicBezTo>
                  <a:cubicBezTo>
                    <a:pt x="833" y="87"/>
                    <a:pt x="831" y="85"/>
                    <a:pt x="831" y="83"/>
                  </a:cubicBezTo>
                  <a:cubicBezTo>
                    <a:pt x="762" y="95"/>
                    <a:pt x="585" y="77"/>
                    <a:pt x="571" y="72"/>
                  </a:cubicBezTo>
                  <a:cubicBezTo>
                    <a:pt x="562" y="68"/>
                    <a:pt x="540" y="60"/>
                    <a:pt x="521" y="53"/>
                  </a:cubicBezTo>
                  <a:cubicBezTo>
                    <a:pt x="512" y="68"/>
                    <a:pt x="494" y="81"/>
                    <a:pt x="466" y="81"/>
                  </a:cubicBezTo>
                  <a:cubicBezTo>
                    <a:pt x="423" y="81"/>
                    <a:pt x="420" y="39"/>
                    <a:pt x="419" y="19"/>
                  </a:cubicBezTo>
                  <a:cubicBezTo>
                    <a:pt x="418" y="0"/>
                    <a:pt x="246" y="36"/>
                    <a:pt x="201" y="81"/>
                  </a:cubicBezTo>
                  <a:cubicBezTo>
                    <a:pt x="155" y="127"/>
                    <a:pt x="49" y="109"/>
                    <a:pt x="46" y="134"/>
                  </a:cubicBezTo>
                  <a:cubicBezTo>
                    <a:pt x="43" y="153"/>
                    <a:pt x="27" y="162"/>
                    <a:pt x="17" y="157"/>
                  </a:cubicBezTo>
                  <a:cubicBezTo>
                    <a:pt x="16" y="161"/>
                    <a:pt x="16" y="166"/>
                    <a:pt x="18" y="16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8" name="Freeform 68"/>
            <p:cNvSpPr>
              <a:spLocks/>
            </p:cNvSpPr>
            <p:nvPr/>
          </p:nvSpPr>
          <p:spPr bwMode="auto">
            <a:xfrm>
              <a:off x="12446657" y="6347120"/>
              <a:ext cx="182617" cy="174239"/>
            </a:xfrm>
            <a:custGeom>
              <a:avLst/>
              <a:gdLst>
                <a:gd name="T0" fmla="*/ 269 w 362"/>
                <a:gd name="T1" fmla="*/ 314 h 345"/>
                <a:gd name="T2" fmla="*/ 344 w 362"/>
                <a:gd name="T3" fmla="*/ 203 h 345"/>
                <a:gd name="T4" fmla="*/ 357 w 362"/>
                <a:gd name="T5" fmla="*/ 70 h 345"/>
                <a:gd name="T6" fmla="*/ 266 w 362"/>
                <a:gd name="T7" fmla="*/ 24 h 345"/>
                <a:gd name="T8" fmla="*/ 112 w 362"/>
                <a:gd name="T9" fmla="*/ 9 h 345"/>
                <a:gd name="T10" fmla="*/ 48 w 362"/>
                <a:gd name="T11" fmla="*/ 22 h 345"/>
                <a:gd name="T12" fmla="*/ 4 w 362"/>
                <a:gd name="T13" fmla="*/ 49 h 345"/>
                <a:gd name="T14" fmla="*/ 51 w 362"/>
                <a:gd name="T15" fmla="*/ 117 h 345"/>
                <a:gd name="T16" fmla="*/ 132 w 362"/>
                <a:gd name="T17" fmla="*/ 216 h 345"/>
                <a:gd name="T18" fmla="*/ 213 w 362"/>
                <a:gd name="T19" fmla="*/ 307 h 345"/>
                <a:gd name="T20" fmla="*/ 265 w 362"/>
                <a:gd name="T21" fmla="*/ 345 h 345"/>
                <a:gd name="T22" fmla="*/ 269 w 362"/>
                <a:gd name="T23" fmla="*/ 31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2" h="345">
                  <a:moveTo>
                    <a:pt x="269" y="314"/>
                  </a:moveTo>
                  <a:cubicBezTo>
                    <a:pt x="265" y="294"/>
                    <a:pt x="328" y="203"/>
                    <a:pt x="344" y="203"/>
                  </a:cubicBezTo>
                  <a:cubicBezTo>
                    <a:pt x="357" y="203"/>
                    <a:pt x="362" y="115"/>
                    <a:pt x="357" y="70"/>
                  </a:cubicBezTo>
                  <a:cubicBezTo>
                    <a:pt x="307" y="36"/>
                    <a:pt x="266" y="24"/>
                    <a:pt x="266" y="24"/>
                  </a:cubicBezTo>
                  <a:cubicBezTo>
                    <a:pt x="266" y="24"/>
                    <a:pt x="134" y="18"/>
                    <a:pt x="112" y="9"/>
                  </a:cubicBezTo>
                  <a:cubicBezTo>
                    <a:pt x="90" y="0"/>
                    <a:pt x="68" y="38"/>
                    <a:pt x="48" y="22"/>
                  </a:cubicBezTo>
                  <a:cubicBezTo>
                    <a:pt x="29" y="7"/>
                    <a:pt x="0" y="27"/>
                    <a:pt x="4" y="49"/>
                  </a:cubicBezTo>
                  <a:cubicBezTo>
                    <a:pt x="9" y="71"/>
                    <a:pt x="51" y="84"/>
                    <a:pt x="51" y="117"/>
                  </a:cubicBezTo>
                  <a:cubicBezTo>
                    <a:pt x="51" y="150"/>
                    <a:pt x="134" y="199"/>
                    <a:pt x="132" y="216"/>
                  </a:cubicBezTo>
                  <a:cubicBezTo>
                    <a:pt x="131" y="228"/>
                    <a:pt x="182" y="262"/>
                    <a:pt x="213" y="307"/>
                  </a:cubicBezTo>
                  <a:cubicBezTo>
                    <a:pt x="230" y="318"/>
                    <a:pt x="247" y="331"/>
                    <a:pt x="265" y="345"/>
                  </a:cubicBezTo>
                  <a:cubicBezTo>
                    <a:pt x="268" y="331"/>
                    <a:pt x="270" y="319"/>
                    <a:pt x="269" y="3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12356186" y="6266702"/>
              <a:ext cx="271411" cy="234553"/>
            </a:xfrm>
            <a:custGeom>
              <a:avLst/>
              <a:gdLst>
                <a:gd name="T0" fmla="*/ 309 w 534"/>
                <a:gd name="T1" fmla="*/ 374 h 465"/>
                <a:gd name="T2" fmla="*/ 228 w 534"/>
                <a:gd name="T3" fmla="*/ 275 h 465"/>
                <a:gd name="T4" fmla="*/ 181 w 534"/>
                <a:gd name="T5" fmla="*/ 207 h 465"/>
                <a:gd name="T6" fmla="*/ 225 w 534"/>
                <a:gd name="T7" fmla="*/ 180 h 465"/>
                <a:gd name="T8" fmla="*/ 289 w 534"/>
                <a:gd name="T9" fmla="*/ 167 h 465"/>
                <a:gd name="T10" fmla="*/ 443 w 534"/>
                <a:gd name="T11" fmla="*/ 182 h 465"/>
                <a:gd name="T12" fmla="*/ 534 w 534"/>
                <a:gd name="T13" fmla="*/ 228 h 465"/>
                <a:gd name="T14" fmla="*/ 529 w 534"/>
                <a:gd name="T15" fmla="*/ 207 h 465"/>
                <a:gd name="T16" fmla="*/ 497 w 534"/>
                <a:gd name="T17" fmla="*/ 135 h 465"/>
                <a:gd name="T18" fmla="*/ 471 w 534"/>
                <a:gd name="T19" fmla="*/ 75 h 465"/>
                <a:gd name="T20" fmla="*/ 437 w 534"/>
                <a:gd name="T21" fmla="*/ 85 h 465"/>
                <a:gd name="T22" fmla="*/ 334 w 534"/>
                <a:gd name="T23" fmla="*/ 62 h 465"/>
                <a:gd name="T24" fmla="*/ 251 w 534"/>
                <a:gd name="T25" fmla="*/ 0 h 465"/>
                <a:gd name="T26" fmla="*/ 192 w 534"/>
                <a:gd name="T27" fmla="*/ 40 h 465"/>
                <a:gd name="T28" fmla="*/ 167 w 534"/>
                <a:gd name="T29" fmla="*/ 89 h 465"/>
                <a:gd name="T30" fmla="*/ 132 w 534"/>
                <a:gd name="T31" fmla="*/ 133 h 465"/>
                <a:gd name="T32" fmla="*/ 70 w 534"/>
                <a:gd name="T33" fmla="*/ 131 h 465"/>
                <a:gd name="T34" fmla="*/ 0 w 534"/>
                <a:gd name="T35" fmla="*/ 144 h 465"/>
                <a:gd name="T36" fmla="*/ 18 w 534"/>
                <a:gd name="T37" fmla="*/ 187 h 465"/>
                <a:gd name="T38" fmla="*/ 94 w 534"/>
                <a:gd name="T39" fmla="*/ 219 h 465"/>
                <a:gd name="T40" fmla="*/ 183 w 534"/>
                <a:gd name="T41" fmla="*/ 359 h 465"/>
                <a:gd name="T42" fmla="*/ 263 w 534"/>
                <a:gd name="T43" fmla="*/ 402 h 465"/>
                <a:gd name="T44" fmla="*/ 348 w 534"/>
                <a:gd name="T45" fmla="*/ 448 h 465"/>
                <a:gd name="T46" fmla="*/ 390 w 534"/>
                <a:gd name="T47" fmla="*/ 465 h 465"/>
                <a:gd name="T48" fmla="*/ 309 w 534"/>
                <a:gd name="T49" fmla="*/ 374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4" h="465">
                  <a:moveTo>
                    <a:pt x="309" y="374"/>
                  </a:moveTo>
                  <a:cubicBezTo>
                    <a:pt x="311" y="357"/>
                    <a:pt x="228" y="308"/>
                    <a:pt x="228" y="275"/>
                  </a:cubicBezTo>
                  <a:cubicBezTo>
                    <a:pt x="228" y="242"/>
                    <a:pt x="186" y="229"/>
                    <a:pt x="181" y="207"/>
                  </a:cubicBezTo>
                  <a:cubicBezTo>
                    <a:pt x="177" y="185"/>
                    <a:pt x="206" y="165"/>
                    <a:pt x="225" y="180"/>
                  </a:cubicBezTo>
                  <a:cubicBezTo>
                    <a:pt x="245" y="196"/>
                    <a:pt x="267" y="158"/>
                    <a:pt x="289" y="167"/>
                  </a:cubicBezTo>
                  <a:cubicBezTo>
                    <a:pt x="311" y="176"/>
                    <a:pt x="443" y="182"/>
                    <a:pt x="443" y="182"/>
                  </a:cubicBezTo>
                  <a:cubicBezTo>
                    <a:pt x="443" y="182"/>
                    <a:pt x="484" y="194"/>
                    <a:pt x="534" y="228"/>
                  </a:cubicBezTo>
                  <a:cubicBezTo>
                    <a:pt x="533" y="219"/>
                    <a:pt x="531" y="211"/>
                    <a:pt x="529" y="207"/>
                  </a:cubicBezTo>
                  <a:cubicBezTo>
                    <a:pt x="517" y="179"/>
                    <a:pt x="529" y="147"/>
                    <a:pt x="497" y="135"/>
                  </a:cubicBezTo>
                  <a:cubicBezTo>
                    <a:pt x="481" y="129"/>
                    <a:pt x="474" y="101"/>
                    <a:pt x="471" y="75"/>
                  </a:cubicBezTo>
                  <a:cubicBezTo>
                    <a:pt x="456" y="79"/>
                    <a:pt x="444" y="83"/>
                    <a:pt x="437" y="85"/>
                  </a:cubicBezTo>
                  <a:cubicBezTo>
                    <a:pt x="410" y="91"/>
                    <a:pt x="354" y="88"/>
                    <a:pt x="334" y="62"/>
                  </a:cubicBezTo>
                  <a:cubicBezTo>
                    <a:pt x="320" y="42"/>
                    <a:pt x="274" y="13"/>
                    <a:pt x="251" y="0"/>
                  </a:cubicBezTo>
                  <a:cubicBezTo>
                    <a:pt x="242" y="8"/>
                    <a:pt x="207" y="38"/>
                    <a:pt x="192" y="40"/>
                  </a:cubicBezTo>
                  <a:cubicBezTo>
                    <a:pt x="174" y="42"/>
                    <a:pt x="185" y="89"/>
                    <a:pt x="167" y="89"/>
                  </a:cubicBezTo>
                  <a:cubicBezTo>
                    <a:pt x="150" y="89"/>
                    <a:pt x="136" y="119"/>
                    <a:pt x="132" y="133"/>
                  </a:cubicBezTo>
                  <a:cubicBezTo>
                    <a:pt x="128" y="146"/>
                    <a:pt x="88" y="124"/>
                    <a:pt x="70" y="131"/>
                  </a:cubicBezTo>
                  <a:cubicBezTo>
                    <a:pt x="57" y="135"/>
                    <a:pt x="20" y="141"/>
                    <a:pt x="0" y="144"/>
                  </a:cubicBezTo>
                  <a:cubicBezTo>
                    <a:pt x="3" y="164"/>
                    <a:pt x="2" y="187"/>
                    <a:pt x="18" y="187"/>
                  </a:cubicBezTo>
                  <a:cubicBezTo>
                    <a:pt x="44" y="187"/>
                    <a:pt x="93" y="184"/>
                    <a:pt x="94" y="219"/>
                  </a:cubicBezTo>
                  <a:cubicBezTo>
                    <a:pt x="96" y="255"/>
                    <a:pt x="159" y="333"/>
                    <a:pt x="183" y="359"/>
                  </a:cubicBezTo>
                  <a:cubicBezTo>
                    <a:pt x="207" y="386"/>
                    <a:pt x="260" y="380"/>
                    <a:pt x="263" y="402"/>
                  </a:cubicBezTo>
                  <a:cubicBezTo>
                    <a:pt x="266" y="424"/>
                    <a:pt x="304" y="445"/>
                    <a:pt x="348" y="448"/>
                  </a:cubicBezTo>
                  <a:cubicBezTo>
                    <a:pt x="360" y="449"/>
                    <a:pt x="375" y="456"/>
                    <a:pt x="390" y="465"/>
                  </a:cubicBezTo>
                  <a:cubicBezTo>
                    <a:pt x="359" y="420"/>
                    <a:pt x="308" y="386"/>
                    <a:pt x="309" y="37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0" name="Freeform 70"/>
            <p:cNvSpPr>
              <a:spLocks/>
            </p:cNvSpPr>
            <p:nvPr/>
          </p:nvSpPr>
          <p:spPr bwMode="auto">
            <a:xfrm>
              <a:off x="12615870" y="6512982"/>
              <a:ext cx="93821" cy="184291"/>
            </a:xfrm>
            <a:custGeom>
              <a:avLst/>
              <a:gdLst>
                <a:gd name="T0" fmla="*/ 126 w 188"/>
                <a:gd name="T1" fmla="*/ 312 h 366"/>
                <a:gd name="T2" fmla="*/ 150 w 188"/>
                <a:gd name="T3" fmla="*/ 274 h 366"/>
                <a:gd name="T4" fmla="*/ 186 w 188"/>
                <a:gd name="T5" fmla="*/ 217 h 366"/>
                <a:gd name="T6" fmla="*/ 188 w 188"/>
                <a:gd name="T7" fmla="*/ 214 h 366"/>
                <a:gd name="T8" fmla="*/ 130 w 188"/>
                <a:gd name="T9" fmla="*/ 152 h 366"/>
                <a:gd name="T10" fmla="*/ 141 w 188"/>
                <a:gd name="T11" fmla="*/ 49 h 366"/>
                <a:gd name="T12" fmla="*/ 54 w 188"/>
                <a:gd name="T13" fmla="*/ 0 h 366"/>
                <a:gd name="T14" fmla="*/ 6 w 188"/>
                <a:gd name="T15" fmla="*/ 71 h 366"/>
                <a:gd name="T16" fmla="*/ 33 w 188"/>
                <a:gd name="T17" fmla="*/ 134 h 366"/>
                <a:gd name="T18" fmla="*/ 31 w 188"/>
                <a:gd name="T19" fmla="*/ 281 h 366"/>
                <a:gd name="T20" fmla="*/ 97 w 188"/>
                <a:gd name="T21" fmla="*/ 366 h 366"/>
                <a:gd name="T22" fmla="*/ 126 w 188"/>
                <a:gd name="T23" fmla="*/ 31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8" h="366">
                  <a:moveTo>
                    <a:pt x="126" y="312"/>
                  </a:moveTo>
                  <a:cubicBezTo>
                    <a:pt x="148" y="308"/>
                    <a:pt x="135" y="290"/>
                    <a:pt x="150" y="274"/>
                  </a:cubicBezTo>
                  <a:cubicBezTo>
                    <a:pt x="166" y="259"/>
                    <a:pt x="183" y="228"/>
                    <a:pt x="186" y="217"/>
                  </a:cubicBezTo>
                  <a:cubicBezTo>
                    <a:pt x="186" y="216"/>
                    <a:pt x="187" y="215"/>
                    <a:pt x="188" y="214"/>
                  </a:cubicBezTo>
                  <a:cubicBezTo>
                    <a:pt x="158" y="192"/>
                    <a:pt x="137" y="175"/>
                    <a:pt x="130" y="152"/>
                  </a:cubicBezTo>
                  <a:cubicBezTo>
                    <a:pt x="123" y="129"/>
                    <a:pt x="130" y="82"/>
                    <a:pt x="141" y="49"/>
                  </a:cubicBezTo>
                  <a:cubicBezTo>
                    <a:pt x="124" y="36"/>
                    <a:pt x="71" y="0"/>
                    <a:pt x="54" y="0"/>
                  </a:cubicBezTo>
                  <a:cubicBezTo>
                    <a:pt x="38" y="0"/>
                    <a:pt x="13" y="36"/>
                    <a:pt x="6" y="71"/>
                  </a:cubicBezTo>
                  <a:cubicBezTo>
                    <a:pt x="45" y="92"/>
                    <a:pt x="60" y="107"/>
                    <a:pt x="33" y="134"/>
                  </a:cubicBezTo>
                  <a:cubicBezTo>
                    <a:pt x="6" y="162"/>
                    <a:pt x="0" y="256"/>
                    <a:pt x="31" y="281"/>
                  </a:cubicBezTo>
                  <a:cubicBezTo>
                    <a:pt x="60" y="305"/>
                    <a:pt x="69" y="352"/>
                    <a:pt x="97" y="366"/>
                  </a:cubicBezTo>
                  <a:cubicBezTo>
                    <a:pt x="105" y="342"/>
                    <a:pt x="111" y="315"/>
                    <a:pt x="126" y="31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12150116" y="6104190"/>
              <a:ext cx="373610" cy="169213"/>
            </a:xfrm>
            <a:custGeom>
              <a:avLst/>
              <a:gdLst>
                <a:gd name="T0" fmla="*/ 626 w 741"/>
                <a:gd name="T1" fmla="*/ 30 h 334"/>
                <a:gd name="T2" fmla="*/ 534 w 741"/>
                <a:gd name="T3" fmla="*/ 0 h 334"/>
                <a:gd name="T4" fmla="*/ 517 w 741"/>
                <a:gd name="T5" fmla="*/ 46 h 334"/>
                <a:gd name="T6" fmla="*/ 430 w 741"/>
                <a:gd name="T7" fmla="*/ 52 h 334"/>
                <a:gd name="T8" fmla="*/ 376 w 741"/>
                <a:gd name="T9" fmla="*/ 89 h 334"/>
                <a:gd name="T10" fmla="*/ 336 w 741"/>
                <a:gd name="T11" fmla="*/ 150 h 334"/>
                <a:gd name="T12" fmla="*/ 296 w 741"/>
                <a:gd name="T13" fmla="*/ 179 h 334"/>
                <a:gd name="T14" fmla="*/ 195 w 741"/>
                <a:gd name="T15" fmla="*/ 199 h 334"/>
                <a:gd name="T16" fmla="*/ 137 w 741"/>
                <a:gd name="T17" fmla="*/ 204 h 334"/>
                <a:gd name="T18" fmla="*/ 77 w 741"/>
                <a:gd name="T19" fmla="*/ 212 h 334"/>
                <a:gd name="T20" fmla="*/ 20 w 741"/>
                <a:gd name="T21" fmla="*/ 197 h 334"/>
                <a:gd name="T22" fmla="*/ 9 w 741"/>
                <a:gd name="T23" fmla="*/ 250 h 334"/>
                <a:gd name="T24" fmla="*/ 59 w 741"/>
                <a:gd name="T25" fmla="*/ 277 h 334"/>
                <a:gd name="T26" fmla="*/ 121 w 741"/>
                <a:gd name="T27" fmla="*/ 290 h 334"/>
                <a:gd name="T28" fmla="*/ 183 w 741"/>
                <a:gd name="T29" fmla="*/ 270 h 334"/>
                <a:gd name="T30" fmla="*/ 263 w 741"/>
                <a:gd name="T31" fmla="*/ 259 h 334"/>
                <a:gd name="T32" fmla="*/ 283 w 741"/>
                <a:gd name="T33" fmla="*/ 301 h 334"/>
                <a:gd name="T34" fmla="*/ 374 w 741"/>
                <a:gd name="T35" fmla="*/ 314 h 334"/>
                <a:gd name="T36" fmla="*/ 485 w 741"/>
                <a:gd name="T37" fmla="*/ 334 h 334"/>
                <a:gd name="T38" fmla="*/ 571 w 741"/>
                <a:gd name="T39" fmla="*/ 303 h 334"/>
                <a:gd name="T40" fmla="*/ 639 w 741"/>
                <a:gd name="T41" fmla="*/ 281 h 334"/>
                <a:gd name="T42" fmla="*/ 640 w 741"/>
                <a:gd name="T43" fmla="*/ 281 h 334"/>
                <a:gd name="T44" fmla="*/ 656 w 741"/>
                <a:gd name="T45" fmla="*/ 258 h 334"/>
                <a:gd name="T46" fmla="*/ 672 w 741"/>
                <a:gd name="T47" fmla="*/ 214 h 334"/>
                <a:gd name="T48" fmla="*/ 684 w 741"/>
                <a:gd name="T49" fmla="*/ 175 h 334"/>
                <a:gd name="T50" fmla="*/ 728 w 741"/>
                <a:gd name="T51" fmla="*/ 149 h 334"/>
                <a:gd name="T52" fmla="*/ 741 w 741"/>
                <a:gd name="T53" fmla="*/ 123 h 334"/>
                <a:gd name="T54" fmla="*/ 702 w 741"/>
                <a:gd name="T55" fmla="*/ 40 h 334"/>
                <a:gd name="T56" fmla="*/ 626 w 741"/>
                <a:gd name="T57" fmla="*/ 3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1" h="334">
                  <a:moveTo>
                    <a:pt x="626" y="30"/>
                  </a:moveTo>
                  <a:cubicBezTo>
                    <a:pt x="599" y="0"/>
                    <a:pt x="534" y="0"/>
                    <a:pt x="534" y="0"/>
                  </a:cubicBezTo>
                  <a:cubicBezTo>
                    <a:pt x="534" y="0"/>
                    <a:pt x="527" y="30"/>
                    <a:pt x="517" y="46"/>
                  </a:cubicBezTo>
                  <a:cubicBezTo>
                    <a:pt x="509" y="60"/>
                    <a:pt x="461" y="60"/>
                    <a:pt x="430" y="52"/>
                  </a:cubicBezTo>
                  <a:cubicBezTo>
                    <a:pt x="421" y="63"/>
                    <a:pt x="382" y="72"/>
                    <a:pt x="376" y="89"/>
                  </a:cubicBezTo>
                  <a:cubicBezTo>
                    <a:pt x="369" y="108"/>
                    <a:pt x="321" y="97"/>
                    <a:pt x="336" y="150"/>
                  </a:cubicBezTo>
                  <a:cubicBezTo>
                    <a:pt x="352" y="204"/>
                    <a:pt x="312" y="186"/>
                    <a:pt x="296" y="179"/>
                  </a:cubicBezTo>
                  <a:cubicBezTo>
                    <a:pt x="281" y="173"/>
                    <a:pt x="212" y="181"/>
                    <a:pt x="195" y="199"/>
                  </a:cubicBezTo>
                  <a:cubicBezTo>
                    <a:pt x="177" y="217"/>
                    <a:pt x="152" y="212"/>
                    <a:pt x="137" y="204"/>
                  </a:cubicBezTo>
                  <a:cubicBezTo>
                    <a:pt x="121" y="195"/>
                    <a:pt x="91" y="190"/>
                    <a:pt x="77" y="212"/>
                  </a:cubicBezTo>
                  <a:cubicBezTo>
                    <a:pt x="64" y="235"/>
                    <a:pt x="40" y="195"/>
                    <a:pt x="20" y="197"/>
                  </a:cubicBezTo>
                  <a:cubicBezTo>
                    <a:pt x="0" y="199"/>
                    <a:pt x="9" y="241"/>
                    <a:pt x="9" y="250"/>
                  </a:cubicBezTo>
                  <a:cubicBezTo>
                    <a:pt x="9" y="259"/>
                    <a:pt x="40" y="286"/>
                    <a:pt x="59" y="277"/>
                  </a:cubicBezTo>
                  <a:cubicBezTo>
                    <a:pt x="79" y="268"/>
                    <a:pt x="104" y="279"/>
                    <a:pt x="121" y="290"/>
                  </a:cubicBezTo>
                  <a:cubicBezTo>
                    <a:pt x="139" y="301"/>
                    <a:pt x="172" y="281"/>
                    <a:pt x="183" y="270"/>
                  </a:cubicBezTo>
                  <a:cubicBezTo>
                    <a:pt x="195" y="259"/>
                    <a:pt x="257" y="259"/>
                    <a:pt x="263" y="259"/>
                  </a:cubicBezTo>
                  <a:cubicBezTo>
                    <a:pt x="270" y="259"/>
                    <a:pt x="272" y="294"/>
                    <a:pt x="283" y="301"/>
                  </a:cubicBezTo>
                  <a:cubicBezTo>
                    <a:pt x="294" y="308"/>
                    <a:pt x="336" y="312"/>
                    <a:pt x="374" y="314"/>
                  </a:cubicBezTo>
                  <a:cubicBezTo>
                    <a:pt x="411" y="317"/>
                    <a:pt x="467" y="334"/>
                    <a:pt x="485" y="334"/>
                  </a:cubicBezTo>
                  <a:cubicBezTo>
                    <a:pt x="502" y="334"/>
                    <a:pt x="531" y="303"/>
                    <a:pt x="571" y="303"/>
                  </a:cubicBezTo>
                  <a:cubicBezTo>
                    <a:pt x="611" y="303"/>
                    <a:pt x="633" y="279"/>
                    <a:pt x="639" y="281"/>
                  </a:cubicBezTo>
                  <a:cubicBezTo>
                    <a:pt x="640" y="281"/>
                    <a:pt x="640" y="281"/>
                    <a:pt x="640" y="281"/>
                  </a:cubicBezTo>
                  <a:cubicBezTo>
                    <a:pt x="643" y="269"/>
                    <a:pt x="647" y="259"/>
                    <a:pt x="656" y="258"/>
                  </a:cubicBezTo>
                  <a:cubicBezTo>
                    <a:pt x="672" y="256"/>
                    <a:pt x="661" y="228"/>
                    <a:pt x="672" y="214"/>
                  </a:cubicBezTo>
                  <a:cubicBezTo>
                    <a:pt x="684" y="200"/>
                    <a:pt x="663" y="173"/>
                    <a:pt x="684" y="175"/>
                  </a:cubicBezTo>
                  <a:cubicBezTo>
                    <a:pt x="704" y="177"/>
                    <a:pt x="728" y="179"/>
                    <a:pt x="728" y="149"/>
                  </a:cubicBezTo>
                  <a:cubicBezTo>
                    <a:pt x="728" y="139"/>
                    <a:pt x="733" y="130"/>
                    <a:pt x="741" y="123"/>
                  </a:cubicBezTo>
                  <a:cubicBezTo>
                    <a:pt x="718" y="91"/>
                    <a:pt x="702" y="40"/>
                    <a:pt x="702" y="40"/>
                  </a:cubicBezTo>
                  <a:cubicBezTo>
                    <a:pt x="702" y="40"/>
                    <a:pt x="652" y="60"/>
                    <a:pt x="626" y="3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12473463" y="6125970"/>
              <a:ext cx="328374" cy="185966"/>
            </a:xfrm>
            <a:custGeom>
              <a:avLst/>
              <a:gdLst>
                <a:gd name="T0" fmla="*/ 626 w 650"/>
                <a:gd name="T1" fmla="*/ 70 h 369"/>
                <a:gd name="T2" fmla="*/ 602 w 650"/>
                <a:gd name="T3" fmla="*/ 56 h 369"/>
                <a:gd name="T4" fmla="*/ 540 w 650"/>
                <a:gd name="T5" fmla="*/ 33 h 369"/>
                <a:gd name="T6" fmla="*/ 447 w 650"/>
                <a:gd name="T7" fmla="*/ 3 h 369"/>
                <a:gd name="T8" fmla="*/ 355 w 650"/>
                <a:gd name="T9" fmla="*/ 63 h 369"/>
                <a:gd name="T10" fmla="*/ 250 w 650"/>
                <a:gd name="T11" fmla="*/ 96 h 369"/>
                <a:gd name="T12" fmla="*/ 114 w 650"/>
                <a:gd name="T13" fmla="*/ 96 h 369"/>
                <a:gd name="T14" fmla="*/ 101 w 650"/>
                <a:gd name="T15" fmla="*/ 80 h 369"/>
                <a:gd name="T16" fmla="*/ 88 w 650"/>
                <a:gd name="T17" fmla="*/ 106 h 369"/>
                <a:gd name="T18" fmla="*/ 44 w 650"/>
                <a:gd name="T19" fmla="*/ 132 h 369"/>
                <a:gd name="T20" fmla="*/ 32 w 650"/>
                <a:gd name="T21" fmla="*/ 171 h 369"/>
                <a:gd name="T22" fmla="*/ 16 w 650"/>
                <a:gd name="T23" fmla="*/ 215 h 369"/>
                <a:gd name="T24" fmla="*/ 0 w 650"/>
                <a:gd name="T25" fmla="*/ 238 h 369"/>
                <a:gd name="T26" fmla="*/ 24 w 650"/>
                <a:gd name="T27" fmla="*/ 276 h 369"/>
                <a:gd name="T28" fmla="*/ 21 w 650"/>
                <a:gd name="T29" fmla="*/ 278 h 369"/>
                <a:gd name="T30" fmla="*/ 104 w 650"/>
                <a:gd name="T31" fmla="*/ 340 h 369"/>
                <a:gd name="T32" fmla="*/ 207 w 650"/>
                <a:gd name="T33" fmla="*/ 363 h 369"/>
                <a:gd name="T34" fmla="*/ 345 w 650"/>
                <a:gd name="T35" fmla="*/ 320 h 369"/>
                <a:gd name="T36" fmla="*/ 388 w 650"/>
                <a:gd name="T37" fmla="*/ 333 h 369"/>
                <a:gd name="T38" fmla="*/ 416 w 650"/>
                <a:gd name="T39" fmla="*/ 338 h 369"/>
                <a:gd name="T40" fmla="*/ 475 w 650"/>
                <a:gd name="T41" fmla="*/ 296 h 369"/>
                <a:gd name="T42" fmla="*/ 566 w 650"/>
                <a:gd name="T43" fmla="*/ 145 h 369"/>
                <a:gd name="T44" fmla="*/ 633 w 650"/>
                <a:gd name="T45" fmla="*/ 103 h 369"/>
                <a:gd name="T46" fmla="*/ 626 w 650"/>
                <a:gd name="T47" fmla="*/ 7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0" h="369">
                  <a:moveTo>
                    <a:pt x="626" y="70"/>
                  </a:moveTo>
                  <a:cubicBezTo>
                    <a:pt x="618" y="67"/>
                    <a:pt x="610" y="62"/>
                    <a:pt x="602" y="56"/>
                  </a:cubicBezTo>
                  <a:cubicBezTo>
                    <a:pt x="575" y="49"/>
                    <a:pt x="548" y="41"/>
                    <a:pt x="540" y="33"/>
                  </a:cubicBezTo>
                  <a:cubicBezTo>
                    <a:pt x="523" y="17"/>
                    <a:pt x="457" y="7"/>
                    <a:pt x="447" y="3"/>
                  </a:cubicBezTo>
                  <a:cubicBezTo>
                    <a:pt x="438" y="0"/>
                    <a:pt x="375" y="63"/>
                    <a:pt x="355" y="63"/>
                  </a:cubicBezTo>
                  <a:cubicBezTo>
                    <a:pt x="335" y="63"/>
                    <a:pt x="250" y="73"/>
                    <a:pt x="250" y="96"/>
                  </a:cubicBezTo>
                  <a:cubicBezTo>
                    <a:pt x="250" y="119"/>
                    <a:pt x="144" y="122"/>
                    <a:pt x="114" y="96"/>
                  </a:cubicBezTo>
                  <a:cubicBezTo>
                    <a:pt x="110" y="91"/>
                    <a:pt x="105" y="86"/>
                    <a:pt x="101" y="80"/>
                  </a:cubicBezTo>
                  <a:cubicBezTo>
                    <a:pt x="93" y="87"/>
                    <a:pt x="88" y="96"/>
                    <a:pt x="88" y="106"/>
                  </a:cubicBezTo>
                  <a:cubicBezTo>
                    <a:pt x="88" y="136"/>
                    <a:pt x="64" y="134"/>
                    <a:pt x="44" y="132"/>
                  </a:cubicBezTo>
                  <a:cubicBezTo>
                    <a:pt x="23" y="130"/>
                    <a:pt x="44" y="157"/>
                    <a:pt x="32" y="171"/>
                  </a:cubicBezTo>
                  <a:cubicBezTo>
                    <a:pt x="21" y="185"/>
                    <a:pt x="32" y="213"/>
                    <a:pt x="16" y="215"/>
                  </a:cubicBezTo>
                  <a:cubicBezTo>
                    <a:pt x="7" y="216"/>
                    <a:pt x="3" y="226"/>
                    <a:pt x="0" y="238"/>
                  </a:cubicBezTo>
                  <a:cubicBezTo>
                    <a:pt x="7" y="242"/>
                    <a:pt x="24" y="276"/>
                    <a:pt x="24" y="276"/>
                  </a:cubicBezTo>
                  <a:cubicBezTo>
                    <a:pt x="24" y="276"/>
                    <a:pt x="23" y="277"/>
                    <a:pt x="21" y="278"/>
                  </a:cubicBezTo>
                  <a:cubicBezTo>
                    <a:pt x="44" y="291"/>
                    <a:pt x="90" y="320"/>
                    <a:pt x="104" y="340"/>
                  </a:cubicBezTo>
                  <a:cubicBezTo>
                    <a:pt x="124" y="366"/>
                    <a:pt x="180" y="369"/>
                    <a:pt x="207" y="363"/>
                  </a:cubicBezTo>
                  <a:cubicBezTo>
                    <a:pt x="233" y="356"/>
                    <a:pt x="345" y="320"/>
                    <a:pt x="345" y="320"/>
                  </a:cubicBezTo>
                  <a:cubicBezTo>
                    <a:pt x="345" y="320"/>
                    <a:pt x="372" y="330"/>
                    <a:pt x="388" y="333"/>
                  </a:cubicBezTo>
                  <a:cubicBezTo>
                    <a:pt x="392" y="334"/>
                    <a:pt x="402" y="336"/>
                    <a:pt x="416" y="338"/>
                  </a:cubicBezTo>
                  <a:cubicBezTo>
                    <a:pt x="424" y="329"/>
                    <a:pt x="449" y="322"/>
                    <a:pt x="475" y="296"/>
                  </a:cubicBezTo>
                  <a:cubicBezTo>
                    <a:pt x="506" y="265"/>
                    <a:pt x="553" y="154"/>
                    <a:pt x="566" y="145"/>
                  </a:cubicBezTo>
                  <a:cubicBezTo>
                    <a:pt x="579" y="136"/>
                    <a:pt x="615" y="116"/>
                    <a:pt x="633" y="103"/>
                  </a:cubicBezTo>
                  <a:cubicBezTo>
                    <a:pt x="650" y="90"/>
                    <a:pt x="646" y="77"/>
                    <a:pt x="626" y="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12280795" y="5971835"/>
              <a:ext cx="318322" cy="162511"/>
            </a:xfrm>
            <a:custGeom>
              <a:avLst/>
              <a:gdLst>
                <a:gd name="T0" fmla="*/ 598 w 631"/>
                <a:gd name="T1" fmla="*/ 146 h 321"/>
                <a:gd name="T2" fmla="*/ 532 w 631"/>
                <a:gd name="T3" fmla="*/ 129 h 321"/>
                <a:gd name="T4" fmla="*/ 505 w 631"/>
                <a:gd name="T5" fmla="*/ 93 h 321"/>
                <a:gd name="T6" fmla="*/ 449 w 631"/>
                <a:gd name="T7" fmla="*/ 103 h 321"/>
                <a:gd name="T8" fmla="*/ 396 w 631"/>
                <a:gd name="T9" fmla="*/ 80 h 321"/>
                <a:gd name="T10" fmla="*/ 331 w 631"/>
                <a:gd name="T11" fmla="*/ 34 h 321"/>
                <a:gd name="T12" fmla="*/ 273 w 631"/>
                <a:gd name="T13" fmla="*/ 0 h 321"/>
                <a:gd name="T14" fmla="*/ 268 w 631"/>
                <a:gd name="T15" fmla="*/ 11 h 321"/>
                <a:gd name="T16" fmla="*/ 214 w 631"/>
                <a:gd name="T17" fmla="*/ 13 h 321"/>
                <a:gd name="T18" fmla="*/ 133 w 631"/>
                <a:gd name="T19" fmla="*/ 51 h 321"/>
                <a:gd name="T20" fmla="*/ 28 w 631"/>
                <a:gd name="T21" fmla="*/ 91 h 321"/>
                <a:gd name="T22" fmla="*/ 35 w 631"/>
                <a:gd name="T23" fmla="*/ 144 h 321"/>
                <a:gd name="T24" fmla="*/ 68 w 631"/>
                <a:gd name="T25" fmla="*/ 228 h 321"/>
                <a:gd name="T26" fmla="*/ 172 w 631"/>
                <a:gd name="T27" fmla="*/ 305 h 321"/>
                <a:gd name="T28" fmla="*/ 171 w 631"/>
                <a:gd name="T29" fmla="*/ 313 h 321"/>
                <a:gd name="T30" fmla="*/ 258 w 631"/>
                <a:gd name="T31" fmla="*/ 307 h 321"/>
                <a:gd name="T32" fmla="*/ 275 w 631"/>
                <a:gd name="T33" fmla="*/ 261 h 321"/>
                <a:gd name="T34" fmla="*/ 367 w 631"/>
                <a:gd name="T35" fmla="*/ 291 h 321"/>
                <a:gd name="T36" fmla="*/ 443 w 631"/>
                <a:gd name="T37" fmla="*/ 301 h 321"/>
                <a:gd name="T38" fmla="*/ 450 w 631"/>
                <a:gd name="T39" fmla="*/ 321 h 321"/>
                <a:gd name="T40" fmla="*/ 478 w 631"/>
                <a:gd name="T41" fmla="*/ 289 h 321"/>
                <a:gd name="T42" fmla="*/ 573 w 631"/>
                <a:gd name="T43" fmla="*/ 241 h 321"/>
                <a:gd name="T44" fmla="*/ 631 w 631"/>
                <a:gd name="T45" fmla="*/ 193 h 321"/>
                <a:gd name="T46" fmla="*/ 598 w 631"/>
                <a:gd name="T47" fmla="*/ 14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31" h="321">
                  <a:moveTo>
                    <a:pt x="598" y="146"/>
                  </a:moveTo>
                  <a:cubicBezTo>
                    <a:pt x="581" y="136"/>
                    <a:pt x="535" y="143"/>
                    <a:pt x="532" y="129"/>
                  </a:cubicBezTo>
                  <a:cubicBezTo>
                    <a:pt x="528" y="116"/>
                    <a:pt x="525" y="93"/>
                    <a:pt x="505" y="93"/>
                  </a:cubicBezTo>
                  <a:cubicBezTo>
                    <a:pt x="485" y="93"/>
                    <a:pt x="459" y="80"/>
                    <a:pt x="449" y="103"/>
                  </a:cubicBezTo>
                  <a:cubicBezTo>
                    <a:pt x="439" y="126"/>
                    <a:pt x="400" y="96"/>
                    <a:pt x="396" y="80"/>
                  </a:cubicBezTo>
                  <a:cubicBezTo>
                    <a:pt x="393" y="63"/>
                    <a:pt x="377" y="50"/>
                    <a:pt x="331" y="34"/>
                  </a:cubicBezTo>
                  <a:cubicBezTo>
                    <a:pt x="312" y="27"/>
                    <a:pt x="291" y="14"/>
                    <a:pt x="273" y="0"/>
                  </a:cubicBezTo>
                  <a:cubicBezTo>
                    <a:pt x="271" y="4"/>
                    <a:pt x="269" y="8"/>
                    <a:pt x="268" y="11"/>
                  </a:cubicBezTo>
                  <a:cubicBezTo>
                    <a:pt x="259" y="24"/>
                    <a:pt x="228" y="0"/>
                    <a:pt x="214" y="13"/>
                  </a:cubicBezTo>
                  <a:cubicBezTo>
                    <a:pt x="201" y="26"/>
                    <a:pt x="157" y="29"/>
                    <a:pt x="133" y="51"/>
                  </a:cubicBezTo>
                  <a:cubicBezTo>
                    <a:pt x="108" y="73"/>
                    <a:pt x="57" y="84"/>
                    <a:pt x="28" y="91"/>
                  </a:cubicBezTo>
                  <a:cubicBezTo>
                    <a:pt x="0" y="97"/>
                    <a:pt x="24" y="124"/>
                    <a:pt x="35" y="144"/>
                  </a:cubicBezTo>
                  <a:cubicBezTo>
                    <a:pt x="46" y="164"/>
                    <a:pt x="46" y="212"/>
                    <a:pt x="68" y="228"/>
                  </a:cubicBezTo>
                  <a:cubicBezTo>
                    <a:pt x="90" y="243"/>
                    <a:pt x="164" y="290"/>
                    <a:pt x="172" y="305"/>
                  </a:cubicBezTo>
                  <a:cubicBezTo>
                    <a:pt x="174" y="308"/>
                    <a:pt x="173" y="310"/>
                    <a:pt x="171" y="313"/>
                  </a:cubicBezTo>
                  <a:cubicBezTo>
                    <a:pt x="202" y="321"/>
                    <a:pt x="250" y="321"/>
                    <a:pt x="258" y="307"/>
                  </a:cubicBezTo>
                  <a:cubicBezTo>
                    <a:pt x="268" y="291"/>
                    <a:pt x="275" y="261"/>
                    <a:pt x="275" y="261"/>
                  </a:cubicBezTo>
                  <a:cubicBezTo>
                    <a:pt x="275" y="261"/>
                    <a:pt x="340" y="261"/>
                    <a:pt x="367" y="291"/>
                  </a:cubicBezTo>
                  <a:cubicBezTo>
                    <a:pt x="393" y="321"/>
                    <a:pt x="443" y="301"/>
                    <a:pt x="443" y="301"/>
                  </a:cubicBezTo>
                  <a:cubicBezTo>
                    <a:pt x="443" y="301"/>
                    <a:pt x="445" y="309"/>
                    <a:pt x="450" y="321"/>
                  </a:cubicBezTo>
                  <a:cubicBezTo>
                    <a:pt x="457" y="305"/>
                    <a:pt x="466" y="290"/>
                    <a:pt x="478" y="289"/>
                  </a:cubicBezTo>
                  <a:cubicBezTo>
                    <a:pt x="505" y="285"/>
                    <a:pt x="545" y="281"/>
                    <a:pt x="573" y="241"/>
                  </a:cubicBezTo>
                  <a:cubicBezTo>
                    <a:pt x="587" y="221"/>
                    <a:pt x="611" y="204"/>
                    <a:pt x="631" y="193"/>
                  </a:cubicBezTo>
                  <a:cubicBezTo>
                    <a:pt x="617" y="177"/>
                    <a:pt x="610" y="154"/>
                    <a:pt x="598" y="14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12508646" y="6067332"/>
              <a:ext cx="281463" cy="120627"/>
            </a:xfrm>
            <a:custGeom>
              <a:avLst/>
              <a:gdLst>
                <a:gd name="T0" fmla="*/ 415 w 559"/>
                <a:gd name="T1" fmla="*/ 26 h 237"/>
                <a:gd name="T2" fmla="*/ 339 w 559"/>
                <a:gd name="T3" fmla="*/ 19 h 237"/>
                <a:gd name="T4" fmla="*/ 253 w 559"/>
                <a:gd name="T5" fmla="*/ 10 h 237"/>
                <a:gd name="T6" fmla="*/ 194 w 559"/>
                <a:gd name="T7" fmla="*/ 16 h 237"/>
                <a:gd name="T8" fmla="*/ 181 w 559"/>
                <a:gd name="T9" fmla="*/ 4 h 237"/>
                <a:gd name="T10" fmla="*/ 123 w 559"/>
                <a:gd name="T11" fmla="*/ 52 h 237"/>
                <a:gd name="T12" fmla="*/ 28 w 559"/>
                <a:gd name="T13" fmla="*/ 100 h 237"/>
                <a:gd name="T14" fmla="*/ 0 w 559"/>
                <a:gd name="T15" fmla="*/ 132 h 237"/>
                <a:gd name="T16" fmla="*/ 45 w 559"/>
                <a:gd name="T17" fmla="*/ 211 h 237"/>
                <a:gd name="T18" fmla="*/ 181 w 559"/>
                <a:gd name="T19" fmla="*/ 211 h 237"/>
                <a:gd name="T20" fmla="*/ 286 w 559"/>
                <a:gd name="T21" fmla="*/ 178 h 237"/>
                <a:gd name="T22" fmla="*/ 378 w 559"/>
                <a:gd name="T23" fmla="*/ 118 h 237"/>
                <a:gd name="T24" fmla="*/ 471 w 559"/>
                <a:gd name="T25" fmla="*/ 148 h 237"/>
                <a:gd name="T26" fmla="*/ 533 w 559"/>
                <a:gd name="T27" fmla="*/ 171 h 237"/>
                <a:gd name="T28" fmla="*/ 513 w 559"/>
                <a:gd name="T29" fmla="*/ 136 h 237"/>
                <a:gd name="T30" fmla="*/ 557 w 559"/>
                <a:gd name="T31" fmla="*/ 63 h 237"/>
                <a:gd name="T32" fmla="*/ 559 w 559"/>
                <a:gd name="T33" fmla="*/ 60 h 237"/>
                <a:gd name="T34" fmla="*/ 500 w 559"/>
                <a:gd name="T35" fmla="*/ 46 h 237"/>
                <a:gd name="T36" fmla="*/ 415 w 559"/>
                <a:gd name="T37" fmla="*/ 26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59" h="237">
                  <a:moveTo>
                    <a:pt x="415" y="26"/>
                  </a:moveTo>
                  <a:cubicBezTo>
                    <a:pt x="382" y="29"/>
                    <a:pt x="365" y="10"/>
                    <a:pt x="339" y="19"/>
                  </a:cubicBezTo>
                  <a:cubicBezTo>
                    <a:pt x="313" y="29"/>
                    <a:pt x="270" y="19"/>
                    <a:pt x="253" y="10"/>
                  </a:cubicBezTo>
                  <a:cubicBezTo>
                    <a:pt x="237" y="0"/>
                    <a:pt x="217" y="29"/>
                    <a:pt x="194" y="16"/>
                  </a:cubicBezTo>
                  <a:cubicBezTo>
                    <a:pt x="189" y="13"/>
                    <a:pt x="184" y="9"/>
                    <a:pt x="181" y="4"/>
                  </a:cubicBezTo>
                  <a:cubicBezTo>
                    <a:pt x="161" y="15"/>
                    <a:pt x="137" y="32"/>
                    <a:pt x="123" y="52"/>
                  </a:cubicBezTo>
                  <a:cubicBezTo>
                    <a:pt x="95" y="92"/>
                    <a:pt x="55" y="96"/>
                    <a:pt x="28" y="100"/>
                  </a:cubicBezTo>
                  <a:cubicBezTo>
                    <a:pt x="16" y="101"/>
                    <a:pt x="7" y="116"/>
                    <a:pt x="0" y="132"/>
                  </a:cubicBezTo>
                  <a:cubicBezTo>
                    <a:pt x="9" y="155"/>
                    <a:pt x="26" y="193"/>
                    <a:pt x="45" y="211"/>
                  </a:cubicBezTo>
                  <a:cubicBezTo>
                    <a:pt x="75" y="237"/>
                    <a:pt x="181" y="234"/>
                    <a:pt x="181" y="211"/>
                  </a:cubicBezTo>
                  <a:cubicBezTo>
                    <a:pt x="181" y="188"/>
                    <a:pt x="266" y="178"/>
                    <a:pt x="286" y="178"/>
                  </a:cubicBezTo>
                  <a:cubicBezTo>
                    <a:pt x="306" y="178"/>
                    <a:pt x="369" y="115"/>
                    <a:pt x="378" y="118"/>
                  </a:cubicBezTo>
                  <a:cubicBezTo>
                    <a:pt x="388" y="122"/>
                    <a:pt x="454" y="132"/>
                    <a:pt x="471" y="148"/>
                  </a:cubicBezTo>
                  <a:cubicBezTo>
                    <a:pt x="479" y="156"/>
                    <a:pt x="506" y="164"/>
                    <a:pt x="533" y="171"/>
                  </a:cubicBezTo>
                  <a:cubicBezTo>
                    <a:pt x="522" y="160"/>
                    <a:pt x="513" y="147"/>
                    <a:pt x="513" y="136"/>
                  </a:cubicBezTo>
                  <a:cubicBezTo>
                    <a:pt x="513" y="118"/>
                    <a:pt x="546" y="72"/>
                    <a:pt x="557" y="63"/>
                  </a:cubicBezTo>
                  <a:cubicBezTo>
                    <a:pt x="558" y="62"/>
                    <a:pt x="558" y="61"/>
                    <a:pt x="559" y="60"/>
                  </a:cubicBezTo>
                  <a:cubicBezTo>
                    <a:pt x="533" y="56"/>
                    <a:pt x="506" y="51"/>
                    <a:pt x="500" y="46"/>
                  </a:cubicBezTo>
                  <a:cubicBezTo>
                    <a:pt x="490" y="36"/>
                    <a:pt x="448" y="23"/>
                    <a:pt x="415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5" name="Freeform 75"/>
            <p:cNvSpPr>
              <a:spLocks/>
            </p:cNvSpPr>
            <p:nvPr/>
          </p:nvSpPr>
          <p:spPr bwMode="auto">
            <a:xfrm>
              <a:off x="11168345" y="6539788"/>
              <a:ext cx="189318" cy="314971"/>
            </a:xfrm>
            <a:custGeom>
              <a:avLst/>
              <a:gdLst>
                <a:gd name="T0" fmla="*/ 271 w 375"/>
                <a:gd name="T1" fmla="*/ 506 h 623"/>
                <a:gd name="T2" fmla="*/ 250 w 375"/>
                <a:gd name="T3" fmla="*/ 456 h 623"/>
                <a:gd name="T4" fmla="*/ 275 w 375"/>
                <a:gd name="T5" fmla="*/ 402 h 623"/>
                <a:gd name="T6" fmla="*/ 246 w 375"/>
                <a:gd name="T7" fmla="*/ 348 h 623"/>
                <a:gd name="T8" fmla="*/ 271 w 375"/>
                <a:gd name="T9" fmla="*/ 309 h 623"/>
                <a:gd name="T10" fmla="*/ 289 w 375"/>
                <a:gd name="T11" fmla="*/ 241 h 623"/>
                <a:gd name="T12" fmla="*/ 282 w 375"/>
                <a:gd name="T13" fmla="*/ 147 h 623"/>
                <a:gd name="T14" fmla="*/ 347 w 375"/>
                <a:gd name="T15" fmla="*/ 90 h 623"/>
                <a:gd name="T16" fmla="*/ 321 w 375"/>
                <a:gd name="T17" fmla="*/ 50 h 623"/>
                <a:gd name="T18" fmla="*/ 260 w 375"/>
                <a:gd name="T19" fmla="*/ 40 h 623"/>
                <a:gd name="T20" fmla="*/ 221 w 375"/>
                <a:gd name="T21" fmla="*/ 40 h 623"/>
                <a:gd name="T22" fmla="*/ 160 w 375"/>
                <a:gd name="T23" fmla="*/ 25 h 623"/>
                <a:gd name="T24" fmla="*/ 124 w 375"/>
                <a:gd name="T25" fmla="*/ 22 h 623"/>
                <a:gd name="T26" fmla="*/ 97 w 375"/>
                <a:gd name="T27" fmla="*/ 33 h 623"/>
                <a:gd name="T28" fmla="*/ 100 w 375"/>
                <a:gd name="T29" fmla="*/ 101 h 623"/>
                <a:gd name="T30" fmla="*/ 38 w 375"/>
                <a:gd name="T31" fmla="*/ 340 h 623"/>
                <a:gd name="T32" fmla="*/ 76 w 375"/>
                <a:gd name="T33" fmla="*/ 427 h 623"/>
                <a:gd name="T34" fmla="*/ 90 w 375"/>
                <a:gd name="T35" fmla="*/ 597 h 623"/>
                <a:gd name="T36" fmla="*/ 166 w 375"/>
                <a:gd name="T37" fmla="*/ 616 h 623"/>
                <a:gd name="T38" fmla="*/ 246 w 375"/>
                <a:gd name="T39" fmla="*/ 600 h 623"/>
                <a:gd name="T40" fmla="*/ 232 w 375"/>
                <a:gd name="T41" fmla="*/ 568 h 623"/>
                <a:gd name="T42" fmla="*/ 271 w 375"/>
                <a:gd name="T43" fmla="*/ 50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5" h="623">
                  <a:moveTo>
                    <a:pt x="271" y="506"/>
                  </a:moveTo>
                  <a:cubicBezTo>
                    <a:pt x="311" y="499"/>
                    <a:pt x="260" y="467"/>
                    <a:pt x="250" y="456"/>
                  </a:cubicBezTo>
                  <a:cubicBezTo>
                    <a:pt x="239" y="445"/>
                    <a:pt x="253" y="402"/>
                    <a:pt x="275" y="402"/>
                  </a:cubicBezTo>
                  <a:cubicBezTo>
                    <a:pt x="296" y="402"/>
                    <a:pt x="275" y="377"/>
                    <a:pt x="246" y="348"/>
                  </a:cubicBezTo>
                  <a:cubicBezTo>
                    <a:pt x="217" y="320"/>
                    <a:pt x="246" y="309"/>
                    <a:pt x="271" y="309"/>
                  </a:cubicBezTo>
                  <a:cubicBezTo>
                    <a:pt x="296" y="309"/>
                    <a:pt x="264" y="266"/>
                    <a:pt x="289" y="241"/>
                  </a:cubicBezTo>
                  <a:cubicBezTo>
                    <a:pt x="314" y="216"/>
                    <a:pt x="282" y="169"/>
                    <a:pt x="282" y="147"/>
                  </a:cubicBezTo>
                  <a:cubicBezTo>
                    <a:pt x="282" y="126"/>
                    <a:pt x="318" y="119"/>
                    <a:pt x="347" y="90"/>
                  </a:cubicBezTo>
                  <a:cubicBezTo>
                    <a:pt x="375" y="61"/>
                    <a:pt x="321" y="72"/>
                    <a:pt x="321" y="50"/>
                  </a:cubicBezTo>
                  <a:cubicBezTo>
                    <a:pt x="321" y="29"/>
                    <a:pt x="285" y="22"/>
                    <a:pt x="260" y="40"/>
                  </a:cubicBezTo>
                  <a:cubicBezTo>
                    <a:pt x="235" y="58"/>
                    <a:pt x="242" y="40"/>
                    <a:pt x="221" y="40"/>
                  </a:cubicBezTo>
                  <a:cubicBezTo>
                    <a:pt x="199" y="40"/>
                    <a:pt x="160" y="47"/>
                    <a:pt x="160" y="25"/>
                  </a:cubicBezTo>
                  <a:cubicBezTo>
                    <a:pt x="160" y="4"/>
                    <a:pt x="142" y="0"/>
                    <a:pt x="124" y="22"/>
                  </a:cubicBezTo>
                  <a:cubicBezTo>
                    <a:pt x="119" y="28"/>
                    <a:pt x="110" y="31"/>
                    <a:pt x="97" y="33"/>
                  </a:cubicBezTo>
                  <a:cubicBezTo>
                    <a:pt x="95" y="61"/>
                    <a:pt x="92" y="87"/>
                    <a:pt x="100" y="101"/>
                  </a:cubicBezTo>
                  <a:cubicBezTo>
                    <a:pt x="119" y="132"/>
                    <a:pt x="76" y="295"/>
                    <a:pt x="38" y="340"/>
                  </a:cubicBezTo>
                  <a:cubicBezTo>
                    <a:pt x="0" y="384"/>
                    <a:pt x="37" y="396"/>
                    <a:pt x="76" y="427"/>
                  </a:cubicBezTo>
                  <a:cubicBezTo>
                    <a:pt x="116" y="458"/>
                    <a:pt x="90" y="570"/>
                    <a:pt x="90" y="597"/>
                  </a:cubicBezTo>
                  <a:cubicBezTo>
                    <a:pt x="90" y="623"/>
                    <a:pt x="125" y="616"/>
                    <a:pt x="166" y="616"/>
                  </a:cubicBezTo>
                  <a:cubicBezTo>
                    <a:pt x="191" y="616"/>
                    <a:pt x="219" y="605"/>
                    <a:pt x="246" y="600"/>
                  </a:cubicBezTo>
                  <a:cubicBezTo>
                    <a:pt x="238" y="588"/>
                    <a:pt x="232" y="576"/>
                    <a:pt x="232" y="568"/>
                  </a:cubicBezTo>
                  <a:cubicBezTo>
                    <a:pt x="232" y="546"/>
                    <a:pt x="232" y="514"/>
                    <a:pt x="271" y="50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11825092" y="5807648"/>
              <a:ext cx="209423" cy="179265"/>
            </a:xfrm>
            <a:custGeom>
              <a:avLst/>
              <a:gdLst>
                <a:gd name="T0" fmla="*/ 131 w 413"/>
                <a:gd name="T1" fmla="*/ 276 h 354"/>
                <a:gd name="T2" fmla="*/ 198 w 413"/>
                <a:gd name="T3" fmla="*/ 285 h 354"/>
                <a:gd name="T4" fmla="*/ 271 w 413"/>
                <a:gd name="T5" fmla="*/ 335 h 354"/>
                <a:gd name="T6" fmla="*/ 292 w 413"/>
                <a:gd name="T7" fmla="*/ 354 h 354"/>
                <a:gd name="T8" fmla="*/ 304 w 413"/>
                <a:gd name="T9" fmla="*/ 277 h 354"/>
                <a:gd name="T10" fmla="*/ 310 w 413"/>
                <a:gd name="T11" fmla="*/ 230 h 354"/>
                <a:gd name="T12" fmla="*/ 366 w 413"/>
                <a:gd name="T13" fmla="*/ 203 h 354"/>
                <a:gd name="T14" fmla="*/ 386 w 413"/>
                <a:gd name="T15" fmla="*/ 171 h 354"/>
                <a:gd name="T16" fmla="*/ 354 w 413"/>
                <a:gd name="T17" fmla="*/ 118 h 354"/>
                <a:gd name="T18" fmla="*/ 404 w 413"/>
                <a:gd name="T19" fmla="*/ 71 h 354"/>
                <a:gd name="T20" fmla="*/ 401 w 413"/>
                <a:gd name="T21" fmla="*/ 3 h 354"/>
                <a:gd name="T22" fmla="*/ 376 w 413"/>
                <a:gd name="T23" fmla="*/ 13 h 354"/>
                <a:gd name="T24" fmla="*/ 276 w 413"/>
                <a:gd name="T25" fmla="*/ 16 h 354"/>
                <a:gd name="T26" fmla="*/ 234 w 413"/>
                <a:gd name="T27" fmla="*/ 85 h 354"/>
                <a:gd name="T28" fmla="*/ 187 w 413"/>
                <a:gd name="T29" fmla="*/ 88 h 354"/>
                <a:gd name="T30" fmla="*/ 141 w 413"/>
                <a:gd name="T31" fmla="*/ 112 h 354"/>
                <a:gd name="T32" fmla="*/ 96 w 413"/>
                <a:gd name="T33" fmla="*/ 193 h 354"/>
                <a:gd name="T34" fmla="*/ 16 w 413"/>
                <a:gd name="T35" fmla="*/ 286 h 354"/>
                <a:gd name="T36" fmla="*/ 0 w 413"/>
                <a:gd name="T37" fmla="*/ 295 h 354"/>
                <a:gd name="T38" fmla="*/ 36 w 413"/>
                <a:gd name="T39" fmla="*/ 308 h 354"/>
                <a:gd name="T40" fmla="*/ 131 w 413"/>
                <a:gd name="T41" fmla="*/ 27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13" h="354">
                  <a:moveTo>
                    <a:pt x="131" y="276"/>
                  </a:moveTo>
                  <a:cubicBezTo>
                    <a:pt x="149" y="258"/>
                    <a:pt x="180" y="267"/>
                    <a:pt x="198" y="285"/>
                  </a:cubicBezTo>
                  <a:cubicBezTo>
                    <a:pt x="216" y="303"/>
                    <a:pt x="243" y="308"/>
                    <a:pt x="271" y="335"/>
                  </a:cubicBezTo>
                  <a:cubicBezTo>
                    <a:pt x="278" y="342"/>
                    <a:pt x="285" y="348"/>
                    <a:pt x="292" y="354"/>
                  </a:cubicBezTo>
                  <a:cubicBezTo>
                    <a:pt x="295" y="335"/>
                    <a:pt x="295" y="297"/>
                    <a:pt x="304" y="277"/>
                  </a:cubicBezTo>
                  <a:cubicBezTo>
                    <a:pt x="313" y="256"/>
                    <a:pt x="295" y="230"/>
                    <a:pt x="310" y="230"/>
                  </a:cubicBezTo>
                  <a:cubicBezTo>
                    <a:pt x="324" y="230"/>
                    <a:pt x="366" y="230"/>
                    <a:pt x="366" y="203"/>
                  </a:cubicBezTo>
                  <a:cubicBezTo>
                    <a:pt x="366" y="177"/>
                    <a:pt x="378" y="186"/>
                    <a:pt x="386" y="171"/>
                  </a:cubicBezTo>
                  <a:cubicBezTo>
                    <a:pt x="395" y="156"/>
                    <a:pt x="360" y="127"/>
                    <a:pt x="354" y="118"/>
                  </a:cubicBezTo>
                  <a:cubicBezTo>
                    <a:pt x="348" y="109"/>
                    <a:pt x="381" y="106"/>
                    <a:pt x="404" y="71"/>
                  </a:cubicBezTo>
                  <a:cubicBezTo>
                    <a:pt x="413" y="58"/>
                    <a:pt x="409" y="31"/>
                    <a:pt x="401" y="3"/>
                  </a:cubicBezTo>
                  <a:cubicBezTo>
                    <a:pt x="397" y="13"/>
                    <a:pt x="389" y="21"/>
                    <a:pt x="376" y="13"/>
                  </a:cubicBezTo>
                  <a:cubicBezTo>
                    <a:pt x="354" y="0"/>
                    <a:pt x="320" y="7"/>
                    <a:pt x="276" y="16"/>
                  </a:cubicBezTo>
                  <a:cubicBezTo>
                    <a:pt x="232" y="25"/>
                    <a:pt x="218" y="68"/>
                    <a:pt x="234" y="85"/>
                  </a:cubicBezTo>
                  <a:cubicBezTo>
                    <a:pt x="251" y="103"/>
                    <a:pt x="192" y="112"/>
                    <a:pt x="187" y="88"/>
                  </a:cubicBezTo>
                  <a:cubicBezTo>
                    <a:pt x="183" y="65"/>
                    <a:pt x="139" y="81"/>
                    <a:pt x="141" y="112"/>
                  </a:cubicBezTo>
                  <a:cubicBezTo>
                    <a:pt x="144" y="143"/>
                    <a:pt x="93" y="155"/>
                    <a:pt x="96" y="193"/>
                  </a:cubicBezTo>
                  <a:cubicBezTo>
                    <a:pt x="99" y="231"/>
                    <a:pt x="48" y="267"/>
                    <a:pt x="16" y="286"/>
                  </a:cubicBezTo>
                  <a:cubicBezTo>
                    <a:pt x="11" y="289"/>
                    <a:pt x="6" y="292"/>
                    <a:pt x="0" y="295"/>
                  </a:cubicBezTo>
                  <a:cubicBezTo>
                    <a:pt x="17" y="303"/>
                    <a:pt x="30" y="308"/>
                    <a:pt x="36" y="308"/>
                  </a:cubicBezTo>
                  <a:cubicBezTo>
                    <a:pt x="63" y="308"/>
                    <a:pt x="113" y="294"/>
                    <a:pt x="131" y="2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11957447" y="6033825"/>
              <a:ext cx="33508" cy="46911"/>
            </a:xfrm>
            <a:custGeom>
              <a:avLst/>
              <a:gdLst>
                <a:gd name="T0" fmla="*/ 38 w 68"/>
                <a:gd name="T1" fmla="*/ 0 h 92"/>
                <a:gd name="T2" fmla="*/ 3 w 68"/>
                <a:gd name="T3" fmla="*/ 84 h 92"/>
                <a:gd name="T4" fmla="*/ 68 w 68"/>
                <a:gd name="T5" fmla="*/ 92 h 92"/>
                <a:gd name="T6" fmla="*/ 37 w 68"/>
                <a:gd name="T7" fmla="*/ 9 h 92"/>
                <a:gd name="T8" fmla="*/ 38 w 68"/>
                <a:gd name="T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92">
                  <a:moveTo>
                    <a:pt x="38" y="0"/>
                  </a:moveTo>
                  <a:cubicBezTo>
                    <a:pt x="18" y="11"/>
                    <a:pt x="0" y="34"/>
                    <a:pt x="3" y="84"/>
                  </a:cubicBezTo>
                  <a:cubicBezTo>
                    <a:pt x="22" y="84"/>
                    <a:pt x="49" y="86"/>
                    <a:pt x="68" y="92"/>
                  </a:cubicBezTo>
                  <a:cubicBezTo>
                    <a:pt x="64" y="37"/>
                    <a:pt x="42" y="20"/>
                    <a:pt x="37" y="9"/>
                  </a:cubicBezTo>
                  <a:cubicBezTo>
                    <a:pt x="35" y="6"/>
                    <a:pt x="36" y="3"/>
                    <a:pt x="38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11791585" y="5938328"/>
              <a:ext cx="196020" cy="140732"/>
            </a:xfrm>
            <a:custGeom>
              <a:avLst/>
              <a:gdLst>
                <a:gd name="T0" fmla="*/ 13 w 388"/>
                <a:gd name="T1" fmla="*/ 79 h 280"/>
                <a:gd name="T2" fmla="*/ 48 w 388"/>
                <a:gd name="T3" fmla="*/ 116 h 280"/>
                <a:gd name="T4" fmla="*/ 99 w 388"/>
                <a:gd name="T5" fmla="*/ 147 h 280"/>
                <a:gd name="T6" fmla="*/ 161 w 388"/>
                <a:gd name="T7" fmla="*/ 185 h 280"/>
                <a:gd name="T8" fmla="*/ 190 w 388"/>
                <a:gd name="T9" fmla="*/ 218 h 280"/>
                <a:gd name="T10" fmla="*/ 234 w 388"/>
                <a:gd name="T11" fmla="*/ 196 h 280"/>
                <a:gd name="T12" fmla="*/ 263 w 388"/>
                <a:gd name="T13" fmla="*/ 243 h 280"/>
                <a:gd name="T14" fmla="*/ 314 w 388"/>
                <a:gd name="T15" fmla="*/ 276 h 280"/>
                <a:gd name="T16" fmla="*/ 330 w 388"/>
                <a:gd name="T17" fmla="*/ 274 h 280"/>
                <a:gd name="T18" fmla="*/ 365 w 388"/>
                <a:gd name="T19" fmla="*/ 190 h 280"/>
                <a:gd name="T20" fmla="*/ 385 w 388"/>
                <a:gd name="T21" fmla="*/ 161 h 280"/>
                <a:gd name="T22" fmla="*/ 358 w 388"/>
                <a:gd name="T23" fmla="*/ 99 h 280"/>
                <a:gd name="T24" fmla="*/ 358 w 388"/>
                <a:gd name="T25" fmla="*/ 96 h 280"/>
                <a:gd name="T26" fmla="*/ 337 w 388"/>
                <a:gd name="T27" fmla="*/ 77 h 280"/>
                <a:gd name="T28" fmla="*/ 264 w 388"/>
                <a:gd name="T29" fmla="*/ 27 h 280"/>
                <a:gd name="T30" fmla="*/ 197 w 388"/>
                <a:gd name="T31" fmla="*/ 18 h 280"/>
                <a:gd name="T32" fmla="*/ 102 w 388"/>
                <a:gd name="T33" fmla="*/ 50 h 280"/>
                <a:gd name="T34" fmla="*/ 66 w 388"/>
                <a:gd name="T35" fmla="*/ 37 h 280"/>
                <a:gd name="T36" fmla="*/ 0 w 388"/>
                <a:gd name="T37" fmla="*/ 66 h 280"/>
                <a:gd name="T38" fmla="*/ 13 w 388"/>
                <a:gd name="T39" fmla="*/ 79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88" h="280">
                  <a:moveTo>
                    <a:pt x="13" y="79"/>
                  </a:moveTo>
                  <a:cubicBezTo>
                    <a:pt x="15" y="94"/>
                    <a:pt x="39" y="132"/>
                    <a:pt x="48" y="116"/>
                  </a:cubicBezTo>
                  <a:cubicBezTo>
                    <a:pt x="57" y="101"/>
                    <a:pt x="79" y="136"/>
                    <a:pt x="99" y="147"/>
                  </a:cubicBezTo>
                  <a:cubicBezTo>
                    <a:pt x="119" y="159"/>
                    <a:pt x="159" y="172"/>
                    <a:pt x="161" y="185"/>
                  </a:cubicBezTo>
                  <a:cubicBezTo>
                    <a:pt x="163" y="198"/>
                    <a:pt x="170" y="227"/>
                    <a:pt x="190" y="218"/>
                  </a:cubicBezTo>
                  <a:cubicBezTo>
                    <a:pt x="210" y="209"/>
                    <a:pt x="234" y="178"/>
                    <a:pt x="234" y="196"/>
                  </a:cubicBezTo>
                  <a:cubicBezTo>
                    <a:pt x="234" y="214"/>
                    <a:pt x="241" y="247"/>
                    <a:pt x="263" y="243"/>
                  </a:cubicBezTo>
                  <a:cubicBezTo>
                    <a:pt x="285" y="238"/>
                    <a:pt x="292" y="280"/>
                    <a:pt x="314" y="276"/>
                  </a:cubicBezTo>
                  <a:cubicBezTo>
                    <a:pt x="318" y="275"/>
                    <a:pt x="323" y="275"/>
                    <a:pt x="330" y="274"/>
                  </a:cubicBezTo>
                  <a:cubicBezTo>
                    <a:pt x="327" y="224"/>
                    <a:pt x="345" y="201"/>
                    <a:pt x="365" y="190"/>
                  </a:cubicBezTo>
                  <a:cubicBezTo>
                    <a:pt x="369" y="181"/>
                    <a:pt x="382" y="172"/>
                    <a:pt x="385" y="161"/>
                  </a:cubicBezTo>
                  <a:cubicBezTo>
                    <a:pt x="388" y="146"/>
                    <a:pt x="355" y="116"/>
                    <a:pt x="358" y="99"/>
                  </a:cubicBezTo>
                  <a:cubicBezTo>
                    <a:pt x="358" y="98"/>
                    <a:pt x="358" y="97"/>
                    <a:pt x="358" y="96"/>
                  </a:cubicBezTo>
                  <a:cubicBezTo>
                    <a:pt x="351" y="90"/>
                    <a:pt x="344" y="84"/>
                    <a:pt x="337" y="77"/>
                  </a:cubicBezTo>
                  <a:cubicBezTo>
                    <a:pt x="309" y="50"/>
                    <a:pt x="282" y="45"/>
                    <a:pt x="264" y="27"/>
                  </a:cubicBezTo>
                  <a:cubicBezTo>
                    <a:pt x="246" y="9"/>
                    <a:pt x="215" y="0"/>
                    <a:pt x="197" y="18"/>
                  </a:cubicBezTo>
                  <a:cubicBezTo>
                    <a:pt x="179" y="36"/>
                    <a:pt x="129" y="50"/>
                    <a:pt x="102" y="50"/>
                  </a:cubicBezTo>
                  <a:cubicBezTo>
                    <a:pt x="96" y="50"/>
                    <a:pt x="83" y="45"/>
                    <a:pt x="66" y="37"/>
                  </a:cubicBezTo>
                  <a:cubicBezTo>
                    <a:pt x="45" y="49"/>
                    <a:pt x="22" y="61"/>
                    <a:pt x="0" y="66"/>
                  </a:cubicBezTo>
                  <a:cubicBezTo>
                    <a:pt x="4" y="72"/>
                    <a:pt x="11" y="69"/>
                    <a:pt x="13" y="7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12681209" y="6147750"/>
              <a:ext cx="457378" cy="296541"/>
            </a:xfrm>
            <a:custGeom>
              <a:avLst/>
              <a:gdLst>
                <a:gd name="T0" fmla="*/ 810 w 906"/>
                <a:gd name="T1" fmla="*/ 392 h 587"/>
                <a:gd name="T2" fmla="*/ 771 w 906"/>
                <a:gd name="T3" fmla="*/ 369 h 587"/>
                <a:gd name="T4" fmla="*/ 774 w 906"/>
                <a:gd name="T5" fmla="*/ 365 h 587"/>
                <a:gd name="T6" fmla="*/ 757 w 906"/>
                <a:gd name="T7" fmla="*/ 253 h 587"/>
                <a:gd name="T8" fmla="*/ 693 w 906"/>
                <a:gd name="T9" fmla="*/ 113 h 587"/>
                <a:gd name="T10" fmla="*/ 628 w 906"/>
                <a:gd name="T11" fmla="*/ 0 h 587"/>
                <a:gd name="T12" fmla="*/ 579 w 906"/>
                <a:gd name="T13" fmla="*/ 23 h 587"/>
                <a:gd name="T14" fmla="*/ 523 w 906"/>
                <a:gd name="T15" fmla="*/ 53 h 587"/>
                <a:gd name="T16" fmla="*/ 473 w 906"/>
                <a:gd name="T17" fmla="*/ 59 h 587"/>
                <a:gd name="T18" fmla="*/ 429 w 906"/>
                <a:gd name="T19" fmla="*/ 70 h 587"/>
                <a:gd name="T20" fmla="*/ 370 w 906"/>
                <a:gd name="T21" fmla="*/ 53 h 587"/>
                <a:gd name="T22" fmla="*/ 270 w 906"/>
                <a:gd name="T23" fmla="*/ 35 h 587"/>
                <a:gd name="T24" fmla="*/ 231 w 906"/>
                <a:gd name="T25" fmla="*/ 38 h 587"/>
                <a:gd name="T26" fmla="*/ 222 w 906"/>
                <a:gd name="T27" fmla="*/ 60 h 587"/>
                <a:gd name="T28" fmla="*/ 155 w 906"/>
                <a:gd name="T29" fmla="*/ 102 h 587"/>
                <a:gd name="T30" fmla="*/ 64 w 906"/>
                <a:gd name="T31" fmla="*/ 253 h 587"/>
                <a:gd name="T32" fmla="*/ 2 w 906"/>
                <a:gd name="T33" fmla="*/ 299 h 587"/>
                <a:gd name="T34" fmla="*/ 38 w 906"/>
                <a:gd name="T35" fmla="*/ 357 h 587"/>
                <a:gd name="T36" fmla="*/ 71 w 906"/>
                <a:gd name="T37" fmla="*/ 392 h 587"/>
                <a:gd name="T38" fmla="*/ 84 w 906"/>
                <a:gd name="T39" fmla="*/ 454 h 587"/>
                <a:gd name="T40" fmla="*/ 195 w 906"/>
                <a:gd name="T41" fmla="*/ 487 h 587"/>
                <a:gd name="T42" fmla="*/ 201 w 906"/>
                <a:gd name="T43" fmla="*/ 531 h 587"/>
                <a:gd name="T44" fmla="*/ 258 w 906"/>
                <a:gd name="T45" fmla="*/ 569 h 587"/>
                <a:gd name="T46" fmla="*/ 364 w 906"/>
                <a:gd name="T47" fmla="*/ 581 h 587"/>
                <a:gd name="T48" fmla="*/ 470 w 906"/>
                <a:gd name="T49" fmla="*/ 584 h 587"/>
                <a:gd name="T50" fmla="*/ 541 w 906"/>
                <a:gd name="T51" fmla="*/ 554 h 587"/>
                <a:gd name="T52" fmla="*/ 659 w 906"/>
                <a:gd name="T53" fmla="*/ 534 h 587"/>
                <a:gd name="T54" fmla="*/ 739 w 906"/>
                <a:gd name="T55" fmla="*/ 557 h 587"/>
                <a:gd name="T56" fmla="*/ 799 w 906"/>
                <a:gd name="T57" fmla="*/ 586 h 587"/>
                <a:gd name="T58" fmla="*/ 799 w 906"/>
                <a:gd name="T59" fmla="*/ 534 h 587"/>
                <a:gd name="T60" fmla="*/ 849 w 906"/>
                <a:gd name="T61" fmla="*/ 453 h 587"/>
                <a:gd name="T62" fmla="*/ 901 w 906"/>
                <a:gd name="T63" fmla="*/ 398 h 587"/>
                <a:gd name="T64" fmla="*/ 901 w 906"/>
                <a:gd name="T65" fmla="*/ 393 h 587"/>
                <a:gd name="T66" fmla="*/ 866 w 906"/>
                <a:gd name="T67" fmla="*/ 369 h 587"/>
                <a:gd name="T68" fmla="*/ 810 w 906"/>
                <a:gd name="T69" fmla="*/ 392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6" h="587">
                  <a:moveTo>
                    <a:pt x="810" y="392"/>
                  </a:moveTo>
                  <a:cubicBezTo>
                    <a:pt x="789" y="389"/>
                    <a:pt x="762" y="380"/>
                    <a:pt x="771" y="369"/>
                  </a:cubicBezTo>
                  <a:cubicBezTo>
                    <a:pt x="772" y="368"/>
                    <a:pt x="773" y="366"/>
                    <a:pt x="774" y="365"/>
                  </a:cubicBezTo>
                  <a:cubicBezTo>
                    <a:pt x="746" y="343"/>
                    <a:pt x="739" y="270"/>
                    <a:pt x="757" y="253"/>
                  </a:cubicBezTo>
                  <a:cubicBezTo>
                    <a:pt x="779" y="230"/>
                    <a:pt x="720" y="144"/>
                    <a:pt x="693" y="113"/>
                  </a:cubicBezTo>
                  <a:cubicBezTo>
                    <a:pt x="681" y="98"/>
                    <a:pt x="653" y="49"/>
                    <a:pt x="628" y="0"/>
                  </a:cubicBezTo>
                  <a:cubicBezTo>
                    <a:pt x="604" y="8"/>
                    <a:pt x="583" y="16"/>
                    <a:pt x="579" y="23"/>
                  </a:cubicBezTo>
                  <a:cubicBezTo>
                    <a:pt x="571" y="38"/>
                    <a:pt x="541" y="53"/>
                    <a:pt x="523" y="53"/>
                  </a:cubicBezTo>
                  <a:cubicBezTo>
                    <a:pt x="506" y="53"/>
                    <a:pt x="488" y="44"/>
                    <a:pt x="473" y="59"/>
                  </a:cubicBezTo>
                  <a:cubicBezTo>
                    <a:pt x="458" y="73"/>
                    <a:pt x="438" y="79"/>
                    <a:pt x="429" y="70"/>
                  </a:cubicBezTo>
                  <a:cubicBezTo>
                    <a:pt x="420" y="62"/>
                    <a:pt x="390" y="53"/>
                    <a:pt x="370" y="53"/>
                  </a:cubicBezTo>
                  <a:cubicBezTo>
                    <a:pt x="349" y="53"/>
                    <a:pt x="284" y="35"/>
                    <a:pt x="270" y="35"/>
                  </a:cubicBezTo>
                  <a:cubicBezTo>
                    <a:pt x="261" y="35"/>
                    <a:pt x="247" y="36"/>
                    <a:pt x="231" y="38"/>
                  </a:cubicBezTo>
                  <a:cubicBezTo>
                    <a:pt x="234" y="45"/>
                    <a:pt x="232" y="52"/>
                    <a:pt x="222" y="60"/>
                  </a:cubicBezTo>
                  <a:cubicBezTo>
                    <a:pt x="204" y="73"/>
                    <a:pt x="168" y="93"/>
                    <a:pt x="155" y="102"/>
                  </a:cubicBezTo>
                  <a:cubicBezTo>
                    <a:pt x="142" y="111"/>
                    <a:pt x="95" y="222"/>
                    <a:pt x="64" y="253"/>
                  </a:cubicBezTo>
                  <a:cubicBezTo>
                    <a:pt x="33" y="284"/>
                    <a:pt x="5" y="288"/>
                    <a:pt x="2" y="299"/>
                  </a:cubicBezTo>
                  <a:cubicBezTo>
                    <a:pt x="0" y="310"/>
                    <a:pt x="38" y="339"/>
                    <a:pt x="38" y="357"/>
                  </a:cubicBezTo>
                  <a:cubicBezTo>
                    <a:pt x="38" y="374"/>
                    <a:pt x="47" y="392"/>
                    <a:pt x="71" y="392"/>
                  </a:cubicBezTo>
                  <a:cubicBezTo>
                    <a:pt x="95" y="392"/>
                    <a:pt x="69" y="450"/>
                    <a:pt x="84" y="454"/>
                  </a:cubicBezTo>
                  <a:cubicBezTo>
                    <a:pt x="100" y="459"/>
                    <a:pt x="195" y="465"/>
                    <a:pt x="195" y="487"/>
                  </a:cubicBezTo>
                  <a:cubicBezTo>
                    <a:pt x="195" y="505"/>
                    <a:pt x="205" y="519"/>
                    <a:pt x="201" y="531"/>
                  </a:cubicBezTo>
                  <a:cubicBezTo>
                    <a:pt x="228" y="535"/>
                    <a:pt x="247" y="572"/>
                    <a:pt x="258" y="569"/>
                  </a:cubicBezTo>
                  <a:cubicBezTo>
                    <a:pt x="270" y="566"/>
                    <a:pt x="349" y="584"/>
                    <a:pt x="364" y="581"/>
                  </a:cubicBezTo>
                  <a:cubicBezTo>
                    <a:pt x="379" y="578"/>
                    <a:pt x="447" y="581"/>
                    <a:pt x="470" y="584"/>
                  </a:cubicBezTo>
                  <a:cubicBezTo>
                    <a:pt x="494" y="587"/>
                    <a:pt x="520" y="575"/>
                    <a:pt x="541" y="554"/>
                  </a:cubicBezTo>
                  <a:cubicBezTo>
                    <a:pt x="562" y="534"/>
                    <a:pt x="636" y="531"/>
                    <a:pt x="659" y="534"/>
                  </a:cubicBezTo>
                  <a:cubicBezTo>
                    <a:pt x="683" y="537"/>
                    <a:pt x="730" y="543"/>
                    <a:pt x="739" y="557"/>
                  </a:cubicBezTo>
                  <a:cubicBezTo>
                    <a:pt x="743" y="565"/>
                    <a:pt x="771" y="577"/>
                    <a:pt x="799" y="586"/>
                  </a:cubicBezTo>
                  <a:cubicBezTo>
                    <a:pt x="803" y="572"/>
                    <a:pt x="798" y="552"/>
                    <a:pt x="799" y="534"/>
                  </a:cubicBezTo>
                  <a:cubicBezTo>
                    <a:pt x="801" y="503"/>
                    <a:pt x="818" y="456"/>
                    <a:pt x="849" y="453"/>
                  </a:cubicBezTo>
                  <a:cubicBezTo>
                    <a:pt x="880" y="450"/>
                    <a:pt x="906" y="450"/>
                    <a:pt x="901" y="398"/>
                  </a:cubicBezTo>
                  <a:cubicBezTo>
                    <a:pt x="901" y="396"/>
                    <a:pt x="901" y="395"/>
                    <a:pt x="901" y="393"/>
                  </a:cubicBezTo>
                  <a:cubicBezTo>
                    <a:pt x="885" y="380"/>
                    <a:pt x="871" y="369"/>
                    <a:pt x="866" y="369"/>
                  </a:cubicBezTo>
                  <a:cubicBezTo>
                    <a:pt x="854" y="369"/>
                    <a:pt x="818" y="393"/>
                    <a:pt x="810" y="39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12997856" y="6137698"/>
              <a:ext cx="155811" cy="194344"/>
            </a:xfrm>
            <a:custGeom>
              <a:avLst/>
              <a:gdLst>
                <a:gd name="T0" fmla="*/ 223 w 308"/>
                <a:gd name="T1" fmla="*/ 100 h 386"/>
                <a:gd name="T2" fmla="*/ 152 w 308"/>
                <a:gd name="T3" fmla="*/ 47 h 386"/>
                <a:gd name="T4" fmla="*/ 72 w 308"/>
                <a:gd name="T5" fmla="*/ 3 h 386"/>
                <a:gd name="T6" fmla="*/ 0 w 308"/>
                <a:gd name="T7" fmla="*/ 21 h 386"/>
                <a:gd name="T8" fmla="*/ 65 w 308"/>
                <a:gd name="T9" fmla="*/ 134 h 386"/>
                <a:gd name="T10" fmla="*/ 129 w 308"/>
                <a:gd name="T11" fmla="*/ 274 h 386"/>
                <a:gd name="T12" fmla="*/ 146 w 308"/>
                <a:gd name="T13" fmla="*/ 386 h 386"/>
                <a:gd name="T14" fmla="*/ 202 w 308"/>
                <a:gd name="T15" fmla="*/ 298 h 386"/>
                <a:gd name="T16" fmla="*/ 241 w 308"/>
                <a:gd name="T17" fmla="*/ 254 h 386"/>
                <a:gd name="T18" fmla="*/ 308 w 308"/>
                <a:gd name="T19" fmla="*/ 266 h 386"/>
                <a:gd name="T20" fmla="*/ 285 w 308"/>
                <a:gd name="T21" fmla="*/ 201 h 386"/>
                <a:gd name="T22" fmla="*/ 223 w 308"/>
                <a:gd name="T23" fmla="*/ 10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8" h="386">
                  <a:moveTo>
                    <a:pt x="223" y="100"/>
                  </a:moveTo>
                  <a:cubicBezTo>
                    <a:pt x="211" y="62"/>
                    <a:pt x="173" y="47"/>
                    <a:pt x="152" y="47"/>
                  </a:cubicBezTo>
                  <a:cubicBezTo>
                    <a:pt x="131" y="47"/>
                    <a:pt x="96" y="0"/>
                    <a:pt x="72" y="3"/>
                  </a:cubicBezTo>
                  <a:cubicBezTo>
                    <a:pt x="60" y="4"/>
                    <a:pt x="28" y="12"/>
                    <a:pt x="0" y="21"/>
                  </a:cubicBezTo>
                  <a:cubicBezTo>
                    <a:pt x="25" y="70"/>
                    <a:pt x="53" y="119"/>
                    <a:pt x="65" y="134"/>
                  </a:cubicBezTo>
                  <a:cubicBezTo>
                    <a:pt x="92" y="165"/>
                    <a:pt x="151" y="251"/>
                    <a:pt x="129" y="274"/>
                  </a:cubicBezTo>
                  <a:cubicBezTo>
                    <a:pt x="111" y="291"/>
                    <a:pt x="118" y="364"/>
                    <a:pt x="146" y="386"/>
                  </a:cubicBezTo>
                  <a:cubicBezTo>
                    <a:pt x="159" y="369"/>
                    <a:pt x="202" y="315"/>
                    <a:pt x="202" y="298"/>
                  </a:cubicBezTo>
                  <a:cubicBezTo>
                    <a:pt x="202" y="280"/>
                    <a:pt x="205" y="245"/>
                    <a:pt x="241" y="254"/>
                  </a:cubicBezTo>
                  <a:cubicBezTo>
                    <a:pt x="276" y="263"/>
                    <a:pt x="308" y="277"/>
                    <a:pt x="308" y="266"/>
                  </a:cubicBezTo>
                  <a:cubicBezTo>
                    <a:pt x="308" y="254"/>
                    <a:pt x="300" y="215"/>
                    <a:pt x="285" y="201"/>
                  </a:cubicBezTo>
                  <a:cubicBezTo>
                    <a:pt x="270" y="186"/>
                    <a:pt x="235" y="139"/>
                    <a:pt x="223" y="10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12766654" y="6415811"/>
              <a:ext cx="318322" cy="172563"/>
            </a:xfrm>
            <a:custGeom>
              <a:avLst/>
              <a:gdLst>
                <a:gd name="T0" fmla="*/ 488 w 628"/>
                <a:gd name="T1" fmla="*/ 3 h 342"/>
                <a:gd name="T2" fmla="*/ 370 w 628"/>
                <a:gd name="T3" fmla="*/ 23 h 342"/>
                <a:gd name="T4" fmla="*/ 299 w 628"/>
                <a:gd name="T5" fmla="*/ 53 h 342"/>
                <a:gd name="T6" fmla="*/ 193 w 628"/>
                <a:gd name="T7" fmla="*/ 50 h 342"/>
                <a:gd name="T8" fmla="*/ 87 w 628"/>
                <a:gd name="T9" fmla="*/ 38 h 342"/>
                <a:gd name="T10" fmla="*/ 30 w 628"/>
                <a:gd name="T11" fmla="*/ 0 h 342"/>
                <a:gd name="T12" fmla="*/ 22 w 628"/>
                <a:gd name="T13" fmla="*/ 9 h 342"/>
                <a:gd name="T14" fmla="*/ 22 w 628"/>
                <a:gd name="T15" fmla="*/ 78 h 342"/>
                <a:gd name="T16" fmla="*/ 53 w 628"/>
                <a:gd name="T17" fmla="*/ 142 h 342"/>
                <a:gd name="T18" fmla="*/ 20 w 628"/>
                <a:gd name="T19" fmla="*/ 182 h 342"/>
                <a:gd name="T20" fmla="*/ 20 w 628"/>
                <a:gd name="T21" fmla="*/ 231 h 342"/>
                <a:gd name="T22" fmla="*/ 75 w 628"/>
                <a:gd name="T23" fmla="*/ 295 h 342"/>
                <a:gd name="T24" fmla="*/ 94 w 628"/>
                <a:gd name="T25" fmla="*/ 323 h 342"/>
                <a:gd name="T26" fmla="*/ 228 w 628"/>
                <a:gd name="T27" fmla="*/ 325 h 342"/>
                <a:gd name="T28" fmla="*/ 335 w 628"/>
                <a:gd name="T29" fmla="*/ 342 h 342"/>
                <a:gd name="T30" fmla="*/ 373 w 628"/>
                <a:gd name="T31" fmla="*/ 319 h 342"/>
                <a:gd name="T32" fmla="*/ 421 w 628"/>
                <a:gd name="T33" fmla="*/ 296 h 342"/>
                <a:gd name="T34" fmla="*/ 420 w 628"/>
                <a:gd name="T35" fmla="*/ 268 h 342"/>
                <a:gd name="T36" fmla="*/ 522 w 628"/>
                <a:gd name="T37" fmla="*/ 268 h 342"/>
                <a:gd name="T38" fmla="*/ 562 w 628"/>
                <a:gd name="T39" fmla="*/ 261 h 342"/>
                <a:gd name="T40" fmla="*/ 549 w 628"/>
                <a:gd name="T41" fmla="*/ 237 h 342"/>
                <a:gd name="T42" fmla="*/ 528 w 628"/>
                <a:gd name="T43" fmla="*/ 162 h 342"/>
                <a:gd name="T44" fmla="*/ 608 w 628"/>
                <a:gd name="T45" fmla="*/ 77 h 342"/>
                <a:gd name="T46" fmla="*/ 628 w 628"/>
                <a:gd name="T47" fmla="*/ 55 h 342"/>
                <a:gd name="T48" fmla="*/ 568 w 628"/>
                <a:gd name="T49" fmla="*/ 26 h 342"/>
                <a:gd name="T50" fmla="*/ 488 w 628"/>
                <a:gd name="T51" fmla="*/ 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8" h="342">
                  <a:moveTo>
                    <a:pt x="488" y="3"/>
                  </a:moveTo>
                  <a:cubicBezTo>
                    <a:pt x="465" y="0"/>
                    <a:pt x="391" y="3"/>
                    <a:pt x="370" y="23"/>
                  </a:cubicBezTo>
                  <a:cubicBezTo>
                    <a:pt x="349" y="44"/>
                    <a:pt x="323" y="56"/>
                    <a:pt x="299" y="53"/>
                  </a:cubicBezTo>
                  <a:cubicBezTo>
                    <a:pt x="276" y="50"/>
                    <a:pt x="208" y="47"/>
                    <a:pt x="193" y="50"/>
                  </a:cubicBezTo>
                  <a:cubicBezTo>
                    <a:pt x="178" y="53"/>
                    <a:pt x="99" y="35"/>
                    <a:pt x="87" y="38"/>
                  </a:cubicBezTo>
                  <a:cubicBezTo>
                    <a:pt x="76" y="41"/>
                    <a:pt x="57" y="4"/>
                    <a:pt x="30" y="0"/>
                  </a:cubicBezTo>
                  <a:cubicBezTo>
                    <a:pt x="29" y="3"/>
                    <a:pt x="26" y="6"/>
                    <a:pt x="22" y="9"/>
                  </a:cubicBezTo>
                  <a:cubicBezTo>
                    <a:pt x="2" y="23"/>
                    <a:pt x="0" y="58"/>
                    <a:pt x="22" y="78"/>
                  </a:cubicBezTo>
                  <a:cubicBezTo>
                    <a:pt x="44" y="98"/>
                    <a:pt x="73" y="142"/>
                    <a:pt x="53" y="142"/>
                  </a:cubicBezTo>
                  <a:cubicBezTo>
                    <a:pt x="33" y="142"/>
                    <a:pt x="17" y="169"/>
                    <a:pt x="20" y="182"/>
                  </a:cubicBezTo>
                  <a:cubicBezTo>
                    <a:pt x="22" y="195"/>
                    <a:pt x="13" y="224"/>
                    <a:pt x="20" y="231"/>
                  </a:cubicBezTo>
                  <a:cubicBezTo>
                    <a:pt x="26" y="237"/>
                    <a:pt x="73" y="282"/>
                    <a:pt x="75" y="295"/>
                  </a:cubicBezTo>
                  <a:cubicBezTo>
                    <a:pt x="77" y="307"/>
                    <a:pt x="96" y="313"/>
                    <a:pt x="94" y="323"/>
                  </a:cubicBezTo>
                  <a:cubicBezTo>
                    <a:pt x="132" y="320"/>
                    <a:pt x="210" y="316"/>
                    <a:pt x="228" y="325"/>
                  </a:cubicBezTo>
                  <a:cubicBezTo>
                    <a:pt x="252" y="336"/>
                    <a:pt x="335" y="342"/>
                    <a:pt x="335" y="342"/>
                  </a:cubicBezTo>
                  <a:cubicBezTo>
                    <a:pt x="358" y="342"/>
                    <a:pt x="379" y="333"/>
                    <a:pt x="373" y="319"/>
                  </a:cubicBezTo>
                  <a:cubicBezTo>
                    <a:pt x="368" y="306"/>
                    <a:pt x="399" y="298"/>
                    <a:pt x="421" y="296"/>
                  </a:cubicBezTo>
                  <a:cubicBezTo>
                    <a:pt x="417" y="282"/>
                    <a:pt x="414" y="271"/>
                    <a:pt x="420" y="268"/>
                  </a:cubicBezTo>
                  <a:cubicBezTo>
                    <a:pt x="431" y="264"/>
                    <a:pt x="496" y="255"/>
                    <a:pt x="522" y="268"/>
                  </a:cubicBezTo>
                  <a:cubicBezTo>
                    <a:pt x="535" y="275"/>
                    <a:pt x="551" y="269"/>
                    <a:pt x="562" y="261"/>
                  </a:cubicBezTo>
                  <a:cubicBezTo>
                    <a:pt x="559" y="248"/>
                    <a:pt x="555" y="239"/>
                    <a:pt x="549" y="237"/>
                  </a:cubicBezTo>
                  <a:cubicBezTo>
                    <a:pt x="532" y="235"/>
                    <a:pt x="507" y="167"/>
                    <a:pt x="528" y="162"/>
                  </a:cubicBezTo>
                  <a:cubicBezTo>
                    <a:pt x="549" y="158"/>
                    <a:pt x="575" y="87"/>
                    <a:pt x="608" y="77"/>
                  </a:cubicBezTo>
                  <a:cubicBezTo>
                    <a:pt x="621" y="73"/>
                    <a:pt x="626" y="65"/>
                    <a:pt x="628" y="55"/>
                  </a:cubicBezTo>
                  <a:cubicBezTo>
                    <a:pt x="600" y="46"/>
                    <a:pt x="572" y="34"/>
                    <a:pt x="568" y="26"/>
                  </a:cubicBezTo>
                  <a:cubicBezTo>
                    <a:pt x="559" y="12"/>
                    <a:pt x="512" y="6"/>
                    <a:pt x="488" y="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12677859" y="6523035"/>
              <a:ext cx="137381" cy="97172"/>
            </a:xfrm>
            <a:custGeom>
              <a:avLst/>
              <a:gdLst>
                <a:gd name="T0" fmla="*/ 65 w 274"/>
                <a:gd name="T1" fmla="*/ 193 h 193"/>
                <a:gd name="T2" fmla="*/ 65 w 274"/>
                <a:gd name="T3" fmla="*/ 193 h 193"/>
                <a:gd name="T4" fmla="*/ 68 w 274"/>
                <a:gd name="T5" fmla="*/ 191 h 193"/>
                <a:gd name="T6" fmla="*/ 69 w 274"/>
                <a:gd name="T7" fmla="*/ 191 h 193"/>
                <a:gd name="T8" fmla="*/ 75 w 274"/>
                <a:gd name="T9" fmla="*/ 190 h 193"/>
                <a:gd name="T10" fmla="*/ 76 w 274"/>
                <a:gd name="T11" fmla="*/ 190 h 193"/>
                <a:gd name="T12" fmla="*/ 108 w 274"/>
                <a:gd name="T13" fmla="*/ 190 h 193"/>
                <a:gd name="T14" fmla="*/ 110 w 274"/>
                <a:gd name="T15" fmla="*/ 190 h 193"/>
                <a:gd name="T16" fmla="*/ 118 w 274"/>
                <a:gd name="T17" fmla="*/ 189 h 193"/>
                <a:gd name="T18" fmla="*/ 121 w 274"/>
                <a:gd name="T19" fmla="*/ 189 h 193"/>
                <a:gd name="T20" fmla="*/ 131 w 274"/>
                <a:gd name="T21" fmla="*/ 187 h 193"/>
                <a:gd name="T22" fmla="*/ 178 w 274"/>
                <a:gd name="T23" fmla="*/ 158 h 193"/>
                <a:gd name="T24" fmla="*/ 271 w 274"/>
                <a:gd name="T25" fmla="*/ 116 h 193"/>
                <a:gd name="T26" fmla="*/ 272 w 274"/>
                <a:gd name="T27" fmla="*/ 111 h 193"/>
                <a:gd name="T28" fmla="*/ 253 w 274"/>
                <a:gd name="T29" fmla="*/ 83 h 193"/>
                <a:gd name="T30" fmla="*/ 198 w 274"/>
                <a:gd name="T31" fmla="*/ 19 h 193"/>
                <a:gd name="T32" fmla="*/ 195 w 274"/>
                <a:gd name="T33" fmla="*/ 12 h 193"/>
                <a:gd name="T34" fmla="*/ 195 w 274"/>
                <a:gd name="T35" fmla="*/ 11 h 193"/>
                <a:gd name="T36" fmla="*/ 196 w 274"/>
                <a:gd name="T37" fmla="*/ 0 h 193"/>
                <a:gd name="T38" fmla="*/ 24 w 274"/>
                <a:gd name="T39" fmla="*/ 32 h 193"/>
                <a:gd name="T40" fmla="*/ 18 w 274"/>
                <a:gd name="T41" fmla="*/ 28 h 193"/>
                <a:gd name="T42" fmla="*/ 7 w 274"/>
                <a:gd name="T43" fmla="*/ 131 h 193"/>
                <a:gd name="T44" fmla="*/ 65 w 274"/>
                <a:gd name="T45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74" h="193">
                  <a:moveTo>
                    <a:pt x="65" y="193"/>
                  </a:moveTo>
                  <a:cubicBezTo>
                    <a:pt x="65" y="193"/>
                    <a:pt x="65" y="193"/>
                    <a:pt x="65" y="193"/>
                  </a:cubicBezTo>
                  <a:cubicBezTo>
                    <a:pt x="66" y="192"/>
                    <a:pt x="67" y="192"/>
                    <a:pt x="68" y="191"/>
                  </a:cubicBezTo>
                  <a:cubicBezTo>
                    <a:pt x="69" y="191"/>
                    <a:pt x="69" y="191"/>
                    <a:pt x="69" y="191"/>
                  </a:cubicBezTo>
                  <a:cubicBezTo>
                    <a:pt x="71" y="191"/>
                    <a:pt x="73" y="191"/>
                    <a:pt x="75" y="190"/>
                  </a:cubicBezTo>
                  <a:cubicBezTo>
                    <a:pt x="75" y="190"/>
                    <a:pt x="75" y="190"/>
                    <a:pt x="76" y="190"/>
                  </a:cubicBezTo>
                  <a:cubicBezTo>
                    <a:pt x="84" y="190"/>
                    <a:pt x="96" y="190"/>
                    <a:pt x="108" y="190"/>
                  </a:cubicBezTo>
                  <a:cubicBezTo>
                    <a:pt x="108" y="190"/>
                    <a:pt x="109" y="190"/>
                    <a:pt x="110" y="190"/>
                  </a:cubicBezTo>
                  <a:cubicBezTo>
                    <a:pt x="113" y="190"/>
                    <a:pt x="115" y="189"/>
                    <a:pt x="118" y="189"/>
                  </a:cubicBezTo>
                  <a:cubicBezTo>
                    <a:pt x="119" y="189"/>
                    <a:pt x="120" y="189"/>
                    <a:pt x="121" y="189"/>
                  </a:cubicBezTo>
                  <a:cubicBezTo>
                    <a:pt x="125" y="188"/>
                    <a:pt x="128" y="188"/>
                    <a:pt x="131" y="187"/>
                  </a:cubicBezTo>
                  <a:cubicBezTo>
                    <a:pt x="158" y="180"/>
                    <a:pt x="164" y="152"/>
                    <a:pt x="178" y="158"/>
                  </a:cubicBezTo>
                  <a:cubicBezTo>
                    <a:pt x="191" y="165"/>
                    <a:pt x="262" y="129"/>
                    <a:pt x="271" y="116"/>
                  </a:cubicBezTo>
                  <a:cubicBezTo>
                    <a:pt x="272" y="114"/>
                    <a:pt x="272" y="112"/>
                    <a:pt x="272" y="111"/>
                  </a:cubicBezTo>
                  <a:cubicBezTo>
                    <a:pt x="274" y="101"/>
                    <a:pt x="255" y="95"/>
                    <a:pt x="253" y="83"/>
                  </a:cubicBezTo>
                  <a:cubicBezTo>
                    <a:pt x="251" y="70"/>
                    <a:pt x="204" y="25"/>
                    <a:pt x="198" y="19"/>
                  </a:cubicBezTo>
                  <a:cubicBezTo>
                    <a:pt x="196" y="17"/>
                    <a:pt x="196" y="15"/>
                    <a:pt x="195" y="12"/>
                  </a:cubicBezTo>
                  <a:cubicBezTo>
                    <a:pt x="195" y="12"/>
                    <a:pt x="195" y="11"/>
                    <a:pt x="195" y="11"/>
                  </a:cubicBezTo>
                  <a:cubicBezTo>
                    <a:pt x="195" y="8"/>
                    <a:pt x="195" y="4"/>
                    <a:pt x="196" y="0"/>
                  </a:cubicBezTo>
                  <a:cubicBezTo>
                    <a:pt x="126" y="10"/>
                    <a:pt x="24" y="32"/>
                    <a:pt x="24" y="32"/>
                  </a:cubicBezTo>
                  <a:cubicBezTo>
                    <a:pt x="24" y="32"/>
                    <a:pt x="21" y="30"/>
                    <a:pt x="18" y="28"/>
                  </a:cubicBezTo>
                  <a:cubicBezTo>
                    <a:pt x="7" y="61"/>
                    <a:pt x="0" y="108"/>
                    <a:pt x="7" y="131"/>
                  </a:cubicBezTo>
                  <a:cubicBezTo>
                    <a:pt x="14" y="154"/>
                    <a:pt x="35" y="171"/>
                    <a:pt x="65" y="19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12766654" y="5878014"/>
              <a:ext cx="899678" cy="522718"/>
            </a:xfrm>
            <a:custGeom>
              <a:avLst/>
              <a:gdLst>
                <a:gd name="T0" fmla="*/ 1660 w 1779"/>
                <a:gd name="T1" fmla="*/ 591 h 1034"/>
                <a:gd name="T2" fmla="*/ 1759 w 1779"/>
                <a:gd name="T3" fmla="*/ 533 h 1034"/>
                <a:gd name="T4" fmla="*/ 1773 w 1779"/>
                <a:gd name="T5" fmla="*/ 471 h 1034"/>
                <a:gd name="T6" fmla="*/ 1777 w 1779"/>
                <a:gd name="T7" fmla="*/ 401 h 1034"/>
                <a:gd name="T8" fmla="*/ 1635 w 1779"/>
                <a:gd name="T9" fmla="*/ 343 h 1034"/>
                <a:gd name="T10" fmla="*/ 1509 w 1779"/>
                <a:gd name="T11" fmla="*/ 277 h 1034"/>
                <a:gd name="T12" fmla="*/ 1403 w 1779"/>
                <a:gd name="T13" fmla="*/ 285 h 1034"/>
                <a:gd name="T14" fmla="*/ 1317 w 1779"/>
                <a:gd name="T15" fmla="*/ 243 h 1034"/>
                <a:gd name="T16" fmla="*/ 1199 w 1779"/>
                <a:gd name="T17" fmla="*/ 148 h 1034"/>
                <a:gd name="T18" fmla="*/ 1164 w 1779"/>
                <a:gd name="T19" fmla="*/ 18 h 1034"/>
                <a:gd name="T20" fmla="*/ 1016 w 1779"/>
                <a:gd name="T21" fmla="*/ 11 h 1034"/>
                <a:gd name="T22" fmla="*/ 942 w 1779"/>
                <a:gd name="T23" fmla="*/ 24 h 1034"/>
                <a:gd name="T24" fmla="*/ 819 w 1779"/>
                <a:gd name="T25" fmla="*/ 102 h 1034"/>
                <a:gd name="T26" fmla="*/ 710 w 1779"/>
                <a:gd name="T27" fmla="*/ 128 h 1034"/>
                <a:gd name="T28" fmla="*/ 580 w 1779"/>
                <a:gd name="T29" fmla="*/ 102 h 1034"/>
                <a:gd name="T30" fmla="*/ 420 w 1779"/>
                <a:gd name="T31" fmla="*/ 78 h 1034"/>
                <a:gd name="T32" fmla="*/ 184 w 1779"/>
                <a:gd name="T33" fmla="*/ 96 h 1034"/>
                <a:gd name="T34" fmla="*/ 139 w 1779"/>
                <a:gd name="T35" fmla="*/ 141 h 1034"/>
                <a:gd name="T36" fmla="*/ 135 w 1779"/>
                <a:gd name="T37" fmla="*/ 274 h 1034"/>
                <a:gd name="T38" fmla="*/ 44 w 1779"/>
                <a:gd name="T39" fmla="*/ 438 h 1034"/>
                <a:gd name="T40" fmla="*/ 44 w 1779"/>
                <a:gd name="T41" fmla="*/ 560 h 1034"/>
                <a:gd name="T42" fmla="*/ 99 w 1779"/>
                <a:gd name="T43" fmla="*/ 568 h 1034"/>
                <a:gd name="T44" fmla="*/ 258 w 1779"/>
                <a:gd name="T45" fmla="*/ 603 h 1034"/>
                <a:gd name="T46" fmla="*/ 352 w 1779"/>
                <a:gd name="T47" fmla="*/ 586 h 1034"/>
                <a:gd name="T48" fmla="*/ 529 w 1779"/>
                <a:gd name="T49" fmla="*/ 515 h 1034"/>
                <a:gd name="T50" fmla="*/ 680 w 1779"/>
                <a:gd name="T51" fmla="*/ 612 h 1034"/>
                <a:gd name="T52" fmla="*/ 765 w 1779"/>
                <a:gd name="T53" fmla="*/ 778 h 1034"/>
                <a:gd name="T54" fmla="*/ 659 w 1779"/>
                <a:gd name="T55" fmla="*/ 810 h 1034"/>
                <a:gd name="T56" fmla="*/ 639 w 1779"/>
                <a:gd name="T57" fmla="*/ 925 h 1034"/>
                <a:gd name="T58" fmla="*/ 730 w 1779"/>
                <a:gd name="T59" fmla="*/ 926 h 1034"/>
                <a:gd name="T60" fmla="*/ 863 w 1779"/>
                <a:gd name="T61" fmla="*/ 751 h 1034"/>
                <a:gd name="T62" fmla="*/ 984 w 1779"/>
                <a:gd name="T63" fmla="*/ 800 h 1034"/>
                <a:gd name="T64" fmla="*/ 1013 w 1779"/>
                <a:gd name="T65" fmla="*/ 897 h 1034"/>
                <a:gd name="T66" fmla="*/ 1118 w 1779"/>
                <a:gd name="T67" fmla="*/ 1020 h 1034"/>
                <a:gd name="T68" fmla="*/ 1295 w 1779"/>
                <a:gd name="T69" fmla="*/ 959 h 1034"/>
                <a:gd name="T70" fmla="*/ 1328 w 1779"/>
                <a:gd name="T71" fmla="*/ 913 h 1034"/>
                <a:gd name="T72" fmla="*/ 1372 w 1779"/>
                <a:gd name="T73" fmla="*/ 753 h 1034"/>
                <a:gd name="T74" fmla="*/ 1580 w 1779"/>
                <a:gd name="T75" fmla="*/ 691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79" h="1034">
                  <a:moveTo>
                    <a:pt x="1582" y="644"/>
                  </a:moveTo>
                  <a:cubicBezTo>
                    <a:pt x="1598" y="642"/>
                    <a:pt x="1644" y="591"/>
                    <a:pt x="1660" y="591"/>
                  </a:cubicBezTo>
                  <a:cubicBezTo>
                    <a:pt x="1675" y="591"/>
                    <a:pt x="1742" y="604"/>
                    <a:pt x="1742" y="593"/>
                  </a:cubicBezTo>
                  <a:cubicBezTo>
                    <a:pt x="1742" y="582"/>
                    <a:pt x="1764" y="544"/>
                    <a:pt x="1759" y="533"/>
                  </a:cubicBezTo>
                  <a:cubicBezTo>
                    <a:pt x="1755" y="522"/>
                    <a:pt x="1733" y="507"/>
                    <a:pt x="1737" y="496"/>
                  </a:cubicBezTo>
                  <a:cubicBezTo>
                    <a:pt x="1742" y="485"/>
                    <a:pt x="1773" y="485"/>
                    <a:pt x="1773" y="471"/>
                  </a:cubicBezTo>
                  <a:cubicBezTo>
                    <a:pt x="1773" y="458"/>
                    <a:pt x="1748" y="451"/>
                    <a:pt x="1748" y="443"/>
                  </a:cubicBezTo>
                  <a:cubicBezTo>
                    <a:pt x="1748" y="434"/>
                    <a:pt x="1779" y="418"/>
                    <a:pt x="1777" y="401"/>
                  </a:cubicBezTo>
                  <a:cubicBezTo>
                    <a:pt x="1775" y="383"/>
                    <a:pt x="1748" y="381"/>
                    <a:pt x="1720" y="365"/>
                  </a:cubicBezTo>
                  <a:cubicBezTo>
                    <a:pt x="1691" y="350"/>
                    <a:pt x="1662" y="356"/>
                    <a:pt x="1635" y="343"/>
                  </a:cubicBezTo>
                  <a:cubicBezTo>
                    <a:pt x="1609" y="330"/>
                    <a:pt x="1554" y="338"/>
                    <a:pt x="1554" y="330"/>
                  </a:cubicBezTo>
                  <a:cubicBezTo>
                    <a:pt x="1554" y="321"/>
                    <a:pt x="1518" y="292"/>
                    <a:pt x="1509" y="277"/>
                  </a:cubicBezTo>
                  <a:cubicBezTo>
                    <a:pt x="1500" y="261"/>
                    <a:pt x="1472" y="270"/>
                    <a:pt x="1454" y="281"/>
                  </a:cubicBezTo>
                  <a:cubicBezTo>
                    <a:pt x="1436" y="292"/>
                    <a:pt x="1421" y="296"/>
                    <a:pt x="1403" y="285"/>
                  </a:cubicBezTo>
                  <a:cubicBezTo>
                    <a:pt x="1385" y="274"/>
                    <a:pt x="1370" y="257"/>
                    <a:pt x="1354" y="263"/>
                  </a:cubicBezTo>
                  <a:cubicBezTo>
                    <a:pt x="1339" y="270"/>
                    <a:pt x="1310" y="265"/>
                    <a:pt x="1317" y="243"/>
                  </a:cubicBezTo>
                  <a:cubicBezTo>
                    <a:pt x="1323" y="221"/>
                    <a:pt x="1288" y="173"/>
                    <a:pt x="1272" y="166"/>
                  </a:cubicBezTo>
                  <a:cubicBezTo>
                    <a:pt x="1257" y="159"/>
                    <a:pt x="1210" y="170"/>
                    <a:pt x="1199" y="148"/>
                  </a:cubicBezTo>
                  <a:cubicBezTo>
                    <a:pt x="1188" y="126"/>
                    <a:pt x="1168" y="108"/>
                    <a:pt x="1177" y="93"/>
                  </a:cubicBezTo>
                  <a:cubicBezTo>
                    <a:pt x="1186" y="77"/>
                    <a:pt x="1175" y="35"/>
                    <a:pt x="1164" y="18"/>
                  </a:cubicBezTo>
                  <a:cubicBezTo>
                    <a:pt x="1153" y="0"/>
                    <a:pt x="1098" y="2"/>
                    <a:pt x="1082" y="9"/>
                  </a:cubicBezTo>
                  <a:cubicBezTo>
                    <a:pt x="1067" y="15"/>
                    <a:pt x="1031" y="2"/>
                    <a:pt x="1016" y="11"/>
                  </a:cubicBezTo>
                  <a:cubicBezTo>
                    <a:pt x="1000" y="20"/>
                    <a:pt x="991" y="35"/>
                    <a:pt x="969" y="35"/>
                  </a:cubicBezTo>
                  <a:cubicBezTo>
                    <a:pt x="957" y="35"/>
                    <a:pt x="949" y="34"/>
                    <a:pt x="942" y="24"/>
                  </a:cubicBezTo>
                  <a:cubicBezTo>
                    <a:pt x="918" y="35"/>
                    <a:pt x="878" y="37"/>
                    <a:pt x="878" y="37"/>
                  </a:cubicBezTo>
                  <a:cubicBezTo>
                    <a:pt x="878" y="37"/>
                    <a:pt x="819" y="84"/>
                    <a:pt x="819" y="102"/>
                  </a:cubicBezTo>
                  <a:cubicBezTo>
                    <a:pt x="819" y="119"/>
                    <a:pt x="816" y="149"/>
                    <a:pt x="801" y="134"/>
                  </a:cubicBezTo>
                  <a:cubicBezTo>
                    <a:pt x="786" y="119"/>
                    <a:pt x="724" y="119"/>
                    <a:pt x="710" y="128"/>
                  </a:cubicBezTo>
                  <a:cubicBezTo>
                    <a:pt x="695" y="137"/>
                    <a:pt x="671" y="93"/>
                    <a:pt x="645" y="108"/>
                  </a:cubicBezTo>
                  <a:cubicBezTo>
                    <a:pt x="618" y="122"/>
                    <a:pt x="583" y="87"/>
                    <a:pt x="580" y="102"/>
                  </a:cubicBezTo>
                  <a:cubicBezTo>
                    <a:pt x="577" y="116"/>
                    <a:pt x="538" y="105"/>
                    <a:pt x="512" y="93"/>
                  </a:cubicBezTo>
                  <a:cubicBezTo>
                    <a:pt x="485" y="81"/>
                    <a:pt x="438" y="99"/>
                    <a:pt x="420" y="78"/>
                  </a:cubicBezTo>
                  <a:cubicBezTo>
                    <a:pt x="403" y="57"/>
                    <a:pt x="287" y="57"/>
                    <a:pt x="249" y="57"/>
                  </a:cubicBezTo>
                  <a:cubicBezTo>
                    <a:pt x="211" y="57"/>
                    <a:pt x="202" y="78"/>
                    <a:pt x="184" y="96"/>
                  </a:cubicBezTo>
                  <a:cubicBezTo>
                    <a:pt x="168" y="112"/>
                    <a:pt x="150" y="109"/>
                    <a:pt x="131" y="108"/>
                  </a:cubicBezTo>
                  <a:cubicBezTo>
                    <a:pt x="132" y="123"/>
                    <a:pt x="135" y="136"/>
                    <a:pt x="139" y="141"/>
                  </a:cubicBezTo>
                  <a:cubicBezTo>
                    <a:pt x="148" y="155"/>
                    <a:pt x="190" y="219"/>
                    <a:pt x="179" y="239"/>
                  </a:cubicBezTo>
                  <a:cubicBezTo>
                    <a:pt x="168" y="259"/>
                    <a:pt x="148" y="259"/>
                    <a:pt x="135" y="274"/>
                  </a:cubicBezTo>
                  <a:cubicBezTo>
                    <a:pt x="121" y="290"/>
                    <a:pt x="44" y="358"/>
                    <a:pt x="42" y="369"/>
                  </a:cubicBezTo>
                  <a:cubicBezTo>
                    <a:pt x="39" y="381"/>
                    <a:pt x="55" y="429"/>
                    <a:pt x="44" y="438"/>
                  </a:cubicBezTo>
                  <a:cubicBezTo>
                    <a:pt x="33" y="447"/>
                    <a:pt x="0" y="493"/>
                    <a:pt x="0" y="511"/>
                  </a:cubicBezTo>
                  <a:cubicBezTo>
                    <a:pt x="0" y="529"/>
                    <a:pt x="24" y="553"/>
                    <a:pt x="44" y="560"/>
                  </a:cubicBezTo>
                  <a:cubicBezTo>
                    <a:pt x="52" y="563"/>
                    <a:pt x="58" y="567"/>
                    <a:pt x="60" y="571"/>
                  </a:cubicBezTo>
                  <a:cubicBezTo>
                    <a:pt x="76" y="569"/>
                    <a:pt x="90" y="568"/>
                    <a:pt x="99" y="568"/>
                  </a:cubicBezTo>
                  <a:cubicBezTo>
                    <a:pt x="113" y="568"/>
                    <a:pt x="178" y="586"/>
                    <a:pt x="199" y="586"/>
                  </a:cubicBezTo>
                  <a:cubicBezTo>
                    <a:pt x="219" y="586"/>
                    <a:pt x="249" y="595"/>
                    <a:pt x="258" y="603"/>
                  </a:cubicBezTo>
                  <a:cubicBezTo>
                    <a:pt x="267" y="612"/>
                    <a:pt x="287" y="606"/>
                    <a:pt x="302" y="592"/>
                  </a:cubicBezTo>
                  <a:cubicBezTo>
                    <a:pt x="317" y="577"/>
                    <a:pt x="335" y="586"/>
                    <a:pt x="352" y="586"/>
                  </a:cubicBezTo>
                  <a:cubicBezTo>
                    <a:pt x="370" y="586"/>
                    <a:pt x="400" y="571"/>
                    <a:pt x="408" y="556"/>
                  </a:cubicBezTo>
                  <a:cubicBezTo>
                    <a:pt x="417" y="542"/>
                    <a:pt x="506" y="518"/>
                    <a:pt x="529" y="515"/>
                  </a:cubicBezTo>
                  <a:cubicBezTo>
                    <a:pt x="553" y="512"/>
                    <a:pt x="588" y="559"/>
                    <a:pt x="609" y="559"/>
                  </a:cubicBezTo>
                  <a:cubicBezTo>
                    <a:pt x="630" y="559"/>
                    <a:pt x="668" y="574"/>
                    <a:pt x="680" y="612"/>
                  </a:cubicBezTo>
                  <a:cubicBezTo>
                    <a:pt x="692" y="651"/>
                    <a:pt x="727" y="698"/>
                    <a:pt x="742" y="713"/>
                  </a:cubicBezTo>
                  <a:cubicBezTo>
                    <a:pt x="757" y="727"/>
                    <a:pt x="765" y="766"/>
                    <a:pt x="765" y="778"/>
                  </a:cubicBezTo>
                  <a:cubicBezTo>
                    <a:pt x="765" y="789"/>
                    <a:pt x="733" y="775"/>
                    <a:pt x="698" y="766"/>
                  </a:cubicBezTo>
                  <a:cubicBezTo>
                    <a:pt x="662" y="757"/>
                    <a:pt x="659" y="792"/>
                    <a:pt x="659" y="810"/>
                  </a:cubicBezTo>
                  <a:cubicBezTo>
                    <a:pt x="659" y="828"/>
                    <a:pt x="609" y="890"/>
                    <a:pt x="600" y="902"/>
                  </a:cubicBezTo>
                  <a:cubicBezTo>
                    <a:pt x="591" y="913"/>
                    <a:pt x="618" y="922"/>
                    <a:pt x="639" y="925"/>
                  </a:cubicBezTo>
                  <a:cubicBezTo>
                    <a:pt x="647" y="926"/>
                    <a:pt x="683" y="902"/>
                    <a:pt x="695" y="902"/>
                  </a:cubicBezTo>
                  <a:cubicBezTo>
                    <a:pt x="700" y="902"/>
                    <a:pt x="714" y="913"/>
                    <a:pt x="730" y="926"/>
                  </a:cubicBezTo>
                  <a:cubicBezTo>
                    <a:pt x="727" y="880"/>
                    <a:pt x="736" y="883"/>
                    <a:pt x="777" y="851"/>
                  </a:cubicBezTo>
                  <a:cubicBezTo>
                    <a:pt x="820" y="819"/>
                    <a:pt x="825" y="758"/>
                    <a:pt x="863" y="751"/>
                  </a:cubicBezTo>
                  <a:cubicBezTo>
                    <a:pt x="901" y="744"/>
                    <a:pt x="917" y="726"/>
                    <a:pt x="974" y="735"/>
                  </a:cubicBezTo>
                  <a:cubicBezTo>
                    <a:pt x="1030" y="744"/>
                    <a:pt x="946" y="779"/>
                    <a:pt x="984" y="800"/>
                  </a:cubicBezTo>
                  <a:cubicBezTo>
                    <a:pt x="1022" y="820"/>
                    <a:pt x="1140" y="794"/>
                    <a:pt x="1146" y="823"/>
                  </a:cubicBezTo>
                  <a:cubicBezTo>
                    <a:pt x="1152" y="853"/>
                    <a:pt x="1010" y="882"/>
                    <a:pt x="1013" y="897"/>
                  </a:cubicBezTo>
                  <a:cubicBezTo>
                    <a:pt x="1016" y="912"/>
                    <a:pt x="1089" y="927"/>
                    <a:pt x="1114" y="943"/>
                  </a:cubicBezTo>
                  <a:cubicBezTo>
                    <a:pt x="1139" y="959"/>
                    <a:pt x="1106" y="1005"/>
                    <a:pt x="1118" y="1020"/>
                  </a:cubicBezTo>
                  <a:cubicBezTo>
                    <a:pt x="1130" y="1034"/>
                    <a:pt x="1168" y="1023"/>
                    <a:pt x="1199" y="1000"/>
                  </a:cubicBezTo>
                  <a:cubicBezTo>
                    <a:pt x="1230" y="978"/>
                    <a:pt x="1255" y="986"/>
                    <a:pt x="1295" y="959"/>
                  </a:cubicBezTo>
                  <a:cubicBezTo>
                    <a:pt x="1335" y="933"/>
                    <a:pt x="1418" y="956"/>
                    <a:pt x="1428" y="940"/>
                  </a:cubicBezTo>
                  <a:cubicBezTo>
                    <a:pt x="1438" y="924"/>
                    <a:pt x="1405" y="907"/>
                    <a:pt x="1328" y="913"/>
                  </a:cubicBezTo>
                  <a:cubicBezTo>
                    <a:pt x="1251" y="919"/>
                    <a:pt x="1247" y="847"/>
                    <a:pt x="1247" y="832"/>
                  </a:cubicBezTo>
                  <a:cubicBezTo>
                    <a:pt x="1247" y="817"/>
                    <a:pt x="1326" y="757"/>
                    <a:pt x="1372" y="753"/>
                  </a:cubicBezTo>
                  <a:cubicBezTo>
                    <a:pt x="1418" y="748"/>
                    <a:pt x="1455" y="735"/>
                    <a:pt x="1499" y="714"/>
                  </a:cubicBezTo>
                  <a:cubicBezTo>
                    <a:pt x="1517" y="706"/>
                    <a:pt x="1548" y="697"/>
                    <a:pt x="1580" y="691"/>
                  </a:cubicBezTo>
                  <a:cubicBezTo>
                    <a:pt x="1575" y="670"/>
                    <a:pt x="1569" y="646"/>
                    <a:pt x="1582" y="6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12816916" y="5611630"/>
              <a:ext cx="474132" cy="341777"/>
            </a:xfrm>
            <a:custGeom>
              <a:avLst/>
              <a:gdLst>
                <a:gd name="T0" fmla="*/ 879 w 939"/>
                <a:gd name="T1" fmla="*/ 331 h 677"/>
                <a:gd name="T2" fmla="*/ 821 w 939"/>
                <a:gd name="T3" fmla="*/ 275 h 677"/>
                <a:gd name="T4" fmla="*/ 775 w 939"/>
                <a:gd name="T5" fmla="*/ 214 h 677"/>
                <a:gd name="T6" fmla="*/ 764 w 939"/>
                <a:gd name="T7" fmla="*/ 143 h 677"/>
                <a:gd name="T8" fmla="*/ 755 w 939"/>
                <a:gd name="T9" fmla="*/ 74 h 677"/>
                <a:gd name="T10" fmla="*/ 662 w 939"/>
                <a:gd name="T11" fmla="*/ 48 h 677"/>
                <a:gd name="T12" fmla="*/ 609 w 939"/>
                <a:gd name="T13" fmla="*/ 48 h 677"/>
                <a:gd name="T14" fmla="*/ 558 w 939"/>
                <a:gd name="T15" fmla="*/ 23 h 677"/>
                <a:gd name="T16" fmla="*/ 505 w 939"/>
                <a:gd name="T17" fmla="*/ 8 h 677"/>
                <a:gd name="T18" fmla="*/ 500 w 939"/>
                <a:gd name="T19" fmla="*/ 0 h 677"/>
                <a:gd name="T20" fmla="*/ 469 w 939"/>
                <a:gd name="T21" fmla="*/ 13 h 677"/>
                <a:gd name="T22" fmla="*/ 430 w 939"/>
                <a:gd name="T23" fmla="*/ 48 h 677"/>
                <a:gd name="T24" fmla="*/ 363 w 939"/>
                <a:gd name="T25" fmla="*/ 57 h 677"/>
                <a:gd name="T26" fmla="*/ 336 w 939"/>
                <a:gd name="T27" fmla="*/ 110 h 677"/>
                <a:gd name="T28" fmla="*/ 324 w 939"/>
                <a:gd name="T29" fmla="*/ 149 h 677"/>
                <a:gd name="T30" fmla="*/ 292 w 939"/>
                <a:gd name="T31" fmla="*/ 175 h 677"/>
                <a:gd name="T32" fmla="*/ 242 w 939"/>
                <a:gd name="T33" fmla="*/ 222 h 677"/>
                <a:gd name="T34" fmla="*/ 227 w 939"/>
                <a:gd name="T35" fmla="*/ 270 h 677"/>
                <a:gd name="T36" fmla="*/ 162 w 939"/>
                <a:gd name="T37" fmla="*/ 290 h 677"/>
                <a:gd name="T38" fmla="*/ 112 w 939"/>
                <a:gd name="T39" fmla="*/ 314 h 677"/>
                <a:gd name="T40" fmla="*/ 39 w 939"/>
                <a:gd name="T41" fmla="*/ 309 h 677"/>
                <a:gd name="T42" fmla="*/ 38 w 939"/>
                <a:gd name="T43" fmla="*/ 318 h 677"/>
                <a:gd name="T44" fmla="*/ 53 w 939"/>
                <a:gd name="T45" fmla="*/ 393 h 677"/>
                <a:gd name="T46" fmla="*/ 58 w 939"/>
                <a:gd name="T47" fmla="*/ 479 h 677"/>
                <a:gd name="T48" fmla="*/ 0 w 939"/>
                <a:gd name="T49" fmla="*/ 530 h 677"/>
                <a:gd name="T50" fmla="*/ 33 w 939"/>
                <a:gd name="T51" fmla="*/ 581 h 677"/>
                <a:gd name="T52" fmla="*/ 32 w 939"/>
                <a:gd name="T53" fmla="*/ 636 h 677"/>
                <a:gd name="T54" fmla="*/ 85 w 939"/>
                <a:gd name="T55" fmla="*/ 624 h 677"/>
                <a:gd name="T56" fmla="*/ 150 w 939"/>
                <a:gd name="T57" fmla="*/ 585 h 677"/>
                <a:gd name="T58" fmla="*/ 321 w 939"/>
                <a:gd name="T59" fmla="*/ 606 h 677"/>
                <a:gd name="T60" fmla="*/ 413 w 939"/>
                <a:gd name="T61" fmla="*/ 621 h 677"/>
                <a:gd name="T62" fmla="*/ 481 w 939"/>
                <a:gd name="T63" fmla="*/ 630 h 677"/>
                <a:gd name="T64" fmla="*/ 546 w 939"/>
                <a:gd name="T65" fmla="*/ 636 h 677"/>
                <a:gd name="T66" fmla="*/ 611 w 939"/>
                <a:gd name="T67" fmla="*/ 656 h 677"/>
                <a:gd name="T68" fmla="*/ 702 w 939"/>
                <a:gd name="T69" fmla="*/ 662 h 677"/>
                <a:gd name="T70" fmla="*/ 720 w 939"/>
                <a:gd name="T71" fmla="*/ 630 h 677"/>
                <a:gd name="T72" fmla="*/ 779 w 939"/>
                <a:gd name="T73" fmla="*/ 565 h 677"/>
                <a:gd name="T74" fmla="*/ 843 w 939"/>
                <a:gd name="T75" fmla="*/ 552 h 677"/>
                <a:gd name="T76" fmla="*/ 828 w 939"/>
                <a:gd name="T77" fmla="*/ 510 h 677"/>
                <a:gd name="T78" fmla="*/ 813 w 939"/>
                <a:gd name="T79" fmla="*/ 417 h 677"/>
                <a:gd name="T80" fmla="*/ 883 w 939"/>
                <a:gd name="T81" fmla="*/ 428 h 677"/>
                <a:gd name="T82" fmla="*/ 934 w 939"/>
                <a:gd name="T83" fmla="*/ 382 h 677"/>
                <a:gd name="T84" fmla="*/ 879 w 939"/>
                <a:gd name="T85" fmla="*/ 331 h 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39" h="677">
                  <a:moveTo>
                    <a:pt x="879" y="331"/>
                  </a:moveTo>
                  <a:cubicBezTo>
                    <a:pt x="861" y="326"/>
                    <a:pt x="850" y="287"/>
                    <a:pt x="821" y="275"/>
                  </a:cubicBezTo>
                  <a:cubicBezTo>
                    <a:pt x="793" y="264"/>
                    <a:pt x="799" y="229"/>
                    <a:pt x="775" y="214"/>
                  </a:cubicBezTo>
                  <a:cubicBezTo>
                    <a:pt x="751" y="198"/>
                    <a:pt x="766" y="167"/>
                    <a:pt x="764" y="143"/>
                  </a:cubicBezTo>
                  <a:cubicBezTo>
                    <a:pt x="762" y="118"/>
                    <a:pt x="768" y="81"/>
                    <a:pt x="755" y="74"/>
                  </a:cubicBezTo>
                  <a:cubicBezTo>
                    <a:pt x="742" y="67"/>
                    <a:pt x="686" y="36"/>
                    <a:pt x="662" y="48"/>
                  </a:cubicBezTo>
                  <a:cubicBezTo>
                    <a:pt x="638" y="59"/>
                    <a:pt x="620" y="67"/>
                    <a:pt x="609" y="48"/>
                  </a:cubicBezTo>
                  <a:cubicBezTo>
                    <a:pt x="598" y="28"/>
                    <a:pt x="582" y="16"/>
                    <a:pt x="558" y="23"/>
                  </a:cubicBezTo>
                  <a:cubicBezTo>
                    <a:pt x="534" y="30"/>
                    <a:pt x="518" y="19"/>
                    <a:pt x="505" y="8"/>
                  </a:cubicBezTo>
                  <a:cubicBezTo>
                    <a:pt x="503" y="6"/>
                    <a:pt x="501" y="3"/>
                    <a:pt x="500" y="0"/>
                  </a:cubicBezTo>
                  <a:cubicBezTo>
                    <a:pt x="490" y="2"/>
                    <a:pt x="477" y="6"/>
                    <a:pt x="469" y="13"/>
                  </a:cubicBezTo>
                  <a:cubicBezTo>
                    <a:pt x="454" y="25"/>
                    <a:pt x="451" y="48"/>
                    <a:pt x="430" y="48"/>
                  </a:cubicBezTo>
                  <a:cubicBezTo>
                    <a:pt x="410" y="48"/>
                    <a:pt x="386" y="39"/>
                    <a:pt x="363" y="57"/>
                  </a:cubicBezTo>
                  <a:cubicBezTo>
                    <a:pt x="339" y="75"/>
                    <a:pt x="333" y="96"/>
                    <a:pt x="336" y="110"/>
                  </a:cubicBezTo>
                  <a:cubicBezTo>
                    <a:pt x="339" y="125"/>
                    <a:pt x="342" y="149"/>
                    <a:pt x="324" y="149"/>
                  </a:cubicBezTo>
                  <a:cubicBezTo>
                    <a:pt x="306" y="149"/>
                    <a:pt x="309" y="169"/>
                    <a:pt x="292" y="175"/>
                  </a:cubicBezTo>
                  <a:cubicBezTo>
                    <a:pt x="274" y="181"/>
                    <a:pt x="244" y="208"/>
                    <a:pt x="242" y="222"/>
                  </a:cubicBezTo>
                  <a:cubicBezTo>
                    <a:pt x="239" y="237"/>
                    <a:pt x="239" y="270"/>
                    <a:pt x="227" y="270"/>
                  </a:cubicBezTo>
                  <a:cubicBezTo>
                    <a:pt x="215" y="270"/>
                    <a:pt x="174" y="275"/>
                    <a:pt x="162" y="290"/>
                  </a:cubicBezTo>
                  <a:cubicBezTo>
                    <a:pt x="150" y="305"/>
                    <a:pt x="135" y="320"/>
                    <a:pt x="112" y="314"/>
                  </a:cubicBezTo>
                  <a:cubicBezTo>
                    <a:pt x="100" y="311"/>
                    <a:pt x="67" y="309"/>
                    <a:pt x="39" y="309"/>
                  </a:cubicBezTo>
                  <a:cubicBezTo>
                    <a:pt x="39" y="312"/>
                    <a:pt x="39" y="314"/>
                    <a:pt x="38" y="318"/>
                  </a:cubicBezTo>
                  <a:cubicBezTo>
                    <a:pt x="27" y="349"/>
                    <a:pt x="36" y="377"/>
                    <a:pt x="53" y="393"/>
                  </a:cubicBezTo>
                  <a:cubicBezTo>
                    <a:pt x="71" y="408"/>
                    <a:pt x="78" y="470"/>
                    <a:pt x="58" y="479"/>
                  </a:cubicBezTo>
                  <a:cubicBezTo>
                    <a:pt x="38" y="488"/>
                    <a:pt x="0" y="515"/>
                    <a:pt x="0" y="530"/>
                  </a:cubicBezTo>
                  <a:cubicBezTo>
                    <a:pt x="0" y="546"/>
                    <a:pt x="40" y="559"/>
                    <a:pt x="33" y="581"/>
                  </a:cubicBezTo>
                  <a:cubicBezTo>
                    <a:pt x="30" y="594"/>
                    <a:pt x="30" y="616"/>
                    <a:pt x="32" y="636"/>
                  </a:cubicBezTo>
                  <a:cubicBezTo>
                    <a:pt x="51" y="637"/>
                    <a:pt x="69" y="640"/>
                    <a:pt x="85" y="624"/>
                  </a:cubicBezTo>
                  <a:cubicBezTo>
                    <a:pt x="103" y="606"/>
                    <a:pt x="112" y="585"/>
                    <a:pt x="150" y="585"/>
                  </a:cubicBezTo>
                  <a:cubicBezTo>
                    <a:pt x="188" y="585"/>
                    <a:pt x="304" y="585"/>
                    <a:pt x="321" y="606"/>
                  </a:cubicBezTo>
                  <a:cubicBezTo>
                    <a:pt x="339" y="627"/>
                    <a:pt x="386" y="609"/>
                    <a:pt x="413" y="621"/>
                  </a:cubicBezTo>
                  <a:cubicBezTo>
                    <a:pt x="439" y="633"/>
                    <a:pt x="478" y="644"/>
                    <a:pt x="481" y="630"/>
                  </a:cubicBezTo>
                  <a:cubicBezTo>
                    <a:pt x="484" y="615"/>
                    <a:pt x="519" y="650"/>
                    <a:pt x="546" y="636"/>
                  </a:cubicBezTo>
                  <a:cubicBezTo>
                    <a:pt x="572" y="621"/>
                    <a:pt x="596" y="665"/>
                    <a:pt x="611" y="656"/>
                  </a:cubicBezTo>
                  <a:cubicBezTo>
                    <a:pt x="625" y="647"/>
                    <a:pt x="687" y="647"/>
                    <a:pt x="702" y="662"/>
                  </a:cubicBezTo>
                  <a:cubicBezTo>
                    <a:pt x="717" y="677"/>
                    <a:pt x="720" y="647"/>
                    <a:pt x="720" y="630"/>
                  </a:cubicBezTo>
                  <a:cubicBezTo>
                    <a:pt x="720" y="612"/>
                    <a:pt x="779" y="565"/>
                    <a:pt x="779" y="565"/>
                  </a:cubicBezTo>
                  <a:cubicBezTo>
                    <a:pt x="779" y="565"/>
                    <a:pt x="819" y="563"/>
                    <a:pt x="843" y="552"/>
                  </a:cubicBezTo>
                  <a:cubicBezTo>
                    <a:pt x="838" y="544"/>
                    <a:pt x="833" y="532"/>
                    <a:pt x="828" y="510"/>
                  </a:cubicBezTo>
                  <a:cubicBezTo>
                    <a:pt x="817" y="461"/>
                    <a:pt x="799" y="433"/>
                    <a:pt x="813" y="417"/>
                  </a:cubicBezTo>
                  <a:cubicBezTo>
                    <a:pt x="826" y="402"/>
                    <a:pt x="864" y="437"/>
                    <a:pt x="883" y="428"/>
                  </a:cubicBezTo>
                  <a:cubicBezTo>
                    <a:pt x="903" y="419"/>
                    <a:pt x="939" y="402"/>
                    <a:pt x="934" y="382"/>
                  </a:cubicBezTo>
                  <a:cubicBezTo>
                    <a:pt x="930" y="362"/>
                    <a:pt x="897" y="335"/>
                    <a:pt x="879" y="3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12697963" y="5475924"/>
              <a:ext cx="371934" cy="175914"/>
            </a:xfrm>
            <a:custGeom>
              <a:avLst/>
              <a:gdLst>
                <a:gd name="T0" fmla="*/ 250 w 737"/>
                <a:gd name="T1" fmla="*/ 244 h 349"/>
                <a:gd name="T2" fmla="*/ 376 w 737"/>
                <a:gd name="T3" fmla="*/ 244 h 349"/>
                <a:gd name="T4" fmla="*/ 435 w 737"/>
                <a:gd name="T5" fmla="*/ 266 h 349"/>
                <a:gd name="T6" fmla="*/ 530 w 737"/>
                <a:gd name="T7" fmla="*/ 316 h 349"/>
                <a:gd name="T8" fmla="*/ 580 w 737"/>
                <a:gd name="T9" fmla="*/ 349 h 349"/>
                <a:gd name="T10" fmla="*/ 600 w 737"/>
                <a:gd name="T11" fmla="*/ 327 h 349"/>
                <a:gd name="T12" fmla="*/ 667 w 737"/>
                <a:gd name="T13" fmla="*/ 318 h 349"/>
                <a:gd name="T14" fmla="*/ 706 w 737"/>
                <a:gd name="T15" fmla="*/ 283 h 349"/>
                <a:gd name="T16" fmla="*/ 737 w 737"/>
                <a:gd name="T17" fmla="*/ 270 h 349"/>
                <a:gd name="T18" fmla="*/ 715 w 737"/>
                <a:gd name="T19" fmla="*/ 209 h 349"/>
                <a:gd name="T20" fmla="*/ 684 w 737"/>
                <a:gd name="T21" fmla="*/ 151 h 349"/>
                <a:gd name="T22" fmla="*/ 673 w 737"/>
                <a:gd name="T23" fmla="*/ 96 h 349"/>
                <a:gd name="T24" fmla="*/ 656 w 737"/>
                <a:gd name="T25" fmla="*/ 71 h 349"/>
                <a:gd name="T26" fmla="*/ 561 w 737"/>
                <a:gd name="T27" fmla="*/ 64 h 349"/>
                <a:gd name="T28" fmla="*/ 461 w 737"/>
                <a:gd name="T29" fmla="*/ 5 h 349"/>
                <a:gd name="T30" fmla="*/ 353 w 737"/>
                <a:gd name="T31" fmla="*/ 7 h 349"/>
                <a:gd name="T32" fmla="*/ 344 w 737"/>
                <a:gd name="T33" fmla="*/ 106 h 349"/>
                <a:gd name="T34" fmla="*/ 263 w 737"/>
                <a:gd name="T35" fmla="*/ 144 h 349"/>
                <a:gd name="T36" fmla="*/ 175 w 737"/>
                <a:gd name="T37" fmla="*/ 41 h 349"/>
                <a:gd name="T38" fmla="*/ 79 w 737"/>
                <a:gd name="T39" fmla="*/ 85 h 349"/>
                <a:gd name="T40" fmla="*/ 39 w 737"/>
                <a:gd name="T41" fmla="*/ 165 h 349"/>
                <a:gd name="T42" fmla="*/ 24 w 737"/>
                <a:gd name="T43" fmla="*/ 259 h 349"/>
                <a:gd name="T44" fmla="*/ 26 w 737"/>
                <a:gd name="T45" fmla="*/ 264 h 349"/>
                <a:gd name="T46" fmla="*/ 106 w 737"/>
                <a:gd name="T47" fmla="*/ 244 h 349"/>
                <a:gd name="T48" fmla="*/ 250 w 737"/>
                <a:gd name="T49" fmla="*/ 244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37" h="349">
                  <a:moveTo>
                    <a:pt x="250" y="244"/>
                  </a:moveTo>
                  <a:cubicBezTo>
                    <a:pt x="277" y="244"/>
                    <a:pt x="340" y="257"/>
                    <a:pt x="376" y="244"/>
                  </a:cubicBezTo>
                  <a:cubicBezTo>
                    <a:pt x="412" y="230"/>
                    <a:pt x="412" y="271"/>
                    <a:pt x="435" y="266"/>
                  </a:cubicBezTo>
                  <a:cubicBezTo>
                    <a:pt x="457" y="262"/>
                    <a:pt x="503" y="293"/>
                    <a:pt x="530" y="316"/>
                  </a:cubicBezTo>
                  <a:cubicBezTo>
                    <a:pt x="544" y="328"/>
                    <a:pt x="561" y="338"/>
                    <a:pt x="580" y="349"/>
                  </a:cubicBezTo>
                  <a:cubicBezTo>
                    <a:pt x="584" y="341"/>
                    <a:pt x="590" y="334"/>
                    <a:pt x="600" y="327"/>
                  </a:cubicBezTo>
                  <a:cubicBezTo>
                    <a:pt x="623" y="309"/>
                    <a:pt x="647" y="318"/>
                    <a:pt x="667" y="318"/>
                  </a:cubicBezTo>
                  <a:cubicBezTo>
                    <a:pt x="688" y="318"/>
                    <a:pt x="691" y="295"/>
                    <a:pt x="706" y="283"/>
                  </a:cubicBezTo>
                  <a:cubicBezTo>
                    <a:pt x="714" y="276"/>
                    <a:pt x="727" y="272"/>
                    <a:pt x="737" y="270"/>
                  </a:cubicBezTo>
                  <a:cubicBezTo>
                    <a:pt x="729" y="254"/>
                    <a:pt x="729" y="222"/>
                    <a:pt x="715" y="209"/>
                  </a:cubicBezTo>
                  <a:cubicBezTo>
                    <a:pt x="700" y="194"/>
                    <a:pt x="678" y="167"/>
                    <a:pt x="684" y="151"/>
                  </a:cubicBezTo>
                  <a:cubicBezTo>
                    <a:pt x="691" y="136"/>
                    <a:pt x="691" y="114"/>
                    <a:pt x="673" y="96"/>
                  </a:cubicBezTo>
                  <a:cubicBezTo>
                    <a:pt x="666" y="88"/>
                    <a:pt x="660" y="79"/>
                    <a:pt x="656" y="71"/>
                  </a:cubicBezTo>
                  <a:cubicBezTo>
                    <a:pt x="620" y="66"/>
                    <a:pt x="572" y="61"/>
                    <a:pt x="561" y="64"/>
                  </a:cubicBezTo>
                  <a:cubicBezTo>
                    <a:pt x="543" y="70"/>
                    <a:pt x="473" y="14"/>
                    <a:pt x="461" y="5"/>
                  </a:cubicBezTo>
                  <a:cubicBezTo>
                    <a:pt x="453" y="0"/>
                    <a:pt x="401" y="3"/>
                    <a:pt x="353" y="7"/>
                  </a:cubicBezTo>
                  <a:cubicBezTo>
                    <a:pt x="326" y="37"/>
                    <a:pt x="346" y="59"/>
                    <a:pt x="344" y="106"/>
                  </a:cubicBezTo>
                  <a:cubicBezTo>
                    <a:pt x="343" y="153"/>
                    <a:pt x="291" y="144"/>
                    <a:pt x="263" y="144"/>
                  </a:cubicBezTo>
                  <a:cubicBezTo>
                    <a:pt x="235" y="144"/>
                    <a:pt x="189" y="60"/>
                    <a:pt x="175" y="41"/>
                  </a:cubicBezTo>
                  <a:cubicBezTo>
                    <a:pt x="160" y="22"/>
                    <a:pt x="112" y="64"/>
                    <a:pt x="79" y="85"/>
                  </a:cubicBezTo>
                  <a:cubicBezTo>
                    <a:pt x="45" y="106"/>
                    <a:pt x="62" y="146"/>
                    <a:pt x="39" y="165"/>
                  </a:cubicBezTo>
                  <a:cubicBezTo>
                    <a:pt x="15" y="184"/>
                    <a:pt x="0" y="216"/>
                    <a:pt x="24" y="259"/>
                  </a:cubicBezTo>
                  <a:cubicBezTo>
                    <a:pt x="25" y="261"/>
                    <a:pt x="26" y="263"/>
                    <a:pt x="26" y="264"/>
                  </a:cubicBezTo>
                  <a:cubicBezTo>
                    <a:pt x="56" y="262"/>
                    <a:pt x="87" y="257"/>
                    <a:pt x="106" y="244"/>
                  </a:cubicBezTo>
                  <a:cubicBezTo>
                    <a:pt x="137" y="221"/>
                    <a:pt x="223" y="244"/>
                    <a:pt x="250" y="2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12697963" y="5586498"/>
              <a:ext cx="293191" cy="187642"/>
            </a:xfrm>
            <a:custGeom>
              <a:avLst/>
              <a:gdLst>
                <a:gd name="T0" fmla="*/ 81 w 579"/>
                <a:gd name="T1" fmla="*/ 185 h 369"/>
                <a:gd name="T2" fmla="*/ 141 w 579"/>
                <a:gd name="T3" fmla="*/ 207 h 369"/>
                <a:gd name="T4" fmla="*/ 196 w 579"/>
                <a:gd name="T5" fmla="*/ 240 h 369"/>
                <a:gd name="T6" fmla="*/ 196 w 579"/>
                <a:gd name="T7" fmla="*/ 311 h 369"/>
                <a:gd name="T8" fmla="*/ 275 w 579"/>
                <a:gd name="T9" fmla="*/ 358 h 369"/>
                <a:gd name="T10" fmla="*/ 348 w 579"/>
                <a:gd name="T11" fmla="*/ 363 h 369"/>
                <a:gd name="T12" fmla="*/ 398 w 579"/>
                <a:gd name="T13" fmla="*/ 339 h 369"/>
                <a:gd name="T14" fmla="*/ 463 w 579"/>
                <a:gd name="T15" fmla="*/ 319 h 369"/>
                <a:gd name="T16" fmla="*/ 478 w 579"/>
                <a:gd name="T17" fmla="*/ 271 h 369"/>
                <a:gd name="T18" fmla="*/ 528 w 579"/>
                <a:gd name="T19" fmla="*/ 224 h 369"/>
                <a:gd name="T20" fmla="*/ 560 w 579"/>
                <a:gd name="T21" fmla="*/ 198 h 369"/>
                <a:gd name="T22" fmla="*/ 572 w 579"/>
                <a:gd name="T23" fmla="*/ 159 h 369"/>
                <a:gd name="T24" fmla="*/ 579 w 579"/>
                <a:gd name="T25" fmla="*/ 128 h 369"/>
                <a:gd name="T26" fmla="*/ 529 w 579"/>
                <a:gd name="T27" fmla="*/ 95 h 369"/>
                <a:gd name="T28" fmla="*/ 434 w 579"/>
                <a:gd name="T29" fmla="*/ 45 h 369"/>
                <a:gd name="T30" fmla="*/ 375 w 579"/>
                <a:gd name="T31" fmla="*/ 23 h 369"/>
                <a:gd name="T32" fmla="*/ 249 w 579"/>
                <a:gd name="T33" fmla="*/ 23 h 369"/>
                <a:gd name="T34" fmla="*/ 105 w 579"/>
                <a:gd name="T35" fmla="*/ 23 h 369"/>
                <a:gd name="T36" fmla="*/ 25 w 579"/>
                <a:gd name="T37" fmla="*/ 43 h 369"/>
                <a:gd name="T38" fmla="*/ 16 w 579"/>
                <a:gd name="T39" fmla="*/ 152 h 369"/>
                <a:gd name="T40" fmla="*/ 21 w 579"/>
                <a:gd name="T41" fmla="*/ 180 h 369"/>
                <a:gd name="T42" fmla="*/ 81 w 579"/>
                <a:gd name="T43" fmla="*/ 185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9" h="369">
                  <a:moveTo>
                    <a:pt x="81" y="185"/>
                  </a:moveTo>
                  <a:cubicBezTo>
                    <a:pt x="92" y="201"/>
                    <a:pt x="128" y="214"/>
                    <a:pt x="141" y="207"/>
                  </a:cubicBezTo>
                  <a:cubicBezTo>
                    <a:pt x="154" y="201"/>
                    <a:pt x="196" y="223"/>
                    <a:pt x="196" y="240"/>
                  </a:cubicBezTo>
                  <a:cubicBezTo>
                    <a:pt x="196" y="258"/>
                    <a:pt x="185" y="311"/>
                    <a:pt x="196" y="311"/>
                  </a:cubicBezTo>
                  <a:cubicBezTo>
                    <a:pt x="206" y="311"/>
                    <a:pt x="270" y="331"/>
                    <a:pt x="275" y="358"/>
                  </a:cubicBezTo>
                  <a:cubicBezTo>
                    <a:pt x="303" y="358"/>
                    <a:pt x="336" y="360"/>
                    <a:pt x="348" y="363"/>
                  </a:cubicBezTo>
                  <a:cubicBezTo>
                    <a:pt x="371" y="369"/>
                    <a:pt x="386" y="354"/>
                    <a:pt x="398" y="339"/>
                  </a:cubicBezTo>
                  <a:cubicBezTo>
                    <a:pt x="410" y="324"/>
                    <a:pt x="451" y="319"/>
                    <a:pt x="463" y="319"/>
                  </a:cubicBezTo>
                  <a:cubicBezTo>
                    <a:pt x="475" y="319"/>
                    <a:pt x="475" y="286"/>
                    <a:pt x="478" y="271"/>
                  </a:cubicBezTo>
                  <a:cubicBezTo>
                    <a:pt x="480" y="257"/>
                    <a:pt x="510" y="230"/>
                    <a:pt x="528" y="224"/>
                  </a:cubicBezTo>
                  <a:cubicBezTo>
                    <a:pt x="545" y="218"/>
                    <a:pt x="542" y="198"/>
                    <a:pt x="560" y="198"/>
                  </a:cubicBezTo>
                  <a:cubicBezTo>
                    <a:pt x="578" y="198"/>
                    <a:pt x="575" y="174"/>
                    <a:pt x="572" y="159"/>
                  </a:cubicBezTo>
                  <a:cubicBezTo>
                    <a:pt x="570" y="150"/>
                    <a:pt x="572" y="139"/>
                    <a:pt x="579" y="128"/>
                  </a:cubicBezTo>
                  <a:cubicBezTo>
                    <a:pt x="560" y="117"/>
                    <a:pt x="543" y="107"/>
                    <a:pt x="529" y="95"/>
                  </a:cubicBezTo>
                  <a:cubicBezTo>
                    <a:pt x="502" y="72"/>
                    <a:pt x="456" y="41"/>
                    <a:pt x="434" y="45"/>
                  </a:cubicBezTo>
                  <a:cubicBezTo>
                    <a:pt x="411" y="50"/>
                    <a:pt x="411" y="9"/>
                    <a:pt x="375" y="23"/>
                  </a:cubicBezTo>
                  <a:cubicBezTo>
                    <a:pt x="339" y="36"/>
                    <a:pt x="276" y="23"/>
                    <a:pt x="249" y="23"/>
                  </a:cubicBezTo>
                  <a:cubicBezTo>
                    <a:pt x="222" y="23"/>
                    <a:pt x="136" y="0"/>
                    <a:pt x="105" y="23"/>
                  </a:cubicBezTo>
                  <a:cubicBezTo>
                    <a:pt x="86" y="36"/>
                    <a:pt x="55" y="41"/>
                    <a:pt x="25" y="43"/>
                  </a:cubicBezTo>
                  <a:cubicBezTo>
                    <a:pt x="46" y="85"/>
                    <a:pt x="38" y="126"/>
                    <a:pt x="16" y="152"/>
                  </a:cubicBezTo>
                  <a:cubicBezTo>
                    <a:pt x="0" y="170"/>
                    <a:pt x="9" y="172"/>
                    <a:pt x="21" y="180"/>
                  </a:cubicBezTo>
                  <a:cubicBezTo>
                    <a:pt x="45" y="177"/>
                    <a:pt x="72" y="173"/>
                    <a:pt x="81" y="18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11975876" y="6192985"/>
              <a:ext cx="229527" cy="125653"/>
            </a:xfrm>
            <a:custGeom>
              <a:avLst/>
              <a:gdLst>
                <a:gd name="T0" fmla="*/ 402 w 452"/>
                <a:gd name="T1" fmla="*/ 103 h 251"/>
                <a:gd name="T2" fmla="*/ 352 w 452"/>
                <a:gd name="T3" fmla="*/ 76 h 251"/>
                <a:gd name="T4" fmla="*/ 352 w 452"/>
                <a:gd name="T5" fmla="*/ 34 h 251"/>
                <a:gd name="T6" fmla="*/ 294 w 452"/>
                <a:gd name="T7" fmla="*/ 9 h 251"/>
                <a:gd name="T8" fmla="*/ 226 w 452"/>
                <a:gd name="T9" fmla="*/ 12 h 251"/>
                <a:gd name="T10" fmla="*/ 141 w 452"/>
                <a:gd name="T11" fmla="*/ 15 h 251"/>
                <a:gd name="T12" fmla="*/ 128 w 452"/>
                <a:gd name="T13" fmla="*/ 30 h 251"/>
                <a:gd name="T14" fmla="*/ 77 w 452"/>
                <a:gd name="T15" fmla="*/ 72 h 251"/>
                <a:gd name="T16" fmla="*/ 13 w 452"/>
                <a:gd name="T17" fmla="*/ 151 h 251"/>
                <a:gd name="T18" fmla="*/ 26 w 452"/>
                <a:gd name="T19" fmla="*/ 185 h 251"/>
                <a:gd name="T20" fmla="*/ 70 w 452"/>
                <a:gd name="T21" fmla="*/ 189 h 251"/>
                <a:gd name="T22" fmla="*/ 88 w 452"/>
                <a:gd name="T23" fmla="*/ 238 h 251"/>
                <a:gd name="T24" fmla="*/ 88 w 452"/>
                <a:gd name="T25" fmla="*/ 239 h 251"/>
                <a:gd name="T26" fmla="*/ 173 w 452"/>
                <a:gd name="T27" fmla="*/ 233 h 251"/>
                <a:gd name="T28" fmla="*/ 223 w 452"/>
                <a:gd name="T29" fmla="*/ 162 h 251"/>
                <a:gd name="T30" fmla="*/ 279 w 452"/>
                <a:gd name="T31" fmla="*/ 230 h 251"/>
                <a:gd name="T32" fmla="*/ 306 w 452"/>
                <a:gd name="T33" fmla="*/ 195 h 251"/>
                <a:gd name="T34" fmla="*/ 341 w 452"/>
                <a:gd name="T35" fmla="*/ 174 h 251"/>
                <a:gd name="T36" fmla="*/ 388 w 452"/>
                <a:gd name="T37" fmla="*/ 162 h 251"/>
                <a:gd name="T38" fmla="*/ 418 w 452"/>
                <a:gd name="T39" fmla="*/ 151 h 251"/>
                <a:gd name="T40" fmla="*/ 433 w 452"/>
                <a:gd name="T41" fmla="*/ 127 h 251"/>
                <a:gd name="T42" fmla="*/ 452 w 452"/>
                <a:gd name="T43" fmla="*/ 109 h 251"/>
                <a:gd name="T44" fmla="*/ 402 w 452"/>
                <a:gd name="T45" fmla="*/ 103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2" h="251">
                  <a:moveTo>
                    <a:pt x="402" y="103"/>
                  </a:moveTo>
                  <a:cubicBezTo>
                    <a:pt x="383" y="112"/>
                    <a:pt x="352" y="85"/>
                    <a:pt x="352" y="76"/>
                  </a:cubicBezTo>
                  <a:cubicBezTo>
                    <a:pt x="352" y="70"/>
                    <a:pt x="347" y="48"/>
                    <a:pt x="352" y="34"/>
                  </a:cubicBezTo>
                  <a:cubicBezTo>
                    <a:pt x="335" y="26"/>
                    <a:pt x="312" y="14"/>
                    <a:pt x="294" y="9"/>
                  </a:cubicBezTo>
                  <a:cubicBezTo>
                    <a:pt x="264" y="0"/>
                    <a:pt x="250" y="0"/>
                    <a:pt x="226" y="12"/>
                  </a:cubicBezTo>
                  <a:cubicBezTo>
                    <a:pt x="211" y="19"/>
                    <a:pt x="170" y="17"/>
                    <a:pt x="141" y="15"/>
                  </a:cubicBezTo>
                  <a:cubicBezTo>
                    <a:pt x="139" y="24"/>
                    <a:pt x="135" y="30"/>
                    <a:pt x="128" y="30"/>
                  </a:cubicBezTo>
                  <a:cubicBezTo>
                    <a:pt x="108" y="30"/>
                    <a:pt x="82" y="50"/>
                    <a:pt x="77" y="72"/>
                  </a:cubicBezTo>
                  <a:cubicBezTo>
                    <a:pt x="73" y="94"/>
                    <a:pt x="26" y="112"/>
                    <a:pt x="13" y="151"/>
                  </a:cubicBezTo>
                  <a:cubicBezTo>
                    <a:pt x="0" y="191"/>
                    <a:pt x="6" y="209"/>
                    <a:pt x="26" y="185"/>
                  </a:cubicBezTo>
                  <a:cubicBezTo>
                    <a:pt x="46" y="160"/>
                    <a:pt x="70" y="169"/>
                    <a:pt x="70" y="189"/>
                  </a:cubicBezTo>
                  <a:cubicBezTo>
                    <a:pt x="70" y="209"/>
                    <a:pt x="97" y="211"/>
                    <a:pt x="88" y="238"/>
                  </a:cubicBezTo>
                  <a:cubicBezTo>
                    <a:pt x="88" y="238"/>
                    <a:pt x="88" y="239"/>
                    <a:pt x="88" y="239"/>
                  </a:cubicBezTo>
                  <a:cubicBezTo>
                    <a:pt x="118" y="237"/>
                    <a:pt x="160" y="233"/>
                    <a:pt x="173" y="233"/>
                  </a:cubicBezTo>
                  <a:cubicBezTo>
                    <a:pt x="194" y="233"/>
                    <a:pt x="214" y="168"/>
                    <a:pt x="223" y="162"/>
                  </a:cubicBezTo>
                  <a:cubicBezTo>
                    <a:pt x="232" y="157"/>
                    <a:pt x="256" y="210"/>
                    <a:pt x="279" y="230"/>
                  </a:cubicBezTo>
                  <a:cubicBezTo>
                    <a:pt x="303" y="251"/>
                    <a:pt x="306" y="213"/>
                    <a:pt x="306" y="195"/>
                  </a:cubicBezTo>
                  <a:cubicBezTo>
                    <a:pt x="306" y="177"/>
                    <a:pt x="327" y="171"/>
                    <a:pt x="341" y="174"/>
                  </a:cubicBezTo>
                  <a:cubicBezTo>
                    <a:pt x="356" y="177"/>
                    <a:pt x="388" y="183"/>
                    <a:pt x="388" y="162"/>
                  </a:cubicBezTo>
                  <a:cubicBezTo>
                    <a:pt x="388" y="142"/>
                    <a:pt x="406" y="151"/>
                    <a:pt x="418" y="151"/>
                  </a:cubicBezTo>
                  <a:cubicBezTo>
                    <a:pt x="430" y="151"/>
                    <a:pt x="433" y="127"/>
                    <a:pt x="433" y="127"/>
                  </a:cubicBezTo>
                  <a:cubicBezTo>
                    <a:pt x="452" y="109"/>
                    <a:pt x="452" y="109"/>
                    <a:pt x="452" y="109"/>
                  </a:cubicBezTo>
                  <a:cubicBezTo>
                    <a:pt x="436" y="101"/>
                    <a:pt x="418" y="96"/>
                    <a:pt x="402" y="10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11970850" y="5710476"/>
              <a:ext cx="452352" cy="512665"/>
            </a:xfrm>
            <a:custGeom>
              <a:avLst/>
              <a:gdLst>
                <a:gd name="T0" fmla="*/ 115 w 895"/>
                <a:gd name="T1" fmla="*/ 263 h 1014"/>
                <a:gd name="T2" fmla="*/ 65 w 895"/>
                <a:gd name="T3" fmla="*/ 310 h 1014"/>
                <a:gd name="T4" fmla="*/ 97 w 895"/>
                <a:gd name="T5" fmla="*/ 363 h 1014"/>
                <a:gd name="T6" fmla="*/ 77 w 895"/>
                <a:gd name="T7" fmla="*/ 395 h 1014"/>
                <a:gd name="T8" fmla="*/ 21 w 895"/>
                <a:gd name="T9" fmla="*/ 422 h 1014"/>
                <a:gd name="T10" fmla="*/ 15 w 895"/>
                <a:gd name="T11" fmla="*/ 469 h 1014"/>
                <a:gd name="T12" fmla="*/ 3 w 895"/>
                <a:gd name="T13" fmla="*/ 549 h 1014"/>
                <a:gd name="T14" fmla="*/ 30 w 895"/>
                <a:gd name="T15" fmla="*/ 611 h 1014"/>
                <a:gd name="T16" fmla="*/ 9 w 895"/>
                <a:gd name="T17" fmla="*/ 649 h 1014"/>
                <a:gd name="T18" fmla="*/ 40 w 895"/>
                <a:gd name="T19" fmla="*/ 732 h 1014"/>
                <a:gd name="T20" fmla="*/ 63 w 895"/>
                <a:gd name="T21" fmla="*/ 744 h 1014"/>
                <a:gd name="T22" fmla="*/ 127 w 895"/>
                <a:gd name="T23" fmla="*/ 775 h 1014"/>
                <a:gd name="T24" fmla="*/ 180 w 895"/>
                <a:gd name="T25" fmla="*/ 792 h 1014"/>
                <a:gd name="T26" fmla="*/ 200 w 895"/>
                <a:gd name="T27" fmla="*/ 825 h 1014"/>
                <a:gd name="T28" fmla="*/ 160 w 895"/>
                <a:gd name="T29" fmla="*/ 907 h 1014"/>
                <a:gd name="T30" fmla="*/ 151 w 895"/>
                <a:gd name="T31" fmla="*/ 968 h 1014"/>
                <a:gd name="T32" fmla="*/ 236 w 895"/>
                <a:gd name="T33" fmla="*/ 965 h 1014"/>
                <a:gd name="T34" fmla="*/ 304 w 895"/>
                <a:gd name="T35" fmla="*/ 962 h 1014"/>
                <a:gd name="T36" fmla="*/ 362 w 895"/>
                <a:gd name="T37" fmla="*/ 987 h 1014"/>
                <a:gd name="T38" fmla="*/ 373 w 895"/>
                <a:gd name="T39" fmla="*/ 976 h 1014"/>
                <a:gd name="T40" fmla="*/ 430 w 895"/>
                <a:gd name="T41" fmla="*/ 991 h 1014"/>
                <a:gd name="T42" fmla="*/ 490 w 895"/>
                <a:gd name="T43" fmla="*/ 983 h 1014"/>
                <a:gd name="T44" fmla="*/ 548 w 895"/>
                <a:gd name="T45" fmla="*/ 978 h 1014"/>
                <a:gd name="T46" fmla="*/ 649 w 895"/>
                <a:gd name="T47" fmla="*/ 958 h 1014"/>
                <a:gd name="T48" fmla="*/ 689 w 895"/>
                <a:gd name="T49" fmla="*/ 929 h 1014"/>
                <a:gd name="T50" fmla="*/ 729 w 895"/>
                <a:gd name="T51" fmla="*/ 868 h 1014"/>
                <a:gd name="T52" fmla="*/ 784 w 895"/>
                <a:gd name="T53" fmla="*/ 823 h 1014"/>
                <a:gd name="T54" fmla="*/ 680 w 895"/>
                <a:gd name="T55" fmla="*/ 746 h 1014"/>
                <a:gd name="T56" fmla="*/ 647 w 895"/>
                <a:gd name="T57" fmla="*/ 662 h 1014"/>
                <a:gd name="T58" fmla="*/ 640 w 895"/>
                <a:gd name="T59" fmla="*/ 609 h 1014"/>
                <a:gd name="T60" fmla="*/ 745 w 895"/>
                <a:gd name="T61" fmla="*/ 569 h 1014"/>
                <a:gd name="T62" fmla="*/ 826 w 895"/>
                <a:gd name="T63" fmla="*/ 531 h 1014"/>
                <a:gd name="T64" fmla="*/ 880 w 895"/>
                <a:gd name="T65" fmla="*/ 529 h 1014"/>
                <a:gd name="T66" fmla="*/ 882 w 895"/>
                <a:gd name="T67" fmla="*/ 473 h 1014"/>
                <a:gd name="T68" fmla="*/ 857 w 895"/>
                <a:gd name="T69" fmla="*/ 394 h 1014"/>
                <a:gd name="T70" fmla="*/ 844 w 895"/>
                <a:gd name="T71" fmla="*/ 341 h 1014"/>
                <a:gd name="T72" fmla="*/ 822 w 895"/>
                <a:gd name="T73" fmla="*/ 292 h 1014"/>
                <a:gd name="T74" fmla="*/ 815 w 895"/>
                <a:gd name="T75" fmla="*/ 252 h 1014"/>
                <a:gd name="T76" fmla="*/ 818 w 895"/>
                <a:gd name="T77" fmla="*/ 148 h 1014"/>
                <a:gd name="T78" fmla="*/ 817 w 895"/>
                <a:gd name="T79" fmla="*/ 136 h 1014"/>
                <a:gd name="T80" fmla="*/ 809 w 895"/>
                <a:gd name="T81" fmla="*/ 124 h 1014"/>
                <a:gd name="T82" fmla="*/ 750 w 895"/>
                <a:gd name="T83" fmla="*/ 91 h 1014"/>
                <a:gd name="T84" fmla="*/ 759 w 895"/>
                <a:gd name="T85" fmla="*/ 34 h 1014"/>
                <a:gd name="T86" fmla="*/ 670 w 895"/>
                <a:gd name="T87" fmla="*/ 57 h 1014"/>
                <a:gd name="T88" fmla="*/ 558 w 895"/>
                <a:gd name="T89" fmla="*/ 122 h 1014"/>
                <a:gd name="T90" fmla="*/ 506 w 895"/>
                <a:gd name="T91" fmla="*/ 84 h 1014"/>
                <a:gd name="T92" fmla="*/ 471 w 895"/>
                <a:gd name="T93" fmla="*/ 66 h 1014"/>
                <a:gd name="T94" fmla="*/ 397 w 895"/>
                <a:gd name="T95" fmla="*/ 31 h 1014"/>
                <a:gd name="T96" fmla="*/ 391 w 895"/>
                <a:gd name="T97" fmla="*/ 8 h 1014"/>
                <a:gd name="T98" fmla="*/ 354 w 895"/>
                <a:gd name="T99" fmla="*/ 9 h 1014"/>
                <a:gd name="T100" fmla="*/ 263 w 895"/>
                <a:gd name="T101" fmla="*/ 0 h 1014"/>
                <a:gd name="T102" fmla="*/ 280 w 895"/>
                <a:gd name="T103" fmla="*/ 47 h 1014"/>
                <a:gd name="T104" fmla="*/ 307 w 895"/>
                <a:gd name="T105" fmla="*/ 133 h 1014"/>
                <a:gd name="T106" fmla="*/ 264 w 895"/>
                <a:gd name="T107" fmla="*/ 172 h 1014"/>
                <a:gd name="T108" fmla="*/ 190 w 895"/>
                <a:gd name="T109" fmla="*/ 162 h 1014"/>
                <a:gd name="T110" fmla="*/ 115 w 895"/>
                <a:gd name="T111" fmla="*/ 174 h 1014"/>
                <a:gd name="T112" fmla="*/ 112 w 895"/>
                <a:gd name="T113" fmla="*/ 195 h 1014"/>
                <a:gd name="T114" fmla="*/ 115 w 895"/>
                <a:gd name="T115" fmla="*/ 263 h 1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5" h="1014">
                  <a:moveTo>
                    <a:pt x="115" y="263"/>
                  </a:moveTo>
                  <a:cubicBezTo>
                    <a:pt x="92" y="298"/>
                    <a:pt x="59" y="301"/>
                    <a:pt x="65" y="310"/>
                  </a:cubicBezTo>
                  <a:cubicBezTo>
                    <a:pt x="71" y="319"/>
                    <a:pt x="106" y="348"/>
                    <a:pt x="97" y="363"/>
                  </a:cubicBezTo>
                  <a:cubicBezTo>
                    <a:pt x="89" y="378"/>
                    <a:pt x="77" y="369"/>
                    <a:pt x="77" y="395"/>
                  </a:cubicBezTo>
                  <a:cubicBezTo>
                    <a:pt x="77" y="422"/>
                    <a:pt x="35" y="422"/>
                    <a:pt x="21" y="422"/>
                  </a:cubicBezTo>
                  <a:cubicBezTo>
                    <a:pt x="6" y="422"/>
                    <a:pt x="24" y="448"/>
                    <a:pt x="15" y="469"/>
                  </a:cubicBezTo>
                  <a:cubicBezTo>
                    <a:pt x="6" y="490"/>
                    <a:pt x="6" y="531"/>
                    <a:pt x="3" y="549"/>
                  </a:cubicBezTo>
                  <a:cubicBezTo>
                    <a:pt x="0" y="566"/>
                    <a:pt x="33" y="596"/>
                    <a:pt x="30" y="611"/>
                  </a:cubicBezTo>
                  <a:cubicBezTo>
                    <a:pt x="27" y="626"/>
                    <a:pt x="3" y="637"/>
                    <a:pt x="9" y="649"/>
                  </a:cubicBezTo>
                  <a:cubicBezTo>
                    <a:pt x="14" y="660"/>
                    <a:pt x="36" y="677"/>
                    <a:pt x="40" y="732"/>
                  </a:cubicBezTo>
                  <a:cubicBezTo>
                    <a:pt x="51" y="735"/>
                    <a:pt x="59" y="739"/>
                    <a:pt x="63" y="744"/>
                  </a:cubicBezTo>
                  <a:cubicBezTo>
                    <a:pt x="76" y="761"/>
                    <a:pt x="98" y="775"/>
                    <a:pt x="127" y="775"/>
                  </a:cubicBezTo>
                  <a:cubicBezTo>
                    <a:pt x="156" y="775"/>
                    <a:pt x="167" y="795"/>
                    <a:pt x="180" y="792"/>
                  </a:cubicBezTo>
                  <a:cubicBezTo>
                    <a:pt x="193" y="790"/>
                    <a:pt x="229" y="801"/>
                    <a:pt x="200" y="825"/>
                  </a:cubicBezTo>
                  <a:cubicBezTo>
                    <a:pt x="171" y="850"/>
                    <a:pt x="167" y="879"/>
                    <a:pt x="160" y="907"/>
                  </a:cubicBezTo>
                  <a:cubicBezTo>
                    <a:pt x="156" y="926"/>
                    <a:pt x="156" y="952"/>
                    <a:pt x="151" y="968"/>
                  </a:cubicBezTo>
                  <a:cubicBezTo>
                    <a:pt x="180" y="970"/>
                    <a:pt x="221" y="972"/>
                    <a:pt x="236" y="965"/>
                  </a:cubicBezTo>
                  <a:cubicBezTo>
                    <a:pt x="260" y="953"/>
                    <a:pt x="274" y="953"/>
                    <a:pt x="304" y="962"/>
                  </a:cubicBezTo>
                  <a:cubicBezTo>
                    <a:pt x="322" y="967"/>
                    <a:pt x="345" y="979"/>
                    <a:pt x="362" y="987"/>
                  </a:cubicBezTo>
                  <a:cubicBezTo>
                    <a:pt x="363" y="981"/>
                    <a:pt x="367" y="977"/>
                    <a:pt x="373" y="976"/>
                  </a:cubicBezTo>
                  <a:cubicBezTo>
                    <a:pt x="393" y="974"/>
                    <a:pt x="417" y="1014"/>
                    <a:pt x="430" y="991"/>
                  </a:cubicBezTo>
                  <a:cubicBezTo>
                    <a:pt x="444" y="969"/>
                    <a:pt x="474" y="974"/>
                    <a:pt x="490" y="983"/>
                  </a:cubicBezTo>
                  <a:cubicBezTo>
                    <a:pt x="505" y="991"/>
                    <a:pt x="530" y="996"/>
                    <a:pt x="548" y="978"/>
                  </a:cubicBezTo>
                  <a:cubicBezTo>
                    <a:pt x="565" y="960"/>
                    <a:pt x="634" y="952"/>
                    <a:pt x="649" y="958"/>
                  </a:cubicBezTo>
                  <a:cubicBezTo>
                    <a:pt x="665" y="965"/>
                    <a:pt x="705" y="983"/>
                    <a:pt x="689" y="929"/>
                  </a:cubicBezTo>
                  <a:cubicBezTo>
                    <a:pt x="674" y="876"/>
                    <a:pt x="722" y="887"/>
                    <a:pt x="729" y="868"/>
                  </a:cubicBezTo>
                  <a:cubicBezTo>
                    <a:pt x="736" y="848"/>
                    <a:pt x="793" y="839"/>
                    <a:pt x="784" y="823"/>
                  </a:cubicBezTo>
                  <a:cubicBezTo>
                    <a:pt x="776" y="808"/>
                    <a:pt x="702" y="761"/>
                    <a:pt x="680" y="746"/>
                  </a:cubicBezTo>
                  <a:cubicBezTo>
                    <a:pt x="658" y="730"/>
                    <a:pt x="658" y="682"/>
                    <a:pt x="647" y="662"/>
                  </a:cubicBezTo>
                  <a:cubicBezTo>
                    <a:pt x="636" y="642"/>
                    <a:pt x="612" y="615"/>
                    <a:pt x="640" y="609"/>
                  </a:cubicBezTo>
                  <a:cubicBezTo>
                    <a:pt x="669" y="602"/>
                    <a:pt x="720" y="591"/>
                    <a:pt x="745" y="569"/>
                  </a:cubicBezTo>
                  <a:cubicBezTo>
                    <a:pt x="769" y="547"/>
                    <a:pt x="813" y="544"/>
                    <a:pt x="826" y="531"/>
                  </a:cubicBezTo>
                  <a:cubicBezTo>
                    <a:pt x="840" y="518"/>
                    <a:pt x="871" y="542"/>
                    <a:pt x="880" y="529"/>
                  </a:cubicBezTo>
                  <a:cubicBezTo>
                    <a:pt x="888" y="516"/>
                    <a:pt x="895" y="489"/>
                    <a:pt x="882" y="473"/>
                  </a:cubicBezTo>
                  <a:cubicBezTo>
                    <a:pt x="869" y="458"/>
                    <a:pt x="860" y="431"/>
                    <a:pt x="857" y="394"/>
                  </a:cubicBezTo>
                  <a:cubicBezTo>
                    <a:pt x="855" y="356"/>
                    <a:pt x="844" y="358"/>
                    <a:pt x="844" y="341"/>
                  </a:cubicBezTo>
                  <a:cubicBezTo>
                    <a:pt x="844" y="323"/>
                    <a:pt x="838" y="301"/>
                    <a:pt x="822" y="292"/>
                  </a:cubicBezTo>
                  <a:cubicBezTo>
                    <a:pt x="807" y="283"/>
                    <a:pt x="800" y="276"/>
                    <a:pt x="815" y="252"/>
                  </a:cubicBezTo>
                  <a:cubicBezTo>
                    <a:pt x="831" y="228"/>
                    <a:pt x="824" y="166"/>
                    <a:pt x="818" y="148"/>
                  </a:cubicBezTo>
                  <a:cubicBezTo>
                    <a:pt x="816" y="145"/>
                    <a:pt x="816" y="140"/>
                    <a:pt x="817" y="136"/>
                  </a:cubicBezTo>
                  <a:cubicBezTo>
                    <a:pt x="813" y="134"/>
                    <a:pt x="810" y="130"/>
                    <a:pt x="809" y="124"/>
                  </a:cubicBezTo>
                  <a:cubicBezTo>
                    <a:pt x="804" y="100"/>
                    <a:pt x="788" y="91"/>
                    <a:pt x="750" y="91"/>
                  </a:cubicBezTo>
                  <a:cubicBezTo>
                    <a:pt x="711" y="91"/>
                    <a:pt x="773" y="53"/>
                    <a:pt x="759" y="34"/>
                  </a:cubicBezTo>
                  <a:cubicBezTo>
                    <a:pt x="744" y="15"/>
                    <a:pt x="705" y="69"/>
                    <a:pt x="670" y="57"/>
                  </a:cubicBezTo>
                  <a:cubicBezTo>
                    <a:pt x="635" y="46"/>
                    <a:pt x="589" y="99"/>
                    <a:pt x="558" y="122"/>
                  </a:cubicBezTo>
                  <a:cubicBezTo>
                    <a:pt x="527" y="146"/>
                    <a:pt x="483" y="118"/>
                    <a:pt x="506" y="84"/>
                  </a:cubicBezTo>
                  <a:cubicBezTo>
                    <a:pt x="530" y="50"/>
                    <a:pt x="506" y="53"/>
                    <a:pt x="471" y="66"/>
                  </a:cubicBezTo>
                  <a:cubicBezTo>
                    <a:pt x="435" y="79"/>
                    <a:pt x="393" y="63"/>
                    <a:pt x="397" y="31"/>
                  </a:cubicBezTo>
                  <a:cubicBezTo>
                    <a:pt x="398" y="23"/>
                    <a:pt x="396" y="15"/>
                    <a:pt x="391" y="8"/>
                  </a:cubicBezTo>
                  <a:cubicBezTo>
                    <a:pt x="374" y="10"/>
                    <a:pt x="361" y="11"/>
                    <a:pt x="354" y="9"/>
                  </a:cubicBezTo>
                  <a:cubicBezTo>
                    <a:pt x="338" y="3"/>
                    <a:pt x="302" y="1"/>
                    <a:pt x="263" y="0"/>
                  </a:cubicBezTo>
                  <a:cubicBezTo>
                    <a:pt x="275" y="17"/>
                    <a:pt x="288" y="34"/>
                    <a:pt x="280" y="47"/>
                  </a:cubicBezTo>
                  <a:cubicBezTo>
                    <a:pt x="267" y="72"/>
                    <a:pt x="288" y="96"/>
                    <a:pt x="307" y="133"/>
                  </a:cubicBezTo>
                  <a:cubicBezTo>
                    <a:pt x="326" y="170"/>
                    <a:pt x="266" y="149"/>
                    <a:pt x="264" y="172"/>
                  </a:cubicBezTo>
                  <a:cubicBezTo>
                    <a:pt x="263" y="196"/>
                    <a:pt x="208" y="171"/>
                    <a:pt x="190" y="162"/>
                  </a:cubicBezTo>
                  <a:cubicBezTo>
                    <a:pt x="173" y="153"/>
                    <a:pt x="114" y="159"/>
                    <a:pt x="115" y="174"/>
                  </a:cubicBezTo>
                  <a:cubicBezTo>
                    <a:pt x="116" y="180"/>
                    <a:pt x="115" y="188"/>
                    <a:pt x="112" y="195"/>
                  </a:cubicBezTo>
                  <a:cubicBezTo>
                    <a:pt x="120" y="223"/>
                    <a:pt x="124" y="250"/>
                    <a:pt x="115" y="26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12708016" y="4485776"/>
              <a:ext cx="531095" cy="844390"/>
            </a:xfrm>
            <a:custGeom>
              <a:avLst/>
              <a:gdLst>
                <a:gd name="T0" fmla="*/ 891 w 1051"/>
                <a:gd name="T1" fmla="*/ 1404 h 1672"/>
                <a:gd name="T2" fmla="*/ 1039 w 1051"/>
                <a:gd name="T3" fmla="*/ 1262 h 1672"/>
                <a:gd name="T4" fmla="*/ 1012 w 1051"/>
                <a:gd name="T5" fmla="*/ 1182 h 1672"/>
                <a:gd name="T6" fmla="*/ 886 w 1051"/>
                <a:gd name="T7" fmla="*/ 1085 h 1672"/>
                <a:gd name="T8" fmla="*/ 947 w 1051"/>
                <a:gd name="T9" fmla="*/ 1029 h 1672"/>
                <a:gd name="T10" fmla="*/ 894 w 1051"/>
                <a:gd name="T11" fmla="*/ 976 h 1672"/>
                <a:gd name="T12" fmla="*/ 909 w 1051"/>
                <a:gd name="T13" fmla="*/ 925 h 1672"/>
                <a:gd name="T14" fmla="*/ 859 w 1051"/>
                <a:gd name="T15" fmla="*/ 893 h 1672"/>
                <a:gd name="T16" fmla="*/ 882 w 1051"/>
                <a:gd name="T17" fmla="*/ 864 h 1672"/>
                <a:gd name="T18" fmla="*/ 868 w 1051"/>
                <a:gd name="T19" fmla="*/ 787 h 1672"/>
                <a:gd name="T20" fmla="*/ 900 w 1051"/>
                <a:gd name="T21" fmla="*/ 728 h 1672"/>
                <a:gd name="T22" fmla="*/ 806 w 1051"/>
                <a:gd name="T23" fmla="*/ 577 h 1672"/>
                <a:gd name="T24" fmla="*/ 835 w 1051"/>
                <a:gd name="T25" fmla="*/ 518 h 1672"/>
                <a:gd name="T26" fmla="*/ 897 w 1051"/>
                <a:gd name="T27" fmla="*/ 444 h 1672"/>
                <a:gd name="T28" fmla="*/ 827 w 1051"/>
                <a:gd name="T29" fmla="*/ 371 h 1672"/>
                <a:gd name="T30" fmla="*/ 765 w 1051"/>
                <a:gd name="T31" fmla="*/ 335 h 1672"/>
                <a:gd name="T32" fmla="*/ 750 w 1051"/>
                <a:gd name="T33" fmla="*/ 279 h 1672"/>
                <a:gd name="T34" fmla="*/ 765 w 1051"/>
                <a:gd name="T35" fmla="*/ 226 h 1672"/>
                <a:gd name="T36" fmla="*/ 803 w 1051"/>
                <a:gd name="T37" fmla="*/ 196 h 1672"/>
                <a:gd name="T38" fmla="*/ 825 w 1051"/>
                <a:gd name="T39" fmla="*/ 160 h 1672"/>
                <a:gd name="T40" fmla="*/ 825 w 1051"/>
                <a:gd name="T41" fmla="*/ 105 h 1672"/>
                <a:gd name="T42" fmla="*/ 721 w 1051"/>
                <a:gd name="T43" fmla="*/ 33 h 1672"/>
                <a:gd name="T44" fmla="*/ 640 w 1051"/>
                <a:gd name="T45" fmla="*/ 33 h 1672"/>
                <a:gd name="T46" fmla="*/ 540 w 1051"/>
                <a:gd name="T47" fmla="*/ 57 h 1672"/>
                <a:gd name="T48" fmla="*/ 479 w 1051"/>
                <a:gd name="T49" fmla="*/ 123 h 1672"/>
                <a:gd name="T50" fmla="*/ 460 w 1051"/>
                <a:gd name="T51" fmla="*/ 209 h 1672"/>
                <a:gd name="T52" fmla="*/ 417 w 1051"/>
                <a:gd name="T53" fmla="*/ 266 h 1672"/>
                <a:gd name="T54" fmla="*/ 360 w 1051"/>
                <a:gd name="T55" fmla="*/ 251 h 1672"/>
                <a:gd name="T56" fmla="*/ 284 w 1051"/>
                <a:gd name="T57" fmla="*/ 247 h 1672"/>
                <a:gd name="T58" fmla="*/ 175 w 1051"/>
                <a:gd name="T59" fmla="*/ 242 h 1672"/>
                <a:gd name="T60" fmla="*/ 66 w 1051"/>
                <a:gd name="T61" fmla="*/ 161 h 1672"/>
                <a:gd name="T62" fmla="*/ 0 w 1051"/>
                <a:gd name="T63" fmla="*/ 210 h 1672"/>
                <a:gd name="T64" fmla="*/ 109 w 1051"/>
                <a:gd name="T65" fmla="*/ 289 h 1672"/>
                <a:gd name="T66" fmla="*/ 251 w 1051"/>
                <a:gd name="T67" fmla="*/ 375 h 1672"/>
                <a:gd name="T68" fmla="*/ 256 w 1051"/>
                <a:gd name="T69" fmla="*/ 470 h 1672"/>
                <a:gd name="T70" fmla="*/ 280 w 1051"/>
                <a:gd name="T71" fmla="*/ 560 h 1672"/>
                <a:gd name="T72" fmla="*/ 275 w 1051"/>
                <a:gd name="T73" fmla="*/ 645 h 1672"/>
                <a:gd name="T74" fmla="*/ 294 w 1051"/>
                <a:gd name="T75" fmla="*/ 697 h 1672"/>
                <a:gd name="T76" fmla="*/ 308 w 1051"/>
                <a:gd name="T77" fmla="*/ 746 h 1672"/>
                <a:gd name="T78" fmla="*/ 388 w 1051"/>
                <a:gd name="T79" fmla="*/ 779 h 1672"/>
                <a:gd name="T80" fmla="*/ 424 w 1051"/>
                <a:gd name="T81" fmla="*/ 856 h 1672"/>
                <a:gd name="T82" fmla="*/ 406 w 1051"/>
                <a:gd name="T83" fmla="*/ 891 h 1672"/>
                <a:gd name="T84" fmla="*/ 351 w 1051"/>
                <a:gd name="T85" fmla="*/ 936 h 1672"/>
                <a:gd name="T86" fmla="*/ 249 w 1051"/>
                <a:gd name="T87" fmla="*/ 1036 h 1672"/>
                <a:gd name="T88" fmla="*/ 190 w 1051"/>
                <a:gd name="T89" fmla="*/ 1082 h 1672"/>
                <a:gd name="T90" fmla="*/ 137 w 1051"/>
                <a:gd name="T91" fmla="*/ 1136 h 1672"/>
                <a:gd name="T92" fmla="*/ 68 w 1051"/>
                <a:gd name="T93" fmla="*/ 1170 h 1672"/>
                <a:gd name="T94" fmla="*/ 24 w 1051"/>
                <a:gd name="T95" fmla="*/ 1234 h 1672"/>
                <a:gd name="T96" fmla="*/ 27 w 1051"/>
                <a:gd name="T97" fmla="*/ 1291 h 1672"/>
                <a:gd name="T98" fmla="*/ 37 w 1051"/>
                <a:gd name="T99" fmla="*/ 1361 h 1672"/>
                <a:gd name="T100" fmla="*/ 55 w 1051"/>
                <a:gd name="T101" fmla="*/ 1473 h 1672"/>
                <a:gd name="T102" fmla="*/ 28 w 1051"/>
                <a:gd name="T103" fmla="*/ 1576 h 1672"/>
                <a:gd name="T104" fmla="*/ 121 w 1051"/>
                <a:gd name="T105" fmla="*/ 1613 h 1672"/>
                <a:gd name="T106" fmla="*/ 182 w 1051"/>
                <a:gd name="T107" fmla="*/ 1646 h 1672"/>
                <a:gd name="T108" fmla="*/ 291 w 1051"/>
                <a:gd name="T109" fmla="*/ 1669 h 1672"/>
                <a:gd name="T110" fmla="*/ 601 w 1051"/>
                <a:gd name="T111" fmla="*/ 1598 h 1672"/>
                <a:gd name="T112" fmla="*/ 690 w 1051"/>
                <a:gd name="T113" fmla="*/ 1588 h 1672"/>
                <a:gd name="T114" fmla="*/ 738 w 1051"/>
                <a:gd name="T115" fmla="*/ 1528 h 1672"/>
                <a:gd name="T116" fmla="*/ 891 w 1051"/>
                <a:gd name="T117" fmla="*/ 1404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51" h="1672">
                  <a:moveTo>
                    <a:pt x="891" y="1404"/>
                  </a:moveTo>
                  <a:cubicBezTo>
                    <a:pt x="915" y="1351"/>
                    <a:pt x="1021" y="1309"/>
                    <a:pt x="1039" y="1262"/>
                  </a:cubicBezTo>
                  <a:cubicBezTo>
                    <a:pt x="1048" y="1238"/>
                    <a:pt x="1051" y="1227"/>
                    <a:pt x="1012" y="1182"/>
                  </a:cubicBezTo>
                  <a:cubicBezTo>
                    <a:pt x="974" y="1138"/>
                    <a:pt x="889" y="1108"/>
                    <a:pt x="886" y="1085"/>
                  </a:cubicBezTo>
                  <a:cubicBezTo>
                    <a:pt x="882" y="1061"/>
                    <a:pt x="950" y="1058"/>
                    <a:pt x="947" y="1029"/>
                  </a:cubicBezTo>
                  <a:cubicBezTo>
                    <a:pt x="945" y="999"/>
                    <a:pt x="909" y="999"/>
                    <a:pt x="894" y="976"/>
                  </a:cubicBezTo>
                  <a:cubicBezTo>
                    <a:pt x="880" y="952"/>
                    <a:pt x="912" y="937"/>
                    <a:pt x="909" y="925"/>
                  </a:cubicBezTo>
                  <a:cubicBezTo>
                    <a:pt x="906" y="914"/>
                    <a:pt x="862" y="908"/>
                    <a:pt x="859" y="893"/>
                  </a:cubicBezTo>
                  <a:cubicBezTo>
                    <a:pt x="856" y="878"/>
                    <a:pt x="889" y="881"/>
                    <a:pt x="882" y="864"/>
                  </a:cubicBezTo>
                  <a:cubicBezTo>
                    <a:pt x="877" y="846"/>
                    <a:pt x="847" y="813"/>
                    <a:pt x="868" y="787"/>
                  </a:cubicBezTo>
                  <a:cubicBezTo>
                    <a:pt x="889" y="760"/>
                    <a:pt x="933" y="787"/>
                    <a:pt x="900" y="728"/>
                  </a:cubicBezTo>
                  <a:cubicBezTo>
                    <a:pt x="868" y="669"/>
                    <a:pt x="818" y="595"/>
                    <a:pt x="806" y="577"/>
                  </a:cubicBezTo>
                  <a:cubicBezTo>
                    <a:pt x="794" y="559"/>
                    <a:pt x="818" y="530"/>
                    <a:pt x="835" y="518"/>
                  </a:cubicBezTo>
                  <a:cubicBezTo>
                    <a:pt x="853" y="506"/>
                    <a:pt x="897" y="462"/>
                    <a:pt x="897" y="444"/>
                  </a:cubicBezTo>
                  <a:cubicBezTo>
                    <a:pt x="897" y="427"/>
                    <a:pt x="841" y="379"/>
                    <a:pt x="827" y="371"/>
                  </a:cubicBezTo>
                  <a:cubicBezTo>
                    <a:pt x="812" y="362"/>
                    <a:pt x="779" y="365"/>
                    <a:pt x="765" y="335"/>
                  </a:cubicBezTo>
                  <a:cubicBezTo>
                    <a:pt x="750" y="306"/>
                    <a:pt x="735" y="297"/>
                    <a:pt x="750" y="279"/>
                  </a:cubicBezTo>
                  <a:cubicBezTo>
                    <a:pt x="765" y="261"/>
                    <a:pt x="765" y="244"/>
                    <a:pt x="765" y="226"/>
                  </a:cubicBezTo>
                  <a:cubicBezTo>
                    <a:pt x="765" y="208"/>
                    <a:pt x="797" y="223"/>
                    <a:pt x="803" y="196"/>
                  </a:cubicBezTo>
                  <a:cubicBezTo>
                    <a:pt x="805" y="184"/>
                    <a:pt x="814" y="171"/>
                    <a:pt x="825" y="160"/>
                  </a:cubicBezTo>
                  <a:cubicBezTo>
                    <a:pt x="825" y="140"/>
                    <a:pt x="827" y="118"/>
                    <a:pt x="825" y="105"/>
                  </a:cubicBezTo>
                  <a:cubicBezTo>
                    <a:pt x="820" y="76"/>
                    <a:pt x="740" y="67"/>
                    <a:pt x="721" y="33"/>
                  </a:cubicBezTo>
                  <a:cubicBezTo>
                    <a:pt x="702" y="0"/>
                    <a:pt x="654" y="14"/>
                    <a:pt x="640" y="33"/>
                  </a:cubicBezTo>
                  <a:cubicBezTo>
                    <a:pt x="626" y="52"/>
                    <a:pt x="540" y="29"/>
                    <a:pt x="540" y="57"/>
                  </a:cubicBezTo>
                  <a:cubicBezTo>
                    <a:pt x="540" y="86"/>
                    <a:pt x="479" y="90"/>
                    <a:pt x="479" y="123"/>
                  </a:cubicBezTo>
                  <a:cubicBezTo>
                    <a:pt x="479" y="157"/>
                    <a:pt x="507" y="214"/>
                    <a:pt x="460" y="209"/>
                  </a:cubicBezTo>
                  <a:cubicBezTo>
                    <a:pt x="412" y="204"/>
                    <a:pt x="446" y="228"/>
                    <a:pt x="417" y="266"/>
                  </a:cubicBezTo>
                  <a:cubicBezTo>
                    <a:pt x="389" y="304"/>
                    <a:pt x="389" y="242"/>
                    <a:pt x="360" y="251"/>
                  </a:cubicBezTo>
                  <a:cubicBezTo>
                    <a:pt x="332" y="261"/>
                    <a:pt x="299" y="223"/>
                    <a:pt x="284" y="247"/>
                  </a:cubicBezTo>
                  <a:cubicBezTo>
                    <a:pt x="270" y="270"/>
                    <a:pt x="223" y="251"/>
                    <a:pt x="175" y="242"/>
                  </a:cubicBezTo>
                  <a:cubicBezTo>
                    <a:pt x="128" y="233"/>
                    <a:pt x="104" y="166"/>
                    <a:pt x="66" y="161"/>
                  </a:cubicBezTo>
                  <a:cubicBezTo>
                    <a:pt x="41" y="158"/>
                    <a:pt x="14" y="178"/>
                    <a:pt x="0" y="210"/>
                  </a:cubicBezTo>
                  <a:cubicBezTo>
                    <a:pt x="37" y="234"/>
                    <a:pt x="61" y="268"/>
                    <a:pt x="109" y="289"/>
                  </a:cubicBezTo>
                  <a:cubicBezTo>
                    <a:pt x="161" y="313"/>
                    <a:pt x="256" y="342"/>
                    <a:pt x="251" y="375"/>
                  </a:cubicBezTo>
                  <a:cubicBezTo>
                    <a:pt x="246" y="408"/>
                    <a:pt x="232" y="455"/>
                    <a:pt x="256" y="470"/>
                  </a:cubicBezTo>
                  <a:cubicBezTo>
                    <a:pt x="280" y="484"/>
                    <a:pt x="251" y="545"/>
                    <a:pt x="280" y="560"/>
                  </a:cubicBezTo>
                  <a:cubicBezTo>
                    <a:pt x="308" y="574"/>
                    <a:pt x="299" y="645"/>
                    <a:pt x="275" y="645"/>
                  </a:cubicBezTo>
                  <a:cubicBezTo>
                    <a:pt x="251" y="645"/>
                    <a:pt x="280" y="683"/>
                    <a:pt x="294" y="697"/>
                  </a:cubicBezTo>
                  <a:cubicBezTo>
                    <a:pt x="300" y="704"/>
                    <a:pt x="306" y="723"/>
                    <a:pt x="308" y="746"/>
                  </a:cubicBezTo>
                  <a:cubicBezTo>
                    <a:pt x="337" y="753"/>
                    <a:pt x="363" y="768"/>
                    <a:pt x="388" y="779"/>
                  </a:cubicBezTo>
                  <a:cubicBezTo>
                    <a:pt x="428" y="797"/>
                    <a:pt x="422" y="825"/>
                    <a:pt x="424" y="856"/>
                  </a:cubicBezTo>
                  <a:cubicBezTo>
                    <a:pt x="425" y="887"/>
                    <a:pt x="426" y="905"/>
                    <a:pt x="406" y="891"/>
                  </a:cubicBezTo>
                  <a:cubicBezTo>
                    <a:pt x="385" y="878"/>
                    <a:pt x="363" y="891"/>
                    <a:pt x="351" y="936"/>
                  </a:cubicBezTo>
                  <a:cubicBezTo>
                    <a:pt x="339" y="980"/>
                    <a:pt x="283" y="1033"/>
                    <a:pt x="249" y="1036"/>
                  </a:cubicBezTo>
                  <a:cubicBezTo>
                    <a:pt x="215" y="1039"/>
                    <a:pt x="218" y="1075"/>
                    <a:pt x="190" y="1082"/>
                  </a:cubicBezTo>
                  <a:cubicBezTo>
                    <a:pt x="162" y="1089"/>
                    <a:pt x="136" y="1106"/>
                    <a:pt x="137" y="1136"/>
                  </a:cubicBezTo>
                  <a:cubicBezTo>
                    <a:pt x="139" y="1167"/>
                    <a:pt x="96" y="1170"/>
                    <a:pt x="68" y="1170"/>
                  </a:cubicBezTo>
                  <a:cubicBezTo>
                    <a:pt x="40" y="1170"/>
                    <a:pt x="46" y="1221"/>
                    <a:pt x="24" y="1234"/>
                  </a:cubicBezTo>
                  <a:cubicBezTo>
                    <a:pt x="2" y="1247"/>
                    <a:pt x="6" y="1265"/>
                    <a:pt x="27" y="1291"/>
                  </a:cubicBezTo>
                  <a:cubicBezTo>
                    <a:pt x="47" y="1318"/>
                    <a:pt x="30" y="1342"/>
                    <a:pt x="37" y="1361"/>
                  </a:cubicBezTo>
                  <a:cubicBezTo>
                    <a:pt x="44" y="1380"/>
                    <a:pt x="77" y="1424"/>
                    <a:pt x="55" y="1473"/>
                  </a:cubicBezTo>
                  <a:cubicBezTo>
                    <a:pt x="33" y="1522"/>
                    <a:pt x="9" y="1582"/>
                    <a:pt x="28" y="1576"/>
                  </a:cubicBezTo>
                  <a:cubicBezTo>
                    <a:pt x="47" y="1570"/>
                    <a:pt x="92" y="1616"/>
                    <a:pt x="121" y="1613"/>
                  </a:cubicBezTo>
                  <a:cubicBezTo>
                    <a:pt x="151" y="1610"/>
                    <a:pt x="154" y="1654"/>
                    <a:pt x="182" y="1646"/>
                  </a:cubicBezTo>
                  <a:cubicBezTo>
                    <a:pt x="210" y="1637"/>
                    <a:pt x="210" y="1672"/>
                    <a:pt x="291" y="1669"/>
                  </a:cubicBezTo>
                  <a:cubicBezTo>
                    <a:pt x="372" y="1666"/>
                    <a:pt x="536" y="1598"/>
                    <a:pt x="601" y="1598"/>
                  </a:cubicBezTo>
                  <a:cubicBezTo>
                    <a:pt x="638" y="1598"/>
                    <a:pt x="667" y="1594"/>
                    <a:pt x="690" y="1588"/>
                  </a:cubicBezTo>
                  <a:cubicBezTo>
                    <a:pt x="704" y="1567"/>
                    <a:pt x="721" y="1545"/>
                    <a:pt x="738" y="1528"/>
                  </a:cubicBezTo>
                  <a:cubicBezTo>
                    <a:pt x="779" y="1486"/>
                    <a:pt x="868" y="1457"/>
                    <a:pt x="891" y="140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13384868" y="7129521"/>
              <a:ext cx="1063865" cy="854442"/>
            </a:xfrm>
            <a:custGeom>
              <a:avLst/>
              <a:gdLst>
                <a:gd name="T0" fmla="*/ 1260 w 2105"/>
                <a:gd name="T1" fmla="*/ 355 h 1688"/>
                <a:gd name="T2" fmla="*/ 1082 w 2105"/>
                <a:gd name="T3" fmla="*/ 335 h 1688"/>
                <a:gd name="T4" fmla="*/ 964 w 2105"/>
                <a:gd name="T5" fmla="*/ 296 h 1688"/>
                <a:gd name="T6" fmla="*/ 724 w 2105"/>
                <a:gd name="T7" fmla="*/ 119 h 1688"/>
                <a:gd name="T8" fmla="*/ 527 w 2105"/>
                <a:gd name="T9" fmla="*/ 4 h 1688"/>
                <a:gd name="T10" fmla="*/ 444 w 2105"/>
                <a:gd name="T11" fmla="*/ 4 h 1688"/>
                <a:gd name="T12" fmla="*/ 342 w 2105"/>
                <a:gd name="T13" fmla="*/ 36 h 1688"/>
                <a:gd name="T14" fmla="*/ 243 w 2105"/>
                <a:gd name="T15" fmla="*/ 99 h 1688"/>
                <a:gd name="T16" fmla="*/ 318 w 2105"/>
                <a:gd name="T17" fmla="*/ 186 h 1688"/>
                <a:gd name="T18" fmla="*/ 259 w 2105"/>
                <a:gd name="T19" fmla="*/ 233 h 1688"/>
                <a:gd name="T20" fmla="*/ 196 w 2105"/>
                <a:gd name="T21" fmla="*/ 260 h 1688"/>
                <a:gd name="T22" fmla="*/ 117 w 2105"/>
                <a:gd name="T23" fmla="*/ 320 h 1688"/>
                <a:gd name="T24" fmla="*/ 18 w 2105"/>
                <a:gd name="T25" fmla="*/ 276 h 1688"/>
                <a:gd name="T26" fmla="*/ 7 w 2105"/>
                <a:gd name="T27" fmla="*/ 304 h 1688"/>
                <a:gd name="T28" fmla="*/ 3 w 2105"/>
                <a:gd name="T29" fmla="*/ 331 h 1688"/>
                <a:gd name="T30" fmla="*/ 20 w 2105"/>
                <a:gd name="T31" fmla="*/ 445 h 1688"/>
                <a:gd name="T32" fmla="*/ 101 w 2105"/>
                <a:gd name="T33" fmla="*/ 544 h 1688"/>
                <a:gd name="T34" fmla="*/ 246 w 2105"/>
                <a:gd name="T35" fmla="*/ 768 h 1688"/>
                <a:gd name="T36" fmla="*/ 323 w 2105"/>
                <a:gd name="T37" fmla="*/ 879 h 1688"/>
                <a:gd name="T38" fmla="*/ 413 w 2105"/>
                <a:gd name="T39" fmla="*/ 991 h 1688"/>
                <a:gd name="T40" fmla="*/ 438 w 2105"/>
                <a:gd name="T41" fmla="*/ 1102 h 1688"/>
                <a:gd name="T42" fmla="*/ 519 w 2105"/>
                <a:gd name="T43" fmla="*/ 1270 h 1688"/>
                <a:gd name="T44" fmla="*/ 634 w 2105"/>
                <a:gd name="T45" fmla="*/ 1401 h 1688"/>
                <a:gd name="T46" fmla="*/ 726 w 2105"/>
                <a:gd name="T47" fmla="*/ 1553 h 1688"/>
                <a:gd name="T48" fmla="*/ 760 w 2105"/>
                <a:gd name="T49" fmla="*/ 1630 h 1688"/>
                <a:gd name="T50" fmla="*/ 792 w 2105"/>
                <a:gd name="T51" fmla="*/ 1688 h 1688"/>
                <a:gd name="T52" fmla="*/ 839 w 2105"/>
                <a:gd name="T53" fmla="*/ 1663 h 1688"/>
                <a:gd name="T54" fmla="*/ 836 w 2105"/>
                <a:gd name="T55" fmla="*/ 1608 h 1688"/>
                <a:gd name="T56" fmla="*/ 878 w 2105"/>
                <a:gd name="T57" fmla="*/ 1571 h 1688"/>
                <a:gd name="T58" fmla="*/ 953 w 2105"/>
                <a:gd name="T59" fmla="*/ 1583 h 1688"/>
                <a:gd name="T60" fmla="*/ 1075 w 2105"/>
                <a:gd name="T61" fmla="*/ 1594 h 1688"/>
                <a:gd name="T62" fmla="*/ 1215 w 2105"/>
                <a:gd name="T63" fmla="*/ 1617 h 1688"/>
                <a:gd name="T64" fmla="*/ 1283 w 2105"/>
                <a:gd name="T65" fmla="*/ 1591 h 1688"/>
                <a:gd name="T66" fmla="*/ 1437 w 2105"/>
                <a:gd name="T67" fmla="*/ 1457 h 1688"/>
                <a:gd name="T68" fmla="*/ 1634 w 2105"/>
                <a:gd name="T69" fmla="*/ 1446 h 1688"/>
                <a:gd name="T70" fmla="*/ 2036 w 2105"/>
                <a:gd name="T71" fmla="*/ 1315 h 1688"/>
                <a:gd name="T72" fmla="*/ 2105 w 2105"/>
                <a:gd name="T73" fmla="*/ 1106 h 1688"/>
                <a:gd name="T74" fmla="*/ 2053 w 2105"/>
                <a:gd name="T75" fmla="*/ 1035 h 1688"/>
                <a:gd name="T76" fmla="*/ 1802 w 2105"/>
                <a:gd name="T77" fmla="*/ 1007 h 1688"/>
                <a:gd name="T78" fmla="*/ 1727 w 2105"/>
                <a:gd name="T79" fmla="*/ 899 h 1688"/>
                <a:gd name="T80" fmla="*/ 1686 w 2105"/>
                <a:gd name="T81" fmla="*/ 836 h 1688"/>
                <a:gd name="T82" fmla="*/ 1602 w 2105"/>
                <a:gd name="T83" fmla="*/ 778 h 1688"/>
                <a:gd name="T84" fmla="*/ 1549 w 2105"/>
                <a:gd name="T85" fmla="*/ 671 h 1688"/>
                <a:gd name="T86" fmla="*/ 1505 w 2105"/>
                <a:gd name="T87" fmla="*/ 563 h 1688"/>
                <a:gd name="T88" fmla="*/ 1403 w 2105"/>
                <a:gd name="T89" fmla="*/ 445 h 1688"/>
                <a:gd name="T90" fmla="*/ 1390 w 2105"/>
                <a:gd name="T91" fmla="*/ 402 h 1688"/>
                <a:gd name="T92" fmla="*/ 1311 w 2105"/>
                <a:gd name="T93" fmla="*/ 398 h 1688"/>
                <a:gd name="T94" fmla="*/ 1260 w 2105"/>
                <a:gd name="T95" fmla="*/ 355 h 1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105" h="1688">
                  <a:moveTo>
                    <a:pt x="1260" y="355"/>
                  </a:moveTo>
                  <a:cubicBezTo>
                    <a:pt x="1260" y="355"/>
                    <a:pt x="1106" y="335"/>
                    <a:pt x="1082" y="335"/>
                  </a:cubicBezTo>
                  <a:cubicBezTo>
                    <a:pt x="1059" y="335"/>
                    <a:pt x="1000" y="328"/>
                    <a:pt x="964" y="296"/>
                  </a:cubicBezTo>
                  <a:cubicBezTo>
                    <a:pt x="929" y="264"/>
                    <a:pt x="755" y="134"/>
                    <a:pt x="724" y="119"/>
                  </a:cubicBezTo>
                  <a:cubicBezTo>
                    <a:pt x="692" y="103"/>
                    <a:pt x="562" y="8"/>
                    <a:pt x="527" y="4"/>
                  </a:cubicBezTo>
                  <a:cubicBezTo>
                    <a:pt x="491" y="0"/>
                    <a:pt x="487" y="4"/>
                    <a:pt x="444" y="4"/>
                  </a:cubicBezTo>
                  <a:cubicBezTo>
                    <a:pt x="401" y="4"/>
                    <a:pt x="420" y="32"/>
                    <a:pt x="342" y="36"/>
                  </a:cubicBezTo>
                  <a:cubicBezTo>
                    <a:pt x="263" y="40"/>
                    <a:pt x="219" y="91"/>
                    <a:pt x="243" y="99"/>
                  </a:cubicBezTo>
                  <a:cubicBezTo>
                    <a:pt x="267" y="107"/>
                    <a:pt x="342" y="174"/>
                    <a:pt x="318" y="186"/>
                  </a:cubicBezTo>
                  <a:cubicBezTo>
                    <a:pt x="294" y="197"/>
                    <a:pt x="290" y="233"/>
                    <a:pt x="259" y="233"/>
                  </a:cubicBezTo>
                  <a:cubicBezTo>
                    <a:pt x="227" y="233"/>
                    <a:pt x="196" y="237"/>
                    <a:pt x="196" y="260"/>
                  </a:cubicBezTo>
                  <a:cubicBezTo>
                    <a:pt x="196" y="284"/>
                    <a:pt x="152" y="323"/>
                    <a:pt x="117" y="320"/>
                  </a:cubicBezTo>
                  <a:cubicBezTo>
                    <a:pt x="97" y="317"/>
                    <a:pt x="52" y="295"/>
                    <a:pt x="18" y="276"/>
                  </a:cubicBezTo>
                  <a:cubicBezTo>
                    <a:pt x="7" y="304"/>
                    <a:pt x="7" y="304"/>
                    <a:pt x="7" y="304"/>
                  </a:cubicBezTo>
                  <a:cubicBezTo>
                    <a:pt x="3" y="331"/>
                    <a:pt x="3" y="331"/>
                    <a:pt x="3" y="331"/>
                  </a:cubicBezTo>
                  <a:cubicBezTo>
                    <a:pt x="10" y="352"/>
                    <a:pt x="0" y="438"/>
                    <a:pt x="20" y="445"/>
                  </a:cubicBezTo>
                  <a:cubicBezTo>
                    <a:pt x="42" y="452"/>
                    <a:pt x="54" y="492"/>
                    <a:pt x="101" y="544"/>
                  </a:cubicBezTo>
                  <a:cubicBezTo>
                    <a:pt x="149" y="595"/>
                    <a:pt x="244" y="734"/>
                    <a:pt x="246" y="768"/>
                  </a:cubicBezTo>
                  <a:cubicBezTo>
                    <a:pt x="247" y="802"/>
                    <a:pt x="264" y="839"/>
                    <a:pt x="323" y="879"/>
                  </a:cubicBezTo>
                  <a:cubicBezTo>
                    <a:pt x="382" y="919"/>
                    <a:pt x="382" y="967"/>
                    <a:pt x="413" y="991"/>
                  </a:cubicBezTo>
                  <a:cubicBezTo>
                    <a:pt x="444" y="1014"/>
                    <a:pt x="436" y="1042"/>
                    <a:pt x="438" y="1102"/>
                  </a:cubicBezTo>
                  <a:cubicBezTo>
                    <a:pt x="439" y="1161"/>
                    <a:pt x="466" y="1237"/>
                    <a:pt x="519" y="1270"/>
                  </a:cubicBezTo>
                  <a:cubicBezTo>
                    <a:pt x="572" y="1302"/>
                    <a:pt x="609" y="1338"/>
                    <a:pt x="634" y="1401"/>
                  </a:cubicBezTo>
                  <a:cubicBezTo>
                    <a:pt x="659" y="1465"/>
                    <a:pt x="692" y="1519"/>
                    <a:pt x="726" y="1553"/>
                  </a:cubicBezTo>
                  <a:cubicBezTo>
                    <a:pt x="760" y="1587"/>
                    <a:pt x="740" y="1605"/>
                    <a:pt x="760" y="1630"/>
                  </a:cubicBezTo>
                  <a:cubicBezTo>
                    <a:pt x="769" y="1643"/>
                    <a:pt x="783" y="1665"/>
                    <a:pt x="792" y="1688"/>
                  </a:cubicBezTo>
                  <a:cubicBezTo>
                    <a:pt x="819" y="1675"/>
                    <a:pt x="837" y="1666"/>
                    <a:pt x="839" y="1663"/>
                  </a:cubicBezTo>
                  <a:cubicBezTo>
                    <a:pt x="844" y="1651"/>
                    <a:pt x="827" y="1620"/>
                    <a:pt x="836" y="1608"/>
                  </a:cubicBezTo>
                  <a:cubicBezTo>
                    <a:pt x="844" y="1597"/>
                    <a:pt x="861" y="1577"/>
                    <a:pt x="878" y="1571"/>
                  </a:cubicBezTo>
                  <a:cubicBezTo>
                    <a:pt x="895" y="1566"/>
                    <a:pt x="915" y="1588"/>
                    <a:pt x="953" y="1583"/>
                  </a:cubicBezTo>
                  <a:cubicBezTo>
                    <a:pt x="990" y="1577"/>
                    <a:pt x="1067" y="1586"/>
                    <a:pt x="1075" y="1594"/>
                  </a:cubicBezTo>
                  <a:cubicBezTo>
                    <a:pt x="1084" y="1603"/>
                    <a:pt x="1189" y="1597"/>
                    <a:pt x="1215" y="1617"/>
                  </a:cubicBezTo>
                  <a:cubicBezTo>
                    <a:pt x="1241" y="1637"/>
                    <a:pt x="1266" y="1631"/>
                    <a:pt x="1283" y="1591"/>
                  </a:cubicBezTo>
                  <a:cubicBezTo>
                    <a:pt x="1301" y="1551"/>
                    <a:pt x="1420" y="1466"/>
                    <a:pt x="1437" y="1457"/>
                  </a:cubicBezTo>
                  <a:cubicBezTo>
                    <a:pt x="1454" y="1449"/>
                    <a:pt x="1583" y="1457"/>
                    <a:pt x="1634" y="1446"/>
                  </a:cubicBezTo>
                  <a:cubicBezTo>
                    <a:pt x="1686" y="1434"/>
                    <a:pt x="2022" y="1326"/>
                    <a:pt x="2036" y="1315"/>
                  </a:cubicBezTo>
                  <a:cubicBezTo>
                    <a:pt x="2051" y="1303"/>
                    <a:pt x="2105" y="1126"/>
                    <a:pt x="2105" y="1106"/>
                  </a:cubicBezTo>
                  <a:cubicBezTo>
                    <a:pt x="2105" y="1086"/>
                    <a:pt x="2079" y="1032"/>
                    <a:pt x="2053" y="1035"/>
                  </a:cubicBezTo>
                  <a:cubicBezTo>
                    <a:pt x="2028" y="1038"/>
                    <a:pt x="1817" y="1015"/>
                    <a:pt x="1802" y="1007"/>
                  </a:cubicBezTo>
                  <a:cubicBezTo>
                    <a:pt x="1791" y="1000"/>
                    <a:pt x="1735" y="958"/>
                    <a:pt x="1727" y="899"/>
                  </a:cubicBezTo>
                  <a:cubicBezTo>
                    <a:pt x="1711" y="887"/>
                    <a:pt x="1691" y="859"/>
                    <a:pt x="1686" y="836"/>
                  </a:cubicBezTo>
                  <a:cubicBezTo>
                    <a:pt x="1661" y="839"/>
                    <a:pt x="1624" y="833"/>
                    <a:pt x="1602" y="778"/>
                  </a:cubicBezTo>
                  <a:cubicBezTo>
                    <a:pt x="1583" y="765"/>
                    <a:pt x="1531" y="691"/>
                    <a:pt x="1549" y="671"/>
                  </a:cubicBezTo>
                  <a:cubicBezTo>
                    <a:pt x="1571" y="646"/>
                    <a:pt x="1537" y="592"/>
                    <a:pt x="1505" y="563"/>
                  </a:cubicBezTo>
                  <a:cubicBezTo>
                    <a:pt x="1472" y="533"/>
                    <a:pt x="1406" y="479"/>
                    <a:pt x="1403" y="445"/>
                  </a:cubicBezTo>
                  <a:cubicBezTo>
                    <a:pt x="1402" y="435"/>
                    <a:pt x="1397" y="420"/>
                    <a:pt x="1390" y="402"/>
                  </a:cubicBezTo>
                  <a:cubicBezTo>
                    <a:pt x="1311" y="398"/>
                    <a:pt x="1311" y="398"/>
                    <a:pt x="1311" y="398"/>
                  </a:cubicBezTo>
                  <a:lnTo>
                    <a:pt x="1260" y="355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14259414" y="7521559"/>
              <a:ext cx="405441" cy="452352"/>
            </a:xfrm>
            <a:custGeom>
              <a:avLst/>
              <a:gdLst>
                <a:gd name="T0" fmla="*/ 399 w 804"/>
                <a:gd name="T1" fmla="*/ 19 h 894"/>
                <a:gd name="T2" fmla="*/ 399 w 804"/>
                <a:gd name="T3" fmla="*/ 95 h 894"/>
                <a:gd name="T4" fmla="*/ 336 w 804"/>
                <a:gd name="T5" fmla="*/ 175 h 894"/>
                <a:gd name="T6" fmla="*/ 302 w 804"/>
                <a:gd name="T7" fmla="*/ 259 h 894"/>
                <a:gd name="T8" fmla="*/ 322 w 804"/>
                <a:gd name="T9" fmla="*/ 259 h 894"/>
                <a:gd name="T10" fmla="*/ 374 w 804"/>
                <a:gd name="T11" fmla="*/ 330 h 894"/>
                <a:gd name="T12" fmla="*/ 305 w 804"/>
                <a:gd name="T13" fmla="*/ 539 h 894"/>
                <a:gd name="T14" fmla="*/ 0 w 804"/>
                <a:gd name="T15" fmla="*/ 642 h 894"/>
                <a:gd name="T16" fmla="*/ 122 w 804"/>
                <a:gd name="T17" fmla="*/ 894 h 894"/>
                <a:gd name="T18" fmla="*/ 147 w 804"/>
                <a:gd name="T19" fmla="*/ 882 h 894"/>
                <a:gd name="T20" fmla="*/ 309 w 804"/>
                <a:gd name="T21" fmla="*/ 854 h 894"/>
                <a:gd name="T22" fmla="*/ 348 w 804"/>
                <a:gd name="T23" fmla="*/ 776 h 894"/>
                <a:gd name="T24" fmla="*/ 457 w 804"/>
                <a:gd name="T25" fmla="*/ 758 h 894"/>
                <a:gd name="T26" fmla="*/ 522 w 804"/>
                <a:gd name="T27" fmla="*/ 667 h 894"/>
                <a:gd name="T28" fmla="*/ 585 w 804"/>
                <a:gd name="T29" fmla="*/ 634 h 894"/>
                <a:gd name="T30" fmla="*/ 619 w 804"/>
                <a:gd name="T31" fmla="*/ 500 h 894"/>
                <a:gd name="T32" fmla="*/ 701 w 804"/>
                <a:gd name="T33" fmla="*/ 444 h 894"/>
                <a:gd name="T34" fmla="*/ 783 w 804"/>
                <a:gd name="T35" fmla="*/ 327 h 894"/>
                <a:gd name="T36" fmla="*/ 776 w 804"/>
                <a:gd name="T37" fmla="*/ 272 h 894"/>
                <a:gd name="T38" fmla="*/ 692 w 804"/>
                <a:gd name="T39" fmla="*/ 168 h 894"/>
                <a:gd name="T40" fmla="*/ 525 w 804"/>
                <a:gd name="T41" fmla="*/ 106 h 894"/>
                <a:gd name="T42" fmla="*/ 471 w 804"/>
                <a:gd name="T43" fmla="*/ 0 h 894"/>
                <a:gd name="T44" fmla="*/ 437 w 804"/>
                <a:gd name="T45" fmla="*/ 19 h 894"/>
                <a:gd name="T46" fmla="*/ 399 w 804"/>
                <a:gd name="T47" fmla="*/ 19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04" h="894">
                  <a:moveTo>
                    <a:pt x="399" y="19"/>
                  </a:moveTo>
                  <a:cubicBezTo>
                    <a:pt x="399" y="95"/>
                    <a:pt x="399" y="95"/>
                    <a:pt x="399" y="95"/>
                  </a:cubicBezTo>
                  <a:cubicBezTo>
                    <a:pt x="336" y="175"/>
                    <a:pt x="336" y="175"/>
                    <a:pt x="336" y="175"/>
                  </a:cubicBezTo>
                  <a:cubicBezTo>
                    <a:pt x="302" y="259"/>
                    <a:pt x="302" y="259"/>
                    <a:pt x="302" y="259"/>
                  </a:cubicBezTo>
                  <a:cubicBezTo>
                    <a:pt x="312" y="259"/>
                    <a:pt x="319" y="260"/>
                    <a:pt x="322" y="259"/>
                  </a:cubicBezTo>
                  <a:cubicBezTo>
                    <a:pt x="348" y="256"/>
                    <a:pt x="374" y="310"/>
                    <a:pt x="374" y="330"/>
                  </a:cubicBezTo>
                  <a:cubicBezTo>
                    <a:pt x="374" y="350"/>
                    <a:pt x="320" y="527"/>
                    <a:pt x="305" y="539"/>
                  </a:cubicBezTo>
                  <a:cubicBezTo>
                    <a:pt x="295" y="547"/>
                    <a:pt x="117" y="606"/>
                    <a:pt x="0" y="642"/>
                  </a:cubicBezTo>
                  <a:cubicBezTo>
                    <a:pt x="25" y="695"/>
                    <a:pt x="76" y="800"/>
                    <a:pt x="122" y="894"/>
                  </a:cubicBezTo>
                  <a:cubicBezTo>
                    <a:pt x="130" y="891"/>
                    <a:pt x="138" y="887"/>
                    <a:pt x="147" y="882"/>
                  </a:cubicBezTo>
                  <a:cubicBezTo>
                    <a:pt x="203" y="849"/>
                    <a:pt x="267" y="866"/>
                    <a:pt x="309" y="854"/>
                  </a:cubicBezTo>
                  <a:cubicBezTo>
                    <a:pt x="352" y="842"/>
                    <a:pt x="311" y="807"/>
                    <a:pt x="348" y="776"/>
                  </a:cubicBezTo>
                  <a:cubicBezTo>
                    <a:pt x="385" y="745"/>
                    <a:pt x="438" y="768"/>
                    <a:pt x="457" y="758"/>
                  </a:cubicBezTo>
                  <a:cubicBezTo>
                    <a:pt x="476" y="748"/>
                    <a:pt x="490" y="680"/>
                    <a:pt x="522" y="667"/>
                  </a:cubicBezTo>
                  <a:cubicBezTo>
                    <a:pt x="554" y="653"/>
                    <a:pt x="590" y="662"/>
                    <a:pt x="585" y="634"/>
                  </a:cubicBezTo>
                  <a:cubicBezTo>
                    <a:pt x="581" y="606"/>
                    <a:pt x="588" y="506"/>
                    <a:pt x="619" y="500"/>
                  </a:cubicBezTo>
                  <a:cubicBezTo>
                    <a:pt x="650" y="494"/>
                    <a:pt x="699" y="461"/>
                    <a:pt x="701" y="444"/>
                  </a:cubicBezTo>
                  <a:cubicBezTo>
                    <a:pt x="702" y="426"/>
                    <a:pt x="764" y="359"/>
                    <a:pt x="783" y="327"/>
                  </a:cubicBezTo>
                  <a:cubicBezTo>
                    <a:pt x="802" y="295"/>
                    <a:pt x="804" y="277"/>
                    <a:pt x="776" y="272"/>
                  </a:cubicBezTo>
                  <a:cubicBezTo>
                    <a:pt x="748" y="268"/>
                    <a:pt x="704" y="190"/>
                    <a:pt x="692" y="168"/>
                  </a:cubicBezTo>
                  <a:cubicBezTo>
                    <a:pt x="680" y="145"/>
                    <a:pt x="594" y="160"/>
                    <a:pt x="525" y="106"/>
                  </a:cubicBezTo>
                  <a:cubicBezTo>
                    <a:pt x="497" y="83"/>
                    <a:pt x="481" y="42"/>
                    <a:pt x="471" y="0"/>
                  </a:cubicBezTo>
                  <a:cubicBezTo>
                    <a:pt x="437" y="19"/>
                    <a:pt x="437" y="19"/>
                    <a:pt x="437" y="19"/>
                  </a:cubicBezTo>
                  <a:lnTo>
                    <a:pt x="399" y="19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14194075" y="7467947"/>
              <a:ext cx="58639" cy="85444"/>
            </a:xfrm>
            <a:custGeom>
              <a:avLst/>
              <a:gdLst>
                <a:gd name="T0" fmla="*/ 84 w 117"/>
                <a:gd name="T1" fmla="*/ 168 h 171"/>
                <a:gd name="T2" fmla="*/ 86 w 117"/>
                <a:gd name="T3" fmla="*/ 140 h 171"/>
                <a:gd name="T4" fmla="*/ 74 w 117"/>
                <a:gd name="T5" fmla="*/ 12 h 171"/>
                <a:gd name="T6" fmla="*/ 8 w 117"/>
                <a:gd name="T7" fmla="*/ 109 h 171"/>
                <a:gd name="T8" fmla="*/ 0 w 117"/>
                <a:gd name="T9" fmla="*/ 110 h 171"/>
                <a:gd name="T10" fmla="*/ 84 w 117"/>
                <a:gd name="T11" fmla="*/ 168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7" h="171">
                  <a:moveTo>
                    <a:pt x="84" y="168"/>
                  </a:moveTo>
                  <a:cubicBezTo>
                    <a:pt x="81" y="157"/>
                    <a:pt x="81" y="147"/>
                    <a:pt x="86" y="140"/>
                  </a:cubicBezTo>
                  <a:cubicBezTo>
                    <a:pt x="105" y="107"/>
                    <a:pt x="117" y="23"/>
                    <a:pt x="74" y="12"/>
                  </a:cubicBezTo>
                  <a:cubicBezTo>
                    <a:pt x="31" y="0"/>
                    <a:pt x="8" y="85"/>
                    <a:pt x="8" y="109"/>
                  </a:cubicBezTo>
                  <a:cubicBezTo>
                    <a:pt x="8" y="113"/>
                    <a:pt x="5" y="113"/>
                    <a:pt x="0" y="110"/>
                  </a:cubicBezTo>
                  <a:cubicBezTo>
                    <a:pt x="22" y="165"/>
                    <a:pt x="59" y="171"/>
                    <a:pt x="84" y="16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14257740" y="7457895"/>
              <a:ext cx="239579" cy="196019"/>
            </a:xfrm>
            <a:custGeom>
              <a:avLst/>
              <a:gdLst>
                <a:gd name="T0" fmla="*/ 75 w 475"/>
                <a:gd name="T1" fmla="*/ 357 h 385"/>
                <a:gd name="T2" fmla="*/ 306 w 475"/>
                <a:gd name="T3" fmla="*/ 385 h 385"/>
                <a:gd name="T4" fmla="*/ 340 w 475"/>
                <a:gd name="T5" fmla="*/ 301 h 385"/>
                <a:gd name="T6" fmla="*/ 403 w 475"/>
                <a:gd name="T7" fmla="*/ 221 h 385"/>
                <a:gd name="T8" fmla="*/ 403 w 475"/>
                <a:gd name="T9" fmla="*/ 145 h 385"/>
                <a:gd name="T10" fmla="*/ 441 w 475"/>
                <a:gd name="T11" fmla="*/ 145 h 385"/>
                <a:gd name="T12" fmla="*/ 475 w 475"/>
                <a:gd name="T13" fmla="*/ 126 h 385"/>
                <a:gd name="T14" fmla="*/ 448 w 475"/>
                <a:gd name="T15" fmla="*/ 1 h 385"/>
                <a:gd name="T16" fmla="*/ 328 w 475"/>
                <a:gd name="T17" fmla="*/ 136 h 385"/>
                <a:gd name="T18" fmla="*/ 139 w 475"/>
                <a:gd name="T19" fmla="*/ 224 h 385"/>
                <a:gd name="T20" fmla="*/ 21 w 475"/>
                <a:gd name="T21" fmla="*/ 255 h 385"/>
                <a:gd name="T22" fmla="*/ 0 w 475"/>
                <a:gd name="T23" fmla="*/ 249 h 385"/>
                <a:gd name="T24" fmla="*/ 75 w 475"/>
                <a:gd name="T25" fmla="*/ 35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5" h="385">
                  <a:moveTo>
                    <a:pt x="75" y="357"/>
                  </a:moveTo>
                  <a:cubicBezTo>
                    <a:pt x="88" y="364"/>
                    <a:pt x="246" y="382"/>
                    <a:pt x="306" y="385"/>
                  </a:cubicBezTo>
                  <a:cubicBezTo>
                    <a:pt x="340" y="301"/>
                    <a:pt x="340" y="301"/>
                    <a:pt x="340" y="301"/>
                  </a:cubicBezTo>
                  <a:cubicBezTo>
                    <a:pt x="403" y="221"/>
                    <a:pt x="403" y="221"/>
                    <a:pt x="403" y="221"/>
                  </a:cubicBezTo>
                  <a:cubicBezTo>
                    <a:pt x="403" y="145"/>
                    <a:pt x="403" y="145"/>
                    <a:pt x="403" y="145"/>
                  </a:cubicBezTo>
                  <a:cubicBezTo>
                    <a:pt x="441" y="145"/>
                    <a:pt x="441" y="145"/>
                    <a:pt x="441" y="145"/>
                  </a:cubicBezTo>
                  <a:cubicBezTo>
                    <a:pt x="475" y="126"/>
                    <a:pt x="475" y="126"/>
                    <a:pt x="475" y="126"/>
                  </a:cubicBezTo>
                  <a:cubicBezTo>
                    <a:pt x="461" y="64"/>
                    <a:pt x="458" y="2"/>
                    <a:pt x="448" y="1"/>
                  </a:cubicBezTo>
                  <a:cubicBezTo>
                    <a:pt x="430" y="0"/>
                    <a:pt x="358" y="78"/>
                    <a:pt x="328" y="136"/>
                  </a:cubicBezTo>
                  <a:cubicBezTo>
                    <a:pt x="299" y="193"/>
                    <a:pt x="213" y="237"/>
                    <a:pt x="139" y="224"/>
                  </a:cubicBezTo>
                  <a:cubicBezTo>
                    <a:pt x="66" y="211"/>
                    <a:pt x="41" y="242"/>
                    <a:pt x="21" y="255"/>
                  </a:cubicBezTo>
                  <a:cubicBezTo>
                    <a:pt x="16" y="259"/>
                    <a:pt x="9" y="256"/>
                    <a:pt x="0" y="249"/>
                  </a:cubicBezTo>
                  <a:cubicBezTo>
                    <a:pt x="8" y="308"/>
                    <a:pt x="64" y="350"/>
                    <a:pt x="75" y="35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4" name="Freeform 94"/>
            <p:cNvSpPr>
              <a:spLocks noEditPoints="1"/>
            </p:cNvSpPr>
            <p:nvPr/>
          </p:nvSpPr>
          <p:spPr bwMode="auto">
            <a:xfrm>
              <a:off x="16640125" y="8489927"/>
              <a:ext cx="980096" cy="304919"/>
            </a:xfrm>
            <a:custGeom>
              <a:avLst/>
              <a:gdLst>
                <a:gd name="T0" fmla="*/ 350 w 1939"/>
                <a:gd name="T1" fmla="*/ 214 h 602"/>
                <a:gd name="T2" fmla="*/ 273 w 1939"/>
                <a:gd name="T3" fmla="*/ 110 h 602"/>
                <a:gd name="T4" fmla="*/ 224 w 1939"/>
                <a:gd name="T5" fmla="*/ 61 h 602"/>
                <a:gd name="T6" fmla="*/ 217 w 1939"/>
                <a:gd name="T7" fmla="*/ 47 h 602"/>
                <a:gd name="T8" fmla="*/ 186 w 1939"/>
                <a:gd name="T9" fmla="*/ 87 h 602"/>
                <a:gd name="T10" fmla="*/ 107 w 1939"/>
                <a:gd name="T11" fmla="*/ 77 h 602"/>
                <a:gd name="T12" fmla="*/ 58 w 1939"/>
                <a:gd name="T13" fmla="*/ 18 h 602"/>
                <a:gd name="T14" fmla="*/ 0 w 1939"/>
                <a:gd name="T15" fmla="*/ 14 h 602"/>
                <a:gd name="T16" fmla="*/ 28 w 1939"/>
                <a:gd name="T17" fmla="*/ 167 h 602"/>
                <a:gd name="T18" fmla="*/ 130 w 1939"/>
                <a:gd name="T19" fmla="*/ 359 h 602"/>
                <a:gd name="T20" fmla="*/ 226 w 1939"/>
                <a:gd name="T21" fmla="*/ 451 h 602"/>
                <a:gd name="T22" fmla="*/ 418 w 1939"/>
                <a:gd name="T23" fmla="*/ 548 h 602"/>
                <a:gd name="T24" fmla="*/ 351 w 1939"/>
                <a:gd name="T25" fmla="*/ 406 h 602"/>
                <a:gd name="T26" fmla="*/ 350 w 1939"/>
                <a:gd name="T27" fmla="*/ 214 h 602"/>
                <a:gd name="T28" fmla="*/ 1860 w 1939"/>
                <a:gd name="T29" fmla="*/ 101 h 602"/>
                <a:gd name="T30" fmla="*/ 1771 w 1939"/>
                <a:gd name="T31" fmla="*/ 77 h 602"/>
                <a:gd name="T32" fmla="*/ 1680 w 1939"/>
                <a:gd name="T33" fmla="*/ 0 h 602"/>
                <a:gd name="T34" fmla="*/ 1600 w 1939"/>
                <a:gd name="T35" fmla="*/ 101 h 602"/>
                <a:gd name="T36" fmla="*/ 1547 w 1939"/>
                <a:gd name="T37" fmla="*/ 169 h 602"/>
                <a:gd name="T38" fmla="*/ 1525 w 1939"/>
                <a:gd name="T39" fmla="*/ 196 h 602"/>
                <a:gd name="T40" fmla="*/ 1526 w 1939"/>
                <a:gd name="T41" fmla="*/ 254 h 602"/>
                <a:gd name="T42" fmla="*/ 1461 w 1939"/>
                <a:gd name="T43" fmla="*/ 278 h 602"/>
                <a:gd name="T44" fmla="*/ 1407 w 1939"/>
                <a:gd name="T45" fmla="*/ 207 h 602"/>
                <a:gd name="T46" fmla="*/ 1405 w 1939"/>
                <a:gd name="T47" fmla="*/ 207 h 602"/>
                <a:gd name="T48" fmla="*/ 1317 w 1939"/>
                <a:gd name="T49" fmla="*/ 346 h 602"/>
                <a:gd name="T50" fmla="*/ 1172 w 1939"/>
                <a:gd name="T51" fmla="*/ 390 h 602"/>
                <a:gd name="T52" fmla="*/ 1107 w 1939"/>
                <a:gd name="T53" fmla="*/ 517 h 602"/>
                <a:gd name="T54" fmla="*/ 959 w 1939"/>
                <a:gd name="T55" fmla="*/ 480 h 602"/>
                <a:gd name="T56" fmla="*/ 989 w 1939"/>
                <a:gd name="T57" fmla="*/ 544 h 602"/>
                <a:gd name="T58" fmla="*/ 1072 w 1939"/>
                <a:gd name="T59" fmla="*/ 585 h 602"/>
                <a:gd name="T60" fmla="*/ 1201 w 1939"/>
                <a:gd name="T61" fmla="*/ 573 h 602"/>
                <a:gd name="T62" fmla="*/ 1302 w 1939"/>
                <a:gd name="T63" fmla="*/ 532 h 602"/>
                <a:gd name="T64" fmla="*/ 1396 w 1939"/>
                <a:gd name="T65" fmla="*/ 549 h 602"/>
                <a:gd name="T66" fmla="*/ 1485 w 1939"/>
                <a:gd name="T67" fmla="*/ 490 h 602"/>
                <a:gd name="T68" fmla="*/ 1514 w 1939"/>
                <a:gd name="T69" fmla="*/ 396 h 602"/>
                <a:gd name="T70" fmla="*/ 1573 w 1939"/>
                <a:gd name="T71" fmla="*/ 307 h 602"/>
                <a:gd name="T72" fmla="*/ 1727 w 1939"/>
                <a:gd name="T73" fmla="*/ 242 h 602"/>
                <a:gd name="T74" fmla="*/ 1774 w 1939"/>
                <a:gd name="T75" fmla="*/ 259 h 602"/>
                <a:gd name="T76" fmla="*/ 1836 w 1939"/>
                <a:gd name="T77" fmla="*/ 198 h 602"/>
                <a:gd name="T78" fmla="*/ 1927 w 1939"/>
                <a:gd name="T79" fmla="*/ 160 h 602"/>
                <a:gd name="T80" fmla="*/ 1860 w 1939"/>
                <a:gd name="T81" fmla="*/ 101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39" h="602">
                  <a:moveTo>
                    <a:pt x="350" y="214"/>
                  </a:moveTo>
                  <a:cubicBezTo>
                    <a:pt x="351" y="148"/>
                    <a:pt x="288" y="155"/>
                    <a:pt x="273" y="110"/>
                  </a:cubicBezTo>
                  <a:cubicBezTo>
                    <a:pt x="258" y="64"/>
                    <a:pt x="233" y="90"/>
                    <a:pt x="224" y="61"/>
                  </a:cubicBezTo>
                  <a:cubicBezTo>
                    <a:pt x="223" y="57"/>
                    <a:pt x="220" y="52"/>
                    <a:pt x="217" y="47"/>
                  </a:cubicBezTo>
                  <a:cubicBezTo>
                    <a:pt x="183" y="57"/>
                    <a:pt x="195" y="85"/>
                    <a:pt x="186" y="87"/>
                  </a:cubicBezTo>
                  <a:cubicBezTo>
                    <a:pt x="174" y="89"/>
                    <a:pt x="107" y="97"/>
                    <a:pt x="107" y="77"/>
                  </a:cubicBezTo>
                  <a:cubicBezTo>
                    <a:pt x="107" y="57"/>
                    <a:pt x="98" y="26"/>
                    <a:pt x="58" y="18"/>
                  </a:cubicBezTo>
                  <a:cubicBezTo>
                    <a:pt x="38" y="15"/>
                    <a:pt x="18" y="13"/>
                    <a:pt x="0" y="14"/>
                  </a:cubicBezTo>
                  <a:cubicBezTo>
                    <a:pt x="24" y="67"/>
                    <a:pt x="27" y="122"/>
                    <a:pt x="28" y="167"/>
                  </a:cubicBezTo>
                  <a:cubicBezTo>
                    <a:pt x="30" y="226"/>
                    <a:pt x="117" y="321"/>
                    <a:pt x="130" y="359"/>
                  </a:cubicBezTo>
                  <a:cubicBezTo>
                    <a:pt x="143" y="397"/>
                    <a:pt x="168" y="409"/>
                    <a:pt x="226" y="451"/>
                  </a:cubicBezTo>
                  <a:cubicBezTo>
                    <a:pt x="284" y="492"/>
                    <a:pt x="396" y="558"/>
                    <a:pt x="418" y="548"/>
                  </a:cubicBezTo>
                  <a:cubicBezTo>
                    <a:pt x="440" y="538"/>
                    <a:pt x="384" y="440"/>
                    <a:pt x="351" y="406"/>
                  </a:cubicBezTo>
                  <a:cubicBezTo>
                    <a:pt x="319" y="372"/>
                    <a:pt x="348" y="281"/>
                    <a:pt x="350" y="214"/>
                  </a:cubicBezTo>
                  <a:close/>
                  <a:moveTo>
                    <a:pt x="1860" y="101"/>
                  </a:moveTo>
                  <a:cubicBezTo>
                    <a:pt x="1833" y="107"/>
                    <a:pt x="1771" y="104"/>
                    <a:pt x="1771" y="77"/>
                  </a:cubicBezTo>
                  <a:cubicBezTo>
                    <a:pt x="1771" y="51"/>
                    <a:pt x="1715" y="0"/>
                    <a:pt x="1680" y="0"/>
                  </a:cubicBezTo>
                  <a:cubicBezTo>
                    <a:pt x="1644" y="0"/>
                    <a:pt x="1603" y="71"/>
                    <a:pt x="1600" y="101"/>
                  </a:cubicBezTo>
                  <a:cubicBezTo>
                    <a:pt x="1597" y="130"/>
                    <a:pt x="1541" y="127"/>
                    <a:pt x="1547" y="169"/>
                  </a:cubicBezTo>
                  <a:cubicBezTo>
                    <a:pt x="1549" y="185"/>
                    <a:pt x="1539" y="192"/>
                    <a:pt x="1525" y="196"/>
                  </a:cubicBezTo>
                  <a:cubicBezTo>
                    <a:pt x="1534" y="232"/>
                    <a:pt x="1539" y="258"/>
                    <a:pt x="1526" y="254"/>
                  </a:cubicBezTo>
                  <a:cubicBezTo>
                    <a:pt x="1502" y="248"/>
                    <a:pt x="1497" y="278"/>
                    <a:pt x="1461" y="278"/>
                  </a:cubicBezTo>
                  <a:cubicBezTo>
                    <a:pt x="1449" y="278"/>
                    <a:pt x="1429" y="247"/>
                    <a:pt x="1407" y="207"/>
                  </a:cubicBezTo>
                  <a:cubicBezTo>
                    <a:pt x="1406" y="207"/>
                    <a:pt x="1406" y="207"/>
                    <a:pt x="1405" y="207"/>
                  </a:cubicBezTo>
                  <a:cubicBezTo>
                    <a:pt x="1381" y="207"/>
                    <a:pt x="1328" y="290"/>
                    <a:pt x="1317" y="346"/>
                  </a:cubicBezTo>
                  <a:cubicBezTo>
                    <a:pt x="1305" y="402"/>
                    <a:pt x="1252" y="384"/>
                    <a:pt x="1172" y="390"/>
                  </a:cubicBezTo>
                  <a:cubicBezTo>
                    <a:pt x="1092" y="396"/>
                    <a:pt x="1125" y="479"/>
                    <a:pt x="1107" y="517"/>
                  </a:cubicBezTo>
                  <a:cubicBezTo>
                    <a:pt x="1091" y="552"/>
                    <a:pt x="1003" y="489"/>
                    <a:pt x="959" y="480"/>
                  </a:cubicBezTo>
                  <a:cubicBezTo>
                    <a:pt x="966" y="511"/>
                    <a:pt x="977" y="544"/>
                    <a:pt x="989" y="544"/>
                  </a:cubicBezTo>
                  <a:cubicBezTo>
                    <a:pt x="1013" y="544"/>
                    <a:pt x="1048" y="602"/>
                    <a:pt x="1072" y="585"/>
                  </a:cubicBezTo>
                  <a:cubicBezTo>
                    <a:pt x="1095" y="567"/>
                    <a:pt x="1166" y="585"/>
                    <a:pt x="1201" y="573"/>
                  </a:cubicBezTo>
                  <a:cubicBezTo>
                    <a:pt x="1237" y="561"/>
                    <a:pt x="1243" y="532"/>
                    <a:pt x="1302" y="532"/>
                  </a:cubicBezTo>
                  <a:cubicBezTo>
                    <a:pt x="1361" y="532"/>
                    <a:pt x="1337" y="579"/>
                    <a:pt x="1396" y="549"/>
                  </a:cubicBezTo>
                  <a:cubicBezTo>
                    <a:pt x="1455" y="520"/>
                    <a:pt x="1491" y="544"/>
                    <a:pt x="1485" y="490"/>
                  </a:cubicBezTo>
                  <a:cubicBezTo>
                    <a:pt x="1479" y="437"/>
                    <a:pt x="1520" y="437"/>
                    <a:pt x="1514" y="396"/>
                  </a:cubicBezTo>
                  <a:cubicBezTo>
                    <a:pt x="1508" y="355"/>
                    <a:pt x="1579" y="384"/>
                    <a:pt x="1573" y="307"/>
                  </a:cubicBezTo>
                  <a:cubicBezTo>
                    <a:pt x="1567" y="231"/>
                    <a:pt x="1680" y="242"/>
                    <a:pt x="1727" y="242"/>
                  </a:cubicBezTo>
                  <a:cubicBezTo>
                    <a:pt x="1738" y="242"/>
                    <a:pt x="1755" y="249"/>
                    <a:pt x="1774" y="259"/>
                  </a:cubicBezTo>
                  <a:cubicBezTo>
                    <a:pt x="1809" y="241"/>
                    <a:pt x="1859" y="219"/>
                    <a:pt x="1836" y="198"/>
                  </a:cubicBezTo>
                  <a:cubicBezTo>
                    <a:pt x="1809" y="175"/>
                    <a:pt x="1916" y="195"/>
                    <a:pt x="1927" y="160"/>
                  </a:cubicBezTo>
                  <a:cubicBezTo>
                    <a:pt x="1939" y="124"/>
                    <a:pt x="1886" y="95"/>
                    <a:pt x="1860" y="10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17350485" y="8590450"/>
              <a:ext cx="67015" cy="40209"/>
            </a:xfrm>
            <a:custGeom>
              <a:avLst/>
              <a:gdLst>
                <a:gd name="T0" fmla="*/ 54 w 132"/>
                <a:gd name="T1" fmla="*/ 82 h 82"/>
                <a:gd name="T2" fmla="*/ 119 w 132"/>
                <a:gd name="T3" fmla="*/ 58 h 82"/>
                <a:gd name="T4" fmla="*/ 118 w 132"/>
                <a:gd name="T5" fmla="*/ 0 h 82"/>
                <a:gd name="T6" fmla="*/ 69 w 132"/>
                <a:gd name="T7" fmla="*/ 23 h 82"/>
                <a:gd name="T8" fmla="*/ 0 w 132"/>
                <a:gd name="T9" fmla="*/ 11 h 82"/>
                <a:gd name="T10" fmla="*/ 54 w 132"/>
                <a:gd name="T11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2" h="82">
                  <a:moveTo>
                    <a:pt x="54" y="82"/>
                  </a:moveTo>
                  <a:cubicBezTo>
                    <a:pt x="90" y="82"/>
                    <a:pt x="95" y="52"/>
                    <a:pt x="119" y="58"/>
                  </a:cubicBezTo>
                  <a:cubicBezTo>
                    <a:pt x="132" y="62"/>
                    <a:pt x="127" y="36"/>
                    <a:pt x="118" y="0"/>
                  </a:cubicBezTo>
                  <a:cubicBezTo>
                    <a:pt x="97" y="7"/>
                    <a:pt x="69" y="7"/>
                    <a:pt x="69" y="23"/>
                  </a:cubicBezTo>
                  <a:cubicBezTo>
                    <a:pt x="69" y="49"/>
                    <a:pt x="24" y="13"/>
                    <a:pt x="0" y="11"/>
                  </a:cubicBezTo>
                  <a:cubicBezTo>
                    <a:pt x="22" y="51"/>
                    <a:pt x="42" y="82"/>
                    <a:pt x="54" y="8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13595965" y="6822927"/>
              <a:ext cx="494237" cy="482509"/>
            </a:xfrm>
            <a:custGeom>
              <a:avLst/>
              <a:gdLst>
                <a:gd name="T0" fmla="*/ 822 w 977"/>
                <a:gd name="T1" fmla="*/ 866 h 954"/>
                <a:gd name="T2" fmla="*/ 867 w 977"/>
                <a:gd name="T3" fmla="*/ 830 h 954"/>
                <a:gd name="T4" fmla="*/ 933 w 977"/>
                <a:gd name="T5" fmla="*/ 867 h 954"/>
                <a:gd name="T6" fmla="*/ 977 w 977"/>
                <a:gd name="T7" fmla="*/ 844 h 954"/>
                <a:gd name="T8" fmla="*/ 921 w 977"/>
                <a:gd name="T9" fmla="*/ 765 h 954"/>
                <a:gd name="T10" fmla="*/ 885 w 977"/>
                <a:gd name="T11" fmla="*/ 698 h 954"/>
                <a:gd name="T12" fmla="*/ 893 w 977"/>
                <a:gd name="T13" fmla="*/ 631 h 954"/>
                <a:gd name="T14" fmla="*/ 846 w 977"/>
                <a:gd name="T15" fmla="*/ 572 h 954"/>
                <a:gd name="T16" fmla="*/ 735 w 977"/>
                <a:gd name="T17" fmla="*/ 497 h 954"/>
                <a:gd name="T18" fmla="*/ 688 w 977"/>
                <a:gd name="T19" fmla="*/ 442 h 954"/>
                <a:gd name="T20" fmla="*/ 676 w 977"/>
                <a:gd name="T21" fmla="*/ 351 h 954"/>
                <a:gd name="T22" fmla="*/ 716 w 977"/>
                <a:gd name="T23" fmla="*/ 272 h 954"/>
                <a:gd name="T24" fmla="*/ 728 w 977"/>
                <a:gd name="T25" fmla="*/ 213 h 954"/>
                <a:gd name="T26" fmla="*/ 688 w 977"/>
                <a:gd name="T27" fmla="*/ 178 h 954"/>
                <a:gd name="T28" fmla="*/ 633 w 977"/>
                <a:gd name="T29" fmla="*/ 119 h 954"/>
                <a:gd name="T30" fmla="*/ 597 w 977"/>
                <a:gd name="T31" fmla="*/ 40 h 954"/>
                <a:gd name="T32" fmla="*/ 492 w 977"/>
                <a:gd name="T33" fmla="*/ 23 h 954"/>
                <a:gd name="T34" fmla="*/ 404 w 977"/>
                <a:gd name="T35" fmla="*/ 5 h 954"/>
                <a:gd name="T36" fmla="*/ 359 w 977"/>
                <a:gd name="T37" fmla="*/ 39 h 954"/>
                <a:gd name="T38" fmla="*/ 361 w 977"/>
                <a:gd name="T39" fmla="*/ 40 h 954"/>
                <a:gd name="T40" fmla="*/ 302 w 977"/>
                <a:gd name="T41" fmla="*/ 83 h 954"/>
                <a:gd name="T42" fmla="*/ 239 w 977"/>
                <a:gd name="T43" fmla="*/ 130 h 954"/>
                <a:gd name="T44" fmla="*/ 247 w 977"/>
                <a:gd name="T45" fmla="*/ 213 h 954"/>
                <a:gd name="T46" fmla="*/ 239 w 977"/>
                <a:gd name="T47" fmla="*/ 292 h 954"/>
                <a:gd name="T48" fmla="*/ 215 w 977"/>
                <a:gd name="T49" fmla="*/ 351 h 954"/>
                <a:gd name="T50" fmla="*/ 0 w 977"/>
                <a:gd name="T51" fmla="*/ 464 h 954"/>
                <a:gd name="T52" fmla="*/ 8 w 977"/>
                <a:gd name="T53" fmla="*/ 513 h 954"/>
                <a:gd name="T54" fmla="*/ 31 w 977"/>
                <a:gd name="T55" fmla="*/ 611 h 954"/>
                <a:gd name="T56" fmla="*/ 109 w 977"/>
                <a:gd name="T57" fmla="*/ 611 h 954"/>
                <a:gd name="T58" fmla="*/ 306 w 977"/>
                <a:gd name="T59" fmla="*/ 726 h 954"/>
                <a:gd name="T60" fmla="*/ 546 w 977"/>
                <a:gd name="T61" fmla="*/ 903 h 954"/>
                <a:gd name="T62" fmla="*/ 664 w 977"/>
                <a:gd name="T63" fmla="*/ 942 h 954"/>
                <a:gd name="T64" fmla="*/ 780 w 977"/>
                <a:gd name="T65" fmla="*/ 954 h 954"/>
                <a:gd name="T66" fmla="*/ 822 w 977"/>
                <a:gd name="T67" fmla="*/ 866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77" h="954">
                  <a:moveTo>
                    <a:pt x="822" y="866"/>
                  </a:moveTo>
                  <a:cubicBezTo>
                    <a:pt x="834" y="853"/>
                    <a:pt x="837" y="834"/>
                    <a:pt x="867" y="830"/>
                  </a:cubicBezTo>
                  <a:cubicBezTo>
                    <a:pt x="892" y="826"/>
                    <a:pt x="907" y="842"/>
                    <a:pt x="933" y="867"/>
                  </a:cubicBezTo>
                  <a:cubicBezTo>
                    <a:pt x="943" y="857"/>
                    <a:pt x="961" y="848"/>
                    <a:pt x="977" y="844"/>
                  </a:cubicBezTo>
                  <a:cubicBezTo>
                    <a:pt x="950" y="816"/>
                    <a:pt x="918" y="784"/>
                    <a:pt x="921" y="765"/>
                  </a:cubicBezTo>
                  <a:cubicBezTo>
                    <a:pt x="925" y="733"/>
                    <a:pt x="889" y="718"/>
                    <a:pt x="885" y="698"/>
                  </a:cubicBezTo>
                  <a:cubicBezTo>
                    <a:pt x="881" y="678"/>
                    <a:pt x="909" y="647"/>
                    <a:pt x="893" y="631"/>
                  </a:cubicBezTo>
                  <a:cubicBezTo>
                    <a:pt x="877" y="615"/>
                    <a:pt x="873" y="576"/>
                    <a:pt x="846" y="572"/>
                  </a:cubicBezTo>
                  <a:cubicBezTo>
                    <a:pt x="818" y="568"/>
                    <a:pt x="731" y="525"/>
                    <a:pt x="735" y="497"/>
                  </a:cubicBezTo>
                  <a:cubicBezTo>
                    <a:pt x="739" y="469"/>
                    <a:pt x="704" y="450"/>
                    <a:pt x="688" y="442"/>
                  </a:cubicBezTo>
                  <a:cubicBezTo>
                    <a:pt x="672" y="434"/>
                    <a:pt x="657" y="363"/>
                    <a:pt x="676" y="351"/>
                  </a:cubicBezTo>
                  <a:cubicBezTo>
                    <a:pt x="696" y="339"/>
                    <a:pt x="692" y="272"/>
                    <a:pt x="716" y="272"/>
                  </a:cubicBezTo>
                  <a:cubicBezTo>
                    <a:pt x="739" y="272"/>
                    <a:pt x="720" y="237"/>
                    <a:pt x="728" y="213"/>
                  </a:cubicBezTo>
                  <a:cubicBezTo>
                    <a:pt x="735" y="190"/>
                    <a:pt x="708" y="178"/>
                    <a:pt x="688" y="178"/>
                  </a:cubicBezTo>
                  <a:cubicBezTo>
                    <a:pt x="668" y="178"/>
                    <a:pt x="633" y="146"/>
                    <a:pt x="633" y="119"/>
                  </a:cubicBezTo>
                  <a:cubicBezTo>
                    <a:pt x="633" y="91"/>
                    <a:pt x="593" y="52"/>
                    <a:pt x="597" y="40"/>
                  </a:cubicBezTo>
                  <a:cubicBezTo>
                    <a:pt x="591" y="92"/>
                    <a:pt x="516" y="11"/>
                    <a:pt x="492" y="23"/>
                  </a:cubicBezTo>
                  <a:cubicBezTo>
                    <a:pt x="468" y="35"/>
                    <a:pt x="451" y="0"/>
                    <a:pt x="404" y="5"/>
                  </a:cubicBezTo>
                  <a:cubicBezTo>
                    <a:pt x="373" y="9"/>
                    <a:pt x="374" y="25"/>
                    <a:pt x="359" y="39"/>
                  </a:cubicBezTo>
                  <a:cubicBezTo>
                    <a:pt x="361" y="40"/>
                    <a:pt x="361" y="40"/>
                    <a:pt x="361" y="40"/>
                  </a:cubicBezTo>
                  <a:cubicBezTo>
                    <a:pt x="302" y="83"/>
                    <a:pt x="302" y="83"/>
                    <a:pt x="302" y="83"/>
                  </a:cubicBezTo>
                  <a:cubicBezTo>
                    <a:pt x="302" y="83"/>
                    <a:pt x="251" y="99"/>
                    <a:pt x="239" y="130"/>
                  </a:cubicBezTo>
                  <a:cubicBezTo>
                    <a:pt x="227" y="162"/>
                    <a:pt x="263" y="194"/>
                    <a:pt x="247" y="213"/>
                  </a:cubicBezTo>
                  <a:cubicBezTo>
                    <a:pt x="231" y="233"/>
                    <a:pt x="235" y="276"/>
                    <a:pt x="239" y="292"/>
                  </a:cubicBezTo>
                  <a:cubicBezTo>
                    <a:pt x="243" y="308"/>
                    <a:pt x="215" y="351"/>
                    <a:pt x="215" y="351"/>
                  </a:cubicBezTo>
                  <a:cubicBezTo>
                    <a:pt x="215" y="351"/>
                    <a:pt x="98" y="414"/>
                    <a:pt x="0" y="464"/>
                  </a:cubicBezTo>
                  <a:cubicBezTo>
                    <a:pt x="2" y="483"/>
                    <a:pt x="4" y="500"/>
                    <a:pt x="8" y="513"/>
                  </a:cubicBezTo>
                  <a:cubicBezTo>
                    <a:pt x="14" y="535"/>
                    <a:pt x="24" y="577"/>
                    <a:pt x="31" y="611"/>
                  </a:cubicBezTo>
                  <a:cubicBezTo>
                    <a:pt x="69" y="611"/>
                    <a:pt x="75" y="608"/>
                    <a:pt x="109" y="611"/>
                  </a:cubicBezTo>
                  <a:cubicBezTo>
                    <a:pt x="144" y="615"/>
                    <a:pt x="274" y="710"/>
                    <a:pt x="306" y="726"/>
                  </a:cubicBezTo>
                  <a:cubicBezTo>
                    <a:pt x="337" y="741"/>
                    <a:pt x="511" y="871"/>
                    <a:pt x="546" y="903"/>
                  </a:cubicBezTo>
                  <a:cubicBezTo>
                    <a:pt x="582" y="935"/>
                    <a:pt x="641" y="942"/>
                    <a:pt x="664" y="942"/>
                  </a:cubicBezTo>
                  <a:cubicBezTo>
                    <a:pt x="678" y="942"/>
                    <a:pt x="735" y="949"/>
                    <a:pt x="780" y="954"/>
                  </a:cubicBezTo>
                  <a:cubicBezTo>
                    <a:pt x="794" y="921"/>
                    <a:pt x="814" y="875"/>
                    <a:pt x="822" y="86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13989679" y="7240096"/>
              <a:ext cx="97172" cy="93821"/>
            </a:xfrm>
            <a:custGeom>
              <a:avLst/>
              <a:gdLst>
                <a:gd name="T0" fmla="*/ 62 w 192"/>
                <a:gd name="T1" fmla="*/ 136 h 183"/>
                <a:gd name="T2" fmla="*/ 113 w 192"/>
                <a:gd name="T3" fmla="*/ 179 h 183"/>
                <a:gd name="T4" fmla="*/ 192 w 192"/>
                <a:gd name="T5" fmla="*/ 183 h 183"/>
                <a:gd name="T6" fmla="*/ 145 w 192"/>
                <a:gd name="T7" fmla="*/ 58 h 183"/>
                <a:gd name="T8" fmla="*/ 153 w 192"/>
                <a:gd name="T9" fmla="*/ 41 h 183"/>
                <a:gd name="T10" fmla="*/ 87 w 192"/>
                <a:gd name="T11" fmla="*/ 4 h 183"/>
                <a:gd name="T12" fmla="*/ 42 w 192"/>
                <a:gd name="T13" fmla="*/ 40 h 183"/>
                <a:gd name="T14" fmla="*/ 0 w 192"/>
                <a:gd name="T15" fmla="*/ 128 h 183"/>
                <a:gd name="T16" fmla="*/ 62 w 192"/>
                <a:gd name="T17" fmla="*/ 136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183">
                  <a:moveTo>
                    <a:pt x="62" y="136"/>
                  </a:moveTo>
                  <a:cubicBezTo>
                    <a:pt x="113" y="179"/>
                    <a:pt x="113" y="179"/>
                    <a:pt x="113" y="179"/>
                  </a:cubicBezTo>
                  <a:cubicBezTo>
                    <a:pt x="192" y="183"/>
                    <a:pt x="192" y="183"/>
                    <a:pt x="192" y="183"/>
                  </a:cubicBezTo>
                  <a:cubicBezTo>
                    <a:pt x="175" y="137"/>
                    <a:pt x="145" y="74"/>
                    <a:pt x="145" y="58"/>
                  </a:cubicBezTo>
                  <a:cubicBezTo>
                    <a:pt x="145" y="52"/>
                    <a:pt x="148" y="46"/>
                    <a:pt x="153" y="41"/>
                  </a:cubicBezTo>
                  <a:cubicBezTo>
                    <a:pt x="127" y="16"/>
                    <a:pt x="112" y="0"/>
                    <a:pt x="87" y="4"/>
                  </a:cubicBezTo>
                  <a:cubicBezTo>
                    <a:pt x="57" y="8"/>
                    <a:pt x="54" y="27"/>
                    <a:pt x="42" y="40"/>
                  </a:cubicBezTo>
                  <a:cubicBezTo>
                    <a:pt x="34" y="49"/>
                    <a:pt x="14" y="95"/>
                    <a:pt x="0" y="128"/>
                  </a:cubicBezTo>
                  <a:cubicBezTo>
                    <a:pt x="34" y="133"/>
                    <a:pt x="62" y="136"/>
                    <a:pt x="62" y="13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8" name="Freeform 98"/>
            <p:cNvSpPr>
              <a:spLocks noEditPoints="1"/>
            </p:cNvSpPr>
            <p:nvPr/>
          </p:nvSpPr>
          <p:spPr bwMode="auto">
            <a:xfrm>
              <a:off x="11414625" y="5971835"/>
              <a:ext cx="738842" cy="616539"/>
            </a:xfrm>
            <a:custGeom>
              <a:avLst/>
              <a:gdLst>
                <a:gd name="T0" fmla="*/ 1282 w 1462"/>
                <a:gd name="T1" fmla="*/ 276 h 1219"/>
                <a:gd name="T2" fmla="*/ 1229 w 1462"/>
                <a:gd name="T3" fmla="*/ 259 h 1219"/>
                <a:gd name="T4" fmla="*/ 1165 w 1462"/>
                <a:gd name="T5" fmla="*/ 228 h 1219"/>
                <a:gd name="T6" fmla="*/ 1061 w 1462"/>
                <a:gd name="T7" fmla="*/ 210 h 1219"/>
                <a:gd name="T8" fmla="*/ 1010 w 1462"/>
                <a:gd name="T9" fmla="*/ 177 h 1219"/>
                <a:gd name="T10" fmla="*/ 981 w 1462"/>
                <a:gd name="T11" fmla="*/ 130 h 1219"/>
                <a:gd name="T12" fmla="*/ 937 w 1462"/>
                <a:gd name="T13" fmla="*/ 152 h 1219"/>
                <a:gd name="T14" fmla="*/ 908 w 1462"/>
                <a:gd name="T15" fmla="*/ 119 h 1219"/>
                <a:gd name="T16" fmla="*/ 846 w 1462"/>
                <a:gd name="T17" fmla="*/ 81 h 1219"/>
                <a:gd name="T18" fmla="*/ 795 w 1462"/>
                <a:gd name="T19" fmla="*/ 50 h 1219"/>
                <a:gd name="T20" fmla="*/ 760 w 1462"/>
                <a:gd name="T21" fmla="*/ 13 h 1219"/>
                <a:gd name="T22" fmla="*/ 747 w 1462"/>
                <a:gd name="T23" fmla="*/ 0 h 1219"/>
                <a:gd name="T24" fmla="*/ 724 w 1462"/>
                <a:gd name="T25" fmla="*/ 2 h 1219"/>
                <a:gd name="T26" fmla="*/ 664 w 1462"/>
                <a:gd name="T27" fmla="*/ 87 h 1219"/>
                <a:gd name="T28" fmla="*/ 560 w 1462"/>
                <a:gd name="T29" fmla="*/ 157 h 1219"/>
                <a:gd name="T30" fmla="*/ 496 w 1462"/>
                <a:gd name="T31" fmla="*/ 228 h 1219"/>
                <a:gd name="T32" fmla="*/ 370 w 1462"/>
                <a:gd name="T33" fmla="*/ 185 h 1219"/>
                <a:gd name="T34" fmla="*/ 312 w 1462"/>
                <a:gd name="T35" fmla="*/ 223 h 1219"/>
                <a:gd name="T36" fmla="*/ 326 w 1462"/>
                <a:gd name="T37" fmla="*/ 329 h 1219"/>
                <a:gd name="T38" fmla="*/ 239 w 1462"/>
                <a:gd name="T39" fmla="*/ 325 h 1219"/>
                <a:gd name="T40" fmla="*/ 178 w 1462"/>
                <a:gd name="T41" fmla="*/ 296 h 1219"/>
                <a:gd name="T42" fmla="*/ 81 w 1462"/>
                <a:gd name="T43" fmla="*/ 306 h 1219"/>
                <a:gd name="T44" fmla="*/ 19 w 1462"/>
                <a:gd name="T45" fmla="*/ 353 h 1219"/>
                <a:gd name="T46" fmla="*/ 31 w 1462"/>
                <a:gd name="T47" fmla="*/ 415 h 1219"/>
                <a:gd name="T48" fmla="*/ 163 w 1462"/>
                <a:gd name="T49" fmla="*/ 458 h 1219"/>
                <a:gd name="T50" fmla="*/ 250 w 1462"/>
                <a:gd name="T51" fmla="*/ 481 h 1219"/>
                <a:gd name="T52" fmla="*/ 283 w 1462"/>
                <a:gd name="T53" fmla="*/ 526 h 1219"/>
                <a:gd name="T54" fmla="*/ 361 w 1462"/>
                <a:gd name="T55" fmla="*/ 611 h 1219"/>
                <a:gd name="T56" fmla="*/ 388 w 1462"/>
                <a:gd name="T57" fmla="*/ 690 h 1219"/>
                <a:gd name="T58" fmla="*/ 373 w 1462"/>
                <a:gd name="T59" fmla="*/ 809 h 1219"/>
                <a:gd name="T60" fmla="*/ 326 w 1462"/>
                <a:gd name="T61" fmla="*/ 989 h 1219"/>
                <a:gd name="T62" fmla="*/ 320 w 1462"/>
                <a:gd name="T63" fmla="*/ 990 h 1219"/>
                <a:gd name="T64" fmla="*/ 377 w 1462"/>
                <a:gd name="T65" fmla="*/ 1018 h 1219"/>
                <a:gd name="T66" fmla="*/ 474 w 1462"/>
                <a:gd name="T67" fmla="*/ 1065 h 1219"/>
                <a:gd name="T68" fmla="*/ 553 w 1462"/>
                <a:gd name="T69" fmla="*/ 1058 h 1219"/>
                <a:gd name="T70" fmla="*/ 599 w 1462"/>
                <a:gd name="T71" fmla="*/ 1069 h 1219"/>
                <a:gd name="T72" fmla="*/ 718 w 1462"/>
                <a:gd name="T73" fmla="*/ 1097 h 1219"/>
                <a:gd name="T74" fmla="*/ 820 w 1462"/>
                <a:gd name="T75" fmla="*/ 1100 h 1219"/>
                <a:gd name="T76" fmla="*/ 814 w 1462"/>
                <a:gd name="T77" fmla="*/ 1075 h 1219"/>
                <a:gd name="T78" fmla="*/ 897 w 1462"/>
                <a:gd name="T79" fmla="*/ 976 h 1219"/>
                <a:gd name="T80" fmla="*/ 1080 w 1462"/>
                <a:gd name="T81" fmla="*/ 1016 h 1219"/>
                <a:gd name="T82" fmla="*/ 1195 w 1462"/>
                <a:gd name="T83" fmla="*/ 977 h 1219"/>
                <a:gd name="T84" fmla="*/ 1258 w 1462"/>
                <a:gd name="T85" fmla="*/ 937 h 1219"/>
                <a:gd name="T86" fmla="*/ 1269 w 1462"/>
                <a:gd name="T87" fmla="*/ 903 h 1219"/>
                <a:gd name="T88" fmla="*/ 1222 w 1462"/>
                <a:gd name="T89" fmla="*/ 887 h 1219"/>
                <a:gd name="T90" fmla="*/ 1200 w 1462"/>
                <a:gd name="T91" fmla="*/ 839 h 1219"/>
                <a:gd name="T92" fmla="*/ 1171 w 1462"/>
                <a:gd name="T93" fmla="*/ 788 h 1219"/>
                <a:gd name="T94" fmla="*/ 1191 w 1462"/>
                <a:gd name="T95" fmla="*/ 763 h 1219"/>
                <a:gd name="T96" fmla="*/ 1211 w 1462"/>
                <a:gd name="T97" fmla="*/ 723 h 1219"/>
                <a:gd name="T98" fmla="*/ 1200 w 1462"/>
                <a:gd name="T99" fmla="*/ 675 h 1219"/>
                <a:gd name="T100" fmla="*/ 1182 w 1462"/>
                <a:gd name="T101" fmla="*/ 626 h 1219"/>
                <a:gd name="T102" fmla="*/ 1138 w 1462"/>
                <a:gd name="T103" fmla="*/ 622 h 1219"/>
                <a:gd name="T104" fmla="*/ 1125 w 1462"/>
                <a:gd name="T105" fmla="*/ 588 h 1219"/>
                <a:gd name="T106" fmla="*/ 1189 w 1462"/>
                <a:gd name="T107" fmla="*/ 509 h 1219"/>
                <a:gd name="T108" fmla="*/ 1240 w 1462"/>
                <a:gd name="T109" fmla="*/ 467 h 1219"/>
                <a:gd name="T110" fmla="*/ 1262 w 1462"/>
                <a:gd name="T111" fmla="*/ 391 h 1219"/>
                <a:gd name="T112" fmla="*/ 1302 w 1462"/>
                <a:gd name="T113" fmla="*/ 309 h 1219"/>
                <a:gd name="T114" fmla="*/ 1282 w 1462"/>
                <a:gd name="T115" fmla="*/ 276 h 1219"/>
                <a:gd name="T116" fmla="*/ 1440 w 1462"/>
                <a:gd name="T117" fmla="*/ 1027 h 1219"/>
                <a:gd name="T118" fmla="*/ 1378 w 1462"/>
                <a:gd name="T119" fmla="*/ 1081 h 1219"/>
                <a:gd name="T120" fmla="*/ 1419 w 1462"/>
                <a:gd name="T121" fmla="*/ 1213 h 1219"/>
                <a:gd name="T122" fmla="*/ 1440 w 1462"/>
                <a:gd name="T123" fmla="*/ 1027 h 1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62" h="1219">
                  <a:moveTo>
                    <a:pt x="1282" y="276"/>
                  </a:moveTo>
                  <a:cubicBezTo>
                    <a:pt x="1269" y="279"/>
                    <a:pt x="1258" y="259"/>
                    <a:pt x="1229" y="259"/>
                  </a:cubicBezTo>
                  <a:cubicBezTo>
                    <a:pt x="1200" y="259"/>
                    <a:pt x="1178" y="245"/>
                    <a:pt x="1165" y="228"/>
                  </a:cubicBezTo>
                  <a:cubicBezTo>
                    <a:pt x="1151" y="210"/>
                    <a:pt x="1083" y="205"/>
                    <a:pt x="1061" y="210"/>
                  </a:cubicBezTo>
                  <a:cubicBezTo>
                    <a:pt x="1039" y="214"/>
                    <a:pt x="1032" y="172"/>
                    <a:pt x="1010" y="177"/>
                  </a:cubicBezTo>
                  <a:cubicBezTo>
                    <a:pt x="988" y="181"/>
                    <a:pt x="981" y="148"/>
                    <a:pt x="981" y="130"/>
                  </a:cubicBezTo>
                  <a:cubicBezTo>
                    <a:pt x="981" y="112"/>
                    <a:pt x="957" y="143"/>
                    <a:pt x="937" y="152"/>
                  </a:cubicBezTo>
                  <a:cubicBezTo>
                    <a:pt x="917" y="161"/>
                    <a:pt x="910" y="132"/>
                    <a:pt x="908" y="119"/>
                  </a:cubicBezTo>
                  <a:cubicBezTo>
                    <a:pt x="906" y="106"/>
                    <a:pt x="866" y="93"/>
                    <a:pt x="846" y="81"/>
                  </a:cubicBezTo>
                  <a:cubicBezTo>
                    <a:pt x="826" y="70"/>
                    <a:pt x="804" y="35"/>
                    <a:pt x="795" y="50"/>
                  </a:cubicBezTo>
                  <a:cubicBezTo>
                    <a:pt x="786" y="66"/>
                    <a:pt x="762" y="28"/>
                    <a:pt x="760" y="13"/>
                  </a:cubicBezTo>
                  <a:cubicBezTo>
                    <a:pt x="758" y="3"/>
                    <a:pt x="751" y="6"/>
                    <a:pt x="747" y="0"/>
                  </a:cubicBezTo>
                  <a:cubicBezTo>
                    <a:pt x="739" y="1"/>
                    <a:pt x="732" y="2"/>
                    <a:pt x="724" y="2"/>
                  </a:cubicBezTo>
                  <a:cubicBezTo>
                    <a:pt x="689" y="0"/>
                    <a:pt x="658" y="28"/>
                    <a:pt x="664" y="87"/>
                  </a:cubicBezTo>
                  <a:cubicBezTo>
                    <a:pt x="670" y="146"/>
                    <a:pt x="621" y="152"/>
                    <a:pt x="560" y="157"/>
                  </a:cubicBezTo>
                  <a:cubicBezTo>
                    <a:pt x="500" y="161"/>
                    <a:pt x="521" y="208"/>
                    <a:pt x="496" y="228"/>
                  </a:cubicBezTo>
                  <a:cubicBezTo>
                    <a:pt x="470" y="247"/>
                    <a:pt x="382" y="217"/>
                    <a:pt x="370" y="185"/>
                  </a:cubicBezTo>
                  <a:cubicBezTo>
                    <a:pt x="358" y="152"/>
                    <a:pt x="279" y="185"/>
                    <a:pt x="312" y="223"/>
                  </a:cubicBezTo>
                  <a:cubicBezTo>
                    <a:pt x="346" y="262"/>
                    <a:pt x="345" y="315"/>
                    <a:pt x="326" y="329"/>
                  </a:cubicBezTo>
                  <a:cubicBezTo>
                    <a:pt x="307" y="344"/>
                    <a:pt x="265" y="306"/>
                    <a:pt x="239" y="325"/>
                  </a:cubicBezTo>
                  <a:cubicBezTo>
                    <a:pt x="212" y="344"/>
                    <a:pt x="211" y="307"/>
                    <a:pt x="178" y="296"/>
                  </a:cubicBezTo>
                  <a:cubicBezTo>
                    <a:pt x="146" y="284"/>
                    <a:pt x="132" y="310"/>
                    <a:pt x="81" y="306"/>
                  </a:cubicBezTo>
                  <a:cubicBezTo>
                    <a:pt x="29" y="301"/>
                    <a:pt x="0" y="331"/>
                    <a:pt x="19" y="353"/>
                  </a:cubicBezTo>
                  <a:cubicBezTo>
                    <a:pt x="38" y="375"/>
                    <a:pt x="16" y="396"/>
                    <a:pt x="31" y="415"/>
                  </a:cubicBezTo>
                  <a:cubicBezTo>
                    <a:pt x="45" y="434"/>
                    <a:pt x="113" y="431"/>
                    <a:pt x="163" y="458"/>
                  </a:cubicBezTo>
                  <a:cubicBezTo>
                    <a:pt x="214" y="484"/>
                    <a:pt x="225" y="462"/>
                    <a:pt x="250" y="481"/>
                  </a:cubicBezTo>
                  <a:cubicBezTo>
                    <a:pt x="276" y="501"/>
                    <a:pt x="282" y="489"/>
                    <a:pt x="283" y="526"/>
                  </a:cubicBezTo>
                  <a:cubicBezTo>
                    <a:pt x="284" y="563"/>
                    <a:pt x="312" y="598"/>
                    <a:pt x="361" y="611"/>
                  </a:cubicBezTo>
                  <a:cubicBezTo>
                    <a:pt x="410" y="625"/>
                    <a:pt x="373" y="657"/>
                    <a:pt x="388" y="690"/>
                  </a:cubicBezTo>
                  <a:cubicBezTo>
                    <a:pt x="402" y="722"/>
                    <a:pt x="366" y="769"/>
                    <a:pt x="373" y="809"/>
                  </a:cubicBezTo>
                  <a:cubicBezTo>
                    <a:pt x="380" y="849"/>
                    <a:pt x="349" y="977"/>
                    <a:pt x="326" y="989"/>
                  </a:cubicBezTo>
                  <a:cubicBezTo>
                    <a:pt x="324" y="990"/>
                    <a:pt x="322" y="990"/>
                    <a:pt x="320" y="990"/>
                  </a:cubicBezTo>
                  <a:cubicBezTo>
                    <a:pt x="342" y="1001"/>
                    <a:pt x="365" y="1011"/>
                    <a:pt x="377" y="1018"/>
                  </a:cubicBezTo>
                  <a:cubicBezTo>
                    <a:pt x="398" y="1033"/>
                    <a:pt x="445" y="1047"/>
                    <a:pt x="474" y="1065"/>
                  </a:cubicBezTo>
                  <a:cubicBezTo>
                    <a:pt x="502" y="1083"/>
                    <a:pt x="553" y="1079"/>
                    <a:pt x="553" y="1058"/>
                  </a:cubicBezTo>
                  <a:cubicBezTo>
                    <a:pt x="553" y="1036"/>
                    <a:pt x="581" y="1051"/>
                    <a:pt x="599" y="1069"/>
                  </a:cubicBezTo>
                  <a:cubicBezTo>
                    <a:pt x="617" y="1087"/>
                    <a:pt x="685" y="1090"/>
                    <a:pt x="718" y="1097"/>
                  </a:cubicBezTo>
                  <a:cubicBezTo>
                    <a:pt x="745" y="1103"/>
                    <a:pt x="785" y="1100"/>
                    <a:pt x="820" y="1100"/>
                  </a:cubicBezTo>
                  <a:cubicBezTo>
                    <a:pt x="819" y="1092"/>
                    <a:pt x="817" y="1084"/>
                    <a:pt x="814" y="1075"/>
                  </a:cubicBezTo>
                  <a:cubicBezTo>
                    <a:pt x="797" y="1017"/>
                    <a:pt x="848" y="983"/>
                    <a:pt x="897" y="976"/>
                  </a:cubicBezTo>
                  <a:cubicBezTo>
                    <a:pt x="946" y="968"/>
                    <a:pt x="1052" y="998"/>
                    <a:pt x="1080" y="1016"/>
                  </a:cubicBezTo>
                  <a:cubicBezTo>
                    <a:pt x="1108" y="1033"/>
                    <a:pt x="1146" y="1029"/>
                    <a:pt x="1195" y="977"/>
                  </a:cubicBezTo>
                  <a:cubicBezTo>
                    <a:pt x="1220" y="951"/>
                    <a:pt x="1240" y="942"/>
                    <a:pt x="1258" y="937"/>
                  </a:cubicBezTo>
                  <a:cubicBezTo>
                    <a:pt x="1259" y="925"/>
                    <a:pt x="1265" y="913"/>
                    <a:pt x="1269" y="903"/>
                  </a:cubicBezTo>
                  <a:cubicBezTo>
                    <a:pt x="1275" y="885"/>
                    <a:pt x="1244" y="889"/>
                    <a:pt x="1222" y="887"/>
                  </a:cubicBezTo>
                  <a:cubicBezTo>
                    <a:pt x="1200" y="885"/>
                    <a:pt x="1185" y="863"/>
                    <a:pt x="1200" y="839"/>
                  </a:cubicBezTo>
                  <a:cubicBezTo>
                    <a:pt x="1216" y="814"/>
                    <a:pt x="1187" y="812"/>
                    <a:pt x="1171" y="788"/>
                  </a:cubicBezTo>
                  <a:cubicBezTo>
                    <a:pt x="1156" y="763"/>
                    <a:pt x="1178" y="770"/>
                    <a:pt x="1191" y="763"/>
                  </a:cubicBezTo>
                  <a:cubicBezTo>
                    <a:pt x="1205" y="757"/>
                    <a:pt x="1222" y="730"/>
                    <a:pt x="1211" y="723"/>
                  </a:cubicBezTo>
                  <a:cubicBezTo>
                    <a:pt x="1200" y="717"/>
                    <a:pt x="1191" y="701"/>
                    <a:pt x="1200" y="675"/>
                  </a:cubicBezTo>
                  <a:cubicBezTo>
                    <a:pt x="1209" y="648"/>
                    <a:pt x="1182" y="646"/>
                    <a:pt x="1182" y="626"/>
                  </a:cubicBezTo>
                  <a:cubicBezTo>
                    <a:pt x="1182" y="606"/>
                    <a:pt x="1158" y="597"/>
                    <a:pt x="1138" y="622"/>
                  </a:cubicBezTo>
                  <a:cubicBezTo>
                    <a:pt x="1118" y="646"/>
                    <a:pt x="1112" y="628"/>
                    <a:pt x="1125" y="588"/>
                  </a:cubicBezTo>
                  <a:cubicBezTo>
                    <a:pt x="1138" y="549"/>
                    <a:pt x="1185" y="531"/>
                    <a:pt x="1189" y="509"/>
                  </a:cubicBezTo>
                  <a:cubicBezTo>
                    <a:pt x="1194" y="487"/>
                    <a:pt x="1220" y="467"/>
                    <a:pt x="1240" y="467"/>
                  </a:cubicBezTo>
                  <a:cubicBezTo>
                    <a:pt x="1260" y="467"/>
                    <a:pt x="1255" y="420"/>
                    <a:pt x="1262" y="391"/>
                  </a:cubicBezTo>
                  <a:cubicBezTo>
                    <a:pt x="1269" y="363"/>
                    <a:pt x="1273" y="334"/>
                    <a:pt x="1302" y="309"/>
                  </a:cubicBezTo>
                  <a:cubicBezTo>
                    <a:pt x="1331" y="285"/>
                    <a:pt x="1295" y="274"/>
                    <a:pt x="1282" y="276"/>
                  </a:cubicBezTo>
                  <a:close/>
                  <a:moveTo>
                    <a:pt x="1440" y="1027"/>
                  </a:moveTo>
                  <a:cubicBezTo>
                    <a:pt x="1424" y="1026"/>
                    <a:pt x="1419" y="1055"/>
                    <a:pt x="1378" y="1081"/>
                  </a:cubicBezTo>
                  <a:cubicBezTo>
                    <a:pt x="1337" y="1106"/>
                    <a:pt x="1378" y="1219"/>
                    <a:pt x="1419" y="1213"/>
                  </a:cubicBezTo>
                  <a:cubicBezTo>
                    <a:pt x="1462" y="1208"/>
                    <a:pt x="1456" y="1029"/>
                    <a:pt x="1440" y="10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7083776" y="8087837"/>
              <a:ext cx="115602" cy="65339"/>
            </a:xfrm>
            <a:custGeom>
              <a:avLst/>
              <a:gdLst>
                <a:gd name="T0" fmla="*/ 227 w 232"/>
                <a:gd name="T1" fmla="*/ 49 h 127"/>
                <a:gd name="T2" fmla="*/ 118 w 232"/>
                <a:gd name="T3" fmla="*/ 21 h 127"/>
                <a:gd name="T4" fmla="*/ 74 w 232"/>
                <a:gd name="T5" fmla="*/ 0 h 127"/>
                <a:gd name="T6" fmla="*/ 71 w 232"/>
                <a:gd name="T7" fmla="*/ 2 h 127"/>
                <a:gd name="T8" fmla="*/ 0 w 232"/>
                <a:gd name="T9" fmla="*/ 61 h 127"/>
                <a:gd name="T10" fmla="*/ 194 w 232"/>
                <a:gd name="T11" fmla="*/ 127 h 127"/>
                <a:gd name="T12" fmla="*/ 226 w 232"/>
                <a:gd name="T13" fmla="*/ 114 h 127"/>
                <a:gd name="T14" fmla="*/ 227 w 232"/>
                <a:gd name="T15" fmla="*/ 4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127">
                  <a:moveTo>
                    <a:pt x="227" y="49"/>
                  </a:moveTo>
                  <a:cubicBezTo>
                    <a:pt x="210" y="25"/>
                    <a:pt x="165" y="53"/>
                    <a:pt x="118" y="21"/>
                  </a:cubicBezTo>
                  <a:cubicBezTo>
                    <a:pt x="105" y="13"/>
                    <a:pt x="90" y="6"/>
                    <a:pt x="74" y="0"/>
                  </a:cubicBezTo>
                  <a:cubicBezTo>
                    <a:pt x="73" y="0"/>
                    <a:pt x="72" y="1"/>
                    <a:pt x="71" y="2"/>
                  </a:cubicBezTo>
                  <a:cubicBezTo>
                    <a:pt x="61" y="5"/>
                    <a:pt x="30" y="33"/>
                    <a:pt x="0" y="61"/>
                  </a:cubicBezTo>
                  <a:cubicBezTo>
                    <a:pt x="33" y="88"/>
                    <a:pt x="159" y="127"/>
                    <a:pt x="194" y="127"/>
                  </a:cubicBezTo>
                  <a:cubicBezTo>
                    <a:pt x="210" y="127"/>
                    <a:pt x="218" y="120"/>
                    <a:pt x="226" y="114"/>
                  </a:cubicBezTo>
                  <a:cubicBezTo>
                    <a:pt x="231" y="83"/>
                    <a:pt x="232" y="57"/>
                    <a:pt x="227" y="4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7120634" y="7992340"/>
              <a:ext cx="308269" cy="172563"/>
            </a:xfrm>
            <a:custGeom>
              <a:avLst/>
              <a:gdLst>
                <a:gd name="T0" fmla="*/ 257 w 612"/>
                <a:gd name="T1" fmla="*/ 304 h 340"/>
                <a:gd name="T2" fmla="*/ 289 w 612"/>
                <a:gd name="T3" fmla="*/ 242 h 340"/>
                <a:gd name="T4" fmla="*/ 398 w 612"/>
                <a:gd name="T5" fmla="*/ 195 h 340"/>
                <a:gd name="T6" fmla="*/ 495 w 612"/>
                <a:gd name="T7" fmla="*/ 174 h 340"/>
                <a:gd name="T8" fmla="*/ 611 w 612"/>
                <a:gd name="T9" fmla="*/ 127 h 340"/>
                <a:gd name="T10" fmla="*/ 500 w 612"/>
                <a:gd name="T11" fmla="*/ 48 h 340"/>
                <a:gd name="T12" fmla="*/ 288 w 612"/>
                <a:gd name="T13" fmla="*/ 44 h 340"/>
                <a:gd name="T14" fmla="*/ 102 w 612"/>
                <a:gd name="T15" fmla="*/ 55 h 340"/>
                <a:gd name="T16" fmla="*/ 100 w 612"/>
                <a:gd name="T17" fmla="*/ 56 h 340"/>
                <a:gd name="T18" fmla="*/ 46 w 612"/>
                <a:gd name="T19" fmla="*/ 112 h 340"/>
                <a:gd name="T20" fmla="*/ 0 w 612"/>
                <a:gd name="T21" fmla="*/ 189 h 340"/>
                <a:gd name="T22" fmla="*/ 44 w 612"/>
                <a:gd name="T23" fmla="*/ 210 h 340"/>
                <a:gd name="T24" fmla="*/ 153 w 612"/>
                <a:gd name="T25" fmla="*/ 238 h 340"/>
                <a:gd name="T26" fmla="*/ 152 w 612"/>
                <a:gd name="T27" fmla="*/ 303 h 340"/>
                <a:gd name="T28" fmla="*/ 182 w 612"/>
                <a:gd name="T29" fmla="*/ 303 h 340"/>
                <a:gd name="T30" fmla="*/ 191 w 612"/>
                <a:gd name="T31" fmla="*/ 340 h 340"/>
                <a:gd name="T32" fmla="*/ 227 w 612"/>
                <a:gd name="T33" fmla="*/ 332 h 340"/>
                <a:gd name="T34" fmla="*/ 257 w 612"/>
                <a:gd name="T35" fmla="*/ 30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2" h="340">
                  <a:moveTo>
                    <a:pt x="257" y="304"/>
                  </a:moveTo>
                  <a:cubicBezTo>
                    <a:pt x="262" y="295"/>
                    <a:pt x="232" y="246"/>
                    <a:pt x="289" y="242"/>
                  </a:cubicBezTo>
                  <a:cubicBezTo>
                    <a:pt x="347" y="238"/>
                    <a:pt x="390" y="231"/>
                    <a:pt x="398" y="195"/>
                  </a:cubicBezTo>
                  <a:cubicBezTo>
                    <a:pt x="407" y="159"/>
                    <a:pt x="475" y="176"/>
                    <a:pt x="495" y="174"/>
                  </a:cubicBezTo>
                  <a:cubicBezTo>
                    <a:pt x="510" y="172"/>
                    <a:pt x="561" y="125"/>
                    <a:pt x="611" y="127"/>
                  </a:cubicBezTo>
                  <a:cubicBezTo>
                    <a:pt x="612" y="78"/>
                    <a:pt x="546" y="94"/>
                    <a:pt x="500" y="48"/>
                  </a:cubicBezTo>
                  <a:cubicBezTo>
                    <a:pt x="452" y="0"/>
                    <a:pt x="345" y="22"/>
                    <a:pt x="288" y="44"/>
                  </a:cubicBezTo>
                  <a:cubicBezTo>
                    <a:pt x="230" y="66"/>
                    <a:pt x="164" y="20"/>
                    <a:pt x="102" y="55"/>
                  </a:cubicBezTo>
                  <a:cubicBezTo>
                    <a:pt x="101" y="55"/>
                    <a:pt x="100" y="56"/>
                    <a:pt x="100" y="56"/>
                  </a:cubicBezTo>
                  <a:cubicBezTo>
                    <a:pt x="86" y="73"/>
                    <a:pt x="68" y="94"/>
                    <a:pt x="46" y="112"/>
                  </a:cubicBezTo>
                  <a:cubicBezTo>
                    <a:pt x="4" y="146"/>
                    <a:pt x="16" y="179"/>
                    <a:pt x="0" y="189"/>
                  </a:cubicBezTo>
                  <a:cubicBezTo>
                    <a:pt x="16" y="195"/>
                    <a:pt x="31" y="202"/>
                    <a:pt x="44" y="210"/>
                  </a:cubicBezTo>
                  <a:cubicBezTo>
                    <a:pt x="91" y="242"/>
                    <a:pt x="136" y="214"/>
                    <a:pt x="153" y="238"/>
                  </a:cubicBezTo>
                  <a:cubicBezTo>
                    <a:pt x="158" y="246"/>
                    <a:pt x="157" y="272"/>
                    <a:pt x="152" y="303"/>
                  </a:cubicBezTo>
                  <a:cubicBezTo>
                    <a:pt x="160" y="296"/>
                    <a:pt x="167" y="291"/>
                    <a:pt x="182" y="303"/>
                  </a:cubicBezTo>
                  <a:cubicBezTo>
                    <a:pt x="195" y="314"/>
                    <a:pt x="192" y="327"/>
                    <a:pt x="191" y="340"/>
                  </a:cubicBezTo>
                  <a:cubicBezTo>
                    <a:pt x="227" y="332"/>
                    <a:pt x="227" y="332"/>
                    <a:pt x="227" y="332"/>
                  </a:cubicBezTo>
                  <a:cubicBezTo>
                    <a:pt x="227" y="332"/>
                    <a:pt x="253" y="313"/>
                    <a:pt x="257" y="30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5718344" y="7102715"/>
              <a:ext cx="1536321" cy="956640"/>
            </a:xfrm>
            <a:custGeom>
              <a:avLst/>
              <a:gdLst>
                <a:gd name="T0" fmla="*/ 2664 w 3042"/>
                <a:gd name="T1" fmla="*/ 1768 h 1891"/>
                <a:gd name="T2" fmla="*/ 2623 w 3042"/>
                <a:gd name="T3" fmla="*/ 1597 h 1891"/>
                <a:gd name="T4" fmla="*/ 2869 w 3042"/>
                <a:gd name="T5" fmla="*/ 1535 h 1891"/>
                <a:gd name="T6" fmla="*/ 2960 w 3042"/>
                <a:gd name="T7" fmla="*/ 1429 h 1891"/>
                <a:gd name="T8" fmla="*/ 3033 w 3042"/>
                <a:gd name="T9" fmla="*/ 1234 h 1891"/>
                <a:gd name="T10" fmla="*/ 2789 w 3042"/>
                <a:gd name="T11" fmla="*/ 1218 h 1891"/>
                <a:gd name="T12" fmla="*/ 2632 w 3042"/>
                <a:gd name="T13" fmla="*/ 1424 h 1891"/>
                <a:gd name="T14" fmla="*/ 2490 w 3042"/>
                <a:gd name="T15" fmla="*/ 1504 h 1891"/>
                <a:gd name="T16" fmla="*/ 2143 w 3042"/>
                <a:gd name="T17" fmla="*/ 1502 h 1891"/>
                <a:gd name="T18" fmla="*/ 1979 w 3042"/>
                <a:gd name="T19" fmla="*/ 1269 h 1891"/>
                <a:gd name="T20" fmla="*/ 1975 w 3042"/>
                <a:gd name="T21" fmla="*/ 796 h 1891"/>
                <a:gd name="T22" fmla="*/ 1942 w 3042"/>
                <a:gd name="T23" fmla="*/ 738 h 1891"/>
                <a:gd name="T24" fmla="*/ 1774 w 3042"/>
                <a:gd name="T25" fmla="*/ 627 h 1891"/>
                <a:gd name="T26" fmla="*/ 1656 w 3042"/>
                <a:gd name="T27" fmla="*/ 417 h 1891"/>
                <a:gd name="T28" fmla="*/ 1401 w 3042"/>
                <a:gd name="T29" fmla="*/ 407 h 1891"/>
                <a:gd name="T30" fmla="*/ 1249 w 3042"/>
                <a:gd name="T31" fmla="*/ 284 h 1891"/>
                <a:gd name="T32" fmla="*/ 1072 w 3042"/>
                <a:gd name="T33" fmla="*/ 104 h 1891"/>
                <a:gd name="T34" fmla="*/ 883 w 3042"/>
                <a:gd name="T35" fmla="*/ 147 h 1891"/>
                <a:gd name="T36" fmla="*/ 341 w 3042"/>
                <a:gd name="T37" fmla="*/ 60 h 1891"/>
                <a:gd name="T38" fmla="*/ 0 w 3042"/>
                <a:gd name="T39" fmla="*/ 31 h 1891"/>
                <a:gd name="T40" fmla="*/ 137 w 3042"/>
                <a:gd name="T41" fmla="*/ 308 h 1891"/>
                <a:gd name="T42" fmla="*/ 310 w 3042"/>
                <a:gd name="T43" fmla="*/ 541 h 1891"/>
                <a:gd name="T44" fmla="*/ 354 w 3042"/>
                <a:gd name="T45" fmla="*/ 641 h 1891"/>
                <a:gd name="T46" fmla="*/ 492 w 3042"/>
                <a:gd name="T47" fmla="*/ 831 h 1891"/>
                <a:gd name="T48" fmla="*/ 713 w 3042"/>
                <a:gd name="T49" fmla="*/ 1061 h 1891"/>
                <a:gd name="T50" fmla="*/ 740 w 3042"/>
                <a:gd name="T51" fmla="*/ 950 h 1891"/>
                <a:gd name="T52" fmla="*/ 631 w 3042"/>
                <a:gd name="T53" fmla="*/ 826 h 1891"/>
                <a:gd name="T54" fmla="*/ 456 w 3042"/>
                <a:gd name="T55" fmla="*/ 534 h 1891"/>
                <a:gd name="T56" fmla="*/ 388 w 3042"/>
                <a:gd name="T57" fmla="*/ 373 h 1891"/>
                <a:gd name="T58" fmla="*/ 255 w 3042"/>
                <a:gd name="T59" fmla="*/ 262 h 1891"/>
                <a:gd name="T60" fmla="*/ 257 w 3042"/>
                <a:gd name="T61" fmla="*/ 103 h 1891"/>
                <a:gd name="T62" fmla="*/ 345 w 3042"/>
                <a:gd name="T63" fmla="*/ 143 h 1891"/>
                <a:gd name="T64" fmla="*/ 430 w 3042"/>
                <a:gd name="T65" fmla="*/ 282 h 1891"/>
                <a:gd name="T66" fmla="*/ 494 w 3042"/>
                <a:gd name="T67" fmla="*/ 421 h 1891"/>
                <a:gd name="T68" fmla="*/ 649 w 3042"/>
                <a:gd name="T69" fmla="*/ 536 h 1891"/>
                <a:gd name="T70" fmla="*/ 766 w 3042"/>
                <a:gd name="T71" fmla="*/ 656 h 1891"/>
                <a:gd name="T72" fmla="*/ 844 w 3042"/>
                <a:gd name="T73" fmla="*/ 793 h 1891"/>
                <a:gd name="T74" fmla="*/ 1140 w 3042"/>
                <a:gd name="T75" fmla="*/ 1108 h 1891"/>
                <a:gd name="T76" fmla="*/ 1184 w 3042"/>
                <a:gd name="T77" fmla="*/ 1289 h 1891"/>
                <a:gd name="T78" fmla="*/ 1233 w 3042"/>
                <a:gd name="T79" fmla="*/ 1449 h 1891"/>
                <a:gd name="T80" fmla="*/ 1536 w 3042"/>
                <a:gd name="T81" fmla="*/ 1595 h 1891"/>
                <a:gd name="T82" fmla="*/ 1959 w 3042"/>
                <a:gd name="T83" fmla="*/ 1792 h 1891"/>
                <a:gd name="T84" fmla="*/ 2342 w 3042"/>
                <a:gd name="T85" fmla="*/ 1807 h 1891"/>
                <a:gd name="T86" fmla="*/ 2531 w 3042"/>
                <a:gd name="T87" fmla="*/ 1783 h 1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042" h="1891">
                  <a:moveTo>
                    <a:pt x="2531" y="1783"/>
                  </a:moveTo>
                  <a:cubicBezTo>
                    <a:pt x="2542" y="1781"/>
                    <a:pt x="2653" y="1796"/>
                    <a:pt x="2664" y="1768"/>
                  </a:cubicBezTo>
                  <a:cubicBezTo>
                    <a:pt x="2674" y="1740"/>
                    <a:pt x="2580" y="1678"/>
                    <a:pt x="2591" y="1672"/>
                  </a:cubicBezTo>
                  <a:cubicBezTo>
                    <a:pt x="2602" y="1665"/>
                    <a:pt x="2606" y="1597"/>
                    <a:pt x="2623" y="1597"/>
                  </a:cubicBezTo>
                  <a:cubicBezTo>
                    <a:pt x="2640" y="1597"/>
                    <a:pt x="2796" y="1601"/>
                    <a:pt x="2805" y="1597"/>
                  </a:cubicBezTo>
                  <a:cubicBezTo>
                    <a:pt x="2813" y="1593"/>
                    <a:pt x="2843" y="1537"/>
                    <a:pt x="2869" y="1535"/>
                  </a:cubicBezTo>
                  <a:cubicBezTo>
                    <a:pt x="2881" y="1534"/>
                    <a:pt x="2899" y="1548"/>
                    <a:pt x="2915" y="1564"/>
                  </a:cubicBezTo>
                  <a:cubicBezTo>
                    <a:pt x="2944" y="1537"/>
                    <a:pt x="2954" y="1477"/>
                    <a:pt x="2960" y="1429"/>
                  </a:cubicBezTo>
                  <a:cubicBezTo>
                    <a:pt x="2966" y="1369"/>
                    <a:pt x="2946" y="1349"/>
                    <a:pt x="2977" y="1316"/>
                  </a:cubicBezTo>
                  <a:cubicBezTo>
                    <a:pt x="3008" y="1282"/>
                    <a:pt x="3042" y="1280"/>
                    <a:pt x="3033" y="1234"/>
                  </a:cubicBezTo>
                  <a:cubicBezTo>
                    <a:pt x="3024" y="1187"/>
                    <a:pt x="2982" y="1234"/>
                    <a:pt x="2946" y="1212"/>
                  </a:cubicBezTo>
                  <a:cubicBezTo>
                    <a:pt x="2911" y="1190"/>
                    <a:pt x="2880" y="1205"/>
                    <a:pt x="2789" y="1218"/>
                  </a:cubicBezTo>
                  <a:cubicBezTo>
                    <a:pt x="2699" y="1232"/>
                    <a:pt x="2657" y="1269"/>
                    <a:pt x="2661" y="1333"/>
                  </a:cubicBezTo>
                  <a:cubicBezTo>
                    <a:pt x="2665" y="1398"/>
                    <a:pt x="2630" y="1369"/>
                    <a:pt x="2632" y="1424"/>
                  </a:cubicBezTo>
                  <a:cubicBezTo>
                    <a:pt x="2634" y="1479"/>
                    <a:pt x="2561" y="1482"/>
                    <a:pt x="2566" y="1515"/>
                  </a:cubicBezTo>
                  <a:cubicBezTo>
                    <a:pt x="2570" y="1548"/>
                    <a:pt x="2508" y="1515"/>
                    <a:pt x="2490" y="1504"/>
                  </a:cubicBezTo>
                  <a:cubicBezTo>
                    <a:pt x="2473" y="1493"/>
                    <a:pt x="2282" y="1550"/>
                    <a:pt x="2256" y="1555"/>
                  </a:cubicBezTo>
                  <a:cubicBezTo>
                    <a:pt x="2229" y="1559"/>
                    <a:pt x="2181" y="1499"/>
                    <a:pt x="2143" y="1502"/>
                  </a:cubicBezTo>
                  <a:cubicBezTo>
                    <a:pt x="2105" y="1504"/>
                    <a:pt x="2090" y="1446"/>
                    <a:pt x="2085" y="1400"/>
                  </a:cubicBezTo>
                  <a:cubicBezTo>
                    <a:pt x="2081" y="1353"/>
                    <a:pt x="2010" y="1311"/>
                    <a:pt x="1979" y="1269"/>
                  </a:cubicBezTo>
                  <a:cubicBezTo>
                    <a:pt x="1948" y="1227"/>
                    <a:pt x="1944" y="1134"/>
                    <a:pt x="1942" y="1074"/>
                  </a:cubicBezTo>
                  <a:cubicBezTo>
                    <a:pt x="1939" y="1015"/>
                    <a:pt x="1933" y="913"/>
                    <a:pt x="1975" y="796"/>
                  </a:cubicBezTo>
                  <a:cubicBezTo>
                    <a:pt x="1980" y="780"/>
                    <a:pt x="1983" y="766"/>
                    <a:pt x="1984" y="754"/>
                  </a:cubicBezTo>
                  <a:cubicBezTo>
                    <a:pt x="1968" y="744"/>
                    <a:pt x="1953" y="738"/>
                    <a:pt x="1942" y="738"/>
                  </a:cubicBezTo>
                  <a:cubicBezTo>
                    <a:pt x="1904" y="741"/>
                    <a:pt x="1819" y="689"/>
                    <a:pt x="1803" y="689"/>
                  </a:cubicBezTo>
                  <a:cubicBezTo>
                    <a:pt x="1786" y="689"/>
                    <a:pt x="1788" y="648"/>
                    <a:pt x="1774" y="627"/>
                  </a:cubicBezTo>
                  <a:cubicBezTo>
                    <a:pt x="1760" y="606"/>
                    <a:pt x="1769" y="566"/>
                    <a:pt x="1751" y="551"/>
                  </a:cubicBezTo>
                  <a:cubicBezTo>
                    <a:pt x="1732" y="537"/>
                    <a:pt x="1675" y="483"/>
                    <a:pt x="1656" y="417"/>
                  </a:cubicBezTo>
                  <a:cubicBezTo>
                    <a:pt x="1637" y="350"/>
                    <a:pt x="1521" y="317"/>
                    <a:pt x="1479" y="315"/>
                  </a:cubicBezTo>
                  <a:cubicBezTo>
                    <a:pt x="1436" y="313"/>
                    <a:pt x="1412" y="403"/>
                    <a:pt x="1401" y="407"/>
                  </a:cubicBezTo>
                  <a:cubicBezTo>
                    <a:pt x="1389" y="412"/>
                    <a:pt x="1308" y="360"/>
                    <a:pt x="1285" y="348"/>
                  </a:cubicBezTo>
                  <a:cubicBezTo>
                    <a:pt x="1261" y="336"/>
                    <a:pt x="1249" y="313"/>
                    <a:pt x="1249" y="284"/>
                  </a:cubicBezTo>
                  <a:cubicBezTo>
                    <a:pt x="1249" y="256"/>
                    <a:pt x="1200" y="211"/>
                    <a:pt x="1185" y="206"/>
                  </a:cubicBezTo>
                  <a:cubicBezTo>
                    <a:pt x="1171" y="201"/>
                    <a:pt x="1072" y="104"/>
                    <a:pt x="1072" y="104"/>
                  </a:cubicBezTo>
                  <a:cubicBezTo>
                    <a:pt x="916" y="104"/>
                    <a:pt x="916" y="104"/>
                    <a:pt x="916" y="104"/>
                  </a:cubicBezTo>
                  <a:cubicBezTo>
                    <a:pt x="883" y="147"/>
                    <a:pt x="883" y="147"/>
                    <a:pt x="883" y="147"/>
                  </a:cubicBezTo>
                  <a:cubicBezTo>
                    <a:pt x="599" y="149"/>
                    <a:pt x="599" y="149"/>
                    <a:pt x="599" y="149"/>
                  </a:cubicBezTo>
                  <a:cubicBezTo>
                    <a:pt x="599" y="149"/>
                    <a:pt x="381" y="69"/>
                    <a:pt x="341" y="60"/>
                  </a:cubicBezTo>
                  <a:cubicBezTo>
                    <a:pt x="301" y="50"/>
                    <a:pt x="230" y="0"/>
                    <a:pt x="230" y="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2" y="56"/>
                    <a:pt x="29" y="83"/>
                    <a:pt x="53" y="114"/>
                  </a:cubicBezTo>
                  <a:cubicBezTo>
                    <a:pt x="100" y="171"/>
                    <a:pt x="133" y="273"/>
                    <a:pt x="137" y="308"/>
                  </a:cubicBezTo>
                  <a:cubicBezTo>
                    <a:pt x="142" y="344"/>
                    <a:pt x="206" y="373"/>
                    <a:pt x="261" y="408"/>
                  </a:cubicBezTo>
                  <a:cubicBezTo>
                    <a:pt x="317" y="443"/>
                    <a:pt x="317" y="521"/>
                    <a:pt x="310" y="541"/>
                  </a:cubicBezTo>
                  <a:cubicBezTo>
                    <a:pt x="303" y="561"/>
                    <a:pt x="235" y="528"/>
                    <a:pt x="230" y="548"/>
                  </a:cubicBezTo>
                  <a:cubicBezTo>
                    <a:pt x="226" y="568"/>
                    <a:pt x="319" y="645"/>
                    <a:pt x="354" y="641"/>
                  </a:cubicBezTo>
                  <a:cubicBezTo>
                    <a:pt x="390" y="636"/>
                    <a:pt x="407" y="658"/>
                    <a:pt x="463" y="707"/>
                  </a:cubicBezTo>
                  <a:cubicBezTo>
                    <a:pt x="518" y="756"/>
                    <a:pt x="514" y="813"/>
                    <a:pt x="492" y="831"/>
                  </a:cubicBezTo>
                  <a:cubicBezTo>
                    <a:pt x="469" y="849"/>
                    <a:pt x="536" y="886"/>
                    <a:pt x="607" y="933"/>
                  </a:cubicBezTo>
                  <a:cubicBezTo>
                    <a:pt x="678" y="979"/>
                    <a:pt x="706" y="1037"/>
                    <a:pt x="713" y="1061"/>
                  </a:cubicBezTo>
                  <a:cubicBezTo>
                    <a:pt x="720" y="1085"/>
                    <a:pt x="751" y="1063"/>
                    <a:pt x="762" y="1030"/>
                  </a:cubicBezTo>
                  <a:cubicBezTo>
                    <a:pt x="773" y="997"/>
                    <a:pt x="740" y="988"/>
                    <a:pt x="740" y="950"/>
                  </a:cubicBezTo>
                  <a:cubicBezTo>
                    <a:pt x="740" y="913"/>
                    <a:pt x="682" y="919"/>
                    <a:pt x="655" y="915"/>
                  </a:cubicBezTo>
                  <a:cubicBezTo>
                    <a:pt x="629" y="911"/>
                    <a:pt x="658" y="853"/>
                    <a:pt x="631" y="826"/>
                  </a:cubicBezTo>
                  <a:cubicBezTo>
                    <a:pt x="604" y="800"/>
                    <a:pt x="580" y="734"/>
                    <a:pt x="567" y="685"/>
                  </a:cubicBezTo>
                  <a:cubicBezTo>
                    <a:pt x="554" y="636"/>
                    <a:pt x="485" y="587"/>
                    <a:pt x="456" y="534"/>
                  </a:cubicBezTo>
                  <a:cubicBezTo>
                    <a:pt x="427" y="481"/>
                    <a:pt x="396" y="439"/>
                    <a:pt x="376" y="426"/>
                  </a:cubicBezTo>
                  <a:cubicBezTo>
                    <a:pt x="357" y="413"/>
                    <a:pt x="405" y="393"/>
                    <a:pt x="388" y="373"/>
                  </a:cubicBezTo>
                  <a:cubicBezTo>
                    <a:pt x="370" y="353"/>
                    <a:pt x="343" y="355"/>
                    <a:pt x="310" y="339"/>
                  </a:cubicBezTo>
                  <a:cubicBezTo>
                    <a:pt x="277" y="324"/>
                    <a:pt x="255" y="297"/>
                    <a:pt x="255" y="262"/>
                  </a:cubicBezTo>
                  <a:cubicBezTo>
                    <a:pt x="255" y="227"/>
                    <a:pt x="233" y="143"/>
                    <a:pt x="222" y="114"/>
                  </a:cubicBezTo>
                  <a:cubicBezTo>
                    <a:pt x="210" y="85"/>
                    <a:pt x="246" y="89"/>
                    <a:pt x="257" y="103"/>
                  </a:cubicBezTo>
                  <a:cubicBezTo>
                    <a:pt x="268" y="116"/>
                    <a:pt x="277" y="129"/>
                    <a:pt x="292" y="120"/>
                  </a:cubicBezTo>
                  <a:cubicBezTo>
                    <a:pt x="308" y="112"/>
                    <a:pt x="334" y="118"/>
                    <a:pt x="345" y="143"/>
                  </a:cubicBezTo>
                  <a:cubicBezTo>
                    <a:pt x="357" y="167"/>
                    <a:pt x="394" y="145"/>
                    <a:pt x="412" y="156"/>
                  </a:cubicBezTo>
                  <a:cubicBezTo>
                    <a:pt x="430" y="167"/>
                    <a:pt x="372" y="180"/>
                    <a:pt x="430" y="282"/>
                  </a:cubicBezTo>
                  <a:cubicBezTo>
                    <a:pt x="487" y="384"/>
                    <a:pt x="447" y="326"/>
                    <a:pt x="447" y="395"/>
                  </a:cubicBezTo>
                  <a:cubicBezTo>
                    <a:pt x="447" y="464"/>
                    <a:pt x="483" y="433"/>
                    <a:pt x="494" y="421"/>
                  </a:cubicBezTo>
                  <a:cubicBezTo>
                    <a:pt x="505" y="410"/>
                    <a:pt x="536" y="443"/>
                    <a:pt x="565" y="479"/>
                  </a:cubicBezTo>
                  <a:cubicBezTo>
                    <a:pt x="593" y="514"/>
                    <a:pt x="649" y="517"/>
                    <a:pt x="649" y="536"/>
                  </a:cubicBezTo>
                  <a:cubicBezTo>
                    <a:pt x="649" y="556"/>
                    <a:pt x="660" y="596"/>
                    <a:pt x="697" y="603"/>
                  </a:cubicBezTo>
                  <a:cubicBezTo>
                    <a:pt x="735" y="610"/>
                    <a:pt x="742" y="652"/>
                    <a:pt x="766" y="656"/>
                  </a:cubicBezTo>
                  <a:cubicBezTo>
                    <a:pt x="790" y="661"/>
                    <a:pt x="795" y="687"/>
                    <a:pt x="782" y="716"/>
                  </a:cubicBezTo>
                  <a:cubicBezTo>
                    <a:pt x="768" y="745"/>
                    <a:pt x="782" y="769"/>
                    <a:pt x="844" y="793"/>
                  </a:cubicBezTo>
                  <a:cubicBezTo>
                    <a:pt x="906" y="818"/>
                    <a:pt x="877" y="822"/>
                    <a:pt x="925" y="869"/>
                  </a:cubicBezTo>
                  <a:cubicBezTo>
                    <a:pt x="974" y="915"/>
                    <a:pt x="1111" y="1066"/>
                    <a:pt x="1140" y="1108"/>
                  </a:cubicBezTo>
                  <a:cubicBezTo>
                    <a:pt x="1169" y="1150"/>
                    <a:pt x="1178" y="1185"/>
                    <a:pt x="1189" y="1216"/>
                  </a:cubicBezTo>
                  <a:cubicBezTo>
                    <a:pt x="1200" y="1247"/>
                    <a:pt x="1167" y="1263"/>
                    <a:pt x="1184" y="1289"/>
                  </a:cubicBezTo>
                  <a:cubicBezTo>
                    <a:pt x="1202" y="1316"/>
                    <a:pt x="1151" y="1305"/>
                    <a:pt x="1153" y="1325"/>
                  </a:cubicBezTo>
                  <a:cubicBezTo>
                    <a:pt x="1156" y="1345"/>
                    <a:pt x="1184" y="1444"/>
                    <a:pt x="1233" y="1449"/>
                  </a:cubicBezTo>
                  <a:cubicBezTo>
                    <a:pt x="1282" y="1453"/>
                    <a:pt x="1337" y="1513"/>
                    <a:pt x="1377" y="1546"/>
                  </a:cubicBezTo>
                  <a:cubicBezTo>
                    <a:pt x="1417" y="1579"/>
                    <a:pt x="1477" y="1572"/>
                    <a:pt x="1536" y="1595"/>
                  </a:cubicBezTo>
                  <a:cubicBezTo>
                    <a:pt x="1596" y="1617"/>
                    <a:pt x="1647" y="1670"/>
                    <a:pt x="1733" y="1694"/>
                  </a:cubicBezTo>
                  <a:cubicBezTo>
                    <a:pt x="1820" y="1719"/>
                    <a:pt x="1904" y="1756"/>
                    <a:pt x="1959" y="1792"/>
                  </a:cubicBezTo>
                  <a:cubicBezTo>
                    <a:pt x="2015" y="1827"/>
                    <a:pt x="2083" y="1812"/>
                    <a:pt x="2161" y="1781"/>
                  </a:cubicBezTo>
                  <a:cubicBezTo>
                    <a:pt x="2238" y="1750"/>
                    <a:pt x="2298" y="1789"/>
                    <a:pt x="2342" y="1807"/>
                  </a:cubicBezTo>
                  <a:cubicBezTo>
                    <a:pt x="2364" y="1816"/>
                    <a:pt x="2407" y="1853"/>
                    <a:pt x="2450" y="1891"/>
                  </a:cubicBezTo>
                  <a:cubicBezTo>
                    <a:pt x="2489" y="1835"/>
                    <a:pt x="2526" y="1784"/>
                    <a:pt x="2531" y="178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6956448" y="7910247"/>
              <a:ext cx="214448" cy="209422"/>
            </a:xfrm>
            <a:custGeom>
              <a:avLst/>
              <a:gdLst>
                <a:gd name="T0" fmla="*/ 372 w 426"/>
                <a:gd name="T1" fmla="*/ 276 h 414"/>
                <a:gd name="T2" fmla="*/ 426 w 426"/>
                <a:gd name="T3" fmla="*/ 220 h 414"/>
                <a:gd name="T4" fmla="*/ 386 w 426"/>
                <a:gd name="T5" fmla="*/ 196 h 414"/>
                <a:gd name="T6" fmla="*/ 336 w 426"/>
                <a:gd name="T7" fmla="*/ 203 h 414"/>
                <a:gd name="T8" fmla="*/ 341 w 426"/>
                <a:gd name="T9" fmla="*/ 1 h 414"/>
                <a:gd name="T10" fmla="*/ 173 w 426"/>
                <a:gd name="T11" fmla="*/ 0 h 414"/>
                <a:gd name="T12" fmla="*/ 141 w 426"/>
                <a:gd name="T13" fmla="*/ 75 h 414"/>
                <a:gd name="T14" fmla="*/ 214 w 426"/>
                <a:gd name="T15" fmla="*/ 171 h 414"/>
                <a:gd name="T16" fmla="*/ 81 w 426"/>
                <a:gd name="T17" fmla="*/ 186 h 414"/>
                <a:gd name="T18" fmla="*/ 0 w 426"/>
                <a:gd name="T19" fmla="*/ 294 h 414"/>
                <a:gd name="T20" fmla="*/ 109 w 426"/>
                <a:gd name="T21" fmla="*/ 387 h 414"/>
                <a:gd name="T22" fmla="*/ 249 w 426"/>
                <a:gd name="T23" fmla="*/ 412 h 414"/>
                <a:gd name="T24" fmla="*/ 252 w 426"/>
                <a:gd name="T25" fmla="*/ 414 h 414"/>
                <a:gd name="T26" fmla="*/ 323 w 426"/>
                <a:gd name="T27" fmla="*/ 355 h 414"/>
                <a:gd name="T28" fmla="*/ 372 w 426"/>
                <a:gd name="T29" fmla="*/ 276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6" h="414">
                  <a:moveTo>
                    <a:pt x="372" y="276"/>
                  </a:moveTo>
                  <a:cubicBezTo>
                    <a:pt x="394" y="258"/>
                    <a:pt x="412" y="237"/>
                    <a:pt x="426" y="220"/>
                  </a:cubicBezTo>
                  <a:cubicBezTo>
                    <a:pt x="391" y="239"/>
                    <a:pt x="380" y="221"/>
                    <a:pt x="386" y="196"/>
                  </a:cubicBezTo>
                  <a:cubicBezTo>
                    <a:pt x="336" y="203"/>
                    <a:pt x="336" y="203"/>
                    <a:pt x="336" y="203"/>
                  </a:cubicBezTo>
                  <a:cubicBezTo>
                    <a:pt x="341" y="1"/>
                    <a:pt x="341" y="1"/>
                    <a:pt x="341" y="1"/>
                  </a:cubicBezTo>
                  <a:cubicBezTo>
                    <a:pt x="300" y="3"/>
                    <a:pt x="188" y="0"/>
                    <a:pt x="173" y="0"/>
                  </a:cubicBezTo>
                  <a:cubicBezTo>
                    <a:pt x="156" y="0"/>
                    <a:pt x="152" y="68"/>
                    <a:pt x="141" y="75"/>
                  </a:cubicBezTo>
                  <a:cubicBezTo>
                    <a:pt x="130" y="81"/>
                    <a:pt x="224" y="143"/>
                    <a:pt x="214" y="171"/>
                  </a:cubicBezTo>
                  <a:cubicBezTo>
                    <a:pt x="203" y="199"/>
                    <a:pt x="92" y="184"/>
                    <a:pt x="81" y="186"/>
                  </a:cubicBezTo>
                  <a:cubicBezTo>
                    <a:pt x="76" y="187"/>
                    <a:pt x="39" y="238"/>
                    <a:pt x="0" y="294"/>
                  </a:cubicBezTo>
                  <a:cubicBezTo>
                    <a:pt x="44" y="333"/>
                    <a:pt x="88" y="374"/>
                    <a:pt x="109" y="387"/>
                  </a:cubicBezTo>
                  <a:cubicBezTo>
                    <a:pt x="151" y="414"/>
                    <a:pt x="220" y="385"/>
                    <a:pt x="249" y="412"/>
                  </a:cubicBezTo>
                  <a:cubicBezTo>
                    <a:pt x="249" y="412"/>
                    <a:pt x="251" y="413"/>
                    <a:pt x="252" y="414"/>
                  </a:cubicBezTo>
                  <a:cubicBezTo>
                    <a:pt x="282" y="386"/>
                    <a:pt x="313" y="358"/>
                    <a:pt x="323" y="355"/>
                  </a:cubicBezTo>
                  <a:cubicBezTo>
                    <a:pt x="344" y="348"/>
                    <a:pt x="327" y="312"/>
                    <a:pt x="372" y="2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7125660" y="7878414"/>
              <a:ext cx="65340" cy="134030"/>
            </a:xfrm>
            <a:custGeom>
              <a:avLst/>
              <a:gdLst>
                <a:gd name="T0" fmla="*/ 19 w 130"/>
                <a:gd name="T1" fmla="*/ 63 h 266"/>
                <a:gd name="T2" fmla="*/ 5 w 130"/>
                <a:gd name="T3" fmla="*/ 64 h 266"/>
                <a:gd name="T4" fmla="*/ 0 w 130"/>
                <a:gd name="T5" fmla="*/ 266 h 266"/>
                <a:gd name="T6" fmla="*/ 50 w 130"/>
                <a:gd name="T7" fmla="*/ 259 h 266"/>
                <a:gd name="T8" fmla="*/ 81 w 130"/>
                <a:gd name="T9" fmla="*/ 209 h 266"/>
                <a:gd name="T10" fmla="*/ 107 w 130"/>
                <a:gd name="T11" fmla="*/ 43 h 266"/>
                <a:gd name="T12" fmla="*/ 130 w 130"/>
                <a:gd name="T13" fmla="*/ 30 h 266"/>
                <a:gd name="T14" fmla="*/ 83 w 130"/>
                <a:gd name="T15" fmla="*/ 1 h 266"/>
                <a:gd name="T16" fmla="*/ 19 w 130"/>
                <a:gd name="T17" fmla="*/ 6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0" h="266">
                  <a:moveTo>
                    <a:pt x="19" y="63"/>
                  </a:moveTo>
                  <a:cubicBezTo>
                    <a:pt x="17" y="64"/>
                    <a:pt x="12" y="64"/>
                    <a:pt x="5" y="64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50" y="259"/>
                    <a:pt x="50" y="259"/>
                    <a:pt x="50" y="259"/>
                  </a:cubicBezTo>
                  <a:cubicBezTo>
                    <a:pt x="53" y="242"/>
                    <a:pt x="64" y="222"/>
                    <a:pt x="81" y="209"/>
                  </a:cubicBezTo>
                  <a:cubicBezTo>
                    <a:pt x="121" y="178"/>
                    <a:pt x="61" y="54"/>
                    <a:pt x="107" y="43"/>
                  </a:cubicBezTo>
                  <a:cubicBezTo>
                    <a:pt x="116" y="41"/>
                    <a:pt x="123" y="36"/>
                    <a:pt x="130" y="30"/>
                  </a:cubicBezTo>
                  <a:cubicBezTo>
                    <a:pt x="113" y="14"/>
                    <a:pt x="95" y="0"/>
                    <a:pt x="83" y="1"/>
                  </a:cubicBezTo>
                  <a:cubicBezTo>
                    <a:pt x="57" y="3"/>
                    <a:pt x="27" y="59"/>
                    <a:pt x="19" y="6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7866177" y="7782918"/>
              <a:ext cx="149109" cy="123978"/>
            </a:xfrm>
            <a:custGeom>
              <a:avLst/>
              <a:gdLst>
                <a:gd name="T0" fmla="*/ 137 w 295"/>
                <a:gd name="T1" fmla="*/ 23 h 248"/>
                <a:gd name="T2" fmla="*/ 203 w 295"/>
                <a:gd name="T3" fmla="*/ 160 h 248"/>
                <a:gd name="T4" fmla="*/ 8 w 295"/>
                <a:gd name="T5" fmla="*/ 195 h 248"/>
                <a:gd name="T6" fmla="*/ 137 w 295"/>
                <a:gd name="T7" fmla="*/ 226 h 248"/>
                <a:gd name="T8" fmla="*/ 275 w 295"/>
                <a:gd name="T9" fmla="*/ 244 h 248"/>
                <a:gd name="T10" fmla="*/ 295 w 295"/>
                <a:gd name="T11" fmla="*/ 50 h 248"/>
                <a:gd name="T12" fmla="*/ 137 w 295"/>
                <a:gd name="T13" fmla="*/ 2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5" h="248">
                  <a:moveTo>
                    <a:pt x="137" y="23"/>
                  </a:moveTo>
                  <a:cubicBezTo>
                    <a:pt x="92" y="54"/>
                    <a:pt x="203" y="120"/>
                    <a:pt x="203" y="160"/>
                  </a:cubicBezTo>
                  <a:cubicBezTo>
                    <a:pt x="203" y="200"/>
                    <a:pt x="26" y="152"/>
                    <a:pt x="8" y="195"/>
                  </a:cubicBezTo>
                  <a:cubicBezTo>
                    <a:pt x="0" y="217"/>
                    <a:pt x="70" y="248"/>
                    <a:pt x="137" y="226"/>
                  </a:cubicBezTo>
                  <a:cubicBezTo>
                    <a:pt x="199" y="206"/>
                    <a:pt x="241" y="227"/>
                    <a:pt x="275" y="244"/>
                  </a:cubicBezTo>
                  <a:cubicBezTo>
                    <a:pt x="280" y="178"/>
                    <a:pt x="288" y="102"/>
                    <a:pt x="295" y="50"/>
                  </a:cubicBezTo>
                  <a:cubicBezTo>
                    <a:pt x="239" y="36"/>
                    <a:pt x="169" y="0"/>
                    <a:pt x="137" y="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8005233" y="7799672"/>
              <a:ext cx="172564" cy="117276"/>
            </a:xfrm>
            <a:custGeom>
              <a:avLst/>
              <a:gdLst>
                <a:gd name="T0" fmla="*/ 132 w 340"/>
                <a:gd name="T1" fmla="*/ 168 h 230"/>
                <a:gd name="T2" fmla="*/ 340 w 340"/>
                <a:gd name="T3" fmla="*/ 128 h 230"/>
                <a:gd name="T4" fmla="*/ 74 w 340"/>
                <a:gd name="T5" fmla="*/ 18 h 230"/>
                <a:gd name="T6" fmla="*/ 20 w 340"/>
                <a:gd name="T7" fmla="*/ 14 h 230"/>
                <a:gd name="T8" fmla="*/ 0 w 340"/>
                <a:gd name="T9" fmla="*/ 208 h 230"/>
                <a:gd name="T10" fmla="*/ 8 w 340"/>
                <a:gd name="T11" fmla="*/ 212 h 230"/>
                <a:gd name="T12" fmla="*/ 132 w 340"/>
                <a:gd name="T13" fmla="*/ 16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0" h="230">
                  <a:moveTo>
                    <a:pt x="132" y="168"/>
                  </a:moveTo>
                  <a:cubicBezTo>
                    <a:pt x="212" y="142"/>
                    <a:pt x="340" y="190"/>
                    <a:pt x="340" y="128"/>
                  </a:cubicBezTo>
                  <a:cubicBezTo>
                    <a:pt x="340" y="66"/>
                    <a:pt x="127" y="0"/>
                    <a:pt x="74" y="18"/>
                  </a:cubicBezTo>
                  <a:cubicBezTo>
                    <a:pt x="60" y="22"/>
                    <a:pt x="41" y="20"/>
                    <a:pt x="20" y="14"/>
                  </a:cubicBezTo>
                  <a:cubicBezTo>
                    <a:pt x="13" y="66"/>
                    <a:pt x="5" y="142"/>
                    <a:pt x="0" y="208"/>
                  </a:cubicBezTo>
                  <a:cubicBezTo>
                    <a:pt x="3" y="210"/>
                    <a:pt x="5" y="211"/>
                    <a:pt x="8" y="212"/>
                  </a:cubicBezTo>
                  <a:cubicBezTo>
                    <a:pt x="43" y="230"/>
                    <a:pt x="52" y="195"/>
                    <a:pt x="132" y="16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7216130" y="8056004"/>
              <a:ext cx="214448" cy="221150"/>
            </a:xfrm>
            <a:custGeom>
              <a:avLst/>
              <a:gdLst>
                <a:gd name="T0" fmla="*/ 229 w 425"/>
                <a:gd name="T1" fmla="*/ 414 h 439"/>
                <a:gd name="T2" fmla="*/ 328 w 425"/>
                <a:gd name="T3" fmla="*/ 431 h 439"/>
                <a:gd name="T4" fmla="*/ 377 w 425"/>
                <a:gd name="T5" fmla="*/ 436 h 439"/>
                <a:gd name="T6" fmla="*/ 363 w 425"/>
                <a:gd name="T7" fmla="*/ 415 h 439"/>
                <a:gd name="T8" fmla="*/ 388 w 425"/>
                <a:gd name="T9" fmla="*/ 286 h 439"/>
                <a:gd name="T10" fmla="*/ 401 w 425"/>
                <a:gd name="T11" fmla="*/ 116 h 439"/>
                <a:gd name="T12" fmla="*/ 423 w 425"/>
                <a:gd name="T13" fmla="*/ 12 h 439"/>
                <a:gd name="T14" fmla="*/ 423 w 425"/>
                <a:gd name="T15" fmla="*/ 2 h 439"/>
                <a:gd name="T16" fmla="*/ 307 w 425"/>
                <a:gd name="T17" fmla="*/ 49 h 439"/>
                <a:gd name="T18" fmla="*/ 210 w 425"/>
                <a:gd name="T19" fmla="*/ 70 h 439"/>
                <a:gd name="T20" fmla="*/ 101 w 425"/>
                <a:gd name="T21" fmla="*/ 117 h 439"/>
                <a:gd name="T22" fmla="*/ 69 w 425"/>
                <a:gd name="T23" fmla="*/ 179 h 439"/>
                <a:gd name="T24" fmla="*/ 39 w 425"/>
                <a:gd name="T25" fmla="*/ 207 h 439"/>
                <a:gd name="T26" fmla="*/ 3 w 425"/>
                <a:gd name="T27" fmla="*/ 215 h 439"/>
                <a:gd name="T28" fmla="*/ 18 w 425"/>
                <a:gd name="T29" fmla="*/ 253 h 439"/>
                <a:gd name="T30" fmla="*/ 140 w 425"/>
                <a:gd name="T31" fmla="*/ 371 h 439"/>
                <a:gd name="T32" fmla="*/ 174 w 425"/>
                <a:gd name="T33" fmla="*/ 411 h 439"/>
                <a:gd name="T34" fmla="*/ 229 w 425"/>
                <a:gd name="T35" fmla="*/ 414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5" h="439">
                  <a:moveTo>
                    <a:pt x="229" y="414"/>
                  </a:moveTo>
                  <a:cubicBezTo>
                    <a:pt x="251" y="425"/>
                    <a:pt x="306" y="414"/>
                    <a:pt x="328" y="431"/>
                  </a:cubicBezTo>
                  <a:cubicBezTo>
                    <a:pt x="338" y="439"/>
                    <a:pt x="356" y="439"/>
                    <a:pt x="377" y="436"/>
                  </a:cubicBezTo>
                  <a:cubicBezTo>
                    <a:pt x="371" y="427"/>
                    <a:pt x="366" y="419"/>
                    <a:pt x="363" y="415"/>
                  </a:cubicBezTo>
                  <a:cubicBezTo>
                    <a:pt x="348" y="386"/>
                    <a:pt x="374" y="328"/>
                    <a:pt x="388" y="286"/>
                  </a:cubicBezTo>
                  <a:cubicBezTo>
                    <a:pt x="401" y="244"/>
                    <a:pt x="377" y="143"/>
                    <a:pt x="401" y="116"/>
                  </a:cubicBezTo>
                  <a:cubicBezTo>
                    <a:pt x="425" y="89"/>
                    <a:pt x="412" y="74"/>
                    <a:pt x="423" y="12"/>
                  </a:cubicBezTo>
                  <a:cubicBezTo>
                    <a:pt x="424" y="8"/>
                    <a:pt x="423" y="5"/>
                    <a:pt x="423" y="2"/>
                  </a:cubicBezTo>
                  <a:cubicBezTo>
                    <a:pt x="373" y="0"/>
                    <a:pt x="322" y="47"/>
                    <a:pt x="307" y="49"/>
                  </a:cubicBezTo>
                  <a:cubicBezTo>
                    <a:pt x="287" y="51"/>
                    <a:pt x="219" y="34"/>
                    <a:pt x="210" y="70"/>
                  </a:cubicBezTo>
                  <a:cubicBezTo>
                    <a:pt x="202" y="106"/>
                    <a:pt x="159" y="113"/>
                    <a:pt x="101" y="117"/>
                  </a:cubicBezTo>
                  <a:cubicBezTo>
                    <a:pt x="44" y="121"/>
                    <a:pt x="74" y="170"/>
                    <a:pt x="69" y="179"/>
                  </a:cubicBezTo>
                  <a:cubicBezTo>
                    <a:pt x="65" y="188"/>
                    <a:pt x="39" y="207"/>
                    <a:pt x="39" y="207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1" y="229"/>
                    <a:pt x="0" y="243"/>
                    <a:pt x="18" y="253"/>
                  </a:cubicBezTo>
                  <a:cubicBezTo>
                    <a:pt x="53" y="273"/>
                    <a:pt x="102" y="351"/>
                    <a:pt x="140" y="371"/>
                  </a:cubicBezTo>
                  <a:cubicBezTo>
                    <a:pt x="158" y="380"/>
                    <a:pt x="169" y="396"/>
                    <a:pt x="174" y="411"/>
                  </a:cubicBezTo>
                  <a:cubicBezTo>
                    <a:pt x="195" y="409"/>
                    <a:pt x="218" y="409"/>
                    <a:pt x="229" y="4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7896333" y="8560293"/>
              <a:ext cx="2010452" cy="2055687"/>
            </a:xfrm>
            <a:custGeom>
              <a:avLst/>
              <a:gdLst>
                <a:gd name="T0" fmla="*/ 2238 w 3980"/>
                <a:gd name="T1" fmla="*/ 3774 h 4066"/>
                <a:gd name="T2" fmla="*/ 2300 w 3980"/>
                <a:gd name="T3" fmla="*/ 3792 h 4066"/>
                <a:gd name="T4" fmla="*/ 2557 w 3980"/>
                <a:gd name="T5" fmla="*/ 3347 h 4066"/>
                <a:gd name="T6" fmla="*/ 2716 w 3980"/>
                <a:gd name="T7" fmla="*/ 3031 h 4066"/>
                <a:gd name="T8" fmla="*/ 2980 w 3980"/>
                <a:gd name="T9" fmla="*/ 2882 h 4066"/>
                <a:gd name="T10" fmla="*/ 3290 w 3980"/>
                <a:gd name="T11" fmla="*/ 2796 h 4066"/>
                <a:gd name="T12" fmla="*/ 3414 w 3980"/>
                <a:gd name="T13" fmla="*/ 2559 h 4066"/>
                <a:gd name="T14" fmla="*/ 3518 w 3980"/>
                <a:gd name="T15" fmla="*/ 2331 h 4066"/>
                <a:gd name="T16" fmla="*/ 3551 w 3980"/>
                <a:gd name="T17" fmla="*/ 1866 h 4066"/>
                <a:gd name="T18" fmla="*/ 3624 w 3980"/>
                <a:gd name="T19" fmla="*/ 1818 h 4066"/>
                <a:gd name="T20" fmla="*/ 3938 w 3980"/>
                <a:gd name="T21" fmla="*/ 1393 h 4066"/>
                <a:gd name="T22" fmla="*/ 3593 w 3980"/>
                <a:gd name="T23" fmla="*/ 917 h 4066"/>
                <a:gd name="T24" fmla="*/ 2973 w 3980"/>
                <a:gd name="T25" fmla="*/ 844 h 4066"/>
                <a:gd name="T26" fmla="*/ 2612 w 3980"/>
                <a:gd name="T27" fmla="*/ 651 h 4066"/>
                <a:gd name="T28" fmla="*/ 2577 w 3980"/>
                <a:gd name="T29" fmla="*/ 587 h 4066"/>
                <a:gd name="T30" fmla="*/ 2338 w 3980"/>
                <a:gd name="T31" fmla="*/ 529 h 4066"/>
                <a:gd name="T32" fmla="*/ 2284 w 3980"/>
                <a:gd name="T33" fmla="*/ 107 h 4066"/>
                <a:gd name="T34" fmla="*/ 1962 w 3980"/>
                <a:gd name="T35" fmla="*/ 281 h 4066"/>
                <a:gd name="T36" fmla="*/ 1690 w 3980"/>
                <a:gd name="T37" fmla="*/ 338 h 4066"/>
                <a:gd name="T38" fmla="*/ 1465 w 3980"/>
                <a:gd name="T39" fmla="*/ 350 h 4066"/>
                <a:gd name="T40" fmla="*/ 1393 w 3980"/>
                <a:gd name="T41" fmla="*/ 6 h 4066"/>
                <a:gd name="T42" fmla="*/ 1138 w 3980"/>
                <a:gd name="T43" fmla="*/ 149 h 4066"/>
                <a:gd name="T44" fmla="*/ 946 w 3980"/>
                <a:gd name="T45" fmla="*/ 129 h 4066"/>
                <a:gd name="T46" fmla="*/ 1063 w 3980"/>
                <a:gd name="T47" fmla="*/ 278 h 4066"/>
                <a:gd name="T48" fmla="*/ 928 w 3980"/>
                <a:gd name="T49" fmla="*/ 407 h 4066"/>
                <a:gd name="T50" fmla="*/ 746 w 3980"/>
                <a:gd name="T51" fmla="*/ 428 h 4066"/>
                <a:gd name="T52" fmla="*/ 421 w 3980"/>
                <a:gd name="T53" fmla="*/ 367 h 4066"/>
                <a:gd name="T54" fmla="*/ 399 w 3980"/>
                <a:gd name="T55" fmla="*/ 517 h 4066"/>
                <a:gd name="T56" fmla="*/ 404 w 3980"/>
                <a:gd name="T57" fmla="*/ 950 h 4066"/>
                <a:gd name="T58" fmla="*/ 109 w 3980"/>
                <a:gd name="T59" fmla="*/ 1060 h 4066"/>
                <a:gd name="T60" fmla="*/ 17 w 3980"/>
                <a:gd name="T61" fmla="*/ 1272 h 4066"/>
                <a:gd name="T62" fmla="*/ 135 w 3980"/>
                <a:gd name="T63" fmla="*/ 1482 h 4066"/>
                <a:gd name="T64" fmla="*/ 339 w 3980"/>
                <a:gd name="T65" fmla="*/ 1514 h 4066"/>
                <a:gd name="T66" fmla="*/ 578 w 3980"/>
                <a:gd name="T67" fmla="*/ 1626 h 4066"/>
                <a:gd name="T68" fmla="*/ 876 w 3980"/>
                <a:gd name="T69" fmla="*/ 1535 h 4066"/>
                <a:gd name="T70" fmla="*/ 1097 w 3980"/>
                <a:gd name="T71" fmla="*/ 1815 h 4066"/>
                <a:gd name="T72" fmla="*/ 1331 w 3980"/>
                <a:gd name="T73" fmla="*/ 1913 h 4066"/>
                <a:gd name="T74" fmla="*/ 1396 w 3980"/>
                <a:gd name="T75" fmla="*/ 2140 h 4066"/>
                <a:gd name="T76" fmla="*/ 1646 w 3980"/>
                <a:gd name="T77" fmla="*/ 2338 h 4066"/>
                <a:gd name="T78" fmla="*/ 1609 w 3980"/>
                <a:gd name="T79" fmla="*/ 2589 h 4066"/>
                <a:gd name="T80" fmla="*/ 1764 w 3980"/>
                <a:gd name="T81" fmla="*/ 2801 h 4066"/>
                <a:gd name="T82" fmla="*/ 1965 w 3980"/>
                <a:gd name="T83" fmla="*/ 2978 h 4066"/>
                <a:gd name="T84" fmla="*/ 2039 w 3980"/>
                <a:gd name="T85" fmla="*/ 3314 h 4066"/>
                <a:gd name="T86" fmla="*/ 1658 w 3980"/>
                <a:gd name="T87" fmla="*/ 3668 h 4066"/>
                <a:gd name="T88" fmla="*/ 1817 w 3980"/>
                <a:gd name="T89" fmla="*/ 3767 h 4066"/>
                <a:gd name="T90" fmla="*/ 2053 w 3980"/>
                <a:gd name="T91" fmla="*/ 3915 h 4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80" h="4066">
                  <a:moveTo>
                    <a:pt x="2110" y="4020"/>
                  </a:moveTo>
                  <a:cubicBezTo>
                    <a:pt x="2172" y="3976"/>
                    <a:pt x="2156" y="3949"/>
                    <a:pt x="2185" y="3896"/>
                  </a:cubicBezTo>
                  <a:cubicBezTo>
                    <a:pt x="2214" y="3843"/>
                    <a:pt x="2190" y="3821"/>
                    <a:pt x="2238" y="3774"/>
                  </a:cubicBezTo>
                  <a:cubicBezTo>
                    <a:pt x="2287" y="3728"/>
                    <a:pt x="2229" y="3697"/>
                    <a:pt x="2291" y="3668"/>
                  </a:cubicBezTo>
                  <a:cubicBezTo>
                    <a:pt x="2353" y="3639"/>
                    <a:pt x="2345" y="3695"/>
                    <a:pt x="2294" y="3759"/>
                  </a:cubicBezTo>
                  <a:cubicBezTo>
                    <a:pt x="2243" y="3823"/>
                    <a:pt x="2234" y="3841"/>
                    <a:pt x="2300" y="3792"/>
                  </a:cubicBezTo>
                  <a:cubicBezTo>
                    <a:pt x="2367" y="3743"/>
                    <a:pt x="2391" y="3675"/>
                    <a:pt x="2429" y="3597"/>
                  </a:cubicBezTo>
                  <a:cubicBezTo>
                    <a:pt x="2466" y="3520"/>
                    <a:pt x="2495" y="3495"/>
                    <a:pt x="2528" y="3491"/>
                  </a:cubicBezTo>
                  <a:cubicBezTo>
                    <a:pt x="2561" y="3487"/>
                    <a:pt x="2561" y="3405"/>
                    <a:pt x="2557" y="3347"/>
                  </a:cubicBezTo>
                  <a:cubicBezTo>
                    <a:pt x="2553" y="3290"/>
                    <a:pt x="2535" y="3237"/>
                    <a:pt x="2559" y="3199"/>
                  </a:cubicBezTo>
                  <a:cubicBezTo>
                    <a:pt x="2584" y="3161"/>
                    <a:pt x="2559" y="3126"/>
                    <a:pt x="2590" y="3126"/>
                  </a:cubicBezTo>
                  <a:cubicBezTo>
                    <a:pt x="2621" y="3126"/>
                    <a:pt x="2668" y="3079"/>
                    <a:pt x="2716" y="3031"/>
                  </a:cubicBezTo>
                  <a:cubicBezTo>
                    <a:pt x="2765" y="2982"/>
                    <a:pt x="2796" y="2977"/>
                    <a:pt x="2847" y="2973"/>
                  </a:cubicBezTo>
                  <a:cubicBezTo>
                    <a:pt x="2898" y="2969"/>
                    <a:pt x="2869" y="2951"/>
                    <a:pt x="2902" y="2942"/>
                  </a:cubicBezTo>
                  <a:cubicBezTo>
                    <a:pt x="2936" y="2933"/>
                    <a:pt x="2958" y="2902"/>
                    <a:pt x="2980" y="2882"/>
                  </a:cubicBezTo>
                  <a:cubicBezTo>
                    <a:pt x="3002" y="2862"/>
                    <a:pt x="3093" y="2884"/>
                    <a:pt x="3146" y="2884"/>
                  </a:cubicBezTo>
                  <a:cubicBezTo>
                    <a:pt x="3199" y="2884"/>
                    <a:pt x="3234" y="2889"/>
                    <a:pt x="3234" y="2856"/>
                  </a:cubicBezTo>
                  <a:cubicBezTo>
                    <a:pt x="3234" y="2823"/>
                    <a:pt x="3259" y="2796"/>
                    <a:pt x="3290" y="2796"/>
                  </a:cubicBezTo>
                  <a:cubicBezTo>
                    <a:pt x="3321" y="2796"/>
                    <a:pt x="3334" y="2787"/>
                    <a:pt x="3334" y="2743"/>
                  </a:cubicBezTo>
                  <a:cubicBezTo>
                    <a:pt x="3334" y="2699"/>
                    <a:pt x="3347" y="2672"/>
                    <a:pt x="3374" y="2652"/>
                  </a:cubicBezTo>
                  <a:cubicBezTo>
                    <a:pt x="3400" y="2632"/>
                    <a:pt x="3405" y="2588"/>
                    <a:pt x="3414" y="2559"/>
                  </a:cubicBezTo>
                  <a:cubicBezTo>
                    <a:pt x="3423" y="2530"/>
                    <a:pt x="3451" y="2548"/>
                    <a:pt x="3451" y="2506"/>
                  </a:cubicBezTo>
                  <a:cubicBezTo>
                    <a:pt x="3451" y="2464"/>
                    <a:pt x="3467" y="2417"/>
                    <a:pt x="3467" y="2384"/>
                  </a:cubicBezTo>
                  <a:cubicBezTo>
                    <a:pt x="3467" y="2351"/>
                    <a:pt x="3502" y="2355"/>
                    <a:pt x="3518" y="2331"/>
                  </a:cubicBezTo>
                  <a:cubicBezTo>
                    <a:pt x="3533" y="2307"/>
                    <a:pt x="3504" y="2276"/>
                    <a:pt x="3529" y="2207"/>
                  </a:cubicBezTo>
                  <a:cubicBezTo>
                    <a:pt x="3553" y="2139"/>
                    <a:pt x="3529" y="2074"/>
                    <a:pt x="3529" y="2012"/>
                  </a:cubicBezTo>
                  <a:cubicBezTo>
                    <a:pt x="3529" y="1950"/>
                    <a:pt x="3529" y="1886"/>
                    <a:pt x="3551" y="1866"/>
                  </a:cubicBezTo>
                  <a:cubicBezTo>
                    <a:pt x="3573" y="1846"/>
                    <a:pt x="3562" y="1835"/>
                    <a:pt x="3544" y="1826"/>
                  </a:cubicBezTo>
                  <a:cubicBezTo>
                    <a:pt x="3527" y="1818"/>
                    <a:pt x="3547" y="1793"/>
                    <a:pt x="3562" y="1798"/>
                  </a:cubicBezTo>
                  <a:cubicBezTo>
                    <a:pt x="3577" y="1802"/>
                    <a:pt x="3595" y="1835"/>
                    <a:pt x="3624" y="1818"/>
                  </a:cubicBezTo>
                  <a:cubicBezTo>
                    <a:pt x="3653" y="1800"/>
                    <a:pt x="3679" y="1725"/>
                    <a:pt x="3704" y="1663"/>
                  </a:cubicBezTo>
                  <a:cubicBezTo>
                    <a:pt x="3728" y="1601"/>
                    <a:pt x="3768" y="1603"/>
                    <a:pt x="3799" y="1590"/>
                  </a:cubicBezTo>
                  <a:cubicBezTo>
                    <a:pt x="3830" y="1576"/>
                    <a:pt x="3896" y="1501"/>
                    <a:pt x="3938" y="1393"/>
                  </a:cubicBezTo>
                  <a:cubicBezTo>
                    <a:pt x="3980" y="1284"/>
                    <a:pt x="3936" y="1178"/>
                    <a:pt x="3918" y="1103"/>
                  </a:cubicBezTo>
                  <a:cubicBezTo>
                    <a:pt x="3901" y="1027"/>
                    <a:pt x="3876" y="1043"/>
                    <a:pt x="3832" y="1045"/>
                  </a:cubicBezTo>
                  <a:cubicBezTo>
                    <a:pt x="3788" y="1047"/>
                    <a:pt x="3704" y="1036"/>
                    <a:pt x="3593" y="917"/>
                  </a:cubicBezTo>
                  <a:cubicBezTo>
                    <a:pt x="3482" y="797"/>
                    <a:pt x="3374" y="806"/>
                    <a:pt x="3301" y="826"/>
                  </a:cubicBezTo>
                  <a:cubicBezTo>
                    <a:pt x="3228" y="846"/>
                    <a:pt x="3153" y="790"/>
                    <a:pt x="3104" y="779"/>
                  </a:cubicBezTo>
                  <a:cubicBezTo>
                    <a:pt x="3055" y="768"/>
                    <a:pt x="3009" y="830"/>
                    <a:pt x="2973" y="844"/>
                  </a:cubicBezTo>
                  <a:cubicBezTo>
                    <a:pt x="2938" y="857"/>
                    <a:pt x="2991" y="790"/>
                    <a:pt x="2993" y="748"/>
                  </a:cubicBezTo>
                  <a:cubicBezTo>
                    <a:pt x="2995" y="706"/>
                    <a:pt x="2860" y="647"/>
                    <a:pt x="2758" y="607"/>
                  </a:cubicBezTo>
                  <a:cubicBezTo>
                    <a:pt x="2657" y="567"/>
                    <a:pt x="2612" y="587"/>
                    <a:pt x="2612" y="651"/>
                  </a:cubicBezTo>
                  <a:cubicBezTo>
                    <a:pt x="2612" y="715"/>
                    <a:pt x="2573" y="631"/>
                    <a:pt x="2542" y="700"/>
                  </a:cubicBezTo>
                  <a:cubicBezTo>
                    <a:pt x="2511" y="768"/>
                    <a:pt x="2453" y="724"/>
                    <a:pt x="2491" y="702"/>
                  </a:cubicBezTo>
                  <a:cubicBezTo>
                    <a:pt x="2528" y="680"/>
                    <a:pt x="2564" y="629"/>
                    <a:pt x="2577" y="587"/>
                  </a:cubicBezTo>
                  <a:cubicBezTo>
                    <a:pt x="2590" y="545"/>
                    <a:pt x="2431" y="511"/>
                    <a:pt x="2376" y="534"/>
                  </a:cubicBezTo>
                  <a:cubicBezTo>
                    <a:pt x="2320" y="556"/>
                    <a:pt x="2356" y="635"/>
                    <a:pt x="2311" y="611"/>
                  </a:cubicBezTo>
                  <a:cubicBezTo>
                    <a:pt x="2267" y="587"/>
                    <a:pt x="2302" y="527"/>
                    <a:pt x="2338" y="529"/>
                  </a:cubicBezTo>
                  <a:cubicBezTo>
                    <a:pt x="2373" y="531"/>
                    <a:pt x="2413" y="458"/>
                    <a:pt x="2438" y="405"/>
                  </a:cubicBezTo>
                  <a:cubicBezTo>
                    <a:pt x="2462" y="352"/>
                    <a:pt x="2395" y="343"/>
                    <a:pt x="2356" y="299"/>
                  </a:cubicBezTo>
                  <a:cubicBezTo>
                    <a:pt x="2316" y="255"/>
                    <a:pt x="2324" y="128"/>
                    <a:pt x="2284" y="107"/>
                  </a:cubicBezTo>
                  <a:cubicBezTo>
                    <a:pt x="2241" y="150"/>
                    <a:pt x="2182" y="217"/>
                    <a:pt x="2166" y="266"/>
                  </a:cubicBezTo>
                  <a:cubicBezTo>
                    <a:pt x="2145" y="329"/>
                    <a:pt x="2118" y="293"/>
                    <a:pt x="2061" y="311"/>
                  </a:cubicBezTo>
                  <a:cubicBezTo>
                    <a:pt x="2004" y="329"/>
                    <a:pt x="1977" y="305"/>
                    <a:pt x="1962" y="281"/>
                  </a:cubicBezTo>
                  <a:cubicBezTo>
                    <a:pt x="1947" y="257"/>
                    <a:pt x="1890" y="281"/>
                    <a:pt x="1851" y="278"/>
                  </a:cubicBezTo>
                  <a:cubicBezTo>
                    <a:pt x="1812" y="275"/>
                    <a:pt x="1836" y="326"/>
                    <a:pt x="1809" y="341"/>
                  </a:cubicBezTo>
                  <a:cubicBezTo>
                    <a:pt x="1782" y="356"/>
                    <a:pt x="1713" y="311"/>
                    <a:pt x="1690" y="338"/>
                  </a:cubicBezTo>
                  <a:cubicBezTo>
                    <a:pt x="1666" y="365"/>
                    <a:pt x="1651" y="338"/>
                    <a:pt x="1639" y="362"/>
                  </a:cubicBezTo>
                  <a:cubicBezTo>
                    <a:pt x="1627" y="386"/>
                    <a:pt x="1585" y="371"/>
                    <a:pt x="1573" y="386"/>
                  </a:cubicBezTo>
                  <a:cubicBezTo>
                    <a:pt x="1561" y="401"/>
                    <a:pt x="1519" y="410"/>
                    <a:pt x="1465" y="350"/>
                  </a:cubicBezTo>
                  <a:cubicBezTo>
                    <a:pt x="1411" y="290"/>
                    <a:pt x="1420" y="192"/>
                    <a:pt x="1444" y="174"/>
                  </a:cubicBezTo>
                  <a:cubicBezTo>
                    <a:pt x="1468" y="156"/>
                    <a:pt x="1468" y="105"/>
                    <a:pt x="1435" y="90"/>
                  </a:cubicBezTo>
                  <a:cubicBezTo>
                    <a:pt x="1402" y="75"/>
                    <a:pt x="1435" y="12"/>
                    <a:pt x="1393" y="6"/>
                  </a:cubicBezTo>
                  <a:cubicBezTo>
                    <a:pt x="1351" y="0"/>
                    <a:pt x="1357" y="54"/>
                    <a:pt x="1330" y="63"/>
                  </a:cubicBezTo>
                  <a:cubicBezTo>
                    <a:pt x="1303" y="72"/>
                    <a:pt x="1237" y="117"/>
                    <a:pt x="1207" y="111"/>
                  </a:cubicBezTo>
                  <a:cubicBezTo>
                    <a:pt x="1177" y="105"/>
                    <a:pt x="1138" y="117"/>
                    <a:pt x="1138" y="149"/>
                  </a:cubicBezTo>
                  <a:cubicBezTo>
                    <a:pt x="1138" y="183"/>
                    <a:pt x="1105" y="174"/>
                    <a:pt x="1099" y="147"/>
                  </a:cubicBezTo>
                  <a:cubicBezTo>
                    <a:pt x="1093" y="120"/>
                    <a:pt x="1030" y="135"/>
                    <a:pt x="1012" y="117"/>
                  </a:cubicBezTo>
                  <a:cubicBezTo>
                    <a:pt x="994" y="99"/>
                    <a:pt x="910" y="108"/>
                    <a:pt x="946" y="129"/>
                  </a:cubicBezTo>
                  <a:cubicBezTo>
                    <a:pt x="982" y="149"/>
                    <a:pt x="985" y="170"/>
                    <a:pt x="985" y="203"/>
                  </a:cubicBezTo>
                  <a:cubicBezTo>
                    <a:pt x="985" y="236"/>
                    <a:pt x="1012" y="227"/>
                    <a:pt x="1012" y="266"/>
                  </a:cubicBezTo>
                  <a:cubicBezTo>
                    <a:pt x="1012" y="305"/>
                    <a:pt x="1042" y="278"/>
                    <a:pt x="1063" y="278"/>
                  </a:cubicBezTo>
                  <a:cubicBezTo>
                    <a:pt x="1084" y="278"/>
                    <a:pt x="1084" y="314"/>
                    <a:pt x="1051" y="320"/>
                  </a:cubicBezTo>
                  <a:cubicBezTo>
                    <a:pt x="1018" y="326"/>
                    <a:pt x="1003" y="344"/>
                    <a:pt x="994" y="374"/>
                  </a:cubicBezTo>
                  <a:cubicBezTo>
                    <a:pt x="985" y="404"/>
                    <a:pt x="955" y="383"/>
                    <a:pt x="928" y="407"/>
                  </a:cubicBezTo>
                  <a:cubicBezTo>
                    <a:pt x="901" y="431"/>
                    <a:pt x="877" y="455"/>
                    <a:pt x="859" y="443"/>
                  </a:cubicBezTo>
                  <a:cubicBezTo>
                    <a:pt x="841" y="431"/>
                    <a:pt x="826" y="440"/>
                    <a:pt x="806" y="452"/>
                  </a:cubicBezTo>
                  <a:cubicBezTo>
                    <a:pt x="785" y="464"/>
                    <a:pt x="776" y="452"/>
                    <a:pt x="746" y="428"/>
                  </a:cubicBezTo>
                  <a:cubicBezTo>
                    <a:pt x="723" y="410"/>
                    <a:pt x="709" y="367"/>
                    <a:pt x="669" y="327"/>
                  </a:cubicBezTo>
                  <a:cubicBezTo>
                    <a:pt x="646" y="339"/>
                    <a:pt x="597" y="356"/>
                    <a:pt x="572" y="356"/>
                  </a:cubicBezTo>
                  <a:cubicBezTo>
                    <a:pt x="537" y="356"/>
                    <a:pt x="427" y="348"/>
                    <a:pt x="421" y="367"/>
                  </a:cubicBezTo>
                  <a:cubicBezTo>
                    <a:pt x="415" y="386"/>
                    <a:pt x="429" y="418"/>
                    <a:pt x="447" y="422"/>
                  </a:cubicBezTo>
                  <a:cubicBezTo>
                    <a:pt x="465" y="426"/>
                    <a:pt x="503" y="437"/>
                    <a:pt x="467" y="463"/>
                  </a:cubicBezTo>
                  <a:cubicBezTo>
                    <a:pt x="431" y="489"/>
                    <a:pt x="399" y="454"/>
                    <a:pt x="399" y="517"/>
                  </a:cubicBezTo>
                  <a:cubicBezTo>
                    <a:pt x="399" y="580"/>
                    <a:pt x="479" y="621"/>
                    <a:pt x="463" y="679"/>
                  </a:cubicBezTo>
                  <a:cubicBezTo>
                    <a:pt x="454" y="709"/>
                    <a:pt x="442" y="785"/>
                    <a:pt x="442" y="815"/>
                  </a:cubicBezTo>
                  <a:cubicBezTo>
                    <a:pt x="442" y="844"/>
                    <a:pt x="431" y="945"/>
                    <a:pt x="404" y="950"/>
                  </a:cubicBezTo>
                  <a:cubicBezTo>
                    <a:pt x="377" y="956"/>
                    <a:pt x="354" y="927"/>
                    <a:pt x="318" y="956"/>
                  </a:cubicBezTo>
                  <a:cubicBezTo>
                    <a:pt x="283" y="986"/>
                    <a:pt x="239" y="968"/>
                    <a:pt x="197" y="1001"/>
                  </a:cubicBezTo>
                  <a:cubicBezTo>
                    <a:pt x="156" y="1033"/>
                    <a:pt x="112" y="1021"/>
                    <a:pt x="109" y="1060"/>
                  </a:cubicBezTo>
                  <a:cubicBezTo>
                    <a:pt x="106" y="1098"/>
                    <a:pt x="67" y="1119"/>
                    <a:pt x="76" y="1154"/>
                  </a:cubicBezTo>
                  <a:cubicBezTo>
                    <a:pt x="85" y="1190"/>
                    <a:pt x="59" y="1181"/>
                    <a:pt x="32" y="1207"/>
                  </a:cubicBezTo>
                  <a:cubicBezTo>
                    <a:pt x="6" y="1234"/>
                    <a:pt x="35" y="1252"/>
                    <a:pt x="17" y="1272"/>
                  </a:cubicBezTo>
                  <a:cubicBezTo>
                    <a:pt x="0" y="1293"/>
                    <a:pt x="23" y="1325"/>
                    <a:pt x="44" y="1358"/>
                  </a:cubicBezTo>
                  <a:cubicBezTo>
                    <a:pt x="64" y="1390"/>
                    <a:pt x="88" y="1414"/>
                    <a:pt x="85" y="1443"/>
                  </a:cubicBezTo>
                  <a:cubicBezTo>
                    <a:pt x="82" y="1473"/>
                    <a:pt x="106" y="1485"/>
                    <a:pt x="135" y="1482"/>
                  </a:cubicBezTo>
                  <a:cubicBezTo>
                    <a:pt x="165" y="1479"/>
                    <a:pt x="141" y="1538"/>
                    <a:pt x="188" y="1538"/>
                  </a:cubicBezTo>
                  <a:cubicBezTo>
                    <a:pt x="236" y="1538"/>
                    <a:pt x="283" y="1550"/>
                    <a:pt x="295" y="1523"/>
                  </a:cubicBezTo>
                  <a:cubicBezTo>
                    <a:pt x="307" y="1497"/>
                    <a:pt x="339" y="1476"/>
                    <a:pt x="339" y="1514"/>
                  </a:cubicBezTo>
                  <a:cubicBezTo>
                    <a:pt x="339" y="1553"/>
                    <a:pt x="330" y="1656"/>
                    <a:pt x="363" y="1644"/>
                  </a:cubicBezTo>
                  <a:cubicBezTo>
                    <a:pt x="395" y="1632"/>
                    <a:pt x="460" y="1635"/>
                    <a:pt x="493" y="1647"/>
                  </a:cubicBezTo>
                  <a:cubicBezTo>
                    <a:pt x="525" y="1659"/>
                    <a:pt x="557" y="1647"/>
                    <a:pt x="578" y="1626"/>
                  </a:cubicBezTo>
                  <a:cubicBezTo>
                    <a:pt x="599" y="1606"/>
                    <a:pt x="622" y="1606"/>
                    <a:pt x="664" y="1582"/>
                  </a:cubicBezTo>
                  <a:cubicBezTo>
                    <a:pt x="705" y="1559"/>
                    <a:pt x="743" y="1529"/>
                    <a:pt x="782" y="1529"/>
                  </a:cubicBezTo>
                  <a:cubicBezTo>
                    <a:pt x="820" y="1529"/>
                    <a:pt x="885" y="1505"/>
                    <a:pt x="876" y="1535"/>
                  </a:cubicBezTo>
                  <a:cubicBezTo>
                    <a:pt x="867" y="1564"/>
                    <a:pt x="861" y="1674"/>
                    <a:pt x="909" y="1730"/>
                  </a:cubicBezTo>
                  <a:cubicBezTo>
                    <a:pt x="956" y="1786"/>
                    <a:pt x="982" y="1806"/>
                    <a:pt x="1027" y="1801"/>
                  </a:cubicBezTo>
                  <a:cubicBezTo>
                    <a:pt x="1071" y="1795"/>
                    <a:pt x="1065" y="1818"/>
                    <a:pt x="1097" y="1815"/>
                  </a:cubicBezTo>
                  <a:cubicBezTo>
                    <a:pt x="1130" y="1812"/>
                    <a:pt x="1109" y="1851"/>
                    <a:pt x="1139" y="1851"/>
                  </a:cubicBezTo>
                  <a:cubicBezTo>
                    <a:pt x="1168" y="1851"/>
                    <a:pt x="1221" y="1857"/>
                    <a:pt x="1221" y="1889"/>
                  </a:cubicBezTo>
                  <a:cubicBezTo>
                    <a:pt x="1221" y="1922"/>
                    <a:pt x="1310" y="1895"/>
                    <a:pt x="1331" y="1913"/>
                  </a:cubicBezTo>
                  <a:cubicBezTo>
                    <a:pt x="1351" y="1930"/>
                    <a:pt x="1375" y="1945"/>
                    <a:pt x="1369" y="1981"/>
                  </a:cubicBezTo>
                  <a:cubicBezTo>
                    <a:pt x="1363" y="2016"/>
                    <a:pt x="1413" y="2043"/>
                    <a:pt x="1384" y="2057"/>
                  </a:cubicBezTo>
                  <a:cubicBezTo>
                    <a:pt x="1354" y="2072"/>
                    <a:pt x="1393" y="2102"/>
                    <a:pt x="1396" y="2140"/>
                  </a:cubicBezTo>
                  <a:cubicBezTo>
                    <a:pt x="1399" y="2178"/>
                    <a:pt x="1440" y="2193"/>
                    <a:pt x="1505" y="2190"/>
                  </a:cubicBezTo>
                  <a:cubicBezTo>
                    <a:pt x="1570" y="2187"/>
                    <a:pt x="1587" y="2193"/>
                    <a:pt x="1587" y="2240"/>
                  </a:cubicBezTo>
                  <a:cubicBezTo>
                    <a:pt x="1587" y="2288"/>
                    <a:pt x="1632" y="2293"/>
                    <a:pt x="1646" y="2338"/>
                  </a:cubicBezTo>
                  <a:cubicBezTo>
                    <a:pt x="1661" y="2382"/>
                    <a:pt x="1629" y="2432"/>
                    <a:pt x="1635" y="2468"/>
                  </a:cubicBezTo>
                  <a:cubicBezTo>
                    <a:pt x="1639" y="2495"/>
                    <a:pt x="1623" y="2524"/>
                    <a:pt x="1604" y="2535"/>
                  </a:cubicBezTo>
                  <a:cubicBezTo>
                    <a:pt x="1627" y="2564"/>
                    <a:pt x="1629" y="2578"/>
                    <a:pt x="1609" y="2589"/>
                  </a:cubicBezTo>
                  <a:cubicBezTo>
                    <a:pt x="1582" y="2604"/>
                    <a:pt x="1642" y="2646"/>
                    <a:pt x="1627" y="2712"/>
                  </a:cubicBezTo>
                  <a:cubicBezTo>
                    <a:pt x="1612" y="2778"/>
                    <a:pt x="1609" y="2790"/>
                    <a:pt x="1678" y="2793"/>
                  </a:cubicBezTo>
                  <a:cubicBezTo>
                    <a:pt x="1746" y="2796"/>
                    <a:pt x="1740" y="2816"/>
                    <a:pt x="1764" y="2801"/>
                  </a:cubicBezTo>
                  <a:cubicBezTo>
                    <a:pt x="1788" y="2787"/>
                    <a:pt x="1824" y="2853"/>
                    <a:pt x="1833" y="2886"/>
                  </a:cubicBezTo>
                  <a:cubicBezTo>
                    <a:pt x="1842" y="2918"/>
                    <a:pt x="1869" y="2996"/>
                    <a:pt x="1881" y="2996"/>
                  </a:cubicBezTo>
                  <a:cubicBezTo>
                    <a:pt x="1893" y="2996"/>
                    <a:pt x="1929" y="2960"/>
                    <a:pt x="1965" y="2978"/>
                  </a:cubicBezTo>
                  <a:cubicBezTo>
                    <a:pt x="1999" y="2995"/>
                    <a:pt x="1957" y="3108"/>
                    <a:pt x="1956" y="3157"/>
                  </a:cubicBezTo>
                  <a:cubicBezTo>
                    <a:pt x="1981" y="3156"/>
                    <a:pt x="2011" y="3156"/>
                    <a:pt x="2021" y="3161"/>
                  </a:cubicBezTo>
                  <a:cubicBezTo>
                    <a:pt x="2039" y="3170"/>
                    <a:pt x="2048" y="3291"/>
                    <a:pt x="2039" y="3314"/>
                  </a:cubicBezTo>
                  <a:cubicBezTo>
                    <a:pt x="2030" y="3336"/>
                    <a:pt x="1956" y="3356"/>
                    <a:pt x="1918" y="3381"/>
                  </a:cubicBezTo>
                  <a:cubicBezTo>
                    <a:pt x="1880" y="3406"/>
                    <a:pt x="1788" y="3493"/>
                    <a:pt x="1746" y="3563"/>
                  </a:cubicBezTo>
                  <a:cubicBezTo>
                    <a:pt x="1720" y="3604"/>
                    <a:pt x="1683" y="3638"/>
                    <a:pt x="1658" y="3668"/>
                  </a:cubicBezTo>
                  <a:cubicBezTo>
                    <a:pt x="1670" y="3669"/>
                    <a:pt x="1680" y="3669"/>
                    <a:pt x="1687" y="3666"/>
                  </a:cubicBezTo>
                  <a:cubicBezTo>
                    <a:pt x="1707" y="3657"/>
                    <a:pt x="1739" y="3657"/>
                    <a:pt x="1772" y="3697"/>
                  </a:cubicBezTo>
                  <a:cubicBezTo>
                    <a:pt x="1806" y="3738"/>
                    <a:pt x="1804" y="3769"/>
                    <a:pt x="1817" y="3767"/>
                  </a:cubicBezTo>
                  <a:cubicBezTo>
                    <a:pt x="1831" y="3764"/>
                    <a:pt x="1847" y="3713"/>
                    <a:pt x="1873" y="3751"/>
                  </a:cubicBezTo>
                  <a:cubicBezTo>
                    <a:pt x="1900" y="3789"/>
                    <a:pt x="1970" y="3818"/>
                    <a:pt x="1986" y="3836"/>
                  </a:cubicBezTo>
                  <a:cubicBezTo>
                    <a:pt x="2001" y="3854"/>
                    <a:pt x="2053" y="3868"/>
                    <a:pt x="2053" y="3915"/>
                  </a:cubicBezTo>
                  <a:cubicBezTo>
                    <a:pt x="2053" y="3948"/>
                    <a:pt x="2037" y="4012"/>
                    <a:pt x="2063" y="4066"/>
                  </a:cubicBezTo>
                  <a:cubicBezTo>
                    <a:pt x="2076" y="4050"/>
                    <a:pt x="2090" y="4034"/>
                    <a:pt x="2110" y="402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8687111" y="10408233"/>
              <a:ext cx="251307" cy="276437"/>
            </a:xfrm>
            <a:custGeom>
              <a:avLst/>
              <a:gdLst>
                <a:gd name="T0" fmla="*/ 489 w 499"/>
                <a:gd name="T1" fmla="*/ 258 h 545"/>
                <a:gd name="T2" fmla="*/ 422 w 499"/>
                <a:gd name="T3" fmla="*/ 179 h 545"/>
                <a:gd name="T4" fmla="*/ 309 w 499"/>
                <a:gd name="T5" fmla="*/ 94 h 545"/>
                <a:gd name="T6" fmla="*/ 253 w 499"/>
                <a:gd name="T7" fmla="*/ 110 h 545"/>
                <a:gd name="T8" fmla="*/ 208 w 499"/>
                <a:gd name="T9" fmla="*/ 40 h 545"/>
                <a:gd name="T10" fmla="*/ 123 w 499"/>
                <a:gd name="T11" fmla="*/ 9 h 545"/>
                <a:gd name="T12" fmla="*/ 94 w 499"/>
                <a:gd name="T13" fmla="*/ 11 h 545"/>
                <a:gd name="T14" fmla="*/ 63 w 499"/>
                <a:gd name="T15" fmla="*/ 67 h 545"/>
                <a:gd name="T16" fmla="*/ 29 w 499"/>
                <a:gd name="T17" fmla="*/ 238 h 545"/>
                <a:gd name="T18" fmla="*/ 2 w 499"/>
                <a:gd name="T19" fmla="*/ 368 h 545"/>
                <a:gd name="T20" fmla="*/ 31 w 499"/>
                <a:gd name="T21" fmla="*/ 428 h 545"/>
                <a:gd name="T22" fmla="*/ 24 w 499"/>
                <a:gd name="T23" fmla="*/ 470 h 545"/>
                <a:gd name="T24" fmla="*/ 63 w 499"/>
                <a:gd name="T25" fmla="*/ 489 h 545"/>
                <a:gd name="T26" fmla="*/ 192 w 499"/>
                <a:gd name="T27" fmla="*/ 522 h 545"/>
                <a:gd name="T28" fmla="*/ 269 w 499"/>
                <a:gd name="T29" fmla="*/ 522 h 545"/>
                <a:gd name="T30" fmla="*/ 420 w 499"/>
                <a:gd name="T31" fmla="*/ 503 h 545"/>
                <a:gd name="T32" fmla="*/ 499 w 499"/>
                <a:gd name="T33" fmla="*/ 409 h 545"/>
                <a:gd name="T34" fmla="*/ 489 w 499"/>
                <a:gd name="T35" fmla="*/ 258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9" h="545">
                  <a:moveTo>
                    <a:pt x="489" y="258"/>
                  </a:moveTo>
                  <a:cubicBezTo>
                    <a:pt x="489" y="211"/>
                    <a:pt x="437" y="197"/>
                    <a:pt x="422" y="179"/>
                  </a:cubicBezTo>
                  <a:cubicBezTo>
                    <a:pt x="406" y="161"/>
                    <a:pt x="336" y="132"/>
                    <a:pt x="309" y="94"/>
                  </a:cubicBezTo>
                  <a:cubicBezTo>
                    <a:pt x="283" y="56"/>
                    <a:pt x="267" y="107"/>
                    <a:pt x="253" y="110"/>
                  </a:cubicBezTo>
                  <a:cubicBezTo>
                    <a:pt x="240" y="112"/>
                    <a:pt x="242" y="81"/>
                    <a:pt x="208" y="40"/>
                  </a:cubicBezTo>
                  <a:cubicBezTo>
                    <a:pt x="175" y="0"/>
                    <a:pt x="143" y="0"/>
                    <a:pt x="123" y="9"/>
                  </a:cubicBezTo>
                  <a:cubicBezTo>
                    <a:pt x="116" y="12"/>
                    <a:pt x="106" y="12"/>
                    <a:pt x="94" y="11"/>
                  </a:cubicBezTo>
                  <a:cubicBezTo>
                    <a:pt x="76" y="31"/>
                    <a:pt x="63" y="50"/>
                    <a:pt x="63" y="67"/>
                  </a:cubicBezTo>
                  <a:cubicBezTo>
                    <a:pt x="63" y="110"/>
                    <a:pt x="31" y="157"/>
                    <a:pt x="29" y="238"/>
                  </a:cubicBezTo>
                  <a:cubicBezTo>
                    <a:pt x="27" y="318"/>
                    <a:pt x="4" y="305"/>
                    <a:pt x="2" y="368"/>
                  </a:cubicBezTo>
                  <a:cubicBezTo>
                    <a:pt x="0" y="431"/>
                    <a:pt x="22" y="419"/>
                    <a:pt x="31" y="428"/>
                  </a:cubicBezTo>
                  <a:cubicBezTo>
                    <a:pt x="36" y="433"/>
                    <a:pt x="30" y="453"/>
                    <a:pt x="24" y="470"/>
                  </a:cubicBezTo>
                  <a:cubicBezTo>
                    <a:pt x="33" y="478"/>
                    <a:pt x="43" y="492"/>
                    <a:pt x="63" y="489"/>
                  </a:cubicBezTo>
                  <a:cubicBezTo>
                    <a:pt x="103" y="485"/>
                    <a:pt x="143" y="500"/>
                    <a:pt x="192" y="522"/>
                  </a:cubicBezTo>
                  <a:cubicBezTo>
                    <a:pt x="240" y="545"/>
                    <a:pt x="223" y="516"/>
                    <a:pt x="269" y="522"/>
                  </a:cubicBezTo>
                  <a:cubicBezTo>
                    <a:pt x="316" y="529"/>
                    <a:pt x="369" y="534"/>
                    <a:pt x="420" y="503"/>
                  </a:cubicBezTo>
                  <a:cubicBezTo>
                    <a:pt x="455" y="481"/>
                    <a:pt x="472" y="445"/>
                    <a:pt x="499" y="409"/>
                  </a:cubicBezTo>
                  <a:cubicBezTo>
                    <a:pt x="473" y="355"/>
                    <a:pt x="489" y="291"/>
                    <a:pt x="489" y="25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09" name="Freeform 109"/>
            <p:cNvSpPr>
              <a:spLocks noEditPoints="1"/>
            </p:cNvSpPr>
            <p:nvPr/>
          </p:nvSpPr>
          <p:spPr bwMode="auto">
            <a:xfrm>
              <a:off x="7908062" y="9947505"/>
              <a:ext cx="1023656" cy="2017154"/>
            </a:xfrm>
            <a:custGeom>
              <a:avLst/>
              <a:gdLst>
                <a:gd name="T0" fmla="*/ 575 w 2025"/>
                <a:gd name="T1" fmla="*/ 3781 h 3991"/>
                <a:gd name="T2" fmla="*/ 535 w 2025"/>
                <a:gd name="T3" fmla="*/ 3692 h 3991"/>
                <a:gd name="T4" fmla="*/ 501 w 2025"/>
                <a:gd name="T5" fmla="*/ 3967 h 3991"/>
                <a:gd name="T6" fmla="*/ 714 w 2025"/>
                <a:gd name="T7" fmla="*/ 3976 h 3991"/>
                <a:gd name="T8" fmla="*/ 772 w 2025"/>
                <a:gd name="T9" fmla="*/ 3912 h 3991"/>
                <a:gd name="T10" fmla="*/ 1933 w 2025"/>
                <a:gd name="T11" fmla="*/ 412 h 3991"/>
                <a:gd name="T12" fmla="*/ 1882 w 2025"/>
                <a:gd name="T13" fmla="*/ 569 h 3991"/>
                <a:gd name="T14" fmla="*/ 1717 w 2025"/>
                <a:gd name="T15" fmla="*/ 626 h 3991"/>
                <a:gd name="T16" fmla="*/ 1529 w 2025"/>
                <a:gd name="T17" fmla="*/ 596 h 3991"/>
                <a:gd name="T18" fmla="*/ 1640 w 2025"/>
                <a:gd name="T19" fmla="*/ 395 h 3991"/>
                <a:gd name="T20" fmla="*/ 1343 w 2025"/>
                <a:gd name="T21" fmla="*/ 245 h 3991"/>
                <a:gd name="T22" fmla="*/ 1093 w 2025"/>
                <a:gd name="T23" fmla="*/ 35 h 3991"/>
                <a:gd name="T24" fmla="*/ 936 w 2025"/>
                <a:gd name="T25" fmla="*/ 94 h 3991"/>
                <a:gd name="T26" fmla="*/ 732 w 2025"/>
                <a:gd name="T27" fmla="*/ 50 h 3991"/>
                <a:gd name="T28" fmla="*/ 639 w 2025"/>
                <a:gd name="T29" fmla="*/ 227 h 3991"/>
                <a:gd name="T30" fmla="*/ 519 w 2025"/>
                <a:gd name="T31" fmla="*/ 389 h 3991"/>
                <a:gd name="T32" fmla="*/ 531 w 2025"/>
                <a:gd name="T33" fmla="*/ 563 h 3991"/>
                <a:gd name="T34" fmla="*/ 441 w 2025"/>
                <a:gd name="T35" fmla="*/ 695 h 3991"/>
                <a:gd name="T36" fmla="*/ 369 w 2025"/>
                <a:gd name="T37" fmla="*/ 839 h 3991"/>
                <a:gd name="T38" fmla="*/ 327 w 2025"/>
                <a:gd name="T39" fmla="*/ 1019 h 3991"/>
                <a:gd name="T40" fmla="*/ 360 w 2025"/>
                <a:gd name="T41" fmla="*/ 1225 h 3991"/>
                <a:gd name="T42" fmla="*/ 357 w 2025"/>
                <a:gd name="T43" fmla="*/ 1396 h 3991"/>
                <a:gd name="T44" fmla="*/ 327 w 2025"/>
                <a:gd name="T45" fmla="*/ 1594 h 3991"/>
                <a:gd name="T46" fmla="*/ 255 w 2025"/>
                <a:gd name="T47" fmla="*/ 1825 h 3991"/>
                <a:gd name="T48" fmla="*/ 222 w 2025"/>
                <a:gd name="T49" fmla="*/ 1920 h 3991"/>
                <a:gd name="T50" fmla="*/ 189 w 2025"/>
                <a:gd name="T51" fmla="*/ 2058 h 3991"/>
                <a:gd name="T52" fmla="*/ 183 w 2025"/>
                <a:gd name="T53" fmla="*/ 2196 h 3991"/>
                <a:gd name="T54" fmla="*/ 162 w 2025"/>
                <a:gd name="T55" fmla="*/ 2409 h 3991"/>
                <a:gd name="T56" fmla="*/ 186 w 2025"/>
                <a:gd name="T57" fmla="*/ 2526 h 3991"/>
                <a:gd name="T58" fmla="*/ 231 w 2025"/>
                <a:gd name="T59" fmla="*/ 2622 h 3991"/>
                <a:gd name="T60" fmla="*/ 207 w 2025"/>
                <a:gd name="T61" fmla="*/ 2709 h 3991"/>
                <a:gd name="T62" fmla="*/ 189 w 2025"/>
                <a:gd name="T63" fmla="*/ 2864 h 3991"/>
                <a:gd name="T64" fmla="*/ 117 w 2025"/>
                <a:gd name="T65" fmla="*/ 2999 h 3991"/>
                <a:gd name="T66" fmla="*/ 78 w 2025"/>
                <a:gd name="T67" fmla="*/ 3146 h 3991"/>
                <a:gd name="T68" fmla="*/ 27 w 2025"/>
                <a:gd name="T69" fmla="*/ 3305 h 3991"/>
                <a:gd name="T70" fmla="*/ 138 w 2025"/>
                <a:gd name="T71" fmla="*/ 3401 h 3991"/>
                <a:gd name="T72" fmla="*/ 192 w 2025"/>
                <a:gd name="T73" fmla="*/ 3557 h 3991"/>
                <a:gd name="T74" fmla="*/ 423 w 2025"/>
                <a:gd name="T75" fmla="*/ 3585 h 3991"/>
                <a:gd name="T76" fmla="*/ 464 w 2025"/>
                <a:gd name="T77" fmla="*/ 3504 h 3991"/>
                <a:gd name="T78" fmla="*/ 473 w 2025"/>
                <a:gd name="T79" fmla="*/ 3336 h 3991"/>
                <a:gd name="T80" fmla="*/ 588 w 2025"/>
                <a:gd name="T81" fmla="*/ 3225 h 3991"/>
                <a:gd name="T82" fmla="*/ 776 w 2025"/>
                <a:gd name="T83" fmla="*/ 3017 h 3991"/>
                <a:gd name="T84" fmla="*/ 694 w 2025"/>
                <a:gd name="T85" fmla="*/ 2893 h 3991"/>
                <a:gd name="T86" fmla="*/ 790 w 2025"/>
                <a:gd name="T87" fmla="*/ 2648 h 3991"/>
                <a:gd name="T88" fmla="*/ 841 w 2025"/>
                <a:gd name="T89" fmla="*/ 2526 h 3991"/>
                <a:gd name="T90" fmla="*/ 907 w 2025"/>
                <a:gd name="T91" fmla="*/ 2391 h 3991"/>
                <a:gd name="T92" fmla="*/ 967 w 2025"/>
                <a:gd name="T93" fmla="*/ 2384 h 3991"/>
                <a:gd name="T94" fmla="*/ 938 w 2025"/>
                <a:gd name="T95" fmla="*/ 2324 h 3991"/>
                <a:gd name="T96" fmla="*/ 867 w 2025"/>
                <a:gd name="T97" fmla="*/ 2223 h 3991"/>
                <a:gd name="T98" fmla="*/ 1022 w 2025"/>
                <a:gd name="T99" fmla="*/ 2172 h 3991"/>
                <a:gd name="T100" fmla="*/ 1146 w 2025"/>
                <a:gd name="T101" fmla="*/ 2019 h 3991"/>
                <a:gd name="T102" fmla="*/ 1177 w 2025"/>
                <a:gd name="T103" fmla="*/ 1908 h 3991"/>
                <a:gd name="T104" fmla="*/ 1624 w 2025"/>
                <a:gd name="T105" fmla="*/ 1800 h 3991"/>
                <a:gd name="T106" fmla="*/ 1673 w 2025"/>
                <a:gd name="T107" fmla="*/ 1603 h 3991"/>
                <a:gd name="T108" fmla="*/ 1600 w 2025"/>
                <a:gd name="T109" fmla="*/ 1457 h 3991"/>
                <a:gd name="T110" fmla="*/ 1565 w 2025"/>
                <a:gd name="T111" fmla="*/ 1382 h 3991"/>
                <a:gd name="T112" fmla="*/ 1543 w 2025"/>
                <a:gd name="T113" fmla="*/ 1280 h 3991"/>
                <a:gd name="T114" fmla="*/ 1604 w 2025"/>
                <a:gd name="T115" fmla="*/ 979 h 3991"/>
                <a:gd name="T116" fmla="*/ 1895 w 2025"/>
                <a:gd name="T117" fmla="*/ 636 h 3991"/>
                <a:gd name="T118" fmla="*/ 1998 w 2025"/>
                <a:gd name="T119" fmla="*/ 416 h 3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5" h="3991">
                  <a:moveTo>
                    <a:pt x="772" y="3912"/>
                  </a:moveTo>
                  <a:cubicBezTo>
                    <a:pt x="717" y="3909"/>
                    <a:pt x="608" y="3808"/>
                    <a:pt x="575" y="3781"/>
                  </a:cubicBezTo>
                  <a:cubicBezTo>
                    <a:pt x="542" y="3754"/>
                    <a:pt x="566" y="3728"/>
                    <a:pt x="526" y="3735"/>
                  </a:cubicBezTo>
                  <a:cubicBezTo>
                    <a:pt x="486" y="3741"/>
                    <a:pt x="513" y="3704"/>
                    <a:pt x="535" y="3692"/>
                  </a:cubicBezTo>
                  <a:cubicBezTo>
                    <a:pt x="555" y="3682"/>
                    <a:pt x="527" y="3644"/>
                    <a:pt x="500" y="3638"/>
                  </a:cubicBezTo>
                  <a:cubicBezTo>
                    <a:pt x="497" y="3698"/>
                    <a:pt x="485" y="3965"/>
                    <a:pt x="501" y="3967"/>
                  </a:cubicBezTo>
                  <a:cubicBezTo>
                    <a:pt x="517" y="3970"/>
                    <a:pt x="634" y="3953"/>
                    <a:pt x="669" y="3976"/>
                  </a:cubicBezTo>
                  <a:cubicBezTo>
                    <a:pt x="682" y="3980"/>
                    <a:pt x="701" y="3991"/>
                    <a:pt x="714" y="3976"/>
                  </a:cubicBezTo>
                  <a:cubicBezTo>
                    <a:pt x="737" y="3951"/>
                    <a:pt x="803" y="3965"/>
                    <a:pt x="838" y="3943"/>
                  </a:cubicBezTo>
                  <a:cubicBezTo>
                    <a:pt x="874" y="3920"/>
                    <a:pt x="827" y="3914"/>
                    <a:pt x="772" y="3912"/>
                  </a:cubicBezTo>
                  <a:close/>
                  <a:moveTo>
                    <a:pt x="1998" y="416"/>
                  </a:moveTo>
                  <a:cubicBezTo>
                    <a:pt x="1988" y="411"/>
                    <a:pt x="1958" y="411"/>
                    <a:pt x="1933" y="412"/>
                  </a:cubicBezTo>
                  <a:cubicBezTo>
                    <a:pt x="1933" y="416"/>
                    <a:pt x="1933" y="419"/>
                    <a:pt x="1933" y="422"/>
                  </a:cubicBezTo>
                  <a:cubicBezTo>
                    <a:pt x="1939" y="464"/>
                    <a:pt x="1912" y="572"/>
                    <a:pt x="1882" y="569"/>
                  </a:cubicBezTo>
                  <a:cubicBezTo>
                    <a:pt x="1852" y="566"/>
                    <a:pt x="1828" y="614"/>
                    <a:pt x="1804" y="608"/>
                  </a:cubicBezTo>
                  <a:cubicBezTo>
                    <a:pt x="1780" y="602"/>
                    <a:pt x="1747" y="644"/>
                    <a:pt x="1717" y="626"/>
                  </a:cubicBezTo>
                  <a:cubicBezTo>
                    <a:pt x="1687" y="608"/>
                    <a:pt x="1646" y="632"/>
                    <a:pt x="1622" y="617"/>
                  </a:cubicBezTo>
                  <a:cubicBezTo>
                    <a:pt x="1598" y="602"/>
                    <a:pt x="1529" y="614"/>
                    <a:pt x="1529" y="596"/>
                  </a:cubicBezTo>
                  <a:cubicBezTo>
                    <a:pt x="1529" y="578"/>
                    <a:pt x="1562" y="584"/>
                    <a:pt x="1562" y="530"/>
                  </a:cubicBezTo>
                  <a:cubicBezTo>
                    <a:pt x="1562" y="476"/>
                    <a:pt x="1651" y="416"/>
                    <a:pt x="1640" y="395"/>
                  </a:cubicBezTo>
                  <a:cubicBezTo>
                    <a:pt x="1628" y="374"/>
                    <a:pt x="1475" y="329"/>
                    <a:pt x="1454" y="302"/>
                  </a:cubicBezTo>
                  <a:cubicBezTo>
                    <a:pt x="1433" y="275"/>
                    <a:pt x="1403" y="251"/>
                    <a:pt x="1343" y="245"/>
                  </a:cubicBezTo>
                  <a:cubicBezTo>
                    <a:pt x="1283" y="239"/>
                    <a:pt x="1286" y="209"/>
                    <a:pt x="1232" y="176"/>
                  </a:cubicBezTo>
                  <a:cubicBezTo>
                    <a:pt x="1187" y="149"/>
                    <a:pt x="1117" y="76"/>
                    <a:pt x="1093" y="35"/>
                  </a:cubicBezTo>
                  <a:cubicBezTo>
                    <a:pt x="1057" y="31"/>
                    <a:pt x="1005" y="23"/>
                    <a:pt x="995" y="35"/>
                  </a:cubicBezTo>
                  <a:cubicBezTo>
                    <a:pt x="980" y="53"/>
                    <a:pt x="956" y="136"/>
                    <a:pt x="936" y="94"/>
                  </a:cubicBezTo>
                  <a:cubicBezTo>
                    <a:pt x="915" y="53"/>
                    <a:pt x="865" y="53"/>
                    <a:pt x="821" y="47"/>
                  </a:cubicBezTo>
                  <a:cubicBezTo>
                    <a:pt x="776" y="41"/>
                    <a:pt x="779" y="0"/>
                    <a:pt x="732" y="50"/>
                  </a:cubicBezTo>
                  <a:cubicBezTo>
                    <a:pt x="711" y="73"/>
                    <a:pt x="684" y="95"/>
                    <a:pt x="659" y="111"/>
                  </a:cubicBezTo>
                  <a:cubicBezTo>
                    <a:pt x="656" y="158"/>
                    <a:pt x="647" y="212"/>
                    <a:pt x="639" y="227"/>
                  </a:cubicBezTo>
                  <a:cubicBezTo>
                    <a:pt x="627" y="248"/>
                    <a:pt x="528" y="293"/>
                    <a:pt x="525" y="317"/>
                  </a:cubicBezTo>
                  <a:cubicBezTo>
                    <a:pt x="522" y="341"/>
                    <a:pt x="537" y="374"/>
                    <a:pt x="519" y="389"/>
                  </a:cubicBezTo>
                  <a:cubicBezTo>
                    <a:pt x="501" y="404"/>
                    <a:pt x="561" y="479"/>
                    <a:pt x="528" y="497"/>
                  </a:cubicBezTo>
                  <a:cubicBezTo>
                    <a:pt x="495" y="515"/>
                    <a:pt x="552" y="545"/>
                    <a:pt x="531" y="563"/>
                  </a:cubicBezTo>
                  <a:cubicBezTo>
                    <a:pt x="510" y="581"/>
                    <a:pt x="471" y="590"/>
                    <a:pt x="471" y="611"/>
                  </a:cubicBezTo>
                  <a:cubicBezTo>
                    <a:pt x="471" y="632"/>
                    <a:pt x="468" y="683"/>
                    <a:pt x="441" y="695"/>
                  </a:cubicBezTo>
                  <a:cubicBezTo>
                    <a:pt x="414" y="707"/>
                    <a:pt x="396" y="752"/>
                    <a:pt x="396" y="785"/>
                  </a:cubicBezTo>
                  <a:cubicBezTo>
                    <a:pt x="396" y="818"/>
                    <a:pt x="354" y="797"/>
                    <a:pt x="369" y="839"/>
                  </a:cubicBezTo>
                  <a:cubicBezTo>
                    <a:pt x="384" y="881"/>
                    <a:pt x="402" y="932"/>
                    <a:pt x="369" y="941"/>
                  </a:cubicBezTo>
                  <a:cubicBezTo>
                    <a:pt x="336" y="950"/>
                    <a:pt x="345" y="1019"/>
                    <a:pt x="327" y="1019"/>
                  </a:cubicBezTo>
                  <a:cubicBezTo>
                    <a:pt x="309" y="1019"/>
                    <a:pt x="300" y="1090"/>
                    <a:pt x="327" y="1126"/>
                  </a:cubicBezTo>
                  <a:cubicBezTo>
                    <a:pt x="354" y="1162"/>
                    <a:pt x="360" y="1192"/>
                    <a:pt x="360" y="1225"/>
                  </a:cubicBezTo>
                  <a:cubicBezTo>
                    <a:pt x="360" y="1258"/>
                    <a:pt x="396" y="1276"/>
                    <a:pt x="384" y="1312"/>
                  </a:cubicBezTo>
                  <a:cubicBezTo>
                    <a:pt x="372" y="1348"/>
                    <a:pt x="378" y="1381"/>
                    <a:pt x="357" y="1396"/>
                  </a:cubicBezTo>
                  <a:cubicBezTo>
                    <a:pt x="336" y="1411"/>
                    <a:pt x="354" y="1456"/>
                    <a:pt x="327" y="1468"/>
                  </a:cubicBezTo>
                  <a:cubicBezTo>
                    <a:pt x="300" y="1480"/>
                    <a:pt x="348" y="1576"/>
                    <a:pt x="327" y="1594"/>
                  </a:cubicBezTo>
                  <a:cubicBezTo>
                    <a:pt x="306" y="1612"/>
                    <a:pt x="252" y="1627"/>
                    <a:pt x="252" y="1693"/>
                  </a:cubicBezTo>
                  <a:cubicBezTo>
                    <a:pt x="252" y="1759"/>
                    <a:pt x="262" y="1796"/>
                    <a:pt x="255" y="1825"/>
                  </a:cubicBezTo>
                  <a:cubicBezTo>
                    <a:pt x="249" y="1849"/>
                    <a:pt x="285" y="1842"/>
                    <a:pt x="279" y="1882"/>
                  </a:cubicBezTo>
                  <a:cubicBezTo>
                    <a:pt x="273" y="1920"/>
                    <a:pt x="225" y="1896"/>
                    <a:pt x="222" y="1920"/>
                  </a:cubicBezTo>
                  <a:cubicBezTo>
                    <a:pt x="219" y="1944"/>
                    <a:pt x="234" y="1992"/>
                    <a:pt x="216" y="1995"/>
                  </a:cubicBezTo>
                  <a:cubicBezTo>
                    <a:pt x="198" y="1998"/>
                    <a:pt x="189" y="2016"/>
                    <a:pt x="189" y="2058"/>
                  </a:cubicBezTo>
                  <a:cubicBezTo>
                    <a:pt x="189" y="2100"/>
                    <a:pt x="165" y="2106"/>
                    <a:pt x="162" y="2127"/>
                  </a:cubicBezTo>
                  <a:cubicBezTo>
                    <a:pt x="159" y="2148"/>
                    <a:pt x="183" y="2172"/>
                    <a:pt x="183" y="2196"/>
                  </a:cubicBezTo>
                  <a:cubicBezTo>
                    <a:pt x="183" y="2220"/>
                    <a:pt x="198" y="2301"/>
                    <a:pt x="177" y="2304"/>
                  </a:cubicBezTo>
                  <a:cubicBezTo>
                    <a:pt x="156" y="2307"/>
                    <a:pt x="144" y="2397"/>
                    <a:pt x="162" y="2409"/>
                  </a:cubicBezTo>
                  <a:cubicBezTo>
                    <a:pt x="180" y="2421"/>
                    <a:pt x="180" y="2445"/>
                    <a:pt x="171" y="2463"/>
                  </a:cubicBezTo>
                  <a:cubicBezTo>
                    <a:pt x="162" y="2481"/>
                    <a:pt x="213" y="2499"/>
                    <a:pt x="186" y="2526"/>
                  </a:cubicBezTo>
                  <a:cubicBezTo>
                    <a:pt x="159" y="2553"/>
                    <a:pt x="181" y="2587"/>
                    <a:pt x="216" y="2577"/>
                  </a:cubicBezTo>
                  <a:cubicBezTo>
                    <a:pt x="246" y="2568"/>
                    <a:pt x="264" y="2622"/>
                    <a:pt x="231" y="2622"/>
                  </a:cubicBezTo>
                  <a:cubicBezTo>
                    <a:pt x="198" y="2622"/>
                    <a:pt x="165" y="2622"/>
                    <a:pt x="192" y="2643"/>
                  </a:cubicBezTo>
                  <a:cubicBezTo>
                    <a:pt x="219" y="2664"/>
                    <a:pt x="246" y="2694"/>
                    <a:pt x="207" y="2709"/>
                  </a:cubicBezTo>
                  <a:cubicBezTo>
                    <a:pt x="168" y="2723"/>
                    <a:pt x="201" y="2750"/>
                    <a:pt x="192" y="2786"/>
                  </a:cubicBezTo>
                  <a:cubicBezTo>
                    <a:pt x="183" y="2822"/>
                    <a:pt x="219" y="2855"/>
                    <a:pt x="189" y="2864"/>
                  </a:cubicBezTo>
                  <a:cubicBezTo>
                    <a:pt x="159" y="2873"/>
                    <a:pt x="201" y="2927"/>
                    <a:pt x="159" y="2933"/>
                  </a:cubicBezTo>
                  <a:cubicBezTo>
                    <a:pt x="117" y="2939"/>
                    <a:pt x="144" y="2978"/>
                    <a:pt x="117" y="2999"/>
                  </a:cubicBezTo>
                  <a:cubicBezTo>
                    <a:pt x="90" y="3020"/>
                    <a:pt x="153" y="3056"/>
                    <a:pt x="120" y="3077"/>
                  </a:cubicBezTo>
                  <a:cubicBezTo>
                    <a:pt x="87" y="3098"/>
                    <a:pt x="111" y="3146"/>
                    <a:pt x="78" y="3146"/>
                  </a:cubicBezTo>
                  <a:cubicBezTo>
                    <a:pt x="45" y="3146"/>
                    <a:pt x="27" y="3191"/>
                    <a:pt x="24" y="3212"/>
                  </a:cubicBezTo>
                  <a:cubicBezTo>
                    <a:pt x="21" y="3233"/>
                    <a:pt x="0" y="3275"/>
                    <a:pt x="27" y="3305"/>
                  </a:cubicBezTo>
                  <a:cubicBezTo>
                    <a:pt x="54" y="3335"/>
                    <a:pt x="21" y="3359"/>
                    <a:pt x="45" y="3371"/>
                  </a:cubicBezTo>
                  <a:cubicBezTo>
                    <a:pt x="69" y="3383"/>
                    <a:pt x="150" y="3365"/>
                    <a:pt x="138" y="3401"/>
                  </a:cubicBezTo>
                  <a:cubicBezTo>
                    <a:pt x="126" y="3437"/>
                    <a:pt x="129" y="3515"/>
                    <a:pt x="144" y="3515"/>
                  </a:cubicBezTo>
                  <a:cubicBezTo>
                    <a:pt x="159" y="3515"/>
                    <a:pt x="168" y="3560"/>
                    <a:pt x="192" y="3557"/>
                  </a:cubicBezTo>
                  <a:cubicBezTo>
                    <a:pt x="216" y="3554"/>
                    <a:pt x="324" y="3542"/>
                    <a:pt x="369" y="3554"/>
                  </a:cubicBezTo>
                  <a:cubicBezTo>
                    <a:pt x="391" y="3559"/>
                    <a:pt x="410" y="3573"/>
                    <a:pt x="423" y="3585"/>
                  </a:cubicBezTo>
                  <a:cubicBezTo>
                    <a:pt x="448" y="3573"/>
                    <a:pt x="505" y="3610"/>
                    <a:pt x="517" y="3597"/>
                  </a:cubicBezTo>
                  <a:cubicBezTo>
                    <a:pt x="533" y="3582"/>
                    <a:pt x="462" y="3524"/>
                    <a:pt x="464" y="3504"/>
                  </a:cubicBezTo>
                  <a:cubicBezTo>
                    <a:pt x="467" y="3484"/>
                    <a:pt x="453" y="3451"/>
                    <a:pt x="453" y="3429"/>
                  </a:cubicBezTo>
                  <a:cubicBezTo>
                    <a:pt x="453" y="3407"/>
                    <a:pt x="442" y="3358"/>
                    <a:pt x="473" y="3336"/>
                  </a:cubicBezTo>
                  <a:cubicBezTo>
                    <a:pt x="504" y="3314"/>
                    <a:pt x="506" y="3292"/>
                    <a:pt x="526" y="3296"/>
                  </a:cubicBezTo>
                  <a:cubicBezTo>
                    <a:pt x="546" y="3301"/>
                    <a:pt x="586" y="3278"/>
                    <a:pt x="588" y="3225"/>
                  </a:cubicBezTo>
                  <a:cubicBezTo>
                    <a:pt x="590" y="3172"/>
                    <a:pt x="615" y="3152"/>
                    <a:pt x="659" y="3115"/>
                  </a:cubicBezTo>
                  <a:cubicBezTo>
                    <a:pt x="707" y="3074"/>
                    <a:pt x="787" y="3035"/>
                    <a:pt x="776" y="3017"/>
                  </a:cubicBezTo>
                  <a:cubicBezTo>
                    <a:pt x="765" y="3000"/>
                    <a:pt x="794" y="2942"/>
                    <a:pt x="794" y="2920"/>
                  </a:cubicBezTo>
                  <a:cubicBezTo>
                    <a:pt x="794" y="2898"/>
                    <a:pt x="719" y="2902"/>
                    <a:pt x="694" y="2893"/>
                  </a:cubicBezTo>
                  <a:cubicBezTo>
                    <a:pt x="670" y="2884"/>
                    <a:pt x="582" y="2822"/>
                    <a:pt x="626" y="2741"/>
                  </a:cubicBezTo>
                  <a:cubicBezTo>
                    <a:pt x="670" y="2659"/>
                    <a:pt x="763" y="2650"/>
                    <a:pt x="790" y="2648"/>
                  </a:cubicBezTo>
                  <a:cubicBezTo>
                    <a:pt x="816" y="2645"/>
                    <a:pt x="792" y="2608"/>
                    <a:pt x="814" y="2594"/>
                  </a:cubicBezTo>
                  <a:cubicBezTo>
                    <a:pt x="836" y="2581"/>
                    <a:pt x="841" y="2559"/>
                    <a:pt x="841" y="2526"/>
                  </a:cubicBezTo>
                  <a:cubicBezTo>
                    <a:pt x="841" y="2488"/>
                    <a:pt x="841" y="2428"/>
                    <a:pt x="880" y="2424"/>
                  </a:cubicBezTo>
                  <a:cubicBezTo>
                    <a:pt x="920" y="2420"/>
                    <a:pt x="931" y="2397"/>
                    <a:pt x="907" y="2391"/>
                  </a:cubicBezTo>
                  <a:cubicBezTo>
                    <a:pt x="883" y="2384"/>
                    <a:pt x="872" y="2355"/>
                    <a:pt x="911" y="2351"/>
                  </a:cubicBezTo>
                  <a:cubicBezTo>
                    <a:pt x="951" y="2347"/>
                    <a:pt x="938" y="2384"/>
                    <a:pt x="967" y="2384"/>
                  </a:cubicBezTo>
                  <a:cubicBezTo>
                    <a:pt x="996" y="2384"/>
                    <a:pt x="1044" y="2335"/>
                    <a:pt x="1007" y="2307"/>
                  </a:cubicBezTo>
                  <a:cubicBezTo>
                    <a:pt x="969" y="2278"/>
                    <a:pt x="958" y="2320"/>
                    <a:pt x="938" y="2324"/>
                  </a:cubicBezTo>
                  <a:cubicBezTo>
                    <a:pt x="918" y="2329"/>
                    <a:pt x="903" y="2298"/>
                    <a:pt x="883" y="2298"/>
                  </a:cubicBezTo>
                  <a:cubicBezTo>
                    <a:pt x="863" y="2298"/>
                    <a:pt x="876" y="2242"/>
                    <a:pt x="867" y="2223"/>
                  </a:cubicBezTo>
                  <a:cubicBezTo>
                    <a:pt x="858" y="2203"/>
                    <a:pt x="845" y="2154"/>
                    <a:pt x="863" y="2130"/>
                  </a:cubicBezTo>
                  <a:cubicBezTo>
                    <a:pt x="880" y="2105"/>
                    <a:pt x="956" y="2167"/>
                    <a:pt x="1022" y="2172"/>
                  </a:cubicBezTo>
                  <a:cubicBezTo>
                    <a:pt x="1089" y="2176"/>
                    <a:pt x="1137" y="2138"/>
                    <a:pt x="1137" y="2114"/>
                  </a:cubicBezTo>
                  <a:cubicBezTo>
                    <a:pt x="1137" y="2090"/>
                    <a:pt x="1106" y="2045"/>
                    <a:pt x="1146" y="2019"/>
                  </a:cubicBezTo>
                  <a:cubicBezTo>
                    <a:pt x="1186" y="1992"/>
                    <a:pt x="1153" y="1983"/>
                    <a:pt x="1142" y="1948"/>
                  </a:cubicBezTo>
                  <a:cubicBezTo>
                    <a:pt x="1131" y="1913"/>
                    <a:pt x="1159" y="1890"/>
                    <a:pt x="1177" y="1908"/>
                  </a:cubicBezTo>
                  <a:cubicBezTo>
                    <a:pt x="1195" y="1926"/>
                    <a:pt x="1325" y="1915"/>
                    <a:pt x="1434" y="1893"/>
                  </a:cubicBezTo>
                  <a:cubicBezTo>
                    <a:pt x="1542" y="1871"/>
                    <a:pt x="1618" y="1831"/>
                    <a:pt x="1624" y="1800"/>
                  </a:cubicBezTo>
                  <a:cubicBezTo>
                    <a:pt x="1631" y="1769"/>
                    <a:pt x="1700" y="1696"/>
                    <a:pt x="1715" y="1669"/>
                  </a:cubicBezTo>
                  <a:cubicBezTo>
                    <a:pt x="1731" y="1643"/>
                    <a:pt x="1717" y="1609"/>
                    <a:pt x="1673" y="1603"/>
                  </a:cubicBezTo>
                  <a:cubicBezTo>
                    <a:pt x="1629" y="1596"/>
                    <a:pt x="1631" y="1545"/>
                    <a:pt x="1655" y="1516"/>
                  </a:cubicBezTo>
                  <a:cubicBezTo>
                    <a:pt x="1680" y="1488"/>
                    <a:pt x="1642" y="1461"/>
                    <a:pt x="1600" y="1457"/>
                  </a:cubicBezTo>
                  <a:cubicBezTo>
                    <a:pt x="1558" y="1452"/>
                    <a:pt x="1491" y="1423"/>
                    <a:pt x="1529" y="1388"/>
                  </a:cubicBezTo>
                  <a:cubicBezTo>
                    <a:pt x="1547" y="1371"/>
                    <a:pt x="1556" y="1374"/>
                    <a:pt x="1565" y="1382"/>
                  </a:cubicBezTo>
                  <a:cubicBezTo>
                    <a:pt x="1571" y="1365"/>
                    <a:pt x="1577" y="1345"/>
                    <a:pt x="1572" y="1340"/>
                  </a:cubicBezTo>
                  <a:cubicBezTo>
                    <a:pt x="1563" y="1331"/>
                    <a:pt x="1541" y="1343"/>
                    <a:pt x="1543" y="1280"/>
                  </a:cubicBezTo>
                  <a:cubicBezTo>
                    <a:pt x="1545" y="1217"/>
                    <a:pt x="1568" y="1230"/>
                    <a:pt x="1570" y="1150"/>
                  </a:cubicBezTo>
                  <a:cubicBezTo>
                    <a:pt x="1572" y="1069"/>
                    <a:pt x="1604" y="1022"/>
                    <a:pt x="1604" y="979"/>
                  </a:cubicBezTo>
                  <a:cubicBezTo>
                    <a:pt x="1604" y="937"/>
                    <a:pt x="1680" y="887"/>
                    <a:pt x="1723" y="818"/>
                  </a:cubicBezTo>
                  <a:cubicBezTo>
                    <a:pt x="1765" y="748"/>
                    <a:pt x="1857" y="661"/>
                    <a:pt x="1895" y="636"/>
                  </a:cubicBezTo>
                  <a:cubicBezTo>
                    <a:pt x="1933" y="611"/>
                    <a:pt x="2007" y="591"/>
                    <a:pt x="2016" y="569"/>
                  </a:cubicBezTo>
                  <a:cubicBezTo>
                    <a:pt x="2025" y="546"/>
                    <a:pt x="2016" y="425"/>
                    <a:pt x="1998" y="41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7799162" y="9723005"/>
              <a:ext cx="447326" cy="2280187"/>
            </a:xfrm>
            <a:custGeom>
              <a:avLst/>
              <a:gdLst>
                <a:gd name="T0" fmla="*/ 353 w 884"/>
                <a:gd name="T1" fmla="*/ 3847 h 4512"/>
                <a:gd name="T2" fmla="*/ 239 w 884"/>
                <a:gd name="T3" fmla="*/ 3658 h 4512"/>
                <a:gd name="T4" fmla="*/ 332 w 884"/>
                <a:gd name="T5" fmla="*/ 3445 h 4512"/>
                <a:gd name="T6" fmla="*/ 407 w 884"/>
                <a:gd name="T7" fmla="*/ 3232 h 4512"/>
                <a:gd name="T8" fmla="*/ 446 w 884"/>
                <a:gd name="T9" fmla="*/ 3068 h 4512"/>
                <a:gd name="T10" fmla="*/ 386 w 884"/>
                <a:gd name="T11" fmla="*/ 2909 h 4512"/>
                <a:gd name="T12" fmla="*/ 398 w 884"/>
                <a:gd name="T13" fmla="*/ 2642 h 4512"/>
                <a:gd name="T14" fmla="*/ 431 w 884"/>
                <a:gd name="T15" fmla="*/ 2441 h 4512"/>
                <a:gd name="T16" fmla="*/ 470 w 884"/>
                <a:gd name="T17" fmla="*/ 2271 h 4512"/>
                <a:gd name="T18" fmla="*/ 542 w 884"/>
                <a:gd name="T19" fmla="*/ 1914 h 4512"/>
                <a:gd name="T20" fmla="*/ 575 w 884"/>
                <a:gd name="T21" fmla="*/ 1671 h 4512"/>
                <a:gd name="T22" fmla="*/ 584 w 884"/>
                <a:gd name="T23" fmla="*/ 1387 h 4512"/>
                <a:gd name="T24" fmla="*/ 656 w 884"/>
                <a:gd name="T25" fmla="*/ 1141 h 4512"/>
                <a:gd name="T26" fmla="*/ 743 w 884"/>
                <a:gd name="T27" fmla="*/ 943 h 4512"/>
                <a:gd name="T28" fmla="*/ 854 w 884"/>
                <a:gd name="T29" fmla="*/ 673 h 4512"/>
                <a:gd name="T30" fmla="*/ 788 w 884"/>
                <a:gd name="T31" fmla="*/ 467 h 4512"/>
                <a:gd name="T32" fmla="*/ 738 w 884"/>
                <a:gd name="T33" fmla="*/ 222 h 4512"/>
                <a:gd name="T34" fmla="*/ 628 w 884"/>
                <a:gd name="T35" fmla="*/ 15 h 4512"/>
                <a:gd name="T36" fmla="*/ 566 w 884"/>
                <a:gd name="T37" fmla="*/ 200 h 4512"/>
                <a:gd name="T38" fmla="*/ 546 w 884"/>
                <a:gd name="T39" fmla="*/ 665 h 4512"/>
                <a:gd name="T40" fmla="*/ 465 w 884"/>
                <a:gd name="T41" fmla="*/ 1130 h 4512"/>
                <a:gd name="T42" fmla="*/ 420 w 884"/>
                <a:gd name="T43" fmla="*/ 1444 h 4512"/>
                <a:gd name="T44" fmla="*/ 363 w 884"/>
                <a:gd name="T45" fmla="*/ 1856 h 4512"/>
                <a:gd name="T46" fmla="*/ 225 w 884"/>
                <a:gd name="T47" fmla="*/ 2221 h 4512"/>
                <a:gd name="T48" fmla="*/ 212 w 884"/>
                <a:gd name="T49" fmla="*/ 2533 h 4512"/>
                <a:gd name="T50" fmla="*/ 148 w 884"/>
                <a:gd name="T51" fmla="*/ 2819 h 4512"/>
                <a:gd name="T52" fmla="*/ 276 w 884"/>
                <a:gd name="T53" fmla="*/ 2669 h 4512"/>
                <a:gd name="T54" fmla="*/ 301 w 884"/>
                <a:gd name="T55" fmla="*/ 2835 h 4512"/>
                <a:gd name="T56" fmla="*/ 263 w 884"/>
                <a:gd name="T57" fmla="*/ 3027 h 4512"/>
                <a:gd name="T58" fmla="*/ 214 w 884"/>
                <a:gd name="T59" fmla="*/ 3158 h 4512"/>
                <a:gd name="T60" fmla="*/ 203 w 884"/>
                <a:gd name="T61" fmla="*/ 3131 h 4512"/>
                <a:gd name="T62" fmla="*/ 130 w 884"/>
                <a:gd name="T63" fmla="*/ 3162 h 4512"/>
                <a:gd name="T64" fmla="*/ 15 w 884"/>
                <a:gd name="T65" fmla="*/ 3313 h 4512"/>
                <a:gd name="T66" fmla="*/ 144 w 884"/>
                <a:gd name="T67" fmla="*/ 3324 h 4512"/>
                <a:gd name="T68" fmla="*/ 214 w 884"/>
                <a:gd name="T69" fmla="*/ 3446 h 4512"/>
                <a:gd name="T70" fmla="*/ 90 w 884"/>
                <a:gd name="T71" fmla="*/ 3474 h 4512"/>
                <a:gd name="T72" fmla="*/ 110 w 884"/>
                <a:gd name="T73" fmla="*/ 3543 h 4512"/>
                <a:gd name="T74" fmla="*/ 48 w 884"/>
                <a:gd name="T75" fmla="*/ 3649 h 4512"/>
                <a:gd name="T76" fmla="*/ 126 w 884"/>
                <a:gd name="T77" fmla="*/ 3682 h 4512"/>
                <a:gd name="T78" fmla="*/ 139 w 884"/>
                <a:gd name="T79" fmla="*/ 3782 h 4512"/>
                <a:gd name="T80" fmla="*/ 77 w 884"/>
                <a:gd name="T81" fmla="*/ 3906 h 4512"/>
                <a:gd name="T82" fmla="*/ 201 w 884"/>
                <a:gd name="T83" fmla="*/ 3926 h 4512"/>
                <a:gd name="T84" fmla="*/ 248 w 884"/>
                <a:gd name="T85" fmla="*/ 3968 h 4512"/>
                <a:gd name="T86" fmla="*/ 195 w 884"/>
                <a:gd name="T87" fmla="*/ 4085 h 4512"/>
                <a:gd name="T88" fmla="*/ 358 w 884"/>
                <a:gd name="T89" fmla="*/ 4090 h 4512"/>
                <a:gd name="T90" fmla="*/ 243 w 884"/>
                <a:gd name="T91" fmla="*/ 4176 h 4512"/>
                <a:gd name="T92" fmla="*/ 372 w 884"/>
                <a:gd name="T93" fmla="*/ 4158 h 4512"/>
                <a:gd name="T94" fmla="*/ 225 w 884"/>
                <a:gd name="T95" fmla="*/ 4260 h 4512"/>
                <a:gd name="T96" fmla="*/ 358 w 884"/>
                <a:gd name="T97" fmla="*/ 4273 h 4512"/>
                <a:gd name="T98" fmla="*/ 564 w 884"/>
                <a:gd name="T99" fmla="*/ 4079 h 4512"/>
                <a:gd name="T100" fmla="*/ 626 w 884"/>
                <a:gd name="T101" fmla="*/ 4189 h 4512"/>
                <a:gd name="T102" fmla="*/ 533 w 884"/>
                <a:gd name="T103" fmla="*/ 4222 h 4512"/>
                <a:gd name="T104" fmla="*/ 438 w 884"/>
                <a:gd name="T105" fmla="*/ 4304 h 4512"/>
                <a:gd name="T106" fmla="*/ 511 w 884"/>
                <a:gd name="T107" fmla="*/ 4448 h 4512"/>
                <a:gd name="T108" fmla="*/ 653 w 884"/>
                <a:gd name="T109" fmla="*/ 4428 h 4512"/>
                <a:gd name="T110" fmla="*/ 801 w 884"/>
                <a:gd name="T111" fmla="*/ 4437 h 4512"/>
                <a:gd name="T112" fmla="*/ 716 w 884"/>
                <a:gd name="T113" fmla="*/ 4413 h 4512"/>
                <a:gd name="T114" fmla="*/ 626 w 884"/>
                <a:gd name="T115" fmla="*/ 4045 h 4512"/>
                <a:gd name="T116" fmla="*/ 407 w 884"/>
                <a:gd name="T117" fmla="*/ 4003 h 4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84" h="4512">
                  <a:moveTo>
                    <a:pt x="407" y="4003"/>
                  </a:moveTo>
                  <a:cubicBezTo>
                    <a:pt x="383" y="4006"/>
                    <a:pt x="374" y="3961"/>
                    <a:pt x="359" y="3961"/>
                  </a:cubicBezTo>
                  <a:cubicBezTo>
                    <a:pt x="344" y="3961"/>
                    <a:pt x="341" y="3883"/>
                    <a:pt x="353" y="3847"/>
                  </a:cubicBezTo>
                  <a:cubicBezTo>
                    <a:pt x="365" y="3811"/>
                    <a:pt x="284" y="3829"/>
                    <a:pt x="260" y="3817"/>
                  </a:cubicBezTo>
                  <a:cubicBezTo>
                    <a:pt x="236" y="3805"/>
                    <a:pt x="269" y="3781"/>
                    <a:pt x="242" y="3751"/>
                  </a:cubicBezTo>
                  <a:cubicBezTo>
                    <a:pt x="215" y="3721"/>
                    <a:pt x="236" y="3679"/>
                    <a:pt x="239" y="3658"/>
                  </a:cubicBezTo>
                  <a:cubicBezTo>
                    <a:pt x="242" y="3637"/>
                    <a:pt x="260" y="3592"/>
                    <a:pt x="293" y="3592"/>
                  </a:cubicBezTo>
                  <a:cubicBezTo>
                    <a:pt x="326" y="3592"/>
                    <a:pt x="302" y="3544"/>
                    <a:pt x="335" y="3523"/>
                  </a:cubicBezTo>
                  <a:cubicBezTo>
                    <a:pt x="368" y="3502"/>
                    <a:pt x="305" y="3466"/>
                    <a:pt x="332" y="3445"/>
                  </a:cubicBezTo>
                  <a:cubicBezTo>
                    <a:pt x="359" y="3424"/>
                    <a:pt x="332" y="3385"/>
                    <a:pt x="374" y="3379"/>
                  </a:cubicBezTo>
                  <a:cubicBezTo>
                    <a:pt x="416" y="3373"/>
                    <a:pt x="374" y="3319"/>
                    <a:pt x="404" y="3310"/>
                  </a:cubicBezTo>
                  <a:cubicBezTo>
                    <a:pt x="434" y="3301"/>
                    <a:pt x="398" y="3268"/>
                    <a:pt x="407" y="3232"/>
                  </a:cubicBezTo>
                  <a:cubicBezTo>
                    <a:pt x="416" y="3196"/>
                    <a:pt x="383" y="3169"/>
                    <a:pt x="422" y="3155"/>
                  </a:cubicBezTo>
                  <a:cubicBezTo>
                    <a:pt x="461" y="3140"/>
                    <a:pt x="434" y="3110"/>
                    <a:pt x="407" y="3089"/>
                  </a:cubicBezTo>
                  <a:cubicBezTo>
                    <a:pt x="380" y="3068"/>
                    <a:pt x="413" y="3068"/>
                    <a:pt x="446" y="3068"/>
                  </a:cubicBezTo>
                  <a:cubicBezTo>
                    <a:pt x="479" y="3068"/>
                    <a:pt x="461" y="3014"/>
                    <a:pt x="431" y="3023"/>
                  </a:cubicBezTo>
                  <a:cubicBezTo>
                    <a:pt x="396" y="3033"/>
                    <a:pt x="374" y="2999"/>
                    <a:pt x="401" y="2972"/>
                  </a:cubicBezTo>
                  <a:cubicBezTo>
                    <a:pt x="428" y="2945"/>
                    <a:pt x="377" y="2927"/>
                    <a:pt x="386" y="2909"/>
                  </a:cubicBezTo>
                  <a:cubicBezTo>
                    <a:pt x="395" y="2891"/>
                    <a:pt x="395" y="2867"/>
                    <a:pt x="377" y="2855"/>
                  </a:cubicBezTo>
                  <a:cubicBezTo>
                    <a:pt x="359" y="2843"/>
                    <a:pt x="371" y="2753"/>
                    <a:pt x="392" y="2750"/>
                  </a:cubicBezTo>
                  <a:cubicBezTo>
                    <a:pt x="413" y="2747"/>
                    <a:pt x="398" y="2666"/>
                    <a:pt x="398" y="2642"/>
                  </a:cubicBezTo>
                  <a:cubicBezTo>
                    <a:pt x="398" y="2618"/>
                    <a:pt x="374" y="2594"/>
                    <a:pt x="377" y="2573"/>
                  </a:cubicBezTo>
                  <a:cubicBezTo>
                    <a:pt x="380" y="2552"/>
                    <a:pt x="404" y="2546"/>
                    <a:pt x="404" y="2504"/>
                  </a:cubicBezTo>
                  <a:cubicBezTo>
                    <a:pt x="404" y="2462"/>
                    <a:pt x="413" y="2444"/>
                    <a:pt x="431" y="2441"/>
                  </a:cubicBezTo>
                  <a:cubicBezTo>
                    <a:pt x="449" y="2438"/>
                    <a:pt x="434" y="2390"/>
                    <a:pt x="437" y="2366"/>
                  </a:cubicBezTo>
                  <a:cubicBezTo>
                    <a:pt x="440" y="2342"/>
                    <a:pt x="488" y="2366"/>
                    <a:pt x="494" y="2328"/>
                  </a:cubicBezTo>
                  <a:cubicBezTo>
                    <a:pt x="500" y="2288"/>
                    <a:pt x="464" y="2295"/>
                    <a:pt x="470" y="2271"/>
                  </a:cubicBezTo>
                  <a:cubicBezTo>
                    <a:pt x="477" y="2242"/>
                    <a:pt x="467" y="2205"/>
                    <a:pt x="467" y="2139"/>
                  </a:cubicBezTo>
                  <a:cubicBezTo>
                    <a:pt x="467" y="2073"/>
                    <a:pt x="521" y="2058"/>
                    <a:pt x="542" y="2040"/>
                  </a:cubicBezTo>
                  <a:cubicBezTo>
                    <a:pt x="563" y="2022"/>
                    <a:pt x="515" y="1926"/>
                    <a:pt x="542" y="1914"/>
                  </a:cubicBezTo>
                  <a:cubicBezTo>
                    <a:pt x="569" y="1902"/>
                    <a:pt x="551" y="1857"/>
                    <a:pt x="572" y="1842"/>
                  </a:cubicBezTo>
                  <a:cubicBezTo>
                    <a:pt x="593" y="1827"/>
                    <a:pt x="587" y="1794"/>
                    <a:pt x="599" y="1758"/>
                  </a:cubicBezTo>
                  <a:cubicBezTo>
                    <a:pt x="611" y="1722"/>
                    <a:pt x="575" y="1704"/>
                    <a:pt x="575" y="1671"/>
                  </a:cubicBezTo>
                  <a:cubicBezTo>
                    <a:pt x="575" y="1638"/>
                    <a:pt x="569" y="1608"/>
                    <a:pt x="542" y="1572"/>
                  </a:cubicBezTo>
                  <a:cubicBezTo>
                    <a:pt x="515" y="1536"/>
                    <a:pt x="524" y="1465"/>
                    <a:pt x="542" y="1465"/>
                  </a:cubicBezTo>
                  <a:cubicBezTo>
                    <a:pt x="560" y="1465"/>
                    <a:pt x="551" y="1396"/>
                    <a:pt x="584" y="1387"/>
                  </a:cubicBezTo>
                  <a:cubicBezTo>
                    <a:pt x="617" y="1378"/>
                    <a:pt x="599" y="1327"/>
                    <a:pt x="584" y="1285"/>
                  </a:cubicBezTo>
                  <a:cubicBezTo>
                    <a:pt x="569" y="1243"/>
                    <a:pt x="611" y="1264"/>
                    <a:pt x="611" y="1231"/>
                  </a:cubicBezTo>
                  <a:cubicBezTo>
                    <a:pt x="611" y="1198"/>
                    <a:pt x="629" y="1153"/>
                    <a:pt x="656" y="1141"/>
                  </a:cubicBezTo>
                  <a:cubicBezTo>
                    <a:pt x="683" y="1129"/>
                    <a:pt x="686" y="1078"/>
                    <a:pt x="686" y="1057"/>
                  </a:cubicBezTo>
                  <a:cubicBezTo>
                    <a:pt x="686" y="1036"/>
                    <a:pt x="725" y="1027"/>
                    <a:pt x="746" y="1009"/>
                  </a:cubicBezTo>
                  <a:cubicBezTo>
                    <a:pt x="767" y="991"/>
                    <a:pt x="710" y="961"/>
                    <a:pt x="743" y="943"/>
                  </a:cubicBezTo>
                  <a:cubicBezTo>
                    <a:pt x="776" y="925"/>
                    <a:pt x="716" y="850"/>
                    <a:pt x="734" y="835"/>
                  </a:cubicBezTo>
                  <a:cubicBezTo>
                    <a:pt x="752" y="820"/>
                    <a:pt x="737" y="787"/>
                    <a:pt x="740" y="763"/>
                  </a:cubicBezTo>
                  <a:cubicBezTo>
                    <a:pt x="743" y="739"/>
                    <a:pt x="842" y="694"/>
                    <a:pt x="854" y="673"/>
                  </a:cubicBezTo>
                  <a:cubicBezTo>
                    <a:pt x="862" y="658"/>
                    <a:pt x="871" y="604"/>
                    <a:pt x="874" y="557"/>
                  </a:cubicBezTo>
                  <a:cubicBezTo>
                    <a:pt x="843" y="577"/>
                    <a:pt x="816" y="587"/>
                    <a:pt x="811" y="576"/>
                  </a:cubicBezTo>
                  <a:cubicBezTo>
                    <a:pt x="802" y="555"/>
                    <a:pt x="814" y="493"/>
                    <a:pt x="788" y="467"/>
                  </a:cubicBezTo>
                  <a:cubicBezTo>
                    <a:pt x="761" y="440"/>
                    <a:pt x="779" y="387"/>
                    <a:pt x="752" y="375"/>
                  </a:cubicBezTo>
                  <a:cubicBezTo>
                    <a:pt x="726" y="363"/>
                    <a:pt x="693" y="310"/>
                    <a:pt x="717" y="293"/>
                  </a:cubicBezTo>
                  <a:cubicBezTo>
                    <a:pt x="741" y="275"/>
                    <a:pt x="717" y="240"/>
                    <a:pt x="738" y="222"/>
                  </a:cubicBezTo>
                  <a:cubicBezTo>
                    <a:pt x="758" y="204"/>
                    <a:pt x="726" y="201"/>
                    <a:pt x="696" y="166"/>
                  </a:cubicBezTo>
                  <a:cubicBezTo>
                    <a:pt x="667" y="130"/>
                    <a:pt x="708" y="86"/>
                    <a:pt x="673" y="59"/>
                  </a:cubicBezTo>
                  <a:cubicBezTo>
                    <a:pt x="637" y="33"/>
                    <a:pt x="637" y="0"/>
                    <a:pt x="628" y="15"/>
                  </a:cubicBezTo>
                  <a:cubicBezTo>
                    <a:pt x="620" y="30"/>
                    <a:pt x="617" y="80"/>
                    <a:pt x="587" y="95"/>
                  </a:cubicBezTo>
                  <a:cubicBezTo>
                    <a:pt x="582" y="97"/>
                    <a:pt x="575" y="103"/>
                    <a:pt x="565" y="111"/>
                  </a:cubicBezTo>
                  <a:cubicBezTo>
                    <a:pt x="566" y="135"/>
                    <a:pt x="557" y="176"/>
                    <a:pt x="566" y="200"/>
                  </a:cubicBezTo>
                  <a:cubicBezTo>
                    <a:pt x="580" y="234"/>
                    <a:pt x="586" y="395"/>
                    <a:pt x="573" y="457"/>
                  </a:cubicBezTo>
                  <a:cubicBezTo>
                    <a:pt x="560" y="519"/>
                    <a:pt x="546" y="570"/>
                    <a:pt x="533" y="608"/>
                  </a:cubicBezTo>
                  <a:cubicBezTo>
                    <a:pt x="520" y="645"/>
                    <a:pt x="564" y="648"/>
                    <a:pt x="546" y="665"/>
                  </a:cubicBezTo>
                  <a:cubicBezTo>
                    <a:pt x="529" y="683"/>
                    <a:pt x="535" y="727"/>
                    <a:pt x="535" y="798"/>
                  </a:cubicBezTo>
                  <a:cubicBezTo>
                    <a:pt x="535" y="869"/>
                    <a:pt x="493" y="988"/>
                    <a:pt x="491" y="1026"/>
                  </a:cubicBezTo>
                  <a:cubicBezTo>
                    <a:pt x="489" y="1064"/>
                    <a:pt x="460" y="1088"/>
                    <a:pt x="465" y="1130"/>
                  </a:cubicBezTo>
                  <a:cubicBezTo>
                    <a:pt x="469" y="1172"/>
                    <a:pt x="445" y="1196"/>
                    <a:pt x="420" y="1216"/>
                  </a:cubicBezTo>
                  <a:cubicBezTo>
                    <a:pt x="396" y="1236"/>
                    <a:pt x="460" y="1301"/>
                    <a:pt x="458" y="1336"/>
                  </a:cubicBezTo>
                  <a:cubicBezTo>
                    <a:pt x="456" y="1371"/>
                    <a:pt x="409" y="1387"/>
                    <a:pt x="420" y="1444"/>
                  </a:cubicBezTo>
                  <a:cubicBezTo>
                    <a:pt x="434" y="1516"/>
                    <a:pt x="420" y="1639"/>
                    <a:pt x="420" y="1664"/>
                  </a:cubicBezTo>
                  <a:cubicBezTo>
                    <a:pt x="420" y="1688"/>
                    <a:pt x="392" y="1686"/>
                    <a:pt x="398" y="1732"/>
                  </a:cubicBezTo>
                  <a:cubicBezTo>
                    <a:pt x="405" y="1779"/>
                    <a:pt x="369" y="1790"/>
                    <a:pt x="363" y="1856"/>
                  </a:cubicBezTo>
                  <a:cubicBezTo>
                    <a:pt x="356" y="1923"/>
                    <a:pt x="305" y="2018"/>
                    <a:pt x="285" y="2069"/>
                  </a:cubicBezTo>
                  <a:cubicBezTo>
                    <a:pt x="265" y="2120"/>
                    <a:pt x="265" y="2148"/>
                    <a:pt x="239" y="2148"/>
                  </a:cubicBezTo>
                  <a:cubicBezTo>
                    <a:pt x="212" y="2148"/>
                    <a:pt x="206" y="2177"/>
                    <a:pt x="225" y="2221"/>
                  </a:cubicBezTo>
                  <a:cubicBezTo>
                    <a:pt x="245" y="2266"/>
                    <a:pt x="212" y="2303"/>
                    <a:pt x="239" y="2348"/>
                  </a:cubicBezTo>
                  <a:cubicBezTo>
                    <a:pt x="265" y="2392"/>
                    <a:pt x="256" y="2407"/>
                    <a:pt x="243" y="2449"/>
                  </a:cubicBezTo>
                  <a:cubicBezTo>
                    <a:pt x="230" y="2491"/>
                    <a:pt x="212" y="2494"/>
                    <a:pt x="212" y="2533"/>
                  </a:cubicBezTo>
                  <a:cubicBezTo>
                    <a:pt x="212" y="2573"/>
                    <a:pt x="181" y="2607"/>
                    <a:pt x="199" y="2651"/>
                  </a:cubicBezTo>
                  <a:cubicBezTo>
                    <a:pt x="217" y="2695"/>
                    <a:pt x="212" y="2711"/>
                    <a:pt x="190" y="2711"/>
                  </a:cubicBezTo>
                  <a:cubicBezTo>
                    <a:pt x="168" y="2711"/>
                    <a:pt x="157" y="2746"/>
                    <a:pt x="148" y="2819"/>
                  </a:cubicBezTo>
                  <a:cubicBezTo>
                    <a:pt x="139" y="2892"/>
                    <a:pt x="141" y="2890"/>
                    <a:pt x="195" y="2886"/>
                  </a:cubicBezTo>
                  <a:cubicBezTo>
                    <a:pt x="248" y="2881"/>
                    <a:pt x="206" y="2706"/>
                    <a:pt x="239" y="2706"/>
                  </a:cubicBezTo>
                  <a:cubicBezTo>
                    <a:pt x="272" y="2706"/>
                    <a:pt x="243" y="2677"/>
                    <a:pt x="276" y="2669"/>
                  </a:cubicBezTo>
                  <a:cubicBezTo>
                    <a:pt x="310" y="2660"/>
                    <a:pt x="281" y="2700"/>
                    <a:pt x="303" y="2706"/>
                  </a:cubicBezTo>
                  <a:cubicBezTo>
                    <a:pt x="325" y="2713"/>
                    <a:pt x="341" y="2731"/>
                    <a:pt x="310" y="2750"/>
                  </a:cubicBezTo>
                  <a:cubicBezTo>
                    <a:pt x="279" y="2770"/>
                    <a:pt x="316" y="2810"/>
                    <a:pt x="301" y="2835"/>
                  </a:cubicBezTo>
                  <a:cubicBezTo>
                    <a:pt x="285" y="2859"/>
                    <a:pt x="263" y="2886"/>
                    <a:pt x="276" y="2914"/>
                  </a:cubicBezTo>
                  <a:cubicBezTo>
                    <a:pt x="290" y="2943"/>
                    <a:pt x="261" y="2941"/>
                    <a:pt x="259" y="2979"/>
                  </a:cubicBezTo>
                  <a:cubicBezTo>
                    <a:pt x="256" y="3016"/>
                    <a:pt x="279" y="3018"/>
                    <a:pt x="263" y="3027"/>
                  </a:cubicBezTo>
                  <a:cubicBezTo>
                    <a:pt x="248" y="3036"/>
                    <a:pt x="283" y="3065"/>
                    <a:pt x="261" y="3069"/>
                  </a:cubicBezTo>
                  <a:cubicBezTo>
                    <a:pt x="239" y="3074"/>
                    <a:pt x="252" y="3102"/>
                    <a:pt x="265" y="3129"/>
                  </a:cubicBezTo>
                  <a:cubicBezTo>
                    <a:pt x="279" y="3156"/>
                    <a:pt x="237" y="3140"/>
                    <a:pt x="214" y="3158"/>
                  </a:cubicBezTo>
                  <a:cubicBezTo>
                    <a:pt x="192" y="3175"/>
                    <a:pt x="237" y="3200"/>
                    <a:pt x="223" y="3224"/>
                  </a:cubicBezTo>
                  <a:cubicBezTo>
                    <a:pt x="210" y="3249"/>
                    <a:pt x="175" y="3211"/>
                    <a:pt x="159" y="3198"/>
                  </a:cubicBezTo>
                  <a:cubicBezTo>
                    <a:pt x="144" y="3184"/>
                    <a:pt x="183" y="3158"/>
                    <a:pt x="203" y="3131"/>
                  </a:cubicBezTo>
                  <a:cubicBezTo>
                    <a:pt x="223" y="3105"/>
                    <a:pt x="183" y="3045"/>
                    <a:pt x="150" y="3058"/>
                  </a:cubicBezTo>
                  <a:cubicBezTo>
                    <a:pt x="117" y="3071"/>
                    <a:pt x="183" y="3109"/>
                    <a:pt x="183" y="3138"/>
                  </a:cubicBezTo>
                  <a:cubicBezTo>
                    <a:pt x="183" y="3167"/>
                    <a:pt x="128" y="3131"/>
                    <a:pt x="130" y="3162"/>
                  </a:cubicBezTo>
                  <a:cubicBezTo>
                    <a:pt x="133" y="3193"/>
                    <a:pt x="93" y="3182"/>
                    <a:pt x="73" y="3204"/>
                  </a:cubicBezTo>
                  <a:cubicBezTo>
                    <a:pt x="53" y="3226"/>
                    <a:pt x="99" y="3246"/>
                    <a:pt x="77" y="3253"/>
                  </a:cubicBezTo>
                  <a:cubicBezTo>
                    <a:pt x="55" y="3260"/>
                    <a:pt x="17" y="3291"/>
                    <a:pt x="15" y="3313"/>
                  </a:cubicBezTo>
                  <a:cubicBezTo>
                    <a:pt x="13" y="3335"/>
                    <a:pt x="40" y="3339"/>
                    <a:pt x="40" y="3317"/>
                  </a:cubicBezTo>
                  <a:cubicBezTo>
                    <a:pt x="40" y="3295"/>
                    <a:pt x="75" y="3288"/>
                    <a:pt x="86" y="3317"/>
                  </a:cubicBezTo>
                  <a:cubicBezTo>
                    <a:pt x="97" y="3346"/>
                    <a:pt x="113" y="3317"/>
                    <a:pt x="144" y="3324"/>
                  </a:cubicBezTo>
                  <a:cubicBezTo>
                    <a:pt x="175" y="3330"/>
                    <a:pt x="170" y="3377"/>
                    <a:pt x="152" y="3375"/>
                  </a:cubicBezTo>
                  <a:cubicBezTo>
                    <a:pt x="135" y="3373"/>
                    <a:pt x="117" y="3404"/>
                    <a:pt x="121" y="3437"/>
                  </a:cubicBezTo>
                  <a:cubicBezTo>
                    <a:pt x="126" y="3470"/>
                    <a:pt x="188" y="3437"/>
                    <a:pt x="214" y="3446"/>
                  </a:cubicBezTo>
                  <a:cubicBezTo>
                    <a:pt x="241" y="3454"/>
                    <a:pt x="232" y="3501"/>
                    <a:pt x="217" y="3485"/>
                  </a:cubicBezTo>
                  <a:cubicBezTo>
                    <a:pt x="201" y="3470"/>
                    <a:pt x="166" y="3443"/>
                    <a:pt x="150" y="3470"/>
                  </a:cubicBezTo>
                  <a:cubicBezTo>
                    <a:pt x="135" y="3496"/>
                    <a:pt x="110" y="3483"/>
                    <a:pt x="90" y="3474"/>
                  </a:cubicBezTo>
                  <a:cubicBezTo>
                    <a:pt x="71" y="3466"/>
                    <a:pt x="0" y="3512"/>
                    <a:pt x="24" y="3530"/>
                  </a:cubicBezTo>
                  <a:cubicBezTo>
                    <a:pt x="48" y="3547"/>
                    <a:pt x="46" y="3576"/>
                    <a:pt x="62" y="3574"/>
                  </a:cubicBezTo>
                  <a:cubicBezTo>
                    <a:pt x="77" y="3572"/>
                    <a:pt x="102" y="3561"/>
                    <a:pt x="110" y="3543"/>
                  </a:cubicBezTo>
                  <a:cubicBezTo>
                    <a:pt x="119" y="3525"/>
                    <a:pt x="150" y="3508"/>
                    <a:pt x="152" y="3547"/>
                  </a:cubicBezTo>
                  <a:cubicBezTo>
                    <a:pt x="155" y="3587"/>
                    <a:pt x="110" y="3567"/>
                    <a:pt x="102" y="3589"/>
                  </a:cubicBezTo>
                  <a:cubicBezTo>
                    <a:pt x="93" y="3612"/>
                    <a:pt x="75" y="3629"/>
                    <a:pt x="48" y="3649"/>
                  </a:cubicBezTo>
                  <a:cubicBezTo>
                    <a:pt x="22" y="3669"/>
                    <a:pt x="48" y="3702"/>
                    <a:pt x="71" y="3691"/>
                  </a:cubicBezTo>
                  <a:cubicBezTo>
                    <a:pt x="93" y="3680"/>
                    <a:pt x="64" y="3718"/>
                    <a:pt x="95" y="3722"/>
                  </a:cubicBezTo>
                  <a:cubicBezTo>
                    <a:pt x="123" y="3726"/>
                    <a:pt x="133" y="3704"/>
                    <a:pt x="126" y="3682"/>
                  </a:cubicBezTo>
                  <a:cubicBezTo>
                    <a:pt x="119" y="3660"/>
                    <a:pt x="141" y="3612"/>
                    <a:pt x="168" y="3636"/>
                  </a:cubicBezTo>
                  <a:cubicBezTo>
                    <a:pt x="195" y="3660"/>
                    <a:pt x="155" y="3685"/>
                    <a:pt x="155" y="3707"/>
                  </a:cubicBezTo>
                  <a:cubicBezTo>
                    <a:pt x="155" y="3729"/>
                    <a:pt x="139" y="3758"/>
                    <a:pt x="139" y="3782"/>
                  </a:cubicBezTo>
                  <a:cubicBezTo>
                    <a:pt x="139" y="3806"/>
                    <a:pt x="110" y="3793"/>
                    <a:pt x="113" y="3820"/>
                  </a:cubicBezTo>
                  <a:cubicBezTo>
                    <a:pt x="115" y="3846"/>
                    <a:pt x="51" y="3828"/>
                    <a:pt x="79" y="3846"/>
                  </a:cubicBezTo>
                  <a:cubicBezTo>
                    <a:pt x="108" y="3864"/>
                    <a:pt x="62" y="3888"/>
                    <a:pt x="77" y="3906"/>
                  </a:cubicBezTo>
                  <a:cubicBezTo>
                    <a:pt x="93" y="3924"/>
                    <a:pt x="106" y="3882"/>
                    <a:pt x="130" y="3890"/>
                  </a:cubicBezTo>
                  <a:cubicBezTo>
                    <a:pt x="155" y="3899"/>
                    <a:pt x="150" y="3906"/>
                    <a:pt x="181" y="3893"/>
                  </a:cubicBezTo>
                  <a:cubicBezTo>
                    <a:pt x="212" y="3879"/>
                    <a:pt x="230" y="3917"/>
                    <a:pt x="201" y="3926"/>
                  </a:cubicBezTo>
                  <a:cubicBezTo>
                    <a:pt x="172" y="3935"/>
                    <a:pt x="141" y="3968"/>
                    <a:pt x="155" y="3972"/>
                  </a:cubicBezTo>
                  <a:cubicBezTo>
                    <a:pt x="168" y="3977"/>
                    <a:pt x="206" y="3950"/>
                    <a:pt x="214" y="3979"/>
                  </a:cubicBezTo>
                  <a:cubicBezTo>
                    <a:pt x="223" y="4008"/>
                    <a:pt x="245" y="3999"/>
                    <a:pt x="248" y="3968"/>
                  </a:cubicBezTo>
                  <a:cubicBezTo>
                    <a:pt x="250" y="3937"/>
                    <a:pt x="303" y="3964"/>
                    <a:pt x="312" y="3990"/>
                  </a:cubicBezTo>
                  <a:cubicBezTo>
                    <a:pt x="321" y="4017"/>
                    <a:pt x="256" y="4032"/>
                    <a:pt x="223" y="4026"/>
                  </a:cubicBezTo>
                  <a:cubicBezTo>
                    <a:pt x="190" y="4019"/>
                    <a:pt x="172" y="4057"/>
                    <a:pt x="195" y="4085"/>
                  </a:cubicBezTo>
                  <a:cubicBezTo>
                    <a:pt x="217" y="4114"/>
                    <a:pt x="243" y="4085"/>
                    <a:pt x="268" y="4061"/>
                  </a:cubicBezTo>
                  <a:cubicBezTo>
                    <a:pt x="292" y="4037"/>
                    <a:pt x="411" y="4043"/>
                    <a:pt x="420" y="4070"/>
                  </a:cubicBezTo>
                  <a:cubicBezTo>
                    <a:pt x="429" y="4096"/>
                    <a:pt x="365" y="4074"/>
                    <a:pt x="358" y="4090"/>
                  </a:cubicBezTo>
                  <a:cubicBezTo>
                    <a:pt x="352" y="4105"/>
                    <a:pt x="303" y="4118"/>
                    <a:pt x="296" y="4101"/>
                  </a:cubicBezTo>
                  <a:cubicBezTo>
                    <a:pt x="290" y="4083"/>
                    <a:pt x="243" y="4107"/>
                    <a:pt x="241" y="4136"/>
                  </a:cubicBezTo>
                  <a:cubicBezTo>
                    <a:pt x="239" y="4165"/>
                    <a:pt x="203" y="4165"/>
                    <a:pt x="243" y="4176"/>
                  </a:cubicBezTo>
                  <a:cubicBezTo>
                    <a:pt x="283" y="4187"/>
                    <a:pt x="272" y="4134"/>
                    <a:pt x="334" y="4138"/>
                  </a:cubicBezTo>
                  <a:cubicBezTo>
                    <a:pt x="396" y="4143"/>
                    <a:pt x="429" y="4081"/>
                    <a:pt x="447" y="4116"/>
                  </a:cubicBezTo>
                  <a:cubicBezTo>
                    <a:pt x="465" y="4152"/>
                    <a:pt x="396" y="4181"/>
                    <a:pt x="372" y="4158"/>
                  </a:cubicBezTo>
                  <a:cubicBezTo>
                    <a:pt x="347" y="4136"/>
                    <a:pt x="318" y="4174"/>
                    <a:pt x="321" y="4207"/>
                  </a:cubicBezTo>
                  <a:cubicBezTo>
                    <a:pt x="323" y="4240"/>
                    <a:pt x="250" y="4198"/>
                    <a:pt x="214" y="4194"/>
                  </a:cubicBezTo>
                  <a:cubicBezTo>
                    <a:pt x="179" y="4189"/>
                    <a:pt x="195" y="4227"/>
                    <a:pt x="225" y="4260"/>
                  </a:cubicBezTo>
                  <a:cubicBezTo>
                    <a:pt x="256" y="4293"/>
                    <a:pt x="274" y="4256"/>
                    <a:pt x="312" y="4280"/>
                  </a:cubicBezTo>
                  <a:cubicBezTo>
                    <a:pt x="349" y="4304"/>
                    <a:pt x="349" y="4331"/>
                    <a:pt x="376" y="4307"/>
                  </a:cubicBezTo>
                  <a:cubicBezTo>
                    <a:pt x="403" y="4282"/>
                    <a:pt x="376" y="4285"/>
                    <a:pt x="358" y="4273"/>
                  </a:cubicBezTo>
                  <a:cubicBezTo>
                    <a:pt x="341" y="4262"/>
                    <a:pt x="356" y="4225"/>
                    <a:pt x="398" y="4245"/>
                  </a:cubicBezTo>
                  <a:cubicBezTo>
                    <a:pt x="440" y="4265"/>
                    <a:pt x="489" y="4227"/>
                    <a:pt x="476" y="4174"/>
                  </a:cubicBezTo>
                  <a:cubicBezTo>
                    <a:pt x="462" y="4121"/>
                    <a:pt x="513" y="4096"/>
                    <a:pt x="564" y="4079"/>
                  </a:cubicBezTo>
                  <a:cubicBezTo>
                    <a:pt x="615" y="4061"/>
                    <a:pt x="589" y="4112"/>
                    <a:pt x="551" y="4127"/>
                  </a:cubicBezTo>
                  <a:cubicBezTo>
                    <a:pt x="513" y="4143"/>
                    <a:pt x="507" y="4154"/>
                    <a:pt x="535" y="4185"/>
                  </a:cubicBezTo>
                  <a:cubicBezTo>
                    <a:pt x="564" y="4216"/>
                    <a:pt x="602" y="4165"/>
                    <a:pt x="626" y="4189"/>
                  </a:cubicBezTo>
                  <a:cubicBezTo>
                    <a:pt x="651" y="4214"/>
                    <a:pt x="582" y="4209"/>
                    <a:pt x="571" y="4234"/>
                  </a:cubicBezTo>
                  <a:cubicBezTo>
                    <a:pt x="560" y="4258"/>
                    <a:pt x="613" y="4287"/>
                    <a:pt x="575" y="4304"/>
                  </a:cubicBezTo>
                  <a:cubicBezTo>
                    <a:pt x="538" y="4322"/>
                    <a:pt x="555" y="4231"/>
                    <a:pt x="533" y="4222"/>
                  </a:cubicBezTo>
                  <a:cubicBezTo>
                    <a:pt x="511" y="4214"/>
                    <a:pt x="491" y="4234"/>
                    <a:pt x="513" y="4285"/>
                  </a:cubicBezTo>
                  <a:cubicBezTo>
                    <a:pt x="535" y="4335"/>
                    <a:pt x="487" y="4291"/>
                    <a:pt x="465" y="4267"/>
                  </a:cubicBezTo>
                  <a:cubicBezTo>
                    <a:pt x="442" y="4242"/>
                    <a:pt x="411" y="4278"/>
                    <a:pt x="438" y="4304"/>
                  </a:cubicBezTo>
                  <a:cubicBezTo>
                    <a:pt x="465" y="4331"/>
                    <a:pt x="387" y="4302"/>
                    <a:pt x="387" y="4344"/>
                  </a:cubicBezTo>
                  <a:cubicBezTo>
                    <a:pt x="387" y="4386"/>
                    <a:pt x="420" y="4351"/>
                    <a:pt x="460" y="4360"/>
                  </a:cubicBezTo>
                  <a:cubicBezTo>
                    <a:pt x="500" y="4369"/>
                    <a:pt x="482" y="4426"/>
                    <a:pt x="511" y="4448"/>
                  </a:cubicBezTo>
                  <a:cubicBezTo>
                    <a:pt x="540" y="4470"/>
                    <a:pt x="515" y="4377"/>
                    <a:pt x="546" y="4371"/>
                  </a:cubicBezTo>
                  <a:cubicBezTo>
                    <a:pt x="577" y="4364"/>
                    <a:pt x="549" y="4442"/>
                    <a:pt x="617" y="4464"/>
                  </a:cubicBezTo>
                  <a:cubicBezTo>
                    <a:pt x="686" y="4486"/>
                    <a:pt x="622" y="4451"/>
                    <a:pt x="653" y="4428"/>
                  </a:cubicBezTo>
                  <a:cubicBezTo>
                    <a:pt x="684" y="4406"/>
                    <a:pt x="724" y="4495"/>
                    <a:pt x="757" y="4504"/>
                  </a:cubicBezTo>
                  <a:cubicBezTo>
                    <a:pt x="790" y="4512"/>
                    <a:pt x="768" y="4464"/>
                    <a:pt x="743" y="4437"/>
                  </a:cubicBezTo>
                  <a:cubicBezTo>
                    <a:pt x="719" y="4411"/>
                    <a:pt x="768" y="4426"/>
                    <a:pt x="801" y="4437"/>
                  </a:cubicBezTo>
                  <a:cubicBezTo>
                    <a:pt x="834" y="4448"/>
                    <a:pt x="861" y="4453"/>
                    <a:pt x="867" y="4428"/>
                  </a:cubicBezTo>
                  <a:cubicBezTo>
                    <a:pt x="870" y="4419"/>
                    <a:pt x="876" y="4419"/>
                    <a:pt x="884" y="4422"/>
                  </a:cubicBezTo>
                  <a:cubicBezTo>
                    <a:pt x="849" y="4399"/>
                    <a:pt x="732" y="4416"/>
                    <a:pt x="716" y="4413"/>
                  </a:cubicBezTo>
                  <a:cubicBezTo>
                    <a:pt x="700" y="4411"/>
                    <a:pt x="712" y="4145"/>
                    <a:pt x="715" y="4084"/>
                  </a:cubicBezTo>
                  <a:cubicBezTo>
                    <a:pt x="713" y="4084"/>
                    <a:pt x="710" y="4083"/>
                    <a:pt x="708" y="4083"/>
                  </a:cubicBezTo>
                  <a:cubicBezTo>
                    <a:pt x="679" y="4083"/>
                    <a:pt x="615" y="4090"/>
                    <a:pt x="626" y="4045"/>
                  </a:cubicBezTo>
                  <a:cubicBezTo>
                    <a:pt x="628" y="4038"/>
                    <a:pt x="632" y="4033"/>
                    <a:pt x="638" y="4031"/>
                  </a:cubicBezTo>
                  <a:cubicBezTo>
                    <a:pt x="625" y="4019"/>
                    <a:pt x="606" y="4005"/>
                    <a:pt x="584" y="4000"/>
                  </a:cubicBezTo>
                  <a:cubicBezTo>
                    <a:pt x="539" y="3988"/>
                    <a:pt x="431" y="4000"/>
                    <a:pt x="407" y="400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8460936" y="9823527"/>
              <a:ext cx="445650" cy="450676"/>
            </a:xfrm>
            <a:custGeom>
              <a:avLst/>
              <a:gdLst>
                <a:gd name="T0" fmla="*/ 849 w 885"/>
                <a:gd name="T1" fmla="*/ 481 h 892"/>
                <a:gd name="T2" fmla="*/ 765 w 885"/>
                <a:gd name="T3" fmla="*/ 499 h 892"/>
                <a:gd name="T4" fmla="*/ 717 w 885"/>
                <a:gd name="T5" fmla="*/ 389 h 892"/>
                <a:gd name="T6" fmla="*/ 648 w 885"/>
                <a:gd name="T7" fmla="*/ 304 h 892"/>
                <a:gd name="T8" fmla="*/ 562 w 885"/>
                <a:gd name="T9" fmla="*/ 296 h 892"/>
                <a:gd name="T10" fmla="*/ 511 w 885"/>
                <a:gd name="T11" fmla="*/ 215 h 892"/>
                <a:gd name="T12" fmla="*/ 493 w 885"/>
                <a:gd name="T13" fmla="*/ 92 h 892"/>
                <a:gd name="T14" fmla="*/ 488 w 885"/>
                <a:gd name="T15" fmla="*/ 38 h 892"/>
                <a:gd name="T16" fmla="*/ 471 w 885"/>
                <a:gd name="T17" fmla="*/ 44 h 892"/>
                <a:gd name="T18" fmla="*/ 377 w 885"/>
                <a:gd name="T19" fmla="*/ 3 h 892"/>
                <a:gd name="T20" fmla="*/ 262 w 885"/>
                <a:gd name="T21" fmla="*/ 15 h 892"/>
                <a:gd name="T22" fmla="*/ 141 w 885"/>
                <a:gd name="T23" fmla="*/ 36 h 892"/>
                <a:gd name="T24" fmla="*/ 64 w 885"/>
                <a:gd name="T25" fmla="*/ 130 h 892"/>
                <a:gd name="T26" fmla="*/ 35 w 885"/>
                <a:gd name="T27" fmla="*/ 283 h 892"/>
                <a:gd name="T28" fmla="*/ 0 w 885"/>
                <a:gd name="T29" fmla="*/ 283 h 892"/>
                <a:gd name="T30" fmla="*/ 139 w 885"/>
                <a:gd name="T31" fmla="*/ 424 h 892"/>
                <a:gd name="T32" fmla="*/ 250 w 885"/>
                <a:gd name="T33" fmla="*/ 493 h 892"/>
                <a:gd name="T34" fmla="*/ 361 w 885"/>
                <a:gd name="T35" fmla="*/ 550 h 892"/>
                <a:gd name="T36" fmla="*/ 547 w 885"/>
                <a:gd name="T37" fmla="*/ 643 h 892"/>
                <a:gd name="T38" fmla="*/ 469 w 885"/>
                <a:gd name="T39" fmla="*/ 778 h 892"/>
                <a:gd name="T40" fmla="*/ 436 w 885"/>
                <a:gd name="T41" fmla="*/ 844 h 892"/>
                <a:gd name="T42" fmla="*/ 529 w 885"/>
                <a:gd name="T43" fmla="*/ 865 h 892"/>
                <a:gd name="T44" fmla="*/ 624 w 885"/>
                <a:gd name="T45" fmla="*/ 874 h 892"/>
                <a:gd name="T46" fmla="*/ 711 w 885"/>
                <a:gd name="T47" fmla="*/ 856 h 892"/>
                <a:gd name="T48" fmla="*/ 789 w 885"/>
                <a:gd name="T49" fmla="*/ 817 h 892"/>
                <a:gd name="T50" fmla="*/ 840 w 885"/>
                <a:gd name="T51" fmla="*/ 670 h 892"/>
                <a:gd name="T52" fmla="*/ 849 w 885"/>
                <a:gd name="T53" fmla="*/ 481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85" h="892">
                  <a:moveTo>
                    <a:pt x="849" y="481"/>
                  </a:moveTo>
                  <a:cubicBezTo>
                    <a:pt x="813" y="463"/>
                    <a:pt x="777" y="499"/>
                    <a:pt x="765" y="499"/>
                  </a:cubicBezTo>
                  <a:cubicBezTo>
                    <a:pt x="753" y="499"/>
                    <a:pt x="726" y="421"/>
                    <a:pt x="717" y="389"/>
                  </a:cubicBezTo>
                  <a:cubicBezTo>
                    <a:pt x="708" y="356"/>
                    <a:pt x="672" y="290"/>
                    <a:pt x="648" y="304"/>
                  </a:cubicBezTo>
                  <a:cubicBezTo>
                    <a:pt x="624" y="319"/>
                    <a:pt x="630" y="299"/>
                    <a:pt x="562" y="296"/>
                  </a:cubicBezTo>
                  <a:cubicBezTo>
                    <a:pt x="493" y="293"/>
                    <a:pt x="496" y="281"/>
                    <a:pt x="511" y="215"/>
                  </a:cubicBezTo>
                  <a:cubicBezTo>
                    <a:pt x="526" y="149"/>
                    <a:pt x="466" y="107"/>
                    <a:pt x="493" y="92"/>
                  </a:cubicBezTo>
                  <a:cubicBezTo>
                    <a:pt x="513" y="81"/>
                    <a:pt x="511" y="67"/>
                    <a:pt x="488" y="38"/>
                  </a:cubicBezTo>
                  <a:cubicBezTo>
                    <a:pt x="483" y="42"/>
                    <a:pt x="477" y="44"/>
                    <a:pt x="471" y="44"/>
                  </a:cubicBezTo>
                  <a:cubicBezTo>
                    <a:pt x="448" y="44"/>
                    <a:pt x="418" y="3"/>
                    <a:pt x="377" y="3"/>
                  </a:cubicBezTo>
                  <a:cubicBezTo>
                    <a:pt x="336" y="3"/>
                    <a:pt x="291" y="0"/>
                    <a:pt x="262" y="15"/>
                  </a:cubicBezTo>
                  <a:cubicBezTo>
                    <a:pt x="232" y="30"/>
                    <a:pt x="176" y="12"/>
                    <a:pt x="141" y="36"/>
                  </a:cubicBezTo>
                  <a:cubicBezTo>
                    <a:pt x="105" y="59"/>
                    <a:pt x="61" y="109"/>
                    <a:pt x="64" y="130"/>
                  </a:cubicBezTo>
                  <a:cubicBezTo>
                    <a:pt x="67" y="151"/>
                    <a:pt x="52" y="278"/>
                    <a:pt x="35" y="283"/>
                  </a:cubicBezTo>
                  <a:cubicBezTo>
                    <a:pt x="29" y="285"/>
                    <a:pt x="16" y="284"/>
                    <a:pt x="0" y="283"/>
                  </a:cubicBezTo>
                  <a:cubicBezTo>
                    <a:pt x="24" y="324"/>
                    <a:pt x="94" y="397"/>
                    <a:pt x="139" y="424"/>
                  </a:cubicBezTo>
                  <a:cubicBezTo>
                    <a:pt x="193" y="457"/>
                    <a:pt x="190" y="487"/>
                    <a:pt x="250" y="493"/>
                  </a:cubicBezTo>
                  <a:cubicBezTo>
                    <a:pt x="310" y="499"/>
                    <a:pt x="340" y="523"/>
                    <a:pt x="361" y="550"/>
                  </a:cubicBezTo>
                  <a:cubicBezTo>
                    <a:pt x="382" y="577"/>
                    <a:pt x="535" y="622"/>
                    <a:pt x="547" y="643"/>
                  </a:cubicBezTo>
                  <a:cubicBezTo>
                    <a:pt x="558" y="664"/>
                    <a:pt x="469" y="724"/>
                    <a:pt x="469" y="778"/>
                  </a:cubicBezTo>
                  <a:cubicBezTo>
                    <a:pt x="469" y="832"/>
                    <a:pt x="436" y="826"/>
                    <a:pt x="436" y="844"/>
                  </a:cubicBezTo>
                  <a:cubicBezTo>
                    <a:pt x="436" y="862"/>
                    <a:pt x="505" y="850"/>
                    <a:pt x="529" y="865"/>
                  </a:cubicBezTo>
                  <a:cubicBezTo>
                    <a:pt x="553" y="880"/>
                    <a:pt x="594" y="856"/>
                    <a:pt x="624" y="874"/>
                  </a:cubicBezTo>
                  <a:cubicBezTo>
                    <a:pt x="654" y="892"/>
                    <a:pt x="687" y="850"/>
                    <a:pt x="711" y="856"/>
                  </a:cubicBezTo>
                  <a:cubicBezTo>
                    <a:pt x="735" y="862"/>
                    <a:pt x="759" y="814"/>
                    <a:pt x="789" y="817"/>
                  </a:cubicBezTo>
                  <a:cubicBezTo>
                    <a:pt x="819" y="820"/>
                    <a:pt x="846" y="712"/>
                    <a:pt x="840" y="670"/>
                  </a:cubicBezTo>
                  <a:cubicBezTo>
                    <a:pt x="834" y="628"/>
                    <a:pt x="885" y="499"/>
                    <a:pt x="849" y="4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7288172" y="8262076"/>
              <a:ext cx="167538" cy="137381"/>
            </a:xfrm>
            <a:custGeom>
              <a:avLst/>
              <a:gdLst>
                <a:gd name="T0" fmla="*/ 317 w 332"/>
                <a:gd name="T1" fmla="*/ 214 h 269"/>
                <a:gd name="T2" fmla="*/ 332 w 332"/>
                <a:gd name="T3" fmla="*/ 150 h 269"/>
                <a:gd name="T4" fmla="*/ 233 w 332"/>
                <a:gd name="T5" fmla="*/ 27 h 269"/>
                <a:gd name="T6" fmla="*/ 184 w 332"/>
                <a:gd name="T7" fmla="*/ 22 h 269"/>
                <a:gd name="T8" fmla="*/ 85 w 332"/>
                <a:gd name="T9" fmla="*/ 5 h 269"/>
                <a:gd name="T10" fmla="*/ 30 w 332"/>
                <a:gd name="T11" fmla="*/ 2 h 269"/>
                <a:gd name="T12" fmla="*/ 22 w 332"/>
                <a:gd name="T13" fmla="*/ 41 h 269"/>
                <a:gd name="T14" fmla="*/ 49 w 332"/>
                <a:gd name="T15" fmla="*/ 128 h 269"/>
                <a:gd name="T16" fmla="*/ 106 w 332"/>
                <a:gd name="T17" fmla="*/ 117 h 269"/>
                <a:gd name="T18" fmla="*/ 151 w 332"/>
                <a:gd name="T19" fmla="*/ 154 h 269"/>
                <a:gd name="T20" fmla="*/ 221 w 332"/>
                <a:gd name="T21" fmla="*/ 216 h 269"/>
                <a:gd name="T22" fmla="*/ 279 w 332"/>
                <a:gd name="T23" fmla="*/ 267 h 269"/>
                <a:gd name="T24" fmla="*/ 303 w 332"/>
                <a:gd name="T25" fmla="*/ 269 h 269"/>
                <a:gd name="T26" fmla="*/ 317 w 332"/>
                <a:gd name="T27" fmla="*/ 214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2" h="269">
                  <a:moveTo>
                    <a:pt x="317" y="214"/>
                  </a:moveTo>
                  <a:cubicBezTo>
                    <a:pt x="313" y="202"/>
                    <a:pt x="315" y="173"/>
                    <a:pt x="332" y="150"/>
                  </a:cubicBezTo>
                  <a:cubicBezTo>
                    <a:pt x="296" y="111"/>
                    <a:pt x="255" y="59"/>
                    <a:pt x="233" y="27"/>
                  </a:cubicBezTo>
                  <a:cubicBezTo>
                    <a:pt x="212" y="30"/>
                    <a:pt x="194" y="30"/>
                    <a:pt x="184" y="22"/>
                  </a:cubicBezTo>
                  <a:cubicBezTo>
                    <a:pt x="162" y="5"/>
                    <a:pt x="107" y="16"/>
                    <a:pt x="85" y="5"/>
                  </a:cubicBezTo>
                  <a:cubicBezTo>
                    <a:pt x="74" y="0"/>
                    <a:pt x="51" y="0"/>
                    <a:pt x="30" y="2"/>
                  </a:cubicBezTo>
                  <a:cubicBezTo>
                    <a:pt x="35" y="18"/>
                    <a:pt x="33" y="34"/>
                    <a:pt x="22" y="41"/>
                  </a:cubicBezTo>
                  <a:cubicBezTo>
                    <a:pt x="2" y="55"/>
                    <a:pt x="0" y="108"/>
                    <a:pt x="49" y="128"/>
                  </a:cubicBezTo>
                  <a:cubicBezTo>
                    <a:pt x="97" y="147"/>
                    <a:pt x="82" y="117"/>
                    <a:pt x="106" y="117"/>
                  </a:cubicBezTo>
                  <a:cubicBezTo>
                    <a:pt x="131" y="117"/>
                    <a:pt x="128" y="154"/>
                    <a:pt x="151" y="154"/>
                  </a:cubicBezTo>
                  <a:cubicBezTo>
                    <a:pt x="173" y="154"/>
                    <a:pt x="224" y="181"/>
                    <a:pt x="221" y="216"/>
                  </a:cubicBezTo>
                  <a:cubicBezTo>
                    <a:pt x="219" y="251"/>
                    <a:pt x="239" y="267"/>
                    <a:pt x="279" y="267"/>
                  </a:cubicBezTo>
                  <a:cubicBezTo>
                    <a:pt x="286" y="267"/>
                    <a:pt x="295" y="268"/>
                    <a:pt x="303" y="269"/>
                  </a:cubicBezTo>
                  <a:cubicBezTo>
                    <a:pt x="310" y="245"/>
                    <a:pt x="320" y="226"/>
                    <a:pt x="317" y="2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7440631" y="8329091"/>
              <a:ext cx="294866" cy="140732"/>
            </a:xfrm>
            <a:custGeom>
              <a:avLst/>
              <a:gdLst>
                <a:gd name="T0" fmla="*/ 521 w 583"/>
                <a:gd name="T1" fmla="*/ 84 h 281"/>
                <a:gd name="T2" fmla="*/ 381 w 583"/>
                <a:gd name="T3" fmla="*/ 17 h 281"/>
                <a:gd name="T4" fmla="*/ 239 w 583"/>
                <a:gd name="T5" fmla="*/ 71 h 281"/>
                <a:gd name="T6" fmla="*/ 80 w 583"/>
                <a:gd name="T7" fmla="*/ 66 h 281"/>
                <a:gd name="T8" fmla="*/ 29 w 583"/>
                <a:gd name="T9" fmla="*/ 20 h 281"/>
                <a:gd name="T10" fmla="*/ 14 w 583"/>
                <a:gd name="T11" fmla="*/ 84 h 281"/>
                <a:gd name="T12" fmla="*/ 0 w 583"/>
                <a:gd name="T13" fmla="*/ 139 h 281"/>
                <a:gd name="T14" fmla="*/ 129 w 583"/>
                <a:gd name="T15" fmla="*/ 197 h 281"/>
                <a:gd name="T16" fmla="*/ 202 w 583"/>
                <a:gd name="T17" fmla="*/ 245 h 281"/>
                <a:gd name="T18" fmla="*/ 279 w 583"/>
                <a:gd name="T19" fmla="*/ 225 h 281"/>
                <a:gd name="T20" fmla="*/ 250 w 583"/>
                <a:gd name="T21" fmla="*/ 170 h 281"/>
                <a:gd name="T22" fmla="*/ 304 w 583"/>
                <a:gd name="T23" fmla="*/ 121 h 281"/>
                <a:gd name="T24" fmla="*/ 414 w 583"/>
                <a:gd name="T25" fmla="*/ 86 h 281"/>
                <a:gd name="T26" fmla="*/ 443 w 583"/>
                <a:gd name="T27" fmla="*/ 155 h 281"/>
                <a:gd name="T28" fmla="*/ 502 w 583"/>
                <a:gd name="T29" fmla="*/ 259 h 281"/>
                <a:gd name="T30" fmla="*/ 569 w 583"/>
                <a:gd name="T31" fmla="*/ 193 h 281"/>
                <a:gd name="T32" fmla="*/ 583 w 583"/>
                <a:gd name="T33" fmla="*/ 162 h 281"/>
                <a:gd name="T34" fmla="*/ 521 w 583"/>
                <a:gd name="T35" fmla="*/ 84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83" h="281">
                  <a:moveTo>
                    <a:pt x="521" y="84"/>
                  </a:moveTo>
                  <a:cubicBezTo>
                    <a:pt x="485" y="31"/>
                    <a:pt x="421" y="35"/>
                    <a:pt x="381" y="17"/>
                  </a:cubicBezTo>
                  <a:cubicBezTo>
                    <a:pt x="341" y="0"/>
                    <a:pt x="290" y="24"/>
                    <a:pt x="239" y="71"/>
                  </a:cubicBezTo>
                  <a:cubicBezTo>
                    <a:pt x="189" y="117"/>
                    <a:pt x="124" y="91"/>
                    <a:pt x="80" y="66"/>
                  </a:cubicBezTo>
                  <a:cubicBezTo>
                    <a:pt x="67" y="59"/>
                    <a:pt x="48" y="42"/>
                    <a:pt x="29" y="20"/>
                  </a:cubicBezTo>
                  <a:cubicBezTo>
                    <a:pt x="12" y="43"/>
                    <a:pt x="10" y="72"/>
                    <a:pt x="14" y="84"/>
                  </a:cubicBezTo>
                  <a:cubicBezTo>
                    <a:pt x="17" y="96"/>
                    <a:pt x="7" y="115"/>
                    <a:pt x="0" y="139"/>
                  </a:cubicBezTo>
                  <a:cubicBezTo>
                    <a:pt x="44" y="144"/>
                    <a:pt x="101" y="163"/>
                    <a:pt x="129" y="197"/>
                  </a:cubicBezTo>
                  <a:cubicBezTo>
                    <a:pt x="162" y="237"/>
                    <a:pt x="182" y="210"/>
                    <a:pt x="202" y="245"/>
                  </a:cubicBezTo>
                  <a:cubicBezTo>
                    <a:pt x="222" y="281"/>
                    <a:pt x="268" y="248"/>
                    <a:pt x="279" y="225"/>
                  </a:cubicBezTo>
                  <a:cubicBezTo>
                    <a:pt x="290" y="203"/>
                    <a:pt x="255" y="195"/>
                    <a:pt x="250" y="170"/>
                  </a:cubicBezTo>
                  <a:cubicBezTo>
                    <a:pt x="246" y="146"/>
                    <a:pt x="295" y="155"/>
                    <a:pt x="304" y="121"/>
                  </a:cubicBezTo>
                  <a:cubicBezTo>
                    <a:pt x="312" y="88"/>
                    <a:pt x="383" y="73"/>
                    <a:pt x="414" y="86"/>
                  </a:cubicBezTo>
                  <a:cubicBezTo>
                    <a:pt x="445" y="99"/>
                    <a:pt x="472" y="121"/>
                    <a:pt x="443" y="155"/>
                  </a:cubicBezTo>
                  <a:cubicBezTo>
                    <a:pt x="422" y="179"/>
                    <a:pt x="465" y="224"/>
                    <a:pt x="502" y="259"/>
                  </a:cubicBezTo>
                  <a:cubicBezTo>
                    <a:pt x="527" y="232"/>
                    <a:pt x="557" y="202"/>
                    <a:pt x="569" y="193"/>
                  </a:cubicBezTo>
                  <a:cubicBezTo>
                    <a:pt x="576" y="188"/>
                    <a:pt x="580" y="177"/>
                    <a:pt x="583" y="162"/>
                  </a:cubicBezTo>
                  <a:cubicBezTo>
                    <a:pt x="565" y="154"/>
                    <a:pt x="545" y="121"/>
                    <a:pt x="521" y="8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7641676" y="8181658"/>
              <a:ext cx="604812" cy="859468"/>
            </a:xfrm>
            <a:custGeom>
              <a:avLst/>
              <a:gdLst>
                <a:gd name="T0" fmla="*/ 185 w 1196"/>
                <a:gd name="T1" fmla="*/ 1241 h 1701"/>
                <a:gd name="T2" fmla="*/ 261 w 1196"/>
                <a:gd name="T3" fmla="*/ 1241 h 1701"/>
                <a:gd name="T4" fmla="*/ 333 w 1196"/>
                <a:gd name="T5" fmla="*/ 1297 h 1701"/>
                <a:gd name="T6" fmla="*/ 337 w 1196"/>
                <a:gd name="T7" fmla="*/ 1302 h 1701"/>
                <a:gd name="T8" fmla="*/ 423 w 1196"/>
                <a:gd name="T9" fmla="*/ 1299 h 1701"/>
                <a:gd name="T10" fmla="*/ 482 w 1196"/>
                <a:gd name="T11" fmla="*/ 1382 h 1701"/>
                <a:gd name="T12" fmla="*/ 545 w 1196"/>
                <a:gd name="T13" fmla="*/ 1445 h 1701"/>
                <a:gd name="T14" fmla="*/ 583 w 1196"/>
                <a:gd name="T15" fmla="*/ 1508 h 1701"/>
                <a:gd name="T16" fmla="*/ 698 w 1196"/>
                <a:gd name="T17" fmla="*/ 1521 h 1701"/>
                <a:gd name="T18" fmla="*/ 757 w 1196"/>
                <a:gd name="T19" fmla="*/ 1514 h 1701"/>
                <a:gd name="T20" fmla="*/ 823 w 1196"/>
                <a:gd name="T21" fmla="*/ 1511 h 1701"/>
                <a:gd name="T22" fmla="*/ 896 w 1196"/>
                <a:gd name="T23" fmla="*/ 1570 h 1701"/>
                <a:gd name="T24" fmla="*/ 844 w 1196"/>
                <a:gd name="T25" fmla="*/ 1654 h 1701"/>
                <a:gd name="T26" fmla="*/ 903 w 1196"/>
                <a:gd name="T27" fmla="*/ 1701 h 1701"/>
                <a:gd name="T28" fmla="*/ 908 w 1196"/>
                <a:gd name="T29" fmla="*/ 1700 h 1701"/>
                <a:gd name="T30" fmla="*/ 946 w 1196"/>
                <a:gd name="T31" fmla="*/ 1565 h 1701"/>
                <a:gd name="T32" fmla="*/ 967 w 1196"/>
                <a:gd name="T33" fmla="*/ 1429 h 1701"/>
                <a:gd name="T34" fmla="*/ 903 w 1196"/>
                <a:gd name="T35" fmla="*/ 1267 h 1701"/>
                <a:gd name="T36" fmla="*/ 971 w 1196"/>
                <a:gd name="T37" fmla="*/ 1213 h 1701"/>
                <a:gd name="T38" fmla="*/ 951 w 1196"/>
                <a:gd name="T39" fmla="*/ 1172 h 1701"/>
                <a:gd name="T40" fmla="*/ 925 w 1196"/>
                <a:gd name="T41" fmla="*/ 1117 h 1701"/>
                <a:gd name="T42" fmla="*/ 1076 w 1196"/>
                <a:gd name="T43" fmla="*/ 1106 h 1701"/>
                <a:gd name="T44" fmla="*/ 1187 w 1196"/>
                <a:gd name="T45" fmla="*/ 1069 h 1701"/>
                <a:gd name="T46" fmla="*/ 1169 w 1196"/>
                <a:gd name="T47" fmla="*/ 1018 h 1701"/>
                <a:gd name="T48" fmla="*/ 1173 w 1196"/>
                <a:gd name="T49" fmla="*/ 943 h 1701"/>
                <a:gd name="T50" fmla="*/ 1134 w 1196"/>
                <a:gd name="T51" fmla="*/ 867 h 1701"/>
                <a:gd name="T52" fmla="*/ 1158 w 1196"/>
                <a:gd name="T53" fmla="*/ 684 h 1701"/>
                <a:gd name="T54" fmla="*/ 1042 w 1196"/>
                <a:gd name="T55" fmla="*/ 653 h 1701"/>
                <a:gd name="T56" fmla="*/ 902 w 1196"/>
                <a:gd name="T57" fmla="*/ 592 h 1701"/>
                <a:gd name="T58" fmla="*/ 731 w 1196"/>
                <a:gd name="T59" fmla="*/ 577 h 1701"/>
                <a:gd name="T60" fmla="*/ 666 w 1196"/>
                <a:gd name="T61" fmla="*/ 445 h 1701"/>
                <a:gd name="T62" fmla="*/ 622 w 1196"/>
                <a:gd name="T63" fmla="*/ 379 h 1701"/>
                <a:gd name="T64" fmla="*/ 575 w 1196"/>
                <a:gd name="T65" fmla="*/ 357 h 1701"/>
                <a:gd name="T66" fmla="*/ 590 w 1196"/>
                <a:gd name="T67" fmla="*/ 312 h 1701"/>
                <a:gd name="T68" fmla="*/ 605 w 1196"/>
                <a:gd name="T69" fmla="*/ 238 h 1701"/>
                <a:gd name="T70" fmla="*/ 693 w 1196"/>
                <a:gd name="T71" fmla="*/ 125 h 1701"/>
                <a:gd name="T72" fmla="*/ 724 w 1196"/>
                <a:gd name="T73" fmla="*/ 106 h 1701"/>
                <a:gd name="T74" fmla="*/ 748 w 1196"/>
                <a:gd name="T75" fmla="*/ 86 h 1701"/>
                <a:gd name="T76" fmla="*/ 772 w 1196"/>
                <a:gd name="T77" fmla="*/ 24 h 1701"/>
                <a:gd name="T78" fmla="*/ 659 w 1196"/>
                <a:gd name="T79" fmla="*/ 77 h 1701"/>
                <a:gd name="T80" fmla="*/ 573 w 1196"/>
                <a:gd name="T81" fmla="*/ 128 h 1701"/>
                <a:gd name="T82" fmla="*/ 482 w 1196"/>
                <a:gd name="T83" fmla="*/ 157 h 1701"/>
                <a:gd name="T84" fmla="*/ 436 w 1196"/>
                <a:gd name="T85" fmla="*/ 150 h 1701"/>
                <a:gd name="T86" fmla="*/ 343 w 1196"/>
                <a:gd name="T87" fmla="*/ 237 h 1701"/>
                <a:gd name="T88" fmla="*/ 307 w 1196"/>
                <a:gd name="T89" fmla="*/ 332 h 1701"/>
                <a:gd name="T90" fmla="*/ 208 w 1196"/>
                <a:gd name="T91" fmla="*/ 447 h 1701"/>
                <a:gd name="T92" fmla="*/ 186 w 1196"/>
                <a:gd name="T93" fmla="*/ 452 h 1701"/>
                <a:gd name="T94" fmla="*/ 172 w 1196"/>
                <a:gd name="T95" fmla="*/ 483 h 1701"/>
                <a:gd name="T96" fmla="*/ 105 w 1196"/>
                <a:gd name="T97" fmla="*/ 549 h 1701"/>
                <a:gd name="T98" fmla="*/ 137 w 1196"/>
                <a:gd name="T99" fmla="*/ 580 h 1701"/>
                <a:gd name="T100" fmla="*/ 157 w 1196"/>
                <a:gd name="T101" fmla="*/ 657 h 1701"/>
                <a:gd name="T102" fmla="*/ 157 w 1196"/>
                <a:gd name="T103" fmla="*/ 713 h 1701"/>
                <a:gd name="T104" fmla="*/ 174 w 1196"/>
                <a:gd name="T105" fmla="*/ 868 h 1701"/>
                <a:gd name="T106" fmla="*/ 152 w 1196"/>
                <a:gd name="T107" fmla="*/ 954 h 1701"/>
                <a:gd name="T108" fmla="*/ 70 w 1196"/>
                <a:gd name="T109" fmla="*/ 1020 h 1701"/>
                <a:gd name="T110" fmla="*/ 20 w 1196"/>
                <a:gd name="T111" fmla="*/ 1084 h 1701"/>
                <a:gd name="T112" fmla="*/ 0 w 1196"/>
                <a:gd name="T113" fmla="*/ 1126 h 1701"/>
                <a:gd name="T114" fmla="*/ 123 w 1196"/>
                <a:gd name="T115" fmla="*/ 1195 h 1701"/>
                <a:gd name="T116" fmla="*/ 185 w 1196"/>
                <a:gd name="T117" fmla="*/ 1241 h 1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96" h="1701">
                  <a:moveTo>
                    <a:pt x="185" y="1241"/>
                  </a:moveTo>
                  <a:cubicBezTo>
                    <a:pt x="213" y="1258"/>
                    <a:pt x="252" y="1253"/>
                    <a:pt x="261" y="1241"/>
                  </a:cubicBezTo>
                  <a:cubicBezTo>
                    <a:pt x="271" y="1230"/>
                    <a:pt x="296" y="1255"/>
                    <a:pt x="333" y="1297"/>
                  </a:cubicBezTo>
                  <a:cubicBezTo>
                    <a:pt x="335" y="1299"/>
                    <a:pt x="336" y="1300"/>
                    <a:pt x="337" y="1302"/>
                  </a:cubicBezTo>
                  <a:cubicBezTo>
                    <a:pt x="368" y="1295"/>
                    <a:pt x="408" y="1289"/>
                    <a:pt x="423" y="1299"/>
                  </a:cubicBezTo>
                  <a:cubicBezTo>
                    <a:pt x="451" y="1316"/>
                    <a:pt x="444" y="1379"/>
                    <a:pt x="482" y="1382"/>
                  </a:cubicBezTo>
                  <a:cubicBezTo>
                    <a:pt x="521" y="1386"/>
                    <a:pt x="548" y="1424"/>
                    <a:pt x="545" y="1445"/>
                  </a:cubicBezTo>
                  <a:cubicBezTo>
                    <a:pt x="541" y="1466"/>
                    <a:pt x="587" y="1476"/>
                    <a:pt x="583" y="1508"/>
                  </a:cubicBezTo>
                  <a:cubicBezTo>
                    <a:pt x="580" y="1539"/>
                    <a:pt x="684" y="1532"/>
                    <a:pt x="698" y="1521"/>
                  </a:cubicBezTo>
                  <a:cubicBezTo>
                    <a:pt x="712" y="1511"/>
                    <a:pt x="739" y="1504"/>
                    <a:pt x="757" y="1514"/>
                  </a:cubicBezTo>
                  <a:cubicBezTo>
                    <a:pt x="774" y="1525"/>
                    <a:pt x="805" y="1504"/>
                    <a:pt x="823" y="1511"/>
                  </a:cubicBezTo>
                  <a:cubicBezTo>
                    <a:pt x="840" y="1518"/>
                    <a:pt x="910" y="1546"/>
                    <a:pt x="896" y="1570"/>
                  </a:cubicBezTo>
                  <a:cubicBezTo>
                    <a:pt x="882" y="1594"/>
                    <a:pt x="833" y="1633"/>
                    <a:pt x="844" y="1654"/>
                  </a:cubicBezTo>
                  <a:cubicBezTo>
                    <a:pt x="852" y="1670"/>
                    <a:pt x="888" y="1680"/>
                    <a:pt x="903" y="1701"/>
                  </a:cubicBezTo>
                  <a:cubicBezTo>
                    <a:pt x="905" y="1701"/>
                    <a:pt x="906" y="1701"/>
                    <a:pt x="908" y="1700"/>
                  </a:cubicBezTo>
                  <a:cubicBezTo>
                    <a:pt x="935" y="1695"/>
                    <a:pt x="946" y="1594"/>
                    <a:pt x="946" y="1565"/>
                  </a:cubicBezTo>
                  <a:cubicBezTo>
                    <a:pt x="946" y="1535"/>
                    <a:pt x="958" y="1459"/>
                    <a:pt x="967" y="1429"/>
                  </a:cubicBezTo>
                  <a:cubicBezTo>
                    <a:pt x="983" y="1371"/>
                    <a:pt x="903" y="1330"/>
                    <a:pt x="903" y="1267"/>
                  </a:cubicBezTo>
                  <a:cubicBezTo>
                    <a:pt x="903" y="1204"/>
                    <a:pt x="935" y="1239"/>
                    <a:pt x="971" y="1213"/>
                  </a:cubicBezTo>
                  <a:cubicBezTo>
                    <a:pt x="1007" y="1187"/>
                    <a:pt x="969" y="1176"/>
                    <a:pt x="951" y="1172"/>
                  </a:cubicBezTo>
                  <a:cubicBezTo>
                    <a:pt x="933" y="1168"/>
                    <a:pt x="919" y="1136"/>
                    <a:pt x="925" y="1117"/>
                  </a:cubicBezTo>
                  <a:cubicBezTo>
                    <a:pt x="931" y="1098"/>
                    <a:pt x="1041" y="1106"/>
                    <a:pt x="1076" y="1106"/>
                  </a:cubicBezTo>
                  <a:cubicBezTo>
                    <a:pt x="1110" y="1106"/>
                    <a:pt x="1186" y="1074"/>
                    <a:pt x="1187" y="1069"/>
                  </a:cubicBezTo>
                  <a:cubicBezTo>
                    <a:pt x="1188" y="1064"/>
                    <a:pt x="1196" y="1039"/>
                    <a:pt x="1169" y="1018"/>
                  </a:cubicBezTo>
                  <a:cubicBezTo>
                    <a:pt x="1142" y="997"/>
                    <a:pt x="1152" y="967"/>
                    <a:pt x="1173" y="943"/>
                  </a:cubicBezTo>
                  <a:cubicBezTo>
                    <a:pt x="1194" y="919"/>
                    <a:pt x="1160" y="895"/>
                    <a:pt x="1134" y="867"/>
                  </a:cubicBezTo>
                  <a:cubicBezTo>
                    <a:pt x="1109" y="838"/>
                    <a:pt x="1128" y="733"/>
                    <a:pt x="1158" y="684"/>
                  </a:cubicBezTo>
                  <a:cubicBezTo>
                    <a:pt x="1188" y="635"/>
                    <a:pt x="1097" y="646"/>
                    <a:pt x="1042" y="653"/>
                  </a:cubicBezTo>
                  <a:cubicBezTo>
                    <a:pt x="986" y="660"/>
                    <a:pt x="938" y="638"/>
                    <a:pt x="902" y="592"/>
                  </a:cubicBezTo>
                  <a:cubicBezTo>
                    <a:pt x="866" y="546"/>
                    <a:pt x="817" y="575"/>
                    <a:pt x="731" y="577"/>
                  </a:cubicBezTo>
                  <a:cubicBezTo>
                    <a:pt x="645" y="579"/>
                    <a:pt x="662" y="482"/>
                    <a:pt x="666" y="445"/>
                  </a:cubicBezTo>
                  <a:cubicBezTo>
                    <a:pt x="670" y="408"/>
                    <a:pt x="622" y="403"/>
                    <a:pt x="622" y="379"/>
                  </a:cubicBezTo>
                  <a:cubicBezTo>
                    <a:pt x="622" y="356"/>
                    <a:pt x="597" y="356"/>
                    <a:pt x="575" y="357"/>
                  </a:cubicBezTo>
                  <a:cubicBezTo>
                    <a:pt x="553" y="359"/>
                    <a:pt x="575" y="331"/>
                    <a:pt x="590" y="312"/>
                  </a:cubicBezTo>
                  <a:cubicBezTo>
                    <a:pt x="605" y="293"/>
                    <a:pt x="604" y="278"/>
                    <a:pt x="605" y="238"/>
                  </a:cubicBezTo>
                  <a:cubicBezTo>
                    <a:pt x="606" y="198"/>
                    <a:pt x="664" y="164"/>
                    <a:pt x="693" y="125"/>
                  </a:cubicBezTo>
                  <a:cubicBezTo>
                    <a:pt x="700" y="115"/>
                    <a:pt x="711" y="109"/>
                    <a:pt x="724" y="106"/>
                  </a:cubicBezTo>
                  <a:cubicBezTo>
                    <a:pt x="727" y="96"/>
                    <a:pt x="734" y="89"/>
                    <a:pt x="748" y="86"/>
                  </a:cubicBezTo>
                  <a:cubicBezTo>
                    <a:pt x="792" y="77"/>
                    <a:pt x="814" y="48"/>
                    <a:pt x="772" y="24"/>
                  </a:cubicBezTo>
                  <a:cubicBezTo>
                    <a:pt x="730" y="0"/>
                    <a:pt x="706" y="71"/>
                    <a:pt x="659" y="77"/>
                  </a:cubicBezTo>
                  <a:cubicBezTo>
                    <a:pt x="613" y="84"/>
                    <a:pt x="604" y="113"/>
                    <a:pt x="573" y="128"/>
                  </a:cubicBezTo>
                  <a:cubicBezTo>
                    <a:pt x="542" y="144"/>
                    <a:pt x="484" y="130"/>
                    <a:pt x="482" y="157"/>
                  </a:cubicBezTo>
                  <a:cubicBezTo>
                    <a:pt x="480" y="186"/>
                    <a:pt x="462" y="157"/>
                    <a:pt x="436" y="150"/>
                  </a:cubicBezTo>
                  <a:cubicBezTo>
                    <a:pt x="409" y="144"/>
                    <a:pt x="340" y="203"/>
                    <a:pt x="343" y="237"/>
                  </a:cubicBezTo>
                  <a:cubicBezTo>
                    <a:pt x="345" y="270"/>
                    <a:pt x="356" y="301"/>
                    <a:pt x="307" y="332"/>
                  </a:cubicBezTo>
                  <a:cubicBezTo>
                    <a:pt x="259" y="363"/>
                    <a:pt x="230" y="420"/>
                    <a:pt x="208" y="447"/>
                  </a:cubicBezTo>
                  <a:cubicBezTo>
                    <a:pt x="201" y="455"/>
                    <a:pt x="194" y="456"/>
                    <a:pt x="186" y="452"/>
                  </a:cubicBezTo>
                  <a:cubicBezTo>
                    <a:pt x="183" y="467"/>
                    <a:pt x="179" y="478"/>
                    <a:pt x="172" y="483"/>
                  </a:cubicBezTo>
                  <a:cubicBezTo>
                    <a:pt x="160" y="492"/>
                    <a:pt x="130" y="522"/>
                    <a:pt x="105" y="549"/>
                  </a:cubicBezTo>
                  <a:cubicBezTo>
                    <a:pt x="117" y="560"/>
                    <a:pt x="129" y="571"/>
                    <a:pt x="137" y="580"/>
                  </a:cubicBezTo>
                  <a:cubicBezTo>
                    <a:pt x="168" y="613"/>
                    <a:pt x="148" y="639"/>
                    <a:pt x="157" y="657"/>
                  </a:cubicBezTo>
                  <a:cubicBezTo>
                    <a:pt x="166" y="675"/>
                    <a:pt x="174" y="701"/>
                    <a:pt x="157" y="713"/>
                  </a:cubicBezTo>
                  <a:cubicBezTo>
                    <a:pt x="139" y="724"/>
                    <a:pt x="155" y="845"/>
                    <a:pt x="174" y="868"/>
                  </a:cubicBezTo>
                  <a:cubicBezTo>
                    <a:pt x="194" y="890"/>
                    <a:pt x="174" y="910"/>
                    <a:pt x="152" y="954"/>
                  </a:cubicBezTo>
                  <a:cubicBezTo>
                    <a:pt x="130" y="998"/>
                    <a:pt x="110" y="1018"/>
                    <a:pt x="70" y="1020"/>
                  </a:cubicBezTo>
                  <a:cubicBezTo>
                    <a:pt x="31" y="1022"/>
                    <a:pt x="33" y="1084"/>
                    <a:pt x="20" y="1084"/>
                  </a:cubicBezTo>
                  <a:cubicBezTo>
                    <a:pt x="9" y="1084"/>
                    <a:pt x="1" y="1107"/>
                    <a:pt x="0" y="1126"/>
                  </a:cubicBezTo>
                  <a:cubicBezTo>
                    <a:pt x="37" y="1157"/>
                    <a:pt x="104" y="1195"/>
                    <a:pt x="123" y="1195"/>
                  </a:cubicBezTo>
                  <a:cubicBezTo>
                    <a:pt x="144" y="1195"/>
                    <a:pt x="158" y="1225"/>
                    <a:pt x="185" y="124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8117483" y="9320914"/>
              <a:ext cx="618215" cy="703658"/>
            </a:xfrm>
            <a:custGeom>
              <a:avLst/>
              <a:gdLst>
                <a:gd name="T0" fmla="*/ 1209 w 1224"/>
                <a:gd name="T1" fmla="*/ 833 h 1391"/>
                <a:gd name="T2" fmla="*/ 1150 w 1224"/>
                <a:gd name="T3" fmla="*/ 735 h 1391"/>
                <a:gd name="T4" fmla="*/ 1068 w 1224"/>
                <a:gd name="T5" fmla="*/ 685 h 1391"/>
                <a:gd name="T6" fmla="*/ 959 w 1224"/>
                <a:gd name="T7" fmla="*/ 635 h 1391"/>
                <a:gd name="T8" fmla="*/ 947 w 1224"/>
                <a:gd name="T9" fmla="*/ 552 h 1391"/>
                <a:gd name="T10" fmla="*/ 932 w 1224"/>
                <a:gd name="T11" fmla="*/ 476 h 1391"/>
                <a:gd name="T12" fmla="*/ 894 w 1224"/>
                <a:gd name="T13" fmla="*/ 408 h 1391"/>
                <a:gd name="T14" fmla="*/ 784 w 1224"/>
                <a:gd name="T15" fmla="*/ 384 h 1391"/>
                <a:gd name="T16" fmla="*/ 702 w 1224"/>
                <a:gd name="T17" fmla="*/ 346 h 1391"/>
                <a:gd name="T18" fmla="*/ 660 w 1224"/>
                <a:gd name="T19" fmla="*/ 310 h 1391"/>
                <a:gd name="T20" fmla="*/ 590 w 1224"/>
                <a:gd name="T21" fmla="*/ 296 h 1391"/>
                <a:gd name="T22" fmla="*/ 472 w 1224"/>
                <a:gd name="T23" fmla="*/ 225 h 1391"/>
                <a:gd name="T24" fmla="*/ 439 w 1224"/>
                <a:gd name="T25" fmla="*/ 30 h 1391"/>
                <a:gd name="T26" fmla="*/ 345 w 1224"/>
                <a:gd name="T27" fmla="*/ 24 h 1391"/>
                <a:gd name="T28" fmla="*/ 227 w 1224"/>
                <a:gd name="T29" fmla="*/ 77 h 1391"/>
                <a:gd name="T30" fmla="*/ 141 w 1224"/>
                <a:gd name="T31" fmla="*/ 121 h 1391"/>
                <a:gd name="T32" fmla="*/ 56 w 1224"/>
                <a:gd name="T33" fmla="*/ 142 h 1391"/>
                <a:gd name="T34" fmla="*/ 22 w 1224"/>
                <a:gd name="T35" fmla="*/ 135 h 1391"/>
                <a:gd name="T36" fmla="*/ 91 w 1224"/>
                <a:gd name="T37" fmla="*/ 275 h 1391"/>
                <a:gd name="T38" fmla="*/ 64 w 1224"/>
                <a:gd name="T39" fmla="*/ 328 h 1391"/>
                <a:gd name="T40" fmla="*/ 73 w 1224"/>
                <a:gd name="T41" fmla="*/ 470 h 1391"/>
                <a:gd name="T42" fmla="*/ 50 w 1224"/>
                <a:gd name="T43" fmla="*/ 552 h 1391"/>
                <a:gd name="T44" fmla="*/ 26 w 1224"/>
                <a:gd name="T45" fmla="*/ 638 h 1391"/>
                <a:gd name="T46" fmla="*/ 64 w 1224"/>
                <a:gd name="T47" fmla="*/ 685 h 1391"/>
                <a:gd name="T48" fmla="*/ 11 w 1224"/>
                <a:gd name="T49" fmla="*/ 765 h 1391"/>
                <a:gd name="T50" fmla="*/ 3 w 1224"/>
                <a:gd name="T51" fmla="*/ 806 h 1391"/>
                <a:gd name="T52" fmla="*/ 44 w 1224"/>
                <a:gd name="T53" fmla="*/ 853 h 1391"/>
                <a:gd name="T54" fmla="*/ 67 w 1224"/>
                <a:gd name="T55" fmla="*/ 960 h 1391"/>
                <a:gd name="T56" fmla="*/ 109 w 1224"/>
                <a:gd name="T57" fmla="*/ 1016 h 1391"/>
                <a:gd name="T58" fmla="*/ 88 w 1224"/>
                <a:gd name="T59" fmla="*/ 1087 h 1391"/>
                <a:gd name="T60" fmla="*/ 123 w 1224"/>
                <a:gd name="T61" fmla="*/ 1169 h 1391"/>
                <a:gd name="T62" fmla="*/ 159 w 1224"/>
                <a:gd name="T63" fmla="*/ 1261 h 1391"/>
                <a:gd name="T64" fmla="*/ 182 w 1224"/>
                <a:gd name="T65" fmla="*/ 1370 h 1391"/>
                <a:gd name="T66" fmla="*/ 318 w 1224"/>
                <a:gd name="T67" fmla="*/ 1290 h 1391"/>
                <a:gd name="T68" fmla="*/ 407 w 1224"/>
                <a:gd name="T69" fmla="*/ 1287 h 1391"/>
                <a:gd name="T70" fmla="*/ 522 w 1224"/>
                <a:gd name="T71" fmla="*/ 1334 h 1391"/>
                <a:gd name="T72" fmla="*/ 581 w 1224"/>
                <a:gd name="T73" fmla="*/ 1275 h 1391"/>
                <a:gd name="T74" fmla="*/ 714 w 1224"/>
                <a:gd name="T75" fmla="*/ 1275 h 1391"/>
                <a:gd name="T76" fmla="*/ 743 w 1224"/>
                <a:gd name="T77" fmla="*/ 1122 h 1391"/>
                <a:gd name="T78" fmla="*/ 820 w 1224"/>
                <a:gd name="T79" fmla="*/ 1028 h 1391"/>
                <a:gd name="T80" fmla="*/ 941 w 1224"/>
                <a:gd name="T81" fmla="*/ 1007 h 1391"/>
                <a:gd name="T82" fmla="*/ 1056 w 1224"/>
                <a:gd name="T83" fmla="*/ 995 h 1391"/>
                <a:gd name="T84" fmla="*/ 1150 w 1224"/>
                <a:gd name="T85" fmla="*/ 1036 h 1391"/>
                <a:gd name="T86" fmla="*/ 1198 w 1224"/>
                <a:gd name="T87" fmla="*/ 963 h 1391"/>
                <a:gd name="T88" fmla="*/ 1209 w 1224"/>
                <a:gd name="T89" fmla="*/ 833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24" h="1391">
                  <a:moveTo>
                    <a:pt x="1209" y="833"/>
                  </a:moveTo>
                  <a:cubicBezTo>
                    <a:pt x="1195" y="788"/>
                    <a:pt x="1150" y="783"/>
                    <a:pt x="1150" y="735"/>
                  </a:cubicBezTo>
                  <a:cubicBezTo>
                    <a:pt x="1150" y="688"/>
                    <a:pt x="1133" y="682"/>
                    <a:pt x="1068" y="685"/>
                  </a:cubicBezTo>
                  <a:cubicBezTo>
                    <a:pt x="1003" y="688"/>
                    <a:pt x="962" y="673"/>
                    <a:pt x="959" y="635"/>
                  </a:cubicBezTo>
                  <a:cubicBezTo>
                    <a:pt x="956" y="597"/>
                    <a:pt x="917" y="567"/>
                    <a:pt x="947" y="552"/>
                  </a:cubicBezTo>
                  <a:cubicBezTo>
                    <a:pt x="976" y="538"/>
                    <a:pt x="926" y="511"/>
                    <a:pt x="932" y="476"/>
                  </a:cubicBezTo>
                  <a:cubicBezTo>
                    <a:pt x="938" y="440"/>
                    <a:pt x="914" y="425"/>
                    <a:pt x="894" y="408"/>
                  </a:cubicBezTo>
                  <a:cubicBezTo>
                    <a:pt x="873" y="390"/>
                    <a:pt x="784" y="417"/>
                    <a:pt x="784" y="384"/>
                  </a:cubicBezTo>
                  <a:cubicBezTo>
                    <a:pt x="784" y="352"/>
                    <a:pt x="731" y="346"/>
                    <a:pt x="702" y="346"/>
                  </a:cubicBezTo>
                  <a:cubicBezTo>
                    <a:pt x="672" y="346"/>
                    <a:pt x="693" y="307"/>
                    <a:pt x="660" y="310"/>
                  </a:cubicBezTo>
                  <a:cubicBezTo>
                    <a:pt x="628" y="313"/>
                    <a:pt x="634" y="290"/>
                    <a:pt x="590" y="296"/>
                  </a:cubicBezTo>
                  <a:cubicBezTo>
                    <a:pt x="545" y="301"/>
                    <a:pt x="519" y="281"/>
                    <a:pt x="472" y="225"/>
                  </a:cubicBezTo>
                  <a:cubicBezTo>
                    <a:pt x="424" y="169"/>
                    <a:pt x="430" y="59"/>
                    <a:pt x="439" y="30"/>
                  </a:cubicBezTo>
                  <a:cubicBezTo>
                    <a:pt x="448" y="0"/>
                    <a:pt x="383" y="24"/>
                    <a:pt x="345" y="24"/>
                  </a:cubicBezTo>
                  <a:cubicBezTo>
                    <a:pt x="306" y="24"/>
                    <a:pt x="268" y="54"/>
                    <a:pt x="227" y="77"/>
                  </a:cubicBezTo>
                  <a:cubicBezTo>
                    <a:pt x="185" y="101"/>
                    <a:pt x="162" y="101"/>
                    <a:pt x="141" y="121"/>
                  </a:cubicBezTo>
                  <a:cubicBezTo>
                    <a:pt x="120" y="142"/>
                    <a:pt x="88" y="154"/>
                    <a:pt x="56" y="142"/>
                  </a:cubicBezTo>
                  <a:cubicBezTo>
                    <a:pt x="46" y="139"/>
                    <a:pt x="35" y="136"/>
                    <a:pt x="22" y="135"/>
                  </a:cubicBezTo>
                  <a:cubicBezTo>
                    <a:pt x="40" y="178"/>
                    <a:pt x="82" y="249"/>
                    <a:pt x="91" y="275"/>
                  </a:cubicBezTo>
                  <a:cubicBezTo>
                    <a:pt x="103" y="307"/>
                    <a:pt x="76" y="316"/>
                    <a:pt x="64" y="328"/>
                  </a:cubicBezTo>
                  <a:cubicBezTo>
                    <a:pt x="53" y="340"/>
                    <a:pt x="70" y="446"/>
                    <a:pt x="73" y="470"/>
                  </a:cubicBezTo>
                  <a:cubicBezTo>
                    <a:pt x="76" y="493"/>
                    <a:pt x="32" y="538"/>
                    <a:pt x="50" y="552"/>
                  </a:cubicBezTo>
                  <a:cubicBezTo>
                    <a:pt x="67" y="567"/>
                    <a:pt x="26" y="611"/>
                    <a:pt x="26" y="638"/>
                  </a:cubicBezTo>
                  <a:cubicBezTo>
                    <a:pt x="26" y="665"/>
                    <a:pt x="64" y="665"/>
                    <a:pt x="64" y="685"/>
                  </a:cubicBezTo>
                  <a:cubicBezTo>
                    <a:pt x="64" y="706"/>
                    <a:pt x="32" y="753"/>
                    <a:pt x="11" y="765"/>
                  </a:cubicBezTo>
                  <a:cubicBezTo>
                    <a:pt x="0" y="771"/>
                    <a:pt x="0" y="788"/>
                    <a:pt x="3" y="806"/>
                  </a:cubicBezTo>
                  <a:cubicBezTo>
                    <a:pt x="9" y="804"/>
                    <a:pt x="13" y="831"/>
                    <a:pt x="44" y="853"/>
                  </a:cubicBezTo>
                  <a:cubicBezTo>
                    <a:pt x="79" y="880"/>
                    <a:pt x="38" y="924"/>
                    <a:pt x="67" y="960"/>
                  </a:cubicBezTo>
                  <a:cubicBezTo>
                    <a:pt x="97" y="995"/>
                    <a:pt x="129" y="998"/>
                    <a:pt x="109" y="1016"/>
                  </a:cubicBezTo>
                  <a:cubicBezTo>
                    <a:pt x="88" y="1034"/>
                    <a:pt x="112" y="1069"/>
                    <a:pt x="88" y="1087"/>
                  </a:cubicBezTo>
                  <a:cubicBezTo>
                    <a:pt x="64" y="1104"/>
                    <a:pt x="97" y="1157"/>
                    <a:pt x="123" y="1169"/>
                  </a:cubicBezTo>
                  <a:cubicBezTo>
                    <a:pt x="150" y="1181"/>
                    <a:pt x="132" y="1234"/>
                    <a:pt x="159" y="1261"/>
                  </a:cubicBezTo>
                  <a:cubicBezTo>
                    <a:pt x="185" y="1287"/>
                    <a:pt x="173" y="1349"/>
                    <a:pt x="182" y="1370"/>
                  </a:cubicBezTo>
                  <a:cubicBezTo>
                    <a:pt x="191" y="1391"/>
                    <a:pt x="271" y="1340"/>
                    <a:pt x="318" y="1290"/>
                  </a:cubicBezTo>
                  <a:cubicBezTo>
                    <a:pt x="365" y="1240"/>
                    <a:pt x="362" y="1281"/>
                    <a:pt x="407" y="1287"/>
                  </a:cubicBezTo>
                  <a:cubicBezTo>
                    <a:pt x="451" y="1293"/>
                    <a:pt x="501" y="1293"/>
                    <a:pt x="522" y="1334"/>
                  </a:cubicBezTo>
                  <a:cubicBezTo>
                    <a:pt x="542" y="1376"/>
                    <a:pt x="566" y="1293"/>
                    <a:pt x="581" y="1275"/>
                  </a:cubicBezTo>
                  <a:cubicBezTo>
                    <a:pt x="596" y="1258"/>
                    <a:pt x="696" y="1281"/>
                    <a:pt x="714" y="1275"/>
                  </a:cubicBezTo>
                  <a:cubicBezTo>
                    <a:pt x="731" y="1270"/>
                    <a:pt x="746" y="1143"/>
                    <a:pt x="743" y="1122"/>
                  </a:cubicBezTo>
                  <a:cubicBezTo>
                    <a:pt x="740" y="1101"/>
                    <a:pt x="784" y="1051"/>
                    <a:pt x="820" y="1028"/>
                  </a:cubicBezTo>
                  <a:cubicBezTo>
                    <a:pt x="855" y="1004"/>
                    <a:pt x="911" y="1022"/>
                    <a:pt x="941" y="1007"/>
                  </a:cubicBezTo>
                  <a:cubicBezTo>
                    <a:pt x="970" y="992"/>
                    <a:pt x="1015" y="995"/>
                    <a:pt x="1056" y="995"/>
                  </a:cubicBezTo>
                  <a:cubicBezTo>
                    <a:pt x="1097" y="995"/>
                    <a:pt x="1127" y="1036"/>
                    <a:pt x="1150" y="1036"/>
                  </a:cubicBezTo>
                  <a:cubicBezTo>
                    <a:pt x="1174" y="1036"/>
                    <a:pt x="1204" y="998"/>
                    <a:pt x="1198" y="963"/>
                  </a:cubicBezTo>
                  <a:cubicBezTo>
                    <a:pt x="1192" y="927"/>
                    <a:pt x="1224" y="877"/>
                    <a:pt x="1209" y="83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7516023" y="8833379"/>
              <a:ext cx="653397" cy="944913"/>
            </a:xfrm>
            <a:custGeom>
              <a:avLst/>
              <a:gdLst>
                <a:gd name="T0" fmla="*/ 1188 w 1292"/>
                <a:gd name="T1" fmla="*/ 1775 h 1871"/>
                <a:gd name="T2" fmla="*/ 1192 w 1292"/>
                <a:gd name="T3" fmla="*/ 1772 h 1871"/>
                <a:gd name="T4" fmla="*/ 1200 w 1292"/>
                <a:gd name="T5" fmla="*/ 1731 h 1871"/>
                <a:gd name="T6" fmla="*/ 1253 w 1292"/>
                <a:gd name="T7" fmla="*/ 1651 h 1871"/>
                <a:gd name="T8" fmla="*/ 1215 w 1292"/>
                <a:gd name="T9" fmla="*/ 1604 h 1871"/>
                <a:gd name="T10" fmla="*/ 1239 w 1292"/>
                <a:gd name="T11" fmla="*/ 1518 h 1871"/>
                <a:gd name="T12" fmla="*/ 1262 w 1292"/>
                <a:gd name="T13" fmla="*/ 1436 h 1871"/>
                <a:gd name="T14" fmla="*/ 1253 w 1292"/>
                <a:gd name="T15" fmla="*/ 1294 h 1871"/>
                <a:gd name="T16" fmla="*/ 1280 w 1292"/>
                <a:gd name="T17" fmla="*/ 1241 h 1871"/>
                <a:gd name="T18" fmla="*/ 1211 w 1292"/>
                <a:gd name="T19" fmla="*/ 1101 h 1871"/>
                <a:gd name="T20" fmla="*/ 1115 w 1292"/>
                <a:gd name="T21" fmla="*/ 1105 h 1871"/>
                <a:gd name="T22" fmla="*/ 1091 w 1292"/>
                <a:gd name="T23" fmla="*/ 975 h 1871"/>
                <a:gd name="T24" fmla="*/ 1047 w 1292"/>
                <a:gd name="T25" fmla="*/ 984 h 1871"/>
                <a:gd name="T26" fmla="*/ 940 w 1292"/>
                <a:gd name="T27" fmla="*/ 999 h 1871"/>
                <a:gd name="T28" fmla="*/ 887 w 1292"/>
                <a:gd name="T29" fmla="*/ 943 h 1871"/>
                <a:gd name="T30" fmla="*/ 837 w 1292"/>
                <a:gd name="T31" fmla="*/ 904 h 1871"/>
                <a:gd name="T32" fmla="*/ 796 w 1292"/>
                <a:gd name="T33" fmla="*/ 819 h 1871"/>
                <a:gd name="T34" fmla="*/ 769 w 1292"/>
                <a:gd name="T35" fmla="*/ 733 h 1871"/>
                <a:gd name="T36" fmla="*/ 784 w 1292"/>
                <a:gd name="T37" fmla="*/ 668 h 1871"/>
                <a:gd name="T38" fmla="*/ 828 w 1292"/>
                <a:gd name="T39" fmla="*/ 615 h 1871"/>
                <a:gd name="T40" fmla="*/ 861 w 1292"/>
                <a:gd name="T41" fmla="*/ 521 h 1871"/>
                <a:gd name="T42" fmla="*/ 949 w 1292"/>
                <a:gd name="T43" fmla="*/ 462 h 1871"/>
                <a:gd name="T44" fmla="*/ 1070 w 1292"/>
                <a:gd name="T45" fmla="*/ 417 h 1871"/>
                <a:gd name="T46" fmla="*/ 1151 w 1292"/>
                <a:gd name="T47" fmla="*/ 412 h 1871"/>
                <a:gd name="T48" fmla="*/ 1092 w 1292"/>
                <a:gd name="T49" fmla="*/ 365 h 1871"/>
                <a:gd name="T50" fmla="*/ 1144 w 1292"/>
                <a:gd name="T51" fmla="*/ 281 h 1871"/>
                <a:gd name="T52" fmla="*/ 1071 w 1292"/>
                <a:gd name="T53" fmla="*/ 222 h 1871"/>
                <a:gd name="T54" fmla="*/ 1005 w 1292"/>
                <a:gd name="T55" fmla="*/ 225 h 1871"/>
                <a:gd name="T56" fmla="*/ 946 w 1292"/>
                <a:gd name="T57" fmla="*/ 232 h 1871"/>
                <a:gd name="T58" fmla="*/ 831 w 1292"/>
                <a:gd name="T59" fmla="*/ 219 h 1871"/>
                <a:gd name="T60" fmla="*/ 793 w 1292"/>
                <a:gd name="T61" fmla="*/ 156 h 1871"/>
                <a:gd name="T62" fmla="*/ 730 w 1292"/>
                <a:gd name="T63" fmla="*/ 93 h 1871"/>
                <a:gd name="T64" fmla="*/ 671 w 1292"/>
                <a:gd name="T65" fmla="*/ 10 h 1871"/>
                <a:gd name="T66" fmla="*/ 585 w 1292"/>
                <a:gd name="T67" fmla="*/ 13 h 1871"/>
                <a:gd name="T68" fmla="*/ 609 w 1292"/>
                <a:gd name="T69" fmla="*/ 84 h 1871"/>
                <a:gd name="T70" fmla="*/ 553 w 1292"/>
                <a:gd name="T71" fmla="*/ 185 h 1871"/>
                <a:gd name="T72" fmla="*/ 357 w 1292"/>
                <a:gd name="T73" fmla="*/ 292 h 1871"/>
                <a:gd name="T74" fmla="*/ 267 w 1292"/>
                <a:gd name="T75" fmla="*/ 451 h 1871"/>
                <a:gd name="T76" fmla="*/ 196 w 1292"/>
                <a:gd name="T77" fmla="*/ 455 h 1871"/>
                <a:gd name="T78" fmla="*/ 119 w 1292"/>
                <a:gd name="T79" fmla="*/ 435 h 1871"/>
                <a:gd name="T80" fmla="*/ 119 w 1292"/>
                <a:gd name="T81" fmla="*/ 384 h 1871"/>
                <a:gd name="T82" fmla="*/ 100 w 1292"/>
                <a:gd name="T83" fmla="*/ 333 h 1871"/>
                <a:gd name="T84" fmla="*/ 17 w 1292"/>
                <a:gd name="T85" fmla="*/ 420 h 1871"/>
                <a:gd name="T86" fmla="*/ 55 w 1292"/>
                <a:gd name="T87" fmla="*/ 557 h 1871"/>
                <a:gd name="T88" fmla="*/ 24 w 1292"/>
                <a:gd name="T89" fmla="*/ 583 h 1871"/>
                <a:gd name="T90" fmla="*/ 132 w 1292"/>
                <a:gd name="T91" fmla="*/ 670 h 1871"/>
                <a:gd name="T92" fmla="*/ 232 w 1292"/>
                <a:gd name="T93" fmla="*/ 807 h 1871"/>
                <a:gd name="T94" fmla="*/ 303 w 1292"/>
                <a:gd name="T95" fmla="*/ 960 h 1871"/>
                <a:gd name="T96" fmla="*/ 458 w 1292"/>
                <a:gd name="T97" fmla="*/ 1254 h 1871"/>
                <a:gd name="T98" fmla="*/ 518 w 1292"/>
                <a:gd name="T99" fmla="*/ 1383 h 1871"/>
                <a:gd name="T100" fmla="*/ 555 w 1292"/>
                <a:gd name="T101" fmla="*/ 1473 h 1871"/>
                <a:gd name="T102" fmla="*/ 712 w 1292"/>
                <a:gd name="T103" fmla="*/ 1584 h 1871"/>
                <a:gd name="T104" fmla="*/ 1000 w 1292"/>
                <a:gd name="T105" fmla="*/ 1761 h 1871"/>
                <a:gd name="T106" fmla="*/ 1120 w 1292"/>
                <a:gd name="T107" fmla="*/ 1852 h 1871"/>
                <a:gd name="T108" fmla="*/ 1125 w 1292"/>
                <a:gd name="T109" fmla="*/ 1871 h 1871"/>
                <a:gd name="T110" fmla="*/ 1147 w 1292"/>
                <a:gd name="T111" fmla="*/ 1855 h 1871"/>
                <a:gd name="T112" fmla="*/ 1188 w 1292"/>
                <a:gd name="T113" fmla="*/ 1775 h 18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92" h="1871">
                  <a:moveTo>
                    <a:pt x="1188" y="1775"/>
                  </a:moveTo>
                  <a:cubicBezTo>
                    <a:pt x="1190" y="1773"/>
                    <a:pt x="1191" y="1772"/>
                    <a:pt x="1192" y="1772"/>
                  </a:cubicBezTo>
                  <a:cubicBezTo>
                    <a:pt x="1189" y="1754"/>
                    <a:pt x="1189" y="1737"/>
                    <a:pt x="1200" y="1731"/>
                  </a:cubicBezTo>
                  <a:cubicBezTo>
                    <a:pt x="1221" y="1719"/>
                    <a:pt x="1253" y="1672"/>
                    <a:pt x="1253" y="1651"/>
                  </a:cubicBezTo>
                  <a:cubicBezTo>
                    <a:pt x="1253" y="1631"/>
                    <a:pt x="1215" y="1631"/>
                    <a:pt x="1215" y="1604"/>
                  </a:cubicBezTo>
                  <a:cubicBezTo>
                    <a:pt x="1215" y="1577"/>
                    <a:pt x="1256" y="1533"/>
                    <a:pt x="1239" y="1518"/>
                  </a:cubicBezTo>
                  <a:cubicBezTo>
                    <a:pt x="1221" y="1504"/>
                    <a:pt x="1265" y="1459"/>
                    <a:pt x="1262" y="1436"/>
                  </a:cubicBezTo>
                  <a:cubicBezTo>
                    <a:pt x="1259" y="1412"/>
                    <a:pt x="1242" y="1306"/>
                    <a:pt x="1253" y="1294"/>
                  </a:cubicBezTo>
                  <a:cubicBezTo>
                    <a:pt x="1265" y="1282"/>
                    <a:pt x="1292" y="1273"/>
                    <a:pt x="1280" y="1241"/>
                  </a:cubicBezTo>
                  <a:cubicBezTo>
                    <a:pt x="1271" y="1215"/>
                    <a:pt x="1229" y="1144"/>
                    <a:pt x="1211" y="1101"/>
                  </a:cubicBezTo>
                  <a:cubicBezTo>
                    <a:pt x="1178" y="1096"/>
                    <a:pt x="1138" y="1097"/>
                    <a:pt x="1115" y="1105"/>
                  </a:cubicBezTo>
                  <a:cubicBezTo>
                    <a:pt x="1082" y="1117"/>
                    <a:pt x="1091" y="1014"/>
                    <a:pt x="1091" y="975"/>
                  </a:cubicBezTo>
                  <a:cubicBezTo>
                    <a:pt x="1091" y="937"/>
                    <a:pt x="1059" y="958"/>
                    <a:pt x="1047" y="984"/>
                  </a:cubicBezTo>
                  <a:cubicBezTo>
                    <a:pt x="1035" y="1011"/>
                    <a:pt x="988" y="999"/>
                    <a:pt x="940" y="999"/>
                  </a:cubicBezTo>
                  <a:cubicBezTo>
                    <a:pt x="893" y="999"/>
                    <a:pt x="917" y="940"/>
                    <a:pt x="887" y="943"/>
                  </a:cubicBezTo>
                  <a:cubicBezTo>
                    <a:pt x="858" y="946"/>
                    <a:pt x="834" y="934"/>
                    <a:pt x="837" y="904"/>
                  </a:cubicBezTo>
                  <a:cubicBezTo>
                    <a:pt x="840" y="875"/>
                    <a:pt x="816" y="851"/>
                    <a:pt x="796" y="819"/>
                  </a:cubicBezTo>
                  <a:cubicBezTo>
                    <a:pt x="775" y="786"/>
                    <a:pt x="752" y="754"/>
                    <a:pt x="769" y="733"/>
                  </a:cubicBezTo>
                  <a:cubicBezTo>
                    <a:pt x="787" y="713"/>
                    <a:pt x="758" y="695"/>
                    <a:pt x="784" y="668"/>
                  </a:cubicBezTo>
                  <a:cubicBezTo>
                    <a:pt x="811" y="642"/>
                    <a:pt x="837" y="651"/>
                    <a:pt x="828" y="615"/>
                  </a:cubicBezTo>
                  <a:cubicBezTo>
                    <a:pt x="819" y="580"/>
                    <a:pt x="858" y="559"/>
                    <a:pt x="861" y="521"/>
                  </a:cubicBezTo>
                  <a:cubicBezTo>
                    <a:pt x="864" y="482"/>
                    <a:pt x="908" y="494"/>
                    <a:pt x="949" y="462"/>
                  </a:cubicBezTo>
                  <a:cubicBezTo>
                    <a:pt x="991" y="429"/>
                    <a:pt x="1035" y="447"/>
                    <a:pt x="1070" y="417"/>
                  </a:cubicBezTo>
                  <a:cubicBezTo>
                    <a:pt x="1104" y="390"/>
                    <a:pt x="1126" y="414"/>
                    <a:pt x="1151" y="412"/>
                  </a:cubicBezTo>
                  <a:cubicBezTo>
                    <a:pt x="1136" y="391"/>
                    <a:pt x="1100" y="381"/>
                    <a:pt x="1092" y="365"/>
                  </a:cubicBezTo>
                  <a:cubicBezTo>
                    <a:pt x="1081" y="344"/>
                    <a:pt x="1130" y="305"/>
                    <a:pt x="1144" y="281"/>
                  </a:cubicBezTo>
                  <a:cubicBezTo>
                    <a:pt x="1158" y="257"/>
                    <a:pt x="1088" y="229"/>
                    <a:pt x="1071" y="222"/>
                  </a:cubicBezTo>
                  <a:cubicBezTo>
                    <a:pt x="1053" y="215"/>
                    <a:pt x="1022" y="236"/>
                    <a:pt x="1005" y="225"/>
                  </a:cubicBezTo>
                  <a:cubicBezTo>
                    <a:pt x="987" y="215"/>
                    <a:pt x="960" y="222"/>
                    <a:pt x="946" y="232"/>
                  </a:cubicBezTo>
                  <a:cubicBezTo>
                    <a:pt x="932" y="243"/>
                    <a:pt x="828" y="250"/>
                    <a:pt x="831" y="219"/>
                  </a:cubicBezTo>
                  <a:cubicBezTo>
                    <a:pt x="835" y="187"/>
                    <a:pt x="789" y="177"/>
                    <a:pt x="793" y="156"/>
                  </a:cubicBezTo>
                  <a:cubicBezTo>
                    <a:pt x="796" y="135"/>
                    <a:pt x="769" y="97"/>
                    <a:pt x="730" y="93"/>
                  </a:cubicBezTo>
                  <a:cubicBezTo>
                    <a:pt x="692" y="90"/>
                    <a:pt x="699" y="27"/>
                    <a:pt x="671" y="10"/>
                  </a:cubicBezTo>
                  <a:cubicBezTo>
                    <a:pt x="656" y="0"/>
                    <a:pt x="616" y="6"/>
                    <a:pt x="585" y="13"/>
                  </a:cubicBezTo>
                  <a:cubicBezTo>
                    <a:pt x="619" y="50"/>
                    <a:pt x="631" y="66"/>
                    <a:pt x="609" y="84"/>
                  </a:cubicBezTo>
                  <a:cubicBezTo>
                    <a:pt x="579" y="107"/>
                    <a:pt x="609" y="112"/>
                    <a:pt x="553" y="185"/>
                  </a:cubicBezTo>
                  <a:cubicBezTo>
                    <a:pt x="498" y="259"/>
                    <a:pt x="403" y="278"/>
                    <a:pt x="357" y="292"/>
                  </a:cubicBezTo>
                  <a:cubicBezTo>
                    <a:pt x="311" y="305"/>
                    <a:pt x="292" y="391"/>
                    <a:pt x="267" y="451"/>
                  </a:cubicBezTo>
                  <a:cubicBezTo>
                    <a:pt x="242" y="511"/>
                    <a:pt x="221" y="490"/>
                    <a:pt x="196" y="455"/>
                  </a:cubicBezTo>
                  <a:cubicBezTo>
                    <a:pt x="170" y="421"/>
                    <a:pt x="149" y="462"/>
                    <a:pt x="119" y="435"/>
                  </a:cubicBezTo>
                  <a:cubicBezTo>
                    <a:pt x="89" y="407"/>
                    <a:pt x="103" y="407"/>
                    <a:pt x="119" y="384"/>
                  </a:cubicBezTo>
                  <a:cubicBezTo>
                    <a:pt x="128" y="371"/>
                    <a:pt x="118" y="352"/>
                    <a:pt x="100" y="333"/>
                  </a:cubicBezTo>
                  <a:cubicBezTo>
                    <a:pt x="67" y="339"/>
                    <a:pt x="34" y="385"/>
                    <a:pt x="17" y="420"/>
                  </a:cubicBezTo>
                  <a:cubicBezTo>
                    <a:pt x="0" y="457"/>
                    <a:pt x="48" y="530"/>
                    <a:pt x="55" y="557"/>
                  </a:cubicBezTo>
                  <a:cubicBezTo>
                    <a:pt x="62" y="583"/>
                    <a:pt x="28" y="559"/>
                    <a:pt x="24" y="583"/>
                  </a:cubicBezTo>
                  <a:cubicBezTo>
                    <a:pt x="20" y="608"/>
                    <a:pt x="97" y="643"/>
                    <a:pt x="132" y="670"/>
                  </a:cubicBezTo>
                  <a:cubicBezTo>
                    <a:pt x="168" y="696"/>
                    <a:pt x="199" y="772"/>
                    <a:pt x="232" y="807"/>
                  </a:cubicBezTo>
                  <a:cubicBezTo>
                    <a:pt x="265" y="843"/>
                    <a:pt x="268" y="873"/>
                    <a:pt x="303" y="960"/>
                  </a:cubicBezTo>
                  <a:cubicBezTo>
                    <a:pt x="338" y="1046"/>
                    <a:pt x="409" y="1192"/>
                    <a:pt x="458" y="1254"/>
                  </a:cubicBezTo>
                  <a:cubicBezTo>
                    <a:pt x="507" y="1316"/>
                    <a:pt x="529" y="1365"/>
                    <a:pt x="518" y="1383"/>
                  </a:cubicBezTo>
                  <a:cubicBezTo>
                    <a:pt x="507" y="1400"/>
                    <a:pt x="520" y="1449"/>
                    <a:pt x="555" y="1473"/>
                  </a:cubicBezTo>
                  <a:cubicBezTo>
                    <a:pt x="591" y="1498"/>
                    <a:pt x="619" y="1538"/>
                    <a:pt x="712" y="1584"/>
                  </a:cubicBezTo>
                  <a:cubicBezTo>
                    <a:pt x="805" y="1631"/>
                    <a:pt x="976" y="1719"/>
                    <a:pt x="1000" y="1761"/>
                  </a:cubicBezTo>
                  <a:cubicBezTo>
                    <a:pt x="1025" y="1803"/>
                    <a:pt x="1104" y="1843"/>
                    <a:pt x="1120" y="1852"/>
                  </a:cubicBezTo>
                  <a:cubicBezTo>
                    <a:pt x="1124" y="1854"/>
                    <a:pt x="1125" y="1861"/>
                    <a:pt x="1125" y="1871"/>
                  </a:cubicBezTo>
                  <a:cubicBezTo>
                    <a:pt x="1135" y="1863"/>
                    <a:pt x="1142" y="1857"/>
                    <a:pt x="1147" y="1855"/>
                  </a:cubicBezTo>
                  <a:cubicBezTo>
                    <a:pt x="1177" y="1840"/>
                    <a:pt x="1180" y="1790"/>
                    <a:pt x="1188" y="177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7921465" y="8208464"/>
              <a:ext cx="700308" cy="586382"/>
            </a:xfrm>
            <a:custGeom>
              <a:avLst/>
              <a:gdLst>
                <a:gd name="T0" fmla="*/ 140 w 1387"/>
                <a:gd name="T1" fmla="*/ 72 h 1161"/>
                <a:gd name="T2" fmla="*/ 52 w 1387"/>
                <a:gd name="T3" fmla="*/ 185 h 1161"/>
                <a:gd name="T4" fmla="*/ 37 w 1387"/>
                <a:gd name="T5" fmla="*/ 259 h 1161"/>
                <a:gd name="T6" fmla="*/ 22 w 1387"/>
                <a:gd name="T7" fmla="*/ 304 h 1161"/>
                <a:gd name="T8" fmla="*/ 69 w 1387"/>
                <a:gd name="T9" fmla="*/ 326 h 1161"/>
                <a:gd name="T10" fmla="*/ 113 w 1387"/>
                <a:gd name="T11" fmla="*/ 392 h 1161"/>
                <a:gd name="T12" fmla="*/ 178 w 1387"/>
                <a:gd name="T13" fmla="*/ 524 h 1161"/>
                <a:gd name="T14" fmla="*/ 349 w 1387"/>
                <a:gd name="T15" fmla="*/ 539 h 1161"/>
                <a:gd name="T16" fmla="*/ 489 w 1387"/>
                <a:gd name="T17" fmla="*/ 600 h 1161"/>
                <a:gd name="T18" fmla="*/ 605 w 1387"/>
                <a:gd name="T19" fmla="*/ 631 h 1161"/>
                <a:gd name="T20" fmla="*/ 581 w 1387"/>
                <a:gd name="T21" fmla="*/ 814 h 1161"/>
                <a:gd name="T22" fmla="*/ 620 w 1387"/>
                <a:gd name="T23" fmla="*/ 890 h 1161"/>
                <a:gd name="T24" fmla="*/ 616 w 1387"/>
                <a:gd name="T25" fmla="*/ 965 h 1161"/>
                <a:gd name="T26" fmla="*/ 634 w 1387"/>
                <a:gd name="T27" fmla="*/ 1016 h 1161"/>
                <a:gd name="T28" fmla="*/ 620 w 1387"/>
                <a:gd name="T29" fmla="*/ 1024 h 1161"/>
                <a:gd name="T30" fmla="*/ 697 w 1387"/>
                <a:gd name="T31" fmla="*/ 1125 h 1161"/>
                <a:gd name="T32" fmla="*/ 757 w 1387"/>
                <a:gd name="T33" fmla="*/ 1149 h 1161"/>
                <a:gd name="T34" fmla="*/ 810 w 1387"/>
                <a:gd name="T35" fmla="*/ 1140 h 1161"/>
                <a:gd name="T36" fmla="*/ 879 w 1387"/>
                <a:gd name="T37" fmla="*/ 1104 h 1161"/>
                <a:gd name="T38" fmla="*/ 945 w 1387"/>
                <a:gd name="T39" fmla="*/ 1071 h 1161"/>
                <a:gd name="T40" fmla="*/ 1002 w 1387"/>
                <a:gd name="T41" fmla="*/ 1017 h 1161"/>
                <a:gd name="T42" fmla="*/ 1014 w 1387"/>
                <a:gd name="T43" fmla="*/ 975 h 1161"/>
                <a:gd name="T44" fmla="*/ 963 w 1387"/>
                <a:gd name="T45" fmla="*/ 963 h 1161"/>
                <a:gd name="T46" fmla="*/ 936 w 1387"/>
                <a:gd name="T47" fmla="*/ 900 h 1161"/>
                <a:gd name="T48" fmla="*/ 897 w 1387"/>
                <a:gd name="T49" fmla="*/ 826 h 1161"/>
                <a:gd name="T50" fmla="*/ 963 w 1387"/>
                <a:gd name="T51" fmla="*/ 814 h 1161"/>
                <a:gd name="T52" fmla="*/ 1050 w 1387"/>
                <a:gd name="T53" fmla="*/ 844 h 1161"/>
                <a:gd name="T54" fmla="*/ 1089 w 1387"/>
                <a:gd name="T55" fmla="*/ 846 h 1161"/>
                <a:gd name="T56" fmla="*/ 1158 w 1387"/>
                <a:gd name="T57" fmla="*/ 808 h 1161"/>
                <a:gd name="T58" fmla="*/ 1281 w 1387"/>
                <a:gd name="T59" fmla="*/ 760 h 1161"/>
                <a:gd name="T60" fmla="*/ 1308 w 1387"/>
                <a:gd name="T61" fmla="*/ 724 h 1161"/>
                <a:gd name="T62" fmla="*/ 1242 w 1387"/>
                <a:gd name="T63" fmla="*/ 643 h 1161"/>
                <a:gd name="T64" fmla="*/ 1253 w 1387"/>
                <a:gd name="T65" fmla="*/ 590 h 1161"/>
                <a:gd name="T66" fmla="*/ 1300 w 1387"/>
                <a:gd name="T67" fmla="*/ 543 h 1161"/>
                <a:gd name="T68" fmla="*/ 1314 w 1387"/>
                <a:gd name="T69" fmla="*/ 489 h 1161"/>
                <a:gd name="T70" fmla="*/ 1350 w 1387"/>
                <a:gd name="T71" fmla="*/ 421 h 1161"/>
                <a:gd name="T72" fmla="*/ 1387 w 1387"/>
                <a:gd name="T73" fmla="*/ 373 h 1161"/>
                <a:gd name="T74" fmla="*/ 1242 w 1387"/>
                <a:gd name="T75" fmla="*/ 358 h 1161"/>
                <a:gd name="T76" fmla="*/ 1268 w 1387"/>
                <a:gd name="T77" fmla="*/ 277 h 1161"/>
                <a:gd name="T78" fmla="*/ 1120 w 1387"/>
                <a:gd name="T79" fmla="*/ 221 h 1161"/>
                <a:gd name="T80" fmla="*/ 1133 w 1387"/>
                <a:gd name="T81" fmla="*/ 166 h 1161"/>
                <a:gd name="T82" fmla="*/ 1049 w 1387"/>
                <a:gd name="T83" fmla="*/ 142 h 1161"/>
                <a:gd name="T84" fmla="*/ 857 w 1387"/>
                <a:gd name="T85" fmla="*/ 210 h 1161"/>
                <a:gd name="T86" fmla="*/ 668 w 1387"/>
                <a:gd name="T87" fmla="*/ 155 h 1161"/>
                <a:gd name="T88" fmla="*/ 538 w 1387"/>
                <a:gd name="T89" fmla="*/ 133 h 1161"/>
                <a:gd name="T90" fmla="*/ 460 w 1387"/>
                <a:gd name="T91" fmla="*/ 55 h 1161"/>
                <a:gd name="T92" fmla="*/ 376 w 1387"/>
                <a:gd name="T93" fmla="*/ 0 h 1161"/>
                <a:gd name="T94" fmla="*/ 348 w 1387"/>
                <a:gd name="T95" fmla="*/ 64 h 1161"/>
                <a:gd name="T96" fmla="*/ 212 w 1387"/>
                <a:gd name="T97" fmla="*/ 142 h 1161"/>
                <a:gd name="T98" fmla="*/ 246 w 1387"/>
                <a:gd name="T99" fmla="*/ 288 h 1161"/>
                <a:gd name="T100" fmla="*/ 139 w 1387"/>
                <a:gd name="T101" fmla="*/ 252 h 1161"/>
                <a:gd name="T102" fmla="*/ 184 w 1387"/>
                <a:gd name="T103" fmla="*/ 122 h 1161"/>
                <a:gd name="T104" fmla="*/ 171 w 1387"/>
                <a:gd name="T105" fmla="*/ 53 h 1161"/>
                <a:gd name="T106" fmla="*/ 140 w 1387"/>
                <a:gd name="T107" fmla="*/ 72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87" h="1161">
                  <a:moveTo>
                    <a:pt x="140" y="72"/>
                  </a:moveTo>
                  <a:cubicBezTo>
                    <a:pt x="111" y="111"/>
                    <a:pt x="53" y="145"/>
                    <a:pt x="52" y="185"/>
                  </a:cubicBezTo>
                  <a:cubicBezTo>
                    <a:pt x="51" y="225"/>
                    <a:pt x="52" y="240"/>
                    <a:pt x="37" y="259"/>
                  </a:cubicBezTo>
                  <a:cubicBezTo>
                    <a:pt x="22" y="278"/>
                    <a:pt x="0" y="306"/>
                    <a:pt x="22" y="304"/>
                  </a:cubicBezTo>
                  <a:cubicBezTo>
                    <a:pt x="44" y="303"/>
                    <a:pt x="69" y="303"/>
                    <a:pt x="69" y="326"/>
                  </a:cubicBezTo>
                  <a:cubicBezTo>
                    <a:pt x="69" y="350"/>
                    <a:pt x="117" y="355"/>
                    <a:pt x="113" y="392"/>
                  </a:cubicBezTo>
                  <a:cubicBezTo>
                    <a:pt x="109" y="429"/>
                    <a:pt x="92" y="526"/>
                    <a:pt x="178" y="524"/>
                  </a:cubicBezTo>
                  <a:cubicBezTo>
                    <a:pt x="264" y="522"/>
                    <a:pt x="313" y="493"/>
                    <a:pt x="349" y="539"/>
                  </a:cubicBezTo>
                  <a:cubicBezTo>
                    <a:pt x="385" y="585"/>
                    <a:pt x="433" y="607"/>
                    <a:pt x="489" y="600"/>
                  </a:cubicBezTo>
                  <a:cubicBezTo>
                    <a:pt x="544" y="593"/>
                    <a:pt x="635" y="582"/>
                    <a:pt x="605" y="631"/>
                  </a:cubicBezTo>
                  <a:cubicBezTo>
                    <a:pt x="575" y="680"/>
                    <a:pt x="556" y="785"/>
                    <a:pt x="581" y="814"/>
                  </a:cubicBezTo>
                  <a:cubicBezTo>
                    <a:pt x="607" y="842"/>
                    <a:pt x="641" y="866"/>
                    <a:pt x="620" y="890"/>
                  </a:cubicBezTo>
                  <a:cubicBezTo>
                    <a:pt x="599" y="914"/>
                    <a:pt x="589" y="944"/>
                    <a:pt x="616" y="965"/>
                  </a:cubicBezTo>
                  <a:cubicBezTo>
                    <a:pt x="643" y="986"/>
                    <a:pt x="635" y="1011"/>
                    <a:pt x="634" y="1016"/>
                  </a:cubicBezTo>
                  <a:cubicBezTo>
                    <a:pt x="634" y="1018"/>
                    <a:pt x="629" y="1021"/>
                    <a:pt x="620" y="1024"/>
                  </a:cubicBezTo>
                  <a:cubicBezTo>
                    <a:pt x="660" y="1064"/>
                    <a:pt x="674" y="1107"/>
                    <a:pt x="697" y="1125"/>
                  </a:cubicBezTo>
                  <a:cubicBezTo>
                    <a:pt x="727" y="1149"/>
                    <a:pt x="736" y="1161"/>
                    <a:pt x="757" y="1149"/>
                  </a:cubicBezTo>
                  <a:cubicBezTo>
                    <a:pt x="777" y="1137"/>
                    <a:pt x="792" y="1128"/>
                    <a:pt x="810" y="1140"/>
                  </a:cubicBezTo>
                  <a:cubicBezTo>
                    <a:pt x="828" y="1152"/>
                    <a:pt x="852" y="1128"/>
                    <a:pt x="879" y="1104"/>
                  </a:cubicBezTo>
                  <a:cubicBezTo>
                    <a:pt x="906" y="1080"/>
                    <a:pt x="936" y="1101"/>
                    <a:pt x="945" y="1071"/>
                  </a:cubicBezTo>
                  <a:cubicBezTo>
                    <a:pt x="954" y="1041"/>
                    <a:pt x="969" y="1023"/>
                    <a:pt x="1002" y="1017"/>
                  </a:cubicBezTo>
                  <a:cubicBezTo>
                    <a:pt x="1035" y="1011"/>
                    <a:pt x="1035" y="975"/>
                    <a:pt x="1014" y="975"/>
                  </a:cubicBezTo>
                  <a:cubicBezTo>
                    <a:pt x="993" y="975"/>
                    <a:pt x="963" y="1002"/>
                    <a:pt x="963" y="963"/>
                  </a:cubicBezTo>
                  <a:cubicBezTo>
                    <a:pt x="963" y="924"/>
                    <a:pt x="936" y="933"/>
                    <a:pt x="936" y="900"/>
                  </a:cubicBezTo>
                  <a:cubicBezTo>
                    <a:pt x="936" y="867"/>
                    <a:pt x="933" y="846"/>
                    <a:pt x="897" y="826"/>
                  </a:cubicBezTo>
                  <a:cubicBezTo>
                    <a:pt x="861" y="805"/>
                    <a:pt x="945" y="796"/>
                    <a:pt x="963" y="814"/>
                  </a:cubicBezTo>
                  <a:cubicBezTo>
                    <a:pt x="981" y="832"/>
                    <a:pt x="1044" y="817"/>
                    <a:pt x="1050" y="844"/>
                  </a:cubicBezTo>
                  <a:cubicBezTo>
                    <a:pt x="1056" y="871"/>
                    <a:pt x="1089" y="880"/>
                    <a:pt x="1089" y="846"/>
                  </a:cubicBezTo>
                  <a:cubicBezTo>
                    <a:pt x="1089" y="814"/>
                    <a:pt x="1128" y="802"/>
                    <a:pt x="1158" y="808"/>
                  </a:cubicBezTo>
                  <a:cubicBezTo>
                    <a:pt x="1188" y="814"/>
                    <a:pt x="1254" y="769"/>
                    <a:pt x="1281" y="760"/>
                  </a:cubicBezTo>
                  <a:cubicBezTo>
                    <a:pt x="1295" y="755"/>
                    <a:pt x="1300" y="738"/>
                    <a:pt x="1308" y="724"/>
                  </a:cubicBezTo>
                  <a:cubicBezTo>
                    <a:pt x="1288" y="697"/>
                    <a:pt x="1257" y="655"/>
                    <a:pt x="1242" y="643"/>
                  </a:cubicBezTo>
                  <a:cubicBezTo>
                    <a:pt x="1221" y="625"/>
                    <a:pt x="1257" y="615"/>
                    <a:pt x="1253" y="590"/>
                  </a:cubicBezTo>
                  <a:cubicBezTo>
                    <a:pt x="1250" y="565"/>
                    <a:pt x="1253" y="547"/>
                    <a:pt x="1300" y="543"/>
                  </a:cubicBezTo>
                  <a:cubicBezTo>
                    <a:pt x="1346" y="539"/>
                    <a:pt x="1339" y="503"/>
                    <a:pt x="1314" y="489"/>
                  </a:cubicBezTo>
                  <a:cubicBezTo>
                    <a:pt x="1289" y="475"/>
                    <a:pt x="1325" y="435"/>
                    <a:pt x="1350" y="421"/>
                  </a:cubicBezTo>
                  <a:cubicBezTo>
                    <a:pt x="1360" y="415"/>
                    <a:pt x="1374" y="398"/>
                    <a:pt x="1387" y="373"/>
                  </a:cubicBezTo>
                  <a:cubicBezTo>
                    <a:pt x="1339" y="355"/>
                    <a:pt x="1271" y="357"/>
                    <a:pt x="1242" y="358"/>
                  </a:cubicBezTo>
                  <a:cubicBezTo>
                    <a:pt x="1204" y="361"/>
                    <a:pt x="1266" y="316"/>
                    <a:pt x="1268" y="277"/>
                  </a:cubicBezTo>
                  <a:cubicBezTo>
                    <a:pt x="1271" y="237"/>
                    <a:pt x="1162" y="230"/>
                    <a:pt x="1120" y="221"/>
                  </a:cubicBezTo>
                  <a:cubicBezTo>
                    <a:pt x="1078" y="212"/>
                    <a:pt x="1089" y="168"/>
                    <a:pt x="1133" y="166"/>
                  </a:cubicBezTo>
                  <a:cubicBezTo>
                    <a:pt x="1178" y="164"/>
                    <a:pt x="1109" y="133"/>
                    <a:pt x="1049" y="142"/>
                  </a:cubicBezTo>
                  <a:cubicBezTo>
                    <a:pt x="990" y="150"/>
                    <a:pt x="905" y="184"/>
                    <a:pt x="857" y="210"/>
                  </a:cubicBezTo>
                  <a:cubicBezTo>
                    <a:pt x="808" y="237"/>
                    <a:pt x="724" y="133"/>
                    <a:pt x="668" y="155"/>
                  </a:cubicBezTo>
                  <a:cubicBezTo>
                    <a:pt x="613" y="177"/>
                    <a:pt x="536" y="177"/>
                    <a:pt x="538" y="133"/>
                  </a:cubicBezTo>
                  <a:cubicBezTo>
                    <a:pt x="540" y="88"/>
                    <a:pt x="516" y="51"/>
                    <a:pt x="460" y="55"/>
                  </a:cubicBezTo>
                  <a:cubicBezTo>
                    <a:pt x="405" y="60"/>
                    <a:pt x="418" y="0"/>
                    <a:pt x="376" y="0"/>
                  </a:cubicBezTo>
                  <a:cubicBezTo>
                    <a:pt x="334" y="0"/>
                    <a:pt x="376" y="51"/>
                    <a:pt x="348" y="64"/>
                  </a:cubicBezTo>
                  <a:cubicBezTo>
                    <a:pt x="319" y="77"/>
                    <a:pt x="219" y="102"/>
                    <a:pt x="212" y="142"/>
                  </a:cubicBezTo>
                  <a:cubicBezTo>
                    <a:pt x="206" y="181"/>
                    <a:pt x="266" y="248"/>
                    <a:pt x="246" y="288"/>
                  </a:cubicBezTo>
                  <a:cubicBezTo>
                    <a:pt x="226" y="328"/>
                    <a:pt x="159" y="294"/>
                    <a:pt x="139" y="252"/>
                  </a:cubicBezTo>
                  <a:cubicBezTo>
                    <a:pt x="120" y="210"/>
                    <a:pt x="197" y="146"/>
                    <a:pt x="184" y="122"/>
                  </a:cubicBezTo>
                  <a:cubicBezTo>
                    <a:pt x="175" y="105"/>
                    <a:pt x="163" y="73"/>
                    <a:pt x="171" y="53"/>
                  </a:cubicBezTo>
                  <a:cubicBezTo>
                    <a:pt x="158" y="56"/>
                    <a:pt x="147" y="62"/>
                    <a:pt x="140" y="7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8705541" y="8508356"/>
              <a:ext cx="216124" cy="227851"/>
            </a:xfrm>
            <a:custGeom>
              <a:avLst/>
              <a:gdLst>
                <a:gd name="T0" fmla="*/ 104 w 428"/>
                <a:gd name="T1" fmla="*/ 93 h 452"/>
                <a:gd name="T2" fmla="*/ 57 w 428"/>
                <a:gd name="T3" fmla="*/ 140 h 452"/>
                <a:gd name="T4" fmla="*/ 18 w 428"/>
                <a:gd name="T5" fmla="*/ 226 h 452"/>
                <a:gd name="T6" fmla="*/ 100 w 428"/>
                <a:gd name="T7" fmla="*/ 330 h 452"/>
                <a:gd name="T8" fmla="*/ 159 w 428"/>
                <a:gd name="T9" fmla="*/ 442 h 452"/>
                <a:gd name="T10" fmla="*/ 209 w 428"/>
                <a:gd name="T11" fmla="*/ 445 h 452"/>
                <a:gd name="T12" fmla="*/ 251 w 428"/>
                <a:gd name="T13" fmla="*/ 382 h 452"/>
                <a:gd name="T14" fmla="*/ 362 w 428"/>
                <a:gd name="T15" fmla="*/ 385 h 452"/>
                <a:gd name="T16" fmla="*/ 372 w 428"/>
                <a:gd name="T17" fmla="*/ 398 h 452"/>
                <a:gd name="T18" fmla="*/ 402 w 428"/>
                <a:gd name="T19" fmla="*/ 352 h 452"/>
                <a:gd name="T20" fmla="*/ 391 w 428"/>
                <a:gd name="T21" fmla="*/ 219 h 452"/>
                <a:gd name="T22" fmla="*/ 409 w 428"/>
                <a:gd name="T23" fmla="*/ 101 h 452"/>
                <a:gd name="T24" fmla="*/ 428 w 428"/>
                <a:gd name="T25" fmla="*/ 49 h 452"/>
                <a:gd name="T26" fmla="*/ 328 w 428"/>
                <a:gd name="T27" fmla="*/ 27 h 452"/>
                <a:gd name="T28" fmla="*/ 200 w 428"/>
                <a:gd name="T29" fmla="*/ 29 h 452"/>
                <a:gd name="T30" fmla="*/ 125 w 428"/>
                <a:gd name="T31" fmla="*/ 27 h 452"/>
                <a:gd name="T32" fmla="*/ 115 w 428"/>
                <a:gd name="T33" fmla="*/ 30 h 452"/>
                <a:gd name="T34" fmla="*/ 104 w 428"/>
                <a:gd name="T35" fmla="*/ 93 h 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28" h="452">
                  <a:moveTo>
                    <a:pt x="104" y="93"/>
                  </a:moveTo>
                  <a:cubicBezTo>
                    <a:pt x="118" y="122"/>
                    <a:pt x="86" y="136"/>
                    <a:pt x="57" y="140"/>
                  </a:cubicBezTo>
                  <a:cubicBezTo>
                    <a:pt x="29" y="144"/>
                    <a:pt x="36" y="208"/>
                    <a:pt x="18" y="226"/>
                  </a:cubicBezTo>
                  <a:cubicBezTo>
                    <a:pt x="0" y="244"/>
                    <a:pt x="86" y="291"/>
                    <a:pt x="100" y="330"/>
                  </a:cubicBezTo>
                  <a:cubicBezTo>
                    <a:pt x="109" y="354"/>
                    <a:pt x="137" y="404"/>
                    <a:pt x="159" y="442"/>
                  </a:cubicBezTo>
                  <a:cubicBezTo>
                    <a:pt x="179" y="447"/>
                    <a:pt x="198" y="452"/>
                    <a:pt x="209" y="445"/>
                  </a:cubicBezTo>
                  <a:cubicBezTo>
                    <a:pt x="236" y="430"/>
                    <a:pt x="212" y="379"/>
                    <a:pt x="251" y="382"/>
                  </a:cubicBezTo>
                  <a:cubicBezTo>
                    <a:pt x="290" y="385"/>
                    <a:pt x="347" y="361"/>
                    <a:pt x="362" y="385"/>
                  </a:cubicBezTo>
                  <a:cubicBezTo>
                    <a:pt x="365" y="390"/>
                    <a:pt x="368" y="394"/>
                    <a:pt x="372" y="398"/>
                  </a:cubicBezTo>
                  <a:cubicBezTo>
                    <a:pt x="384" y="379"/>
                    <a:pt x="398" y="359"/>
                    <a:pt x="402" y="352"/>
                  </a:cubicBezTo>
                  <a:cubicBezTo>
                    <a:pt x="409" y="337"/>
                    <a:pt x="409" y="262"/>
                    <a:pt x="391" y="219"/>
                  </a:cubicBezTo>
                  <a:cubicBezTo>
                    <a:pt x="373" y="176"/>
                    <a:pt x="387" y="119"/>
                    <a:pt x="409" y="101"/>
                  </a:cubicBezTo>
                  <a:cubicBezTo>
                    <a:pt x="413" y="97"/>
                    <a:pt x="420" y="77"/>
                    <a:pt x="428" y="49"/>
                  </a:cubicBezTo>
                  <a:cubicBezTo>
                    <a:pt x="393" y="35"/>
                    <a:pt x="358" y="23"/>
                    <a:pt x="328" y="27"/>
                  </a:cubicBezTo>
                  <a:cubicBezTo>
                    <a:pt x="275" y="33"/>
                    <a:pt x="220" y="58"/>
                    <a:pt x="200" y="29"/>
                  </a:cubicBezTo>
                  <a:cubicBezTo>
                    <a:pt x="180" y="0"/>
                    <a:pt x="151" y="5"/>
                    <a:pt x="125" y="27"/>
                  </a:cubicBezTo>
                  <a:cubicBezTo>
                    <a:pt x="122" y="29"/>
                    <a:pt x="118" y="30"/>
                    <a:pt x="115" y="30"/>
                  </a:cubicBezTo>
                  <a:cubicBezTo>
                    <a:pt x="106" y="55"/>
                    <a:pt x="97" y="79"/>
                    <a:pt x="104" y="9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8538003" y="8397781"/>
              <a:ext cx="246281" cy="370258"/>
            </a:xfrm>
            <a:custGeom>
              <a:avLst/>
              <a:gdLst>
                <a:gd name="T0" fmla="*/ 129 w 489"/>
                <a:gd name="T1" fmla="*/ 48 h 734"/>
                <a:gd name="T2" fmla="*/ 93 w 489"/>
                <a:gd name="T3" fmla="*/ 116 h 734"/>
                <a:gd name="T4" fmla="*/ 79 w 489"/>
                <a:gd name="T5" fmla="*/ 170 h 734"/>
                <a:gd name="T6" fmla="*/ 32 w 489"/>
                <a:gd name="T7" fmla="*/ 217 h 734"/>
                <a:gd name="T8" fmla="*/ 21 w 489"/>
                <a:gd name="T9" fmla="*/ 270 h 734"/>
                <a:gd name="T10" fmla="*/ 87 w 489"/>
                <a:gd name="T11" fmla="*/ 351 h 734"/>
                <a:gd name="T12" fmla="*/ 123 w 489"/>
                <a:gd name="T13" fmla="*/ 330 h 734"/>
                <a:gd name="T14" fmla="*/ 165 w 489"/>
                <a:gd name="T15" fmla="*/ 414 h 734"/>
                <a:gd name="T16" fmla="*/ 174 w 489"/>
                <a:gd name="T17" fmla="*/ 498 h 734"/>
                <a:gd name="T18" fmla="*/ 195 w 489"/>
                <a:gd name="T19" fmla="*/ 674 h 734"/>
                <a:gd name="T20" fmla="*/ 303 w 489"/>
                <a:gd name="T21" fmla="*/ 710 h 734"/>
                <a:gd name="T22" fmla="*/ 369 w 489"/>
                <a:gd name="T23" fmla="*/ 686 h 734"/>
                <a:gd name="T24" fmla="*/ 420 w 489"/>
                <a:gd name="T25" fmla="*/ 662 h 734"/>
                <a:gd name="T26" fmla="*/ 489 w 489"/>
                <a:gd name="T27" fmla="*/ 662 h 734"/>
                <a:gd name="T28" fmla="*/ 430 w 489"/>
                <a:gd name="T29" fmla="*/ 550 h 734"/>
                <a:gd name="T30" fmla="*/ 348 w 489"/>
                <a:gd name="T31" fmla="*/ 446 h 734"/>
                <a:gd name="T32" fmla="*/ 387 w 489"/>
                <a:gd name="T33" fmla="*/ 360 h 734"/>
                <a:gd name="T34" fmla="*/ 434 w 489"/>
                <a:gd name="T35" fmla="*/ 313 h 734"/>
                <a:gd name="T36" fmla="*/ 445 w 489"/>
                <a:gd name="T37" fmla="*/ 250 h 734"/>
                <a:gd name="T38" fmla="*/ 353 w 489"/>
                <a:gd name="T39" fmla="*/ 167 h 734"/>
                <a:gd name="T40" fmla="*/ 302 w 489"/>
                <a:gd name="T41" fmla="*/ 107 h 734"/>
                <a:gd name="T42" fmla="*/ 202 w 489"/>
                <a:gd name="T43" fmla="*/ 23 h 734"/>
                <a:gd name="T44" fmla="*/ 166 w 489"/>
                <a:gd name="T45" fmla="*/ 0 h 734"/>
                <a:gd name="T46" fmla="*/ 129 w 489"/>
                <a:gd name="T47" fmla="*/ 48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89" h="734">
                  <a:moveTo>
                    <a:pt x="129" y="48"/>
                  </a:moveTo>
                  <a:cubicBezTo>
                    <a:pt x="104" y="62"/>
                    <a:pt x="68" y="102"/>
                    <a:pt x="93" y="116"/>
                  </a:cubicBezTo>
                  <a:cubicBezTo>
                    <a:pt x="118" y="130"/>
                    <a:pt x="125" y="166"/>
                    <a:pt x="79" y="170"/>
                  </a:cubicBezTo>
                  <a:cubicBezTo>
                    <a:pt x="32" y="174"/>
                    <a:pt x="29" y="192"/>
                    <a:pt x="32" y="217"/>
                  </a:cubicBezTo>
                  <a:cubicBezTo>
                    <a:pt x="36" y="242"/>
                    <a:pt x="0" y="252"/>
                    <a:pt x="21" y="270"/>
                  </a:cubicBezTo>
                  <a:cubicBezTo>
                    <a:pt x="36" y="282"/>
                    <a:pt x="67" y="324"/>
                    <a:pt x="87" y="351"/>
                  </a:cubicBezTo>
                  <a:cubicBezTo>
                    <a:pt x="94" y="338"/>
                    <a:pt x="103" y="327"/>
                    <a:pt x="123" y="330"/>
                  </a:cubicBezTo>
                  <a:cubicBezTo>
                    <a:pt x="165" y="336"/>
                    <a:pt x="132" y="399"/>
                    <a:pt x="165" y="414"/>
                  </a:cubicBezTo>
                  <a:cubicBezTo>
                    <a:pt x="198" y="429"/>
                    <a:pt x="198" y="480"/>
                    <a:pt x="174" y="498"/>
                  </a:cubicBezTo>
                  <a:cubicBezTo>
                    <a:pt x="150" y="516"/>
                    <a:pt x="141" y="614"/>
                    <a:pt x="195" y="674"/>
                  </a:cubicBezTo>
                  <a:cubicBezTo>
                    <a:pt x="249" y="734"/>
                    <a:pt x="291" y="725"/>
                    <a:pt x="303" y="710"/>
                  </a:cubicBezTo>
                  <a:cubicBezTo>
                    <a:pt x="315" y="695"/>
                    <a:pt x="357" y="710"/>
                    <a:pt x="369" y="686"/>
                  </a:cubicBezTo>
                  <a:cubicBezTo>
                    <a:pt x="381" y="662"/>
                    <a:pt x="396" y="689"/>
                    <a:pt x="420" y="662"/>
                  </a:cubicBezTo>
                  <a:cubicBezTo>
                    <a:pt x="433" y="647"/>
                    <a:pt x="462" y="655"/>
                    <a:pt x="489" y="662"/>
                  </a:cubicBezTo>
                  <a:cubicBezTo>
                    <a:pt x="467" y="624"/>
                    <a:pt x="439" y="574"/>
                    <a:pt x="430" y="550"/>
                  </a:cubicBezTo>
                  <a:cubicBezTo>
                    <a:pt x="416" y="511"/>
                    <a:pt x="330" y="464"/>
                    <a:pt x="348" y="446"/>
                  </a:cubicBezTo>
                  <a:cubicBezTo>
                    <a:pt x="366" y="428"/>
                    <a:pt x="359" y="364"/>
                    <a:pt x="387" y="360"/>
                  </a:cubicBezTo>
                  <a:cubicBezTo>
                    <a:pt x="416" y="356"/>
                    <a:pt x="448" y="342"/>
                    <a:pt x="434" y="313"/>
                  </a:cubicBezTo>
                  <a:cubicBezTo>
                    <a:pt x="427" y="299"/>
                    <a:pt x="436" y="275"/>
                    <a:pt x="445" y="250"/>
                  </a:cubicBezTo>
                  <a:cubicBezTo>
                    <a:pt x="417" y="247"/>
                    <a:pt x="376" y="167"/>
                    <a:pt x="353" y="167"/>
                  </a:cubicBezTo>
                  <a:cubicBezTo>
                    <a:pt x="326" y="167"/>
                    <a:pt x="295" y="145"/>
                    <a:pt x="302" y="107"/>
                  </a:cubicBezTo>
                  <a:cubicBezTo>
                    <a:pt x="309" y="70"/>
                    <a:pt x="240" y="65"/>
                    <a:pt x="202" y="23"/>
                  </a:cubicBezTo>
                  <a:cubicBezTo>
                    <a:pt x="193" y="13"/>
                    <a:pt x="180" y="6"/>
                    <a:pt x="166" y="0"/>
                  </a:cubicBezTo>
                  <a:cubicBezTo>
                    <a:pt x="153" y="25"/>
                    <a:pt x="139" y="42"/>
                    <a:pt x="129" y="4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8893183" y="8533487"/>
              <a:ext cx="157485" cy="194344"/>
            </a:xfrm>
            <a:custGeom>
              <a:avLst/>
              <a:gdLst>
                <a:gd name="T0" fmla="*/ 19 w 312"/>
                <a:gd name="T1" fmla="*/ 170 h 384"/>
                <a:gd name="T2" fmla="*/ 30 w 312"/>
                <a:gd name="T3" fmla="*/ 303 h 384"/>
                <a:gd name="T4" fmla="*/ 0 w 312"/>
                <a:gd name="T5" fmla="*/ 349 h 384"/>
                <a:gd name="T6" fmla="*/ 89 w 312"/>
                <a:gd name="T7" fmla="*/ 366 h 384"/>
                <a:gd name="T8" fmla="*/ 194 w 312"/>
                <a:gd name="T9" fmla="*/ 321 h 384"/>
                <a:gd name="T10" fmla="*/ 312 w 312"/>
                <a:gd name="T11" fmla="*/ 162 h 384"/>
                <a:gd name="T12" fmla="*/ 311 w 312"/>
                <a:gd name="T13" fmla="*/ 161 h 384"/>
                <a:gd name="T14" fmla="*/ 140 w 312"/>
                <a:gd name="T15" fmla="*/ 29 h 384"/>
                <a:gd name="T16" fmla="*/ 56 w 312"/>
                <a:gd name="T17" fmla="*/ 0 h 384"/>
                <a:gd name="T18" fmla="*/ 37 w 312"/>
                <a:gd name="T19" fmla="*/ 52 h 384"/>
                <a:gd name="T20" fmla="*/ 19 w 312"/>
                <a:gd name="T21" fmla="*/ 17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2" h="384">
                  <a:moveTo>
                    <a:pt x="19" y="170"/>
                  </a:moveTo>
                  <a:cubicBezTo>
                    <a:pt x="37" y="213"/>
                    <a:pt x="37" y="288"/>
                    <a:pt x="30" y="303"/>
                  </a:cubicBezTo>
                  <a:cubicBezTo>
                    <a:pt x="26" y="310"/>
                    <a:pt x="12" y="330"/>
                    <a:pt x="0" y="349"/>
                  </a:cubicBezTo>
                  <a:cubicBezTo>
                    <a:pt x="16" y="368"/>
                    <a:pt x="43" y="381"/>
                    <a:pt x="89" y="366"/>
                  </a:cubicBezTo>
                  <a:cubicBezTo>
                    <a:pt x="146" y="348"/>
                    <a:pt x="173" y="384"/>
                    <a:pt x="194" y="321"/>
                  </a:cubicBezTo>
                  <a:cubicBezTo>
                    <a:pt x="210" y="272"/>
                    <a:pt x="269" y="205"/>
                    <a:pt x="312" y="162"/>
                  </a:cubicBezTo>
                  <a:cubicBezTo>
                    <a:pt x="311" y="162"/>
                    <a:pt x="311" y="162"/>
                    <a:pt x="311" y="161"/>
                  </a:cubicBezTo>
                  <a:cubicBezTo>
                    <a:pt x="268" y="144"/>
                    <a:pt x="204" y="42"/>
                    <a:pt x="140" y="29"/>
                  </a:cubicBezTo>
                  <a:cubicBezTo>
                    <a:pt x="112" y="23"/>
                    <a:pt x="84" y="11"/>
                    <a:pt x="56" y="0"/>
                  </a:cubicBezTo>
                  <a:cubicBezTo>
                    <a:pt x="48" y="28"/>
                    <a:pt x="41" y="48"/>
                    <a:pt x="37" y="52"/>
                  </a:cubicBezTo>
                  <a:cubicBezTo>
                    <a:pt x="15" y="70"/>
                    <a:pt x="1" y="127"/>
                    <a:pt x="19" y="17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7353511" y="7610354"/>
              <a:ext cx="536121" cy="189317"/>
            </a:xfrm>
            <a:custGeom>
              <a:avLst/>
              <a:gdLst>
                <a:gd name="T0" fmla="*/ 855 w 1059"/>
                <a:gd name="T1" fmla="*/ 239 h 376"/>
                <a:gd name="T2" fmla="*/ 373 w 1059"/>
                <a:gd name="T3" fmla="*/ 44 h 376"/>
                <a:gd name="T4" fmla="*/ 18 w 1059"/>
                <a:gd name="T5" fmla="*/ 168 h 376"/>
                <a:gd name="T6" fmla="*/ 191 w 1059"/>
                <a:gd name="T7" fmla="*/ 88 h 376"/>
                <a:gd name="T8" fmla="*/ 288 w 1059"/>
                <a:gd name="T9" fmla="*/ 128 h 376"/>
                <a:gd name="T10" fmla="*/ 457 w 1059"/>
                <a:gd name="T11" fmla="*/ 168 h 376"/>
                <a:gd name="T12" fmla="*/ 669 w 1059"/>
                <a:gd name="T13" fmla="*/ 278 h 376"/>
                <a:gd name="T14" fmla="*/ 718 w 1059"/>
                <a:gd name="T15" fmla="*/ 358 h 376"/>
                <a:gd name="T16" fmla="*/ 1041 w 1059"/>
                <a:gd name="T17" fmla="*/ 349 h 376"/>
                <a:gd name="T18" fmla="*/ 855 w 1059"/>
                <a:gd name="T19" fmla="*/ 239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9" h="376">
                  <a:moveTo>
                    <a:pt x="855" y="239"/>
                  </a:moveTo>
                  <a:cubicBezTo>
                    <a:pt x="789" y="239"/>
                    <a:pt x="572" y="88"/>
                    <a:pt x="373" y="44"/>
                  </a:cubicBezTo>
                  <a:cubicBezTo>
                    <a:pt x="173" y="0"/>
                    <a:pt x="0" y="143"/>
                    <a:pt x="18" y="168"/>
                  </a:cubicBezTo>
                  <a:cubicBezTo>
                    <a:pt x="45" y="203"/>
                    <a:pt x="142" y="124"/>
                    <a:pt x="191" y="88"/>
                  </a:cubicBezTo>
                  <a:cubicBezTo>
                    <a:pt x="240" y="53"/>
                    <a:pt x="284" y="106"/>
                    <a:pt x="288" y="128"/>
                  </a:cubicBezTo>
                  <a:cubicBezTo>
                    <a:pt x="293" y="150"/>
                    <a:pt x="355" y="163"/>
                    <a:pt x="457" y="168"/>
                  </a:cubicBezTo>
                  <a:cubicBezTo>
                    <a:pt x="559" y="172"/>
                    <a:pt x="572" y="256"/>
                    <a:pt x="669" y="278"/>
                  </a:cubicBezTo>
                  <a:cubicBezTo>
                    <a:pt x="767" y="301"/>
                    <a:pt x="669" y="341"/>
                    <a:pt x="718" y="358"/>
                  </a:cubicBezTo>
                  <a:cubicBezTo>
                    <a:pt x="767" y="376"/>
                    <a:pt x="1023" y="371"/>
                    <a:pt x="1041" y="349"/>
                  </a:cubicBezTo>
                  <a:cubicBezTo>
                    <a:pt x="1059" y="327"/>
                    <a:pt x="922" y="239"/>
                    <a:pt x="855" y="23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7660106" y="7866687"/>
              <a:ext cx="123978" cy="56963"/>
            </a:xfrm>
            <a:custGeom>
              <a:avLst/>
              <a:gdLst>
                <a:gd name="T0" fmla="*/ 22 w 244"/>
                <a:gd name="T1" fmla="*/ 38 h 113"/>
                <a:gd name="T2" fmla="*/ 226 w 244"/>
                <a:gd name="T3" fmla="*/ 74 h 113"/>
                <a:gd name="T4" fmla="*/ 22 w 244"/>
                <a:gd name="T5" fmla="*/ 3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4" h="113">
                  <a:moveTo>
                    <a:pt x="22" y="38"/>
                  </a:moveTo>
                  <a:cubicBezTo>
                    <a:pt x="40" y="69"/>
                    <a:pt x="208" y="113"/>
                    <a:pt x="226" y="74"/>
                  </a:cubicBezTo>
                  <a:cubicBezTo>
                    <a:pt x="244" y="34"/>
                    <a:pt x="0" y="0"/>
                    <a:pt x="22" y="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3" name="Freeform 123"/>
            <p:cNvSpPr>
              <a:spLocks/>
            </p:cNvSpPr>
            <p:nvPr/>
          </p:nvSpPr>
          <p:spPr bwMode="auto">
            <a:xfrm>
              <a:off x="8226383" y="7858310"/>
              <a:ext cx="112251" cy="61988"/>
            </a:xfrm>
            <a:custGeom>
              <a:avLst/>
              <a:gdLst>
                <a:gd name="T0" fmla="*/ 40 w 222"/>
                <a:gd name="T1" fmla="*/ 62 h 124"/>
                <a:gd name="T2" fmla="*/ 204 w 222"/>
                <a:gd name="T3" fmla="*/ 62 h 124"/>
                <a:gd name="T4" fmla="*/ 40 w 222"/>
                <a:gd name="T5" fmla="*/ 6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2" h="124">
                  <a:moveTo>
                    <a:pt x="40" y="62"/>
                  </a:moveTo>
                  <a:cubicBezTo>
                    <a:pt x="80" y="124"/>
                    <a:pt x="194" y="87"/>
                    <a:pt x="204" y="62"/>
                  </a:cubicBezTo>
                  <a:cubicBezTo>
                    <a:pt x="222" y="18"/>
                    <a:pt x="0" y="0"/>
                    <a:pt x="40" y="6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4" name="Freeform 124"/>
            <p:cNvSpPr>
              <a:spLocks noEditPoints="1"/>
            </p:cNvSpPr>
            <p:nvPr/>
          </p:nvSpPr>
          <p:spPr bwMode="auto">
            <a:xfrm>
              <a:off x="6991630" y="8751286"/>
              <a:ext cx="844390" cy="340101"/>
            </a:xfrm>
            <a:custGeom>
              <a:avLst/>
              <a:gdLst>
                <a:gd name="T0" fmla="*/ 1620 w 1671"/>
                <a:gd name="T1" fmla="*/ 171 h 674"/>
                <a:gd name="T2" fmla="*/ 1548 w 1671"/>
                <a:gd name="T3" fmla="*/ 115 h 674"/>
                <a:gd name="T4" fmla="*/ 1472 w 1671"/>
                <a:gd name="T5" fmla="*/ 115 h 674"/>
                <a:gd name="T6" fmla="*/ 1410 w 1671"/>
                <a:gd name="T7" fmla="*/ 69 h 674"/>
                <a:gd name="T8" fmla="*/ 1287 w 1671"/>
                <a:gd name="T9" fmla="*/ 0 h 674"/>
                <a:gd name="T10" fmla="*/ 1287 w 1671"/>
                <a:gd name="T11" fmla="*/ 14 h 674"/>
                <a:gd name="T12" fmla="*/ 1218 w 1671"/>
                <a:gd name="T13" fmla="*/ 49 h 674"/>
                <a:gd name="T14" fmla="*/ 1185 w 1671"/>
                <a:gd name="T15" fmla="*/ 122 h 674"/>
                <a:gd name="T16" fmla="*/ 1140 w 1671"/>
                <a:gd name="T17" fmla="*/ 182 h 674"/>
                <a:gd name="T18" fmla="*/ 1114 w 1671"/>
                <a:gd name="T19" fmla="*/ 235 h 674"/>
                <a:gd name="T20" fmla="*/ 1092 w 1671"/>
                <a:gd name="T21" fmla="*/ 304 h 674"/>
                <a:gd name="T22" fmla="*/ 1085 w 1671"/>
                <a:gd name="T23" fmla="*/ 370 h 674"/>
                <a:gd name="T24" fmla="*/ 1143 w 1671"/>
                <a:gd name="T25" fmla="*/ 421 h 674"/>
                <a:gd name="T26" fmla="*/ 1191 w 1671"/>
                <a:gd name="T27" fmla="*/ 432 h 674"/>
                <a:gd name="T28" fmla="*/ 1147 w 1671"/>
                <a:gd name="T29" fmla="*/ 494 h 674"/>
                <a:gd name="T30" fmla="*/ 1139 w 1671"/>
                <a:gd name="T31" fmla="*/ 496 h 674"/>
                <a:gd name="T32" fmla="*/ 1158 w 1671"/>
                <a:gd name="T33" fmla="*/ 547 h 674"/>
                <a:gd name="T34" fmla="*/ 1158 w 1671"/>
                <a:gd name="T35" fmla="*/ 598 h 674"/>
                <a:gd name="T36" fmla="*/ 1235 w 1671"/>
                <a:gd name="T37" fmla="*/ 618 h 674"/>
                <a:gd name="T38" fmla="*/ 1306 w 1671"/>
                <a:gd name="T39" fmla="*/ 614 h 674"/>
                <a:gd name="T40" fmla="*/ 1396 w 1671"/>
                <a:gd name="T41" fmla="*/ 455 h 674"/>
                <a:gd name="T42" fmla="*/ 1592 w 1671"/>
                <a:gd name="T43" fmla="*/ 348 h 674"/>
                <a:gd name="T44" fmla="*/ 1648 w 1671"/>
                <a:gd name="T45" fmla="*/ 247 h 674"/>
                <a:gd name="T46" fmla="*/ 1620 w 1671"/>
                <a:gd name="T47" fmla="*/ 171 h 674"/>
                <a:gd name="T48" fmla="*/ 45 w 1671"/>
                <a:gd name="T49" fmla="*/ 142 h 674"/>
                <a:gd name="T50" fmla="*/ 107 w 1671"/>
                <a:gd name="T51" fmla="*/ 244 h 674"/>
                <a:gd name="T52" fmla="*/ 45 w 1671"/>
                <a:gd name="T53" fmla="*/ 142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71" h="674">
                  <a:moveTo>
                    <a:pt x="1620" y="171"/>
                  </a:moveTo>
                  <a:cubicBezTo>
                    <a:pt x="1583" y="129"/>
                    <a:pt x="1558" y="104"/>
                    <a:pt x="1548" y="115"/>
                  </a:cubicBezTo>
                  <a:cubicBezTo>
                    <a:pt x="1539" y="127"/>
                    <a:pt x="1500" y="132"/>
                    <a:pt x="1472" y="115"/>
                  </a:cubicBezTo>
                  <a:cubicBezTo>
                    <a:pt x="1445" y="99"/>
                    <a:pt x="1431" y="69"/>
                    <a:pt x="1410" y="69"/>
                  </a:cubicBezTo>
                  <a:cubicBezTo>
                    <a:pt x="1391" y="69"/>
                    <a:pt x="1324" y="31"/>
                    <a:pt x="1287" y="0"/>
                  </a:cubicBezTo>
                  <a:cubicBezTo>
                    <a:pt x="1286" y="5"/>
                    <a:pt x="1286" y="10"/>
                    <a:pt x="1287" y="14"/>
                  </a:cubicBezTo>
                  <a:cubicBezTo>
                    <a:pt x="1289" y="34"/>
                    <a:pt x="1256" y="47"/>
                    <a:pt x="1218" y="49"/>
                  </a:cubicBezTo>
                  <a:cubicBezTo>
                    <a:pt x="1180" y="51"/>
                    <a:pt x="1185" y="93"/>
                    <a:pt x="1185" y="122"/>
                  </a:cubicBezTo>
                  <a:cubicBezTo>
                    <a:pt x="1185" y="151"/>
                    <a:pt x="1154" y="151"/>
                    <a:pt x="1140" y="182"/>
                  </a:cubicBezTo>
                  <a:cubicBezTo>
                    <a:pt x="1127" y="213"/>
                    <a:pt x="1145" y="220"/>
                    <a:pt x="1114" y="235"/>
                  </a:cubicBezTo>
                  <a:cubicBezTo>
                    <a:pt x="1083" y="251"/>
                    <a:pt x="1074" y="277"/>
                    <a:pt x="1092" y="304"/>
                  </a:cubicBezTo>
                  <a:cubicBezTo>
                    <a:pt x="1109" y="330"/>
                    <a:pt x="1090" y="355"/>
                    <a:pt x="1085" y="370"/>
                  </a:cubicBezTo>
                  <a:cubicBezTo>
                    <a:pt x="1081" y="386"/>
                    <a:pt x="1112" y="392"/>
                    <a:pt x="1143" y="421"/>
                  </a:cubicBezTo>
                  <a:cubicBezTo>
                    <a:pt x="1174" y="450"/>
                    <a:pt x="1178" y="410"/>
                    <a:pt x="1191" y="432"/>
                  </a:cubicBezTo>
                  <a:cubicBezTo>
                    <a:pt x="1205" y="454"/>
                    <a:pt x="1183" y="494"/>
                    <a:pt x="1147" y="494"/>
                  </a:cubicBezTo>
                  <a:cubicBezTo>
                    <a:pt x="1144" y="494"/>
                    <a:pt x="1142" y="495"/>
                    <a:pt x="1139" y="496"/>
                  </a:cubicBezTo>
                  <a:cubicBezTo>
                    <a:pt x="1157" y="515"/>
                    <a:pt x="1167" y="534"/>
                    <a:pt x="1158" y="547"/>
                  </a:cubicBezTo>
                  <a:cubicBezTo>
                    <a:pt x="1142" y="570"/>
                    <a:pt x="1128" y="570"/>
                    <a:pt x="1158" y="598"/>
                  </a:cubicBezTo>
                  <a:cubicBezTo>
                    <a:pt x="1188" y="625"/>
                    <a:pt x="1209" y="584"/>
                    <a:pt x="1235" y="618"/>
                  </a:cubicBezTo>
                  <a:cubicBezTo>
                    <a:pt x="1260" y="653"/>
                    <a:pt x="1281" y="674"/>
                    <a:pt x="1306" y="614"/>
                  </a:cubicBezTo>
                  <a:cubicBezTo>
                    <a:pt x="1331" y="554"/>
                    <a:pt x="1350" y="468"/>
                    <a:pt x="1396" y="455"/>
                  </a:cubicBezTo>
                  <a:cubicBezTo>
                    <a:pt x="1442" y="441"/>
                    <a:pt x="1537" y="422"/>
                    <a:pt x="1592" y="348"/>
                  </a:cubicBezTo>
                  <a:cubicBezTo>
                    <a:pt x="1648" y="275"/>
                    <a:pt x="1618" y="270"/>
                    <a:pt x="1648" y="247"/>
                  </a:cubicBezTo>
                  <a:cubicBezTo>
                    <a:pt x="1671" y="228"/>
                    <a:pt x="1657" y="212"/>
                    <a:pt x="1620" y="171"/>
                  </a:cubicBezTo>
                  <a:close/>
                  <a:moveTo>
                    <a:pt x="45" y="142"/>
                  </a:moveTo>
                  <a:cubicBezTo>
                    <a:pt x="0" y="209"/>
                    <a:pt x="88" y="273"/>
                    <a:pt x="107" y="244"/>
                  </a:cubicBezTo>
                  <a:cubicBezTo>
                    <a:pt x="129" y="209"/>
                    <a:pt x="89" y="76"/>
                    <a:pt x="45" y="14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5" name="Freeform 125"/>
            <p:cNvSpPr>
              <a:spLocks noEditPoints="1"/>
            </p:cNvSpPr>
            <p:nvPr/>
          </p:nvSpPr>
          <p:spPr bwMode="auto">
            <a:xfrm>
              <a:off x="4495318" y="3076784"/>
              <a:ext cx="4495036" cy="3463004"/>
            </a:xfrm>
            <a:custGeom>
              <a:avLst/>
              <a:gdLst>
                <a:gd name="T0" fmla="*/ 1818 w 8896"/>
                <a:gd name="T1" fmla="*/ 6045 h 6851"/>
                <a:gd name="T2" fmla="*/ 1672 w 8896"/>
                <a:gd name="T3" fmla="*/ 2010 h 6851"/>
                <a:gd name="T4" fmla="*/ 3425 w 8896"/>
                <a:gd name="T5" fmla="*/ 2222 h 6851"/>
                <a:gd name="T6" fmla="*/ 2274 w 8896"/>
                <a:gd name="T7" fmla="*/ 2377 h 6851"/>
                <a:gd name="T8" fmla="*/ 3421 w 8896"/>
                <a:gd name="T9" fmla="*/ 2957 h 6851"/>
                <a:gd name="T10" fmla="*/ 2102 w 8896"/>
                <a:gd name="T11" fmla="*/ 1713 h 6851"/>
                <a:gd name="T12" fmla="*/ 1845 w 8896"/>
                <a:gd name="T13" fmla="*/ 1638 h 6851"/>
                <a:gd name="T14" fmla="*/ 3270 w 8896"/>
                <a:gd name="T15" fmla="*/ 1882 h 6851"/>
                <a:gd name="T16" fmla="*/ 2633 w 8896"/>
                <a:gd name="T17" fmla="*/ 1271 h 6851"/>
                <a:gd name="T18" fmla="*/ 3656 w 8896"/>
                <a:gd name="T19" fmla="*/ 1054 h 6851"/>
                <a:gd name="T20" fmla="*/ 3687 w 8896"/>
                <a:gd name="T21" fmla="*/ 1425 h 6851"/>
                <a:gd name="T22" fmla="*/ 3718 w 8896"/>
                <a:gd name="T23" fmla="*/ 1634 h 6851"/>
                <a:gd name="T24" fmla="*/ 4807 w 8896"/>
                <a:gd name="T25" fmla="*/ 1302 h 6851"/>
                <a:gd name="T26" fmla="*/ 4360 w 8896"/>
                <a:gd name="T27" fmla="*/ 2054 h 6851"/>
                <a:gd name="T28" fmla="*/ 6082 w 8896"/>
                <a:gd name="T29" fmla="*/ 1943 h 6851"/>
                <a:gd name="T30" fmla="*/ 5139 w 8896"/>
                <a:gd name="T31" fmla="*/ 1337 h 6851"/>
                <a:gd name="T32" fmla="*/ 5294 w 8896"/>
                <a:gd name="T33" fmla="*/ 735 h 6851"/>
                <a:gd name="T34" fmla="*/ 5196 w 8896"/>
                <a:gd name="T35" fmla="*/ 584 h 6851"/>
                <a:gd name="T36" fmla="*/ 5617 w 8896"/>
                <a:gd name="T37" fmla="*/ 1062 h 6851"/>
                <a:gd name="T38" fmla="*/ 6184 w 8896"/>
                <a:gd name="T39" fmla="*/ 1594 h 6851"/>
                <a:gd name="T40" fmla="*/ 7042 w 8896"/>
                <a:gd name="T41" fmla="*/ 766 h 6851"/>
                <a:gd name="T42" fmla="*/ 6728 w 8896"/>
                <a:gd name="T43" fmla="*/ 80 h 6851"/>
                <a:gd name="T44" fmla="*/ 5037 w 8896"/>
                <a:gd name="T45" fmla="*/ 403 h 6851"/>
                <a:gd name="T46" fmla="*/ 5528 w 8896"/>
                <a:gd name="T47" fmla="*/ 3896 h 6851"/>
                <a:gd name="T48" fmla="*/ 7326 w 8896"/>
                <a:gd name="T49" fmla="*/ 3010 h 6851"/>
                <a:gd name="T50" fmla="*/ 6604 w 8896"/>
                <a:gd name="T51" fmla="*/ 2408 h 6851"/>
                <a:gd name="T52" fmla="*/ 5528 w 8896"/>
                <a:gd name="T53" fmla="*/ 2214 h 6851"/>
                <a:gd name="T54" fmla="*/ 6237 w 8896"/>
                <a:gd name="T55" fmla="*/ 2732 h 6851"/>
                <a:gd name="T56" fmla="*/ 6520 w 8896"/>
                <a:gd name="T57" fmla="*/ 3621 h 6851"/>
                <a:gd name="T58" fmla="*/ 7525 w 8896"/>
                <a:gd name="T59" fmla="*/ 3706 h 6851"/>
                <a:gd name="T60" fmla="*/ 6042 w 8896"/>
                <a:gd name="T61" fmla="*/ 2129 h 6851"/>
                <a:gd name="T62" fmla="*/ 8527 w 8896"/>
                <a:gd name="T63" fmla="*/ 5677 h 6851"/>
                <a:gd name="T64" fmla="*/ 975 w 8896"/>
                <a:gd name="T65" fmla="*/ 5567 h 6851"/>
                <a:gd name="T66" fmla="*/ 7268 w 8896"/>
                <a:gd name="T67" fmla="*/ 6076 h 6851"/>
                <a:gd name="T68" fmla="*/ 8528 w 8896"/>
                <a:gd name="T69" fmla="*/ 5388 h 6851"/>
                <a:gd name="T70" fmla="*/ 7926 w 8896"/>
                <a:gd name="T71" fmla="*/ 4956 h 6851"/>
                <a:gd name="T72" fmla="*/ 7474 w 8896"/>
                <a:gd name="T73" fmla="*/ 4671 h 6851"/>
                <a:gd name="T74" fmla="*/ 6757 w 8896"/>
                <a:gd name="T75" fmla="*/ 4097 h 6851"/>
                <a:gd name="T76" fmla="*/ 6440 w 8896"/>
                <a:gd name="T77" fmla="*/ 4803 h 6851"/>
                <a:gd name="T78" fmla="*/ 5898 w 8896"/>
                <a:gd name="T79" fmla="*/ 5465 h 6851"/>
                <a:gd name="T80" fmla="*/ 4765 w 8896"/>
                <a:gd name="T81" fmla="*/ 4651 h 6851"/>
                <a:gd name="T82" fmla="*/ 5125 w 8896"/>
                <a:gd name="T83" fmla="*/ 3810 h 6851"/>
                <a:gd name="T84" fmla="*/ 5743 w 8896"/>
                <a:gd name="T85" fmla="*/ 3422 h 6851"/>
                <a:gd name="T86" fmla="*/ 5632 w 8896"/>
                <a:gd name="T87" fmla="*/ 3004 h 6851"/>
                <a:gd name="T88" fmla="*/ 5132 w 8896"/>
                <a:gd name="T89" fmla="*/ 3039 h 6851"/>
                <a:gd name="T90" fmla="*/ 4754 w 8896"/>
                <a:gd name="T91" fmla="*/ 2399 h 6851"/>
                <a:gd name="T92" fmla="*/ 4585 w 8896"/>
                <a:gd name="T93" fmla="*/ 2583 h 6851"/>
                <a:gd name="T94" fmla="*/ 4497 w 8896"/>
                <a:gd name="T95" fmla="*/ 3219 h 6851"/>
                <a:gd name="T96" fmla="*/ 4360 w 8896"/>
                <a:gd name="T97" fmla="*/ 3084 h 6851"/>
                <a:gd name="T98" fmla="*/ 3536 w 8896"/>
                <a:gd name="T99" fmla="*/ 3081 h 6851"/>
                <a:gd name="T100" fmla="*/ 2369 w 8896"/>
                <a:gd name="T101" fmla="*/ 3004 h 6851"/>
                <a:gd name="T102" fmla="*/ 858 w 8896"/>
                <a:gd name="T103" fmla="*/ 3013 h 6851"/>
                <a:gd name="T104" fmla="*/ 417 w 8896"/>
                <a:gd name="T105" fmla="*/ 3017 h 6851"/>
                <a:gd name="T106" fmla="*/ 1125 w 8896"/>
                <a:gd name="T107" fmla="*/ 5205 h 6851"/>
                <a:gd name="T108" fmla="*/ 1608 w 8896"/>
                <a:gd name="T109" fmla="*/ 5824 h 6851"/>
                <a:gd name="T110" fmla="*/ 5515 w 8896"/>
                <a:gd name="T111" fmla="*/ 6101 h 6851"/>
                <a:gd name="T112" fmla="*/ 6206 w 8896"/>
                <a:gd name="T113" fmla="*/ 6778 h 6851"/>
                <a:gd name="T114" fmla="*/ 7664 w 8896"/>
                <a:gd name="T115" fmla="*/ 6391 h 6851"/>
                <a:gd name="T116" fmla="*/ 2152 w 8896"/>
                <a:gd name="T117" fmla="*/ 3601 h 6851"/>
                <a:gd name="T118" fmla="*/ 2133 w 8896"/>
                <a:gd name="T119" fmla="*/ 3467 h 6851"/>
                <a:gd name="T120" fmla="*/ 4457 w 8896"/>
                <a:gd name="T121" fmla="*/ 5809 h 6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96" h="6851">
                  <a:moveTo>
                    <a:pt x="1756" y="6006"/>
                  </a:moveTo>
                  <a:cubicBezTo>
                    <a:pt x="1728" y="5975"/>
                    <a:pt x="1652" y="5981"/>
                    <a:pt x="1641" y="5952"/>
                  </a:cubicBezTo>
                  <a:cubicBezTo>
                    <a:pt x="1630" y="5924"/>
                    <a:pt x="1561" y="5820"/>
                    <a:pt x="1524" y="5822"/>
                  </a:cubicBezTo>
                  <a:cubicBezTo>
                    <a:pt x="1486" y="5824"/>
                    <a:pt x="1438" y="5826"/>
                    <a:pt x="1393" y="5793"/>
                  </a:cubicBezTo>
                  <a:cubicBezTo>
                    <a:pt x="1349" y="5760"/>
                    <a:pt x="1320" y="5758"/>
                    <a:pt x="1289" y="5778"/>
                  </a:cubicBezTo>
                  <a:cubicBezTo>
                    <a:pt x="1258" y="5797"/>
                    <a:pt x="1322" y="5802"/>
                    <a:pt x="1320" y="5824"/>
                  </a:cubicBezTo>
                  <a:cubicBezTo>
                    <a:pt x="1318" y="5846"/>
                    <a:pt x="1340" y="5859"/>
                    <a:pt x="1367" y="5855"/>
                  </a:cubicBezTo>
                  <a:cubicBezTo>
                    <a:pt x="1393" y="5851"/>
                    <a:pt x="1409" y="5906"/>
                    <a:pt x="1435" y="5908"/>
                  </a:cubicBezTo>
                  <a:cubicBezTo>
                    <a:pt x="1462" y="5910"/>
                    <a:pt x="1471" y="5952"/>
                    <a:pt x="1502" y="5952"/>
                  </a:cubicBezTo>
                  <a:cubicBezTo>
                    <a:pt x="1533" y="5952"/>
                    <a:pt x="1539" y="5988"/>
                    <a:pt x="1555" y="6008"/>
                  </a:cubicBezTo>
                  <a:cubicBezTo>
                    <a:pt x="1570" y="6028"/>
                    <a:pt x="1606" y="6010"/>
                    <a:pt x="1606" y="6030"/>
                  </a:cubicBezTo>
                  <a:cubicBezTo>
                    <a:pt x="1606" y="6048"/>
                    <a:pt x="1641" y="6064"/>
                    <a:pt x="1650" y="6086"/>
                  </a:cubicBezTo>
                  <a:cubicBezTo>
                    <a:pt x="1711" y="6093"/>
                    <a:pt x="1763" y="6099"/>
                    <a:pt x="1808" y="6087"/>
                  </a:cubicBezTo>
                  <a:cubicBezTo>
                    <a:pt x="1808" y="6073"/>
                    <a:pt x="1812" y="6057"/>
                    <a:pt x="1818" y="6045"/>
                  </a:cubicBezTo>
                  <a:cubicBezTo>
                    <a:pt x="1834" y="6017"/>
                    <a:pt x="1785" y="6037"/>
                    <a:pt x="1756" y="6006"/>
                  </a:cubicBezTo>
                  <a:close/>
                  <a:moveTo>
                    <a:pt x="1681" y="2488"/>
                  </a:moveTo>
                  <a:cubicBezTo>
                    <a:pt x="1761" y="2506"/>
                    <a:pt x="1769" y="2647"/>
                    <a:pt x="1823" y="2647"/>
                  </a:cubicBezTo>
                  <a:cubicBezTo>
                    <a:pt x="1858" y="2647"/>
                    <a:pt x="1832" y="2603"/>
                    <a:pt x="1889" y="2603"/>
                  </a:cubicBezTo>
                  <a:cubicBezTo>
                    <a:pt x="1947" y="2603"/>
                    <a:pt x="1933" y="2572"/>
                    <a:pt x="1987" y="2577"/>
                  </a:cubicBezTo>
                  <a:cubicBezTo>
                    <a:pt x="2040" y="2581"/>
                    <a:pt x="2084" y="2563"/>
                    <a:pt x="2084" y="2501"/>
                  </a:cubicBezTo>
                  <a:cubicBezTo>
                    <a:pt x="2084" y="2439"/>
                    <a:pt x="2124" y="2417"/>
                    <a:pt x="2177" y="2404"/>
                  </a:cubicBezTo>
                  <a:cubicBezTo>
                    <a:pt x="2230" y="2391"/>
                    <a:pt x="2181" y="2324"/>
                    <a:pt x="2257" y="2307"/>
                  </a:cubicBezTo>
                  <a:cubicBezTo>
                    <a:pt x="2332" y="2289"/>
                    <a:pt x="2540" y="2200"/>
                    <a:pt x="2575" y="2174"/>
                  </a:cubicBezTo>
                  <a:cubicBezTo>
                    <a:pt x="2611" y="2147"/>
                    <a:pt x="2531" y="2112"/>
                    <a:pt x="2451" y="2063"/>
                  </a:cubicBezTo>
                  <a:cubicBezTo>
                    <a:pt x="2372" y="2014"/>
                    <a:pt x="2310" y="2001"/>
                    <a:pt x="2248" y="2041"/>
                  </a:cubicBezTo>
                  <a:cubicBezTo>
                    <a:pt x="2186" y="2081"/>
                    <a:pt x="2234" y="1997"/>
                    <a:pt x="2186" y="2019"/>
                  </a:cubicBezTo>
                  <a:cubicBezTo>
                    <a:pt x="2137" y="2041"/>
                    <a:pt x="2004" y="1983"/>
                    <a:pt x="1987" y="1961"/>
                  </a:cubicBezTo>
                  <a:cubicBezTo>
                    <a:pt x="1969" y="1939"/>
                    <a:pt x="1730" y="2010"/>
                    <a:pt x="1672" y="2010"/>
                  </a:cubicBezTo>
                  <a:cubicBezTo>
                    <a:pt x="1615" y="2010"/>
                    <a:pt x="1677" y="2072"/>
                    <a:pt x="1716" y="2103"/>
                  </a:cubicBezTo>
                  <a:cubicBezTo>
                    <a:pt x="1756" y="2134"/>
                    <a:pt x="1619" y="2231"/>
                    <a:pt x="1646" y="2253"/>
                  </a:cubicBezTo>
                  <a:cubicBezTo>
                    <a:pt x="1672" y="2276"/>
                    <a:pt x="1619" y="2333"/>
                    <a:pt x="1557" y="2404"/>
                  </a:cubicBezTo>
                  <a:cubicBezTo>
                    <a:pt x="1495" y="2475"/>
                    <a:pt x="1601" y="2470"/>
                    <a:pt x="1681" y="2488"/>
                  </a:cubicBezTo>
                  <a:close/>
                  <a:moveTo>
                    <a:pt x="3895" y="2851"/>
                  </a:moveTo>
                  <a:cubicBezTo>
                    <a:pt x="3921" y="2820"/>
                    <a:pt x="4032" y="2913"/>
                    <a:pt x="4036" y="2847"/>
                  </a:cubicBezTo>
                  <a:cubicBezTo>
                    <a:pt x="4041" y="2780"/>
                    <a:pt x="3912" y="2749"/>
                    <a:pt x="3859" y="2714"/>
                  </a:cubicBezTo>
                  <a:cubicBezTo>
                    <a:pt x="3806" y="2678"/>
                    <a:pt x="3784" y="2696"/>
                    <a:pt x="3700" y="2634"/>
                  </a:cubicBezTo>
                  <a:cubicBezTo>
                    <a:pt x="3616" y="2572"/>
                    <a:pt x="3722" y="2541"/>
                    <a:pt x="3660" y="2492"/>
                  </a:cubicBezTo>
                  <a:cubicBezTo>
                    <a:pt x="3598" y="2444"/>
                    <a:pt x="3576" y="2311"/>
                    <a:pt x="3620" y="2267"/>
                  </a:cubicBezTo>
                  <a:cubicBezTo>
                    <a:pt x="3664" y="2222"/>
                    <a:pt x="3713" y="2156"/>
                    <a:pt x="3633" y="2125"/>
                  </a:cubicBezTo>
                  <a:cubicBezTo>
                    <a:pt x="3554" y="2094"/>
                    <a:pt x="3425" y="2152"/>
                    <a:pt x="3439" y="2169"/>
                  </a:cubicBezTo>
                  <a:cubicBezTo>
                    <a:pt x="3452" y="2187"/>
                    <a:pt x="3563" y="2249"/>
                    <a:pt x="3563" y="2276"/>
                  </a:cubicBezTo>
                  <a:cubicBezTo>
                    <a:pt x="3563" y="2302"/>
                    <a:pt x="3461" y="2200"/>
                    <a:pt x="3425" y="2222"/>
                  </a:cubicBezTo>
                  <a:cubicBezTo>
                    <a:pt x="3390" y="2245"/>
                    <a:pt x="3350" y="2178"/>
                    <a:pt x="3319" y="2222"/>
                  </a:cubicBezTo>
                  <a:cubicBezTo>
                    <a:pt x="3288" y="2267"/>
                    <a:pt x="3359" y="2422"/>
                    <a:pt x="3385" y="2466"/>
                  </a:cubicBezTo>
                  <a:cubicBezTo>
                    <a:pt x="3412" y="2510"/>
                    <a:pt x="3359" y="2510"/>
                    <a:pt x="3324" y="2519"/>
                  </a:cubicBezTo>
                  <a:cubicBezTo>
                    <a:pt x="3288" y="2528"/>
                    <a:pt x="3284" y="2395"/>
                    <a:pt x="3248" y="2346"/>
                  </a:cubicBezTo>
                  <a:cubicBezTo>
                    <a:pt x="3213" y="2298"/>
                    <a:pt x="3071" y="2240"/>
                    <a:pt x="3062" y="2276"/>
                  </a:cubicBezTo>
                  <a:cubicBezTo>
                    <a:pt x="3053" y="2311"/>
                    <a:pt x="3151" y="2311"/>
                    <a:pt x="3138" y="2360"/>
                  </a:cubicBezTo>
                  <a:cubicBezTo>
                    <a:pt x="3124" y="2408"/>
                    <a:pt x="3071" y="2329"/>
                    <a:pt x="3022" y="2369"/>
                  </a:cubicBezTo>
                  <a:cubicBezTo>
                    <a:pt x="2974" y="2408"/>
                    <a:pt x="2983" y="2382"/>
                    <a:pt x="2991" y="2342"/>
                  </a:cubicBezTo>
                  <a:cubicBezTo>
                    <a:pt x="3000" y="2302"/>
                    <a:pt x="2921" y="2258"/>
                    <a:pt x="2832" y="2267"/>
                  </a:cubicBezTo>
                  <a:cubicBezTo>
                    <a:pt x="2744" y="2276"/>
                    <a:pt x="2792" y="2338"/>
                    <a:pt x="2766" y="2360"/>
                  </a:cubicBezTo>
                  <a:cubicBezTo>
                    <a:pt x="2739" y="2382"/>
                    <a:pt x="2606" y="2346"/>
                    <a:pt x="2690" y="2329"/>
                  </a:cubicBezTo>
                  <a:cubicBezTo>
                    <a:pt x="2775" y="2311"/>
                    <a:pt x="2739" y="2262"/>
                    <a:pt x="2708" y="2214"/>
                  </a:cubicBezTo>
                  <a:cubicBezTo>
                    <a:pt x="2677" y="2165"/>
                    <a:pt x="2593" y="2222"/>
                    <a:pt x="2456" y="2271"/>
                  </a:cubicBezTo>
                  <a:cubicBezTo>
                    <a:pt x="2319" y="2320"/>
                    <a:pt x="2257" y="2373"/>
                    <a:pt x="2274" y="2377"/>
                  </a:cubicBezTo>
                  <a:cubicBezTo>
                    <a:pt x="2292" y="2382"/>
                    <a:pt x="2296" y="2404"/>
                    <a:pt x="2243" y="2448"/>
                  </a:cubicBezTo>
                  <a:cubicBezTo>
                    <a:pt x="2190" y="2492"/>
                    <a:pt x="2243" y="2532"/>
                    <a:pt x="2292" y="2532"/>
                  </a:cubicBezTo>
                  <a:cubicBezTo>
                    <a:pt x="2341" y="2532"/>
                    <a:pt x="2298" y="2571"/>
                    <a:pt x="2332" y="2581"/>
                  </a:cubicBezTo>
                  <a:cubicBezTo>
                    <a:pt x="2363" y="2590"/>
                    <a:pt x="2522" y="2519"/>
                    <a:pt x="2566" y="2550"/>
                  </a:cubicBezTo>
                  <a:cubicBezTo>
                    <a:pt x="2611" y="2581"/>
                    <a:pt x="2305" y="2599"/>
                    <a:pt x="2305" y="2652"/>
                  </a:cubicBezTo>
                  <a:cubicBezTo>
                    <a:pt x="2305" y="2705"/>
                    <a:pt x="2473" y="2736"/>
                    <a:pt x="2597" y="2714"/>
                  </a:cubicBezTo>
                  <a:cubicBezTo>
                    <a:pt x="2721" y="2692"/>
                    <a:pt x="2938" y="2732"/>
                    <a:pt x="2938" y="2763"/>
                  </a:cubicBezTo>
                  <a:cubicBezTo>
                    <a:pt x="2938" y="2794"/>
                    <a:pt x="2792" y="2785"/>
                    <a:pt x="2682" y="2780"/>
                  </a:cubicBezTo>
                  <a:cubicBezTo>
                    <a:pt x="2571" y="2776"/>
                    <a:pt x="2381" y="2811"/>
                    <a:pt x="2389" y="2847"/>
                  </a:cubicBezTo>
                  <a:cubicBezTo>
                    <a:pt x="2399" y="2886"/>
                    <a:pt x="2412" y="2887"/>
                    <a:pt x="2527" y="2940"/>
                  </a:cubicBezTo>
                  <a:cubicBezTo>
                    <a:pt x="2642" y="2993"/>
                    <a:pt x="2761" y="2913"/>
                    <a:pt x="2757" y="2988"/>
                  </a:cubicBezTo>
                  <a:cubicBezTo>
                    <a:pt x="2752" y="3064"/>
                    <a:pt x="2819" y="3081"/>
                    <a:pt x="2974" y="3086"/>
                  </a:cubicBezTo>
                  <a:cubicBezTo>
                    <a:pt x="3129" y="3090"/>
                    <a:pt x="3200" y="3015"/>
                    <a:pt x="3275" y="3019"/>
                  </a:cubicBezTo>
                  <a:cubicBezTo>
                    <a:pt x="3350" y="3024"/>
                    <a:pt x="3385" y="3010"/>
                    <a:pt x="3421" y="2957"/>
                  </a:cubicBezTo>
                  <a:cubicBezTo>
                    <a:pt x="3456" y="2904"/>
                    <a:pt x="3487" y="2935"/>
                    <a:pt x="3496" y="2962"/>
                  </a:cubicBezTo>
                  <a:cubicBezTo>
                    <a:pt x="3505" y="2988"/>
                    <a:pt x="3602" y="2984"/>
                    <a:pt x="3625" y="3006"/>
                  </a:cubicBezTo>
                  <a:cubicBezTo>
                    <a:pt x="3681" y="3062"/>
                    <a:pt x="3868" y="3046"/>
                    <a:pt x="3939" y="3010"/>
                  </a:cubicBezTo>
                  <a:cubicBezTo>
                    <a:pt x="4010" y="2975"/>
                    <a:pt x="3908" y="2878"/>
                    <a:pt x="3872" y="2922"/>
                  </a:cubicBezTo>
                  <a:cubicBezTo>
                    <a:pt x="3837" y="2966"/>
                    <a:pt x="3806" y="2940"/>
                    <a:pt x="3797" y="2917"/>
                  </a:cubicBezTo>
                  <a:cubicBezTo>
                    <a:pt x="3788" y="2895"/>
                    <a:pt x="3868" y="2882"/>
                    <a:pt x="3895" y="2851"/>
                  </a:cubicBezTo>
                  <a:close/>
                  <a:moveTo>
                    <a:pt x="2212" y="1762"/>
                  </a:moveTo>
                  <a:cubicBezTo>
                    <a:pt x="2292" y="1771"/>
                    <a:pt x="2372" y="1700"/>
                    <a:pt x="2367" y="1660"/>
                  </a:cubicBezTo>
                  <a:cubicBezTo>
                    <a:pt x="2363" y="1620"/>
                    <a:pt x="2173" y="1758"/>
                    <a:pt x="2212" y="1762"/>
                  </a:cubicBezTo>
                  <a:close/>
                  <a:moveTo>
                    <a:pt x="1845" y="1638"/>
                  </a:moveTo>
                  <a:cubicBezTo>
                    <a:pt x="1876" y="1651"/>
                    <a:pt x="1845" y="1713"/>
                    <a:pt x="1880" y="1696"/>
                  </a:cubicBezTo>
                  <a:cubicBezTo>
                    <a:pt x="1916" y="1678"/>
                    <a:pt x="1925" y="1673"/>
                    <a:pt x="1951" y="1682"/>
                  </a:cubicBezTo>
                  <a:cubicBezTo>
                    <a:pt x="1999" y="1698"/>
                    <a:pt x="2009" y="1656"/>
                    <a:pt x="2031" y="1634"/>
                  </a:cubicBezTo>
                  <a:cubicBezTo>
                    <a:pt x="2053" y="1611"/>
                    <a:pt x="2044" y="1713"/>
                    <a:pt x="2102" y="1713"/>
                  </a:cubicBezTo>
                  <a:cubicBezTo>
                    <a:pt x="2150" y="1713"/>
                    <a:pt x="2141" y="1607"/>
                    <a:pt x="2186" y="1638"/>
                  </a:cubicBezTo>
                  <a:cubicBezTo>
                    <a:pt x="2230" y="1669"/>
                    <a:pt x="2243" y="1625"/>
                    <a:pt x="2252" y="1594"/>
                  </a:cubicBezTo>
                  <a:cubicBezTo>
                    <a:pt x="2261" y="1563"/>
                    <a:pt x="2261" y="1510"/>
                    <a:pt x="2310" y="1501"/>
                  </a:cubicBezTo>
                  <a:cubicBezTo>
                    <a:pt x="2358" y="1492"/>
                    <a:pt x="2319" y="1549"/>
                    <a:pt x="2341" y="1589"/>
                  </a:cubicBezTo>
                  <a:cubicBezTo>
                    <a:pt x="2373" y="1647"/>
                    <a:pt x="2429" y="1594"/>
                    <a:pt x="2434" y="1567"/>
                  </a:cubicBezTo>
                  <a:cubicBezTo>
                    <a:pt x="2438" y="1541"/>
                    <a:pt x="2518" y="1558"/>
                    <a:pt x="2513" y="1527"/>
                  </a:cubicBezTo>
                  <a:cubicBezTo>
                    <a:pt x="2509" y="1496"/>
                    <a:pt x="2535" y="1487"/>
                    <a:pt x="2513" y="1452"/>
                  </a:cubicBezTo>
                  <a:cubicBezTo>
                    <a:pt x="2491" y="1417"/>
                    <a:pt x="2549" y="1425"/>
                    <a:pt x="2575" y="1399"/>
                  </a:cubicBezTo>
                  <a:cubicBezTo>
                    <a:pt x="2602" y="1372"/>
                    <a:pt x="2540" y="1395"/>
                    <a:pt x="2496" y="1355"/>
                  </a:cubicBezTo>
                  <a:cubicBezTo>
                    <a:pt x="2451" y="1315"/>
                    <a:pt x="2434" y="1368"/>
                    <a:pt x="2434" y="1395"/>
                  </a:cubicBezTo>
                  <a:cubicBezTo>
                    <a:pt x="2434" y="1421"/>
                    <a:pt x="2350" y="1399"/>
                    <a:pt x="2301" y="1381"/>
                  </a:cubicBezTo>
                  <a:cubicBezTo>
                    <a:pt x="2252" y="1364"/>
                    <a:pt x="2190" y="1439"/>
                    <a:pt x="2119" y="1474"/>
                  </a:cubicBezTo>
                  <a:cubicBezTo>
                    <a:pt x="2048" y="1510"/>
                    <a:pt x="2044" y="1572"/>
                    <a:pt x="1978" y="1567"/>
                  </a:cubicBezTo>
                  <a:cubicBezTo>
                    <a:pt x="1911" y="1563"/>
                    <a:pt x="1814" y="1625"/>
                    <a:pt x="1845" y="1638"/>
                  </a:cubicBezTo>
                  <a:close/>
                  <a:moveTo>
                    <a:pt x="2535" y="1616"/>
                  </a:moveTo>
                  <a:cubicBezTo>
                    <a:pt x="2473" y="1620"/>
                    <a:pt x="2478" y="1682"/>
                    <a:pt x="2549" y="1682"/>
                  </a:cubicBezTo>
                  <a:cubicBezTo>
                    <a:pt x="2620" y="1682"/>
                    <a:pt x="2642" y="1704"/>
                    <a:pt x="2540" y="1700"/>
                  </a:cubicBezTo>
                  <a:cubicBezTo>
                    <a:pt x="2438" y="1696"/>
                    <a:pt x="2394" y="1784"/>
                    <a:pt x="2465" y="1766"/>
                  </a:cubicBezTo>
                  <a:cubicBezTo>
                    <a:pt x="2535" y="1749"/>
                    <a:pt x="2620" y="1749"/>
                    <a:pt x="2566" y="1766"/>
                  </a:cubicBezTo>
                  <a:cubicBezTo>
                    <a:pt x="2513" y="1784"/>
                    <a:pt x="2369" y="1796"/>
                    <a:pt x="2389" y="1824"/>
                  </a:cubicBezTo>
                  <a:cubicBezTo>
                    <a:pt x="2403" y="1842"/>
                    <a:pt x="2460" y="1837"/>
                    <a:pt x="2518" y="1859"/>
                  </a:cubicBezTo>
                  <a:cubicBezTo>
                    <a:pt x="2575" y="1882"/>
                    <a:pt x="2611" y="1895"/>
                    <a:pt x="2655" y="1846"/>
                  </a:cubicBezTo>
                  <a:cubicBezTo>
                    <a:pt x="2699" y="1797"/>
                    <a:pt x="2757" y="1749"/>
                    <a:pt x="2735" y="1815"/>
                  </a:cubicBezTo>
                  <a:cubicBezTo>
                    <a:pt x="2713" y="1882"/>
                    <a:pt x="2806" y="1833"/>
                    <a:pt x="2925" y="1828"/>
                  </a:cubicBezTo>
                  <a:cubicBezTo>
                    <a:pt x="3045" y="1824"/>
                    <a:pt x="2903" y="1899"/>
                    <a:pt x="2779" y="1908"/>
                  </a:cubicBezTo>
                  <a:cubicBezTo>
                    <a:pt x="2655" y="1917"/>
                    <a:pt x="2677" y="1979"/>
                    <a:pt x="2775" y="2001"/>
                  </a:cubicBezTo>
                  <a:cubicBezTo>
                    <a:pt x="2872" y="2023"/>
                    <a:pt x="3080" y="1939"/>
                    <a:pt x="3129" y="1890"/>
                  </a:cubicBezTo>
                  <a:cubicBezTo>
                    <a:pt x="3177" y="1842"/>
                    <a:pt x="3222" y="1917"/>
                    <a:pt x="3270" y="1882"/>
                  </a:cubicBezTo>
                  <a:cubicBezTo>
                    <a:pt x="3319" y="1846"/>
                    <a:pt x="3412" y="1886"/>
                    <a:pt x="3496" y="1868"/>
                  </a:cubicBezTo>
                  <a:cubicBezTo>
                    <a:pt x="3580" y="1851"/>
                    <a:pt x="3594" y="1691"/>
                    <a:pt x="3532" y="1665"/>
                  </a:cubicBezTo>
                  <a:cubicBezTo>
                    <a:pt x="3470" y="1638"/>
                    <a:pt x="3470" y="1696"/>
                    <a:pt x="3421" y="1704"/>
                  </a:cubicBezTo>
                  <a:cubicBezTo>
                    <a:pt x="3372" y="1713"/>
                    <a:pt x="3346" y="1651"/>
                    <a:pt x="3306" y="1611"/>
                  </a:cubicBezTo>
                  <a:cubicBezTo>
                    <a:pt x="3266" y="1572"/>
                    <a:pt x="3293" y="1496"/>
                    <a:pt x="3235" y="1505"/>
                  </a:cubicBezTo>
                  <a:cubicBezTo>
                    <a:pt x="3178" y="1514"/>
                    <a:pt x="3053" y="1607"/>
                    <a:pt x="3129" y="1616"/>
                  </a:cubicBezTo>
                  <a:cubicBezTo>
                    <a:pt x="3204" y="1625"/>
                    <a:pt x="3177" y="1665"/>
                    <a:pt x="3138" y="1682"/>
                  </a:cubicBezTo>
                  <a:cubicBezTo>
                    <a:pt x="3098" y="1700"/>
                    <a:pt x="3231" y="1731"/>
                    <a:pt x="3213" y="1758"/>
                  </a:cubicBezTo>
                  <a:cubicBezTo>
                    <a:pt x="3195" y="1784"/>
                    <a:pt x="2991" y="1762"/>
                    <a:pt x="2983" y="1718"/>
                  </a:cubicBezTo>
                  <a:cubicBezTo>
                    <a:pt x="2974" y="1673"/>
                    <a:pt x="2814" y="1594"/>
                    <a:pt x="2748" y="1611"/>
                  </a:cubicBezTo>
                  <a:cubicBezTo>
                    <a:pt x="2682" y="1629"/>
                    <a:pt x="2708" y="1558"/>
                    <a:pt x="2642" y="1554"/>
                  </a:cubicBezTo>
                  <a:cubicBezTo>
                    <a:pt x="2575" y="1549"/>
                    <a:pt x="2597" y="1611"/>
                    <a:pt x="2535" y="1616"/>
                  </a:cubicBezTo>
                  <a:close/>
                  <a:moveTo>
                    <a:pt x="2766" y="1297"/>
                  </a:moveTo>
                  <a:cubicBezTo>
                    <a:pt x="2788" y="1244"/>
                    <a:pt x="2619" y="1253"/>
                    <a:pt x="2633" y="1271"/>
                  </a:cubicBezTo>
                  <a:cubicBezTo>
                    <a:pt x="2664" y="1310"/>
                    <a:pt x="2744" y="1350"/>
                    <a:pt x="2766" y="1297"/>
                  </a:cubicBezTo>
                  <a:close/>
                  <a:moveTo>
                    <a:pt x="3133" y="1275"/>
                  </a:moveTo>
                  <a:cubicBezTo>
                    <a:pt x="3191" y="1266"/>
                    <a:pt x="3164" y="1222"/>
                    <a:pt x="3071" y="1235"/>
                  </a:cubicBezTo>
                  <a:cubicBezTo>
                    <a:pt x="2978" y="1248"/>
                    <a:pt x="2819" y="1248"/>
                    <a:pt x="2819" y="1315"/>
                  </a:cubicBezTo>
                  <a:cubicBezTo>
                    <a:pt x="2819" y="1368"/>
                    <a:pt x="2850" y="1395"/>
                    <a:pt x="2952" y="1403"/>
                  </a:cubicBezTo>
                  <a:cubicBezTo>
                    <a:pt x="3053" y="1412"/>
                    <a:pt x="3142" y="1315"/>
                    <a:pt x="3093" y="1315"/>
                  </a:cubicBezTo>
                  <a:cubicBezTo>
                    <a:pt x="3045" y="1315"/>
                    <a:pt x="3076" y="1284"/>
                    <a:pt x="3133" y="1275"/>
                  </a:cubicBezTo>
                  <a:close/>
                  <a:moveTo>
                    <a:pt x="2916" y="1191"/>
                  </a:moveTo>
                  <a:cubicBezTo>
                    <a:pt x="2960" y="1209"/>
                    <a:pt x="3005" y="1151"/>
                    <a:pt x="3036" y="1178"/>
                  </a:cubicBezTo>
                  <a:cubicBezTo>
                    <a:pt x="3067" y="1204"/>
                    <a:pt x="3204" y="1226"/>
                    <a:pt x="3204" y="1155"/>
                  </a:cubicBezTo>
                  <a:cubicBezTo>
                    <a:pt x="3204" y="1085"/>
                    <a:pt x="3031" y="1076"/>
                    <a:pt x="2987" y="1102"/>
                  </a:cubicBezTo>
                  <a:cubicBezTo>
                    <a:pt x="2943" y="1129"/>
                    <a:pt x="2739" y="1138"/>
                    <a:pt x="2797" y="1182"/>
                  </a:cubicBezTo>
                  <a:cubicBezTo>
                    <a:pt x="2832" y="1209"/>
                    <a:pt x="2872" y="1173"/>
                    <a:pt x="2916" y="1191"/>
                  </a:cubicBezTo>
                  <a:close/>
                  <a:moveTo>
                    <a:pt x="3656" y="1054"/>
                  </a:moveTo>
                  <a:cubicBezTo>
                    <a:pt x="3709" y="1018"/>
                    <a:pt x="3806" y="1076"/>
                    <a:pt x="3788" y="1116"/>
                  </a:cubicBezTo>
                  <a:cubicBezTo>
                    <a:pt x="3771" y="1155"/>
                    <a:pt x="3617" y="1108"/>
                    <a:pt x="3629" y="1142"/>
                  </a:cubicBezTo>
                  <a:cubicBezTo>
                    <a:pt x="3633" y="1155"/>
                    <a:pt x="3651" y="1209"/>
                    <a:pt x="3757" y="1178"/>
                  </a:cubicBezTo>
                  <a:cubicBezTo>
                    <a:pt x="3864" y="1147"/>
                    <a:pt x="3952" y="1169"/>
                    <a:pt x="4023" y="1226"/>
                  </a:cubicBezTo>
                  <a:cubicBezTo>
                    <a:pt x="4094" y="1284"/>
                    <a:pt x="4160" y="1306"/>
                    <a:pt x="4209" y="1248"/>
                  </a:cubicBezTo>
                  <a:cubicBezTo>
                    <a:pt x="4258" y="1191"/>
                    <a:pt x="4147" y="1182"/>
                    <a:pt x="4169" y="1138"/>
                  </a:cubicBezTo>
                  <a:cubicBezTo>
                    <a:pt x="4191" y="1093"/>
                    <a:pt x="4098" y="1067"/>
                    <a:pt x="4050" y="1067"/>
                  </a:cubicBezTo>
                  <a:cubicBezTo>
                    <a:pt x="4001" y="1067"/>
                    <a:pt x="3983" y="978"/>
                    <a:pt x="3943" y="996"/>
                  </a:cubicBezTo>
                  <a:cubicBezTo>
                    <a:pt x="3903" y="1014"/>
                    <a:pt x="3877" y="1045"/>
                    <a:pt x="3877" y="987"/>
                  </a:cubicBezTo>
                  <a:cubicBezTo>
                    <a:pt x="3877" y="930"/>
                    <a:pt x="3647" y="925"/>
                    <a:pt x="3589" y="947"/>
                  </a:cubicBezTo>
                  <a:cubicBezTo>
                    <a:pt x="3532" y="970"/>
                    <a:pt x="3602" y="1089"/>
                    <a:pt x="3656" y="1054"/>
                  </a:cubicBezTo>
                  <a:close/>
                  <a:moveTo>
                    <a:pt x="3687" y="1425"/>
                  </a:moveTo>
                  <a:cubicBezTo>
                    <a:pt x="3722" y="1381"/>
                    <a:pt x="3545" y="1240"/>
                    <a:pt x="3536" y="1306"/>
                  </a:cubicBezTo>
                  <a:cubicBezTo>
                    <a:pt x="3527" y="1372"/>
                    <a:pt x="3649" y="1473"/>
                    <a:pt x="3687" y="1425"/>
                  </a:cubicBezTo>
                  <a:close/>
                  <a:moveTo>
                    <a:pt x="4262" y="846"/>
                  </a:moveTo>
                  <a:cubicBezTo>
                    <a:pt x="4293" y="792"/>
                    <a:pt x="4075" y="751"/>
                    <a:pt x="4129" y="797"/>
                  </a:cubicBezTo>
                  <a:cubicBezTo>
                    <a:pt x="4160" y="823"/>
                    <a:pt x="4231" y="899"/>
                    <a:pt x="4262" y="846"/>
                  </a:cubicBezTo>
                  <a:close/>
                  <a:moveTo>
                    <a:pt x="3762" y="1851"/>
                  </a:moveTo>
                  <a:cubicBezTo>
                    <a:pt x="3793" y="1815"/>
                    <a:pt x="3695" y="1740"/>
                    <a:pt x="3669" y="1802"/>
                  </a:cubicBezTo>
                  <a:cubicBezTo>
                    <a:pt x="3642" y="1864"/>
                    <a:pt x="3730" y="1887"/>
                    <a:pt x="3762" y="1851"/>
                  </a:cubicBezTo>
                  <a:close/>
                  <a:moveTo>
                    <a:pt x="4262" y="1541"/>
                  </a:moveTo>
                  <a:cubicBezTo>
                    <a:pt x="4258" y="1585"/>
                    <a:pt x="4156" y="1532"/>
                    <a:pt x="4076" y="1501"/>
                  </a:cubicBezTo>
                  <a:cubicBezTo>
                    <a:pt x="3996" y="1470"/>
                    <a:pt x="4045" y="1563"/>
                    <a:pt x="4107" y="1616"/>
                  </a:cubicBezTo>
                  <a:cubicBezTo>
                    <a:pt x="4169" y="1669"/>
                    <a:pt x="4076" y="1642"/>
                    <a:pt x="3992" y="1585"/>
                  </a:cubicBezTo>
                  <a:cubicBezTo>
                    <a:pt x="3908" y="1527"/>
                    <a:pt x="3917" y="1625"/>
                    <a:pt x="3957" y="1656"/>
                  </a:cubicBezTo>
                  <a:cubicBezTo>
                    <a:pt x="3996" y="1687"/>
                    <a:pt x="3948" y="1731"/>
                    <a:pt x="3895" y="1660"/>
                  </a:cubicBezTo>
                  <a:cubicBezTo>
                    <a:pt x="3842" y="1589"/>
                    <a:pt x="3815" y="1514"/>
                    <a:pt x="3731" y="1510"/>
                  </a:cubicBezTo>
                  <a:cubicBezTo>
                    <a:pt x="3647" y="1505"/>
                    <a:pt x="3685" y="1591"/>
                    <a:pt x="3718" y="1634"/>
                  </a:cubicBezTo>
                  <a:cubicBezTo>
                    <a:pt x="3762" y="1691"/>
                    <a:pt x="3806" y="1704"/>
                    <a:pt x="3877" y="1744"/>
                  </a:cubicBezTo>
                  <a:cubicBezTo>
                    <a:pt x="3948" y="1784"/>
                    <a:pt x="4063" y="1727"/>
                    <a:pt x="4116" y="1740"/>
                  </a:cubicBezTo>
                  <a:cubicBezTo>
                    <a:pt x="4169" y="1753"/>
                    <a:pt x="4058" y="1820"/>
                    <a:pt x="4094" y="1864"/>
                  </a:cubicBezTo>
                  <a:cubicBezTo>
                    <a:pt x="4129" y="1908"/>
                    <a:pt x="4227" y="1877"/>
                    <a:pt x="4302" y="1873"/>
                  </a:cubicBezTo>
                  <a:cubicBezTo>
                    <a:pt x="4377" y="1868"/>
                    <a:pt x="4342" y="1824"/>
                    <a:pt x="4386" y="1793"/>
                  </a:cubicBezTo>
                  <a:cubicBezTo>
                    <a:pt x="4430" y="1762"/>
                    <a:pt x="4342" y="1766"/>
                    <a:pt x="4377" y="1691"/>
                  </a:cubicBezTo>
                  <a:cubicBezTo>
                    <a:pt x="4413" y="1616"/>
                    <a:pt x="4267" y="1496"/>
                    <a:pt x="4262" y="1541"/>
                  </a:cubicBezTo>
                  <a:close/>
                  <a:moveTo>
                    <a:pt x="4448" y="1279"/>
                  </a:moveTo>
                  <a:cubicBezTo>
                    <a:pt x="4514" y="1279"/>
                    <a:pt x="4568" y="1271"/>
                    <a:pt x="4625" y="1248"/>
                  </a:cubicBezTo>
                  <a:cubicBezTo>
                    <a:pt x="4683" y="1226"/>
                    <a:pt x="4594" y="1226"/>
                    <a:pt x="4634" y="1173"/>
                  </a:cubicBezTo>
                  <a:cubicBezTo>
                    <a:pt x="4674" y="1120"/>
                    <a:pt x="4537" y="1116"/>
                    <a:pt x="4528" y="1133"/>
                  </a:cubicBezTo>
                  <a:cubicBezTo>
                    <a:pt x="4519" y="1151"/>
                    <a:pt x="4346" y="1027"/>
                    <a:pt x="4320" y="1067"/>
                  </a:cubicBezTo>
                  <a:cubicBezTo>
                    <a:pt x="4293" y="1107"/>
                    <a:pt x="4382" y="1279"/>
                    <a:pt x="4448" y="1279"/>
                  </a:cubicBezTo>
                  <a:close/>
                  <a:moveTo>
                    <a:pt x="4807" y="1302"/>
                  </a:moveTo>
                  <a:cubicBezTo>
                    <a:pt x="4798" y="1275"/>
                    <a:pt x="4462" y="1315"/>
                    <a:pt x="4514" y="1355"/>
                  </a:cubicBezTo>
                  <a:cubicBezTo>
                    <a:pt x="4603" y="1421"/>
                    <a:pt x="4816" y="1328"/>
                    <a:pt x="4807" y="1302"/>
                  </a:cubicBezTo>
                  <a:close/>
                  <a:moveTo>
                    <a:pt x="4758" y="1948"/>
                  </a:moveTo>
                  <a:cubicBezTo>
                    <a:pt x="4838" y="1943"/>
                    <a:pt x="4798" y="1846"/>
                    <a:pt x="4709" y="1780"/>
                  </a:cubicBezTo>
                  <a:cubicBezTo>
                    <a:pt x="4621" y="1713"/>
                    <a:pt x="4422" y="1850"/>
                    <a:pt x="4457" y="1877"/>
                  </a:cubicBezTo>
                  <a:cubicBezTo>
                    <a:pt x="4497" y="1908"/>
                    <a:pt x="4678" y="1952"/>
                    <a:pt x="4758" y="1948"/>
                  </a:cubicBezTo>
                  <a:close/>
                  <a:moveTo>
                    <a:pt x="4191" y="2568"/>
                  </a:moveTo>
                  <a:cubicBezTo>
                    <a:pt x="4289" y="2634"/>
                    <a:pt x="4258" y="2515"/>
                    <a:pt x="4368" y="2519"/>
                  </a:cubicBezTo>
                  <a:cubicBezTo>
                    <a:pt x="4479" y="2523"/>
                    <a:pt x="4483" y="2342"/>
                    <a:pt x="4501" y="2276"/>
                  </a:cubicBezTo>
                  <a:cubicBezTo>
                    <a:pt x="4519" y="2209"/>
                    <a:pt x="4413" y="2214"/>
                    <a:pt x="4439" y="2262"/>
                  </a:cubicBezTo>
                  <a:cubicBezTo>
                    <a:pt x="4466" y="2311"/>
                    <a:pt x="4435" y="2360"/>
                    <a:pt x="4426" y="2302"/>
                  </a:cubicBezTo>
                  <a:cubicBezTo>
                    <a:pt x="4417" y="2245"/>
                    <a:pt x="4333" y="2298"/>
                    <a:pt x="4302" y="2253"/>
                  </a:cubicBezTo>
                  <a:cubicBezTo>
                    <a:pt x="4271" y="2209"/>
                    <a:pt x="4399" y="2205"/>
                    <a:pt x="4430" y="2147"/>
                  </a:cubicBezTo>
                  <a:cubicBezTo>
                    <a:pt x="4461" y="2090"/>
                    <a:pt x="4329" y="2098"/>
                    <a:pt x="4360" y="2054"/>
                  </a:cubicBezTo>
                  <a:cubicBezTo>
                    <a:pt x="4391" y="2010"/>
                    <a:pt x="4165" y="2059"/>
                    <a:pt x="4231" y="2085"/>
                  </a:cubicBezTo>
                  <a:cubicBezTo>
                    <a:pt x="4298" y="2112"/>
                    <a:pt x="4236" y="2147"/>
                    <a:pt x="4174" y="2103"/>
                  </a:cubicBezTo>
                  <a:cubicBezTo>
                    <a:pt x="4112" y="2059"/>
                    <a:pt x="3940" y="2133"/>
                    <a:pt x="4001" y="2183"/>
                  </a:cubicBezTo>
                  <a:cubicBezTo>
                    <a:pt x="4050" y="2222"/>
                    <a:pt x="4196" y="2156"/>
                    <a:pt x="4112" y="2271"/>
                  </a:cubicBezTo>
                  <a:cubicBezTo>
                    <a:pt x="4027" y="2386"/>
                    <a:pt x="3992" y="2240"/>
                    <a:pt x="3912" y="2253"/>
                  </a:cubicBezTo>
                  <a:cubicBezTo>
                    <a:pt x="3833" y="2267"/>
                    <a:pt x="3868" y="2364"/>
                    <a:pt x="3988" y="2399"/>
                  </a:cubicBezTo>
                  <a:cubicBezTo>
                    <a:pt x="4107" y="2435"/>
                    <a:pt x="4094" y="2501"/>
                    <a:pt x="4191" y="2568"/>
                  </a:cubicBezTo>
                  <a:close/>
                  <a:moveTo>
                    <a:pt x="4913" y="1859"/>
                  </a:moveTo>
                  <a:cubicBezTo>
                    <a:pt x="4944" y="1948"/>
                    <a:pt x="4979" y="1886"/>
                    <a:pt x="5028" y="1921"/>
                  </a:cubicBezTo>
                  <a:cubicBezTo>
                    <a:pt x="5077" y="1957"/>
                    <a:pt x="5152" y="1979"/>
                    <a:pt x="5192" y="1943"/>
                  </a:cubicBezTo>
                  <a:cubicBezTo>
                    <a:pt x="5232" y="1908"/>
                    <a:pt x="5249" y="1882"/>
                    <a:pt x="5263" y="1912"/>
                  </a:cubicBezTo>
                  <a:cubicBezTo>
                    <a:pt x="5284" y="1963"/>
                    <a:pt x="5382" y="1970"/>
                    <a:pt x="5595" y="1974"/>
                  </a:cubicBezTo>
                  <a:cubicBezTo>
                    <a:pt x="5807" y="1979"/>
                    <a:pt x="5754" y="1886"/>
                    <a:pt x="5816" y="1921"/>
                  </a:cubicBezTo>
                  <a:cubicBezTo>
                    <a:pt x="5878" y="1957"/>
                    <a:pt x="6020" y="1957"/>
                    <a:pt x="6082" y="1943"/>
                  </a:cubicBezTo>
                  <a:cubicBezTo>
                    <a:pt x="6144" y="1930"/>
                    <a:pt x="6175" y="1833"/>
                    <a:pt x="6170" y="1784"/>
                  </a:cubicBezTo>
                  <a:cubicBezTo>
                    <a:pt x="6166" y="1735"/>
                    <a:pt x="5692" y="1696"/>
                    <a:pt x="5608" y="1744"/>
                  </a:cubicBezTo>
                  <a:cubicBezTo>
                    <a:pt x="5524" y="1793"/>
                    <a:pt x="5391" y="1722"/>
                    <a:pt x="5325" y="1758"/>
                  </a:cubicBezTo>
                  <a:cubicBezTo>
                    <a:pt x="5258" y="1793"/>
                    <a:pt x="5280" y="1713"/>
                    <a:pt x="5161" y="1709"/>
                  </a:cubicBezTo>
                  <a:cubicBezTo>
                    <a:pt x="5041" y="1704"/>
                    <a:pt x="5170" y="1642"/>
                    <a:pt x="5192" y="1616"/>
                  </a:cubicBezTo>
                  <a:cubicBezTo>
                    <a:pt x="5214" y="1589"/>
                    <a:pt x="5010" y="1518"/>
                    <a:pt x="4926" y="1536"/>
                  </a:cubicBezTo>
                  <a:cubicBezTo>
                    <a:pt x="4842" y="1554"/>
                    <a:pt x="4793" y="1510"/>
                    <a:pt x="4714" y="1474"/>
                  </a:cubicBezTo>
                  <a:cubicBezTo>
                    <a:pt x="4634" y="1439"/>
                    <a:pt x="4418" y="1447"/>
                    <a:pt x="4461" y="1510"/>
                  </a:cubicBezTo>
                  <a:cubicBezTo>
                    <a:pt x="4492" y="1554"/>
                    <a:pt x="4749" y="1647"/>
                    <a:pt x="4776" y="1603"/>
                  </a:cubicBezTo>
                  <a:cubicBezTo>
                    <a:pt x="4802" y="1558"/>
                    <a:pt x="4869" y="1656"/>
                    <a:pt x="4908" y="1704"/>
                  </a:cubicBezTo>
                  <a:cubicBezTo>
                    <a:pt x="4948" y="1753"/>
                    <a:pt x="4882" y="1771"/>
                    <a:pt x="4913" y="1859"/>
                  </a:cubicBezTo>
                  <a:close/>
                  <a:moveTo>
                    <a:pt x="5139" y="1337"/>
                  </a:moveTo>
                  <a:cubicBezTo>
                    <a:pt x="5059" y="1297"/>
                    <a:pt x="4959" y="1381"/>
                    <a:pt x="5041" y="1412"/>
                  </a:cubicBezTo>
                  <a:cubicBezTo>
                    <a:pt x="5112" y="1439"/>
                    <a:pt x="5218" y="1377"/>
                    <a:pt x="5139" y="1337"/>
                  </a:cubicBezTo>
                  <a:close/>
                  <a:moveTo>
                    <a:pt x="4501" y="841"/>
                  </a:moveTo>
                  <a:cubicBezTo>
                    <a:pt x="4566" y="874"/>
                    <a:pt x="4528" y="916"/>
                    <a:pt x="4599" y="947"/>
                  </a:cubicBezTo>
                  <a:cubicBezTo>
                    <a:pt x="4669" y="978"/>
                    <a:pt x="4873" y="908"/>
                    <a:pt x="4891" y="956"/>
                  </a:cubicBezTo>
                  <a:cubicBezTo>
                    <a:pt x="4908" y="1005"/>
                    <a:pt x="4683" y="1009"/>
                    <a:pt x="4714" y="1040"/>
                  </a:cubicBezTo>
                  <a:cubicBezTo>
                    <a:pt x="4745" y="1071"/>
                    <a:pt x="4873" y="1120"/>
                    <a:pt x="4855" y="1147"/>
                  </a:cubicBezTo>
                  <a:cubicBezTo>
                    <a:pt x="4838" y="1173"/>
                    <a:pt x="5068" y="1248"/>
                    <a:pt x="5090" y="1213"/>
                  </a:cubicBezTo>
                  <a:cubicBezTo>
                    <a:pt x="5112" y="1178"/>
                    <a:pt x="5174" y="1186"/>
                    <a:pt x="5232" y="1209"/>
                  </a:cubicBezTo>
                  <a:cubicBezTo>
                    <a:pt x="5289" y="1231"/>
                    <a:pt x="5294" y="1071"/>
                    <a:pt x="5334" y="1098"/>
                  </a:cubicBezTo>
                  <a:cubicBezTo>
                    <a:pt x="5373" y="1124"/>
                    <a:pt x="5369" y="1040"/>
                    <a:pt x="5435" y="1014"/>
                  </a:cubicBezTo>
                  <a:cubicBezTo>
                    <a:pt x="5502" y="987"/>
                    <a:pt x="5597" y="987"/>
                    <a:pt x="5604" y="956"/>
                  </a:cubicBezTo>
                  <a:cubicBezTo>
                    <a:pt x="5608" y="934"/>
                    <a:pt x="5586" y="903"/>
                    <a:pt x="5506" y="912"/>
                  </a:cubicBezTo>
                  <a:cubicBezTo>
                    <a:pt x="5426" y="921"/>
                    <a:pt x="5373" y="890"/>
                    <a:pt x="5409" y="846"/>
                  </a:cubicBezTo>
                  <a:cubicBezTo>
                    <a:pt x="5444" y="801"/>
                    <a:pt x="5320" y="788"/>
                    <a:pt x="5364" y="753"/>
                  </a:cubicBezTo>
                  <a:cubicBezTo>
                    <a:pt x="5409" y="717"/>
                    <a:pt x="5280" y="682"/>
                    <a:pt x="5294" y="735"/>
                  </a:cubicBezTo>
                  <a:cubicBezTo>
                    <a:pt x="5307" y="788"/>
                    <a:pt x="5214" y="739"/>
                    <a:pt x="5201" y="691"/>
                  </a:cubicBezTo>
                  <a:cubicBezTo>
                    <a:pt x="5187" y="642"/>
                    <a:pt x="5006" y="624"/>
                    <a:pt x="4886" y="518"/>
                  </a:cubicBezTo>
                  <a:cubicBezTo>
                    <a:pt x="4767" y="412"/>
                    <a:pt x="4643" y="483"/>
                    <a:pt x="4714" y="496"/>
                  </a:cubicBezTo>
                  <a:cubicBezTo>
                    <a:pt x="4785" y="509"/>
                    <a:pt x="4780" y="544"/>
                    <a:pt x="4723" y="540"/>
                  </a:cubicBezTo>
                  <a:cubicBezTo>
                    <a:pt x="4665" y="536"/>
                    <a:pt x="4563" y="544"/>
                    <a:pt x="4656" y="580"/>
                  </a:cubicBezTo>
                  <a:cubicBezTo>
                    <a:pt x="4749" y="615"/>
                    <a:pt x="4647" y="629"/>
                    <a:pt x="4572" y="629"/>
                  </a:cubicBezTo>
                  <a:cubicBezTo>
                    <a:pt x="4497" y="629"/>
                    <a:pt x="4492" y="726"/>
                    <a:pt x="4590" y="739"/>
                  </a:cubicBezTo>
                  <a:cubicBezTo>
                    <a:pt x="4687" y="753"/>
                    <a:pt x="4616" y="810"/>
                    <a:pt x="4537" y="788"/>
                  </a:cubicBezTo>
                  <a:cubicBezTo>
                    <a:pt x="4457" y="766"/>
                    <a:pt x="4430" y="806"/>
                    <a:pt x="4501" y="841"/>
                  </a:cubicBezTo>
                  <a:close/>
                  <a:moveTo>
                    <a:pt x="5037" y="403"/>
                  </a:moveTo>
                  <a:cubicBezTo>
                    <a:pt x="5099" y="363"/>
                    <a:pt x="5148" y="390"/>
                    <a:pt x="5094" y="416"/>
                  </a:cubicBezTo>
                  <a:cubicBezTo>
                    <a:pt x="5041" y="443"/>
                    <a:pt x="5059" y="460"/>
                    <a:pt x="5134" y="456"/>
                  </a:cubicBezTo>
                  <a:cubicBezTo>
                    <a:pt x="5210" y="452"/>
                    <a:pt x="5103" y="478"/>
                    <a:pt x="5103" y="522"/>
                  </a:cubicBezTo>
                  <a:cubicBezTo>
                    <a:pt x="5103" y="567"/>
                    <a:pt x="5192" y="540"/>
                    <a:pt x="5196" y="584"/>
                  </a:cubicBezTo>
                  <a:cubicBezTo>
                    <a:pt x="5201" y="629"/>
                    <a:pt x="5391" y="646"/>
                    <a:pt x="5449" y="593"/>
                  </a:cubicBezTo>
                  <a:cubicBezTo>
                    <a:pt x="5506" y="540"/>
                    <a:pt x="5484" y="606"/>
                    <a:pt x="5480" y="642"/>
                  </a:cubicBezTo>
                  <a:cubicBezTo>
                    <a:pt x="5475" y="677"/>
                    <a:pt x="5750" y="708"/>
                    <a:pt x="5763" y="664"/>
                  </a:cubicBezTo>
                  <a:cubicBezTo>
                    <a:pt x="5776" y="620"/>
                    <a:pt x="5816" y="637"/>
                    <a:pt x="5869" y="651"/>
                  </a:cubicBezTo>
                  <a:cubicBezTo>
                    <a:pt x="5922" y="664"/>
                    <a:pt x="6184" y="602"/>
                    <a:pt x="6188" y="549"/>
                  </a:cubicBezTo>
                  <a:cubicBezTo>
                    <a:pt x="6192" y="496"/>
                    <a:pt x="6272" y="575"/>
                    <a:pt x="6188" y="633"/>
                  </a:cubicBezTo>
                  <a:cubicBezTo>
                    <a:pt x="6104" y="691"/>
                    <a:pt x="5936" y="682"/>
                    <a:pt x="5860" y="704"/>
                  </a:cubicBezTo>
                  <a:cubicBezTo>
                    <a:pt x="5785" y="726"/>
                    <a:pt x="5909" y="779"/>
                    <a:pt x="5984" y="837"/>
                  </a:cubicBezTo>
                  <a:cubicBezTo>
                    <a:pt x="6060" y="894"/>
                    <a:pt x="5887" y="863"/>
                    <a:pt x="5816" y="788"/>
                  </a:cubicBezTo>
                  <a:cubicBezTo>
                    <a:pt x="5745" y="713"/>
                    <a:pt x="5586" y="713"/>
                    <a:pt x="5502" y="717"/>
                  </a:cubicBezTo>
                  <a:cubicBezTo>
                    <a:pt x="5418" y="722"/>
                    <a:pt x="5444" y="877"/>
                    <a:pt x="5506" y="877"/>
                  </a:cubicBezTo>
                  <a:cubicBezTo>
                    <a:pt x="5568" y="877"/>
                    <a:pt x="5630" y="899"/>
                    <a:pt x="5692" y="996"/>
                  </a:cubicBezTo>
                  <a:cubicBezTo>
                    <a:pt x="5754" y="1093"/>
                    <a:pt x="5887" y="1071"/>
                    <a:pt x="5887" y="1116"/>
                  </a:cubicBezTo>
                  <a:cubicBezTo>
                    <a:pt x="5887" y="1160"/>
                    <a:pt x="5714" y="1080"/>
                    <a:pt x="5617" y="1062"/>
                  </a:cubicBezTo>
                  <a:cubicBezTo>
                    <a:pt x="5519" y="1045"/>
                    <a:pt x="5364" y="1107"/>
                    <a:pt x="5360" y="1178"/>
                  </a:cubicBezTo>
                  <a:cubicBezTo>
                    <a:pt x="5356" y="1248"/>
                    <a:pt x="5502" y="1240"/>
                    <a:pt x="5599" y="1182"/>
                  </a:cubicBezTo>
                  <a:cubicBezTo>
                    <a:pt x="5697" y="1124"/>
                    <a:pt x="5626" y="1200"/>
                    <a:pt x="5577" y="1244"/>
                  </a:cubicBezTo>
                  <a:cubicBezTo>
                    <a:pt x="5528" y="1288"/>
                    <a:pt x="5692" y="1324"/>
                    <a:pt x="5692" y="1377"/>
                  </a:cubicBezTo>
                  <a:cubicBezTo>
                    <a:pt x="5692" y="1430"/>
                    <a:pt x="5573" y="1412"/>
                    <a:pt x="5559" y="1364"/>
                  </a:cubicBezTo>
                  <a:cubicBezTo>
                    <a:pt x="5546" y="1315"/>
                    <a:pt x="5502" y="1266"/>
                    <a:pt x="5387" y="1275"/>
                  </a:cubicBezTo>
                  <a:cubicBezTo>
                    <a:pt x="5272" y="1284"/>
                    <a:pt x="5303" y="1364"/>
                    <a:pt x="5373" y="1372"/>
                  </a:cubicBezTo>
                  <a:cubicBezTo>
                    <a:pt x="5444" y="1381"/>
                    <a:pt x="5449" y="1434"/>
                    <a:pt x="5369" y="1434"/>
                  </a:cubicBezTo>
                  <a:cubicBezTo>
                    <a:pt x="5289" y="1434"/>
                    <a:pt x="5109" y="1484"/>
                    <a:pt x="5165" y="1536"/>
                  </a:cubicBezTo>
                  <a:cubicBezTo>
                    <a:pt x="5227" y="1594"/>
                    <a:pt x="5453" y="1536"/>
                    <a:pt x="5493" y="1572"/>
                  </a:cubicBezTo>
                  <a:cubicBezTo>
                    <a:pt x="5533" y="1607"/>
                    <a:pt x="5643" y="1620"/>
                    <a:pt x="5670" y="1580"/>
                  </a:cubicBezTo>
                  <a:cubicBezTo>
                    <a:pt x="5697" y="1541"/>
                    <a:pt x="5785" y="1558"/>
                    <a:pt x="5874" y="1558"/>
                  </a:cubicBezTo>
                  <a:cubicBezTo>
                    <a:pt x="5962" y="1558"/>
                    <a:pt x="5984" y="1572"/>
                    <a:pt x="6024" y="1607"/>
                  </a:cubicBezTo>
                  <a:cubicBezTo>
                    <a:pt x="6064" y="1642"/>
                    <a:pt x="6135" y="1629"/>
                    <a:pt x="6184" y="1594"/>
                  </a:cubicBezTo>
                  <a:cubicBezTo>
                    <a:pt x="6232" y="1558"/>
                    <a:pt x="6232" y="1558"/>
                    <a:pt x="6294" y="1558"/>
                  </a:cubicBezTo>
                  <a:cubicBezTo>
                    <a:pt x="6356" y="1558"/>
                    <a:pt x="6369" y="1518"/>
                    <a:pt x="6339" y="1470"/>
                  </a:cubicBezTo>
                  <a:cubicBezTo>
                    <a:pt x="6308" y="1421"/>
                    <a:pt x="6228" y="1505"/>
                    <a:pt x="6219" y="1470"/>
                  </a:cubicBezTo>
                  <a:cubicBezTo>
                    <a:pt x="6208" y="1426"/>
                    <a:pt x="6135" y="1412"/>
                    <a:pt x="6011" y="1430"/>
                  </a:cubicBezTo>
                  <a:cubicBezTo>
                    <a:pt x="5887" y="1448"/>
                    <a:pt x="5940" y="1350"/>
                    <a:pt x="6015" y="1372"/>
                  </a:cubicBezTo>
                  <a:cubicBezTo>
                    <a:pt x="6091" y="1395"/>
                    <a:pt x="6192" y="1386"/>
                    <a:pt x="6277" y="1364"/>
                  </a:cubicBezTo>
                  <a:cubicBezTo>
                    <a:pt x="6361" y="1341"/>
                    <a:pt x="6294" y="1302"/>
                    <a:pt x="6294" y="1266"/>
                  </a:cubicBezTo>
                  <a:cubicBezTo>
                    <a:pt x="6294" y="1231"/>
                    <a:pt x="6400" y="1253"/>
                    <a:pt x="6480" y="1253"/>
                  </a:cubicBezTo>
                  <a:cubicBezTo>
                    <a:pt x="6560" y="1253"/>
                    <a:pt x="6675" y="1124"/>
                    <a:pt x="6679" y="1049"/>
                  </a:cubicBezTo>
                  <a:cubicBezTo>
                    <a:pt x="6684" y="974"/>
                    <a:pt x="6502" y="992"/>
                    <a:pt x="6414" y="992"/>
                  </a:cubicBezTo>
                  <a:cubicBezTo>
                    <a:pt x="6325" y="992"/>
                    <a:pt x="6471" y="925"/>
                    <a:pt x="6640" y="934"/>
                  </a:cubicBezTo>
                  <a:cubicBezTo>
                    <a:pt x="6808" y="943"/>
                    <a:pt x="6733" y="868"/>
                    <a:pt x="6763" y="841"/>
                  </a:cubicBezTo>
                  <a:cubicBezTo>
                    <a:pt x="6794" y="815"/>
                    <a:pt x="6874" y="872"/>
                    <a:pt x="6958" y="854"/>
                  </a:cubicBezTo>
                  <a:cubicBezTo>
                    <a:pt x="7042" y="837"/>
                    <a:pt x="6985" y="766"/>
                    <a:pt x="7042" y="766"/>
                  </a:cubicBezTo>
                  <a:cubicBezTo>
                    <a:pt x="7083" y="766"/>
                    <a:pt x="7175" y="704"/>
                    <a:pt x="7357" y="602"/>
                  </a:cubicBezTo>
                  <a:cubicBezTo>
                    <a:pt x="7538" y="500"/>
                    <a:pt x="7680" y="518"/>
                    <a:pt x="7689" y="460"/>
                  </a:cubicBezTo>
                  <a:cubicBezTo>
                    <a:pt x="7698" y="403"/>
                    <a:pt x="7436" y="460"/>
                    <a:pt x="7392" y="443"/>
                  </a:cubicBezTo>
                  <a:cubicBezTo>
                    <a:pt x="7348" y="425"/>
                    <a:pt x="7574" y="376"/>
                    <a:pt x="7627" y="390"/>
                  </a:cubicBezTo>
                  <a:cubicBezTo>
                    <a:pt x="7680" y="403"/>
                    <a:pt x="7751" y="390"/>
                    <a:pt x="7932" y="301"/>
                  </a:cubicBezTo>
                  <a:cubicBezTo>
                    <a:pt x="8114" y="212"/>
                    <a:pt x="8034" y="190"/>
                    <a:pt x="7959" y="204"/>
                  </a:cubicBezTo>
                  <a:cubicBezTo>
                    <a:pt x="7884" y="217"/>
                    <a:pt x="7799" y="190"/>
                    <a:pt x="7804" y="142"/>
                  </a:cubicBezTo>
                  <a:cubicBezTo>
                    <a:pt x="7808" y="93"/>
                    <a:pt x="7693" y="137"/>
                    <a:pt x="7689" y="111"/>
                  </a:cubicBezTo>
                  <a:cubicBezTo>
                    <a:pt x="7684" y="84"/>
                    <a:pt x="7578" y="97"/>
                    <a:pt x="7463" y="142"/>
                  </a:cubicBezTo>
                  <a:cubicBezTo>
                    <a:pt x="7348" y="186"/>
                    <a:pt x="7454" y="97"/>
                    <a:pt x="7503" y="80"/>
                  </a:cubicBezTo>
                  <a:cubicBezTo>
                    <a:pt x="7552" y="62"/>
                    <a:pt x="7211" y="80"/>
                    <a:pt x="7153" y="40"/>
                  </a:cubicBezTo>
                  <a:cubicBezTo>
                    <a:pt x="7096" y="0"/>
                    <a:pt x="7029" y="106"/>
                    <a:pt x="6976" y="53"/>
                  </a:cubicBezTo>
                  <a:cubicBezTo>
                    <a:pt x="6923" y="0"/>
                    <a:pt x="6786" y="44"/>
                    <a:pt x="6803" y="84"/>
                  </a:cubicBezTo>
                  <a:cubicBezTo>
                    <a:pt x="6821" y="124"/>
                    <a:pt x="6781" y="124"/>
                    <a:pt x="6728" y="80"/>
                  </a:cubicBezTo>
                  <a:cubicBezTo>
                    <a:pt x="6675" y="35"/>
                    <a:pt x="6573" y="84"/>
                    <a:pt x="6480" y="71"/>
                  </a:cubicBezTo>
                  <a:cubicBezTo>
                    <a:pt x="6387" y="57"/>
                    <a:pt x="6427" y="146"/>
                    <a:pt x="6325" y="102"/>
                  </a:cubicBezTo>
                  <a:cubicBezTo>
                    <a:pt x="6223" y="57"/>
                    <a:pt x="6113" y="80"/>
                    <a:pt x="6144" y="93"/>
                  </a:cubicBezTo>
                  <a:cubicBezTo>
                    <a:pt x="6175" y="106"/>
                    <a:pt x="6135" y="133"/>
                    <a:pt x="6091" y="119"/>
                  </a:cubicBezTo>
                  <a:cubicBezTo>
                    <a:pt x="6046" y="106"/>
                    <a:pt x="6006" y="124"/>
                    <a:pt x="6029" y="168"/>
                  </a:cubicBezTo>
                  <a:cubicBezTo>
                    <a:pt x="6051" y="212"/>
                    <a:pt x="5865" y="155"/>
                    <a:pt x="5865" y="204"/>
                  </a:cubicBezTo>
                  <a:cubicBezTo>
                    <a:pt x="5865" y="252"/>
                    <a:pt x="5798" y="279"/>
                    <a:pt x="5745" y="235"/>
                  </a:cubicBezTo>
                  <a:cubicBezTo>
                    <a:pt x="5692" y="190"/>
                    <a:pt x="5524" y="177"/>
                    <a:pt x="5573" y="217"/>
                  </a:cubicBezTo>
                  <a:cubicBezTo>
                    <a:pt x="5621" y="257"/>
                    <a:pt x="5422" y="235"/>
                    <a:pt x="5475" y="274"/>
                  </a:cubicBezTo>
                  <a:cubicBezTo>
                    <a:pt x="5528" y="314"/>
                    <a:pt x="5409" y="345"/>
                    <a:pt x="5409" y="323"/>
                  </a:cubicBezTo>
                  <a:cubicBezTo>
                    <a:pt x="5409" y="301"/>
                    <a:pt x="5298" y="261"/>
                    <a:pt x="5254" y="301"/>
                  </a:cubicBezTo>
                  <a:cubicBezTo>
                    <a:pt x="5210" y="341"/>
                    <a:pt x="5196" y="390"/>
                    <a:pt x="5174" y="363"/>
                  </a:cubicBezTo>
                  <a:cubicBezTo>
                    <a:pt x="5152" y="336"/>
                    <a:pt x="5055" y="345"/>
                    <a:pt x="4962" y="381"/>
                  </a:cubicBezTo>
                  <a:cubicBezTo>
                    <a:pt x="4869" y="416"/>
                    <a:pt x="4975" y="443"/>
                    <a:pt x="5037" y="403"/>
                  </a:cubicBezTo>
                  <a:close/>
                  <a:moveTo>
                    <a:pt x="6153" y="4223"/>
                  </a:moveTo>
                  <a:cubicBezTo>
                    <a:pt x="6184" y="4219"/>
                    <a:pt x="6246" y="4108"/>
                    <a:pt x="6166" y="4113"/>
                  </a:cubicBezTo>
                  <a:cubicBezTo>
                    <a:pt x="6086" y="4117"/>
                    <a:pt x="6104" y="4230"/>
                    <a:pt x="6153" y="4223"/>
                  </a:cubicBezTo>
                  <a:close/>
                  <a:moveTo>
                    <a:pt x="5763" y="4126"/>
                  </a:moveTo>
                  <a:cubicBezTo>
                    <a:pt x="5834" y="4170"/>
                    <a:pt x="5940" y="4051"/>
                    <a:pt x="5931" y="4015"/>
                  </a:cubicBezTo>
                  <a:cubicBezTo>
                    <a:pt x="5922" y="3980"/>
                    <a:pt x="5677" y="4073"/>
                    <a:pt x="5763" y="4126"/>
                  </a:cubicBezTo>
                  <a:close/>
                  <a:moveTo>
                    <a:pt x="6082" y="3883"/>
                  </a:moveTo>
                  <a:cubicBezTo>
                    <a:pt x="6091" y="3838"/>
                    <a:pt x="5936" y="3821"/>
                    <a:pt x="5944" y="3772"/>
                  </a:cubicBezTo>
                  <a:cubicBezTo>
                    <a:pt x="5953" y="3723"/>
                    <a:pt x="5798" y="3683"/>
                    <a:pt x="5750" y="3657"/>
                  </a:cubicBezTo>
                  <a:cubicBezTo>
                    <a:pt x="5701" y="3630"/>
                    <a:pt x="5626" y="3617"/>
                    <a:pt x="5626" y="3564"/>
                  </a:cubicBezTo>
                  <a:cubicBezTo>
                    <a:pt x="5626" y="3511"/>
                    <a:pt x="5519" y="3551"/>
                    <a:pt x="5515" y="3630"/>
                  </a:cubicBezTo>
                  <a:cubicBezTo>
                    <a:pt x="5511" y="3710"/>
                    <a:pt x="5466" y="3692"/>
                    <a:pt x="5488" y="3767"/>
                  </a:cubicBezTo>
                  <a:cubicBezTo>
                    <a:pt x="5511" y="3843"/>
                    <a:pt x="5391" y="3861"/>
                    <a:pt x="5404" y="3900"/>
                  </a:cubicBezTo>
                  <a:cubicBezTo>
                    <a:pt x="5418" y="3940"/>
                    <a:pt x="5475" y="3896"/>
                    <a:pt x="5528" y="3896"/>
                  </a:cubicBezTo>
                  <a:cubicBezTo>
                    <a:pt x="5581" y="3896"/>
                    <a:pt x="5514" y="3970"/>
                    <a:pt x="5581" y="3976"/>
                  </a:cubicBezTo>
                  <a:cubicBezTo>
                    <a:pt x="5635" y="3980"/>
                    <a:pt x="5728" y="3918"/>
                    <a:pt x="5750" y="3883"/>
                  </a:cubicBezTo>
                  <a:cubicBezTo>
                    <a:pt x="5772" y="3847"/>
                    <a:pt x="5816" y="3834"/>
                    <a:pt x="5878" y="3878"/>
                  </a:cubicBezTo>
                  <a:cubicBezTo>
                    <a:pt x="5940" y="3922"/>
                    <a:pt x="6073" y="3927"/>
                    <a:pt x="6082" y="3883"/>
                  </a:cubicBezTo>
                  <a:close/>
                  <a:moveTo>
                    <a:pt x="7529" y="3493"/>
                  </a:moveTo>
                  <a:cubicBezTo>
                    <a:pt x="7583" y="3497"/>
                    <a:pt x="7591" y="3564"/>
                    <a:pt x="7676" y="3635"/>
                  </a:cubicBezTo>
                  <a:cubicBezTo>
                    <a:pt x="7760" y="3706"/>
                    <a:pt x="7769" y="3657"/>
                    <a:pt x="7782" y="3608"/>
                  </a:cubicBezTo>
                  <a:cubicBezTo>
                    <a:pt x="7795" y="3559"/>
                    <a:pt x="7888" y="3599"/>
                    <a:pt x="7884" y="3551"/>
                  </a:cubicBezTo>
                  <a:cubicBezTo>
                    <a:pt x="7879" y="3502"/>
                    <a:pt x="7959" y="3444"/>
                    <a:pt x="8012" y="3422"/>
                  </a:cubicBezTo>
                  <a:cubicBezTo>
                    <a:pt x="8065" y="3400"/>
                    <a:pt x="7968" y="3347"/>
                    <a:pt x="7897" y="3351"/>
                  </a:cubicBezTo>
                  <a:cubicBezTo>
                    <a:pt x="7826" y="3356"/>
                    <a:pt x="7813" y="3307"/>
                    <a:pt x="7813" y="3276"/>
                  </a:cubicBezTo>
                  <a:cubicBezTo>
                    <a:pt x="7813" y="3245"/>
                    <a:pt x="7680" y="3170"/>
                    <a:pt x="7636" y="3183"/>
                  </a:cubicBezTo>
                  <a:cubicBezTo>
                    <a:pt x="7591" y="3196"/>
                    <a:pt x="7516" y="3126"/>
                    <a:pt x="7459" y="3121"/>
                  </a:cubicBezTo>
                  <a:cubicBezTo>
                    <a:pt x="7401" y="3117"/>
                    <a:pt x="7317" y="3072"/>
                    <a:pt x="7326" y="3010"/>
                  </a:cubicBezTo>
                  <a:cubicBezTo>
                    <a:pt x="7335" y="2948"/>
                    <a:pt x="7441" y="3028"/>
                    <a:pt x="7463" y="2979"/>
                  </a:cubicBezTo>
                  <a:cubicBezTo>
                    <a:pt x="7485" y="2931"/>
                    <a:pt x="7352" y="2957"/>
                    <a:pt x="7348" y="2922"/>
                  </a:cubicBezTo>
                  <a:cubicBezTo>
                    <a:pt x="7343" y="2887"/>
                    <a:pt x="7379" y="2900"/>
                    <a:pt x="7405" y="2878"/>
                  </a:cubicBezTo>
                  <a:cubicBezTo>
                    <a:pt x="7432" y="2855"/>
                    <a:pt x="7383" y="2811"/>
                    <a:pt x="7352" y="2794"/>
                  </a:cubicBezTo>
                  <a:cubicBezTo>
                    <a:pt x="7321" y="2776"/>
                    <a:pt x="7312" y="2829"/>
                    <a:pt x="7281" y="2829"/>
                  </a:cubicBezTo>
                  <a:cubicBezTo>
                    <a:pt x="7250" y="2829"/>
                    <a:pt x="7277" y="2780"/>
                    <a:pt x="7299" y="2749"/>
                  </a:cubicBezTo>
                  <a:cubicBezTo>
                    <a:pt x="7321" y="2718"/>
                    <a:pt x="7197" y="2683"/>
                    <a:pt x="7144" y="2701"/>
                  </a:cubicBezTo>
                  <a:cubicBezTo>
                    <a:pt x="7091" y="2718"/>
                    <a:pt x="7073" y="2687"/>
                    <a:pt x="7073" y="2652"/>
                  </a:cubicBezTo>
                  <a:cubicBezTo>
                    <a:pt x="7073" y="2616"/>
                    <a:pt x="6980" y="2652"/>
                    <a:pt x="6945" y="2678"/>
                  </a:cubicBezTo>
                  <a:cubicBezTo>
                    <a:pt x="6910" y="2705"/>
                    <a:pt x="6865" y="2652"/>
                    <a:pt x="6910" y="2647"/>
                  </a:cubicBezTo>
                  <a:cubicBezTo>
                    <a:pt x="6954" y="2643"/>
                    <a:pt x="7007" y="2608"/>
                    <a:pt x="6994" y="2568"/>
                  </a:cubicBezTo>
                  <a:cubicBezTo>
                    <a:pt x="6980" y="2528"/>
                    <a:pt x="6865" y="2523"/>
                    <a:pt x="6843" y="2572"/>
                  </a:cubicBezTo>
                  <a:cubicBezTo>
                    <a:pt x="6821" y="2621"/>
                    <a:pt x="6728" y="2519"/>
                    <a:pt x="6728" y="2479"/>
                  </a:cubicBezTo>
                  <a:cubicBezTo>
                    <a:pt x="6728" y="2439"/>
                    <a:pt x="6586" y="2475"/>
                    <a:pt x="6604" y="2408"/>
                  </a:cubicBezTo>
                  <a:cubicBezTo>
                    <a:pt x="6622" y="2342"/>
                    <a:pt x="6440" y="2324"/>
                    <a:pt x="6392" y="2324"/>
                  </a:cubicBezTo>
                  <a:cubicBezTo>
                    <a:pt x="6343" y="2324"/>
                    <a:pt x="6272" y="2364"/>
                    <a:pt x="6281" y="2408"/>
                  </a:cubicBezTo>
                  <a:cubicBezTo>
                    <a:pt x="6290" y="2453"/>
                    <a:pt x="6228" y="2435"/>
                    <a:pt x="6219" y="2386"/>
                  </a:cubicBezTo>
                  <a:cubicBezTo>
                    <a:pt x="6210" y="2338"/>
                    <a:pt x="6091" y="2439"/>
                    <a:pt x="6055" y="2439"/>
                  </a:cubicBezTo>
                  <a:cubicBezTo>
                    <a:pt x="6020" y="2439"/>
                    <a:pt x="6077" y="2311"/>
                    <a:pt x="6060" y="2271"/>
                  </a:cubicBezTo>
                  <a:cubicBezTo>
                    <a:pt x="6042" y="2231"/>
                    <a:pt x="6015" y="2218"/>
                    <a:pt x="5989" y="2152"/>
                  </a:cubicBezTo>
                  <a:cubicBezTo>
                    <a:pt x="5962" y="2085"/>
                    <a:pt x="5829" y="2112"/>
                    <a:pt x="5794" y="2152"/>
                  </a:cubicBezTo>
                  <a:cubicBezTo>
                    <a:pt x="5759" y="2191"/>
                    <a:pt x="5643" y="2174"/>
                    <a:pt x="5581" y="2236"/>
                  </a:cubicBezTo>
                  <a:cubicBezTo>
                    <a:pt x="5519" y="2298"/>
                    <a:pt x="5586" y="2360"/>
                    <a:pt x="5612" y="2382"/>
                  </a:cubicBezTo>
                  <a:cubicBezTo>
                    <a:pt x="5639" y="2404"/>
                    <a:pt x="5519" y="2439"/>
                    <a:pt x="5559" y="2475"/>
                  </a:cubicBezTo>
                  <a:cubicBezTo>
                    <a:pt x="5599" y="2510"/>
                    <a:pt x="5661" y="2492"/>
                    <a:pt x="5666" y="2550"/>
                  </a:cubicBezTo>
                  <a:cubicBezTo>
                    <a:pt x="5670" y="2608"/>
                    <a:pt x="5519" y="2532"/>
                    <a:pt x="5497" y="2484"/>
                  </a:cubicBezTo>
                  <a:cubicBezTo>
                    <a:pt x="5475" y="2435"/>
                    <a:pt x="5506" y="2391"/>
                    <a:pt x="5475" y="2355"/>
                  </a:cubicBezTo>
                  <a:cubicBezTo>
                    <a:pt x="5444" y="2320"/>
                    <a:pt x="5471" y="2276"/>
                    <a:pt x="5528" y="2214"/>
                  </a:cubicBezTo>
                  <a:cubicBezTo>
                    <a:pt x="5586" y="2152"/>
                    <a:pt x="5630" y="2160"/>
                    <a:pt x="5630" y="2125"/>
                  </a:cubicBezTo>
                  <a:cubicBezTo>
                    <a:pt x="5630" y="2090"/>
                    <a:pt x="5382" y="2090"/>
                    <a:pt x="5236" y="2222"/>
                  </a:cubicBezTo>
                  <a:cubicBezTo>
                    <a:pt x="5090" y="2355"/>
                    <a:pt x="5134" y="2532"/>
                    <a:pt x="5143" y="2568"/>
                  </a:cubicBezTo>
                  <a:cubicBezTo>
                    <a:pt x="5152" y="2603"/>
                    <a:pt x="5280" y="2585"/>
                    <a:pt x="5356" y="2608"/>
                  </a:cubicBezTo>
                  <a:cubicBezTo>
                    <a:pt x="5431" y="2630"/>
                    <a:pt x="5391" y="2661"/>
                    <a:pt x="5334" y="2652"/>
                  </a:cubicBezTo>
                  <a:cubicBezTo>
                    <a:pt x="5276" y="2643"/>
                    <a:pt x="5179" y="2625"/>
                    <a:pt x="5183" y="2665"/>
                  </a:cubicBezTo>
                  <a:cubicBezTo>
                    <a:pt x="5187" y="2705"/>
                    <a:pt x="5307" y="2780"/>
                    <a:pt x="5378" y="2763"/>
                  </a:cubicBezTo>
                  <a:cubicBezTo>
                    <a:pt x="5449" y="2745"/>
                    <a:pt x="5449" y="2745"/>
                    <a:pt x="5480" y="2785"/>
                  </a:cubicBezTo>
                  <a:cubicBezTo>
                    <a:pt x="5511" y="2825"/>
                    <a:pt x="5595" y="2811"/>
                    <a:pt x="5679" y="2816"/>
                  </a:cubicBezTo>
                  <a:cubicBezTo>
                    <a:pt x="5763" y="2820"/>
                    <a:pt x="5860" y="2851"/>
                    <a:pt x="5900" y="2855"/>
                  </a:cubicBezTo>
                  <a:cubicBezTo>
                    <a:pt x="5940" y="2860"/>
                    <a:pt x="5989" y="2833"/>
                    <a:pt x="6002" y="2811"/>
                  </a:cubicBezTo>
                  <a:cubicBezTo>
                    <a:pt x="6015" y="2789"/>
                    <a:pt x="6179" y="2847"/>
                    <a:pt x="6228" y="2842"/>
                  </a:cubicBezTo>
                  <a:cubicBezTo>
                    <a:pt x="6277" y="2838"/>
                    <a:pt x="6246" y="2794"/>
                    <a:pt x="6215" y="2780"/>
                  </a:cubicBezTo>
                  <a:cubicBezTo>
                    <a:pt x="6184" y="2767"/>
                    <a:pt x="6197" y="2709"/>
                    <a:pt x="6237" y="2732"/>
                  </a:cubicBezTo>
                  <a:cubicBezTo>
                    <a:pt x="6277" y="2754"/>
                    <a:pt x="6343" y="2767"/>
                    <a:pt x="6356" y="2807"/>
                  </a:cubicBezTo>
                  <a:cubicBezTo>
                    <a:pt x="6367" y="2841"/>
                    <a:pt x="6405" y="2825"/>
                    <a:pt x="6409" y="2855"/>
                  </a:cubicBezTo>
                  <a:cubicBezTo>
                    <a:pt x="6414" y="2887"/>
                    <a:pt x="6555" y="2922"/>
                    <a:pt x="6560" y="2957"/>
                  </a:cubicBezTo>
                  <a:cubicBezTo>
                    <a:pt x="6564" y="2993"/>
                    <a:pt x="6423" y="3010"/>
                    <a:pt x="6462" y="3041"/>
                  </a:cubicBezTo>
                  <a:cubicBezTo>
                    <a:pt x="6502" y="3072"/>
                    <a:pt x="6564" y="3002"/>
                    <a:pt x="6617" y="2997"/>
                  </a:cubicBezTo>
                  <a:cubicBezTo>
                    <a:pt x="6671" y="2993"/>
                    <a:pt x="6671" y="3112"/>
                    <a:pt x="6710" y="3095"/>
                  </a:cubicBezTo>
                  <a:cubicBezTo>
                    <a:pt x="6765" y="3070"/>
                    <a:pt x="6808" y="3117"/>
                    <a:pt x="6861" y="3192"/>
                  </a:cubicBezTo>
                  <a:cubicBezTo>
                    <a:pt x="6914" y="3267"/>
                    <a:pt x="6856" y="3338"/>
                    <a:pt x="6861" y="3365"/>
                  </a:cubicBezTo>
                  <a:cubicBezTo>
                    <a:pt x="6865" y="3391"/>
                    <a:pt x="6967" y="3382"/>
                    <a:pt x="7025" y="3351"/>
                  </a:cubicBezTo>
                  <a:cubicBezTo>
                    <a:pt x="7082" y="3320"/>
                    <a:pt x="7135" y="3387"/>
                    <a:pt x="7180" y="3427"/>
                  </a:cubicBezTo>
                  <a:cubicBezTo>
                    <a:pt x="7224" y="3467"/>
                    <a:pt x="7016" y="3533"/>
                    <a:pt x="7034" y="3497"/>
                  </a:cubicBezTo>
                  <a:cubicBezTo>
                    <a:pt x="7051" y="3462"/>
                    <a:pt x="6910" y="3356"/>
                    <a:pt x="6781" y="3404"/>
                  </a:cubicBezTo>
                  <a:cubicBezTo>
                    <a:pt x="6653" y="3453"/>
                    <a:pt x="6741" y="3528"/>
                    <a:pt x="6755" y="3573"/>
                  </a:cubicBezTo>
                  <a:cubicBezTo>
                    <a:pt x="6768" y="3617"/>
                    <a:pt x="6640" y="3661"/>
                    <a:pt x="6520" y="3621"/>
                  </a:cubicBezTo>
                  <a:cubicBezTo>
                    <a:pt x="6400" y="3582"/>
                    <a:pt x="6436" y="3648"/>
                    <a:pt x="6387" y="3648"/>
                  </a:cubicBezTo>
                  <a:cubicBezTo>
                    <a:pt x="6339" y="3648"/>
                    <a:pt x="6285" y="3723"/>
                    <a:pt x="6330" y="3772"/>
                  </a:cubicBezTo>
                  <a:cubicBezTo>
                    <a:pt x="6374" y="3821"/>
                    <a:pt x="6471" y="3776"/>
                    <a:pt x="6551" y="3781"/>
                  </a:cubicBezTo>
                  <a:cubicBezTo>
                    <a:pt x="6631" y="3785"/>
                    <a:pt x="6640" y="3807"/>
                    <a:pt x="6648" y="3763"/>
                  </a:cubicBezTo>
                  <a:cubicBezTo>
                    <a:pt x="6657" y="3719"/>
                    <a:pt x="6741" y="3741"/>
                    <a:pt x="6799" y="3754"/>
                  </a:cubicBezTo>
                  <a:cubicBezTo>
                    <a:pt x="6856" y="3767"/>
                    <a:pt x="6843" y="3847"/>
                    <a:pt x="6914" y="3856"/>
                  </a:cubicBezTo>
                  <a:cubicBezTo>
                    <a:pt x="6985" y="3865"/>
                    <a:pt x="6927" y="3936"/>
                    <a:pt x="6972" y="3984"/>
                  </a:cubicBezTo>
                  <a:cubicBezTo>
                    <a:pt x="7016" y="4033"/>
                    <a:pt x="7158" y="4007"/>
                    <a:pt x="7211" y="4060"/>
                  </a:cubicBezTo>
                  <a:cubicBezTo>
                    <a:pt x="7264" y="4113"/>
                    <a:pt x="7489" y="4219"/>
                    <a:pt x="7521" y="4179"/>
                  </a:cubicBezTo>
                  <a:cubicBezTo>
                    <a:pt x="7556" y="4135"/>
                    <a:pt x="7326" y="3931"/>
                    <a:pt x="7259" y="3914"/>
                  </a:cubicBezTo>
                  <a:cubicBezTo>
                    <a:pt x="7193" y="3896"/>
                    <a:pt x="7326" y="3874"/>
                    <a:pt x="7410" y="3940"/>
                  </a:cubicBezTo>
                  <a:cubicBezTo>
                    <a:pt x="7494" y="4007"/>
                    <a:pt x="7618" y="4038"/>
                    <a:pt x="7680" y="3958"/>
                  </a:cubicBezTo>
                  <a:cubicBezTo>
                    <a:pt x="7742" y="3878"/>
                    <a:pt x="7627" y="3900"/>
                    <a:pt x="7627" y="3843"/>
                  </a:cubicBezTo>
                  <a:cubicBezTo>
                    <a:pt x="7627" y="3785"/>
                    <a:pt x="7587" y="3706"/>
                    <a:pt x="7525" y="3706"/>
                  </a:cubicBezTo>
                  <a:cubicBezTo>
                    <a:pt x="7463" y="3706"/>
                    <a:pt x="7304" y="3582"/>
                    <a:pt x="7361" y="3555"/>
                  </a:cubicBezTo>
                  <a:cubicBezTo>
                    <a:pt x="7419" y="3528"/>
                    <a:pt x="7343" y="3493"/>
                    <a:pt x="7388" y="3444"/>
                  </a:cubicBezTo>
                  <a:cubicBezTo>
                    <a:pt x="7432" y="3396"/>
                    <a:pt x="7476" y="3489"/>
                    <a:pt x="7529" y="3493"/>
                  </a:cubicBezTo>
                  <a:close/>
                  <a:moveTo>
                    <a:pt x="6595" y="3281"/>
                  </a:moveTo>
                  <a:cubicBezTo>
                    <a:pt x="6648" y="3272"/>
                    <a:pt x="6639" y="3190"/>
                    <a:pt x="6609" y="3148"/>
                  </a:cubicBezTo>
                  <a:cubicBezTo>
                    <a:pt x="6586" y="3117"/>
                    <a:pt x="6529" y="3112"/>
                    <a:pt x="6480" y="3117"/>
                  </a:cubicBezTo>
                  <a:cubicBezTo>
                    <a:pt x="6431" y="3121"/>
                    <a:pt x="6347" y="3196"/>
                    <a:pt x="6392" y="3272"/>
                  </a:cubicBezTo>
                  <a:cubicBezTo>
                    <a:pt x="6436" y="3347"/>
                    <a:pt x="6542" y="3289"/>
                    <a:pt x="6595" y="3281"/>
                  </a:cubicBezTo>
                  <a:close/>
                  <a:moveTo>
                    <a:pt x="6042" y="2129"/>
                  </a:moveTo>
                  <a:cubicBezTo>
                    <a:pt x="6015" y="2187"/>
                    <a:pt x="6099" y="2187"/>
                    <a:pt x="6104" y="2253"/>
                  </a:cubicBezTo>
                  <a:cubicBezTo>
                    <a:pt x="6108" y="2320"/>
                    <a:pt x="6192" y="2342"/>
                    <a:pt x="6254" y="2302"/>
                  </a:cubicBezTo>
                  <a:cubicBezTo>
                    <a:pt x="6316" y="2262"/>
                    <a:pt x="6493" y="2314"/>
                    <a:pt x="6493" y="2262"/>
                  </a:cubicBezTo>
                  <a:cubicBezTo>
                    <a:pt x="6493" y="2214"/>
                    <a:pt x="6308" y="2125"/>
                    <a:pt x="6241" y="2138"/>
                  </a:cubicBezTo>
                  <a:cubicBezTo>
                    <a:pt x="6175" y="2152"/>
                    <a:pt x="6068" y="2072"/>
                    <a:pt x="6042" y="2129"/>
                  </a:cubicBezTo>
                  <a:close/>
                  <a:moveTo>
                    <a:pt x="7702" y="5897"/>
                  </a:moveTo>
                  <a:cubicBezTo>
                    <a:pt x="7711" y="5933"/>
                    <a:pt x="7968" y="6039"/>
                    <a:pt x="7977" y="5990"/>
                  </a:cubicBezTo>
                  <a:cubicBezTo>
                    <a:pt x="7985" y="5941"/>
                    <a:pt x="7694" y="5867"/>
                    <a:pt x="7702" y="5897"/>
                  </a:cubicBezTo>
                  <a:close/>
                  <a:moveTo>
                    <a:pt x="8825" y="6161"/>
                  </a:moveTo>
                  <a:cubicBezTo>
                    <a:pt x="8807" y="6194"/>
                    <a:pt x="8781" y="6138"/>
                    <a:pt x="8819" y="6108"/>
                  </a:cubicBezTo>
                  <a:cubicBezTo>
                    <a:pt x="8858" y="6079"/>
                    <a:pt x="8813" y="6067"/>
                    <a:pt x="8778" y="6085"/>
                  </a:cubicBezTo>
                  <a:cubicBezTo>
                    <a:pt x="8743" y="6102"/>
                    <a:pt x="8751" y="6005"/>
                    <a:pt x="8784" y="5987"/>
                  </a:cubicBezTo>
                  <a:cubicBezTo>
                    <a:pt x="8816" y="5969"/>
                    <a:pt x="8704" y="5934"/>
                    <a:pt x="8704" y="5966"/>
                  </a:cubicBezTo>
                  <a:cubicBezTo>
                    <a:pt x="8704" y="5999"/>
                    <a:pt x="8624" y="5978"/>
                    <a:pt x="8616" y="5949"/>
                  </a:cubicBezTo>
                  <a:cubicBezTo>
                    <a:pt x="8607" y="5919"/>
                    <a:pt x="8551" y="5910"/>
                    <a:pt x="8571" y="5890"/>
                  </a:cubicBezTo>
                  <a:cubicBezTo>
                    <a:pt x="8592" y="5869"/>
                    <a:pt x="8503" y="5857"/>
                    <a:pt x="8495" y="5893"/>
                  </a:cubicBezTo>
                  <a:cubicBezTo>
                    <a:pt x="8486" y="5928"/>
                    <a:pt x="8459" y="5869"/>
                    <a:pt x="8503" y="5822"/>
                  </a:cubicBezTo>
                  <a:cubicBezTo>
                    <a:pt x="8548" y="5775"/>
                    <a:pt x="8533" y="5733"/>
                    <a:pt x="8574" y="5710"/>
                  </a:cubicBezTo>
                  <a:cubicBezTo>
                    <a:pt x="8616" y="5686"/>
                    <a:pt x="8571" y="5659"/>
                    <a:pt x="8527" y="5677"/>
                  </a:cubicBezTo>
                  <a:cubicBezTo>
                    <a:pt x="8483" y="5695"/>
                    <a:pt x="8365" y="5857"/>
                    <a:pt x="8365" y="5902"/>
                  </a:cubicBezTo>
                  <a:cubicBezTo>
                    <a:pt x="8365" y="5946"/>
                    <a:pt x="8362" y="5999"/>
                    <a:pt x="8320" y="5996"/>
                  </a:cubicBezTo>
                  <a:cubicBezTo>
                    <a:pt x="8279" y="5993"/>
                    <a:pt x="8232" y="6031"/>
                    <a:pt x="8264" y="6055"/>
                  </a:cubicBezTo>
                  <a:cubicBezTo>
                    <a:pt x="8297" y="6079"/>
                    <a:pt x="8179" y="6146"/>
                    <a:pt x="8235" y="6176"/>
                  </a:cubicBezTo>
                  <a:cubicBezTo>
                    <a:pt x="8273" y="6197"/>
                    <a:pt x="8335" y="6167"/>
                    <a:pt x="8388" y="6173"/>
                  </a:cubicBezTo>
                  <a:cubicBezTo>
                    <a:pt x="8441" y="6179"/>
                    <a:pt x="8486" y="6182"/>
                    <a:pt x="8530" y="6149"/>
                  </a:cubicBezTo>
                  <a:cubicBezTo>
                    <a:pt x="8574" y="6117"/>
                    <a:pt x="8574" y="6179"/>
                    <a:pt x="8621" y="6173"/>
                  </a:cubicBezTo>
                  <a:cubicBezTo>
                    <a:pt x="8669" y="6167"/>
                    <a:pt x="8595" y="6211"/>
                    <a:pt x="8598" y="6244"/>
                  </a:cubicBezTo>
                  <a:cubicBezTo>
                    <a:pt x="8601" y="6276"/>
                    <a:pt x="8648" y="6226"/>
                    <a:pt x="8683" y="6208"/>
                  </a:cubicBezTo>
                  <a:cubicBezTo>
                    <a:pt x="8719" y="6191"/>
                    <a:pt x="8763" y="6208"/>
                    <a:pt x="8745" y="6238"/>
                  </a:cubicBezTo>
                  <a:cubicBezTo>
                    <a:pt x="8728" y="6267"/>
                    <a:pt x="8843" y="6297"/>
                    <a:pt x="8869" y="6250"/>
                  </a:cubicBezTo>
                  <a:cubicBezTo>
                    <a:pt x="8896" y="6203"/>
                    <a:pt x="8843" y="6129"/>
                    <a:pt x="8825" y="6161"/>
                  </a:cubicBezTo>
                  <a:close/>
                  <a:moveTo>
                    <a:pt x="823" y="5348"/>
                  </a:moveTo>
                  <a:cubicBezTo>
                    <a:pt x="743" y="5390"/>
                    <a:pt x="935" y="5592"/>
                    <a:pt x="975" y="5567"/>
                  </a:cubicBezTo>
                  <a:cubicBezTo>
                    <a:pt x="1002" y="5549"/>
                    <a:pt x="927" y="5465"/>
                    <a:pt x="927" y="5413"/>
                  </a:cubicBezTo>
                  <a:cubicBezTo>
                    <a:pt x="927" y="5360"/>
                    <a:pt x="903" y="5305"/>
                    <a:pt x="823" y="5348"/>
                  </a:cubicBezTo>
                  <a:close/>
                  <a:moveTo>
                    <a:pt x="8118" y="6358"/>
                  </a:moveTo>
                  <a:cubicBezTo>
                    <a:pt x="8087" y="6362"/>
                    <a:pt x="8112" y="6313"/>
                    <a:pt x="8116" y="6289"/>
                  </a:cubicBezTo>
                  <a:cubicBezTo>
                    <a:pt x="8120" y="6265"/>
                    <a:pt x="8050" y="6300"/>
                    <a:pt x="8047" y="6329"/>
                  </a:cubicBezTo>
                  <a:cubicBezTo>
                    <a:pt x="8045" y="6358"/>
                    <a:pt x="7997" y="6369"/>
                    <a:pt x="7997" y="6386"/>
                  </a:cubicBezTo>
                  <a:cubicBezTo>
                    <a:pt x="7997" y="6438"/>
                    <a:pt x="7990" y="6411"/>
                    <a:pt x="7954" y="6428"/>
                  </a:cubicBezTo>
                  <a:cubicBezTo>
                    <a:pt x="7919" y="6446"/>
                    <a:pt x="7782" y="6428"/>
                    <a:pt x="7777" y="6397"/>
                  </a:cubicBezTo>
                  <a:cubicBezTo>
                    <a:pt x="7773" y="6366"/>
                    <a:pt x="7673" y="6351"/>
                    <a:pt x="7669" y="6309"/>
                  </a:cubicBezTo>
                  <a:cubicBezTo>
                    <a:pt x="7664" y="6267"/>
                    <a:pt x="7616" y="6253"/>
                    <a:pt x="7656" y="6207"/>
                  </a:cubicBezTo>
                  <a:cubicBezTo>
                    <a:pt x="7695" y="6160"/>
                    <a:pt x="7649" y="6138"/>
                    <a:pt x="7611" y="6174"/>
                  </a:cubicBezTo>
                  <a:cubicBezTo>
                    <a:pt x="7574" y="6209"/>
                    <a:pt x="7552" y="6154"/>
                    <a:pt x="7602" y="6134"/>
                  </a:cubicBezTo>
                  <a:cubicBezTo>
                    <a:pt x="7653" y="6114"/>
                    <a:pt x="7749" y="6094"/>
                    <a:pt x="7700" y="6006"/>
                  </a:cubicBezTo>
                  <a:cubicBezTo>
                    <a:pt x="7651" y="5917"/>
                    <a:pt x="7346" y="6032"/>
                    <a:pt x="7268" y="6076"/>
                  </a:cubicBezTo>
                  <a:cubicBezTo>
                    <a:pt x="7191" y="6121"/>
                    <a:pt x="7093" y="6262"/>
                    <a:pt x="7051" y="6262"/>
                  </a:cubicBezTo>
                  <a:cubicBezTo>
                    <a:pt x="7009" y="6262"/>
                    <a:pt x="7124" y="6187"/>
                    <a:pt x="7142" y="6158"/>
                  </a:cubicBezTo>
                  <a:cubicBezTo>
                    <a:pt x="7160" y="6129"/>
                    <a:pt x="7138" y="6101"/>
                    <a:pt x="7162" y="6112"/>
                  </a:cubicBezTo>
                  <a:cubicBezTo>
                    <a:pt x="7186" y="6123"/>
                    <a:pt x="7255" y="6017"/>
                    <a:pt x="7301" y="5981"/>
                  </a:cubicBezTo>
                  <a:cubicBezTo>
                    <a:pt x="7348" y="5946"/>
                    <a:pt x="7399" y="5979"/>
                    <a:pt x="7405" y="5950"/>
                  </a:cubicBezTo>
                  <a:cubicBezTo>
                    <a:pt x="7412" y="5921"/>
                    <a:pt x="7434" y="5902"/>
                    <a:pt x="7479" y="5862"/>
                  </a:cubicBezTo>
                  <a:cubicBezTo>
                    <a:pt x="7523" y="5822"/>
                    <a:pt x="8052" y="5828"/>
                    <a:pt x="8103" y="5831"/>
                  </a:cubicBezTo>
                  <a:cubicBezTo>
                    <a:pt x="8154" y="5833"/>
                    <a:pt x="8253" y="5764"/>
                    <a:pt x="8282" y="5720"/>
                  </a:cubicBezTo>
                  <a:cubicBezTo>
                    <a:pt x="8311" y="5676"/>
                    <a:pt x="8348" y="5676"/>
                    <a:pt x="8419" y="5680"/>
                  </a:cubicBezTo>
                  <a:cubicBezTo>
                    <a:pt x="8490" y="5685"/>
                    <a:pt x="8523" y="5620"/>
                    <a:pt x="8559" y="5596"/>
                  </a:cubicBezTo>
                  <a:cubicBezTo>
                    <a:pt x="8594" y="5572"/>
                    <a:pt x="8581" y="5561"/>
                    <a:pt x="8550" y="5554"/>
                  </a:cubicBezTo>
                  <a:cubicBezTo>
                    <a:pt x="8519" y="5547"/>
                    <a:pt x="8490" y="5527"/>
                    <a:pt x="8521" y="5525"/>
                  </a:cubicBezTo>
                  <a:cubicBezTo>
                    <a:pt x="8552" y="5523"/>
                    <a:pt x="8568" y="5505"/>
                    <a:pt x="8581" y="5465"/>
                  </a:cubicBezTo>
                  <a:cubicBezTo>
                    <a:pt x="8594" y="5426"/>
                    <a:pt x="8570" y="5443"/>
                    <a:pt x="8528" y="5388"/>
                  </a:cubicBezTo>
                  <a:cubicBezTo>
                    <a:pt x="8486" y="5333"/>
                    <a:pt x="8464" y="5406"/>
                    <a:pt x="8422" y="5401"/>
                  </a:cubicBezTo>
                  <a:cubicBezTo>
                    <a:pt x="8379" y="5397"/>
                    <a:pt x="8450" y="5344"/>
                    <a:pt x="8415" y="5322"/>
                  </a:cubicBezTo>
                  <a:cubicBezTo>
                    <a:pt x="8379" y="5299"/>
                    <a:pt x="8313" y="5315"/>
                    <a:pt x="8260" y="5359"/>
                  </a:cubicBezTo>
                  <a:cubicBezTo>
                    <a:pt x="8207" y="5403"/>
                    <a:pt x="8211" y="5357"/>
                    <a:pt x="8165" y="5401"/>
                  </a:cubicBezTo>
                  <a:cubicBezTo>
                    <a:pt x="8118" y="5445"/>
                    <a:pt x="8118" y="5379"/>
                    <a:pt x="8140" y="5361"/>
                  </a:cubicBezTo>
                  <a:cubicBezTo>
                    <a:pt x="8163" y="5344"/>
                    <a:pt x="8178" y="5364"/>
                    <a:pt x="8198" y="5337"/>
                  </a:cubicBezTo>
                  <a:cubicBezTo>
                    <a:pt x="8218" y="5310"/>
                    <a:pt x="8238" y="5337"/>
                    <a:pt x="8289" y="5304"/>
                  </a:cubicBezTo>
                  <a:cubicBezTo>
                    <a:pt x="8340" y="5271"/>
                    <a:pt x="8384" y="5286"/>
                    <a:pt x="8399" y="5262"/>
                  </a:cubicBezTo>
                  <a:cubicBezTo>
                    <a:pt x="8415" y="5237"/>
                    <a:pt x="8375" y="5204"/>
                    <a:pt x="8326" y="5215"/>
                  </a:cubicBezTo>
                  <a:cubicBezTo>
                    <a:pt x="8278" y="5226"/>
                    <a:pt x="8244" y="5149"/>
                    <a:pt x="8213" y="5171"/>
                  </a:cubicBezTo>
                  <a:cubicBezTo>
                    <a:pt x="8182" y="5193"/>
                    <a:pt x="8189" y="5138"/>
                    <a:pt x="8154" y="5160"/>
                  </a:cubicBezTo>
                  <a:cubicBezTo>
                    <a:pt x="8118" y="5182"/>
                    <a:pt x="8098" y="5153"/>
                    <a:pt x="8083" y="5111"/>
                  </a:cubicBezTo>
                  <a:cubicBezTo>
                    <a:pt x="8067" y="5069"/>
                    <a:pt x="7972" y="5001"/>
                    <a:pt x="7915" y="4983"/>
                  </a:cubicBezTo>
                  <a:cubicBezTo>
                    <a:pt x="7857" y="4965"/>
                    <a:pt x="7895" y="4934"/>
                    <a:pt x="7926" y="4956"/>
                  </a:cubicBezTo>
                  <a:cubicBezTo>
                    <a:pt x="7957" y="4978"/>
                    <a:pt x="7992" y="4934"/>
                    <a:pt x="8005" y="4912"/>
                  </a:cubicBezTo>
                  <a:cubicBezTo>
                    <a:pt x="8019" y="4890"/>
                    <a:pt x="7983" y="4870"/>
                    <a:pt x="7965" y="4868"/>
                  </a:cubicBezTo>
                  <a:cubicBezTo>
                    <a:pt x="7948" y="4865"/>
                    <a:pt x="7948" y="4837"/>
                    <a:pt x="7952" y="4815"/>
                  </a:cubicBezTo>
                  <a:cubicBezTo>
                    <a:pt x="7957" y="4792"/>
                    <a:pt x="7890" y="4764"/>
                    <a:pt x="7888" y="4741"/>
                  </a:cubicBezTo>
                  <a:cubicBezTo>
                    <a:pt x="7886" y="4719"/>
                    <a:pt x="7848" y="4704"/>
                    <a:pt x="7850" y="4684"/>
                  </a:cubicBezTo>
                  <a:cubicBezTo>
                    <a:pt x="7853" y="4664"/>
                    <a:pt x="7813" y="4635"/>
                    <a:pt x="7813" y="4609"/>
                  </a:cubicBezTo>
                  <a:cubicBezTo>
                    <a:pt x="7813" y="4582"/>
                    <a:pt x="7746" y="4529"/>
                    <a:pt x="7744" y="4498"/>
                  </a:cubicBezTo>
                  <a:cubicBezTo>
                    <a:pt x="7742" y="4467"/>
                    <a:pt x="7707" y="4445"/>
                    <a:pt x="7693" y="4407"/>
                  </a:cubicBezTo>
                  <a:cubicBezTo>
                    <a:pt x="7680" y="4370"/>
                    <a:pt x="7662" y="4387"/>
                    <a:pt x="7649" y="4440"/>
                  </a:cubicBezTo>
                  <a:cubicBezTo>
                    <a:pt x="7636" y="4494"/>
                    <a:pt x="7589" y="4491"/>
                    <a:pt x="7602" y="4509"/>
                  </a:cubicBezTo>
                  <a:cubicBezTo>
                    <a:pt x="7630" y="4545"/>
                    <a:pt x="7609" y="4547"/>
                    <a:pt x="7589" y="4569"/>
                  </a:cubicBezTo>
                  <a:cubicBezTo>
                    <a:pt x="7569" y="4591"/>
                    <a:pt x="7602" y="4624"/>
                    <a:pt x="7569" y="4624"/>
                  </a:cubicBezTo>
                  <a:cubicBezTo>
                    <a:pt x="7536" y="4624"/>
                    <a:pt x="7552" y="4693"/>
                    <a:pt x="7534" y="4662"/>
                  </a:cubicBezTo>
                  <a:cubicBezTo>
                    <a:pt x="7516" y="4631"/>
                    <a:pt x="7474" y="4640"/>
                    <a:pt x="7474" y="4671"/>
                  </a:cubicBezTo>
                  <a:cubicBezTo>
                    <a:pt x="7474" y="4702"/>
                    <a:pt x="7403" y="4730"/>
                    <a:pt x="7374" y="4728"/>
                  </a:cubicBezTo>
                  <a:cubicBezTo>
                    <a:pt x="7346" y="4726"/>
                    <a:pt x="7346" y="4666"/>
                    <a:pt x="7321" y="4684"/>
                  </a:cubicBezTo>
                  <a:cubicBezTo>
                    <a:pt x="7297" y="4702"/>
                    <a:pt x="7301" y="4633"/>
                    <a:pt x="7264" y="4635"/>
                  </a:cubicBezTo>
                  <a:cubicBezTo>
                    <a:pt x="7226" y="4637"/>
                    <a:pt x="7200" y="4633"/>
                    <a:pt x="7211" y="4600"/>
                  </a:cubicBezTo>
                  <a:cubicBezTo>
                    <a:pt x="7222" y="4567"/>
                    <a:pt x="7146" y="4551"/>
                    <a:pt x="7171" y="4531"/>
                  </a:cubicBezTo>
                  <a:cubicBezTo>
                    <a:pt x="7195" y="4511"/>
                    <a:pt x="7164" y="4476"/>
                    <a:pt x="7160" y="4418"/>
                  </a:cubicBezTo>
                  <a:cubicBezTo>
                    <a:pt x="7155" y="4361"/>
                    <a:pt x="7193" y="4356"/>
                    <a:pt x="7193" y="4334"/>
                  </a:cubicBezTo>
                  <a:cubicBezTo>
                    <a:pt x="7193" y="4312"/>
                    <a:pt x="7166" y="4312"/>
                    <a:pt x="7140" y="4330"/>
                  </a:cubicBezTo>
                  <a:cubicBezTo>
                    <a:pt x="7113" y="4347"/>
                    <a:pt x="7113" y="4305"/>
                    <a:pt x="7084" y="4308"/>
                  </a:cubicBezTo>
                  <a:cubicBezTo>
                    <a:pt x="7056" y="4310"/>
                    <a:pt x="6969" y="4305"/>
                    <a:pt x="6965" y="4266"/>
                  </a:cubicBezTo>
                  <a:cubicBezTo>
                    <a:pt x="6961" y="4226"/>
                    <a:pt x="6932" y="4246"/>
                    <a:pt x="6918" y="4208"/>
                  </a:cubicBezTo>
                  <a:cubicBezTo>
                    <a:pt x="6905" y="4170"/>
                    <a:pt x="6870" y="4199"/>
                    <a:pt x="6870" y="4173"/>
                  </a:cubicBezTo>
                  <a:cubicBezTo>
                    <a:pt x="6870" y="4146"/>
                    <a:pt x="6854" y="4135"/>
                    <a:pt x="6828" y="4133"/>
                  </a:cubicBezTo>
                  <a:cubicBezTo>
                    <a:pt x="6801" y="4131"/>
                    <a:pt x="6792" y="4102"/>
                    <a:pt x="6757" y="4097"/>
                  </a:cubicBezTo>
                  <a:cubicBezTo>
                    <a:pt x="6721" y="4093"/>
                    <a:pt x="6677" y="4122"/>
                    <a:pt x="6657" y="4131"/>
                  </a:cubicBezTo>
                  <a:cubicBezTo>
                    <a:pt x="6637" y="4139"/>
                    <a:pt x="6586" y="4100"/>
                    <a:pt x="6566" y="4115"/>
                  </a:cubicBezTo>
                  <a:cubicBezTo>
                    <a:pt x="6547" y="4131"/>
                    <a:pt x="6542" y="4104"/>
                    <a:pt x="6487" y="4089"/>
                  </a:cubicBezTo>
                  <a:cubicBezTo>
                    <a:pt x="6431" y="4073"/>
                    <a:pt x="6358" y="4069"/>
                    <a:pt x="6354" y="4089"/>
                  </a:cubicBezTo>
                  <a:cubicBezTo>
                    <a:pt x="6350" y="4108"/>
                    <a:pt x="6305" y="4115"/>
                    <a:pt x="6312" y="4162"/>
                  </a:cubicBezTo>
                  <a:cubicBezTo>
                    <a:pt x="6319" y="4208"/>
                    <a:pt x="6365" y="4199"/>
                    <a:pt x="6376" y="4230"/>
                  </a:cubicBezTo>
                  <a:cubicBezTo>
                    <a:pt x="6387" y="4261"/>
                    <a:pt x="6354" y="4250"/>
                    <a:pt x="6352" y="4279"/>
                  </a:cubicBezTo>
                  <a:cubicBezTo>
                    <a:pt x="6350" y="4308"/>
                    <a:pt x="6321" y="4305"/>
                    <a:pt x="6321" y="4325"/>
                  </a:cubicBezTo>
                  <a:cubicBezTo>
                    <a:pt x="6321" y="4345"/>
                    <a:pt x="6341" y="4341"/>
                    <a:pt x="6352" y="4381"/>
                  </a:cubicBezTo>
                  <a:cubicBezTo>
                    <a:pt x="6363" y="4420"/>
                    <a:pt x="6385" y="4418"/>
                    <a:pt x="6392" y="4471"/>
                  </a:cubicBezTo>
                  <a:cubicBezTo>
                    <a:pt x="6398" y="4525"/>
                    <a:pt x="6374" y="4513"/>
                    <a:pt x="6352" y="4520"/>
                  </a:cubicBezTo>
                  <a:cubicBezTo>
                    <a:pt x="6330" y="4527"/>
                    <a:pt x="6354" y="4553"/>
                    <a:pt x="6323" y="4589"/>
                  </a:cubicBezTo>
                  <a:cubicBezTo>
                    <a:pt x="6292" y="4624"/>
                    <a:pt x="6265" y="4662"/>
                    <a:pt x="6290" y="4684"/>
                  </a:cubicBezTo>
                  <a:cubicBezTo>
                    <a:pt x="6314" y="4706"/>
                    <a:pt x="6405" y="4744"/>
                    <a:pt x="6440" y="4803"/>
                  </a:cubicBezTo>
                  <a:cubicBezTo>
                    <a:pt x="6476" y="4863"/>
                    <a:pt x="6474" y="4956"/>
                    <a:pt x="6462" y="5023"/>
                  </a:cubicBezTo>
                  <a:cubicBezTo>
                    <a:pt x="6451" y="5089"/>
                    <a:pt x="6376" y="5105"/>
                    <a:pt x="6321" y="5162"/>
                  </a:cubicBezTo>
                  <a:cubicBezTo>
                    <a:pt x="6265" y="5220"/>
                    <a:pt x="6208" y="5211"/>
                    <a:pt x="6181" y="5213"/>
                  </a:cubicBezTo>
                  <a:cubicBezTo>
                    <a:pt x="6155" y="5215"/>
                    <a:pt x="6170" y="5268"/>
                    <a:pt x="6208" y="5310"/>
                  </a:cubicBezTo>
                  <a:cubicBezTo>
                    <a:pt x="6246" y="5353"/>
                    <a:pt x="6215" y="5366"/>
                    <a:pt x="6234" y="5410"/>
                  </a:cubicBezTo>
                  <a:cubicBezTo>
                    <a:pt x="6254" y="5454"/>
                    <a:pt x="6234" y="5490"/>
                    <a:pt x="6263" y="5530"/>
                  </a:cubicBezTo>
                  <a:cubicBezTo>
                    <a:pt x="6292" y="5569"/>
                    <a:pt x="6274" y="5585"/>
                    <a:pt x="6241" y="5614"/>
                  </a:cubicBezTo>
                  <a:cubicBezTo>
                    <a:pt x="6208" y="5643"/>
                    <a:pt x="6254" y="5627"/>
                    <a:pt x="6257" y="5665"/>
                  </a:cubicBezTo>
                  <a:cubicBezTo>
                    <a:pt x="6259" y="5702"/>
                    <a:pt x="6241" y="5680"/>
                    <a:pt x="6212" y="5660"/>
                  </a:cubicBezTo>
                  <a:cubicBezTo>
                    <a:pt x="6184" y="5640"/>
                    <a:pt x="6157" y="5698"/>
                    <a:pt x="6157" y="5722"/>
                  </a:cubicBezTo>
                  <a:cubicBezTo>
                    <a:pt x="6157" y="5747"/>
                    <a:pt x="6088" y="5689"/>
                    <a:pt x="6073" y="5691"/>
                  </a:cubicBezTo>
                  <a:cubicBezTo>
                    <a:pt x="6057" y="5693"/>
                    <a:pt x="6077" y="5654"/>
                    <a:pt x="6037" y="5623"/>
                  </a:cubicBezTo>
                  <a:cubicBezTo>
                    <a:pt x="5998" y="5592"/>
                    <a:pt x="5967" y="5585"/>
                    <a:pt x="5967" y="5554"/>
                  </a:cubicBezTo>
                  <a:cubicBezTo>
                    <a:pt x="5967" y="5523"/>
                    <a:pt x="5898" y="5501"/>
                    <a:pt x="5898" y="5465"/>
                  </a:cubicBezTo>
                  <a:cubicBezTo>
                    <a:pt x="5898" y="5430"/>
                    <a:pt x="5907" y="5339"/>
                    <a:pt x="5891" y="5313"/>
                  </a:cubicBezTo>
                  <a:cubicBezTo>
                    <a:pt x="5876" y="5286"/>
                    <a:pt x="5889" y="5257"/>
                    <a:pt x="5902" y="5233"/>
                  </a:cubicBezTo>
                  <a:cubicBezTo>
                    <a:pt x="5916" y="5209"/>
                    <a:pt x="5887" y="5171"/>
                    <a:pt x="5847" y="5171"/>
                  </a:cubicBezTo>
                  <a:cubicBezTo>
                    <a:pt x="5807" y="5171"/>
                    <a:pt x="5752" y="5158"/>
                    <a:pt x="5697" y="5162"/>
                  </a:cubicBezTo>
                  <a:cubicBezTo>
                    <a:pt x="5641" y="5167"/>
                    <a:pt x="5610" y="5158"/>
                    <a:pt x="5592" y="5142"/>
                  </a:cubicBezTo>
                  <a:cubicBezTo>
                    <a:pt x="5575" y="5127"/>
                    <a:pt x="5524" y="5094"/>
                    <a:pt x="5455" y="5076"/>
                  </a:cubicBezTo>
                  <a:cubicBezTo>
                    <a:pt x="5387" y="5058"/>
                    <a:pt x="5356" y="5023"/>
                    <a:pt x="5349" y="5003"/>
                  </a:cubicBezTo>
                  <a:cubicBezTo>
                    <a:pt x="5342" y="4983"/>
                    <a:pt x="5274" y="4967"/>
                    <a:pt x="5258" y="4947"/>
                  </a:cubicBezTo>
                  <a:cubicBezTo>
                    <a:pt x="5243" y="4927"/>
                    <a:pt x="5176" y="4916"/>
                    <a:pt x="5150" y="4921"/>
                  </a:cubicBezTo>
                  <a:cubicBezTo>
                    <a:pt x="5123" y="4925"/>
                    <a:pt x="5057" y="4865"/>
                    <a:pt x="5017" y="4868"/>
                  </a:cubicBezTo>
                  <a:cubicBezTo>
                    <a:pt x="4977" y="4870"/>
                    <a:pt x="4884" y="4910"/>
                    <a:pt x="4869" y="4912"/>
                  </a:cubicBezTo>
                  <a:cubicBezTo>
                    <a:pt x="4853" y="4914"/>
                    <a:pt x="4871" y="4879"/>
                    <a:pt x="4882" y="4863"/>
                  </a:cubicBezTo>
                  <a:cubicBezTo>
                    <a:pt x="4893" y="4848"/>
                    <a:pt x="4849" y="4781"/>
                    <a:pt x="4838" y="4737"/>
                  </a:cubicBezTo>
                  <a:cubicBezTo>
                    <a:pt x="4827" y="4693"/>
                    <a:pt x="4811" y="4644"/>
                    <a:pt x="4765" y="4651"/>
                  </a:cubicBezTo>
                  <a:cubicBezTo>
                    <a:pt x="4718" y="4657"/>
                    <a:pt x="4667" y="4633"/>
                    <a:pt x="4654" y="4624"/>
                  </a:cubicBezTo>
                  <a:cubicBezTo>
                    <a:pt x="4641" y="4615"/>
                    <a:pt x="4638" y="4489"/>
                    <a:pt x="4650" y="4436"/>
                  </a:cubicBezTo>
                  <a:cubicBezTo>
                    <a:pt x="4661" y="4383"/>
                    <a:pt x="4718" y="4303"/>
                    <a:pt x="4718" y="4270"/>
                  </a:cubicBezTo>
                  <a:cubicBezTo>
                    <a:pt x="4718" y="4237"/>
                    <a:pt x="4756" y="4221"/>
                    <a:pt x="4789" y="4212"/>
                  </a:cubicBezTo>
                  <a:cubicBezTo>
                    <a:pt x="4822" y="4204"/>
                    <a:pt x="4796" y="4139"/>
                    <a:pt x="4829" y="4135"/>
                  </a:cubicBezTo>
                  <a:cubicBezTo>
                    <a:pt x="4862" y="4131"/>
                    <a:pt x="4864" y="4117"/>
                    <a:pt x="4871" y="4091"/>
                  </a:cubicBezTo>
                  <a:cubicBezTo>
                    <a:pt x="4878" y="4064"/>
                    <a:pt x="4917" y="4082"/>
                    <a:pt x="4895" y="4060"/>
                  </a:cubicBezTo>
                  <a:cubicBezTo>
                    <a:pt x="4873" y="4038"/>
                    <a:pt x="4891" y="4031"/>
                    <a:pt x="4942" y="4031"/>
                  </a:cubicBezTo>
                  <a:cubicBezTo>
                    <a:pt x="4993" y="4031"/>
                    <a:pt x="5068" y="4013"/>
                    <a:pt x="5057" y="3962"/>
                  </a:cubicBezTo>
                  <a:cubicBezTo>
                    <a:pt x="5046" y="3911"/>
                    <a:pt x="4913" y="3949"/>
                    <a:pt x="4913" y="3907"/>
                  </a:cubicBezTo>
                  <a:cubicBezTo>
                    <a:pt x="4913" y="3865"/>
                    <a:pt x="4745" y="3863"/>
                    <a:pt x="4756" y="3838"/>
                  </a:cubicBezTo>
                  <a:cubicBezTo>
                    <a:pt x="4767" y="3814"/>
                    <a:pt x="4924" y="3856"/>
                    <a:pt x="4982" y="3878"/>
                  </a:cubicBezTo>
                  <a:cubicBezTo>
                    <a:pt x="5039" y="3900"/>
                    <a:pt x="5055" y="3898"/>
                    <a:pt x="5101" y="3896"/>
                  </a:cubicBezTo>
                  <a:cubicBezTo>
                    <a:pt x="5148" y="3894"/>
                    <a:pt x="5117" y="3834"/>
                    <a:pt x="5125" y="3810"/>
                  </a:cubicBezTo>
                  <a:cubicBezTo>
                    <a:pt x="5134" y="3785"/>
                    <a:pt x="5223" y="3847"/>
                    <a:pt x="5274" y="3834"/>
                  </a:cubicBezTo>
                  <a:cubicBezTo>
                    <a:pt x="5325" y="3821"/>
                    <a:pt x="5373" y="3717"/>
                    <a:pt x="5415" y="3688"/>
                  </a:cubicBezTo>
                  <a:cubicBezTo>
                    <a:pt x="5457" y="3659"/>
                    <a:pt x="5420" y="3632"/>
                    <a:pt x="5338" y="3639"/>
                  </a:cubicBezTo>
                  <a:cubicBezTo>
                    <a:pt x="5256" y="3646"/>
                    <a:pt x="5210" y="3615"/>
                    <a:pt x="5165" y="3582"/>
                  </a:cubicBezTo>
                  <a:cubicBezTo>
                    <a:pt x="5121" y="3548"/>
                    <a:pt x="5125" y="3522"/>
                    <a:pt x="5172" y="3526"/>
                  </a:cubicBezTo>
                  <a:cubicBezTo>
                    <a:pt x="5218" y="3531"/>
                    <a:pt x="5329" y="3621"/>
                    <a:pt x="5371" y="3624"/>
                  </a:cubicBezTo>
                  <a:cubicBezTo>
                    <a:pt x="5413" y="3626"/>
                    <a:pt x="5486" y="3542"/>
                    <a:pt x="5522" y="3515"/>
                  </a:cubicBezTo>
                  <a:cubicBezTo>
                    <a:pt x="5557" y="3489"/>
                    <a:pt x="5488" y="3477"/>
                    <a:pt x="5464" y="3458"/>
                  </a:cubicBezTo>
                  <a:cubicBezTo>
                    <a:pt x="5440" y="3438"/>
                    <a:pt x="5506" y="3424"/>
                    <a:pt x="5542" y="3424"/>
                  </a:cubicBezTo>
                  <a:cubicBezTo>
                    <a:pt x="5577" y="3424"/>
                    <a:pt x="5592" y="3455"/>
                    <a:pt x="5606" y="3471"/>
                  </a:cubicBezTo>
                  <a:cubicBezTo>
                    <a:pt x="5619" y="3486"/>
                    <a:pt x="5681" y="3460"/>
                    <a:pt x="5712" y="3460"/>
                  </a:cubicBezTo>
                  <a:cubicBezTo>
                    <a:pt x="5743" y="3460"/>
                    <a:pt x="5708" y="3409"/>
                    <a:pt x="5657" y="3389"/>
                  </a:cubicBezTo>
                  <a:cubicBezTo>
                    <a:pt x="5606" y="3369"/>
                    <a:pt x="5659" y="3331"/>
                    <a:pt x="5674" y="3362"/>
                  </a:cubicBezTo>
                  <a:cubicBezTo>
                    <a:pt x="5690" y="3393"/>
                    <a:pt x="5725" y="3387"/>
                    <a:pt x="5743" y="3422"/>
                  </a:cubicBezTo>
                  <a:cubicBezTo>
                    <a:pt x="5769" y="3474"/>
                    <a:pt x="5785" y="3440"/>
                    <a:pt x="5829" y="3424"/>
                  </a:cubicBezTo>
                  <a:cubicBezTo>
                    <a:pt x="5874" y="3409"/>
                    <a:pt x="5896" y="3382"/>
                    <a:pt x="5920" y="3356"/>
                  </a:cubicBezTo>
                  <a:cubicBezTo>
                    <a:pt x="5944" y="3329"/>
                    <a:pt x="5949" y="3360"/>
                    <a:pt x="5978" y="3318"/>
                  </a:cubicBezTo>
                  <a:cubicBezTo>
                    <a:pt x="6006" y="3276"/>
                    <a:pt x="5964" y="3236"/>
                    <a:pt x="5929" y="3210"/>
                  </a:cubicBezTo>
                  <a:cubicBezTo>
                    <a:pt x="5894" y="3183"/>
                    <a:pt x="5931" y="3157"/>
                    <a:pt x="5896" y="3139"/>
                  </a:cubicBezTo>
                  <a:cubicBezTo>
                    <a:pt x="5860" y="3121"/>
                    <a:pt x="5854" y="3088"/>
                    <a:pt x="5898" y="3097"/>
                  </a:cubicBezTo>
                  <a:cubicBezTo>
                    <a:pt x="5942" y="3106"/>
                    <a:pt x="5978" y="3092"/>
                    <a:pt x="5998" y="3061"/>
                  </a:cubicBezTo>
                  <a:cubicBezTo>
                    <a:pt x="6018" y="3030"/>
                    <a:pt x="5931" y="3024"/>
                    <a:pt x="5971" y="3002"/>
                  </a:cubicBezTo>
                  <a:cubicBezTo>
                    <a:pt x="6011" y="2979"/>
                    <a:pt x="5978" y="2957"/>
                    <a:pt x="5938" y="2957"/>
                  </a:cubicBezTo>
                  <a:cubicBezTo>
                    <a:pt x="5898" y="2957"/>
                    <a:pt x="5865" y="2937"/>
                    <a:pt x="5863" y="2904"/>
                  </a:cubicBezTo>
                  <a:cubicBezTo>
                    <a:pt x="5860" y="2871"/>
                    <a:pt x="5792" y="2893"/>
                    <a:pt x="5750" y="2873"/>
                  </a:cubicBezTo>
                  <a:cubicBezTo>
                    <a:pt x="5708" y="2853"/>
                    <a:pt x="5615" y="2858"/>
                    <a:pt x="5592" y="2860"/>
                  </a:cubicBezTo>
                  <a:cubicBezTo>
                    <a:pt x="5570" y="2862"/>
                    <a:pt x="5568" y="2953"/>
                    <a:pt x="5601" y="2955"/>
                  </a:cubicBezTo>
                  <a:cubicBezTo>
                    <a:pt x="5635" y="2957"/>
                    <a:pt x="5661" y="2993"/>
                    <a:pt x="5632" y="3004"/>
                  </a:cubicBezTo>
                  <a:cubicBezTo>
                    <a:pt x="5604" y="3015"/>
                    <a:pt x="5637" y="3050"/>
                    <a:pt x="5615" y="3048"/>
                  </a:cubicBezTo>
                  <a:cubicBezTo>
                    <a:pt x="5592" y="3046"/>
                    <a:pt x="5557" y="3035"/>
                    <a:pt x="5550" y="3092"/>
                  </a:cubicBezTo>
                  <a:cubicBezTo>
                    <a:pt x="5544" y="3150"/>
                    <a:pt x="5539" y="3172"/>
                    <a:pt x="5502" y="3192"/>
                  </a:cubicBezTo>
                  <a:cubicBezTo>
                    <a:pt x="5464" y="3212"/>
                    <a:pt x="5493" y="3128"/>
                    <a:pt x="5457" y="3130"/>
                  </a:cubicBezTo>
                  <a:cubicBezTo>
                    <a:pt x="5422" y="3132"/>
                    <a:pt x="5418" y="3201"/>
                    <a:pt x="5444" y="3207"/>
                  </a:cubicBezTo>
                  <a:cubicBezTo>
                    <a:pt x="5471" y="3214"/>
                    <a:pt x="5475" y="3236"/>
                    <a:pt x="5482" y="3269"/>
                  </a:cubicBezTo>
                  <a:cubicBezTo>
                    <a:pt x="5488" y="3303"/>
                    <a:pt x="5433" y="3278"/>
                    <a:pt x="5411" y="3318"/>
                  </a:cubicBezTo>
                  <a:cubicBezTo>
                    <a:pt x="5389" y="3358"/>
                    <a:pt x="5387" y="3300"/>
                    <a:pt x="5356" y="3274"/>
                  </a:cubicBezTo>
                  <a:cubicBezTo>
                    <a:pt x="5325" y="3247"/>
                    <a:pt x="5287" y="3203"/>
                    <a:pt x="5289" y="3170"/>
                  </a:cubicBezTo>
                  <a:cubicBezTo>
                    <a:pt x="5291" y="3141"/>
                    <a:pt x="5307" y="3130"/>
                    <a:pt x="5331" y="3126"/>
                  </a:cubicBezTo>
                  <a:cubicBezTo>
                    <a:pt x="5356" y="3121"/>
                    <a:pt x="5331" y="3099"/>
                    <a:pt x="5329" y="3059"/>
                  </a:cubicBezTo>
                  <a:cubicBezTo>
                    <a:pt x="5327" y="3019"/>
                    <a:pt x="5298" y="3033"/>
                    <a:pt x="5263" y="2991"/>
                  </a:cubicBezTo>
                  <a:cubicBezTo>
                    <a:pt x="5227" y="2948"/>
                    <a:pt x="5190" y="2948"/>
                    <a:pt x="5170" y="2968"/>
                  </a:cubicBezTo>
                  <a:cubicBezTo>
                    <a:pt x="5150" y="2988"/>
                    <a:pt x="5163" y="3026"/>
                    <a:pt x="5132" y="3039"/>
                  </a:cubicBezTo>
                  <a:cubicBezTo>
                    <a:pt x="5101" y="3053"/>
                    <a:pt x="5114" y="3115"/>
                    <a:pt x="5088" y="3119"/>
                  </a:cubicBezTo>
                  <a:cubicBezTo>
                    <a:pt x="5061" y="3123"/>
                    <a:pt x="5077" y="3010"/>
                    <a:pt x="5055" y="2999"/>
                  </a:cubicBezTo>
                  <a:cubicBezTo>
                    <a:pt x="5032" y="2988"/>
                    <a:pt x="5035" y="2962"/>
                    <a:pt x="5068" y="2957"/>
                  </a:cubicBezTo>
                  <a:cubicBezTo>
                    <a:pt x="5101" y="2953"/>
                    <a:pt x="5121" y="2917"/>
                    <a:pt x="5092" y="2917"/>
                  </a:cubicBezTo>
                  <a:cubicBezTo>
                    <a:pt x="5063" y="2917"/>
                    <a:pt x="5013" y="2887"/>
                    <a:pt x="4993" y="2878"/>
                  </a:cubicBezTo>
                  <a:cubicBezTo>
                    <a:pt x="4973" y="2869"/>
                    <a:pt x="4939" y="2915"/>
                    <a:pt x="4917" y="2898"/>
                  </a:cubicBezTo>
                  <a:cubicBezTo>
                    <a:pt x="4895" y="2880"/>
                    <a:pt x="4920" y="2836"/>
                    <a:pt x="4922" y="2811"/>
                  </a:cubicBezTo>
                  <a:cubicBezTo>
                    <a:pt x="4924" y="2787"/>
                    <a:pt x="4957" y="2822"/>
                    <a:pt x="4979" y="2791"/>
                  </a:cubicBezTo>
                  <a:cubicBezTo>
                    <a:pt x="5001" y="2760"/>
                    <a:pt x="4917" y="2760"/>
                    <a:pt x="4917" y="2727"/>
                  </a:cubicBezTo>
                  <a:cubicBezTo>
                    <a:pt x="4917" y="2694"/>
                    <a:pt x="4851" y="2685"/>
                    <a:pt x="4829" y="2674"/>
                  </a:cubicBezTo>
                  <a:cubicBezTo>
                    <a:pt x="4807" y="2663"/>
                    <a:pt x="4844" y="2608"/>
                    <a:pt x="4833" y="2585"/>
                  </a:cubicBezTo>
                  <a:cubicBezTo>
                    <a:pt x="4822" y="2563"/>
                    <a:pt x="4740" y="2490"/>
                    <a:pt x="4705" y="2497"/>
                  </a:cubicBezTo>
                  <a:cubicBezTo>
                    <a:pt x="4669" y="2504"/>
                    <a:pt x="4661" y="2450"/>
                    <a:pt x="4680" y="2453"/>
                  </a:cubicBezTo>
                  <a:cubicBezTo>
                    <a:pt x="4700" y="2455"/>
                    <a:pt x="4716" y="2442"/>
                    <a:pt x="4754" y="2399"/>
                  </a:cubicBezTo>
                  <a:cubicBezTo>
                    <a:pt x="4791" y="2357"/>
                    <a:pt x="4796" y="2344"/>
                    <a:pt x="4769" y="2335"/>
                  </a:cubicBezTo>
                  <a:cubicBezTo>
                    <a:pt x="4742" y="2326"/>
                    <a:pt x="4729" y="2300"/>
                    <a:pt x="4776" y="2302"/>
                  </a:cubicBezTo>
                  <a:cubicBezTo>
                    <a:pt x="4822" y="2304"/>
                    <a:pt x="4904" y="2335"/>
                    <a:pt x="4931" y="2315"/>
                  </a:cubicBezTo>
                  <a:cubicBezTo>
                    <a:pt x="4957" y="2295"/>
                    <a:pt x="5041" y="2165"/>
                    <a:pt x="5075" y="2118"/>
                  </a:cubicBezTo>
                  <a:cubicBezTo>
                    <a:pt x="5108" y="2072"/>
                    <a:pt x="5050" y="2067"/>
                    <a:pt x="4970" y="2074"/>
                  </a:cubicBezTo>
                  <a:cubicBezTo>
                    <a:pt x="4891" y="2081"/>
                    <a:pt x="4873" y="2043"/>
                    <a:pt x="4807" y="2039"/>
                  </a:cubicBezTo>
                  <a:cubicBezTo>
                    <a:pt x="4740" y="2034"/>
                    <a:pt x="4616" y="2052"/>
                    <a:pt x="4599" y="2072"/>
                  </a:cubicBezTo>
                  <a:cubicBezTo>
                    <a:pt x="4581" y="2092"/>
                    <a:pt x="4632" y="2110"/>
                    <a:pt x="4625" y="2132"/>
                  </a:cubicBezTo>
                  <a:cubicBezTo>
                    <a:pt x="4619" y="2154"/>
                    <a:pt x="4579" y="2116"/>
                    <a:pt x="4561" y="2125"/>
                  </a:cubicBezTo>
                  <a:cubicBezTo>
                    <a:pt x="4543" y="2134"/>
                    <a:pt x="4568" y="2163"/>
                    <a:pt x="4561" y="2240"/>
                  </a:cubicBezTo>
                  <a:cubicBezTo>
                    <a:pt x="4554" y="2318"/>
                    <a:pt x="4576" y="2322"/>
                    <a:pt x="4599" y="2351"/>
                  </a:cubicBezTo>
                  <a:cubicBezTo>
                    <a:pt x="4621" y="2380"/>
                    <a:pt x="4616" y="2417"/>
                    <a:pt x="4616" y="2466"/>
                  </a:cubicBezTo>
                  <a:cubicBezTo>
                    <a:pt x="4616" y="2515"/>
                    <a:pt x="4570" y="2512"/>
                    <a:pt x="4554" y="2523"/>
                  </a:cubicBezTo>
                  <a:cubicBezTo>
                    <a:pt x="4539" y="2535"/>
                    <a:pt x="4594" y="2552"/>
                    <a:pt x="4585" y="2583"/>
                  </a:cubicBezTo>
                  <a:cubicBezTo>
                    <a:pt x="4576" y="2614"/>
                    <a:pt x="4530" y="2566"/>
                    <a:pt x="4503" y="2574"/>
                  </a:cubicBezTo>
                  <a:cubicBezTo>
                    <a:pt x="4477" y="2583"/>
                    <a:pt x="4455" y="2658"/>
                    <a:pt x="4483" y="2683"/>
                  </a:cubicBezTo>
                  <a:cubicBezTo>
                    <a:pt x="4512" y="2707"/>
                    <a:pt x="4523" y="2703"/>
                    <a:pt x="4501" y="2732"/>
                  </a:cubicBezTo>
                  <a:cubicBezTo>
                    <a:pt x="4479" y="2760"/>
                    <a:pt x="4455" y="2802"/>
                    <a:pt x="4508" y="2844"/>
                  </a:cubicBezTo>
                  <a:cubicBezTo>
                    <a:pt x="4561" y="2887"/>
                    <a:pt x="4658" y="2882"/>
                    <a:pt x="4709" y="2915"/>
                  </a:cubicBezTo>
                  <a:cubicBezTo>
                    <a:pt x="4760" y="2948"/>
                    <a:pt x="4687" y="2929"/>
                    <a:pt x="4707" y="2966"/>
                  </a:cubicBezTo>
                  <a:cubicBezTo>
                    <a:pt x="4727" y="3004"/>
                    <a:pt x="4674" y="3017"/>
                    <a:pt x="4676" y="3046"/>
                  </a:cubicBezTo>
                  <a:cubicBezTo>
                    <a:pt x="4678" y="3075"/>
                    <a:pt x="4698" y="3059"/>
                    <a:pt x="4725" y="3010"/>
                  </a:cubicBezTo>
                  <a:cubicBezTo>
                    <a:pt x="4751" y="2962"/>
                    <a:pt x="4771" y="3024"/>
                    <a:pt x="4769" y="3066"/>
                  </a:cubicBezTo>
                  <a:cubicBezTo>
                    <a:pt x="4767" y="3108"/>
                    <a:pt x="4729" y="3084"/>
                    <a:pt x="4700" y="3126"/>
                  </a:cubicBezTo>
                  <a:cubicBezTo>
                    <a:pt x="4672" y="3168"/>
                    <a:pt x="4645" y="3174"/>
                    <a:pt x="4603" y="3165"/>
                  </a:cubicBezTo>
                  <a:cubicBezTo>
                    <a:pt x="4561" y="3157"/>
                    <a:pt x="4585" y="3225"/>
                    <a:pt x="4603" y="3263"/>
                  </a:cubicBezTo>
                  <a:cubicBezTo>
                    <a:pt x="4621" y="3300"/>
                    <a:pt x="4599" y="3314"/>
                    <a:pt x="4550" y="3300"/>
                  </a:cubicBezTo>
                  <a:cubicBezTo>
                    <a:pt x="4501" y="3287"/>
                    <a:pt x="4472" y="3256"/>
                    <a:pt x="4497" y="3219"/>
                  </a:cubicBezTo>
                  <a:cubicBezTo>
                    <a:pt x="4521" y="3181"/>
                    <a:pt x="4539" y="3137"/>
                    <a:pt x="4510" y="3141"/>
                  </a:cubicBezTo>
                  <a:cubicBezTo>
                    <a:pt x="4481" y="3146"/>
                    <a:pt x="4415" y="3139"/>
                    <a:pt x="4395" y="3108"/>
                  </a:cubicBezTo>
                  <a:cubicBezTo>
                    <a:pt x="4375" y="3077"/>
                    <a:pt x="4408" y="3090"/>
                    <a:pt x="4468" y="3097"/>
                  </a:cubicBezTo>
                  <a:cubicBezTo>
                    <a:pt x="4528" y="3103"/>
                    <a:pt x="4477" y="3057"/>
                    <a:pt x="4521" y="3057"/>
                  </a:cubicBezTo>
                  <a:cubicBezTo>
                    <a:pt x="4565" y="3057"/>
                    <a:pt x="4599" y="3081"/>
                    <a:pt x="4636" y="3048"/>
                  </a:cubicBezTo>
                  <a:cubicBezTo>
                    <a:pt x="4674" y="3015"/>
                    <a:pt x="4612" y="2951"/>
                    <a:pt x="4581" y="2962"/>
                  </a:cubicBezTo>
                  <a:cubicBezTo>
                    <a:pt x="4550" y="2973"/>
                    <a:pt x="4501" y="2986"/>
                    <a:pt x="4501" y="2955"/>
                  </a:cubicBezTo>
                  <a:cubicBezTo>
                    <a:pt x="4501" y="2924"/>
                    <a:pt x="4554" y="2946"/>
                    <a:pt x="4583" y="2940"/>
                  </a:cubicBezTo>
                  <a:cubicBezTo>
                    <a:pt x="4612" y="2933"/>
                    <a:pt x="4568" y="2893"/>
                    <a:pt x="4523" y="2904"/>
                  </a:cubicBezTo>
                  <a:cubicBezTo>
                    <a:pt x="4479" y="2915"/>
                    <a:pt x="4448" y="2917"/>
                    <a:pt x="4413" y="2880"/>
                  </a:cubicBezTo>
                  <a:cubicBezTo>
                    <a:pt x="4377" y="2842"/>
                    <a:pt x="4313" y="2820"/>
                    <a:pt x="4298" y="2906"/>
                  </a:cubicBezTo>
                  <a:cubicBezTo>
                    <a:pt x="4282" y="2993"/>
                    <a:pt x="4220" y="2946"/>
                    <a:pt x="4196" y="2975"/>
                  </a:cubicBezTo>
                  <a:cubicBezTo>
                    <a:pt x="4171" y="3004"/>
                    <a:pt x="4224" y="3024"/>
                    <a:pt x="4284" y="3026"/>
                  </a:cubicBezTo>
                  <a:cubicBezTo>
                    <a:pt x="4344" y="3028"/>
                    <a:pt x="4388" y="3084"/>
                    <a:pt x="4360" y="3084"/>
                  </a:cubicBezTo>
                  <a:cubicBezTo>
                    <a:pt x="4331" y="3084"/>
                    <a:pt x="4344" y="3126"/>
                    <a:pt x="4313" y="3110"/>
                  </a:cubicBezTo>
                  <a:cubicBezTo>
                    <a:pt x="4282" y="3095"/>
                    <a:pt x="4251" y="3110"/>
                    <a:pt x="4273" y="3137"/>
                  </a:cubicBezTo>
                  <a:cubicBezTo>
                    <a:pt x="4295" y="3163"/>
                    <a:pt x="4264" y="3174"/>
                    <a:pt x="4267" y="3201"/>
                  </a:cubicBezTo>
                  <a:cubicBezTo>
                    <a:pt x="4269" y="3227"/>
                    <a:pt x="4220" y="3203"/>
                    <a:pt x="4174" y="3199"/>
                  </a:cubicBezTo>
                  <a:cubicBezTo>
                    <a:pt x="4127" y="3194"/>
                    <a:pt x="4041" y="3210"/>
                    <a:pt x="3979" y="3223"/>
                  </a:cubicBezTo>
                  <a:cubicBezTo>
                    <a:pt x="3917" y="3236"/>
                    <a:pt x="3848" y="3214"/>
                    <a:pt x="3822" y="3185"/>
                  </a:cubicBezTo>
                  <a:cubicBezTo>
                    <a:pt x="3795" y="3157"/>
                    <a:pt x="3760" y="3161"/>
                    <a:pt x="3715" y="3161"/>
                  </a:cubicBezTo>
                  <a:cubicBezTo>
                    <a:pt x="3671" y="3161"/>
                    <a:pt x="3684" y="3119"/>
                    <a:pt x="3627" y="3117"/>
                  </a:cubicBezTo>
                  <a:cubicBezTo>
                    <a:pt x="3569" y="3115"/>
                    <a:pt x="3583" y="3066"/>
                    <a:pt x="3576" y="3037"/>
                  </a:cubicBezTo>
                  <a:cubicBezTo>
                    <a:pt x="3569" y="3008"/>
                    <a:pt x="3454" y="3017"/>
                    <a:pt x="3412" y="3044"/>
                  </a:cubicBezTo>
                  <a:cubicBezTo>
                    <a:pt x="3370" y="3070"/>
                    <a:pt x="3288" y="3059"/>
                    <a:pt x="3266" y="3108"/>
                  </a:cubicBezTo>
                  <a:cubicBezTo>
                    <a:pt x="3244" y="3157"/>
                    <a:pt x="3286" y="3150"/>
                    <a:pt x="3310" y="3150"/>
                  </a:cubicBezTo>
                  <a:cubicBezTo>
                    <a:pt x="3344" y="3150"/>
                    <a:pt x="3341" y="3110"/>
                    <a:pt x="3403" y="3119"/>
                  </a:cubicBezTo>
                  <a:cubicBezTo>
                    <a:pt x="3465" y="3128"/>
                    <a:pt x="3509" y="3055"/>
                    <a:pt x="3536" y="3081"/>
                  </a:cubicBezTo>
                  <a:cubicBezTo>
                    <a:pt x="3563" y="3108"/>
                    <a:pt x="3430" y="3159"/>
                    <a:pt x="3372" y="3168"/>
                  </a:cubicBezTo>
                  <a:cubicBezTo>
                    <a:pt x="3315" y="3177"/>
                    <a:pt x="3328" y="3223"/>
                    <a:pt x="3383" y="3305"/>
                  </a:cubicBezTo>
                  <a:cubicBezTo>
                    <a:pt x="3439" y="3387"/>
                    <a:pt x="3359" y="3340"/>
                    <a:pt x="3359" y="3380"/>
                  </a:cubicBezTo>
                  <a:cubicBezTo>
                    <a:pt x="3359" y="3420"/>
                    <a:pt x="3255" y="3367"/>
                    <a:pt x="3297" y="3354"/>
                  </a:cubicBezTo>
                  <a:cubicBezTo>
                    <a:pt x="3339" y="3340"/>
                    <a:pt x="3319" y="3298"/>
                    <a:pt x="3286" y="3272"/>
                  </a:cubicBezTo>
                  <a:cubicBezTo>
                    <a:pt x="3253" y="3245"/>
                    <a:pt x="3231" y="3272"/>
                    <a:pt x="3235" y="3243"/>
                  </a:cubicBezTo>
                  <a:cubicBezTo>
                    <a:pt x="3239" y="3214"/>
                    <a:pt x="3200" y="3245"/>
                    <a:pt x="3169" y="3221"/>
                  </a:cubicBezTo>
                  <a:cubicBezTo>
                    <a:pt x="3138" y="3196"/>
                    <a:pt x="3122" y="3177"/>
                    <a:pt x="3080" y="3199"/>
                  </a:cubicBezTo>
                  <a:cubicBezTo>
                    <a:pt x="3038" y="3221"/>
                    <a:pt x="2989" y="3214"/>
                    <a:pt x="2896" y="3230"/>
                  </a:cubicBezTo>
                  <a:cubicBezTo>
                    <a:pt x="2803" y="3245"/>
                    <a:pt x="2633" y="3241"/>
                    <a:pt x="2602" y="3210"/>
                  </a:cubicBezTo>
                  <a:cubicBezTo>
                    <a:pt x="2571" y="3179"/>
                    <a:pt x="2682" y="3123"/>
                    <a:pt x="2715" y="3132"/>
                  </a:cubicBezTo>
                  <a:cubicBezTo>
                    <a:pt x="2747" y="3141"/>
                    <a:pt x="2728" y="3097"/>
                    <a:pt x="2677" y="3057"/>
                  </a:cubicBezTo>
                  <a:cubicBezTo>
                    <a:pt x="2626" y="3017"/>
                    <a:pt x="2513" y="2993"/>
                    <a:pt x="2516" y="3017"/>
                  </a:cubicBezTo>
                  <a:cubicBezTo>
                    <a:pt x="2518" y="3041"/>
                    <a:pt x="2451" y="3019"/>
                    <a:pt x="2369" y="3004"/>
                  </a:cubicBezTo>
                  <a:cubicBezTo>
                    <a:pt x="2288" y="2988"/>
                    <a:pt x="2276" y="2960"/>
                    <a:pt x="2223" y="2957"/>
                  </a:cubicBezTo>
                  <a:cubicBezTo>
                    <a:pt x="2172" y="2955"/>
                    <a:pt x="2091" y="2940"/>
                    <a:pt x="2029" y="2891"/>
                  </a:cubicBezTo>
                  <a:cubicBezTo>
                    <a:pt x="1967" y="2842"/>
                    <a:pt x="1821" y="2855"/>
                    <a:pt x="1803" y="2900"/>
                  </a:cubicBezTo>
                  <a:cubicBezTo>
                    <a:pt x="1785" y="2944"/>
                    <a:pt x="1736" y="2942"/>
                    <a:pt x="1688" y="2942"/>
                  </a:cubicBezTo>
                  <a:cubicBezTo>
                    <a:pt x="1639" y="2942"/>
                    <a:pt x="1710" y="2887"/>
                    <a:pt x="1692" y="2878"/>
                  </a:cubicBezTo>
                  <a:cubicBezTo>
                    <a:pt x="1669" y="2865"/>
                    <a:pt x="1694" y="2805"/>
                    <a:pt x="1659" y="2800"/>
                  </a:cubicBezTo>
                  <a:cubicBezTo>
                    <a:pt x="1623" y="2796"/>
                    <a:pt x="1590" y="2946"/>
                    <a:pt x="1524" y="2942"/>
                  </a:cubicBezTo>
                  <a:cubicBezTo>
                    <a:pt x="1457" y="2937"/>
                    <a:pt x="1429" y="2782"/>
                    <a:pt x="1373" y="2743"/>
                  </a:cubicBezTo>
                  <a:cubicBezTo>
                    <a:pt x="1318" y="2703"/>
                    <a:pt x="1267" y="2701"/>
                    <a:pt x="1314" y="2760"/>
                  </a:cubicBezTo>
                  <a:cubicBezTo>
                    <a:pt x="1360" y="2820"/>
                    <a:pt x="1274" y="2778"/>
                    <a:pt x="1278" y="2818"/>
                  </a:cubicBezTo>
                  <a:cubicBezTo>
                    <a:pt x="1283" y="2858"/>
                    <a:pt x="1203" y="2904"/>
                    <a:pt x="1205" y="2882"/>
                  </a:cubicBezTo>
                  <a:cubicBezTo>
                    <a:pt x="1207" y="2860"/>
                    <a:pt x="1161" y="2836"/>
                    <a:pt x="1108" y="2898"/>
                  </a:cubicBezTo>
                  <a:cubicBezTo>
                    <a:pt x="1055" y="2960"/>
                    <a:pt x="1017" y="2951"/>
                    <a:pt x="1013" y="2929"/>
                  </a:cubicBezTo>
                  <a:cubicBezTo>
                    <a:pt x="1008" y="2906"/>
                    <a:pt x="851" y="2986"/>
                    <a:pt x="858" y="3013"/>
                  </a:cubicBezTo>
                  <a:cubicBezTo>
                    <a:pt x="864" y="3039"/>
                    <a:pt x="833" y="3059"/>
                    <a:pt x="791" y="3057"/>
                  </a:cubicBezTo>
                  <a:cubicBezTo>
                    <a:pt x="749" y="3055"/>
                    <a:pt x="782" y="3019"/>
                    <a:pt x="815" y="3002"/>
                  </a:cubicBezTo>
                  <a:cubicBezTo>
                    <a:pt x="853" y="2982"/>
                    <a:pt x="955" y="2900"/>
                    <a:pt x="1008" y="2891"/>
                  </a:cubicBezTo>
                  <a:cubicBezTo>
                    <a:pt x="1061" y="2882"/>
                    <a:pt x="1163" y="2840"/>
                    <a:pt x="1165" y="2816"/>
                  </a:cubicBezTo>
                  <a:cubicBezTo>
                    <a:pt x="1167" y="2791"/>
                    <a:pt x="1114" y="2811"/>
                    <a:pt x="1079" y="2805"/>
                  </a:cubicBezTo>
                  <a:cubicBezTo>
                    <a:pt x="1044" y="2798"/>
                    <a:pt x="982" y="2838"/>
                    <a:pt x="922" y="2864"/>
                  </a:cubicBezTo>
                  <a:cubicBezTo>
                    <a:pt x="862" y="2891"/>
                    <a:pt x="793" y="2882"/>
                    <a:pt x="811" y="2917"/>
                  </a:cubicBezTo>
                  <a:cubicBezTo>
                    <a:pt x="829" y="2953"/>
                    <a:pt x="756" y="2913"/>
                    <a:pt x="740" y="2937"/>
                  </a:cubicBezTo>
                  <a:cubicBezTo>
                    <a:pt x="725" y="2962"/>
                    <a:pt x="696" y="2935"/>
                    <a:pt x="718" y="2922"/>
                  </a:cubicBezTo>
                  <a:cubicBezTo>
                    <a:pt x="740" y="2909"/>
                    <a:pt x="665" y="2884"/>
                    <a:pt x="665" y="2900"/>
                  </a:cubicBezTo>
                  <a:cubicBezTo>
                    <a:pt x="665" y="2915"/>
                    <a:pt x="652" y="2935"/>
                    <a:pt x="599" y="2935"/>
                  </a:cubicBezTo>
                  <a:cubicBezTo>
                    <a:pt x="545" y="2935"/>
                    <a:pt x="492" y="2973"/>
                    <a:pt x="528" y="2999"/>
                  </a:cubicBezTo>
                  <a:cubicBezTo>
                    <a:pt x="563" y="3026"/>
                    <a:pt x="585" y="3039"/>
                    <a:pt x="568" y="3057"/>
                  </a:cubicBezTo>
                  <a:cubicBezTo>
                    <a:pt x="550" y="3075"/>
                    <a:pt x="495" y="3010"/>
                    <a:pt x="417" y="3017"/>
                  </a:cubicBezTo>
                  <a:cubicBezTo>
                    <a:pt x="340" y="3024"/>
                    <a:pt x="185" y="2931"/>
                    <a:pt x="185" y="2909"/>
                  </a:cubicBezTo>
                  <a:cubicBezTo>
                    <a:pt x="185" y="2891"/>
                    <a:pt x="76" y="2902"/>
                    <a:pt x="0" y="2894"/>
                  </a:cubicBezTo>
                  <a:cubicBezTo>
                    <a:pt x="0" y="4424"/>
                    <a:pt x="0" y="4424"/>
                    <a:pt x="0" y="4424"/>
                  </a:cubicBezTo>
                  <a:cubicBezTo>
                    <a:pt x="0" y="4424"/>
                    <a:pt x="39" y="4452"/>
                    <a:pt x="53" y="4435"/>
                  </a:cubicBezTo>
                  <a:cubicBezTo>
                    <a:pt x="68" y="4417"/>
                    <a:pt x="95" y="4441"/>
                    <a:pt x="145" y="4417"/>
                  </a:cubicBezTo>
                  <a:cubicBezTo>
                    <a:pt x="195" y="4393"/>
                    <a:pt x="213" y="4443"/>
                    <a:pt x="213" y="4467"/>
                  </a:cubicBezTo>
                  <a:cubicBezTo>
                    <a:pt x="213" y="4491"/>
                    <a:pt x="283" y="4529"/>
                    <a:pt x="313" y="4567"/>
                  </a:cubicBezTo>
                  <a:cubicBezTo>
                    <a:pt x="343" y="4606"/>
                    <a:pt x="357" y="4638"/>
                    <a:pt x="390" y="4618"/>
                  </a:cubicBezTo>
                  <a:cubicBezTo>
                    <a:pt x="422" y="4597"/>
                    <a:pt x="481" y="4585"/>
                    <a:pt x="481" y="4547"/>
                  </a:cubicBezTo>
                  <a:cubicBezTo>
                    <a:pt x="481" y="4508"/>
                    <a:pt x="617" y="4502"/>
                    <a:pt x="617" y="4553"/>
                  </a:cubicBezTo>
                  <a:cubicBezTo>
                    <a:pt x="617" y="4603"/>
                    <a:pt x="756" y="4662"/>
                    <a:pt x="832" y="4798"/>
                  </a:cubicBezTo>
                  <a:cubicBezTo>
                    <a:pt x="909" y="4933"/>
                    <a:pt x="897" y="4963"/>
                    <a:pt x="1010" y="5007"/>
                  </a:cubicBezTo>
                  <a:cubicBezTo>
                    <a:pt x="1122" y="5051"/>
                    <a:pt x="1119" y="5075"/>
                    <a:pt x="1104" y="5113"/>
                  </a:cubicBezTo>
                  <a:cubicBezTo>
                    <a:pt x="1089" y="5152"/>
                    <a:pt x="1172" y="5172"/>
                    <a:pt x="1125" y="5205"/>
                  </a:cubicBezTo>
                  <a:cubicBezTo>
                    <a:pt x="1107" y="5217"/>
                    <a:pt x="1081" y="5235"/>
                    <a:pt x="1057" y="5253"/>
                  </a:cubicBezTo>
                  <a:cubicBezTo>
                    <a:pt x="1059" y="5273"/>
                    <a:pt x="1076" y="5285"/>
                    <a:pt x="1099" y="5304"/>
                  </a:cubicBezTo>
                  <a:cubicBezTo>
                    <a:pt x="1125" y="5326"/>
                    <a:pt x="1050" y="5326"/>
                    <a:pt x="1072" y="5346"/>
                  </a:cubicBezTo>
                  <a:cubicBezTo>
                    <a:pt x="1094" y="5366"/>
                    <a:pt x="1068" y="5397"/>
                    <a:pt x="1090" y="5421"/>
                  </a:cubicBezTo>
                  <a:cubicBezTo>
                    <a:pt x="1112" y="5445"/>
                    <a:pt x="1152" y="5437"/>
                    <a:pt x="1176" y="5417"/>
                  </a:cubicBezTo>
                  <a:cubicBezTo>
                    <a:pt x="1201" y="5397"/>
                    <a:pt x="1218" y="5441"/>
                    <a:pt x="1198" y="5474"/>
                  </a:cubicBezTo>
                  <a:cubicBezTo>
                    <a:pt x="1179" y="5507"/>
                    <a:pt x="1221" y="5532"/>
                    <a:pt x="1241" y="5507"/>
                  </a:cubicBezTo>
                  <a:cubicBezTo>
                    <a:pt x="1260" y="5483"/>
                    <a:pt x="1302" y="5547"/>
                    <a:pt x="1322" y="5558"/>
                  </a:cubicBezTo>
                  <a:cubicBezTo>
                    <a:pt x="1342" y="5569"/>
                    <a:pt x="1362" y="5603"/>
                    <a:pt x="1329" y="5603"/>
                  </a:cubicBezTo>
                  <a:cubicBezTo>
                    <a:pt x="1296" y="5603"/>
                    <a:pt x="1300" y="5660"/>
                    <a:pt x="1325" y="5662"/>
                  </a:cubicBezTo>
                  <a:cubicBezTo>
                    <a:pt x="1349" y="5665"/>
                    <a:pt x="1347" y="5696"/>
                    <a:pt x="1347" y="5716"/>
                  </a:cubicBezTo>
                  <a:cubicBezTo>
                    <a:pt x="1347" y="5735"/>
                    <a:pt x="1424" y="5764"/>
                    <a:pt x="1453" y="5755"/>
                  </a:cubicBezTo>
                  <a:cubicBezTo>
                    <a:pt x="1482" y="5747"/>
                    <a:pt x="1508" y="5773"/>
                    <a:pt x="1522" y="5797"/>
                  </a:cubicBezTo>
                  <a:cubicBezTo>
                    <a:pt x="1535" y="5822"/>
                    <a:pt x="1588" y="5839"/>
                    <a:pt x="1608" y="5824"/>
                  </a:cubicBezTo>
                  <a:cubicBezTo>
                    <a:pt x="1628" y="5809"/>
                    <a:pt x="1641" y="5853"/>
                    <a:pt x="1646" y="5884"/>
                  </a:cubicBezTo>
                  <a:cubicBezTo>
                    <a:pt x="1650" y="5915"/>
                    <a:pt x="1694" y="5897"/>
                    <a:pt x="1721" y="5895"/>
                  </a:cubicBezTo>
                  <a:cubicBezTo>
                    <a:pt x="1747" y="5893"/>
                    <a:pt x="1763" y="5930"/>
                    <a:pt x="1781" y="5924"/>
                  </a:cubicBezTo>
                  <a:cubicBezTo>
                    <a:pt x="1820" y="5909"/>
                    <a:pt x="1831" y="5977"/>
                    <a:pt x="1857" y="6017"/>
                  </a:cubicBezTo>
                  <a:cubicBezTo>
                    <a:pt x="4609" y="6002"/>
                    <a:pt x="4609" y="6002"/>
                    <a:pt x="4609" y="6002"/>
                  </a:cubicBezTo>
                  <a:cubicBezTo>
                    <a:pt x="4609" y="6002"/>
                    <a:pt x="4610" y="5934"/>
                    <a:pt x="4643" y="5958"/>
                  </a:cubicBezTo>
                  <a:cubicBezTo>
                    <a:pt x="4675" y="5981"/>
                    <a:pt x="4646" y="6020"/>
                    <a:pt x="4684" y="6034"/>
                  </a:cubicBezTo>
                  <a:cubicBezTo>
                    <a:pt x="4723" y="6049"/>
                    <a:pt x="4749" y="6073"/>
                    <a:pt x="4770" y="6064"/>
                  </a:cubicBezTo>
                  <a:cubicBezTo>
                    <a:pt x="4790" y="6055"/>
                    <a:pt x="4826" y="6025"/>
                    <a:pt x="4861" y="6067"/>
                  </a:cubicBezTo>
                  <a:cubicBezTo>
                    <a:pt x="4897" y="6108"/>
                    <a:pt x="4923" y="6073"/>
                    <a:pt x="4944" y="6099"/>
                  </a:cubicBezTo>
                  <a:cubicBezTo>
                    <a:pt x="4965" y="6126"/>
                    <a:pt x="5003" y="6146"/>
                    <a:pt x="5029" y="6114"/>
                  </a:cubicBezTo>
                  <a:cubicBezTo>
                    <a:pt x="5051" y="6088"/>
                    <a:pt x="5133" y="6120"/>
                    <a:pt x="5172" y="6134"/>
                  </a:cubicBezTo>
                  <a:cubicBezTo>
                    <a:pt x="5221" y="6095"/>
                    <a:pt x="5259" y="6012"/>
                    <a:pt x="5303" y="6012"/>
                  </a:cubicBezTo>
                  <a:cubicBezTo>
                    <a:pt x="5360" y="6012"/>
                    <a:pt x="5506" y="6025"/>
                    <a:pt x="5515" y="6101"/>
                  </a:cubicBezTo>
                  <a:cubicBezTo>
                    <a:pt x="5524" y="6176"/>
                    <a:pt x="5612" y="6105"/>
                    <a:pt x="5621" y="6176"/>
                  </a:cubicBezTo>
                  <a:cubicBezTo>
                    <a:pt x="5629" y="6236"/>
                    <a:pt x="5687" y="6284"/>
                    <a:pt x="5677" y="6315"/>
                  </a:cubicBezTo>
                  <a:cubicBezTo>
                    <a:pt x="5694" y="6326"/>
                    <a:pt x="5715" y="6340"/>
                    <a:pt x="5734" y="6355"/>
                  </a:cubicBezTo>
                  <a:cubicBezTo>
                    <a:pt x="5762" y="6346"/>
                    <a:pt x="5837" y="6358"/>
                    <a:pt x="5887" y="6375"/>
                  </a:cubicBezTo>
                  <a:cubicBezTo>
                    <a:pt x="5949" y="6397"/>
                    <a:pt x="6042" y="6349"/>
                    <a:pt x="6073" y="6424"/>
                  </a:cubicBezTo>
                  <a:cubicBezTo>
                    <a:pt x="6104" y="6499"/>
                    <a:pt x="6176" y="6556"/>
                    <a:pt x="6108" y="6561"/>
                  </a:cubicBezTo>
                  <a:cubicBezTo>
                    <a:pt x="6051" y="6566"/>
                    <a:pt x="5975" y="6486"/>
                    <a:pt x="5980" y="6530"/>
                  </a:cubicBezTo>
                  <a:cubicBezTo>
                    <a:pt x="5984" y="6574"/>
                    <a:pt x="5949" y="6552"/>
                    <a:pt x="5949" y="6619"/>
                  </a:cubicBezTo>
                  <a:cubicBezTo>
                    <a:pt x="5949" y="6685"/>
                    <a:pt x="5905" y="6778"/>
                    <a:pt x="5878" y="6774"/>
                  </a:cubicBezTo>
                  <a:cubicBezTo>
                    <a:pt x="5877" y="6773"/>
                    <a:pt x="5876" y="6773"/>
                    <a:pt x="5875" y="6773"/>
                  </a:cubicBezTo>
                  <a:cubicBezTo>
                    <a:pt x="5871" y="6798"/>
                    <a:pt x="5871" y="6830"/>
                    <a:pt x="5892" y="6851"/>
                  </a:cubicBezTo>
                  <a:cubicBezTo>
                    <a:pt x="5925" y="6826"/>
                    <a:pt x="5974" y="6784"/>
                    <a:pt x="6015" y="6787"/>
                  </a:cubicBezTo>
                  <a:cubicBezTo>
                    <a:pt x="6082" y="6791"/>
                    <a:pt x="6099" y="6831"/>
                    <a:pt x="6144" y="6800"/>
                  </a:cubicBezTo>
                  <a:cubicBezTo>
                    <a:pt x="6188" y="6769"/>
                    <a:pt x="6197" y="6756"/>
                    <a:pt x="6206" y="6778"/>
                  </a:cubicBezTo>
                  <a:cubicBezTo>
                    <a:pt x="6207" y="6781"/>
                    <a:pt x="6206" y="6784"/>
                    <a:pt x="6204" y="6788"/>
                  </a:cubicBezTo>
                  <a:cubicBezTo>
                    <a:pt x="6221" y="6779"/>
                    <a:pt x="6233" y="6770"/>
                    <a:pt x="6234" y="6763"/>
                  </a:cubicBezTo>
                  <a:cubicBezTo>
                    <a:pt x="6235" y="6752"/>
                    <a:pt x="6232" y="6737"/>
                    <a:pt x="6228" y="6724"/>
                  </a:cubicBezTo>
                  <a:cubicBezTo>
                    <a:pt x="6184" y="6730"/>
                    <a:pt x="6169" y="6734"/>
                    <a:pt x="6157" y="6703"/>
                  </a:cubicBezTo>
                  <a:cubicBezTo>
                    <a:pt x="6139" y="6659"/>
                    <a:pt x="6290" y="6614"/>
                    <a:pt x="6361" y="6623"/>
                  </a:cubicBezTo>
                  <a:cubicBezTo>
                    <a:pt x="6428" y="6631"/>
                    <a:pt x="6475" y="6584"/>
                    <a:pt x="6499" y="6613"/>
                  </a:cubicBezTo>
                  <a:cubicBezTo>
                    <a:pt x="6541" y="6575"/>
                    <a:pt x="6614" y="6512"/>
                    <a:pt x="6632" y="6512"/>
                  </a:cubicBezTo>
                  <a:cubicBezTo>
                    <a:pt x="6659" y="6512"/>
                    <a:pt x="6975" y="6509"/>
                    <a:pt x="6975" y="6509"/>
                  </a:cubicBezTo>
                  <a:cubicBezTo>
                    <a:pt x="6975" y="6509"/>
                    <a:pt x="7084" y="6442"/>
                    <a:pt x="7099" y="6380"/>
                  </a:cubicBezTo>
                  <a:cubicBezTo>
                    <a:pt x="7113" y="6318"/>
                    <a:pt x="7184" y="6170"/>
                    <a:pt x="7225" y="6203"/>
                  </a:cubicBezTo>
                  <a:cubicBezTo>
                    <a:pt x="7267" y="6235"/>
                    <a:pt x="7355" y="6211"/>
                    <a:pt x="7358" y="6241"/>
                  </a:cubicBezTo>
                  <a:cubicBezTo>
                    <a:pt x="7361" y="6268"/>
                    <a:pt x="7329" y="6368"/>
                    <a:pt x="7442" y="6519"/>
                  </a:cubicBezTo>
                  <a:cubicBezTo>
                    <a:pt x="7482" y="6493"/>
                    <a:pt x="7524" y="6474"/>
                    <a:pt x="7547" y="6475"/>
                  </a:cubicBezTo>
                  <a:cubicBezTo>
                    <a:pt x="7587" y="6477"/>
                    <a:pt x="7647" y="6424"/>
                    <a:pt x="7664" y="6391"/>
                  </a:cubicBezTo>
                  <a:cubicBezTo>
                    <a:pt x="7682" y="6358"/>
                    <a:pt x="7707" y="6422"/>
                    <a:pt x="7671" y="6433"/>
                  </a:cubicBezTo>
                  <a:cubicBezTo>
                    <a:pt x="7636" y="6444"/>
                    <a:pt x="7700" y="6470"/>
                    <a:pt x="7762" y="6468"/>
                  </a:cubicBezTo>
                  <a:cubicBezTo>
                    <a:pt x="7824" y="6466"/>
                    <a:pt x="7733" y="6490"/>
                    <a:pt x="7687" y="6488"/>
                  </a:cubicBezTo>
                  <a:cubicBezTo>
                    <a:pt x="7640" y="6486"/>
                    <a:pt x="7620" y="6493"/>
                    <a:pt x="7558" y="6555"/>
                  </a:cubicBezTo>
                  <a:cubicBezTo>
                    <a:pt x="7496" y="6617"/>
                    <a:pt x="7512" y="6634"/>
                    <a:pt x="7547" y="6665"/>
                  </a:cubicBezTo>
                  <a:cubicBezTo>
                    <a:pt x="7583" y="6696"/>
                    <a:pt x="7629" y="6683"/>
                    <a:pt x="7678" y="6641"/>
                  </a:cubicBezTo>
                  <a:cubicBezTo>
                    <a:pt x="7726" y="6599"/>
                    <a:pt x="7724" y="6557"/>
                    <a:pt x="7773" y="6559"/>
                  </a:cubicBezTo>
                  <a:cubicBezTo>
                    <a:pt x="7822" y="6561"/>
                    <a:pt x="7948" y="6515"/>
                    <a:pt x="8003" y="6497"/>
                  </a:cubicBezTo>
                  <a:cubicBezTo>
                    <a:pt x="8058" y="6479"/>
                    <a:pt x="8023" y="6470"/>
                    <a:pt x="8023" y="6446"/>
                  </a:cubicBezTo>
                  <a:cubicBezTo>
                    <a:pt x="8023" y="6422"/>
                    <a:pt x="8120" y="6422"/>
                    <a:pt x="8156" y="6397"/>
                  </a:cubicBezTo>
                  <a:cubicBezTo>
                    <a:pt x="8191" y="6373"/>
                    <a:pt x="8149" y="6353"/>
                    <a:pt x="8118" y="6358"/>
                  </a:cubicBezTo>
                  <a:close/>
                  <a:moveTo>
                    <a:pt x="2357" y="3488"/>
                  </a:moveTo>
                  <a:cubicBezTo>
                    <a:pt x="2299" y="3560"/>
                    <a:pt x="2279" y="3571"/>
                    <a:pt x="2219" y="3560"/>
                  </a:cubicBezTo>
                  <a:cubicBezTo>
                    <a:pt x="2159" y="3550"/>
                    <a:pt x="2123" y="3580"/>
                    <a:pt x="2152" y="3601"/>
                  </a:cubicBezTo>
                  <a:cubicBezTo>
                    <a:pt x="2182" y="3622"/>
                    <a:pt x="2184" y="3640"/>
                    <a:pt x="2123" y="3654"/>
                  </a:cubicBezTo>
                  <a:cubicBezTo>
                    <a:pt x="2061" y="3668"/>
                    <a:pt x="2020" y="3715"/>
                    <a:pt x="1996" y="3710"/>
                  </a:cubicBezTo>
                  <a:cubicBezTo>
                    <a:pt x="1971" y="3705"/>
                    <a:pt x="2101" y="3612"/>
                    <a:pt x="2068" y="3587"/>
                  </a:cubicBezTo>
                  <a:cubicBezTo>
                    <a:pt x="2035" y="3562"/>
                    <a:pt x="1952" y="3629"/>
                    <a:pt x="1950" y="3659"/>
                  </a:cubicBezTo>
                  <a:cubicBezTo>
                    <a:pt x="1948" y="3689"/>
                    <a:pt x="1894" y="3691"/>
                    <a:pt x="1860" y="3689"/>
                  </a:cubicBezTo>
                  <a:cubicBezTo>
                    <a:pt x="1827" y="3687"/>
                    <a:pt x="1783" y="3655"/>
                    <a:pt x="1816" y="3652"/>
                  </a:cubicBezTo>
                  <a:cubicBezTo>
                    <a:pt x="1850" y="3649"/>
                    <a:pt x="1827" y="3612"/>
                    <a:pt x="1873" y="3594"/>
                  </a:cubicBezTo>
                  <a:cubicBezTo>
                    <a:pt x="1918" y="3576"/>
                    <a:pt x="1864" y="3550"/>
                    <a:pt x="1878" y="3531"/>
                  </a:cubicBezTo>
                  <a:cubicBezTo>
                    <a:pt x="1892" y="3511"/>
                    <a:pt x="1985" y="3550"/>
                    <a:pt x="1987" y="3515"/>
                  </a:cubicBezTo>
                  <a:cubicBezTo>
                    <a:pt x="1989" y="3480"/>
                    <a:pt x="1894" y="3450"/>
                    <a:pt x="1862" y="3471"/>
                  </a:cubicBezTo>
                  <a:cubicBezTo>
                    <a:pt x="1830" y="3492"/>
                    <a:pt x="1756" y="3541"/>
                    <a:pt x="1668" y="3502"/>
                  </a:cubicBezTo>
                  <a:cubicBezTo>
                    <a:pt x="1641" y="3490"/>
                    <a:pt x="1890" y="3464"/>
                    <a:pt x="1933" y="3425"/>
                  </a:cubicBezTo>
                  <a:cubicBezTo>
                    <a:pt x="1975" y="3386"/>
                    <a:pt x="2165" y="3342"/>
                    <a:pt x="2179" y="3377"/>
                  </a:cubicBezTo>
                  <a:cubicBezTo>
                    <a:pt x="2193" y="3413"/>
                    <a:pt x="2077" y="3436"/>
                    <a:pt x="2133" y="3467"/>
                  </a:cubicBezTo>
                  <a:cubicBezTo>
                    <a:pt x="2189" y="3499"/>
                    <a:pt x="2281" y="3478"/>
                    <a:pt x="2302" y="3444"/>
                  </a:cubicBezTo>
                  <a:cubicBezTo>
                    <a:pt x="2323" y="3411"/>
                    <a:pt x="2415" y="3416"/>
                    <a:pt x="2357" y="3488"/>
                  </a:cubicBezTo>
                  <a:close/>
                  <a:moveTo>
                    <a:pt x="2916" y="4199"/>
                  </a:moveTo>
                  <a:cubicBezTo>
                    <a:pt x="2848" y="4259"/>
                    <a:pt x="2853" y="4243"/>
                    <a:pt x="2793" y="4254"/>
                  </a:cubicBezTo>
                  <a:cubicBezTo>
                    <a:pt x="2733" y="4264"/>
                    <a:pt x="2781" y="4324"/>
                    <a:pt x="2709" y="4330"/>
                  </a:cubicBezTo>
                  <a:cubicBezTo>
                    <a:pt x="2636" y="4335"/>
                    <a:pt x="2462" y="4342"/>
                    <a:pt x="2438" y="4301"/>
                  </a:cubicBezTo>
                  <a:cubicBezTo>
                    <a:pt x="2429" y="4288"/>
                    <a:pt x="2533" y="4298"/>
                    <a:pt x="2540" y="4268"/>
                  </a:cubicBezTo>
                  <a:cubicBezTo>
                    <a:pt x="2547" y="4238"/>
                    <a:pt x="2575" y="4191"/>
                    <a:pt x="2619" y="4191"/>
                  </a:cubicBezTo>
                  <a:cubicBezTo>
                    <a:pt x="2663" y="4191"/>
                    <a:pt x="2659" y="4133"/>
                    <a:pt x="2587" y="4097"/>
                  </a:cubicBezTo>
                  <a:cubicBezTo>
                    <a:pt x="2515" y="4062"/>
                    <a:pt x="2691" y="4039"/>
                    <a:pt x="2732" y="4095"/>
                  </a:cubicBezTo>
                  <a:cubicBezTo>
                    <a:pt x="2772" y="4152"/>
                    <a:pt x="2844" y="4192"/>
                    <a:pt x="2885" y="4152"/>
                  </a:cubicBezTo>
                  <a:cubicBezTo>
                    <a:pt x="2925" y="4111"/>
                    <a:pt x="3156" y="3999"/>
                    <a:pt x="3156" y="4052"/>
                  </a:cubicBezTo>
                  <a:cubicBezTo>
                    <a:pt x="3156" y="4104"/>
                    <a:pt x="2985" y="4140"/>
                    <a:pt x="2916" y="4199"/>
                  </a:cubicBezTo>
                  <a:close/>
                  <a:moveTo>
                    <a:pt x="4457" y="5809"/>
                  </a:moveTo>
                  <a:cubicBezTo>
                    <a:pt x="4408" y="5814"/>
                    <a:pt x="4461" y="5680"/>
                    <a:pt x="4373" y="5631"/>
                  </a:cubicBezTo>
                  <a:cubicBezTo>
                    <a:pt x="4269" y="5574"/>
                    <a:pt x="4222" y="5468"/>
                    <a:pt x="4222" y="5410"/>
                  </a:cubicBezTo>
                  <a:cubicBezTo>
                    <a:pt x="4222" y="5353"/>
                    <a:pt x="4311" y="5326"/>
                    <a:pt x="4346" y="5370"/>
                  </a:cubicBezTo>
                  <a:cubicBezTo>
                    <a:pt x="4382" y="5415"/>
                    <a:pt x="4435" y="5596"/>
                    <a:pt x="4466" y="5654"/>
                  </a:cubicBezTo>
                  <a:cubicBezTo>
                    <a:pt x="4497" y="5711"/>
                    <a:pt x="4497" y="5804"/>
                    <a:pt x="4457" y="580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6" name="Freeform 126"/>
            <p:cNvSpPr>
              <a:spLocks noEditPoints="1"/>
            </p:cNvSpPr>
            <p:nvPr/>
          </p:nvSpPr>
          <p:spPr bwMode="auto">
            <a:xfrm>
              <a:off x="3128211" y="4385254"/>
              <a:ext cx="5128329" cy="3483108"/>
            </a:xfrm>
            <a:custGeom>
              <a:avLst/>
              <a:gdLst>
                <a:gd name="T0" fmla="*/ 3096 w 10148"/>
                <a:gd name="T1" fmla="*/ 2030 h 6892"/>
                <a:gd name="T2" fmla="*/ 2706 w 10148"/>
                <a:gd name="T3" fmla="*/ 306 h 6892"/>
                <a:gd name="T4" fmla="*/ 1638 w 10148"/>
                <a:gd name="T5" fmla="*/ 179 h 6892"/>
                <a:gd name="T6" fmla="*/ 1193 w 10148"/>
                <a:gd name="T7" fmla="*/ 88 h 6892"/>
                <a:gd name="T8" fmla="*/ 821 w 10148"/>
                <a:gd name="T9" fmla="*/ 186 h 6892"/>
                <a:gd name="T10" fmla="*/ 163 w 10148"/>
                <a:gd name="T11" fmla="*/ 520 h 6892"/>
                <a:gd name="T12" fmla="*/ 626 w 10148"/>
                <a:gd name="T13" fmla="*/ 909 h 6892"/>
                <a:gd name="T14" fmla="*/ 148 w 10148"/>
                <a:gd name="T15" fmla="*/ 934 h 6892"/>
                <a:gd name="T16" fmla="*/ 518 w 10148"/>
                <a:gd name="T17" fmla="*/ 1202 h 6892"/>
                <a:gd name="T18" fmla="*/ 376 w 10148"/>
                <a:gd name="T19" fmla="*/ 1396 h 6892"/>
                <a:gd name="T20" fmla="*/ 398 w 10148"/>
                <a:gd name="T21" fmla="*/ 1932 h 6892"/>
                <a:gd name="T22" fmla="*/ 843 w 10148"/>
                <a:gd name="T23" fmla="*/ 2083 h 6892"/>
                <a:gd name="T24" fmla="*/ 901 w 10148"/>
                <a:gd name="T25" fmla="*/ 2375 h 6892"/>
                <a:gd name="T26" fmla="*/ 741 w 10148"/>
                <a:gd name="T27" fmla="*/ 2539 h 6892"/>
                <a:gd name="T28" fmla="*/ 1295 w 10148"/>
                <a:gd name="T29" fmla="*/ 2209 h 6892"/>
                <a:gd name="T30" fmla="*/ 1525 w 10148"/>
                <a:gd name="T31" fmla="*/ 1886 h 6892"/>
                <a:gd name="T32" fmla="*/ 1686 w 10148"/>
                <a:gd name="T33" fmla="*/ 1775 h 6892"/>
                <a:gd name="T34" fmla="*/ 1999 w 10148"/>
                <a:gd name="T35" fmla="*/ 1901 h 6892"/>
                <a:gd name="T36" fmla="*/ 2196 w 10148"/>
                <a:gd name="T37" fmla="*/ 1782 h 6892"/>
                <a:gd name="T38" fmla="*/ 2437 w 10148"/>
                <a:gd name="T39" fmla="*/ 1881 h 6892"/>
                <a:gd name="T40" fmla="*/ 3010 w 10148"/>
                <a:gd name="T41" fmla="*/ 2049 h 6892"/>
                <a:gd name="T42" fmla="*/ 3320 w 10148"/>
                <a:gd name="T43" fmla="*/ 2193 h 6892"/>
                <a:gd name="T44" fmla="*/ 3329 w 10148"/>
                <a:gd name="T45" fmla="*/ 2311 h 6892"/>
                <a:gd name="T46" fmla="*/ 3442 w 10148"/>
                <a:gd name="T47" fmla="*/ 2324 h 6892"/>
                <a:gd name="T48" fmla="*/ 3546 w 10148"/>
                <a:gd name="T49" fmla="*/ 2424 h 6892"/>
                <a:gd name="T50" fmla="*/ 3504 w 10148"/>
                <a:gd name="T51" fmla="*/ 2652 h 6892"/>
                <a:gd name="T52" fmla="*/ 3721 w 10148"/>
                <a:gd name="T53" fmla="*/ 2647 h 6892"/>
                <a:gd name="T54" fmla="*/ 128 w 10148"/>
                <a:gd name="T55" fmla="*/ 2765 h 6892"/>
                <a:gd name="T56" fmla="*/ 1574 w 10148"/>
                <a:gd name="T57" fmla="*/ 2120 h 6892"/>
                <a:gd name="T58" fmla="*/ 1560 w 10148"/>
                <a:gd name="T59" fmla="*/ 2262 h 6892"/>
                <a:gd name="T60" fmla="*/ 214 w 10148"/>
                <a:gd name="T61" fmla="*/ 1932 h 6892"/>
                <a:gd name="T62" fmla="*/ 1242 w 10148"/>
                <a:gd name="T63" fmla="*/ 6747 h 6892"/>
                <a:gd name="T64" fmla="*/ 824 w 10148"/>
                <a:gd name="T65" fmla="*/ 6550 h 6892"/>
                <a:gd name="T66" fmla="*/ 9805 w 10148"/>
                <a:gd name="T67" fmla="*/ 3792 h 6892"/>
                <a:gd name="T68" fmla="*/ 8934 w 10148"/>
                <a:gd name="T69" fmla="*/ 4136 h 6892"/>
                <a:gd name="T70" fmla="*/ 8598 w 10148"/>
                <a:gd name="T71" fmla="*/ 4263 h 6892"/>
                <a:gd name="T72" fmla="*/ 8221 w 10148"/>
                <a:gd name="T73" fmla="*/ 3951 h 6892"/>
                <a:gd name="T74" fmla="*/ 8429 w 10148"/>
                <a:gd name="T75" fmla="*/ 3778 h 6892"/>
                <a:gd name="T76" fmla="*/ 8017 w 10148"/>
                <a:gd name="T77" fmla="*/ 3677 h 6892"/>
                <a:gd name="T78" fmla="*/ 7735 w 10148"/>
                <a:gd name="T79" fmla="*/ 3526 h 6892"/>
                <a:gd name="T80" fmla="*/ 7315 w 10148"/>
                <a:gd name="T81" fmla="*/ 3414 h 6892"/>
                <a:gd name="T82" fmla="*/ 4533 w 10148"/>
                <a:gd name="T83" fmla="*/ 3535 h 6892"/>
                <a:gd name="T84" fmla="*/ 4453 w 10148"/>
                <a:gd name="T85" fmla="*/ 3765 h 6892"/>
                <a:gd name="T86" fmla="*/ 4467 w 10148"/>
                <a:gd name="T87" fmla="*/ 4679 h 6892"/>
                <a:gd name="T88" fmla="*/ 4801 w 10148"/>
                <a:gd name="T89" fmla="*/ 5166 h 6892"/>
                <a:gd name="T90" fmla="*/ 5465 w 10148"/>
                <a:gd name="T91" fmla="*/ 5438 h 6892"/>
                <a:gd name="T92" fmla="*/ 6373 w 10148"/>
                <a:gd name="T93" fmla="*/ 5662 h 6892"/>
                <a:gd name="T94" fmla="*/ 6898 w 10148"/>
                <a:gd name="T95" fmla="*/ 6005 h 6892"/>
                <a:gd name="T96" fmla="*/ 7176 w 10148"/>
                <a:gd name="T97" fmla="*/ 5846 h 6892"/>
                <a:gd name="T98" fmla="*/ 7544 w 10148"/>
                <a:gd name="T99" fmla="*/ 5698 h 6892"/>
                <a:gd name="T100" fmla="*/ 7887 w 10148"/>
                <a:gd name="T101" fmla="*/ 5731 h 6892"/>
                <a:gd name="T102" fmla="*/ 8290 w 10148"/>
                <a:gd name="T103" fmla="*/ 5693 h 6892"/>
                <a:gd name="T104" fmla="*/ 8635 w 10148"/>
                <a:gd name="T105" fmla="*/ 6100 h 6892"/>
                <a:gd name="T106" fmla="*/ 8684 w 10148"/>
                <a:gd name="T107" fmla="*/ 5591 h 6892"/>
                <a:gd name="T108" fmla="*/ 9146 w 10148"/>
                <a:gd name="T109" fmla="*/ 5091 h 6892"/>
                <a:gd name="T110" fmla="*/ 9195 w 10148"/>
                <a:gd name="T111" fmla="*/ 4850 h 6892"/>
                <a:gd name="T112" fmla="*/ 9237 w 10148"/>
                <a:gd name="T113" fmla="*/ 4817 h 6892"/>
                <a:gd name="T114" fmla="*/ 9481 w 10148"/>
                <a:gd name="T115" fmla="*/ 4458 h 6892"/>
                <a:gd name="T116" fmla="*/ 9742 w 10148"/>
                <a:gd name="T117" fmla="*/ 4250 h 6892"/>
                <a:gd name="T118" fmla="*/ 10148 w 10148"/>
                <a:gd name="T119" fmla="*/ 3931 h 6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148" h="6892">
                  <a:moveTo>
                    <a:pt x="3810" y="2525"/>
                  </a:moveTo>
                  <a:cubicBezTo>
                    <a:pt x="3825" y="2487"/>
                    <a:pt x="3828" y="2463"/>
                    <a:pt x="3716" y="2419"/>
                  </a:cubicBezTo>
                  <a:cubicBezTo>
                    <a:pt x="3603" y="2375"/>
                    <a:pt x="3615" y="2345"/>
                    <a:pt x="3538" y="2210"/>
                  </a:cubicBezTo>
                  <a:cubicBezTo>
                    <a:pt x="3462" y="2074"/>
                    <a:pt x="3323" y="2015"/>
                    <a:pt x="3323" y="1965"/>
                  </a:cubicBezTo>
                  <a:cubicBezTo>
                    <a:pt x="3323" y="1914"/>
                    <a:pt x="3187" y="1920"/>
                    <a:pt x="3187" y="1959"/>
                  </a:cubicBezTo>
                  <a:cubicBezTo>
                    <a:pt x="3187" y="1997"/>
                    <a:pt x="3128" y="2009"/>
                    <a:pt x="3096" y="2030"/>
                  </a:cubicBezTo>
                  <a:cubicBezTo>
                    <a:pt x="3063" y="2050"/>
                    <a:pt x="3049" y="2018"/>
                    <a:pt x="3019" y="1979"/>
                  </a:cubicBezTo>
                  <a:cubicBezTo>
                    <a:pt x="2989" y="1941"/>
                    <a:pt x="2919" y="1903"/>
                    <a:pt x="2919" y="1879"/>
                  </a:cubicBezTo>
                  <a:cubicBezTo>
                    <a:pt x="2919" y="1855"/>
                    <a:pt x="2901" y="1805"/>
                    <a:pt x="2851" y="1829"/>
                  </a:cubicBezTo>
                  <a:cubicBezTo>
                    <a:pt x="2801" y="1853"/>
                    <a:pt x="2774" y="1829"/>
                    <a:pt x="2759" y="1847"/>
                  </a:cubicBezTo>
                  <a:cubicBezTo>
                    <a:pt x="2745" y="1864"/>
                    <a:pt x="2706" y="1836"/>
                    <a:pt x="2706" y="1836"/>
                  </a:cubicBezTo>
                  <a:cubicBezTo>
                    <a:pt x="2706" y="306"/>
                    <a:pt x="2706" y="306"/>
                    <a:pt x="2706" y="306"/>
                  </a:cubicBezTo>
                  <a:cubicBezTo>
                    <a:pt x="2688" y="304"/>
                    <a:pt x="2673" y="301"/>
                    <a:pt x="2660" y="296"/>
                  </a:cubicBezTo>
                  <a:cubicBezTo>
                    <a:pt x="2596" y="272"/>
                    <a:pt x="2501" y="228"/>
                    <a:pt x="2450" y="239"/>
                  </a:cubicBezTo>
                  <a:cubicBezTo>
                    <a:pt x="2399" y="250"/>
                    <a:pt x="2297" y="263"/>
                    <a:pt x="2262" y="245"/>
                  </a:cubicBezTo>
                  <a:cubicBezTo>
                    <a:pt x="2227" y="228"/>
                    <a:pt x="2178" y="212"/>
                    <a:pt x="2105" y="223"/>
                  </a:cubicBezTo>
                  <a:cubicBezTo>
                    <a:pt x="2032" y="234"/>
                    <a:pt x="1985" y="183"/>
                    <a:pt x="1892" y="161"/>
                  </a:cubicBezTo>
                  <a:cubicBezTo>
                    <a:pt x="1799" y="139"/>
                    <a:pt x="1669" y="168"/>
                    <a:pt x="1638" y="179"/>
                  </a:cubicBezTo>
                  <a:cubicBezTo>
                    <a:pt x="1607" y="190"/>
                    <a:pt x="1613" y="146"/>
                    <a:pt x="1574" y="150"/>
                  </a:cubicBezTo>
                  <a:cubicBezTo>
                    <a:pt x="1534" y="155"/>
                    <a:pt x="1565" y="132"/>
                    <a:pt x="1542" y="99"/>
                  </a:cubicBezTo>
                  <a:cubicBezTo>
                    <a:pt x="1520" y="66"/>
                    <a:pt x="1410" y="97"/>
                    <a:pt x="1370" y="101"/>
                  </a:cubicBezTo>
                  <a:cubicBezTo>
                    <a:pt x="1330" y="106"/>
                    <a:pt x="1319" y="82"/>
                    <a:pt x="1321" y="62"/>
                  </a:cubicBezTo>
                  <a:cubicBezTo>
                    <a:pt x="1323" y="42"/>
                    <a:pt x="1286" y="48"/>
                    <a:pt x="1270" y="75"/>
                  </a:cubicBezTo>
                  <a:cubicBezTo>
                    <a:pt x="1255" y="101"/>
                    <a:pt x="1210" y="106"/>
                    <a:pt x="1193" y="88"/>
                  </a:cubicBezTo>
                  <a:cubicBezTo>
                    <a:pt x="1175" y="70"/>
                    <a:pt x="1230" y="64"/>
                    <a:pt x="1233" y="44"/>
                  </a:cubicBezTo>
                  <a:cubicBezTo>
                    <a:pt x="1235" y="24"/>
                    <a:pt x="1175" y="13"/>
                    <a:pt x="1153" y="6"/>
                  </a:cubicBezTo>
                  <a:cubicBezTo>
                    <a:pt x="1131" y="0"/>
                    <a:pt x="1095" y="28"/>
                    <a:pt x="1049" y="70"/>
                  </a:cubicBezTo>
                  <a:cubicBezTo>
                    <a:pt x="1002" y="113"/>
                    <a:pt x="934" y="108"/>
                    <a:pt x="892" y="104"/>
                  </a:cubicBezTo>
                  <a:cubicBezTo>
                    <a:pt x="850" y="99"/>
                    <a:pt x="797" y="108"/>
                    <a:pt x="799" y="132"/>
                  </a:cubicBezTo>
                  <a:cubicBezTo>
                    <a:pt x="801" y="157"/>
                    <a:pt x="852" y="155"/>
                    <a:pt x="821" y="186"/>
                  </a:cubicBezTo>
                  <a:cubicBezTo>
                    <a:pt x="790" y="217"/>
                    <a:pt x="779" y="144"/>
                    <a:pt x="748" y="177"/>
                  </a:cubicBezTo>
                  <a:cubicBezTo>
                    <a:pt x="717" y="210"/>
                    <a:pt x="624" y="208"/>
                    <a:pt x="602" y="203"/>
                  </a:cubicBezTo>
                  <a:cubicBezTo>
                    <a:pt x="580" y="199"/>
                    <a:pt x="507" y="279"/>
                    <a:pt x="484" y="301"/>
                  </a:cubicBezTo>
                  <a:cubicBezTo>
                    <a:pt x="462" y="323"/>
                    <a:pt x="502" y="343"/>
                    <a:pt x="442" y="407"/>
                  </a:cubicBezTo>
                  <a:cubicBezTo>
                    <a:pt x="383" y="471"/>
                    <a:pt x="223" y="458"/>
                    <a:pt x="190" y="458"/>
                  </a:cubicBezTo>
                  <a:cubicBezTo>
                    <a:pt x="157" y="458"/>
                    <a:pt x="181" y="496"/>
                    <a:pt x="163" y="520"/>
                  </a:cubicBezTo>
                  <a:cubicBezTo>
                    <a:pt x="146" y="544"/>
                    <a:pt x="183" y="566"/>
                    <a:pt x="274" y="591"/>
                  </a:cubicBezTo>
                  <a:cubicBezTo>
                    <a:pt x="365" y="615"/>
                    <a:pt x="427" y="735"/>
                    <a:pt x="438" y="763"/>
                  </a:cubicBezTo>
                  <a:cubicBezTo>
                    <a:pt x="449" y="792"/>
                    <a:pt x="562" y="761"/>
                    <a:pt x="606" y="768"/>
                  </a:cubicBezTo>
                  <a:cubicBezTo>
                    <a:pt x="650" y="774"/>
                    <a:pt x="602" y="836"/>
                    <a:pt x="639" y="854"/>
                  </a:cubicBezTo>
                  <a:cubicBezTo>
                    <a:pt x="677" y="872"/>
                    <a:pt x="735" y="845"/>
                    <a:pt x="746" y="876"/>
                  </a:cubicBezTo>
                  <a:cubicBezTo>
                    <a:pt x="757" y="907"/>
                    <a:pt x="670" y="876"/>
                    <a:pt x="626" y="909"/>
                  </a:cubicBezTo>
                  <a:cubicBezTo>
                    <a:pt x="582" y="943"/>
                    <a:pt x="560" y="958"/>
                    <a:pt x="542" y="934"/>
                  </a:cubicBezTo>
                  <a:cubicBezTo>
                    <a:pt x="524" y="909"/>
                    <a:pt x="451" y="925"/>
                    <a:pt x="414" y="929"/>
                  </a:cubicBezTo>
                  <a:cubicBezTo>
                    <a:pt x="376" y="934"/>
                    <a:pt x="411" y="883"/>
                    <a:pt x="414" y="861"/>
                  </a:cubicBezTo>
                  <a:cubicBezTo>
                    <a:pt x="416" y="839"/>
                    <a:pt x="363" y="823"/>
                    <a:pt x="290" y="865"/>
                  </a:cubicBezTo>
                  <a:cubicBezTo>
                    <a:pt x="217" y="907"/>
                    <a:pt x="243" y="892"/>
                    <a:pt x="234" y="925"/>
                  </a:cubicBezTo>
                  <a:cubicBezTo>
                    <a:pt x="225" y="958"/>
                    <a:pt x="194" y="905"/>
                    <a:pt x="148" y="934"/>
                  </a:cubicBezTo>
                  <a:cubicBezTo>
                    <a:pt x="101" y="963"/>
                    <a:pt x="26" y="983"/>
                    <a:pt x="13" y="1011"/>
                  </a:cubicBezTo>
                  <a:cubicBezTo>
                    <a:pt x="0" y="1040"/>
                    <a:pt x="113" y="1060"/>
                    <a:pt x="157" y="1069"/>
                  </a:cubicBezTo>
                  <a:cubicBezTo>
                    <a:pt x="201" y="1078"/>
                    <a:pt x="104" y="1106"/>
                    <a:pt x="139" y="1118"/>
                  </a:cubicBezTo>
                  <a:cubicBezTo>
                    <a:pt x="174" y="1129"/>
                    <a:pt x="159" y="1162"/>
                    <a:pt x="214" y="1191"/>
                  </a:cubicBezTo>
                  <a:cubicBezTo>
                    <a:pt x="270" y="1219"/>
                    <a:pt x="394" y="1191"/>
                    <a:pt x="427" y="1191"/>
                  </a:cubicBezTo>
                  <a:cubicBezTo>
                    <a:pt x="460" y="1191"/>
                    <a:pt x="491" y="1230"/>
                    <a:pt x="518" y="1202"/>
                  </a:cubicBezTo>
                  <a:cubicBezTo>
                    <a:pt x="544" y="1173"/>
                    <a:pt x="644" y="1093"/>
                    <a:pt x="695" y="1140"/>
                  </a:cubicBezTo>
                  <a:cubicBezTo>
                    <a:pt x="746" y="1186"/>
                    <a:pt x="639" y="1179"/>
                    <a:pt x="666" y="1208"/>
                  </a:cubicBezTo>
                  <a:cubicBezTo>
                    <a:pt x="692" y="1237"/>
                    <a:pt x="726" y="1306"/>
                    <a:pt x="677" y="1341"/>
                  </a:cubicBezTo>
                  <a:cubicBezTo>
                    <a:pt x="628" y="1377"/>
                    <a:pt x="582" y="1352"/>
                    <a:pt x="555" y="1350"/>
                  </a:cubicBezTo>
                  <a:cubicBezTo>
                    <a:pt x="529" y="1348"/>
                    <a:pt x="544" y="1399"/>
                    <a:pt x="502" y="1432"/>
                  </a:cubicBezTo>
                  <a:cubicBezTo>
                    <a:pt x="460" y="1465"/>
                    <a:pt x="429" y="1396"/>
                    <a:pt x="376" y="1396"/>
                  </a:cubicBezTo>
                  <a:cubicBezTo>
                    <a:pt x="323" y="1396"/>
                    <a:pt x="334" y="1465"/>
                    <a:pt x="336" y="1498"/>
                  </a:cubicBezTo>
                  <a:cubicBezTo>
                    <a:pt x="338" y="1531"/>
                    <a:pt x="256" y="1492"/>
                    <a:pt x="236" y="1571"/>
                  </a:cubicBezTo>
                  <a:cubicBezTo>
                    <a:pt x="217" y="1651"/>
                    <a:pt x="132" y="1582"/>
                    <a:pt x="188" y="1660"/>
                  </a:cubicBezTo>
                  <a:cubicBezTo>
                    <a:pt x="243" y="1737"/>
                    <a:pt x="234" y="1689"/>
                    <a:pt x="279" y="1720"/>
                  </a:cubicBezTo>
                  <a:cubicBezTo>
                    <a:pt x="323" y="1751"/>
                    <a:pt x="230" y="1806"/>
                    <a:pt x="274" y="1815"/>
                  </a:cubicBezTo>
                  <a:cubicBezTo>
                    <a:pt x="318" y="1824"/>
                    <a:pt x="367" y="1903"/>
                    <a:pt x="398" y="1932"/>
                  </a:cubicBezTo>
                  <a:cubicBezTo>
                    <a:pt x="429" y="1961"/>
                    <a:pt x="469" y="1917"/>
                    <a:pt x="515" y="1914"/>
                  </a:cubicBezTo>
                  <a:cubicBezTo>
                    <a:pt x="562" y="1912"/>
                    <a:pt x="540" y="1848"/>
                    <a:pt x="566" y="1872"/>
                  </a:cubicBezTo>
                  <a:cubicBezTo>
                    <a:pt x="593" y="1897"/>
                    <a:pt x="631" y="1968"/>
                    <a:pt x="606" y="1985"/>
                  </a:cubicBezTo>
                  <a:cubicBezTo>
                    <a:pt x="582" y="2003"/>
                    <a:pt x="602" y="2058"/>
                    <a:pt x="597" y="2085"/>
                  </a:cubicBezTo>
                  <a:cubicBezTo>
                    <a:pt x="593" y="2111"/>
                    <a:pt x="699" y="2103"/>
                    <a:pt x="706" y="2072"/>
                  </a:cubicBezTo>
                  <a:cubicBezTo>
                    <a:pt x="712" y="2041"/>
                    <a:pt x="797" y="2032"/>
                    <a:pt x="843" y="2083"/>
                  </a:cubicBezTo>
                  <a:cubicBezTo>
                    <a:pt x="890" y="2134"/>
                    <a:pt x="905" y="2142"/>
                    <a:pt x="905" y="2103"/>
                  </a:cubicBezTo>
                  <a:cubicBezTo>
                    <a:pt x="905" y="2063"/>
                    <a:pt x="945" y="2018"/>
                    <a:pt x="947" y="2052"/>
                  </a:cubicBezTo>
                  <a:cubicBezTo>
                    <a:pt x="949" y="2085"/>
                    <a:pt x="987" y="2094"/>
                    <a:pt x="1056" y="2063"/>
                  </a:cubicBezTo>
                  <a:cubicBezTo>
                    <a:pt x="1124" y="2032"/>
                    <a:pt x="1093" y="2065"/>
                    <a:pt x="1058" y="2109"/>
                  </a:cubicBezTo>
                  <a:cubicBezTo>
                    <a:pt x="1009" y="2170"/>
                    <a:pt x="1058" y="2260"/>
                    <a:pt x="1022" y="2269"/>
                  </a:cubicBezTo>
                  <a:cubicBezTo>
                    <a:pt x="987" y="2277"/>
                    <a:pt x="958" y="2368"/>
                    <a:pt x="901" y="2375"/>
                  </a:cubicBezTo>
                  <a:cubicBezTo>
                    <a:pt x="843" y="2382"/>
                    <a:pt x="746" y="2490"/>
                    <a:pt x="732" y="2508"/>
                  </a:cubicBezTo>
                  <a:cubicBezTo>
                    <a:pt x="719" y="2525"/>
                    <a:pt x="595" y="2472"/>
                    <a:pt x="577" y="2523"/>
                  </a:cubicBezTo>
                  <a:cubicBezTo>
                    <a:pt x="560" y="2574"/>
                    <a:pt x="485" y="2612"/>
                    <a:pt x="504" y="2632"/>
                  </a:cubicBezTo>
                  <a:cubicBezTo>
                    <a:pt x="518" y="2645"/>
                    <a:pt x="619" y="2594"/>
                    <a:pt x="624" y="2567"/>
                  </a:cubicBezTo>
                  <a:cubicBezTo>
                    <a:pt x="628" y="2541"/>
                    <a:pt x="642" y="2545"/>
                    <a:pt x="659" y="2565"/>
                  </a:cubicBezTo>
                  <a:cubicBezTo>
                    <a:pt x="677" y="2585"/>
                    <a:pt x="721" y="2557"/>
                    <a:pt x="741" y="2539"/>
                  </a:cubicBezTo>
                  <a:cubicBezTo>
                    <a:pt x="761" y="2521"/>
                    <a:pt x="794" y="2528"/>
                    <a:pt x="814" y="2530"/>
                  </a:cubicBezTo>
                  <a:cubicBezTo>
                    <a:pt x="834" y="2532"/>
                    <a:pt x="843" y="2506"/>
                    <a:pt x="903" y="2494"/>
                  </a:cubicBezTo>
                  <a:cubicBezTo>
                    <a:pt x="963" y="2483"/>
                    <a:pt x="949" y="2466"/>
                    <a:pt x="963" y="2435"/>
                  </a:cubicBezTo>
                  <a:cubicBezTo>
                    <a:pt x="976" y="2404"/>
                    <a:pt x="1118" y="2337"/>
                    <a:pt x="1144" y="2331"/>
                  </a:cubicBezTo>
                  <a:cubicBezTo>
                    <a:pt x="1171" y="2324"/>
                    <a:pt x="1155" y="2280"/>
                    <a:pt x="1184" y="2277"/>
                  </a:cubicBezTo>
                  <a:cubicBezTo>
                    <a:pt x="1213" y="2275"/>
                    <a:pt x="1257" y="2240"/>
                    <a:pt x="1295" y="2209"/>
                  </a:cubicBezTo>
                  <a:cubicBezTo>
                    <a:pt x="1332" y="2178"/>
                    <a:pt x="1341" y="2191"/>
                    <a:pt x="1370" y="2180"/>
                  </a:cubicBezTo>
                  <a:cubicBezTo>
                    <a:pt x="1399" y="2169"/>
                    <a:pt x="1377" y="2111"/>
                    <a:pt x="1405" y="2107"/>
                  </a:cubicBezTo>
                  <a:cubicBezTo>
                    <a:pt x="1434" y="2103"/>
                    <a:pt x="1456" y="2080"/>
                    <a:pt x="1456" y="2056"/>
                  </a:cubicBezTo>
                  <a:cubicBezTo>
                    <a:pt x="1456" y="2032"/>
                    <a:pt x="1383" y="2032"/>
                    <a:pt x="1377" y="2016"/>
                  </a:cubicBezTo>
                  <a:cubicBezTo>
                    <a:pt x="1370" y="2001"/>
                    <a:pt x="1434" y="1943"/>
                    <a:pt x="1458" y="1945"/>
                  </a:cubicBezTo>
                  <a:cubicBezTo>
                    <a:pt x="1483" y="1948"/>
                    <a:pt x="1523" y="1921"/>
                    <a:pt x="1525" y="1886"/>
                  </a:cubicBezTo>
                  <a:cubicBezTo>
                    <a:pt x="1527" y="1850"/>
                    <a:pt x="1562" y="1844"/>
                    <a:pt x="1591" y="1813"/>
                  </a:cubicBezTo>
                  <a:cubicBezTo>
                    <a:pt x="1620" y="1782"/>
                    <a:pt x="1613" y="1755"/>
                    <a:pt x="1642" y="1753"/>
                  </a:cubicBezTo>
                  <a:cubicBezTo>
                    <a:pt x="1671" y="1751"/>
                    <a:pt x="1697" y="1711"/>
                    <a:pt x="1728" y="1693"/>
                  </a:cubicBezTo>
                  <a:cubicBezTo>
                    <a:pt x="1759" y="1675"/>
                    <a:pt x="1728" y="1715"/>
                    <a:pt x="1788" y="1717"/>
                  </a:cubicBezTo>
                  <a:cubicBezTo>
                    <a:pt x="1848" y="1720"/>
                    <a:pt x="1835" y="1775"/>
                    <a:pt x="1790" y="1755"/>
                  </a:cubicBezTo>
                  <a:cubicBezTo>
                    <a:pt x="1746" y="1735"/>
                    <a:pt x="1726" y="1737"/>
                    <a:pt x="1686" y="1775"/>
                  </a:cubicBezTo>
                  <a:cubicBezTo>
                    <a:pt x="1647" y="1813"/>
                    <a:pt x="1678" y="1824"/>
                    <a:pt x="1647" y="1866"/>
                  </a:cubicBezTo>
                  <a:cubicBezTo>
                    <a:pt x="1616" y="1908"/>
                    <a:pt x="1613" y="1934"/>
                    <a:pt x="1653" y="1939"/>
                  </a:cubicBezTo>
                  <a:cubicBezTo>
                    <a:pt x="1693" y="1943"/>
                    <a:pt x="1655" y="1972"/>
                    <a:pt x="1618" y="1983"/>
                  </a:cubicBezTo>
                  <a:cubicBezTo>
                    <a:pt x="1580" y="1994"/>
                    <a:pt x="1607" y="2016"/>
                    <a:pt x="1658" y="2016"/>
                  </a:cubicBezTo>
                  <a:cubicBezTo>
                    <a:pt x="1709" y="2016"/>
                    <a:pt x="1784" y="1943"/>
                    <a:pt x="1855" y="1908"/>
                  </a:cubicBezTo>
                  <a:cubicBezTo>
                    <a:pt x="1925" y="1872"/>
                    <a:pt x="1979" y="1908"/>
                    <a:pt x="1999" y="1901"/>
                  </a:cubicBezTo>
                  <a:cubicBezTo>
                    <a:pt x="2018" y="1895"/>
                    <a:pt x="1976" y="1861"/>
                    <a:pt x="2001" y="1850"/>
                  </a:cubicBezTo>
                  <a:cubicBezTo>
                    <a:pt x="2025" y="1839"/>
                    <a:pt x="1972" y="1832"/>
                    <a:pt x="1956" y="1790"/>
                  </a:cubicBezTo>
                  <a:cubicBezTo>
                    <a:pt x="1941" y="1748"/>
                    <a:pt x="1981" y="1775"/>
                    <a:pt x="1990" y="1742"/>
                  </a:cubicBezTo>
                  <a:cubicBezTo>
                    <a:pt x="1999" y="1709"/>
                    <a:pt x="2023" y="1722"/>
                    <a:pt x="2045" y="1737"/>
                  </a:cubicBezTo>
                  <a:cubicBezTo>
                    <a:pt x="2067" y="1753"/>
                    <a:pt x="2098" y="1722"/>
                    <a:pt x="2118" y="1764"/>
                  </a:cubicBezTo>
                  <a:cubicBezTo>
                    <a:pt x="2138" y="1806"/>
                    <a:pt x="2160" y="1753"/>
                    <a:pt x="2196" y="1782"/>
                  </a:cubicBezTo>
                  <a:cubicBezTo>
                    <a:pt x="2231" y="1810"/>
                    <a:pt x="2189" y="1806"/>
                    <a:pt x="2151" y="1815"/>
                  </a:cubicBezTo>
                  <a:cubicBezTo>
                    <a:pt x="2114" y="1824"/>
                    <a:pt x="2134" y="1875"/>
                    <a:pt x="2162" y="1850"/>
                  </a:cubicBezTo>
                  <a:cubicBezTo>
                    <a:pt x="2191" y="1826"/>
                    <a:pt x="2215" y="1810"/>
                    <a:pt x="2242" y="1835"/>
                  </a:cubicBezTo>
                  <a:cubicBezTo>
                    <a:pt x="2269" y="1859"/>
                    <a:pt x="2280" y="1848"/>
                    <a:pt x="2302" y="1826"/>
                  </a:cubicBezTo>
                  <a:cubicBezTo>
                    <a:pt x="2324" y="1804"/>
                    <a:pt x="2324" y="1828"/>
                    <a:pt x="2324" y="1846"/>
                  </a:cubicBezTo>
                  <a:cubicBezTo>
                    <a:pt x="2324" y="1864"/>
                    <a:pt x="2370" y="1870"/>
                    <a:pt x="2437" y="1881"/>
                  </a:cubicBezTo>
                  <a:cubicBezTo>
                    <a:pt x="2503" y="1892"/>
                    <a:pt x="2623" y="1877"/>
                    <a:pt x="2654" y="1875"/>
                  </a:cubicBezTo>
                  <a:cubicBezTo>
                    <a:pt x="2685" y="1872"/>
                    <a:pt x="2674" y="1921"/>
                    <a:pt x="2742" y="1934"/>
                  </a:cubicBezTo>
                  <a:cubicBezTo>
                    <a:pt x="2811" y="1948"/>
                    <a:pt x="2829" y="1866"/>
                    <a:pt x="2864" y="1895"/>
                  </a:cubicBezTo>
                  <a:cubicBezTo>
                    <a:pt x="2899" y="1923"/>
                    <a:pt x="2864" y="1934"/>
                    <a:pt x="2844" y="1957"/>
                  </a:cubicBezTo>
                  <a:cubicBezTo>
                    <a:pt x="2824" y="1979"/>
                    <a:pt x="2866" y="1981"/>
                    <a:pt x="2893" y="1992"/>
                  </a:cubicBezTo>
                  <a:cubicBezTo>
                    <a:pt x="2919" y="2003"/>
                    <a:pt x="2981" y="2021"/>
                    <a:pt x="3010" y="2049"/>
                  </a:cubicBezTo>
                  <a:cubicBezTo>
                    <a:pt x="3039" y="2078"/>
                    <a:pt x="3057" y="2109"/>
                    <a:pt x="3127" y="2145"/>
                  </a:cubicBezTo>
                  <a:cubicBezTo>
                    <a:pt x="3198" y="2180"/>
                    <a:pt x="3130" y="2056"/>
                    <a:pt x="3185" y="2096"/>
                  </a:cubicBezTo>
                  <a:cubicBezTo>
                    <a:pt x="3240" y="2136"/>
                    <a:pt x="3220" y="2098"/>
                    <a:pt x="3265" y="2138"/>
                  </a:cubicBezTo>
                  <a:cubicBezTo>
                    <a:pt x="3309" y="2178"/>
                    <a:pt x="3293" y="2120"/>
                    <a:pt x="3274" y="2054"/>
                  </a:cubicBezTo>
                  <a:cubicBezTo>
                    <a:pt x="3254" y="1987"/>
                    <a:pt x="3293" y="2032"/>
                    <a:pt x="3313" y="2063"/>
                  </a:cubicBezTo>
                  <a:cubicBezTo>
                    <a:pt x="3333" y="2094"/>
                    <a:pt x="3333" y="2153"/>
                    <a:pt x="3320" y="2193"/>
                  </a:cubicBezTo>
                  <a:cubicBezTo>
                    <a:pt x="3307" y="2233"/>
                    <a:pt x="3240" y="2200"/>
                    <a:pt x="3247" y="2178"/>
                  </a:cubicBezTo>
                  <a:cubicBezTo>
                    <a:pt x="3254" y="2156"/>
                    <a:pt x="3181" y="2165"/>
                    <a:pt x="3178" y="2196"/>
                  </a:cubicBezTo>
                  <a:cubicBezTo>
                    <a:pt x="3176" y="2227"/>
                    <a:pt x="3225" y="2286"/>
                    <a:pt x="3260" y="2293"/>
                  </a:cubicBezTo>
                  <a:cubicBezTo>
                    <a:pt x="3296" y="2300"/>
                    <a:pt x="3269" y="2355"/>
                    <a:pt x="3291" y="2362"/>
                  </a:cubicBezTo>
                  <a:cubicBezTo>
                    <a:pt x="3322" y="2371"/>
                    <a:pt x="3320" y="2428"/>
                    <a:pt x="3338" y="2419"/>
                  </a:cubicBezTo>
                  <a:cubicBezTo>
                    <a:pt x="3355" y="2410"/>
                    <a:pt x="3349" y="2342"/>
                    <a:pt x="3329" y="2311"/>
                  </a:cubicBezTo>
                  <a:cubicBezTo>
                    <a:pt x="3309" y="2280"/>
                    <a:pt x="3318" y="2235"/>
                    <a:pt x="3344" y="2244"/>
                  </a:cubicBezTo>
                  <a:cubicBezTo>
                    <a:pt x="3371" y="2253"/>
                    <a:pt x="3344" y="2300"/>
                    <a:pt x="3358" y="2315"/>
                  </a:cubicBezTo>
                  <a:cubicBezTo>
                    <a:pt x="3371" y="2331"/>
                    <a:pt x="3386" y="2300"/>
                    <a:pt x="3417" y="2282"/>
                  </a:cubicBezTo>
                  <a:cubicBezTo>
                    <a:pt x="3448" y="2264"/>
                    <a:pt x="3404" y="2213"/>
                    <a:pt x="3415" y="2187"/>
                  </a:cubicBezTo>
                  <a:cubicBezTo>
                    <a:pt x="3426" y="2160"/>
                    <a:pt x="3462" y="2209"/>
                    <a:pt x="3475" y="2255"/>
                  </a:cubicBezTo>
                  <a:cubicBezTo>
                    <a:pt x="3488" y="2302"/>
                    <a:pt x="3442" y="2300"/>
                    <a:pt x="3442" y="2324"/>
                  </a:cubicBezTo>
                  <a:cubicBezTo>
                    <a:pt x="3442" y="2348"/>
                    <a:pt x="3400" y="2337"/>
                    <a:pt x="3386" y="2351"/>
                  </a:cubicBezTo>
                  <a:cubicBezTo>
                    <a:pt x="3373" y="2364"/>
                    <a:pt x="3380" y="2452"/>
                    <a:pt x="3398" y="2455"/>
                  </a:cubicBezTo>
                  <a:cubicBezTo>
                    <a:pt x="3415" y="2457"/>
                    <a:pt x="3426" y="2382"/>
                    <a:pt x="3437" y="2419"/>
                  </a:cubicBezTo>
                  <a:cubicBezTo>
                    <a:pt x="3448" y="2457"/>
                    <a:pt x="3490" y="2370"/>
                    <a:pt x="3502" y="2406"/>
                  </a:cubicBezTo>
                  <a:cubicBezTo>
                    <a:pt x="3513" y="2441"/>
                    <a:pt x="3566" y="2481"/>
                    <a:pt x="3586" y="2472"/>
                  </a:cubicBezTo>
                  <a:cubicBezTo>
                    <a:pt x="3606" y="2463"/>
                    <a:pt x="3577" y="2426"/>
                    <a:pt x="3546" y="2424"/>
                  </a:cubicBezTo>
                  <a:cubicBezTo>
                    <a:pt x="3515" y="2421"/>
                    <a:pt x="3519" y="2370"/>
                    <a:pt x="3548" y="2368"/>
                  </a:cubicBezTo>
                  <a:cubicBezTo>
                    <a:pt x="3577" y="2366"/>
                    <a:pt x="3628" y="2441"/>
                    <a:pt x="3626" y="2468"/>
                  </a:cubicBezTo>
                  <a:cubicBezTo>
                    <a:pt x="3623" y="2494"/>
                    <a:pt x="3599" y="2492"/>
                    <a:pt x="3575" y="2519"/>
                  </a:cubicBezTo>
                  <a:cubicBezTo>
                    <a:pt x="3550" y="2545"/>
                    <a:pt x="3517" y="2475"/>
                    <a:pt x="3488" y="2477"/>
                  </a:cubicBezTo>
                  <a:cubicBezTo>
                    <a:pt x="3459" y="2479"/>
                    <a:pt x="3488" y="2523"/>
                    <a:pt x="3502" y="2554"/>
                  </a:cubicBezTo>
                  <a:cubicBezTo>
                    <a:pt x="3515" y="2585"/>
                    <a:pt x="3466" y="2627"/>
                    <a:pt x="3504" y="2652"/>
                  </a:cubicBezTo>
                  <a:cubicBezTo>
                    <a:pt x="3541" y="2676"/>
                    <a:pt x="3530" y="2636"/>
                    <a:pt x="3537" y="2618"/>
                  </a:cubicBezTo>
                  <a:cubicBezTo>
                    <a:pt x="3544" y="2601"/>
                    <a:pt x="3572" y="2623"/>
                    <a:pt x="3592" y="2638"/>
                  </a:cubicBezTo>
                  <a:cubicBezTo>
                    <a:pt x="3611" y="2653"/>
                    <a:pt x="3614" y="2603"/>
                    <a:pt x="3614" y="2583"/>
                  </a:cubicBezTo>
                  <a:cubicBezTo>
                    <a:pt x="3614" y="2563"/>
                    <a:pt x="3648" y="2574"/>
                    <a:pt x="3665" y="2601"/>
                  </a:cubicBezTo>
                  <a:cubicBezTo>
                    <a:pt x="3683" y="2627"/>
                    <a:pt x="3685" y="2572"/>
                    <a:pt x="3712" y="2576"/>
                  </a:cubicBezTo>
                  <a:cubicBezTo>
                    <a:pt x="3738" y="2581"/>
                    <a:pt x="3721" y="2623"/>
                    <a:pt x="3721" y="2647"/>
                  </a:cubicBezTo>
                  <a:cubicBezTo>
                    <a:pt x="3721" y="2672"/>
                    <a:pt x="3767" y="2627"/>
                    <a:pt x="3763" y="2654"/>
                  </a:cubicBezTo>
                  <a:cubicBezTo>
                    <a:pt x="3762" y="2658"/>
                    <a:pt x="3762" y="2662"/>
                    <a:pt x="3763" y="2665"/>
                  </a:cubicBezTo>
                  <a:cubicBezTo>
                    <a:pt x="3787" y="2647"/>
                    <a:pt x="3813" y="2629"/>
                    <a:pt x="3831" y="2617"/>
                  </a:cubicBezTo>
                  <a:cubicBezTo>
                    <a:pt x="3878" y="2584"/>
                    <a:pt x="3795" y="2564"/>
                    <a:pt x="3810" y="2525"/>
                  </a:cubicBezTo>
                  <a:close/>
                  <a:moveTo>
                    <a:pt x="75" y="2840"/>
                  </a:moveTo>
                  <a:cubicBezTo>
                    <a:pt x="128" y="2818"/>
                    <a:pt x="150" y="2791"/>
                    <a:pt x="128" y="2765"/>
                  </a:cubicBezTo>
                  <a:cubicBezTo>
                    <a:pt x="106" y="2738"/>
                    <a:pt x="34" y="2857"/>
                    <a:pt x="75" y="2840"/>
                  </a:cubicBezTo>
                  <a:close/>
                  <a:moveTo>
                    <a:pt x="451" y="2641"/>
                  </a:moveTo>
                  <a:cubicBezTo>
                    <a:pt x="403" y="2623"/>
                    <a:pt x="274" y="2701"/>
                    <a:pt x="318" y="2707"/>
                  </a:cubicBezTo>
                  <a:cubicBezTo>
                    <a:pt x="349" y="2711"/>
                    <a:pt x="363" y="2680"/>
                    <a:pt x="398" y="2680"/>
                  </a:cubicBezTo>
                  <a:cubicBezTo>
                    <a:pt x="434" y="2680"/>
                    <a:pt x="500" y="2658"/>
                    <a:pt x="451" y="2641"/>
                  </a:cubicBezTo>
                  <a:close/>
                  <a:moveTo>
                    <a:pt x="1574" y="2120"/>
                  </a:moveTo>
                  <a:cubicBezTo>
                    <a:pt x="1576" y="2096"/>
                    <a:pt x="1540" y="2098"/>
                    <a:pt x="1496" y="2149"/>
                  </a:cubicBezTo>
                  <a:cubicBezTo>
                    <a:pt x="1452" y="2200"/>
                    <a:pt x="1414" y="2227"/>
                    <a:pt x="1407" y="2251"/>
                  </a:cubicBezTo>
                  <a:cubicBezTo>
                    <a:pt x="1401" y="2275"/>
                    <a:pt x="1350" y="2246"/>
                    <a:pt x="1334" y="2277"/>
                  </a:cubicBezTo>
                  <a:cubicBezTo>
                    <a:pt x="1319" y="2308"/>
                    <a:pt x="1345" y="2377"/>
                    <a:pt x="1377" y="2355"/>
                  </a:cubicBezTo>
                  <a:cubicBezTo>
                    <a:pt x="1407" y="2333"/>
                    <a:pt x="1410" y="2355"/>
                    <a:pt x="1430" y="2355"/>
                  </a:cubicBezTo>
                  <a:cubicBezTo>
                    <a:pt x="1450" y="2355"/>
                    <a:pt x="1540" y="2293"/>
                    <a:pt x="1560" y="2262"/>
                  </a:cubicBezTo>
                  <a:cubicBezTo>
                    <a:pt x="1580" y="2231"/>
                    <a:pt x="1525" y="2222"/>
                    <a:pt x="1523" y="2202"/>
                  </a:cubicBezTo>
                  <a:cubicBezTo>
                    <a:pt x="1520" y="2182"/>
                    <a:pt x="1569" y="2182"/>
                    <a:pt x="1593" y="2169"/>
                  </a:cubicBezTo>
                  <a:cubicBezTo>
                    <a:pt x="1618" y="2156"/>
                    <a:pt x="1571" y="2145"/>
                    <a:pt x="1574" y="2120"/>
                  </a:cubicBezTo>
                  <a:close/>
                  <a:moveTo>
                    <a:pt x="163" y="1859"/>
                  </a:moveTo>
                  <a:cubicBezTo>
                    <a:pt x="159" y="1824"/>
                    <a:pt x="64" y="1857"/>
                    <a:pt x="75" y="1890"/>
                  </a:cubicBezTo>
                  <a:cubicBezTo>
                    <a:pt x="86" y="1923"/>
                    <a:pt x="176" y="1945"/>
                    <a:pt x="214" y="1932"/>
                  </a:cubicBezTo>
                  <a:cubicBezTo>
                    <a:pt x="248" y="1921"/>
                    <a:pt x="259" y="1886"/>
                    <a:pt x="234" y="1864"/>
                  </a:cubicBezTo>
                  <a:cubicBezTo>
                    <a:pt x="210" y="1841"/>
                    <a:pt x="168" y="1895"/>
                    <a:pt x="163" y="1859"/>
                  </a:cubicBezTo>
                  <a:close/>
                  <a:moveTo>
                    <a:pt x="1242" y="6747"/>
                  </a:moveTo>
                  <a:cubicBezTo>
                    <a:pt x="1187" y="6753"/>
                    <a:pt x="1217" y="6892"/>
                    <a:pt x="1247" y="6869"/>
                  </a:cubicBezTo>
                  <a:cubicBezTo>
                    <a:pt x="1268" y="6853"/>
                    <a:pt x="1307" y="6849"/>
                    <a:pt x="1319" y="6828"/>
                  </a:cubicBezTo>
                  <a:cubicBezTo>
                    <a:pt x="1334" y="6800"/>
                    <a:pt x="1297" y="6740"/>
                    <a:pt x="1242" y="6747"/>
                  </a:cubicBezTo>
                  <a:close/>
                  <a:moveTo>
                    <a:pt x="1169" y="6662"/>
                  </a:moveTo>
                  <a:cubicBezTo>
                    <a:pt x="1136" y="6667"/>
                    <a:pt x="1157" y="6727"/>
                    <a:pt x="1179" y="6711"/>
                  </a:cubicBezTo>
                  <a:cubicBezTo>
                    <a:pt x="1214" y="6685"/>
                    <a:pt x="1201" y="6657"/>
                    <a:pt x="1169" y="6662"/>
                  </a:cubicBezTo>
                  <a:close/>
                  <a:moveTo>
                    <a:pt x="824" y="6550"/>
                  </a:moveTo>
                  <a:cubicBezTo>
                    <a:pt x="853" y="6581"/>
                    <a:pt x="874" y="6573"/>
                    <a:pt x="882" y="6545"/>
                  </a:cubicBezTo>
                  <a:cubicBezTo>
                    <a:pt x="890" y="6517"/>
                    <a:pt x="792" y="6517"/>
                    <a:pt x="824" y="6550"/>
                  </a:cubicBezTo>
                  <a:close/>
                  <a:moveTo>
                    <a:pt x="980" y="6617"/>
                  </a:moveTo>
                  <a:cubicBezTo>
                    <a:pt x="1001" y="6649"/>
                    <a:pt x="1024" y="6656"/>
                    <a:pt x="1042" y="6626"/>
                  </a:cubicBezTo>
                  <a:cubicBezTo>
                    <a:pt x="1060" y="6597"/>
                    <a:pt x="955" y="6579"/>
                    <a:pt x="980" y="6617"/>
                  </a:cubicBezTo>
                  <a:close/>
                  <a:moveTo>
                    <a:pt x="10064" y="3653"/>
                  </a:moveTo>
                  <a:cubicBezTo>
                    <a:pt x="10061" y="3623"/>
                    <a:pt x="9973" y="3647"/>
                    <a:pt x="9931" y="3615"/>
                  </a:cubicBezTo>
                  <a:cubicBezTo>
                    <a:pt x="9890" y="3582"/>
                    <a:pt x="9819" y="3730"/>
                    <a:pt x="9805" y="3792"/>
                  </a:cubicBezTo>
                  <a:cubicBezTo>
                    <a:pt x="9790" y="3854"/>
                    <a:pt x="9681" y="3921"/>
                    <a:pt x="9681" y="3921"/>
                  </a:cubicBezTo>
                  <a:cubicBezTo>
                    <a:pt x="9681" y="3921"/>
                    <a:pt x="9365" y="3924"/>
                    <a:pt x="9338" y="3924"/>
                  </a:cubicBezTo>
                  <a:cubicBezTo>
                    <a:pt x="9320" y="3924"/>
                    <a:pt x="9247" y="3987"/>
                    <a:pt x="9205" y="4025"/>
                  </a:cubicBezTo>
                  <a:cubicBezTo>
                    <a:pt x="9206" y="4027"/>
                    <a:pt x="9207" y="4029"/>
                    <a:pt x="9208" y="4031"/>
                  </a:cubicBezTo>
                  <a:cubicBezTo>
                    <a:pt x="9240" y="4088"/>
                    <a:pt x="9124" y="4124"/>
                    <a:pt x="9014" y="4128"/>
                  </a:cubicBezTo>
                  <a:cubicBezTo>
                    <a:pt x="8979" y="4129"/>
                    <a:pt x="8954" y="4133"/>
                    <a:pt x="8934" y="4136"/>
                  </a:cubicBezTo>
                  <a:cubicBezTo>
                    <a:pt x="8938" y="4149"/>
                    <a:pt x="8941" y="4164"/>
                    <a:pt x="8940" y="4175"/>
                  </a:cubicBezTo>
                  <a:cubicBezTo>
                    <a:pt x="8939" y="4182"/>
                    <a:pt x="8927" y="4191"/>
                    <a:pt x="8910" y="4200"/>
                  </a:cubicBezTo>
                  <a:cubicBezTo>
                    <a:pt x="8893" y="4234"/>
                    <a:pt x="8757" y="4301"/>
                    <a:pt x="8681" y="4341"/>
                  </a:cubicBezTo>
                  <a:cubicBezTo>
                    <a:pt x="8597" y="4385"/>
                    <a:pt x="8482" y="4363"/>
                    <a:pt x="8482" y="4296"/>
                  </a:cubicBezTo>
                  <a:cubicBezTo>
                    <a:pt x="8482" y="4230"/>
                    <a:pt x="8544" y="4243"/>
                    <a:pt x="8557" y="4274"/>
                  </a:cubicBezTo>
                  <a:cubicBezTo>
                    <a:pt x="8562" y="4286"/>
                    <a:pt x="8577" y="4277"/>
                    <a:pt x="8598" y="4263"/>
                  </a:cubicBezTo>
                  <a:cubicBezTo>
                    <a:pt x="8577" y="4242"/>
                    <a:pt x="8577" y="4210"/>
                    <a:pt x="8581" y="4185"/>
                  </a:cubicBezTo>
                  <a:cubicBezTo>
                    <a:pt x="8556" y="4173"/>
                    <a:pt x="8596" y="4074"/>
                    <a:pt x="8544" y="4057"/>
                  </a:cubicBezTo>
                  <a:cubicBezTo>
                    <a:pt x="8491" y="4040"/>
                    <a:pt x="8429" y="4133"/>
                    <a:pt x="8438" y="4075"/>
                  </a:cubicBezTo>
                  <a:cubicBezTo>
                    <a:pt x="8447" y="4017"/>
                    <a:pt x="8527" y="3969"/>
                    <a:pt x="8478" y="3893"/>
                  </a:cubicBezTo>
                  <a:cubicBezTo>
                    <a:pt x="8429" y="3818"/>
                    <a:pt x="8341" y="3818"/>
                    <a:pt x="8323" y="3876"/>
                  </a:cubicBezTo>
                  <a:cubicBezTo>
                    <a:pt x="8305" y="3933"/>
                    <a:pt x="8243" y="3907"/>
                    <a:pt x="8221" y="3951"/>
                  </a:cubicBezTo>
                  <a:cubicBezTo>
                    <a:pt x="8199" y="3995"/>
                    <a:pt x="8177" y="4093"/>
                    <a:pt x="8194" y="4164"/>
                  </a:cubicBezTo>
                  <a:cubicBezTo>
                    <a:pt x="8212" y="4234"/>
                    <a:pt x="8190" y="4270"/>
                    <a:pt x="8124" y="4310"/>
                  </a:cubicBezTo>
                  <a:cubicBezTo>
                    <a:pt x="8057" y="4349"/>
                    <a:pt x="8022" y="4249"/>
                    <a:pt x="8048" y="4119"/>
                  </a:cubicBezTo>
                  <a:cubicBezTo>
                    <a:pt x="8066" y="4031"/>
                    <a:pt x="8115" y="3947"/>
                    <a:pt x="8070" y="3947"/>
                  </a:cubicBezTo>
                  <a:cubicBezTo>
                    <a:pt x="8026" y="3947"/>
                    <a:pt x="8128" y="3840"/>
                    <a:pt x="8221" y="3818"/>
                  </a:cubicBezTo>
                  <a:cubicBezTo>
                    <a:pt x="8314" y="3796"/>
                    <a:pt x="8429" y="3805"/>
                    <a:pt x="8429" y="3778"/>
                  </a:cubicBezTo>
                  <a:cubicBezTo>
                    <a:pt x="8429" y="3773"/>
                    <a:pt x="8433" y="3769"/>
                    <a:pt x="8440" y="3767"/>
                  </a:cubicBezTo>
                  <a:cubicBezTo>
                    <a:pt x="8421" y="3752"/>
                    <a:pt x="8400" y="3738"/>
                    <a:pt x="8383" y="3727"/>
                  </a:cubicBezTo>
                  <a:cubicBezTo>
                    <a:pt x="8382" y="3733"/>
                    <a:pt x="8378" y="3738"/>
                    <a:pt x="8372" y="3743"/>
                  </a:cubicBezTo>
                  <a:cubicBezTo>
                    <a:pt x="8335" y="3768"/>
                    <a:pt x="8345" y="3703"/>
                    <a:pt x="8279" y="3703"/>
                  </a:cubicBezTo>
                  <a:cubicBezTo>
                    <a:pt x="8212" y="3703"/>
                    <a:pt x="8146" y="3765"/>
                    <a:pt x="8093" y="3739"/>
                  </a:cubicBezTo>
                  <a:cubicBezTo>
                    <a:pt x="8040" y="3712"/>
                    <a:pt x="8066" y="3677"/>
                    <a:pt x="8017" y="3677"/>
                  </a:cubicBezTo>
                  <a:cubicBezTo>
                    <a:pt x="7969" y="3677"/>
                    <a:pt x="8053" y="3584"/>
                    <a:pt x="7982" y="3623"/>
                  </a:cubicBezTo>
                  <a:cubicBezTo>
                    <a:pt x="7911" y="3663"/>
                    <a:pt x="7805" y="3761"/>
                    <a:pt x="7756" y="3716"/>
                  </a:cubicBezTo>
                  <a:cubicBezTo>
                    <a:pt x="7707" y="3672"/>
                    <a:pt x="7663" y="3730"/>
                    <a:pt x="7628" y="3694"/>
                  </a:cubicBezTo>
                  <a:cubicBezTo>
                    <a:pt x="7592" y="3659"/>
                    <a:pt x="7752" y="3561"/>
                    <a:pt x="7827" y="3566"/>
                  </a:cubicBezTo>
                  <a:cubicBezTo>
                    <a:pt x="7846" y="3567"/>
                    <a:pt x="7862" y="3559"/>
                    <a:pt x="7878" y="3546"/>
                  </a:cubicBezTo>
                  <a:cubicBezTo>
                    <a:pt x="7839" y="3532"/>
                    <a:pt x="7757" y="3500"/>
                    <a:pt x="7735" y="3526"/>
                  </a:cubicBezTo>
                  <a:cubicBezTo>
                    <a:pt x="7709" y="3558"/>
                    <a:pt x="7671" y="3538"/>
                    <a:pt x="7650" y="3511"/>
                  </a:cubicBezTo>
                  <a:cubicBezTo>
                    <a:pt x="7629" y="3485"/>
                    <a:pt x="7603" y="3520"/>
                    <a:pt x="7567" y="3479"/>
                  </a:cubicBezTo>
                  <a:cubicBezTo>
                    <a:pt x="7532" y="3437"/>
                    <a:pt x="7496" y="3467"/>
                    <a:pt x="7476" y="3476"/>
                  </a:cubicBezTo>
                  <a:cubicBezTo>
                    <a:pt x="7455" y="3485"/>
                    <a:pt x="7429" y="3461"/>
                    <a:pt x="7390" y="3446"/>
                  </a:cubicBezTo>
                  <a:cubicBezTo>
                    <a:pt x="7352" y="3432"/>
                    <a:pt x="7381" y="3393"/>
                    <a:pt x="7349" y="3370"/>
                  </a:cubicBezTo>
                  <a:cubicBezTo>
                    <a:pt x="7316" y="3346"/>
                    <a:pt x="7315" y="3414"/>
                    <a:pt x="7315" y="3414"/>
                  </a:cubicBezTo>
                  <a:cubicBezTo>
                    <a:pt x="4563" y="3429"/>
                    <a:pt x="4563" y="3429"/>
                    <a:pt x="4563" y="3429"/>
                  </a:cubicBezTo>
                  <a:cubicBezTo>
                    <a:pt x="4566" y="3434"/>
                    <a:pt x="4569" y="3438"/>
                    <a:pt x="4573" y="3442"/>
                  </a:cubicBezTo>
                  <a:cubicBezTo>
                    <a:pt x="4606" y="3477"/>
                    <a:pt x="4580" y="3504"/>
                    <a:pt x="4591" y="3546"/>
                  </a:cubicBezTo>
                  <a:cubicBezTo>
                    <a:pt x="4602" y="3588"/>
                    <a:pt x="4593" y="3648"/>
                    <a:pt x="4560" y="3648"/>
                  </a:cubicBezTo>
                  <a:cubicBezTo>
                    <a:pt x="4527" y="3648"/>
                    <a:pt x="4522" y="3610"/>
                    <a:pt x="4546" y="3597"/>
                  </a:cubicBezTo>
                  <a:cubicBezTo>
                    <a:pt x="4571" y="3584"/>
                    <a:pt x="4557" y="3535"/>
                    <a:pt x="4533" y="3535"/>
                  </a:cubicBezTo>
                  <a:cubicBezTo>
                    <a:pt x="4519" y="3535"/>
                    <a:pt x="4513" y="3518"/>
                    <a:pt x="4514" y="3499"/>
                  </a:cubicBezTo>
                  <a:cubicBezTo>
                    <a:pt x="4469" y="3511"/>
                    <a:pt x="4417" y="3505"/>
                    <a:pt x="4356" y="3498"/>
                  </a:cubicBezTo>
                  <a:cubicBezTo>
                    <a:pt x="4357" y="3501"/>
                    <a:pt x="4358" y="3503"/>
                    <a:pt x="4358" y="3506"/>
                  </a:cubicBezTo>
                  <a:cubicBezTo>
                    <a:pt x="4360" y="3533"/>
                    <a:pt x="4374" y="3592"/>
                    <a:pt x="4409" y="3639"/>
                  </a:cubicBezTo>
                  <a:cubicBezTo>
                    <a:pt x="4445" y="3685"/>
                    <a:pt x="4420" y="3714"/>
                    <a:pt x="4453" y="3732"/>
                  </a:cubicBezTo>
                  <a:cubicBezTo>
                    <a:pt x="4487" y="3750"/>
                    <a:pt x="4484" y="3770"/>
                    <a:pt x="4453" y="3765"/>
                  </a:cubicBezTo>
                  <a:cubicBezTo>
                    <a:pt x="4422" y="3761"/>
                    <a:pt x="4445" y="3789"/>
                    <a:pt x="4434" y="3856"/>
                  </a:cubicBezTo>
                  <a:cubicBezTo>
                    <a:pt x="4422" y="3922"/>
                    <a:pt x="4425" y="4059"/>
                    <a:pt x="4418" y="4102"/>
                  </a:cubicBezTo>
                  <a:cubicBezTo>
                    <a:pt x="4411" y="4144"/>
                    <a:pt x="4363" y="4212"/>
                    <a:pt x="4391" y="4257"/>
                  </a:cubicBezTo>
                  <a:cubicBezTo>
                    <a:pt x="4420" y="4301"/>
                    <a:pt x="4440" y="4363"/>
                    <a:pt x="4425" y="4418"/>
                  </a:cubicBezTo>
                  <a:cubicBezTo>
                    <a:pt x="4409" y="4473"/>
                    <a:pt x="4411" y="4507"/>
                    <a:pt x="4436" y="4549"/>
                  </a:cubicBezTo>
                  <a:cubicBezTo>
                    <a:pt x="4460" y="4591"/>
                    <a:pt x="4440" y="4664"/>
                    <a:pt x="4467" y="4679"/>
                  </a:cubicBezTo>
                  <a:cubicBezTo>
                    <a:pt x="4493" y="4695"/>
                    <a:pt x="4518" y="4726"/>
                    <a:pt x="4542" y="4766"/>
                  </a:cubicBezTo>
                  <a:cubicBezTo>
                    <a:pt x="4566" y="4806"/>
                    <a:pt x="4588" y="4781"/>
                    <a:pt x="4593" y="4821"/>
                  </a:cubicBezTo>
                  <a:cubicBezTo>
                    <a:pt x="4597" y="4861"/>
                    <a:pt x="4597" y="4867"/>
                    <a:pt x="4633" y="4883"/>
                  </a:cubicBezTo>
                  <a:cubicBezTo>
                    <a:pt x="4668" y="4898"/>
                    <a:pt x="4646" y="4938"/>
                    <a:pt x="4646" y="4960"/>
                  </a:cubicBezTo>
                  <a:cubicBezTo>
                    <a:pt x="4646" y="4983"/>
                    <a:pt x="4693" y="5022"/>
                    <a:pt x="4750" y="5073"/>
                  </a:cubicBezTo>
                  <a:cubicBezTo>
                    <a:pt x="4808" y="5124"/>
                    <a:pt x="4759" y="5166"/>
                    <a:pt x="4801" y="5166"/>
                  </a:cubicBezTo>
                  <a:cubicBezTo>
                    <a:pt x="4843" y="5166"/>
                    <a:pt x="4883" y="5191"/>
                    <a:pt x="4925" y="5217"/>
                  </a:cubicBezTo>
                  <a:cubicBezTo>
                    <a:pt x="4967" y="5244"/>
                    <a:pt x="4980" y="5228"/>
                    <a:pt x="5009" y="5235"/>
                  </a:cubicBezTo>
                  <a:cubicBezTo>
                    <a:pt x="5038" y="5242"/>
                    <a:pt x="5091" y="5304"/>
                    <a:pt x="5102" y="5346"/>
                  </a:cubicBezTo>
                  <a:cubicBezTo>
                    <a:pt x="5107" y="5365"/>
                    <a:pt x="5114" y="5386"/>
                    <a:pt x="5124" y="5409"/>
                  </a:cubicBezTo>
                  <a:cubicBezTo>
                    <a:pt x="5354" y="5378"/>
                    <a:pt x="5354" y="5378"/>
                    <a:pt x="5354" y="5378"/>
                  </a:cubicBezTo>
                  <a:cubicBezTo>
                    <a:pt x="5354" y="5378"/>
                    <a:pt x="5425" y="5428"/>
                    <a:pt x="5465" y="5438"/>
                  </a:cubicBezTo>
                  <a:cubicBezTo>
                    <a:pt x="5505" y="5447"/>
                    <a:pt x="5723" y="5527"/>
                    <a:pt x="5723" y="5527"/>
                  </a:cubicBezTo>
                  <a:cubicBezTo>
                    <a:pt x="6007" y="5525"/>
                    <a:pt x="6007" y="5525"/>
                    <a:pt x="6007" y="5525"/>
                  </a:cubicBezTo>
                  <a:cubicBezTo>
                    <a:pt x="6040" y="5482"/>
                    <a:pt x="6040" y="5482"/>
                    <a:pt x="6040" y="5482"/>
                  </a:cubicBezTo>
                  <a:cubicBezTo>
                    <a:pt x="6196" y="5482"/>
                    <a:pt x="6196" y="5482"/>
                    <a:pt x="6196" y="5482"/>
                  </a:cubicBezTo>
                  <a:cubicBezTo>
                    <a:pt x="6196" y="5482"/>
                    <a:pt x="6295" y="5579"/>
                    <a:pt x="6309" y="5584"/>
                  </a:cubicBezTo>
                  <a:cubicBezTo>
                    <a:pt x="6324" y="5589"/>
                    <a:pt x="6373" y="5634"/>
                    <a:pt x="6373" y="5662"/>
                  </a:cubicBezTo>
                  <a:cubicBezTo>
                    <a:pt x="6373" y="5691"/>
                    <a:pt x="6385" y="5714"/>
                    <a:pt x="6409" y="5726"/>
                  </a:cubicBezTo>
                  <a:cubicBezTo>
                    <a:pt x="6432" y="5738"/>
                    <a:pt x="6513" y="5790"/>
                    <a:pt x="6525" y="5785"/>
                  </a:cubicBezTo>
                  <a:cubicBezTo>
                    <a:pt x="6536" y="5781"/>
                    <a:pt x="6560" y="5691"/>
                    <a:pt x="6603" y="5693"/>
                  </a:cubicBezTo>
                  <a:cubicBezTo>
                    <a:pt x="6645" y="5695"/>
                    <a:pt x="6761" y="5728"/>
                    <a:pt x="6780" y="5795"/>
                  </a:cubicBezTo>
                  <a:cubicBezTo>
                    <a:pt x="6799" y="5861"/>
                    <a:pt x="6856" y="5915"/>
                    <a:pt x="6875" y="5929"/>
                  </a:cubicBezTo>
                  <a:cubicBezTo>
                    <a:pt x="6893" y="5944"/>
                    <a:pt x="6884" y="5984"/>
                    <a:pt x="6898" y="6005"/>
                  </a:cubicBezTo>
                  <a:cubicBezTo>
                    <a:pt x="6912" y="6026"/>
                    <a:pt x="6910" y="6067"/>
                    <a:pt x="6927" y="6067"/>
                  </a:cubicBezTo>
                  <a:cubicBezTo>
                    <a:pt x="6943" y="6067"/>
                    <a:pt x="7028" y="6119"/>
                    <a:pt x="7066" y="6116"/>
                  </a:cubicBezTo>
                  <a:cubicBezTo>
                    <a:pt x="7077" y="6116"/>
                    <a:pt x="7092" y="6122"/>
                    <a:pt x="7108" y="6132"/>
                  </a:cubicBezTo>
                  <a:cubicBezTo>
                    <a:pt x="7112" y="6053"/>
                    <a:pt x="7031" y="6039"/>
                    <a:pt x="7079" y="6003"/>
                  </a:cubicBezTo>
                  <a:cubicBezTo>
                    <a:pt x="7134" y="5961"/>
                    <a:pt x="7077" y="5926"/>
                    <a:pt x="7103" y="5908"/>
                  </a:cubicBezTo>
                  <a:cubicBezTo>
                    <a:pt x="7130" y="5890"/>
                    <a:pt x="7176" y="5872"/>
                    <a:pt x="7176" y="5846"/>
                  </a:cubicBezTo>
                  <a:cubicBezTo>
                    <a:pt x="7176" y="5819"/>
                    <a:pt x="7201" y="5819"/>
                    <a:pt x="7236" y="5824"/>
                  </a:cubicBezTo>
                  <a:cubicBezTo>
                    <a:pt x="7271" y="5828"/>
                    <a:pt x="7338" y="5766"/>
                    <a:pt x="7333" y="5742"/>
                  </a:cubicBezTo>
                  <a:cubicBezTo>
                    <a:pt x="7329" y="5717"/>
                    <a:pt x="7340" y="5713"/>
                    <a:pt x="7382" y="5722"/>
                  </a:cubicBezTo>
                  <a:cubicBezTo>
                    <a:pt x="7424" y="5731"/>
                    <a:pt x="7417" y="5673"/>
                    <a:pt x="7444" y="5682"/>
                  </a:cubicBezTo>
                  <a:cubicBezTo>
                    <a:pt x="7471" y="5691"/>
                    <a:pt x="7493" y="5706"/>
                    <a:pt x="7495" y="5686"/>
                  </a:cubicBezTo>
                  <a:cubicBezTo>
                    <a:pt x="7497" y="5667"/>
                    <a:pt x="7524" y="5671"/>
                    <a:pt x="7544" y="5698"/>
                  </a:cubicBezTo>
                  <a:cubicBezTo>
                    <a:pt x="7564" y="5724"/>
                    <a:pt x="7621" y="5731"/>
                    <a:pt x="7626" y="5700"/>
                  </a:cubicBezTo>
                  <a:cubicBezTo>
                    <a:pt x="7630" y="5669"/>
                    <a:pt x="7663" y="5700"/>
                    <a:pt x="7692" y="5731"/>
                  </a:cubicBezTo>
                  <a:cubicBezTo>
                    <a:pt x="7721" y="5762"/>
                    <a:pt x="7734" y="5753"/>
                    <a:pt x="7776" y="5755"/>
                  </a:cubicBezTo>
                  <a:cubicBezTo>
                    <a:pt x="7818" y="5757"/>
                    <a:pt x="7818" y="5746"/>
                    <a:pt x="7820" y="5720"/>
                  </a:cubicBezTo>
                  <a:cubicBezTo>
                    <a:pt x="7823" y="5693"/>
                    <a:pt x="7867" y="5777"/>
                    <a:pt x="7909" y="5782"/>
                  </a:cubicBezTo>
                  <a:cubicBezTo>
                    <a:pt x="7951" y="5786"/>
                    <a:pt x="7918" y="5755"/>
                    <a:pt x="7887" y="5731"/>
                  </a:cubicBezTo>
                  <a:cubicBezTo>
                    <a:pt x="7856" y="5706"/>
                    <a:pt x="7893" y="5695"/>
                    <a:pt x="7867" y="5675"/>
                  </a:cubicBezTo>
                  <a:cubicBezTo>
                    <a:pt x="7840" y="5656"/>
                    <a:pt x="7900" y="5629"/>
                    <a:pt x="7953" y="5631"/>
                  </a:cubicBezTo>
                  <a:cubicBezTo>
                    <a:pt x="8006" y="5633"/>
                    <a:pt x="8004" y="5647"/>
                    <a:pt x="8024" y="5616"/>
                  </a:cubicBezTo>
                  <a:cubicBezTo>
                    <a:pt x="8044" y="5585"/>
                    <a:pt x="8064" y="5616"/>
                    <a:pt x="8064" y="5642"/>
                  </a:cubicBezTo>
                  <a:cubicBezTo>
                    <a:pt x="8064" y="5669"/>
                    <a:pt x="8150" y="5627"/>
                    <a:pt x="8197" y="5627"/>
                  </a:cubicBezTo>
                  <a:cubicBezTo>
                    <a:pt x="8243" y="5627"/>
                    <a:pt x="8285" y="5667"/>
                    <a:pt x="8290" y="5693"/>
                  </a:cubicBezTo>
                  <a:cubicBezTo>
                    <a:pt x="8294" y="5720"/>
                    <a:pt x="8325" y="5733"/>
                    <a:pt x="8358" y="5704"/>
                  </a:cubicBezTo>
                  <a:cubicBezTo>
                    <a:pt x="8391" y="5675"/>
                    <a:pt x="8420" y="5642"/>
                    <a:pt x="8451" y="5673"/>
                  </a:cubicBezTo>
                  <a:cubicBezTo>
                    <a:pt x="8482" y="5704"/>
                    <a:pt x="8513" y="5746"/>
                    <a:pt x="8551" y="5784"/>
                  </a:cubicBezTo>
                  <a:cubicBezTo>
                    <a:pt x="8588" y="5821"/>
                    <a:pt x="8533" y="5868"/>
                    <a:pt x="8553" y="5897"/>
                  </a:cubicBezTo>
                  <a:cubicBezTo>
                    <a:pt x="8573" y="5926"/>
                    <a:pt x="8551" y="5965"/>
                    <a:pt x="8595" y="5996"/>
                  </a:cubicBezTo>
                  <a:cubicBezTo>
                    <a:pt x="8639" y="6027"/>
                    <a:pt x="8600" y="6092"/>
                    <a:pt x="8635" y="6100"/>
                  </a:cubicBezTo>
                  <a:cubicBezTo>
                    <a:pt x="8670" y="6109"/>
                    <a:pt x="8699" y="6165"/>
                    <a:pt x="8704" y="6187"/>
                  </a:cubicBezTo>
                  <a:cubicBezTo>
                    <a:pt x="8708" y="6209"/>
                    <a:pt x="8774" y="6238"/>
                    <a:pt x="8779" y="6200"/>
                  </a:cubicBezTo>
                  <a:cubicBezTo>
                    <a:pt x="8783" y="6162"/>
                    <a:pt x="8819" y="6118"/>
                    <a:pt x="8823" y="6083"/>
                  </a:cubicBezTo>
                  <a:cubicBezTo>
                    <a:pt x="8828" y="6047"/>
                    <a:pt x="8797" y="5921"/>
                    <a:pt x="8768" y="5881"/>
                  </a:cubicBezTo>
                  <a:cubicBezTo>
                    <a:pt x="8739" y="5842"/>
                    <a:pt x="8774" y="5833"/>
                    <a:pt x="8739" y="5786"/>
                  </a:cubicBezTo>
                  <a:cubicBezTo>
                    <a:pt x="8704" y="5740"/>
                    <a:pt x="8681" y="5658"/>
                    <a:pt x="8684" y="5591"/>
                  </a:cubicBezTo>
                  <a:cubicBezTo>
                    <a:pt x="8686" y="5525"/>
                    <a:pt x="8763" y="5416"/>
                    <a:pt x="8801" y="5383"/>
                  </a:cubicBezTo>
                  <a:cubicBezTo>
                    <a:pt x="8839" y="5350"/>
                    <a:pt x="8881" y="5368"/>
                    <a:pt x="8890" y="5332"/>
                  </a:cubicBezTo>
                  <a:cubicBezTo>
                    <a:pt x="8898" y="5297"/>
                    <a:pt x="8945" y="5253"/>
                    <a:pt x="8971" y="5253"/>
                  </a:cubicBezTo>
                  <a:cubicBezTo>
                    <a:pt x="8998" y="5253"/>
                    <a:pt x="9027" y="5259"/>
                    <a:pt x="9031" y="5231"/>
                  </a:cubicBezTo>
                  <a:cubicBezTo>
                    <a:pt x="9036" y="5202"/>
                    <a:pt x="9080" y="5166"/>
                    <a:pt x="9137" y="5157"/>
                  </a:cubicBezTo>
                  <a:cubicBezTo>
                    <a:pt x="9195" y="5149"/>
                    <a:pt x="9162" y="5118"/>
                    <a:pt x="9146" y="5091"/>
                  </a:cubicBezTo>
                  <a:cubicBezTo>
                    <a:pt x="9131" y="5064"/>
                    <a:pt x="9160" y="5038"/>
                    <a:pt x="9171" y="5056"/>
                  </a:cubicBezTo>
                  <a:cubicBezTo>
                    <a:pt x="9182" y="5073"/>
                    <a:pt x="9217" y="5076"/>
                    <a:pt x="9239" y="5060"/>
                  </a:cubicBezTo>
                  <a:cubicBezTo>
                    <a:pt x="9261" y="5045"/>
                    <a:pt x="9312" y="5003"/>
                    <a:pt x="9264" y="5000"/>
                  </a:cubicBezTo>
                  <a:cubicBezTo>
                    <a:pt x="9215" y="4998"/>
                    <a:pt x="9204" y="4978"/>
                    <a:pt x="9233" y="4967"/>
                  </a:cubicBezTo>
                  <a:cubicBezTo>
                    <a:pt x="9261" y="4956"/>
                    <a:pt x="9237" y="4903"/>
                    <a:pt x="9197" y="4898"/>
                  </a:cubicBezTo>
                  <a:cubicBezTo>
                    <a:pt x="9157" y="4894"/>
                    <a:pt x="9171" y="4874"/>
                    <a:pt x="9195" y="4850"/>
                  </a:cubicBezTo>
                  <a:cubicBezTo>
                    <a:pt x="9219" y="4825"/>
                    <a:pt x="9160" y="4786"/>
                    <a:pt x="9131" y="4766"/>
                  </a:cubicBezTo>
                  <a:cubicBezTo>
                    <a:pt x="9102" y="4746"/>
                    <a:pt x="9148" y="4735"/>
                    <a:pt x="9171" y="4730"/>
                  </a:cubicBezTo>
                  <a:cubicBezTo>
                    <a:pt x="9193" y="4726"/>
                    <a:pt x="9175" y="4624"/>
                    <a:pt x="9186" y="4600"/>
                  </a:cubicBezTo>
                  <a:cubicBezTo>
                    <a:pt x="9197" y="4575"/>
                    <a:pt x="9235" y="4575"/>
                    <a:pt x="9219" y="4600"/>
                  </a:cubicBezTo>
                  <a:cubicBezTo>
                    <a:pt x="9204" y="4624"/>
                    <a:pt x="9182" y="4664"/>
                    <a:pt x="9211" y="4697"/>
                  </a:cubicBezTo>
                  <a:cubicBezTo>
                    <a:pt x="9239" y="4730"/>
                    <a:pt x="9248" y="4766"/>
                    <a:pt x="9237" y="4817"/>
                  </a:cubicBezTo>
                  <a:cubicBezTo>
                    <a:pt x="9226" y="4867"/>
                    <a:pt x="9248" y="4854"/>
                    <a:pt x="9281" y="4788"/>
                  </a:cubicBezTo>
                  <a:cubicBezTo>
                    <a:pt x="9315" y="4721"/>
                    <a:pt x="9319" y="4664"/>
                    <a:pt x="9297" y="4657"/>
                  </a:cubicBezTo>
                  <a:cubicBezTo>
                    <a:pt x="9275" y="4651"/>
                    <a:pt x="9277" y="4584"/>
                    <a:pt x="9301" y="4615"/>
                  </a:cubicBezTo>
                  <a:cubicBezTo>
                    <a:pt x="9326" y="4646"/>
                    <a:pt x="9334" y="4651"/>
                    <a:pt x="9372" y="4611"/>
                  </a:cubicBezTo>
                  <a:cubicBezTo>
                    <a:pt x="9410" y="4571"/>
                    <a:pt x="9450" y="4502"/>
                    <a:pt x="9425" y="4487"/>
                  </a:cubicBezTo>
                  <a:cubicBezTo>
                    <a:pt x="9401" y="4471"/>
                    <a:pt x="9436" y="4456"/>
                    <a:pt x="9481" y="4458"/>
                  </a:cubicBezTo>
                  <a:cubicBezTo>
                    <a:pt x="9525" y="4460"/>
                    <a:pt x="9620" y="4431"/>
                    <a:pt x="9627" y="4418"/>
                  </a:cubicBezTo>
                  <a:cubicBezTo>
                    <a:pt x="9648" y="4375"/>
                    <a:pt x="9474" y="4438"/>
                    <a:pt x="9474" y="4414"/>
                  </a:cubicBezTo>
                  <a:cubicBezTo>
                    <a:pt x="9474" y="4389"/>
                    <a:pt x="9585" y="4365"/>
                    <a:pt x="9636" y="4363"/>
                  </a:cubicBezTo>
                  <a:cubicBezTo>
                    <a:pt x="9686" y="4361"/>
                    <a:pt x="9662" y="4292"/>
                    <a:pt x="9684" y="4321"/>
                  </a:cubicBezTo>
                  <a:cubicBezTo>
                    <a:pt x="9706" y="4349"/>
                    <a:pt x="9740" y="4345"/>
                    <a:pt x="9768" y="4327"/>
                  </a:cubicBezTo>
                  <a:cubicBezTo>
                    <a:pt x="9797" y="4310"/>
                    <a:pt x="9775" y="4259"/>
                    <a:pt x="9742" y="4250"/>
                  </a:cubicBezTo>
                  <a:cubicBezTo>
                    <a:pt x="9709" y="4241"/>
                    <a:pt x="9766" y="4219"/>
                    <a:pt x="9755" y="4199"/>
                  </a:cubicBezTo>
                  <a:cubicBezTo>
                    <a:pt x="9744" y="4179"/>
                    <a:pt x="9777" y="4099"/>
                    <a:pt x="9819" y="4090"/>
                  </a:cubicBezTo>
                  <a:cubicBezTo>
                    <a:pt x="9861" y="4082"/>
                    <a:pt x="9841" y="4055"/>
                    <a:pt x="9877" y="4055"/>
                  </a:cubicBezTo>
                  <a:cubicBezTo>
                    <a:pt x="9912" y="4055"/>
                    <a:pt x="9919" y="4013"/>
                    <a:pt x="9950" y="3982"/>
                  </a:cubicBezTo>
                  <a:cubicBezTo>
                    <a:pt x="9981" y="3951"/>
                    <a:pt x="10025" y="4031"/>
                    <a:pt x="10074" y="3986"/>
                  </a:cubicBezTo>
                  <a:cubicBezTo>
                    <a:pt x="10094" y="3968"/>
                    <a:pt x="10121" y="3948"/>
                    <a:pt x="10148" y="3931"/>
                  </a:cubicBezTo>
                  <a:cubicBezTo>
                    <a:pt x="10035" y="3780"/>
                    <a:pt x="10067" y="3680"/>
                    <a:pt x="10064" y="365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7" name="Freeform 127"/>
            <p:cNvSpPr>
              <a:spLocks noEditPoints="1"/>
            </p:cNvSpPr>
            <p:nvPr/>
          </p:nvSpPr>
          <p:spPr bwMode="auto">
            <a:xfrm>
              <a:off x="11186773" y="6444291"/>
              <a:ext cx="650046" cy="462404"/>
            </a:xfrm>
            <a:custGeom>
              <a:avLst/>
              <a:gdLst>
                <a:gd name="T0" fmla="*/ 1270 w 1286"/>
                <a:gd name="T1" fmla="*/ 163 h 915"/>
                <a:gd name="T2" fmla="*/ 1168 w 1286"/>
                <a:gd name="T3" fmla="*/ 160 h 915"/>
                <a:gd name="T4" fmla="*/ 1049 w 1286"/>
                <a:gd name="T5" fmla="*/ 132 h 915"/>
                <a:gd name="T6" fmla="*/ 1003 w 1286"/>
                <a:gd name="T7" fmla="*/ 121 h 915"/>
                <a:gd name="T8" fmla="*/ 924 w 1286"/>
                <a:gd name="T9" fmla="*/ 128 h 915"/>
                <a:gd name="T10" fmla="*/ 827 w 1286"/>
                <a:gd name="T11" fmla="*/ 81 h 915"/>
                <a:gd name="T12" fmla="*/ 770 w 1286"/>
                <a:gd name="T13" fmla="*/ 53 h 915"/>
                <a:gd name="T14" fmla="*/ 597 w 1286"/>
                <a:gd name="T15" fmla="*/ 34 h 915"/>
                <a:gd name="T16" fmla="*/ 268 w 1286"/>
                <a:gd name="T17" fmla="*/ 31 h 915"/>
                <a:gd name="T18" fmla="*/ 147 w 1286"/>
                <a:gd name="T19" fmla="*/ 0 h 915"/>
                <a:gd name="T20" fmla="*/ 64 w 1286"/>
                <a:gd name="T21" fmla="*/ 52 h 915"/>
                <a:gd name="T22" fmla="*/ 42 w 1286"/>
                <a:gd name="T23" fmla="*/ 124 h 915"/>
                <a:gd name="T24" fmla="*/ 60 w 1286"/>
                <a:gd name="T25" fmla="*/ 222 h 915"/>
                <a:gd name="T26" fmla="*/ 87 w 1286"/>
                <a:gd name="T27" fmla="*/ 211 h 915"/>
                <a:gd name="T28" fmla="*/ 123 w 1286"/>
                <a:gd name="T29" fmla="*/ 214 h 915"/>
                <a:gd name="T30" fmla="*/ 184 w 1286"/>
                <a:gd name="T31" fmla="*/ 229 h 915"/>
                <a:gd name="T32" fmla="*/ 223 w 1286"/>
                <a:gd name="T33" fmla="*/ 229 h 915"/>
                <a:gd name="T34" fmla="*/ 284 w 1286"/>
                <a:gd name="T35" fmla="*/ 239 h 915"/>
                <a:gd name="T36" fmla="*/ 310 w 1286"/>
                <a:gd name="T37" fmla="*/ 279 h 915"/>
                <a:gd name="T38" fmla="*/ 245 w 1286"/>
                <a:gd name="T39" fmla="*/ 336 h 915"/>
                <a:gd name="T40" fmla="*/ 252 w 1286"/>
                <a:gd name="T41" fmla="*/ 430 h 915"/>
                <a:gd name="T42" fmla="*/ 234 w 1286"/>
                <a:gd name="T43" fmla="*/ 498 h 915"/>
                <a:gd name="T44" fmla="*/ 209 w 1286"/>
                <a:gd name="T45" fmla="*/ 537 h 915"/>
                <a:gd name="T46" fmla="*/ 238 w 1286"/>
                <a:gd name="T47" fmla="*/ 591 h 915"/>
                <a:gd name="T48" fmla="*/ 213 w 1286"/>
                <a:gd name="T49" fmla="*/ 645 h 915"/>
                <a:gd name="T50" fmla="*/ 234 w 1286"/>
                <a:gd name="T51" fmla="*/ 695 h 915"/>
                <a:gd name="T52" fmla="*/ 195 w 1286"/>
                <a:gd name="T53" fmla="*/ 757 h 915"/>
                <a:gd name="T54" fmla="*/ 209 w 1286"/>
                <a:gd name="T55" fmla="*/ 789 h 915"/>
                <a:gd name="T56" fmla="*/ 262 w 1286"/>
                <a:gd name="T57" fmla="*/ 793 h 915"/>
                <a:gd name="T58" fmla="*/ 383 w 1286"/>
                <a:gd name="T59" fmla="*/ 908 h 915"/>
                <a:gd name="T60" fmla="*/ 407 w 1286"/>
                <a:gd name="T61" fmla="*/ 875 h 915"/>
                <a:gd name="T62" fmla="*/ 464 w 1286"/>
                <a:gd name="T63" fmla="*/ 873 h 915"/>
                <a:gd name="T64" fmla="*/ 556 w 1286"/>
                <a:gd name="T65" fmla="*/ 837 h 915"/>
                <a:gd name="T66" fmla="*/ 683 w 1286"/>
                <a:gd name="T67" fmla="*/ 833 h 915"/>
                <a:gd name="T68" fmla="*/ 755 w 1286"/>
                <a:gd name="T69" fmla="*/ 797 h 915"/>
                <a:gd name="T70" fmla="*/ 833 w 1286"/>
                <a:gd name="T71" fmla="*/ 744 h 915"/>
                <a:gd name="T72" fmla="*/ 870 w 1286"/>
                <a:gd name="T73" fmla="*/ 673 h 915"/>
                <a:gd name="T74" fmla="*/ 944 w 1286"/>
                <a:gd name="T75" fmla="*/ 597 h 915"/>
                <a:gd name="T76" fmla="*/ 945 w 1286"/>
                <a:gd name="T77" fmla="*/ 451 h 915"/>
                <a:gd name="T78" fmla="*/ 1028 w 1286"/>
                <a:gd name="T79" fmla="*/ 353 h 915"/>
                <a:gd name="T80" fmla="*/ 1120 w 1286"/>
                <a:gd name="T81" fmla="*/ 304 h 915"/>
                <a:gd name="T82" fmla="*/ 1229 w 1286"/>
                <a:gd name="T83" fmla="*/ 247 h 915"/>
                <a:gd name="T84" fmla="*/ 1270 w 1286"/>
                <a:gd name="T85" fmla="*/ 163 h 915"/>
                <a:gd name="T86" fmla="*/ 1279 w 1286"/>
                <a:gd name="T87" fmla="*/ 486 h 915"/>
                <a:gd name="T88" fmla="*/ 1192 w 1286"/>
                <a:gd name="T89" fmla="*/ 515 h 915"/>
                <a:gd name="T90" fmla="*/ 1279 w 1286"/>
                <a:gd name="T91" fmla="*/ 486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86" h="915">
                  <a:moveTo>
                    <a:pt x="1270" y="163"/>
                  </a:moveTo>
                  <a:cubicBezTo>
                    <a:pt x="1235" y="163"/>
                    <a:pt x="1195" y="166"/>
                    <a:pt x="1168" y="160"/>
                  </a:cubicBezTo>
                  <a:cubicBezTo>
                    <a:pt x="1135" y="153"/>
                    <a:pt x="1067" y="150"/>
                    <a:pt x="1049" y="132"/>
                  </a:cubicBezTo>
                  <a:cubicBezTo>
                    <a:pt x="1031" y="114"/>
                    <a:pt x="1003" y="99"/>
                    <a:pt x="1003" y="121"/>
                  </a:cubicBezTo>
                  <a:cubicBezTo>
                    <a:pt x="1003" y="142"/>
                    <a:pt x="952" y="146"/>
                    <a:pt x="924" y="128"/>
                  </a:cubicBezTo>
                  <a:cubicBezTo>
                    <a:pt x="895" y="110"/>
                    <a:pt x="848" y="96"/>
                    <a:pt x="827" y="81"/>
                  </a:cubicBezTo>
                  <a:cubicBezTo>
                    <a:pt x="815" y="74"/>
                    <a:pt x="792" y="64"/>
                    <a:pt x="770" y="53"/>
                  </a:cubicBezTo>
                  <a:cubicBezTo>
                    <a:pt x="740" y="59"/>
                    <a:pt x="654" y="27"/>
                    <a:pt x="597" y="34"/>
                  </a:cubicBezTo>
                  <a:cubicBezTo>
                    <a:pt x="537" y="42"/>
                    <a:pt x="343" y="25"/>
                    <a:pt x="268" y="31"/>
                  </a:cubicBezTo>
                  <a:cubicBezTo>
                    <a:pt x="193" y="37"/>
                    <a:pt x="188" y="0"/>
                    <a:pt x="147" y="0"/>
                  </a:cubicBezTo>
                  <a:cubicBezTo>
                    <a:pt x="106" y="0"/>
                    <a:pt x="124" y="51"/>
                    <a:pt x="64" y="52"/>
                  </a:cubicBezTo>
                  <a:cubicBezTo>
                    <a:pt x="5" y="54"/>
                    <a:pt x="0" y="90"/>
                    <a:pt x="42" y="124"/>
                  </a:cubicBezTo>
                  <a:cubicBezTo>
                    <a:pt x="67" y="144"/>
                    <a:pt x="64" y="185"/>
                    <a:pt x="60" y="222"/>
                  </a:cubicBezTo>
                  <a:cubicBezTo>
                    <a:pt x="73" y="220"/>
                    <a:pt x="82" y="217"/>
                    <a:pt x="87" y="211"/>
                  </a:cubicBezTo>
                  <a:cubicBezTo>
                    <a:pt x="105" y="189"/>
                    <a:pt x="123" y="193"/>
                    <a:pt x="123" y="214"/>
                  </a:cubicBezTo>
                  <a:cubicBezTo>
                    <a:pt x="123" y="236"/>
                    <a:pt x="162" y="229"/>
                    <a:pt x="184" y="229"/>
                  </a:cubicBezTo>
                  <a:cubicBezTo>
                    <a:pt x="205" y="229"/>
                    <a:pt x="198" y="247"/>
                    <a:pt x="223" y="229"/>
                  </a:cubicBezTo>
                  <a:cubicBezTo>
                    <a:pt x="248" y="211"/>
                    <a:pt x="284" y="218"/>
                    <a:pt x="284" y="239"/>
                  </a:cubicBezTo>
                  <a:cubicBezTo>
                    <a:pt x="284" y="261"/>
                    <a:pt x="338" y="250"/>
                    <a:pt x="310" y="279"/>
                  </a:cubicBezTo>
                  <a:cubicBezTo>
                    <a:pt x="281" y="308"/>
                    <a:pt x="245" y="315"/>
                    <a:pt x="245" y="336"/>
                  </a:cubicBezTo>
                  <a:cubicBezTo>
                    <a:pt x="245" y="358"/>
                    <a:pt x="277" y="405"/>
                    <a:pt x="252" y="430"/>
                  </a:cubicBezTo>
                  <a:cubicBezTo>
                    <a:pt x="227" y="455"/>
                    <a:pt x="259" y="498"/>
                    <a:pt x="234" y="498"/>
                  </a:cubicBezTo>
                  <a:cubicBezTo>
                    <a:pt x="209" y="498"/>
                    <a:pt x="180" y="509"/>
                    <a:pt x="209" y="537"/>
                  </a:cubicBezTo>
                  <a:cubicBezTo>
                    <a:pt x="238" y="566"/>
                    <a:pt x="259" y="591"/>
                    <a:pt x="238" y="591"/>
                  </a:cubicBezTo>
                  <a:cubicBezTo>
                    <a:pt x="216" y="591"/>
                    <a:pt x="202" y="634"/>
                    <a:pt x="213" y="645"/>
                  </a:cubicBezTo>
                  <a:cubicBezTo>
                    <a:pt x="223" y="656"/>
                    <a:pt x="274" y="688"/>
                    <a:pt x="234" y="695"/>
                  </a:cubicBezTo>
                  <a:cubicBezTo>
                    <a:pt x="195" y="703"/>
                    <a:pt x="195" y="735"/>
                    <a:pt x="195" y="757"/>
                  </a:cubicBezTo>
                  <a:cubicBezTo>
                    <a:pt x="195" y="765"/>
                    <a:pt x="201" y="777"/>
                    <a:pt x="209" y="789"/>
                  </a:cubicBezTo>
                  <a:cubicBezTo>
                    <a:pt x="227" y="786"/>
                    <a:pt x="246" y="785"/>
                    <a:pt x="262" y="793"/>
                  </a:cubicBezTo>
                  <a:cubicBezTo>
                    <a:pt x="303" y="812"/>
                    <a:pt x="327" y="915"/>
                    <a:pt x="383" y="908"/>
                  </a:cubicBezTo>
                  <a:cubicBezTo>
                    <a:pt x="407" y="905"/>
                    <a:pt x="395" y="887"/>
                    <a:pt x="407" y="875"/>
                  </a:cubicBezTo>
                  <a:cubicBezTo>
                    <a:pt x="419" y="864"/>
                    <a:pt x="441" y="873"/>
                    <a:pt x="464" y="873"/>
                  </a:cubicBezTo>
                  <a:cubicBezTo>
                    <a:pt x="488" y="873"/>
                    <a:pt x="500" y="839"/>
                    <a:pt x="556" y="837"/>
                  </a:cubicBezTo>
                  <a:cubicBezTo>
                    <a:pt x="612" y="836"/>
                    <a:pt x="647" y="831"/>
                    <a:pt x="683" y="833"/>
                  </a:cubicBezTo>
                  <a:cubicBezTo>
                    <a:pt x="718" y="834"/>
                    <a:pt x="746" y="822"/>
                    <a:pt x="755" y="797"/>
                  </a:cubicBezTo>
                  <a:cubicBezTo>
                    <a:pt x="764" y="772"/>
                    <a:pt x="793" y="750"/>
                    <a:pt x="833" y="744"/>
                  </a:cubicBezTo>
                  <a:cubicBezTo>
                    <a:pt x="873" y="738"/>
                    <a:pt x="867" y="697"/>
                    <a:pt x="870" y="673"/>
                  </a:cubicBezTo>
                  <a:cubicBezTo>
                    <a:pt x="873" y="650"/>
                    <a:pt x="940" y="614"/>
                    <a:pt x="944" y="597"/>
                  </a:cubicBezTo>
                  <a:cubicBezTo>
                    <a:pt x="948" y="579"/>
                    <a:pt x="906" y="511"/>
                    <a:pt x="945" y="451"/>
                  </a:cubicBezTo>
                  <a:cubicBezTo>
                    <a:pt x="985" y="390"/>
                    <a:pt x="1028" y="387"/>
                    <a:pt x="1028" y="353"/>
                  </a:cubicBezTo>
                  <a:cubicBezTo>
                    <a:pt x="1028" y="322"/>
                    <a:pt x="1069" y="310"/>
                    <a:pt x="1120" y="304"/>
                  </a:cubicBezTo>
                  <a:cubicBezTo>
                    <a:pt x="1170" y="299"/>
                    <a:pt x="1186" y="265"/>
                    <a:pt x="1229" y="247"/>
                  </a:cubicBezTo>
                  <a:cubicBezTo>
                    <a:pt x="1265" y="232"/>
                    <a:pt x="1278" y="205"/>
                    <a:pt x="1270" y="163"/>
                  </a:cubicBezTo>
                  <a:close/>
                  <a:moveTo>
                    <a:pt x="1279" y="486"/>
                  </a:moveTo>
                  <a:cubicBezTo>
                    <a:pt x="1272" y="436"/>
                    <a:pt x="1170" y="501"/>
                    <a:pt x="1192" y="515"/>
                  </a:cubicBezTo>
                  <a:cubicBezTo>
                    <a:pt x="1236" y="545"/>
                    <a:pt x="1286" y="536"/>
                    <a:pt x="1279" y="48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8" name="Freeform 128"/>
            <p:cNvSpPr>
              <a:spLocks/>
            </p:cNvSpPr>
            <p:nvPr/>
          </p:nvSpPr>
          <p:spPr bwMode="auto">
            <a:xfrm>
              <a:off x="12314303" y="6244922"/>
              <a:ext cx="170888" cy="95496"/>
            </a:xfrm>
            <a:custGeom>
              <a:avLst/>
              <a:gdLst>
                <a:gd name="T0" fmla="*/ 3 w 338"/>
                <a:gd name="T1" fmla="*/ 165 h 188"/>
                <a:gd name="T2" fmla="*/ 66 w 338"/>
                <a:gd name="T3" fmla="*/ 156 h 188"/>
                <a:gd name="T4" fmla="*/ 84 w 338"/>
                <a:gd name="T5" fmla="*/ 186 h 188"/>
                <a:gd name="T6" fmla="*/ 154 w 338"/>
                <a:gd name="T7" fmla="*/ 173 h 188"/>
                <a:gd name="T8" fmla="*/ 216 w 338"/>
                <a:gd name="T9" fmla="*/ 175 h 188"/>
                <a:gd name="T10" fmla="*/ 251 w 338"/>
                <a:gd name="T11" fmla="*/ 131 h 188"/>
                <a:gd name="T12" fmla="*/ 276 w 338"/>
                <a:gd name="T13" fmla="*/ 82 h 188"/>
                <a:gd name="T14" fmla="*/ 338 w 338"/>
                <a:gd name="T15" fmla="*/ 40 h 188"/>
                <a:gd name="T16" fmla="*/ 313 w 338"/>
                <a:gd name="T17" fmla="*/ 2 h 188"/>
                <a:gd name="T18" fmla="*/ 245 w 338"/>
                <a:gd name="T19" fmla="*/ 24 h 188"/>
                <a:gd name="T20" fmla="*/ 159 w 338"/>
                <a:gd name="T21" fmla="*/ 55 h 188"/>
                <a:gd name="T22" fmla="*/ 48 w 338"/>
                <a:gd name="T23" fmla="*/ 35 h 188"/>
                <a:gd name="T24" fmla="*/ 8 w 338"/>
                <a:gd name="T25" fmla="*/ 32 h 188"/>
                <a:gd name="T26" fmla="*/ 3 w 338"/>
                <a:gd name="T27" fmla="*/ 16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8" h="188">
                  <a:moveTo>
                    <a:pt x="3" y="165"/>
                  </a:moveTo>
                  <a:cubicBezTo>
                    <a:pt x="26" y="155"/>
                    <a:pt x="53" y="151"/>
                    <a:pt x="66" y="156"/>
                  </a:cubicBezTo>
                  <a:cubicBezTo>
                    <a:pt x="78" y="161"/>
                    <a:pt x="82" y="173"/>
                    <a:pt x="84" y="186"/>
                  </a:cubicBezTo>
                  <a:cubicBezTo>
                    <a:pt x="104" y="183"/>
                    <a:pt x="141" y="177"/>
                    <a:pt x="154" y="173"/>
                  </a:cubicBezTo>
                  <a:cubicBezTo>
                    <a:pt x="172" y="166"/>
                    <a:pt x="212" y="188"/>
                    <a:pt x="216" y="175"/>
                  </a:cubicBezTo>
                  <a:cubicBezTo>
                    <a:pt x="220" y="161"/>
                    <a:pt x="234" y="131"/>
                    <a:pt x="251" y="131"/>
                  </a:cubicBezTo>
                  <a:cubicBezTo>
                    <a:pt x="269" y="131"/>
                    <a:pt x="258" y="84"/>
                    <a:pt x="276" y="82"/>
                  </a:cubicBezTo>
                  <a:cubicBezTo>
                    <a:pt x="293" y="80"/>
                    <a:pt x="338" y="40"/>
                    <a:pt x="338" y="40"/>
                  </a:cubicBezTo>
                  <a:cubicBezTo>
                    <a:pt x="338" y="40"/>
                    <a:pt x="320" y="4"/>
                    <a:pt x="313" y="2"/>
                  </a:cubicBezTo>
                  <a:cubicBezTo>
                    <a:pt x="307" y="0"/>
                    <a:pt x="285" y="24"/>
                    <a:pt x="245" y="24"/>
                  </a:cubicBezTo>
                  <a:cubicBezTo>
                    <a:pt x="205" y="24"/>
                    <a:pt x="176" y="55"/>
                    <a:pt x="159" y="55"/>
                  </a:cubicBezTo>
                  <a:cubicBezTo>
                    <a:pt x="141" y="55"/>
                    <a:pt x="85" y="38"/>
                    <a:pt x="48" y="35"/>
                  </a:cubicBezTo>
                  <a:cubicBezTo>
                    <a:pt x="35" y="35"/>
                    <a:pt x="21" y="33"/>
                    <a:pt x="8" y="32"/>
                  </a:cubicBezTo>
                  <a:cubicBezTo>
                    <a:pt x="4" y="66"/>
                    <a:pt x="0" y="117"/>
                    <a:pt x="3" y="16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29" name="Freeform 129"/>
            <p:cNvSpPr>
              <a:spLocks noEditPoints="1"/>
            </p:cNvSpPr>
            <p:nvPr/>
          </p:nvSpPr>
          <p:spPr bwMode="auto">
            <a:xfrm>
              <a:off x="12664456" y="6566594"/>
              <a:ext cx="319997" cy="398740"/>
            </a:xfrm>
            <a:custGeom>
              <a:avLst/>
              <a:gdLst>
                <a:gd name="T0" fmla="*/ 625 w 633"/>
                <a:gd name="T1" fmla="*/ 0 h 792"/>
                <a:gd name="T2" fmla="*/ 577 w 633"/>
                <a:gd name="T3" fmla="*/ 23 h 792"/>
                <a:gd name="T4" fmla="*/ 539 w 633"/>
                <a:gd name="T5" fmla="*/ 46 h 792"/>
                <a:gd name="T6" fmla="*/ 432 w 633"/>
                <a:gd name="T7" fmla="*/ 29 h 792"/>
                <a:gd name="T8" fmla="*/ 298 w 633"/>
                <a:gd name="T9" fmla="*/ 27 h 792"/>
                <a:gd name="T10" fmla="*/ 297 w 633"/>
                <a:gd name="T11" fmla="*/ 32 h 792"/>
                <a:gd name="T12" fmla="*/ 204 w 633"/>
                <a:gd name="T13" fmla="*/ 74 h 792"/>
                <a:gd name="T14" fmla="*/ 157 w 633"/>
                <a:gd name="T15" fmla="*/ 103 h 792"/>
                <a:gd name="T16" fmla="*/ 89 w 633"/>
                <a:gd name="T17" fmla="*/ 112 h 792"/>
                <a:gd name="T18" fmla="*/ 53 w 633"/>
                <a:gd name="T19" fmla="*/ 169 h 792"/>
                <a:gd name="T20" fmla="*/ 29 w 633"/>
                <a:gd name="T21" fmla="*/ 207 h 792"/>
                <a:gd name="T22" fmla="*/ 0 w 633"/>
                <a:gd name="T23" fmla="*/ 261 h 792"/>
                <a:gd name="T24" fmla="*/ 4 w 633"/>
                <a:gd name="T25" fmla="*/ 263 h 792"/>
                <a:gd name="T26" fmla="*/ 58 w 633"/>
                <a:gd name="T27" fmla="*/ 349 h 792"/>
                <a:gd name="T28" fmla="*/ 128 w 633"/>
                <a:gd name="T29" fmla="*/ 372 h 792"/>
                <a:gd name="T30" fmla="*/ 218 w 633"/>
                <a:gd name="T31" fmla="*/ 405 h 792"/>
                <a:gd name="T32" fmla="*/ 112 w 633"/>
                <a:gd name="T33" fmla="*/ 414 h 792"/>
                <a:gd name="T34" fmla="*/ 133 w 633"/>
                <a:gd name="T35" fmla="*/ 498 h 792"/>
                <a:gd name="T36" fmla="*/ 184 w 633"/>
                <a:gd name="T37" fmla="*/ 567 h 792"/>
                <a:gd name="T38" fmla="*/ 277 w 633"/>
                <a:gd name="T39" fmla="*/ 611 h 792"/>
                <a:gd name="T40" fmla="*/ 260 w 633"/>
                <a:gd name="T41" fmla="*/ 511 h 792"/>
                <a:gd name="T42" fmla="*/ 329 w 633"/>
                <a:gd name="T43" fmla="*/ 508 h 792"/>
                <a:gd name="T44" fmla="*/ 283 w 633"/>
                <a:gd name="T45" fmla="*/ 468 h 792"/>
                <a:gd name="T46" fmla="*/ 319 w 633"/>
                <a:gd name="T47" fmla="*/ 449 h 792"/>
                <a:gd name="T48" fmla="*/ 391 w 633"/>
                <a:gd name="T49" fmla="*/ 440 h 792"/>
                <a:gd name="T50" fmla="*/ 359 w 633"/>
                <a:gd name="T51" fmla="*/ 359 h 792"/>
                <a:gd name="T52" fmla="*/ 276 w 633"/>
                <a:gd name="T53" fmla="*/ 362 h 792"/>
                <a:gd name="T54" fmla="*/ 308 w 633"/>
                <a:gd name="T55" fmla="*/ 309 h 792"/>
                <a:gd name="T56" fmla="*/ 227 w 633"/>
                <a:gd name="T57" fmla="*/ 197 h 792"/>
                <a:gd name="T58" fmla="*/ 279 w 633"/>
                <a:gd name="T59" fmla="*/ 169 h 792"/>
                <a:gd name="T60" fmla="*/ 359 w 633"/>
                <a:gd name="T61" fmla="*/ 181 h 792"/>
                <a:gd name="T62" fmla="*/ 378 w 633"/>
                <a:gd name="T63" fmla="*/ 105 h 792"/>
                <a:gd name="T64" fmla="*/ 438 w 633"/>
                <a:gd name="T65" fmla="*/ 124 h 792"/>
                <a:gd name="T66" fmla="*/ 513 w 633"/>
                <a:gd name="T67" fmla="*/ 88 h 792"/>
                <a:gd name="T68" fmla="*/ 581 w 633"/>
                <a:gd name="T69" fmla="*/ 120 h 792"/>
                <a:gd name="T70" fmla="*/ 604 w 633"/>
                <a:gd name="T71" fmla="*/ 85 h 792"/>
                <a:gd name="T72" fmla="*/ 633 w 633"/>
                <a:gd name="T73" fmla="*/ 39 h 792"/>
                <a:gd name="T74" fmla="*/ 625 w 633"/>
                <a:gd name="T75" fmla="*/ 0 h 792"/>
                <a:gd name="T76" fmla="*/ 542 w 633"/>
                <a:gd name="T77" fmla="*/ 744 h 792"/>
                <a:gd name="T78" fmla="*/ 384 w 633"/>
                <a:gd name="T79" fmla="*/ 727 h 792"/>
                <a:gd name="T80" fmla="*/ 323 w 633"/>
                <a:gd name="T81" fmla="*/ 752 h 792"/>
                <a:gd name="T82" fmla="*/ 469 w 633"/>
                <a:gd name="T83" fmla="*/ 790 h 792"/>
                <a:gd name="T84" fmla="*/ 604 w 633"/>
                <a:gd name="T85" fmla="*/ 749 h 792"/>
                <a:gd name="T86" fmla="*/ 542 w 633"/>
                <a:gd name="T87" fmla="*/ 744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3" h="792">
                  <a:moveTo>
                    <a:pt x="625" y="0"/>
                  </a:moveTo>
                  <a:cubicBezTo>
                    <a:pt x="603" y="2"/>
                    <a:pt x="572" y="10"/>
                    <a:pt x="577" y="23"/>
                  </a:cubicBezTo>
                  <a:cubicBezTo>
                    <a:pt x="583" y="37"/>
                    <a:pt x="562" y="46"/>
                    <a:pt x="539" y="46"/>
                  </a:cubicBezTo>
                  <a:cubicBezTo>
                    <a:pt x="539" y="46"/>
                    <a:pt x="456" y="40"/>
                    <a:pt x="432" y="29"/>
                  </a:cubicBezTo>
                  <a:cubicBezTo>
                    <a:pt x="414" y="20"/>
                    <a:pt x="336" y="24"/>
                    <a:pt x="298" y="27"/>
                  </a:cubicBezTo>
                  <a:cubicBezTo>
                    <a:pt x="298" y="28"/>
                    <a:pt x="298" y="30"/>
                    <a:pt x="297" y="32"/>
                  </a:cubicBezTo>
                  <a:cubicBezTo>
                    <a:pt x="288" y="45"/>
                    <a:pt x="217" y="81"/>
                    <a:pt x="204" y="74"/>
                  </a:cubicBezTo>
                  <a:cubicBezTo>
                    <a:pt x="190" y="68"/>
                    <a:pt x="184" y="96"/>
                    <a:pt x="157" y="103"/>
                  </a:cubicBezTo>
                  <a:cubicBezTo>
                    <a:pt x="131" y="110"/>
                    <a:pt x="91" y="101"/>
                    <a:pt x="89" y="112"/>
                  </a:cubicBezTo>
                  <a:cubicBezTo>
                    <a:pt x="86" y="123"/>
                    <a:pt x="69" y="154"/>
                    <a:pt x="53" y="169"/>
                  </a:cubicBezTo>
                  <a:cubicBezTo>
                    <a:pt x="38" y="185"/>
                    <a:pt x="51" y="203"/>
                    <a:pt x="29" y="207"/>
                  </a:cubicBezTo>
                  <a:cubicBezTo>
                    <a:pt x="14" y="210"/>
                    <a:pt x="8" y="237"/>
                    <a:pt x="0" y="261"/>
                  </a:cubicBezTo>
                  <a:cubicBezTo>
                    <a:pt x="1" y="262"/>
                    <a:pt x="3" y="263"/>
                    <a:pt x="4" y="263"/>
                  </a:cubicBezTo>
                  <a:cubicBezTo>
                    <a:pt x="37" y="273"/>
                    <a:pt x="62" y="312"/>
                    <a:pt x="58" y="349"/>
                  </a:cubicBezTo>
                  <a:cubicBezTo>
                    <a:pt x="53" y="386"/>
                    <a:pt x="105" y="399"/>
                    <a:pt x="128" y="372"/>
                  </a:cubicBezTo>
                  <a:cubicBezTo>
                    <a:pt x="152" y="346"/>
                    <a:pt x="218" y="387"/>
                    <a:pt x="218" y="405"/>
                  </a:cubicBezTo>
                  <a:cubicBezTo>
                    <a:pt x="218" y="423"/>
                    <a:pt x="150" y="386"/>
                    <a:pt x="112" y="414"/>
                  </a:cubicBezTo>
                  <a:cubicBezTo>
                    <a:pt x="74" y="442"/>
                    <a:pt x="142" y="468"/>
                    <a:pt x="133" y="498"/>
                  </a:cubicBezTo>
                  <a:cubicBezTo>
                    <a:pt x="124" y="527"/>
                    <a:pt x="150" y="569"/>
                    <a:pt x="184" y="567"/>
                  </a:cubicBezTo>
                  <a:cubicBezTo>
                    <a:pt x="218" y="566"/>
                    <a:pt x="257" y="622"/>
                    <a:pt x="277" y="611"/>
                  </a:cubicBezTo>
                  <a:cubicBezTo>
                    <a:pt x="298" y="601"/>
                    <a:pt x="252" y="523"/>
                    <a:pt x="260" y="511"/>
                  </a:cubicBezTo>
                  <a:cubicBezTo>
                    <a:pt x="267" y="499"/>
                    <a:pt x="308" y="532"/>
                    <a:pt x="329" y="508"/>
                  </a:cubicBezTo>
                  <a:cubicBezTo>
                    <a:pt x="350" y="485"/>
                    <a:pt x="314" y="467"/>
                    <a:pt x="283" y="468"/>
                  </a:cubicBezTo>
                  <a:cubicBezTo>
                    <a:pt x="252" y="470"/>
                    <a:pt x="282" y="427"/>
                    <a:pt x="319" y="449"/>
                  </a:cubicBezTo>
                  <a:cubicBezTo>
                    <a:pt x="356" y="471"/>
                    <a:pt x="373" y="443"/>
                    <a:pt x="391" y="440"/>
                  </a:cubicBezTo>
                  <a:cubicBezTo>
                    <a:pt x="409" y="437"/>
                    <a:pt x="413" y="374"/>
                    <a:pt x="359" y="359"/>
                  </a:cubicBezTo>
                  <a:cubicBezTo>
                    <a:pt x="304" y="344"/>
                    <a:pt x="311" y="399"/>
                    <a:pt x="276" y="362"/>
                  </a:cubicBezTo>
                  <a:cubicBezTo>
                    <a:pt x="240" y="325"/>
                    <a:pt x="308" y="340"/>
                    <a:pt x="308" y="309"/>
                  </a:cubicBezTo>
                  <a:cubicBezTo>
                    <a:pt x="308" y="278"/>
                    <a:pt x="254" y="234"/>
                    <a:pt x="227" y="197"/>
                  </a:cubicBezTo>
                  <a:cubicBezTo>
                    <a:pt x="201" y="160"/>
                    <a:pt x="264" y="142"/>
                    <a:pt x="279" y="169"/>
                  </a:cubicBezTo>
                  <a:cubicBezTo>
                    <a:pt x="294" y="195"/>
                    <a:pt x="333" y="191"/>
                    <a:pt x="359" y="181"/>
                  </a:cubicBezTo>
                  <a:cubicBezTo>
                    <a:pt x="384" y="170"/>
                    <a:pt x="332" y="123"/>
                    <a:pt x="378" y="105"/>
                  </a:cubicBezTo>
                  <a:cubicBezTo>
                    <a:pt x="423" y="88"/>
                    <a:pt x="423" y="119"/>
                    <a:pt x="438" y="124"/>
                  </a:cubicBezTo>
                  <a:cubicBezTo>
                    <a:pt x="453" y="130"/>
                    <a:pt x="466" y="88"/>
                    <a:pt x="513" y="88"/>
                  </a:cubicBezTo>
                  <a:cubicBezTo>
                    <a:pt x="538" y="88"/>
                    <a:pt x="560" y="104"/>
                    <a:pt x="581" y="120"/>
                  </a:cubicBezTo>
                  <a:cubicBezTo>
                    <a:pt x="594" y="105"/>
                    <a:pt x="604" y="97"/>
                    <a:pt x="604" y="85"/>
                  </a:cubicBezTo>
                  <a:cubicBezTo>
                    <a:pt x="604" y="70"/>
                    <a:pt x="633" y="63"/>
                    <a:pt x="633" y="39"/>
                  </a:cubicBezTo>
                  <a:cubicBezTo>
                    <a:pt x="633" y="27"/>
                    <a:pt x="628" y="12"/>
                    <a:pt x="625" y="0"/>
                  </a:cubicBezTo>
                  <a:close/>
                  <a:moveTo>
                    <a:pt x="542" y="744"/>
                  </a:moveTo>
                  <a:cubicBezTo>
                    <a:pt x="518" y="731"/>
                    <a:pt x="412" y="753"/>
                    <a:pt x="384" y="727"/>
                  </a:cubicBezTo>
                  <a:cubicBezTo>
                    <a:pt x="356" y="700"/>
                    <a:pt x="298" y="748"/>
                    <a:pt x="323" y="752"/>
                  </a:cubicBezTo>
                  <a:cubicBezTo>
                    <a:pt x="359" y="758"/>
                    <a:pt x="412" y="789"/>
                    <a:pt x="469" y="790"/>
                  </a:cubicBezTo>
                  <a:cubicBezTo>
                    <a:pt x="527" y="792"/>
                    <a:pt x="605" y="763"/>
                    <a:pt x="604" y="749"/>
                  </a:cubicBezTo>
                  <a:cubicBezTo>
                    <a:pt x="602" y="734"/>
                    <a:pt x="565" y="758"/>
                    <a:pt x="542" y="74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13257539" y="6911722"/>
              <a:ext cx="134030" cy="82093"/>
            </a:xfrm>
            <a:custGeom>
              <a:avLst/>
              <a:gdLst>
                <a:gd name="T0" fmla="*/ 177 w 264"/>
                <a:gd name="T1" fmla="*/ 102 h 164"/>
                <a:gd name="T2" fmla="*/ 230 w 264"/>
                <a:gd name="T3" fmla="*/ 38 h 164"/>
                <a:gd name="T4" fmla="*/ 228 w 264"/>
                <a:gd name="T5" fmla="*/ 19 h 164"/>
                <a:gd name="T6" fmla="*/ 87 w 264"/>
                <a:gd name="T7" fmla="*/ 62 h 164"/>
                <a:gd name="T8" fmla="*/ 41 w 264"/>
                <a:gd name="T9" fmla="*/ 133 h 164"/>
                <a:gd name="T10" fmla="*/ 177 w 264"/>
                <a:gd name="T11" fmla="*/ 10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4" h="164">
                  <a:moveTo>
                    <a:pt x="177" y="102"/>
                  </a:moveTo>
                  <a:cubicBezTo>
                    <a:pt x="174" y="85"/>
                    <a:pt x="196" y="51"/>
                    <a:pt x="230" y="38"/>
                  </a:cubicBezTo>
                  <a:cubicBezTo>
                    <a:pt x="264" y="25"/>
                    <a:pt x="251" y="0"/>
                    <a:pt x="228" y="19"/>
                  </a:cubicBezTo>
                  <a:cubicBezTo>
                    <a:pt x="206" y="38"/>
                    <a:pt x="153" y="59"/>
                    <a:pt x="87" y="62"/>
                  </a:cubicBezTo>
                  <a:cubicBezTo>
                    <a:pt x="20" y="65"/>
                    <a:pt x="0" y="108"/>
                    <a:pt x="41" y="133"/>
                  </a:cubicBezTo>
                  <a:cubicBezTo>
                    <a:pt x="94" y="164"/>
                    <a:pt x="180" y="118"/>
                    <a:pt x="177" y="10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10439555" y="4805773"/>
              <a:ext cx="539471" cy="273086"/>
            </a:xfrm>
            <a:custGeom>
              <a:avLst/>
              <a:gdLst>
                <a:gd name="T0" fmla="*/ 900 w 1071"/>
                <a:gd name="T1" fmla="*/ 384 h 540"/>
                <a:gd name="T2" fmla="*/ 980 w 1071"/>
                <a:gd name="T3" fmla="*/ 321 h 540"/>
                <a:gd name="T4" fmla="*/ 1057 w 1071"/>
                <a:gd name="T5" fmla="*/ 247 h 540"/>
                <a:gd name="T6" fmla="*/ 1005 w 1071"/>
                <a:gd name="T7" fmla="*/ 164 h 540"/>
                <a:gd name="T8" fmla="*/ 950 w 1071"/>
                <a:gd name="T9" fmla="*/ 115 h 540"/>
                <a:gd name="T10" fmla="*/ 933 w 1071"/>
                <a:gd name="T11" fmla="*/ 53 h 540"/>
                <a:gd name="T12" fmla="*/ 865 w 1071"/>
                <a:gd name="T13" fmla="*/ 58 h 540"/>
                <a:gd name="T14" fmla="*/ 769 w 1071"/>
                <a:gd name="T15" fmla="*/ 12 h 540"/>
                <a:gd name="T16" fmla="*/ 757 w 1071"/>
                <a:gd name="T17" fmla="*/ 73 h 540"/>
                <a:gd name="T18" fmla="*/ 698 w 1071"/>
                <a:gd name="T19" fmla="*/ 77 h 540"/>
                <a:gd name="T20" fmla="*/ 658 w 1071"/>
                <a:gd name="T21" fmla="*/ 78 h 540"/>
                <a:gd name="T22" fmla="*/ 601 w 1071"/>
                <a:gd name="T23" fmla="*/ 87 h 540"/>
                <a:gd name="T24" fmla="*/ 549 w 1071"/>
                <a:gd name="T25" fmla="*/ 70 h 540"/>
                <a:gd name="T26" fmla="*/ 482 w 1071"/>
                <a:gd name="T27" fmla="*/ 115 h 540"/>
                <a:gd name="T28" fmla="*/ 443 w 1071"/>
                <a:gd name="T29" fmla="*/ 95 h 540"/>
                <a:gd name="T30" fmla="*/ 397 w 1071"/>
                <a:gd name="T31" fmla="*/ 126 h 540"/>
                <a:gd name="T32" fmla="*/ 384 w 1071"/>
                <a:gd name="T33" fmla="*/ 171 h 540"/>
                <a:gd name="T34" fmla="*/ 319 w 1071"/>
                <a:gd name="T35" fmla="*/ 201 h 540"/>
                <a:gd name="T36" fmla="*/ 292 w 1071"/>
                <a:gd name="T37" fmla="*/ 121 h 540"/>
                <a:gd name="T38" fmla="*/ 140 w 1071"/>
                <a:gd name="T39" fmla="*/ 21 h 540"/>
                <a:gd name="T40" fmla="*/ 155 w 1071"/>
                <a:gd name="T41" fmla="*/ 77 h 540"/>
                <a:gd name="T42" fmla="*/ 118 w 1071"/>
                <a:gd name="T43" fmla="*/ 74 h 540"/>
                <a:gd name="T44" fmla="*/ 53 w 1071"/>
                <a:gd name="T45" fmla="*/ 99 h 540"/>
                <a:gd name="T46" fmla="*/ 3 w 1071"/>
                <a:gd name="T47" fmla="*/ 166 h 540"/>
                <a:gd name="T48" fmla="*/ 99 w 1071"/>
                <a:gd name="T49" fmla="*/ 189 h 540"/>
                <a:gd name="T50" fmla="*/ 220 w 1071"/>
                <a:gd name="T51" fmla="*/ 189 h 540"/>
                <a:gd name="T52" fmla="*/ 201 w 1071"/>
                <a:gd name="T53" fmla="*/ 238 h 540"/>
                <a:gd name="T54" fmla="*/ 149 w 1071"/>
                <a:gd name="T55" fmla="*/ 266 h 540"/>
                <a:gd name="T56" fmla="*/ 35 w 1071"/>
                <a:gd name="T57" fmla="*/ 297 h 540"/>
                <a:gd name="T58" fmla="*/ 180 w 1071"/>
                <a:gd name="T59" fmla="*/ 300 h 540"/>
                <a:gd name="T60" fmla="*/ 215 w 1071"/>
                <a:gd name="T61" fmla="*/ 337 h 540"/>
                <a:gd name="T62" fmla="*/ 245 w 1071"/>
                <a:gd name="T63" fmla="*/ 371 h 540"/>
                <a:gd name="T64" fmla="*/ 211 w 1071"/>
                <a:gd name="T65" fmla="*/ 416 h 540"/>
                <a:gd name="T66" fmla="*/ 161 w 1071"/>
                <a:gd name="T67" fmla="*/ 449 h 540"/>
                <a:gd name="T68" fmla="*/ 288 w 1071"/>
                <a:gd name="T69" fmla="*/ 444 h 540"/>
                <a:gd name="T70" fmla="*/ 469 w 1071"/>
                <a:gd name="T71" fmla="*/ 517 h 540"/>
                <a:gd name="T72" fmla="*/ 642 w 1071"/>
                <a:gd name="T73" fmla="*/ 477 h 540"/>
                <a:gd name="T74" fmla="*/ 766 w 1071"/>
                <a:gd name="T75" fmla="*/ 436 h 540"/>
                <a:gd name="T76" fmla="*/ 900 w 1071"/>
                <a:gd name="T77" fmla="*/ 38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71" h="540">
                  <a:moveTo>
                    <a:pt x="900" y="384"/>
                  </a:moveTo>
                  <a:cubicBezTo>
                    <a:pt x="958" y="381"/>
                    <a:pt x="956" y="318"/>
                    <a:pt x="980" y="321"/>
                  </a:cubicBezTo>
                  <a:cubicBezTo>
                    <a:pt x="1003" y="324"/>
                    <a:pt x="1042" y="276"/>
                    <a:pt x="1057" y="247"/>
                  </a:cubicBezTo>
                  <a:cubicBezTo>
                    <a:pt x="1071" y="217"/>
                    <a:pt x="1040" y="164"/>
                    <a:pt x="1005" y="164"/>
                  </a:cubicBezTo>
                  <a:cubicBezTo>
                    <a:pt x="969" y="164"/>
                    <a:pt x="943" y="136"/>
                    <a:pt x="950" y="115"/>
                  </a:cubicBezTo>
                  <a:cubicBezTo>
                    <a:pt x="958" y="95"/>
                    <a:pt x="931" y="68"/>
                    <a:pt x="933" y="53"/>
                  </a:cubicBezTo>
                  <a:cubicBezTo>
                    <a:pt x="934" y="39"/>
                    <a:pt x="888" y="52"/>
                    <a:pt x="865" y="58"/>
                  </a:cubicBezTo>
                  <a:cubicBezTo>
                    <a:pt x="841" y="64"/>
                    <a:pt x="791" y="0"/>
                    <a:pt x="769" y="12"/>
                  </a:cubicBezTo>
                  <a:cubicBezTo>
                    <a:pt x="747" y="24"/>
                    <a:pt x="763" y="55"/>
                    <a:pt x="757" y="73"/>
                  </a:cubicBezTo>
                  <a:cubicBezTo>
                    <a:pt x="751" y="90"/>
                    <a:pt x="698" y="56"/>
                    <a:pt x="698" y="77"/>
                  </a:cubicBezTo>
                  <a:cubicBezTo>
                    <a:pt x="698" y="98"/>
                    <a:pt x="676" y="101"/>
                    <a:pt x="658" y="78"/>
                  </a:cubicBezTo>
                  <a:cubicBezTo>
                    <a:pt x="640" y="56"/>
                    <a:pt x="599" y="70"/>
                    <a:pt x="601" y="87"/>
                  </a:cubicBezTo>
                  <a:cubicBezTo>
                    <a:pt x="602" y="105"/>
                    <a:pt x="583" y="90"/>
                    <a:pt x="549" y="70"/>
                  </a:cubicBezTo>
                  <a:cubicBezTo>
                    <a:pt x="515" y="49"/>
                    <a:pt x="479" y="93"/>
                    <a:pt x="482" y="115"/>
                  </a:cubicBezTo>
                  <a:cubicBezTo>
                    <a:pt x="485" y="138"/>
                    <a:pt x="471" y="143"/>
                    <a:pt x="443" y="95"/>
                  </a:cubicBezTo>
                  <a:cubicBezTo>
                    <a:pt x="415" y="46"/>
                    <a:pt x="382" y="99"/>
                    <a:pt x="397" y="126"/>
                  </a:cubicBezTo>
                  <a:cubicBezTo>
                    <a:pt x="412" y="152"/>
                    <a:pt x="406" y="185"/>
                    <a:pt x="384" y="171"/>
                  </a:cubicBezTo>
                  <a:cubicBezTo>
                    <a:pt x="361" y="158"/>
                    <a:pt x="332" y="180"/>
                    <a:pt x="319" y="201"/>
                  </a:cubicBezTo>
                  <a:cubicBezTo>
                    <a:pt x="305" y="222"/>
                    <a:pt x="258" y="140"/>
                    <a:pt x="292" y="121"/>
                  </a:cubicBezTo>
                  <a:cubicBezTo>
                    <a:pt x="326" y="102"/>
                    <a:pt x="184" y="21"/>
                    <a:pt x="140" y="21"/>
                  </a:cubicBezTo>
                  <a:cubicBezTo>
                    <a:pt x="96" y="21"/>
                    <a:pt x="125" y="53"/>
                    <a:pt x="155" y="77"/>
                  </a:cubicBezTo>
                  <a:cubicBezTo>
                    <a:pt x="184" y="101"/>
                    <a:pt x="134" y="95"/>
                    <a:pt x="118" y="74"/>
                  </a:cubicBezTo>
                  <a:cubicBezTo>
                    <a:pt x="102" y="53"/>
                    <a:pt x="71" y="70"/>
                    <a:pt x="53" y="99"/>
                  </a:cubicBezTo>
                  <a:cubicBezTo>
                    <a:pt x="35" y="129"/>
                    <a:pt x="6" y="145"/>
                    <a:pt x="3" y="166"/>
                  </a:cubicBezTo>
                  <a:cubicBezTo>
                    <a:pt x="0" y="186"/>
                    <a:pt x="53" y="208"/>
                    <a:pt x="99" y="189"/>
                  </a:cubicBezTo>
                  <a:cubicBezTo>
                    <a:pt x="144" y="170"/>
                    <a:pt x="196" y="167"/>
                    <a:pt x="220" y="189"/>
                  </a:cubicBezTo>
                  <a:cubicBezTo>
                    <a:pt x="243" y="211"/>
                    <a:pt x="177" y="220"/>
                    <a:pt x="201" y="238"/>
                  </a:cubicBezTo>
                  <a:cubicBezTo>
                    <a:pt x="224" y="256"/>
                    <a:pt x="205" y="270"/>
                    <a:pt x="149" y="266"/>
                  </a:cubicBezTo>
                  <a:cubicBezTo>
                    <a:pt x="93" y="262"/>
                    <a:pt x="25" y="278"/>
                    <a:pt x="35" y="297"/>
                  </a:cubicBezTo>
                  <a:cubicBezTo>
                    <a:pt x="46" y="316"/>
                    <a:pt x="178" y="281"/>
                    <a:pt x="180" y="300"/>
                  </a:cubicBezTo>
                  <a:cubicBezTo>
                    <a:pt x="181" y="319"/>
                    <a:pt x="180" y="351"/>
                    <a:pt x="215" y="337"/>
                  </a:cubicBezTo>
                  <a:cubicBezTo>
                    <a:pt x="251" y="322"/>
                    <a:pt x="227" y="363"/>
                    <a:pt x="245" y="371"/>
                  </a:cubicBezTo>
                  <a:cubicBezTo>
                    <a:pt x="263" y="378"/>
                    <a:pt x="258" y="413"/>
                    <a:pt x="211" y="416"/>
                  </a:cubicBezTo>
                  <a:cubicBezTo>
                    <a:pt x="164" y="419"/>
                    <a:pt x="141" y="429"/>
                    <a:pt x="161" y="449"/>
                  </a:cubicBezTo>
                  <a:cubicBezTo>
                    <a:pt x="186" y="474"/>
                    <a:pt x="237" y="456"/>
                    <a:pt x="288" y="444"/>
                  </a:cubicBezTo>
                  <a:cubicBezTo>
                    <a:pt x="338" y="433"/>
                    <a:pt x="410" y="493"/>
                    <a:pt x="469" y="517"/>
                  </a:cubicBezTo>
                  <a:cubicBezTo>
                    <a:pt x="528" y="540"/>
                    <a:pt x="630" y="508"/>
                    <a:pt x="642" y="477"/>
                  </a:cubicBezTo>
                  <a:cubicBezTo>
                    <a:pt x="654" y="446"/>
                    <a:pt x="733" y="458"/>
                    <a:pt x="766" y="436"/>
                  </a:cubicBezTo>
                  <a:cubicBezTo>
                    <a:pt x="798" y="413"/>
                    <a:pt x="842" y="387"/>
                    <a:pt x="900" y="38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11133161" y="5688697"/>
              <a:ext cx="227851" cy="252981"/>
            </a:xfrm>
            <a:custGeom>
              <a:avLst/>
              <a:gdLst>
                <a:gd name="T0" fmla="*/ 404 w 452"/>
                <a:gd name="T1" fmla="*/ 158 h 501"/>
                <a:gd name="T2" fmla="*/ 371 w 452"/>
                <a:gd name="T3" fmla="*/ 128 h 501"/>
                <a:gd name="T4" fmla="*/ 313 w 452"/>
                <a:gd name="T5" fmla="*/ 146 h 501"/>
                <a:gd name="T6" fmla="*/ 251 w 452"/>
                <a:gd name="T7" fmla="*/ 133 h 501"/>
                <a:gd name="T8" fmla="*/ 273 w 452"/>
                <a:gd name="T9" fmla="*/ 75 h 501"/>
                <a:gd name="T10" fmla="*/ 300 w 452"/>
                <a:gd name="T11" fmla="*/ 18 h 501"/>
                <a:gd name="T12" fmla="*/ 288 w 452"/>
                <a:gd name="T13" fmla="*/ 16 h 501"/>
                <a:gd name="T14" fmla="*/ 188 w 452"/>
                <a:gd name="T15" fmla="*/ 36 h 501"/>
                <a:gd name="T16" fmla="*/ 235 w 452"/>
                <a:gd name="T17" fmla="*/ 84 h 501"/>
                <a:gd name="T18" fmla="*/ 154 w 452"/>
                <a:gd name="T19" fmla="*/ 125 h 501"/>
                <a:gd name="T20" fmla="*/ 47 w 452"/>
                <a:gd name="T21" fmla="*/ 126 h 501"/>
                <a:gd name="T22" fmla="*/ 59 w 452"/>
                <a:gd name="T23" fmla="*/ 202 h 501"/>
                <a:gd name="T24" fmla="*/ 105 w 452"/>
                <a:gd name="T25" fmla="*/ 273 h 501"/>
                <a:gd name="T26" fmla="*/ 78 w 452"/>
                <a:gd name="T27" fmla="*/ 357 h 501"/>
                <a:gd name="T28" fmla="*/ 12 w 452"/>
                <a:gd name="T29" fmla="*/ 422 h 501"/>
                <a:gd name="T30" fmla="*/ 111 w 452"/>
                <a:gd name="T31" fmla="*/ 501 h 501"/>
                <a:gd name="T32" fmla="*/ 284 w 452"/>
                <a:gd name="T33" fmla="*/ 430 h 501"/>
                <a:gd name="T34" fmla="*/ 406 w 452"/>
                <a:gd name="T35" fmla="*/ 405 h 501"/>
                <a:gd name="T36" fmla="*/ 406 w 452"/>
                <a:gd name="T37" fmla="*/ 174 h 501"/>
                <a:gd name="T38" fmla="*/ 404 w 452"/>
                <a:gd name="T39" fmla="*/ 158 h 5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2" h="501">
                  <a:moveTo>
                    <a:pt x="404" y="158"/>
                  </a:moveTo>
                  <a:cubicBezTo>
                    <a:pt x="392" y="149"/>
                    <a:pt x="380" y="139"/>
                    <a:pt x="371" y="128"/>
                  </a:cubicBezTo>
                  <a:cubicBezTo>
                    <a:pt x="333" y="84"/>
                    <a:pt x="318" y="119"/>
                    <a:pt x="313" y="146"/>
                  </a:cubicBezTo>
                  <a:cubicBezTo>
                    <a:pt x="309" y="173"/>
                    <a:pt x="273" y="137"/>
                    <a:pt x="251" y="133"/>
                  </a:cubicBezTo>
                  <a:cubicBezTo>
                    <a:pt x="229" y="128"/>
                    <a:pt x="258" y="86"/>
                    <a:pt x="273" y="75"/>
                  </a:cubicBezTo>
                  <a:cubicBezTo>
                    <a:pt x="284" y="67"/>
                    <a:pt x="294" y="47"/>
                    <a:pt x="300" y="18"/>
                  </a:cubicBezTo>
                  <a:cubicBezTo>
                    <a:pt x="296" y="18"/>
                    <a:pt x="292" y="17"/>
                    <a:pt x="288" y="16"/>
                  </a:cubicBezTo>
                  <a:cubicBezTo>
                    <a:pt x="247" y="0"/>
                    <a:pt x="189" y="0"/>
                    <a:pt x="188" y="36"/>
                  </a:cubicBezTo>
                  <a:cubicBezTo>
                    <a:pt x="186" y="73"/>
                    <a:pt x="233" y="60"/>
                    <a:pt x="235" y="84"/>
                  </a:cubicBezTo>
                  <a:cubicBezTo>
                    <a:pt x="236" y="107"/>
                    <a:pt x="188" y="101"/>
                    <a:pt x="154" y="125"/>
                  </a:cubicBezTo>
                  <a:cubicBezTo>
                    <a:pt x="120" y="149"/>
                    <a:pt x="83" y="109"/>
                    <a:pt x="47" y="126"/>
                  </a:cubicBezTo>
                  <a:cubicBezTo>
                    <a:pt x="12" y="144"/>
                    <a:pt x="86" y="165"/>
                    <a:pt x="59" y="202"/>
                  </a:cubicBezTo>
                  <a:cubicBezTo>
                    <a:pt x="33" y="239"/>
                    <a:pt x="61" y="237"/>
                    <a:pt x="105" y="273"/>
                  </a:cubicBezTo>
                  <a:cubicBezTo>
                    <a:pt x="149" y="308"/>
                    <a:pt x="78" y="317"/>
                    <a:pt x="78" y="357"/>
                  </a:cubicBezTo>
                  <a:cubicBezTo>
                    <a:pt x="78" y="396"/>
                    <a:pt x="24" y="395"/>
                    <a:pt x="12" y="422"/>
                  </a:cubicBezTo>
                  <a:cubicBezTo>
                    <a:pt x="0" y="448"/>
                    <a:pt x="59" y="501"/>
                    <a:pt x="111" y="501"/>
                  </a:cubicBezTo>
                  <a:cubicBezTo>
                    <a:pt x="148" y="501"/>
                    <a:pt x="233" y="478"/>
                    <a:pt x="284" y="430"/>
                  </a:cubicBezTo>
                  <a:cubicBezTo>
                    <a:pt x="334" y="383"/>
                    <a:pt x="360" y="429"/>
                    <a:pt x="406" y="405"/>
                  </a:cubicBezTo>
                  <a:cubicBezTo>
                    <a:pt x="452" y="382"/>
                    <a:pt x="424" y="209"/>
                    <a:pt x="406" y="174"/>
                  </a:cubicBezTo>
                  <a:cubicBezTo>
                    <a:pt x="403" y="167"/>
                    <a:pt x="403" y="163"/>
                    <a:pt x="404" y="15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3" name="Freeform 133"/>
            <p:cNvSpPr>
              <a:spLocks noEditPoints="1"/>
            </p:cNvSpPr>
            <p:nvPr/>
          </p:nvSpPr>
          <p:spPr bwMode="auto">
            <a:xfrm>
              <a:off x="11248763" y="5274878"/>
              <a:ext cx="509315" cy="775699"/>
            </a:xfrm>
            <a:custGeom>
              <a:avLst/>
              <a:gdLst>
                <a:gd name="T0" fmla="*/ 71 w 1007"/>
                <a:gd name="T1" fmla="*/ 836 h 1536"/>
                <a:gd name="T2" fmla="*/ 22 w 1007"/>
                <a:gd name="T3" fmla="*/ 951 h 1536"/>
                <a:gd name="T4" fmla="*/ 142 w 1007"/>
                <a:gd name="T5" fmla="*/ 946 h 1536"/>
                <a:gd name="T6" fmla="*/ 252 w 1007"/>
                <a:gd name="T7" fmla="*/ 928 h 1536"/>
                <a:gd name="T8" fmla="*/ 1004 w 1007"/>
                <a:gd name="T9" fmla="*/ 1182 h 1536"/>
                <a:gd name="T10" fmla="*/ 850 w 1007"/>
                <a:gd name="T11" fmla="*/ 1125 h 1536"/>
                <a:gd name="T12" fmla="*/ 816 w 1007"/>
                <a:gd name="T13" fmla="*/ 1015 h 1536"/>
                <a:gd name="T14" fmla="*/ 674 w 1007"/>
                <a:gd name="T15" fmla="*/ 773 h 1536"/>
                <a:gd name="T16" fmla="*/ 518 w 1007"/>
                <a:gd name="T17" fmla="*/ 708 h 1536"/>
                <a:gd name="T18" fmla="*/ 630 w 1007"/>
                <a:gd name="T19" fmla="*/ 469 h 1536"/>
                <a:gd name="T20" fmla="*/ 412 w 1007"/>
                <a:gd name="T21" fmla="*/ 428 h 1536"/>
                <a:gd name="T22" fmla="*/ 502 w 1007"/>
                <a:gd name="T23" fmla="*/ 286 h 1536"/>
                <a:gd name="T24" fmla="*/ 350 w 1007"/>
                <a:gd name="T25" fmla="*/ 328 h 1536"/>
                <a:gd name="T26" fmla="*/ 243 w 1007"/>
                <a:gd name="T27" fmla="*/ 480 h 1536"/>
                <a:gd name="T28" fmla="*/ 158 w 1007"/>
                <a:gd name="T29" fmla="*/ 485 h 1536"/>
                <a:gd name="T30" fmla="*/ 193 w 1007"/>
                <a:gd name="T31" fmla="*/ 618 h 1536"/>
                <a:gd name="T32" fmla="*/ 164 w 1007"/>
                <a:gd name="T33" fmla="*/ 733 h 1536"/>
                <a:gd name="T34" fmla="*/ 276 w 1007"/>
                <a:gd name="T35" fmla="*/ 769 h 1536"/>
                <a:gd name="T36" fmla="*/ 341 w 1007"/>
                <a:gd name="T37" fmla="*/ 760 h 1536"/>
                <a:gd name="T38" fmla="*/ 449 w 1007"/>
                <a:gd name="T39" fmla="*/ 847 h 1536"/>
                <a:gd name="T40" fmla="*/ 491 w 1007"/>
                <a:gd name="T41" fmla="*/ 939 h 1536"/>
                <a:gd name="T42" fmla="*/ 509 w 1007"/>
                <a:gd name="T43" fmla="*/ 1065 h 1536"/>
                <a:gd name="T44" fmla="*/ 376 w 1007"/>
                <a:gd name="T45" fmla="*/ 1086 h 1536"/>
                <a:gd name="T46" fmla="*/ 406 w 1007"/>
                <a:gd name="T47" fmla="*/ 1187 h 1536"/>
                <a:gd name="T48" fmla="*/ 348 w 1007"/>
                <a:gd name="T49" fmla="*/ 1296 h 1536"/>
                <a:gd name="T50" fmla="*/ 512 w 1007"/>
                <a:gd name="T51" fmla="*/ 1324 h 1536"/>
                <a:gd name="T52" fmla="*/ 410 w 1007"/>
                <a:gd name="T53" fmla="*/ 1364 h 1536"/>
                <a:gd name="T54" fmla="*/ 357 w 1007"/>
                <a:gd name="T55" fmla="*/ 1479 h 1536"/>
                <a:gd name="T56" fmla="*/ 475 w 1007"/>
                <a:gd name="T57" fmla="*/ 1449 h 1536"/>
                <a:gd name="T58" fmla="*/ 626 w 1007"/>
                <a:gd name="T59" fmla="*/ 1417 h 1536"/>
                <a:gd name="T60" fmla="*/ 818 w 1007"/>
                <a:gd name="T61" fmla="*/ 1415 h 1536"/>
                <a:gd name="T62" fmla="*/ 914 w 1007"/>
                <a:gd name="T63" fmla="*/ 1337 h 1536"/>
                <a:gd name="T64" fmla="*/ 1004 w 1007"/>
                <a:gd name="T65" fmla="*/ 1182 h 1536"/>
                <a:gd name="T66" fmla="*/ 183 w 1007"/>
                <a:gd name="T67" fmla="*/ 353 h 1536"/>
                <a:gd name="T68" fmla="*/ 688 w 1007"/>
                <a:gd name="T69" fmla="*/ 121 h 1536"/>
                <a:gd name="T70" fmla="*/ 688 w 1007"/>
                <a:gd name="T71" fmla="*/ 121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7" h="1536">
                  <a:moveTo>
                    <a:pt x="196" y="816"/>
                  </a:moveTo>
                  <a:cubicBezTo>
                    <a:pt x="159" y="780"/>
                    <a:pt x="111" y="837"/>
                    <a:pt x="71" y="836"/>
                  </a:cubicBezTo>
                  <a:cubicBezTo>
                    <a:pt x="65" y="865"/>
                    <a:pt x="55" y="885"/>
                    <a:pt x="44" y="893"/>
                  </a:cubicBezTo>
                  <a:cubicBezTo>
                    <a:pt x="29" y="904"/>
                    <a:pt x="0" y="946"/>
                    <a:pt x="22" y="951"/>
                  </a:cubicBezTo>
                  <a:cubicBezTo>
                    <a:pt x="44" y="955"/>
                    <a:pt x="80" y="991"/>
                    <a:pt x="84" y="964"/>
                  </a:cubicBezTo>
                  <a:cubicBezTo>
                    <a:pt x="89" y="937"/>
                    <a:pt x="104" y="902"/>
                    <a:pt x="142" y="946"/>
                  </a:cubicBezTo>
                  <a:cubicBezTo>
                    <a:pt x="151" y="957"/>
                    <a:pt x="163" y="967"/>
                    <a:pt x="175" y="976"/>
                  </a:cubicBezTo>
                  <a:cubicBezTo>
                    <a:pt x="181" y="956"/>
                    <a:pt x="228" y="953"/>
                    <a:pt x="252" y="928"/>
                  </a:cubicBezTo>
                  <a:cubicBezTo>
                    <a:pt x="282" y="899"/>
                    <a:pt x="238" y="856"/>
                    <a:pt x="196" y="816"/>
                  </a:cubicBezTo>
                  <a:close/>
                  <a:moveTo>
                    <a:pt x="1004" y="1182"/>
                  </a:moveTo>
                  <a:cubicBezTo>
                    <a:pt x="1007" y="1138"/>
                    <a:pt x="909" y="1107"/>
                    <a:pt x="899" y="1130"/>
                  </a:cubicBezTo>
                  <a:cubicBezTo>
                    <a:pt x="888" y="1154"/>
                    <a:pt x="866" y="1151"/>
                    <a:pt x="850" y="1125"/>
                  </a:cubicBezTo>
                  <a:cubicBezTo>
                    <a:pt x="834" y="1098"/>
                    <a:pt x="865" y="1073"/>
                    <a:pt x="849" y="1070"/>
                  </a:cubicBezTo>
                  <a:cubicBezTo>
                    <a:pt x="832" y="1067"/>
                    <a:pt x="812" y="1030"/>
                    <a:pt x="816" y="1015"/>
                  </a:cubicBezTo>
                  <a:cubicBezTo>
                    <a:pt x="821" y="1001"/>
                    <a:pt x="791" y="906"/>
                    <a:pt x="741" y="894"/>
                  </a:cubicBezTo>
                  <a:cubicBezTo>
                    <a:pt x="691" y="882"/>
                    <a:pt x="683" y="812"/>
                    <a:pt x="674" y="773"/>
                  </a:cubicBezTo>
                  <a:cubicBezTo>
                    <a:pt x="666" y="735"/>
                    <a:pt x="633" y="756"/>
                    <a:pt x="608" y="723"/>
                  </a:cubicBezTo>
                  <a:cubicBezTo>
                    <a:pt x="583" y="691"/>
                    <a:pt x="540" y="707"/>
                    <a:pt x="518" y="708"/>
                  </a:cubicBezTo>
                  <a:cubicBezTo>
                    <a:pt x="496" y="710"/>
                    <a:pt x="518" y="667"/>
                    <a:pt x="553" y="643"/>
                  </a:cubicBezTo>
                  <a:cubicBezTo>
                    <a:pt x="589" y="620"/>
                    <a:pt x="630" y="494"/>
                    <a:pt x="630" y="469"/>
                  </a:cubicBezTo>
                  <a:cubicBezTo>
                    <a:pt x="630" y="444"/>
                    <a:pt x="475" y="446"/>
                    <a:pt x="446" y="460"/>
                  </a:cubicBezTo>
                  <a:cubicBezTo>
                    <a:pt x="416" y="475"/>
                    <a:pt x="387" y="438"/>
                    <a:pt x="412" y="428"/>
                  </a:cubicBezTo>
                  <a:cubicBezTo>
                    <a:pt x="437" y="418"/>
                    <a:pt x="490" y="366"/>
                    <a:pt x="487" y="345"/>
                  </a:cubicBezTo>
                  <a:cubicBezTo>
                    <a:pt x="484" y="325"/>
                    <a:pt x="524" y="305"/>
                    <a:pt x="502" y="286"/>
                  </a:cubicBezTo>
                  <a:cubicBezTo>
                    <a:pt x="480" y="267"/>
                    <a:pt x="477" y="311"/>
                    <a:pt x="458" y="326"/>
                  </a:cubicBezTo>
                  <a:cubicBezTo>
                    <a:pt x="438" y="341"/>
                    <a:pt x="395" y="336"/>
                    <a:pt x="350" y="328"/>
                  </a:cubicBezTo>
                  <a:cubicBezTo>
                    <a:pt x="304" y="319"/>
                    <a:pt x="286" y="384"/>
                    <a:pt x="288" y="412"/>
                  </a:cubicBezTo>
                  <a:cubicBezTo>
                    <a:pt x="289" y="440"/>
                    <a:pt x="235" y="456"/>
                    <a:pt x="243" y="480"/>
                  </a:cubicBezTo>
                  <a:cubicBezTo>
                    <a:pt x="252" y="503"/>
                    <a:pt x="233" y="521"/>
                    <a:pt x="218" y="508"/>
                  </a:cubicBezTo>
                  <a:cubicBezTo>
                    <a:pt x="204" y="494"/>
                    <a:pt x="187" y="462"/>
                    <a:pt x="158" y="485"/>
                  </a:cubicBezTo>
                  <a:cubicBezTo>
                    <a:pt x="128" y="509"/>
                    <a:pt x="192" y="540"/>
                    <a:pt x="230" y="545"/>
                  </a:cubicBezTo>
                  <a:cubicBezTo>
                    <a:pt x="269" y="549"/>
                    <a:pt x="201" y="577"/>
                    <a:pt x="193" y="618"/>
                  </a:cubicBezTo>
                  <a:cubicBezTo>
                    <a:pt x="186" y="660"/>
                    <a:pt x="243" y="642"/>
                    <a:pt x="246" y="671"/>
                  </a:cubicBezTo>
                  <a:cubicBezTo>
                    <a:pt x="249" y="701"/>
                    <a:pt x="164" y="705"/>
                    <a:pt x="164" y="733"/>
                  </a:cubicBezTo>
                  <a:cubicBezTo>
                    <a:pt x="164" y="762"/>
                    <a:pt x="213" y="720"/>
                    <a:pt x="235" y="708"/>
                  </a:cubicBezTo>
                  <a:cubicBezTo>
                    <a:pt x="257" y="697"/>
                    <a:pt x="223" y="778"/>
                    <a:pt x="276" y="769"/>
                  </a:cubicBezTo>
                  <a:cubicBezTo>
                    <a:pt x="329" y="760"/>
                    <a:pt x="314" y="688"/>
                    <a:pt x="334" y="691"/>
                  </a:cubicBezTo>
                  <a:cubicBezTo>
                    <a:pt x="353" y="694"/>
                    <a:pt x="325" y="729"/>
                    <a:pt x="341" y="760"/>
                  </a:cubicBezTo>
                  <a:cubicBezTo>
                    <a:pt x="357" y="791"/>
                    <a:pt x="303" y="838"/>
                    <a:pt x="306" y="860"/>
                  </a:cubicBezTo>
                  <a:cubicBezTo>
                    <a:pt x="308" y="882"/>
                    <a:pt x="415" y="882"/>
                    <a:pt x="449" y="847"/>
                  </a:cubicBezTo>
                  <a:cubicBezTo>
                    <a:pt x="483" y="812"/>
                    <a:pt x="499" y="850"/>
                    <a:pt x="475" y="877"/>
                  </a:cubicBezTo>
                  <a:cubicBezTo>
                    <a:pt x="452" y="903"/>
                    <a:pt x="462" y="928"/>
                    <a:pt x="491" y="939"/>
                  </a:cubicBezTo>
                  <a:cubicBezTo>
                    <a:pt x="521" y="949"/>
                    <a:pt x="531" y="952"/>
                    <a:pt x="518" y="975"/>
                  </a:cubicBezTo>
                  <a:cubicBezTo>
                    <a:pt x="505" y="999"/>
                    <a:pt x="517" y="1043"/>
                    <a:pt x="509" y="1065"/>
                  </a:cubicBezTo>
                  <a:cubicBezTo>
                    <a:pt x="502" y="1088"/>
                    <a:pt x="410" y="1085"/>
                    <a:pt x="407" y="1070"/>
                  </a:cubicBezTo>
                  <a:cubicBezTo>
                    <a:pt x="404" y="1055"/>
                    <a:pt x="366" y="1065"/>
                    <a:pt x="376" y="1086"/>
                  </a:cubicBezTo>
                  <a:cubicBezTo>
                    <a:pt x="387" y="1107"/>
                    <a:pt x="344" y="1129"/>
                    <a:pt x="347" y="1148"/>
                  </a:cubicBezTo>
                  <a:cubicBezTo>
                    <a:pt x="350" y="1167"/>
                    <a:pt x="404" y="1163"/>
                    <a:pt x="406" y="1187"/>
                  </a:cubicBezTo>
                  <a:cubicBezTo>
                    <a:pt x="407" y="1210"/>
                    <a:pt x="366" y="1238"/>
                    <a:pt x="310" y="1254"/>
                  </a:cubicBezTo>
                  <a:cubicBezTo>
                    <a:pt x="254" y="1271"/>
                    <a:pt x="322" y="1315"/>
                    <a:pt x="348" y="1296"/>
                  </a:cubicBezTo>
                  <a:cubicBezTo>
                    <a:pt x="375" y="1276"/>
                    <a:pt x="369" y="1309"/>
                    <a:pt x="407" y="1309"/>
                  </a:cubicBezTo>
                  <a:cubicBezTo>
                    <a:pt x="446" y="1309"/>
                    <a:pt x="469" y="1340"/>
                    <a:pt x="512" y="1324"/>
                  </a:cubicBezTo>
                  <a:cubicBezTo>
                    <a:pt x="555" y="1307"/>
                    <a:pt x="553" y="1324"/>
                    <a:pt x="521" y="1349"/>
                  </a:cubicBezTo>
                  <a:cubicBezTo>
                    <a:pt x="488" y="1374"/>
                    <a:pt x="440" y="1347"/>
                    <a:pt x="410" y="1364"/>
                  </a:cubicBezTo>
                  <a:cubicBezTo>
                    <a:pt x="381" y="1380"/>
                    <a:pt x="261" y="1492"/>
                    <a:pt x="283" y="1520"/>
                  </a:cubicBezTo>
                  <a:cubicBezTo>
                    <a:pt x="297" y="1536"/>
                    <a:pt x="314" y="1496"/>
                    <a:pt x="357" y="1479"/>
                  </a:cubicBezTo>
                  <a:cubicBezTo>
                    <a:pt x="400" y="1461"/>
                    <a:pt x="407" y="1490"/>
                    <a:pt x="431" y="1493"/>
                  </a:cubicBezTo>
                  <a:cubicBezTo>
                    <a:pt x="455" y="1496"/>
                    <a:pt x="456" y="1445"/>
                    <a:pt x="475" y="1449"/>
                  </a:cubicBezTo>
                  <a:cubicBezTo>
                    <a:pt x="494" y="1454"/>
                    <a:pt x="512" y="1433"/>
                    <a:pt x="548" y="1439"/>
                  </a:cubicBezTo>
                  <a:cubicBezTo>
                    <a:pt x="583" y="1445"/>
                    <a:pt x="608" y="1431"/>
                    <a:pt x="626" y="1417"/>
                  </a:cubicBezTo>
                  <a:cubicBezTo>
                    <a:pt x="643" y="1402"/>
                    <a:pt x="691" y="1446"/>
                    <a:pt x="705" y="1436"/>
                  </a:cubicBezTo>
                  <a:cubicBezTo>
                    <a:pt x="720" y="1426"/>
                    <a:pt x="785" y="1414"/>
                    <a:pt x="818" y="1415"/>
                  </a:cubicBezTo>
                  <a:cubicBezTo>
                    <a:pt x="850" y="1417"/>
                    <a:pt x="934" y="1378"/>
                    <a:pt x="956" y="1358"/>
                  </a:cubicBezTo>
                  <a:cubicBezTo>
                    <a:pt x="978" y="1337"/>
                    <a:pt x="943" y="1333"/>
                    <a:pt x="914" y="1337"/>
                  </a:cubicBezTo>
                  <a:cubicBezTo>
                    <a:pt x="884" y="1341"/>
                    <a:pt x="890" y="1307"/>
                    <a:pt x="921" y="1278"/>
                  </a:cubicBezTo>
                  <a:cubicBezTo>
                    <a:pt x="952" y="1248"/>
                    <a:pt x="1001" y="1226"/>
                    <a:pt x="1004" y="1182"/>
                  </a:cubicBezTo>
                  <a:close/>
                  <a:moveTo>
                    <a:pt x="117" y="441"/>
                  </a:moveTo>
                  <a:cubicBezTo>
                    <a:pt x="156" y="440"/>
                    <a:pt x="202" y="372"/>
                    <a:pt x="183" y="353"/>
                  </a:cubicBezTo>
                  <a:cubicBezTo>
                    <a:pt x="164" y="333"/>
                    <a:pt x="87" y="442"/>
                    <a:pt x="117" y="441"/>
                  </a:cubicBezTo>
                  <a:close/>
                  <a:moveTo>
                    <a:pt x="688" y="121"/>
                  </a:moveTo>
                  <a:cubicBezTo>
                    <a:pt x="713" y="96"/>
                    <a:pt x="742" y="0"/>
                    <a:pt x="704" y="10"/>
                  </a:cubicBezTo>
                  <a:cubicBezTo>
                    <a:pt x="666" y="21"/>
                    <a:pt x="677" y="132"/>
                    <a:pt x="688" y="1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4" name="Freeform 134"/>
            <p:cNvSpPr>
              <a:spLocks noEditPoints="1"/>
            </p:cNvSpPr>
            <p:nvPr/>
          </p:nvSpPr>
          <p:spPr bwMode="auto">
            <a:xfrm>
              <a:off x="11248763" y="5274878"/>
              <a:ext cx="509315" cy="775699"/>
            </a:xfrm>
            <a:custGeom>
              <a:avLst/>
              <a:gdLst>
                <a:gd name="T0" fmla="*/ 71 w 1007"/>
                <a:gd name="T1" fmla="*/ 836 h 1536"/>
                <a:gd name="T2" fmla="*/ 22 w 1007"/>
                <a:gd name="T3" fmla="*/ 951 h 1536"/>
                <a:gd name="T4" fmla="*/ 142 w 1007"/>
                <a:gd name="T5" fmla="*/ 946 h 1536"/>
                <a:gd name="T6" fmla="*/ 252 w 1007"/>
                <a:gd name="T7" fmla="*/ 928 h 1536"/>
                <a:gd name="T8" fmla="*/ 1004 w 1007"/>
                <a:gd name="T9" fmla="*/ 1182 h 1536"/>
                <a:gd name="T10" fmla="*/ 850 w 1007"/>
                <a:gd name="T11" fmla="*/ 1125 h 1536"/>
                <a:gd name="T12" fmla="*/ 816 w 1007"/>
                <a:gd name="T13" fmla="*/ 1015 h 1536"/>
                <a:gd name="T14" fmla="*/ 674 w 1007"/>
                <a:gd name="T15" fmla="*/ 773 h 1536"/>
                <a:gd name="T16" fmla="*/ 518 w 1007"/>
                <a:gd name="T17" fmla="*/ 708 h 1536"/>
                <a:gd name="T18" fmla="*/ 630 w 1007"/>
                <a:gd name="T19" fmla="*/ 469 h 1536"/>
                <a:gd name="T20" fmla="*/ 412 w 1007"/>
                <a:gd name="T21" fmla="*/ 428 h 1536"/>
                <a:gd name="T22" fmla="*/ 502 w 1007"/>
                <a:gd name="T23" fmla="*/ 286 h 1536"/>
                <a:gd name="T24" fmla="*/ 350 w 1007"/>
                <a:gd name="T25" fmla="*/ 328 h 1536"/>
                <a:gd name="T26" fmla="*/ 243 w 1007"/>
                <a:gd name="T27" fmla="*/ 480 h 1536"/>
                <a:gd name="T28" fmla="*/ 158 w 1007"/>
                <a:gd name="T29" fmla="*/ 485 h 1536"/>
                <a:gd name="T30" fmla="*/ 193 w 1007"/>
                <a:gd name="T31" fmla="*/ 618 h 1536"/>
                <a:gd name="T32" fmla="*/ 164 w 1007"/>
                <a:gd name="T33" fmla="*/ 733 h 1536"/>
                <a:gd name="T34" fmla="*/ 276 w 1007"/>
                <a:gd name="T35" fmla="*/ 769 h 1536"/>
                <a:gd name="T36" fmla="*/ 341 w 1007"/>
                <a:gd name="T37" fmla="*/ 760 h 1536"/>
                <a:gd name="T38" fmla="*/ 449 w 1007"/>
                <a:gd name="T39" fmla="*/ 847 h 1536"/>
                <a:gd name="T40" fmla="*/ 491 w 1007"/>
                <a:gd name="T41" fmla="*/ 939 h 1536"/>
                <a:gd name="T42" fmla="*/ 509 w 1007"/>
                <a:gd name="T43" fmla="*/ 1065 h 1536"/>
                <a:gd name="T44" fmla="*/ 376 w 1007"/>
                <a:gd name="T45" fmla="*/ 1086 h 1536"/>
                <a:gd name="T46" fmla="*/ 406 w 1007"/>
                <a:gd name="T47" fmla="*/ 1187 h 1536"/>
                <a:gd name="T48" fmla="*/ 348 w 1007"/>
                <a:gd name="T49" fmla="*/ 1296 h 1536"/>
                <a:gd name="T50" fmla="*/ 512 w 1007"/>
                <a:gd name="T51" fmla="*/ 1324 h 1536"/>
                <a:gd name="T52" fmla="*/ 410 w 1007"/>
                <a:gd name="T53" fmla="*/ 1364 h 1536"/>
                <a:gd name="T54" fmla="*/ 357 w 1007"/>
                <a:gd name="T55" fmla="*/ 1479 h 1536"/>
                <a:gd name="T56" fmla="*/ 475 w 1007"/>
                <a:gd name="T57" fmla="*/ 1449 h 1536"/>
                <a:gd name="T58" fmla="*/ 626 w 1007"/>
                <a:gd name="T59" fmla="*/ 1417 h 1536"/>
                <a:gd name="T60" fmla="*/ 818 w 1007"/>
                <a:gd name="T61" fmla="*/ 1415 h 1536"/>
                <a:gd name="T62" fmla="*/ 914 w 1007"/>
                <a:gd name="T63" fmla="*/ 1337 h 1536"/>
                <a:gd name="T64" fmla="*/ 1004 w 1007"/>
                <a:gd name="T65" fmla="*/ 1182 h 1536"/>
                <a:gd name="T66" fmla="*/ 183 w 1007"/>
                <a:gd name="T67" fmla="*/ 353 h 1536"/>
                <a:gd name="T68" fmla="*/ 688 w 1007"/>
                <a:gd name="T69" fmla="*/ 121 h 1536"/>
                <a:gd name="T70" fmla="*/ 688 w 1007"/>
                <a:gd name="T71" fmla="*/ 121 h 1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07" h="1536">
                  <a:moveTo>
                    <a:pt x="196" y="816"/>
                  </a:moveTo>
                  <a:cubicBezTo>
                    <a:pt x="159" y="780"/>
                    <a:pt x="111" y="837"/>
                    <a:pt x="71" y="836"/>
                  </a:cubicBezTo>
                  <a:cubicBezTo>
                    <a:pt x="65" y="865"/>
                    <a:pt x="55" y="885"/>
                    <a:pt x="44" y="893"/>
                  </a:cubicBezTo>
                  <a:cubicBezTo>
                    <a:pt x="29" y="904"/>
                    <a:pt x="0" y="946"/>
                    <a:pt x="22" y="951"/>
                  </a:cubicBezTo>
                  <a:cubicBezTo>
                    <a:pt x="44" y="955"/>
                    <a:pt x="80" y="991"/>
                    <a:pt x="84" y="964"/>
                  </a:cubicBezTo>
                  <a:cubicBezTo>
                    <a:pt x="89" y="937"/>
                    <a:pt x="104" y="902"/>
                    <a:pt x="142" y="946"/>
                  </a:cubicBezTo>
                  <a:cubicBezTo>
                    <a:pt x="151" y="957"/>
                    <a:pt x="163" y="967"/>
                    <a:pt x="175" y="976"/>
                  </a:cubicBezTo>
                  <a:cubicBezTo>
                    <a:pt x="181" y="956"/>
                    <a:pt x="228" y="953"/>
                    <a:pt x="252" y="928"/>
                  </a:cubicBezTo>
                  <a:cubicBezTo>
                    <a:pt x="282" y="899"/>
                    <a:pt x="238" y="856"/>
                    <a:pt x="196" y="816"/>
                  </a:cubicBezTo>
                  <a:close/>
                  <a:moveTo>
                    <a:pt x="1004" y="1182"/>
                  </a:moveTo>
                  <a:cubicBezTo>
                    <a:pt x="1007" y="1138"/>
                    <a:pt x="909" y="1107"/>
                    <a:pt x="899" y="1130"/>
                  </a:cubicBezTo>
                  <a:cubicBezTo>
                    <a:pt x="888" y="1154"/>
                    <a:pt x="866" y="1151"/>
                    <a:pt x="850" y="1125"/>
                  </a:cubicBezTo>
                  <a:cubicBezTo>
                    <a:pt x="834" y="1098"/>
                    <a:pt x="865" y="1073"/>
                    <a:pt x="849" y="1070"/>
                  </a:cubicBezTo>
                  <a:cubicBezTo>
                    <a:pt x="832" y="1067"/>
                    <a:pt x="812" y="1030"/>
                    <a:pt x="816" y="1015"/>
                  </a:cubicBezTo>
                  <a:cubicBezTo>
                    <a:pt x="821" y="1001"/>
                    <a:pt x="791" y="906"/>
                    <a:pt x="741" y="894"/>
                  </a:cubicBezTo>
                  <a:cubicBezTo>
                    <a:pt x="691" y="882"/>
                    <a:pt x="683" y="812"/>
                    <a:pt x="674" y="773"/>
                  </a:cubicBezTo>
                  <a:cubicBezTo>
                    <a:pt x="666" y="735"/>
                    <a:pt x="633" y="756"/>
                    <a:pt x="608" y="723"/>
                  </a:cubicBezTo>
                  <a:cubicBezTo>
                    <a:pt x="583" y="691"/>
                    <a:pt x="540" y="707"/>
                    <a:pt x="518" y="708"/>
                  </a:cubicBezTo>
                  <a:cubicBezTo>
                    <a:pt x="496" y="710"/>
                    <a:pt x="518" y="667"/>
                    <a:pt x="553" y="643"/>
                  </a:cubicBezTo>
                  <a:cubicBezTo>
                    <a:pt x="589" y="620"/>
                    <a:pt x="630" y="494"/>
                    <a:pt x="630" y="469"/>
                  </a:cubicBezTo>
                  <a:cubicBezTo>
                    <a:pt x="630" y="444"/>
                    <a:pt x="475" y="446"/>
                    <a:pt x="446" y="460"/>
                  </a:cubicBezTo>
                  <a:cubicBezTo>
                    <a:pt x="416" y="475"/>
                    <a:pt x="387" y="438"/>
                    <a:pt x="412" y="428"/>
                  </a:cubicBezTo>
                  <a:cubicBezTo>
                    <a:pt x="437" y="418"/>
                    <a:pt x="490" y="366"/>
                    <a:pt x="487" y="345"/>
                  </a:cubicBezTo>
                  <a:cubicBezTo>
                    <a:pt x="484" y="325"/>
                    <a:pt x="524" y="305"/>
                    <a:pt x="502" y="286"/>
                  </a:cubicBezTo>
                  <a:cubicBezTo>
                    <a:pt x="480" y="267"/>
                    <a:pt x="477" y="311"/>
                    <a:pt x="458" y="326"/>
                  </a:cubicBezTo>
                  <a:cubicBezTo>
                    <a:pt x="438" y="341"/>
                    <a:pt x="395" y="336"/>
                    <a:pt x="350" y="328"/>
                  </a:cubicBezTo>
                  <a:cubicBezTo>
                    <a:pt x="304" y="319"/>
                    <a:pt x="286" y="384"/>
                    <a:pt x="288" y="412"/>
                  </a:cubicBezTo>
                  <a:cubicBezTo>
                    <a:pt x="289" y="440"/>
                    <a:pt x="235" y="456"/>
                    <a:pt x="243" y="480"/>
                  </a:cubicBezTo>
                  <a:cubicBezTo>
                    <a:pt x="252" y="503"/>
                    <a:pt x="233" y="521"/>
                    <a:pt x="218" y="508"/>
                  </a:cubicBezTo>
                  <a:cubicBezTo>
                    <a:pt x="204" y="494"/>
                    <a:pt x="187" y="462"/>
                    <a:pt x="158" y="485"/>
                  </a:cubicBezTo>
                  <a:cubicBezTo>
                    <a:pt x="128" y="509"/>
                    <a:pt x="192" y="540"/>
                    <a:pt x="230" y="545"/>
                  </a:cubicBezTo>
                  <a:cubicBezTo>
                    <a:pt x="269" y="549"/>
                    <a:pt x="201" y="577"/>
                    <a:pt x="193" y="618"/>
                  </a:cubicBezTo>
                  <a:cubicBezTo>
                    <a:pt x="186" y="660"/>
                    <a:pt x="243" y="642"/>
                    <a:pt x="246" y="671"/>
                  </a:cubicBezTo>
                  <a:cubicBezTo>
                    <a:pt x="249" y="701"/>
                    <a:pt x="164" y="705"/>
                    <a:pt x="164" y="733"/>
                  </a:cubicBezTo>
                  <a:cubicBezTo>
                    <a:pt x="164" y="762"/>
                    <a:pt x="213" y="720"/>
                    <a:pt x="235" y="708"/>
                  </a:cubicBezTo>
                  <a:cubicBezTo>
                    <a:pt x="257" y="697"/>
                    <a:pt x="223" y="778"/>
                    <a:pt x="276" y="769"/>
                  </a:cubicBezTo>
                  <a:cubicBezTo>
                    <a:pt x="329" y="760"/>
                    <a:pt x="314" y="688"/>
                    <a:pt x="334" y="691"/>
                  </a:cubicBezTo>
                  <a:cubicBezTo>
                    <a:pt x="353" y="694"/>
                    <a:pt x="325" y="729"/>
                    <a:pt x="341" y="760"/>
                  </a:cubicBezTo>
                  <a:cubicBezTo>
                    <a:pt x="357" y="791"/>
                    <a:pt x="303" y="838"/>
                    <a:pt x="306" y="860"/>
                  </a:cubicBezTo>
                  <a:cubicBezTo>
                    <a:pt x="308" y="882"/>
                    <a:pt x="415" y="882"/>
                    <a:pt x="449" y="847"/>
                  </a:cubicBezTo>
                  <a:cubicBezTo>
                    <a:pt x="483" y="812"/>
                    <a:pt x="499" y="850"/>
                    <a:pt x="475" y="877"/>
                  </a:cubicBezTo>
                  <a:cubicBezTo>
                    <a:pt x="452" y="903"/>
                    <a:pt x="462" y="928"/>
                    <a:pt x="491" y="939"/>
                  </a:cubicBezTo>
                  <a:cubicBezTo>
                    <a:pt x="521" y="949"/>
                    <a:pt x="531" y="952"/>
                    <a:pt x="518" y="975"/>
                  </a:cubicBezTo>
                  <a:cubicBezTo>
                    <a:pt x="505" y="999"/>
                    <a:pt x="517" y="1043"/>
                    <a:pt x="509" y="1065"/>
                  </a:cubicBezTo>
                  <a:cubicBezTo>
                    <a:pt x="502" y="1088"/>
                    <a:pt x="410" y="1085"/>
                    <a:pt x="407" y="1070"/>
                  </a:cubicBezTo>
                  <a:cubicBezTo>
                    <a:pt x="404" y="1055"/>
                    <a:pt x="366" y="1065"/>
                    <a:pt x="376" y="1086"/>
                  </a:cubicBezTo>
                  <a:cubicBezTo>
                    <a:pt x="387" y="1107"/>
                    <a:pt x="344" y="1129"/>
                    <a:pt x="347" y="1148"/>
                  </a:cubicBezTo>
                  <a:cubicBezTo>
                    <a:pt x="350" y="1167"/>
                    <a:pt x="404" y="1163"/>
                    <a:pt x="406" y="1187"/>
                  </a:cubicBezTo>
                  <a:cubicBezTo>
                    <a:pt x="407" y="1210"/>
                    <a:pt x="366" y="1238"/>
                    <a:pt x="310" y="1254"/>
                  </a:cubicBezTo>
                  <a:cubicBezTo>
                    <a:pt x="254" y="1271"/>
                    <a:pt x="322" y="1315"/>
                    <a:pt x="348" y="1296"/>
                  </a:cubicBezTo>
                  <a:cubicBezTo>
                    <a:pt x="375" y="1276"/>
                    <a:pt x="369" y="1309"/>
                    <a:pt x="407" y="1309"/>
                  </a:cubicBezTo>
                  <a:cubicBezTo>
                    <a:pt x="446" y="1309"/>
                    <a:pt x="469" y="1340"/>
                    <a:pt x="512" y="1324"/>
                  </a:cubicBezTo>
                  <a:cubicBezTo>
                    <a:pt x="555" y="1307"/>
                    <a:pt x="553" y="1324"/>
                    <a:pt x="521" y="1349"/>
                  </a:cubicBezTo>
                  <a:cubicBezTo>
                    <a:pt x="488" y="1374"/>
                    <a:pt x="440" y="1347"/>
                    <a:pt x="410" y="1364"/>
                  </a:cubicBezTo>
                  <a:cubicBezTo>
                    <a:pt x="381" y="1380"/>
                    <a:pt x="261" y="1492"/>
                    <a:pt x="283" y="1520"/>
                  </a:cubicBezTo>
                  <a:cubicBezTo>
                    <a:pt x="297" y="1536"/>
                    <a:pt x="314" y="1496"/>
                    <a:pt x="357" y="1479"/>
                  </a:cubicBezTo>
                  <a:cubicBezTo>
                    <a:pt x="400" y="1461"/>
                    <a:pt x="407" y="1490"/>
                    <a:pt x="431" y="1493"/>
                  </a:cubicBezTo>
                  <a:cubicBezTo>
                    <a:pt x="455" y="1496"/>
                    <a:pt x="456" y="1445"/>
                    <a:pt x="475" y="1449"/>
                  </a:cubicBezTo>
                  <a:cubicBezTo>
                    <a:pt x="494" y="1454"/>
                    <a:pt x="512" y="1433"/>
                    <a:pt x="548" y="1439"/>
                  </a:cubicBezTo>
                  <a:cubicBezTo>
                    <a:pt x="583" y="1445"/>
                    <a:pt x="608" y="1431"/>
                    <a:pt x="626" y="1417"/>
                  </a:cubicBezTo>
                  <a:cubicBezTo>
                    <a:pt x="643" y="1402"/>
                    <a:pt x="691" y="1446"/>
                    <a:pt x="705" y="1436"/>
                  </a:cubicBezTo>
                  <a:cubicBezTo>
                    <a:pt x="720" y="1426"/>
                    <a:pt x="785" y="1414"/>
                    <a:pt x="818" y="1415"/>
                  </a:cubicBezTo>
                  <a:cubicBezTo>
                    <a:pt x="850" y="1417"/>
                    <a:pt x="934" y="1378"/>
                    <a:pt x="956" y="1358"/>
                  </a:cubicBezTo>
                  <a:cubicBezTo>
                    <a:pt x="978" y="1337"/>
                    <a:pt x="943" y="1333"/>
                    <a:pt x="914" y="1337"/>
                  </a:cubicBezTo>
                  <a:cubicBezTo>
                    <a:pt x="884" y="1341"/>
                    <a:pt x="890" y="1307"/>
                    <a:pt x="921" y="1278"/>
                  </a:cubicBezTo>
                  <a:cubicBezTo>
                    <a:pt x="952" y="1248"/>
                    <a:pt x="1001" y="1226"/>
                    <a:pt x="1004" y="1182"/>
                  </a:cubicBezTo>
                  <a:close/>
                  <a:moveTo>
                    <a:pt x="117" y="441"/>
                  </a:moveTo>
                  <a:cubicBezTo>
                    <a:pt x="156" y="440"/>
                    <a:pt x="202" y="372"/>
                    <a:pt x="183" y="353"/>
                  </a:cubicBezTo>
                  <a:cubicBezTo>
                    <a:pt x="164" y="333"/>
                    <a:pt x="87" y="442"/>
                    <a:pt x="117" y="441"/>
                  </a:cubicBezTo>
                  <a:close/>
                  <a:moveTo>
                    <a:pt x="688" y="121"/>
                  </a:moveTo>
                  <a:cubicBezTo>
                    <a:pt x="713" y="96"/>
                    <a:pt x="742" y="0"/>
                    <a:pt x="704" y="10"/>
                  </a:cubicBezTo>
                  <a:cubicBezTo>
                    <a:pt x="666" y="21"/>
                    <a:pt x="677" y="132"/>
                    <a:pt x="688" y="12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5" name="Freeform 135"/>
            <p:cNvSpPr>
              <a:spLocks noEditPoints="1"/>
            </p:cNvSpPr>
            <p:nvPr/>
          </p:nvSpPr>
          <p:spPr bwMode="auto">
            <a:xfrm>
              <a:off x="7965024" y="3034900"/>
              <a:ext cx="3087720" cy="2308669"/>
            </a:xfrm>
            <a:custGeom>
              <a:avLst/>
              <a:gdLst>
                <a:gd name="T0" fmla="*/ 5363 w 6113"/>
                <a:gd name="T1" fmla="*/ 528 h 4569"/>
                <a:gd name="T2" fmla="*/ 4912 w 6113"/>
                <a:gd name="T3" fmla="*/ 735 h 4569"/>
                <a:gd name="T4" fmla="*/ 4888 w 6113"/>
                <a:gd name="T5" fmla="*/ 463 h 4569"/>
                <a:gd name="T6" fmla="*/ 4372 w 6113"/>
                <a:gd name="T7" fmla="*/ 422 h 4569"/>
                <a:gd name="T8" fmla="*/ 4879 w 6113"/>
                <a:gd name="T9" fmla="*/ 342 h 4569"/>
                <a:gd name="T10" fmla="*/ 4835 w 6113"/>
                <a:gd name="T11" fmla="*/ 150 h 4569"/>
                <a:gd name="T12" fmla="*/ 4130 w 6113"/>
                <a:gd name="T13" fmla="*/ 9 h 4569"/>
                <a:gd name="T14" fmla="*/ 3474 w 6113"/>
                <a:gd name="T15" fmla="*/ 91 h 4569"/>
                <a:gd name="T16" fmla="*/ 2978 w 6113"/>
                <a:gd name="T17" fmla="*/ 97 h 4569"/>
                <a:gd name="T18" fmla="*/ 2571 w 6113"/>
                <a:gd name="T19" fmla="*/ 280 h 4569"/>
                <a:gd name="T20" fmla="*/ 2474 w 6113"/>
                <a:gd name="T21" fmla="*/ 333 h 4569"/>
                <a:gd name="T22" fmla="*/ 2187 w 6113"/>
                <a:gd name="T23" fmla="*/ 419 h 4569"/>
                <a:gd name="T24" fmla="*/ 1913 w 6113"/>
                <a:gd name="T25" fmla="*/ 513 h 4569"/>
                <a:gd name="T26" fmla="*/ 1435 w 6113"/>
                <a:gd name="T27" fmla="*/ 422 h 4569"/>
                <a:gd name="T28" fmla="*/ 1175 w 6113"/>
                <a:gd name="T29" fmla="*/ 623 h 4569"/>
                <a:gd name="T30" fmla="*/ 777 w 6113"/>
                <a:gd name="T31" fmla="*/ 876 h 4569"/>
                <a:gd name="T32" fmla="*/ 0 w 6113"/>
                <a:gd name="T33" fmla="*/ 1263 h 4569"/>
                <a:gd name="T34" fmla="*/ 496 w 6113"/>
                <a:gd name="T35" fmla="*/ 1405 h 4569"/>
                <a:gd name="T36" fmla="*/ 139 w 6113"/>
                <a:gd name="T37" fmla="*/ 1529 h 4569"/>
                <a:gd name="T38" fmla="*/ 440 w 6113"/>
                <a:gd name="T39" fmla="*/ 1721 h 4569"/>
                <a:gd name="T40" fmla="*/ 836 w 6113"/>
                <a:gd name="T41" fmla="*/ 1703 h 4569"/>
                <a:gd name="T42" fmla="*/ 1438 w 6113"/>
                <a:gd name="T43" fmla="*/ 1868 h 4569"/>
                <a:gd name="T44" fmla="*/ 1739 w 6113"/>
                <a:gd name="T45" fmla="*/ 2273 h 4569"/>
                <a:gd name="T46" fmla="*/ 1786 w 6113"/>
                <a:gd name="T47" fmla="*/ 2636 h 4569"/>
                <a:gd name="T48" fmla="*/ 2164 w 6113"/>
                <a:gd name="T49" fmla="*/ 2762 h 4569"/>
                <a:gd name="T50" fmla="*/ 2125 w 6113"/>
                <a:gd name="T51" fmla="*/ 2907 h 4569"/>
                <a:gd name="T52" fmla="*/ 2066 w 6113"/>
                <a:gd name="T53" fmla="*/ 3155 h 4569"/>
                <a:gd name="T54" fmla="*/ 2001 w 6113"/>
                <a:gd name="T55" fmla="*/ 3459 h 4569"/>
                <a:gd name="T56" fmla="*/ 2081 w 6113"/>
                <a:gd name="T57" fmla="*/ 3863 h 4569"/>
                <a:gd name="T58" fmla="*/ 2267 w 6113"/>
                <a:gd name="T59" fmla="*/ 4102 h 4569"/>
                <a:gd name="T60" fmla="*/ 2539 w 6113"/>
                <a:gd name="T61" fmla="*/ 4415 h 4569"/>
                <a:gd name="T62" fmla="*/ 2928 w 6113"/>
                <a:gd name="T63" fmla="*/ 4563 h 4569"/>
                <a:gd name="T64" fmla="*/ 3043 w 6113"/>
                <a:gd name="T65" fmla="*/ 4173 h 4569"/>
                <a:gd name="T66" fmla="*/ 3212 w 6113"/>
                <a:gd name="T67" fmla="*/ 3978 h 4569"/>
                <a:gd name="T68" fmla="*/ 3232 w 6113"/>
                <a:gd name="T69" fmla="*/ 3787 h 4569"/>
                <a:gd name="T70" fmla="*/ 3397 w 6113"/>
                <a:gd name="T71" fmla="*/ 3663 h 4569"/>
                <a:gd name="T72" fmla="*/ 3551 w 6113"/>
                <a:gd name="T73" fmla="*/ 3627 h 4569"/>
                <a:gd name="T74" fmla="*/ 4082 w 6113"/>
                <a:gd name="T75" fmla="*/ 3273 h 4569"/>
                <a:gd name="T76" fmla="*/ 4422 w 6113"/>
                <a:gd name="T77" fmla="*/ 3179 h 4569"/>
                <a:gd name="T78" fmla="*/ 5101 w 6113"/>
                <a:gd name="T79" fmla="*/ 2884 h 4569"/>
                <a:gd name="T80" fmla="*/ 4732 w 6113"/>
                <a:gd name="T81" fmla="*/ 2801 h 4569"/>
                <a:gd name="T82" fmla="*/ 5109 w 6113"/>
                <a:gd name="T83" fmla="*/ 2827 h 4569"/>
                <a:gd name="T84" fmla="*/ 5033 w 6113"/>
                <a:gd name="T85" fmla="*/ 2482 h 4569"/>
                <a:gd name="T86" fmla="*/ 4844 w 6113"/>
                <a:gd name="T87" fmla="*/ 2311 h 4569"/>
                <a:gd name="T88" fmla="*/ 5272 w 6113"/>
                <a:gd name="T89" fmla="*/ 2252 h 4569"/>
                <a:gd name="T90" fmla="*/ 5387 w 6113"/>
                <a:gd name="T91" fmla="*/ 2039 h 4569"/>
                <a:gd name="T92" fmla="*/ 5334 w 6113"/>
                <a:gd name="T93" fmla="*/ 1715 h 4569"/>
                <a:gd name="T94" fmla="*/ 5219 w 6113"/>
                <a:gd name="T95" fmla="*/ 1576 h 4569"/>
                <a:gd name="T96" fmla="*/ 5263 w 6113"/>
                <a:gd name="T97" fmla="*/ 1434 h 4569"/>
                <a:gd name="T98" fmla="*/ 5118 w 6113"/>
                <a:gd name="T99" fmla="*/ 1366 h 4569"/>
                <a:gd name="T100" fmla="*/ 5523 w 6113"/>
                <a:gd name="T101" fmla="*/ 944 h 4569"/>
                <a:gd name="T102" fmla="*/ 5425 w 6113"/>
                <a:gd name="T103" fmla="*/ 835 h 4569"/>
                <a:gd name="T104" fmla="*/ 5540 w 6113"/>
                <a:gd name="T105" fmla="*/ 723 h 4569"/>
                <a:gd name="T106" fmla="*/ 6113 w 6113"/>
                <a:gd name="T107" fmla="*/ 519 h 4569"/>
                <a:gd name="T108" fmla="*/ 2013 w 6113"/>
                <a:gd name="T109" fmla="*/ 2919 h 4569"/>
                <a:gd name="T110" fmla="*/ 1913 w 6113"/>
                <a:gd name="T111" fmla="*/ 3034 h 45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113" h="4569">
                  <a:moveTo>
                    <a:pt x="5771" y="422"/>
                  </a:moveTo>
                  <a:cubicBezTo>
                    <a:pt x="5661" y="422"/>
                    <a:pt x="5573" y="440"/>
                    <a:pt x="5567" y="516"/>
                  </a:cubicBezTo>
                  <a:cubicBezTo>
                    <a:pt x="5561" y="593"/>
                    <a:pt x="5422" y="502"/>
                    <a:pt x="5363" y="528"/>
                  </a:cubicBezTo>
                  <a:cubicBezTo>
                    <a:pt x="5304" y="555"/>
                    <a:pt x="5334" y="466"/>
                    <a:pt x="5275" y="496"/>
                  </a:cubicBezTo>
                  <a:cubicBezTo>
                    <a:pt x="5216" y="525"/>
                    <a:pt x="5151" y="596"/>
                    <a:pt x="5080" y="626"/>
                  </a:cubicBezTo>
                  <a:cubicBezTo>
                    <a:pt x="5009" y="655"/>
                    <a:pt x="4956" y="729"/>
                    <a:pt x="4912" y="735"/>
                  </a:cubicBezTo>
                  <a:cubicBezTo>
                    <a:pt x="4867" y="741"/>
                    <a:pt x="5006" y="599"/>
                    <a:pt x="5077" y="528"/>
                  </a:cubicBezTo>
                  <a:cubicBezTo>
                    <a:pt x="5148" y="457"/>
                    <a:pt x="5109" y="375"/>
                    <a:pt x="5015" y="384"/>
                  </a:cubicBezTo>
                  <a:cubicBezTo>
                    <a:pt x="4920" y="392"/>
                    <a:pt x="4941" y="451"/>
                    <a:pt x="4888" y="463"/>
                  </a:cubicBezTo>
                  <a:cubicBezTo>
                    <a:pt x="4835" y="475"/>
                    <a:pt x="4581" y="602"/>
                    <a:pt x="4569" y="564"/>
                  </a:cubicBezTo>
                  <a:cubicBezTo>
                    <a:pt x="4557" y="525"/>
                    <a:pt x="4779" y="460"/>
                    <a:pt x="4776" y="434"/>
                  </a:cubicBezTo>
                  <a:cubicBezTo>
                    <a:pt x="4773" y="407"/>
                    <a:pt x="4495" y="404"/>
                    <a:pt x="4372" y="422"/>
                  </a:cubicBezTo>
                  <a:cubicBezTo>
                    <a:pt x="4248" y="440"/>
                    <a:pt x="4029" y="510"/>
                    <a:pt x="4026" y="475"/>
                  </a:cubicBezTo>
                  <a:cubicBezTo>
                    <a:pt x="4023" y="440"/>
                    <a:pt x="4280" y="389"/>
                    <a:pt x="4410" y="375"/>
                  </a:cubicBezTo>
                  <a:cubicBezTo>
                    <a:pt x="4543" y="360"/>
                    <a:pt x="4779" y="384"/>
                    <a:pt x="4879" y="342"/>
                  </a:cubicBezTo>
                  <a:cubicBezTo>
                    <a:pt x="4980" y="301"/>
                    <a:pt x="5130" y="298"/>
                    <a:pt x="5157" y="265"/>
                  </a:cubicBezTo>
                  <a:cubicBezTo>
                    <a:pt x="5183" y="233"/>
                    <a:pt x="5041" y="189"/>
                    <a:pt x="4971" y="192"/>
                  </a:cubicBezTo>
                  <a:cubicBezTo>
                    <a:pt x="4900" y="195"/>
                    <a:pt x="4829" y="186"/>
                    <a:pt x="4835" y="150"/>
                  </a:cubicBezTo>
                  <a:cubicBezTo>
                    <a:pt x="4841" y="115"/>
                    <a:pt x="4726" y="106"/>
                    <a:pt x="4714" y="80"/>
                  </a:cubicBezTo>
                  <a:cubicBezTo>
                    <a:pt x="4702" y="53"/>
                    <a:pt x="4481" y="74"/>
                    <a:pt x="4434" y="44"/>
                  </a:cubicBezTo>
                  <a:cubicBezTo>
                    <a:pt x="4386" y="15"/>
                    <a:pt x="4248" y="0"/>
                    <a:pt x="4130" y="9"/>
                  </a:cubicBezTo>
                  <a:cubicBezTo>
                    <a:pt x="4011" y="18"/>
                    <a:pt x="3769" y="15"/>
                    <a:pt x="3713" y="20"/>
                  </a:cubicBezTo>
                  <a:cubicBezTo>
                    <a:pt x="3657" y="26"/>
                    <a:pt x="3622" y="47"/>
                    <a:pt x="3572" y="44"/>
                  </a:cubicBezTo>
                  <a:cubicBezTo>
                    <a:pt x="3522" y="41"/>
                    <a:pt x="3445" y="59"/>
                    <a:pt x="3474" y="91"/>
                  </a:cubicBezTo>
                  <a:cubicBezTo>
                    <a:pt x="3528" y="150"/>
                    <a:pt x="3395" y="174"/>
                    <a:pt x="3403" y="130"/>
                  </a:cubicBezTo>
                  <a:cubicBezTo>
                    <a:pt x="3412" y="85"/>
                    <a:pt x="3288" y="65"/>
                    <a:pt x="3250" y="97"/>
                  </a:cubicBezTo>
                  <a:cubicBezTo>
                    <a:pt x="3206" y="134"/>
                    <a:pt x="3008" y="59"/>
                    <a:pt x="2978" y="97"/>
                  </a:cubicBezTo>
                  <a:cubicBezTo>
                    <a:pt x="2949" y="136"/>
                    <a:pt x="2716" y="124"/>
                    <a:pt x="2648" y="136"/>
                  </a:cubicBezTo>
                  <a:cubicBezTo>
                    <a:pt x="2580" y="147"/>
                    <a:pt x="2754" y="198"/>
                    <a:pt x="2748" y="227"/>
                  </a:cubicBezTo>
                  <a:cubicBezTo>
                    <a:pt x="2742" y="257"/>
                    <a:pt x="2527" y="227"/>
                    <a:pt x="2571" y="280"/>
                  </a:cubicBezTo>
                  <a:cubicBezTo>
                    <a:pt x="2615" y="333"/>
                    <a:pt x="2757" y="372"/>
                    <a:pt x="2825" y="440"/>
                  </a:cubicBezTo>
                  <a:cubicBezTo>
                    <a:pt x="2893" y="507"/>
                    <a:pt x="2772" y="466"/>
                    <a:pt x="2695" y="416"/>
                  </a:cubicBezTo>
                  <a:cubicBezTo>
                    <a:pt x="2618" y="366"/>
                    <a:pt x="2521" y="384"/>
                    <a:pt x="2474" y="333"/>
                  </a:cubicBezTo>
                  <a:cubicBezTo>
                    <a:pt x="2426" y="283"/>
                    <a:pt x="2249" y="245"/>
                    <a:pt x="2205" y="274"/>
                  </a:cubicBezTo>
                  <a:cubicBezTo>
                    <a:pt x="2152" y="310"/>
                    <a:pt x="2326" y="375"/>
                    <a:pt x="2326" y="413"/>
                  </a:cubicBezTo>
                  <a:cubicBezTo>
                    <a:pt x="2326" y="451"/>
                    <a:pt x="2208" y="404"/>
                    <a:pt x="2187" y="419"/>
                  </a:cubicBezTo>
                  <a:cubicBezTo>
                    <a:pt x="2167" y="434"/>
                    <a:pt x="2063" y="319"/>
                    <a:pt x="2004" y="319"/>
                  </a:cubicBezTo>
                  <a:cubicBezTo>
                    <a:pt x="1945" y="319"/>
                    <a:pt x="1996" y="372"/>
                    <a:pt x="1996" y="445"/>
                  </a:cubicBezTo>
                  <a:cubicBezTo>
                    <a:pt x="1996" y="519"/>
                    <a:pt x="1880" y="564"/>
                    <a:pt x="1913" y="513"/>
                  </a:cubicBezTo>
                  <a:cubicBezTo>
                    <a:pt x="1945" y="463"/>
                    <a:pt x="1922" y="333"/>
                    <a:pt x="1860" y="310"/>
                  </a:cubicBezTo>
                  <a:cubicBezTo>
                    <a:pt x="1798" y="286"/>
                    <a:pt x="1638" y="360"/>
                    <a:pt x="1556" y="357"/>
                  </a:cubicBezTo>
                  <a:cubicBezTo>
                    <a:pt x="1473" y="354"/>
                    <a:pt x="1364" y="381"/>
                    <a:pt x="1435" y="422"/>
                  </a:cubicBezTo>
                  <a:cubicBezTo>
                    <a:pt x="1506" y="463"/>
                    <a:pt x="1432" y="487"/>
                    <a:pt x="1370" y="443"/>
                  </a:cubicBezTo>
                  <a:cubicBezTo>
                    <a:pt x="1308" y="398"/>
                    <a:pt x="1104" y="443"/>
                    <a:pt x="1146" y="472"/>
                  </a:cubicBezTo>
                  <a:cubicBezTo>
                    <a:pt x="1187" y="502"/>
                    <a:pt x="1202" y="587"/>
                    <a:pt x="1175" y="623"/>
                  </a:cubicBezTo>
                  <a:cubicBezTo>
                    <a:pt x="1148" y="658"/>
                    <a:pt x="1063" y="587"/>
                    <a:pt x="983" y="593"/>
                  </a:cubicBezTo>
                  <a:cubicBezTo>
                    <a:pt x="904" y="599"/>
                    <a:pt x="508" y="788"/>
                    <a:pt x="532" y="838"/>
                  </a:cubicBezTo>
                  <a:cubicBezTo>
                    <a:pt x="555" y="888"/>
                    <a:pt x="723" y="847"/>
                    <a:pt x="777" y="876"/>
                  </a:cubicBezTo>
                  <a:cubicBezTo>
                    <a:pt x="830" y="906"/>
                    <a:pt x="759" y="1015"/>
                    <a:pt x="694" y="1059"/>
                  </a:cubicBezTo>
                  <a:cubicBezTo>
                    <a:pt x="629" y="1104"/>
                    <a:pt x="387" y="1062"/>
                    <a:pt x="381" y="1115"/>
                  </a:cubicBezTo>
                  <a:cubicBezTo>
                    <a:pt x="375" y="1169"/>
                    <a:pt x="0" y="1177"/>
                    <a:pt x="0" y="1263"/>
                  </a:cubicBezTo>
                  <a:cubicBezTo>
                    <a:pt x="0" y="1296"/>
                    <a:pt x="18" y="1328"/>
                    <a:pt x="59" y="1337"/>
                  </a:cubicBezTo>
                  <a:cubicBezTo>
                    <a:pt x="112" y="1348"/>
                    <a:pt x="177" y="1331"/>
                    <a:pt x="225" y="1384"/>
                  </a:cubicBezTo>
                  <a:cubicBezTo>
                    <a:pt x="272" y="1437"/>
                    <a:pt x="405" y="1440"/>
                    <a:pt x="496" y="1405"/>
                  </a:cubicBezTo>
                  <a:cubicBezTo>
                    <a:pt x="588" y="1369"/>
                    <a:pt x="656" y="1411"/>
                    <a:pt x="653" y="1464"/>
                  </a:cubicBezTo>
                  <a:cubicBezTo>
                    <a:pt x="650" y="1517"/>
                    <a:pt x="446" y="1443"/>
                    <a:pt x="384" y="1482"/>
                  </a:cubicBezTo>
                  <a:cubicBezTo>
                    <a:pt x="322" y="1520"/>
                    <a:pt x="130" y="1487"/>
                    <a:pt x="139" y="1529"/>
                  </a:cubicBezTo>
                  <a:cubicBezTo>
                    <a:pt x="148" y="1570"/>
                    <a:pt x="242" y="1561"/>
                    <a:pt x="319" y="1576"/>
                  </a:cubicBezTo>
                  <a:cubicBezTo>
                    <a:pt x="396" y="1591"/>
                    <a:pt x="325" y="1623"/>
                    <a:pt x="322" y="1656"/>
                  </a:cubicBezTo>
                  <a:cubicBezTo>
                    <a:pt x="319" y="1688"/>
                    <a:pt x="363" y="1682"/>
                    <a:pt x="440" y="1721"/>
                  </a:cubicBezTo>
                  <a:cubicBezTo>
                    <a:pt x="517" y="1759"/>
                    <a:pt x="644" y="1783"/>
                    <a:pt x="602" y="1738"/>
                  </a:cubicBezTo>
                  <a:cubicBezTo>
                    <a:pt x="561" y="1694"/>
                    <a:pt x="682" y="1700"/>
                    <a:pt x="703" y="1726"/>
                  </a:cubicBezTo>
                  <a:cubicBezTo>
                    <a:pt x="723" y="1753"/>
                    <a:pt x="780" y="1688"/>
                    <a:pt x="836" y="1703"/>
                  </a:cubicBezTo>
                  <a:cubicBezTo>
                    <a:pt x="892" y="1718"/>
                    <a:pt x="912" y="1650"/>
                    <a:pt x="957" y="1679"/>
                  </a:cubicBezTo>
                  <a:cubicBezTo>
                    <a:pt x="1001" y="1709"/>
                    <a:pt x="1208" y="1726"/>
                    <a:pt x="1278" y="1765"/>
                  </a:cubicBezTo>
                  <a:cubicBezTo>
                    <a:pt x="1349" y="1803"/>
                    <a:pt x="1447" y="1812"/>
                    <a:pt x="1438" y="1868"/>
                  </a:cubicBezTo>
                  <a:cubicBezTo>
                    <a:pt x="1429" y="1924"/>
                    <a:pt x="1497" y="1966"/>
                    <a:pt x="1576" y="2001"/>
                  </a:cubicBezTo>
                  <a:cubicBezTo>
                    <a:pt x="1656" y="2036"/>
                    <a:pt x="1671" y="2113"/>
                    <a:pt x="1668" y="2163"/>
                  </a:cubicBezTo>
                  <a:cubicBezTo>
                    <a:pt x="1665" y="2213"/>
                    <a:pt x="1754" y="2249"/>
                    <a:pt x="1739" y="2273"/>
                  </a:cubicBezTo>
                  <a:cubicBezTo>
                    <a:pt x="1724" y="2296"/>
                    <a:pt x="1736" y="2329"/>
                    <a:pt x="1789" y="2376"/>
                  </a:cubicBezTo>
                  <a:cubicBezTo>
                    <a:pt x="1842" y="2423"/>
                    <a:pt x="1706" y="2458"/>
                    <a:pt x="1739" y="2500"/>
                  </a:cubicBezTo>
                  <a:cubicBezTo>
                    <a:pt x="1771" y="2541"/>
                    <a:pt x="1692" y="2621"/>
                    <a:pt x="1786" y="2636"/>
                  </a:cubicBezTo>
                  <a:cubicBezTo>
                    <a:pt x="1880" y="2650"/>
                    <a:pt x="1866" y="2571"/>
                    <a:pt x="1937" y="2571"/>
                  </a:cubicBezTo>
                  <a:cubicBezTo>
                    <a:pt x="2007" y="2571"/>
                    <a:pt x="1934" y="2633"/>
                    <a:pt x="1972" y="2671"/>
                  </a:cubicBezTo>
                  <a:cubicBezTo>
                    <a:pt x="2010" y="2709"/>
                    <a:pt x="2090" y="2700"/>
                    <a:pt x="2164" y="2762"/>
                  </a:cubicBezTo>
                  <a:cubicBezTo>
                    <a:pt x="2238" y="2824"/>
                    <a:pt x="2190" y="2854"/>
                    <a:pt x="2122" y="2804"/>
                  </a:cubicBezTo>
                  <a:cubicBezTo>
                    <a:pt x="2055" y="2754"/>
                    <a:pt x="1857" y="2765"/>
                    <a:pt x="1857" y="2783"/>
                  </a:cubicBezTo>
                  <a:cubicBezTo>
                    <a:pt x="1857" y="2801"/>
                    <a:pt x="2075" y="2925"/>
                    <a:pt x="2125" y="2907"/>
                  </a:cubicBezTo>
                  <a:cubicBezTo>
                    <a:pt x="2176" y="2889"/>
                    <a:pt x="2243" y="2981"/>
                    <a:pt x="2214" y="3010"/>
                  </a:cubicBezTo>
                  <a:cubicBezTo>
                    <a:pt x="2184" y="3040"/>
                    <a:pt x="2199" y="3114"/>
                    <a:pt x="2193" y="3149"/>
                  </a:cubicBezTo>
                  <a:cubicBezTo>
                    <a:pt x="2187" y="3185"/>
                    <a:pt x="2114" y="3149"/>
                    <a:pt x="2066" y="3155"/>
                  </a:cubicBezTo>
                  <a:cubicBezTo>
                    <a:pt x="2019" y="3161"/>
                    <a:pt x="1987" y="3176"/>
                    <a:pt x="1987" y="3226"/>
                  </a:cubicBezTo>
                  <a:cubicBezTo>
                    <a:pt x="1987" y="3276"/>
                    <a:pt x="1913" y="3311"/>
                    <a:pt x="1904" y="3373"/>
                  </a:cubicBezTo>
                  <a:cubicBezTo>
                    <a:pt x="1895" y="3435"/>
                    <a:pt x="1963" y="3433"/>
                    <a:pt x="2001" y="3459"/>
                  </a:cubicBezTo>
                  <a:cubicBezTo>
                    <a:pt x="2040" y="3486"/>
                    <a:pt x="1931" y="3503"/>
                    <a:pt x="1925" y="3548"/>
                  </a:cubicBezTo>
                  <a:cubicBezTo>
                    <a:pt x="1919" y="3592"/>
                    <a:pt x="2025" y="3672"/>
                    <a:pt x="2063" y="3692"/>
                  </a:cubicBezTo>
                  <a:cubicBezTo>
                    <a:pt x="2102" y="3713"/>
                    <a:pt x="2066" y="3813"/>
                    <a:pt x="2081" y="3863"/>
                  </a:cubicBezTo>
                  <a:cubicBezTo>
                    <a:pt x="2096" y="3914"/>
                    <a:pt x="2146" y="3851"/>
                    <a:pt x="2140" y="3916"/>
                  </a:cubicBezTo>
                  <a:cubicBezTo>
                    <a:pt x="2134" y="3981"/>
                    <a:pt x="2187" y="3978"/>
                    <a:pt x="2190" y="4017"/>
                  </a:cubicBezTo>
                  <a:cubicBezTo>
                    <a:pt x="2193" y="4055"/>
                    <a:pt x="2285" y="4049"/>
                    <a:pt x="2267" y="4102"/>
                  </a:cubicBezTo>
                  <a:cubicBezTo>
                    <a:pt x="2249" y="4156"/>
                    <a:pt x="2294" y="4194"/>
                    <a:pt x="2314" y="4223"/>
                  </a:cubicBezTo>
                  <a:cubicBezTo>
                    <a:pt x="2335" y="4253"/>
                    <a:pt x="2412" y="4303"/>
                    <a:pt x="2426" y="4341"/>
                  </a:cubicBezTo>
                  <a:cubicBezTo>
                    <a:pt x="2441" y="4380"/>
                    <a:pt x="2485" y="4430"/>
                    <a:pt x="2539" y="4415"/>
                  </a:cubicBezTo>
                  <a:cubicBezTo>
                    <a:pt x="2592" y="4400"/>
                    <a:pt x="2595" y="4451"/>
                    <a:pt x="2636" y="4445"/>
                  </a:cubicBezTo>
                  <a:cubicBezTo>
                    <a:pt x="2677" y="4439"/>
                    <a:pt x="2742" y="4462"/>
                    <a:pt x="2754" y="4495"/>
                  </a:cubicBezTo>
                  <a:cubicBezTo>
                    <a:pt x="2766" y="4527"/>
                    <a:pt x="2893" y="4557"/>
                    <a:pt x="2928" y="4563"/>
                  </a:cubicBezTo>
                  <a:cubicBezTo>
                    <a:pt x="2964" y="4569"/>
                    <a:pt x="2970" y="4504"/>
                    <a:pt x="3002" y="4486"/>
                  </a:cubicBezTo>
                  <a:cubicBezTo>
                    <a:pt x="3034" y="4468"/>
                    <a:pt x="3023" y="4339"/>
                    <a:pt x="3052" y="4330"/>
                  </a:cubicBezTo>
                  <a:cubicBezTo>
                    <a:pt x="3082" y="4321"/>
                    <a:pt x="3073" y="4185"/>
                    <a:pt x="3043" y="4173"/>
                  </a:cubicBezTo>
                  <a:cubicBezTo>
                    <a:pt x="3014" y="4161"/>
                    <a:pt x="3026" y="4114"/>
                    <a:pt x="3094" y="4123"/>
                  </a:cubicBezTo>
                  <a:cubicBezTo>
                    <a:pt x="3161" y="4132"/>
                    <a:pt x="3138" y="4064"/>
                    <a:pt x="3170" y="4055"/>
                  </a:cubicBezTo>
                  <a:cubicBezTo>
                    <a:pt x="3203" y="4046"/>
                    <a:pt x="3188" y="3984"/>
                    <a:pt x="3212" y="3978"/>
                  </a:cubicBezTo>
                  <a:cubicBezTo>
                    <a:pt x="3235" y="3973"/>
                    <a:pt x="3232" y="3931"/>
                    <a:pt x="3214" y="3908"/>
                  </a:cubicBezTo>
                  <a:cubicBezTo>
                    <a:pt x="3197" y="3884"/>
                    <a:pt x="3218" y="3866"/>
                    <a:pt x="3253" y="3860"/>
                  </a:cubicBezTo>
                  <a:cubicBezTo>
                    <a:pt x="3288" y="3854"/>
                    <a:pt x="3279" y="3804"/>
                    <a:pt x="3232" y="3787"/>
                  </a:cubicBezTo>
                  <a:cubicBezTo>
                    <a:pt x="3185" y="3769"/>
                    <a:pt x="3200" y="3716"/>
                    <a:pt x="3247" y="3748"/>
                  </a:cubicBezTo>
                  <a:cubicBezTo>
                    <a:pt x="3294" y="3781"/>
                    <a:pt x="3330" y="3757"/>
                    <a:pt x="3303" y="3722"/>
                  </a:cubicBezTo>
                  <a:cubicBezTo>
                    <a:pt x="3276" y="3686"/>
                    <a:pt x="3336" y="3669"/>
                    <a:pt x="3397" y="3663"/>
                  </a:cubicBezTo>
                  <a:cubicBezTo>
                    <a:pt x="3459" y="3657"/>
                    <a:pt x="3492" y="3624"/>
                    <a:pt x="3480" y="3577"/>
                  </a:cubicBezTo>
                  <a:cubicBezTo>
                    <a:pt x="3468" y="3530"/>
                    <a:pt x="3551" y="3533"/>
                    <a:pt x="3530" y="3574"/>
                  </a:cubicBezTo>
                  <a:cubicBezTo>
                    <a:pt x="3510" y="3615"/>
                    <a:pt x="3521" y="3657"/>
                    <a:pt x="3551" y="3627"/>
                  </a:cubicBezTo>
                  <a:cubicBezTo>
                    <a:pt x="3581" y="3598"/>
                    <a:pt x="3637" y="3618"/>
                    <a:pt x="3737" y="3589"/>
                  </a:cubicBezTo>
                  <a:cubicBezTo>
                    <a:pt x="3837" y="3559"/>
                    <a:pt x="3935" y="3477"/>
                    <a:pt x="3958" y="3397"/>
                  </a:cubicBezTo>
                  <a:cubicBezTo>
                    <a:pt x="3982" y="3317"/>
                    <a:pt x="4097" y="3326"/>
                    <a:pt x="4082" y="3273"/>
                  </a:cubicBezTo>
                  <a:cubicBezTo>
                    <a:pt x="4068" y="3220"/>
                    <a:pt x="4103" y="3199"/>
                    <a:pt x="4177" y="3235"/>
                  </a:cubicBezTo>
                  <a:cubicBezTo>
                    <a:pt x="4251" y="3270"/>
                    <a:pt x="4191" y="3211"/>
                    <a:pt x="4274" y="3211"/>
                  </a:cubicBezTo>
                  <a:cubicBezTo>
                    <a:pt x="4357" y="3211"/>
                    <a:pt x="4342" y="3182"/>
                    <a:pt x="4422" y="3179"/>
                  </a:cubicBezTo>
                  <a:cubicBezTo>
                    <a:pt x="4501" y="3176"/>
                    <a:pt x="4708" y="3140"/>
                    <a:pt x="4779" y="3081"/>
                  </a:cubicBezTo>
                  <a:cubicBezTo>
                    <a:pt x="4850" y="3022"/>
                    <a:pt x="5000" y="2972"/>
                    <a:pt x="5062" y="2934"/>
                  </a:cubicBezTo>
                  <a:cubicBezTo>
                    <a:pt x="5124" y="2895"/>
                    <a:pt x="5139" y="2863"/>
                    <a:pt x="5101" y="2884"/>
                  </a:cubicBezTo>
                  <a:cubicBezTo>
                    <a:pt x="5062" y="2904"/>
                    <a:pt x="4982" y="2907"/>
                    <a:pt x="4923" y="2892"/>
                  </a:cubicBezTo>
                  <a:cubicBezTo>
                    <a:pt x="4864" y="2878"/>
                    <a:pt x="4770" y="2827"/>
                    <a:pt x="4702" y="2866"/>
                  </a:cubicBezTo>
                  <a:cubicBezTo>
                    <a:pt x="4634" y="2904"/>
                    <a:pt x="4676" y="2810"/>
                    <a:pt x="4732" y="2801"/>
                  </a:cubicBezTo>
                  <a:cubicBezTo>
                    <a:pt x="4788" y="2792"/>
                    <a:pt x="4764" y="2765"/>
                    <a:pt x="4749" y="2706"/>
                  </a:cubicBezTo>
                  <a:cubicBezTo>
                    <a:pt x="4735" y="2647"/>
                    <a:pt x="4844" y="2686"/>
                    <a:pt x="4891" y="2754"/>
                  </a:cubicBezTo>
                  <a:cubicBezTo>
                    <a:pt x="4938" y="2821"/>
                    <a:pt x="5030" y="2851"/>
                    <a:pt x="5109" y="2827"/>
                  </a:cubicBezTo>
                  <a:cubicBezTo>
                    <a:pt x="5189" y="2804"/>
                    <a:pt x="5112" y="2739"/>
                    <a:pt x="5145" y="2695"/>
                  </a:cubicBezTo>
                  <a:cubicBezTo>
                    <a:pt x="5177" y="2650"/>
                    <a:pt x="4900" y="2512"/>
                    <a:pt x="4885" y="2464"/>
                  </a:cubicBezTo>
                  <a:cubicBezTo>
                    <a:pt x="4870" y="2417"/>
                    <a:pt x="4956" y="2450"/>
                    <a:pt x="5033" y="2482"/>
                  </a:cubicBezTo>
                  <a:cubicBezTo>
                    <a:pt x="5109" y="2514"/>
                    <a:pt x="5127" y="2420"/>
                    <a:pt x="5127" y="2379"/>
                  </a:cubicBezTo>
                  <a:cubicBezTo>
                    <a:pt x="5127" y="2337"/>
                    <a:pt x="4962" y="2334"/>
                    <a:pt x="4888" y="2376"/>
                  </a:cubicBezTo>
                  <a:cubicBezTo>
                    <a:pt x="4814" y="2417"/>
                    <a:pt x="4743" y="2323"/>
                    <a:pt x="4844" y="2311"/>
                  </a:cubicBezTo>
                  <a:cubicBezTo>
                    <a:pt x="4944" y="2299"/>
                    <a:pt x="4853" y="2258"/>
                    <a:pt x="4882" y="2228"/>
                  </a:cubicBezTo>
                  <a:cubicBezTo>
                    <a:pt x="4912" y="2199"/>
                    <a:pt x="5039" y="2314"/>
                    <a:pt x="5103" y="2293"/>
                  </a:cubicBezTo>
                  <a:cubicBezTo>
                    <a:pt x="5168" y="2273"/>
                    <a:pt x="5216" y="2296"/>
                    <a:pt x="5272" y="2252"/>
                  </a:cubicBezTo>
                  <a:cubicBezTo>
                    <a:pt x="5328" y="2208"/>
                    <a:pt x="5171" y="2166"/>
                    <a:pt x="5139" y="2128"/>
                  </a:cubicBezTo>
                  <a:cubicBezTo>
                    <a:pt x="5106" y="2089"/>
                    <a:pt x="5301" y="2104"/>
                    <a:pt x="5360" y="2107"/>
                  </a:cubicBezTo>
                  <a:cubicBezTo>
                    <a:pt x="5419" y="2110"/>
                    <a:pt x="5434" y="2022"/>
                    <a:pt x="5387" y="2039"/>
                  </a:cubicBezTo>
                  <a:cubicBezTo>
                    <a:pt x="5340" y="2057"/>
                    <a:pt x="5171" y="1980"/>
                    <a:pt x="5207" y="1927"/>
                  </a:cubicBezTo>
                  <a:cubicBezTo>
                    <a:pt x="5242" y="1874"/>
                    <a:pt x="5307" y="1936"/>
                    <a:pt x="5381" y="1898"/>
                  </a:cubicBezTo>
                  <a:cubicBezTo>
                    <a:pt x="5455" y="1859"/>
                    <a:pt x="5387" y="1715"/>
                    <a:pt x="5334" y="1715"/>
                  </a:cubicBezTo>
                  <a:cubicBezTo>
                    <a:pt x="5281" y="1715"/>
                    <a:pt x="5157" y="1697"/>
                    <a:pt x="5157" y="1670"/>
                  </a:cubicBezTo>
                  <a:cubicBezTo>
                    <a:pt x="5157" y="1644"/>
                    <a:pt x="5053" y="1620"/>
                    <a:pt x="5083" y="1594"/>
                  </a:cubicBezTo>
                  <a:cubicBezTo>
                    <a:pt x="5112" y="1567"/>
                    <a:pt x="5151" y="1626"/>
                    <a:pt x="5219" y="1576"/>
                  </a:cubicBezTo>
                  <a:cubicBezTo>
                    <a:pt x="5286" y="1526"/>
                    <a:pt x="5428" y="1588"/>
                    <a:pt x="5490" y="1576"/>
                  </a:cubicBezTo>
                  <a:cubicBezTo>
                    <a:pt x="5552" y="1564"/>
                    <a:pt x="5464" y="1449"/>
                    <a:pt x="5428" y="1470"/>
                  </a:cubicBezTo>
                  <a:cubicBezTo>
                    <a:pt x="5393" y="1490"/>
                    <a:pt x="5272" y="1496"/>
                    <a:pt x="5263" y="1434"/>
                  </a:cubicBezTo>
                  <a:cubicBezTo>
                    <a:pt x="5254" y="1372"/>
                    <a:pt x="5378" y="1434"/>
                    <a:pt x="5399" y="1405"/>
                  </a:cubicBezTo>
                  <a:cubicBezTo>
                    <a:pt x="5419" y="1375"/>
                    <a:pt x="5227" y="1299"/>
                    <a:pt x="5198" y="1360"/>
                  </a:cubicBezTo>
                  <a:cubicBezTo>
                    <a:pt x="5168" y="1422"/>
                    <a:pt x="5062" y="1402"/>
                    <a:pt x="5118" y="1366"/>
                  </a:cubicBezTo>
                  <a:cubicBezTo>
                    <a:pt x="5174" y="1331"/>
                    <a:pt x="5186" y="1231"/>
                    <a:pt x="5180" y="1180"/>
                  </a:cubicBezTo>
                  <a:cubicBezTo>
                    <a:pt x="5174" y="1130"/>
                    <a:pt x="5381" y="1127"/>
                    <a:pt x="5357" y="1045"/>
                  </a:cubicBezTo>
                  <a:cubicBezTo>
                    <a:pt x="5334" y="962"/>
                    <a:pt x="5455" y="944"/>
                    <a:pt x="5523" y="944"/>
                  </a:cubicBezTo>
                  <a:cubicBezTo>
                    <a:pt x="5590" y="944"/>
                    <a:pt x="5520" y="856"/>
                    <a:pt x="5455" y="865"/>
                  </a:cubicBezTo>
                  <a:cubicBezTo>
                    <a:pt x="5390" y="873"/>
                    <a:pt x="5322" y="947"/>
                    <a:pt x="5289" y="918"/>
                  </a:cubicBezTo>
                  <a:cubicBezTo>
                    <a:pt x="5257" y="888"/>
                    <a:pt x="5366" y="835"/>
                    <a:pt x="5425" y="835"/>
                  </a:cubicBezTo>
                  <a:cubicBezTo>
                    <a:pt x="5484" y="835"/>
                    <a:pt x="5626" y="829"/>
                    <a:pt x="5676" y="800"/>
                  </a:cubicBezTo>
                  <a:cubicBezTo>
                    <a:pt x="5726" y="770"/>
                    <a:pt x="5588" y="744"/>
                    <a:pt x="5493" y="755"/>
                  </a:cubicBezTo>
                  <a:cubicBezTo>
                    <a:pt x="5399" y="767"/>
                    <a:pt x="5399" y="726"/>
                    <a:pt x="5540" y="723"/>
                  </a:cubicBezTo>
                  <a:cubicBezTo>
                    <a:pt x="5682" y="720"/>
                    <a:pt x="5658" y="690"/>
                    <a:pt x="5759" y="679"/>
                  </a:cubicBezTo>
                  <a:cubicBezTo>
                    <a:pt x="5859" y="667"/>
                    <a:pt x="5827" y="626"/>
                    <a:pt x="5889" y="623"/>
                  </a:cubicBezTo>
                  <a:cubicBezTo>
                    <a:pt x="5951" y="620"/>
                    <a:pt x="6113" y="552"/>
                    <a:pt x="6113" y="519"/>
                  </a:cubicBezTo>
                  <a:cubicBezTo>
                    <a:pt x="6113" y="487"/>
                    <a:pt x="5880" y="422"/>
                    <a:pt x="5771" y="422"/>
                  </a:cubicBezTo>
                  <a:close/>
                  <a:moveTo>
                    <a:pt x="2093" y="2993"/>
                  </a:moveTo>
                  <a:cubicBezTo>
                    <a:pt x="2096" y="2945"/>
                    <a:pt x="2043" y="2975"/>
                    <a:pt x="2013" y="2919"/>
                  </a:cubicBezTo>
                  <a:cubicBezTo>
                    <a:pt x="1984" y="2863"/>
                    <a:pt x="1833" y="2840"/>
                    <a:pt x="1818" y="2884"/>
                  </a:cubicBezTo>
                  <a:cubicBezTo>
                    <a:pt x="1813" y="2901"/>
                    <a:pt x="1765" y="2928"/>
                    <a:pt x="1804" y="2969"/>
                  </a:cubicBezTo>
                  <a:cubicBezTo>
                    <a:pt x="1842" y="3010"/>
                    <a:pt x="1869" y="2993"/>
                    <a:pt x="1913" y="3034"/>
                  </a:cubicBezTo>
                  <a:cubicBezTo>
                    <a:pt x="1957" y="3075"/>
                    <a:pt x="2090" y="3040"/>
                    <a:pt x="2093" y="299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6" name="Freeform 136"/>
            <p:cNvSpPr>
              <a:spLocks noEditPoints="1"/>
            </p:cNvSpPr>
            <p:nvPr/>
          </p:nvSpPr>
          <p:spPr bwMode="auto">
            <a:xfrm>
              <a:off x="12069697" y="5499379"/>
              <a:ext cx="242930" cy="231202"/>
            </a:xfrm>
            <a:custGeom>
              <a:avLst/>
              <a:gdLst>
                <a:gd name="T0" fmla="*/ 244 w 481"/>
                <a:gd name="T1" fmla="*/ 170 h 456"/>
                <a:gd name="T2" fmla="*/ 241 w 481"/>
                <a:gd name="T3" fmla="*/ 101 h 456"/>
                <a:gd name="T4" fmla="*/ 251 w 481"/>
                <a:gd name="T5" fmla="*/ 15 h 456"/>
                <a:gd name="T6" fmla="*/ 179 w 481"/>
                <a:gd name="T7" fmla="*/ 55 h 456"/>
                <a:gd name="T8" fmla="*/ 120 w 481"/>
                <a:gd name="T9" fmla="*/ 86 h 456"/>
                <a:gd name="T10" fmla="*/ 124 w 481"/>
                <a:gd name="T11" fmla="*/ 130 h 456"/>
                <a:gd name="T12" fmla="*/ 67 w 481"/>
                <a:gd name="T13" fmla="*/ 101 h 456"/>
                <a:gd name="T14" fmla="*/ 17 w 481"/>
                <a:gd name="T15" fmla="*/ 173 h 456"/>
                <a:gd name="T16" fmla="*/ 17 w 481"/>
                <a:gd name="T17" fmla="*/ 286 h 456"/>
                <a:gd name="T18" fmla="*/ 55 w 481"/>
                <a:gd name="T19" fmla="*/ 374 h 456"/>
                <a:gd name="T20" fmla="*/ 70 w 481"/>
                <a:gd name="T21" fmla="*/ 418 h 456"/>
                <a:gd name="T22" fmla="*/ 161 w 481"/>
                <a:gd name="T23" fmla="*/ 427 h 456"/>
                <a:gd name="T24" fmla="*/ 198 w 481"/>
                <a:gd name="T25" fmla="*/ 426 h 456"/>
                <a:gd name="T26" fmla="*/ 158 w 481"/>
                <a:gd name="T27" fmla="*/ 372 h 456"/>
                <a:gd name="T28" fmla="*/ 210 w 481"/>
                <a:gd name="T29" fmla="*/ 382 h 456"/>
                <a:gd name="T30" fmla="*/ 281 w 481"/>
                <a:gd name="T31" fmla="*/ 381 h 456"/>
                <a:gd name="T32" fmla="*/ 245 w 481"/>
                <a:gd name="T33" fmla="*/ 319 h 456"/>
                <a:gd name="T34" fmla="*/ 200 w 481"/>
                <a:gd name="T35" fmla="*/ 313 h 456"/>
                <a:gd name="T36" fmla="*/ 228 w 481"/>
                <a:gd name="T37" fmla="*/ 251 h 456"/>
                <a:gd name="T38" fmla="*/ 291 w 481"/>
                <a:gd name="T39" fmla="*/ 217 h 456"/>
                <a:gd name="T40" fmla="*/ 244 w 481"/>
                <a:gd name="T41" fmla="*/ 170 h 456"/>
                <a:gd name="T42" fmla="*/ 467 w 481"/>
                <a:gd name="T43" fmla="*/ 260 h 456"/>
                <a:gd name="T44" fmla="*/ 433 w 481"/>
                <a:gd name="T45" fmla="*/ 284 h 456"/>
                <a:gd name="T46" fmla="*/ 399 w 481"/>
                <a:gd name="T47" fmla="*/ 260 h 456"/>
                <a:gd name="T48" fmla="*/ 334 w 481"/>
                <a:gd name="T49" fmla="*/ 288 h 456"/>
                <a:gd name="T50" fmla="*/ 372 w 481"/>
                <a:gd name="T51" fmla="*/ 379 h 456"/>
                <a:gd name="T52" fmla="*/ 344 w 481"/>
                <a:gd name="T53" fmla="*/ 406 h 456"/>
                <a:gd name="T54" fmla="*/ 371 w 481"/>
                <a:gd name="T55" fmla="*/ 450 h 456"/>
                <a:gd name="T56" fmla="*/ 443 w 481"/>
                <a:gd name="T57" fmla="*/ 368 h 456"/>
                <a:gd name="T58" fmla="*/ 467 w 481"/>
                <a:gd name="T59" fmla="*/ 26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1" h="456">
                  <a:moveTo>
                    <a:pt x="244" y="170"/>
                  </a:moveTo>
                  <a:cubicBezTo>
                    <a:pt x="229" y="163"/>
                    <a:pt x="223" y="115"/>
                    <a:pt x="241" y="101"/>
                  </a:cubicBezTo>
                  <a:cubicBezTo>
                    <a:pt x="259" y="86"/>
                    <a:pt x="266" y="30"/>
                    <a:pt x="251" y="15"/>
                  </a:cubicBezTo>
                  <a:cubicBezTo>
                    <a:pt x="237" y="0"/>
                    <a:pt x="183" y="15"/>
                    <a:pt x="179" y="55"/>
                  </a:cubicBezTo>
                  <a:cubicBezTo>
                    <a:pt x="174" y="95"/>
                    <a:pt x="132" y="77"/>
                    <a:pt x="120" y="86"/>
                  </a:cubicBezTo>
                  <a:cubicBezTo>
                    <a:pt x="108" y="95"/>
                    <a:pt x="143" y="112"/>
                    <a:pt x="124" y="130"/>
                  </a:cubicBezTo>
                  <a:cubicBezTo>
                    <a:pt x="105" y="148"/>
                    <a:pt x="98" y="103"/>
                    <a:pt x="67" y="101"/>
                  </a:cubicBezTo>
                  <a:cubicBezTo>
                    <a:pt x="36" y="98"/>
                    <a:pt x="33" y="148"/>
                    <a:pt x="17" y="173"/>
                  </a:cubicBezTo>
                  <a:cubicBezTo>
                    <a:pt x="0" y="198"/>
                    <a:pt x="11" y="251"/>
                    <a:pt x="17" y="286"/>
                  </a:cubicBezTo>
                  <a:cubicBezTo>
                    <a:pt x="22" y="322"/>
                    <a:pt x="65" y="344"/>
                    <a:pt x="55" y="374"/>
                  </a:cubicBezTo>
                  <a:cubicBezTo>
                    <a:pt x="50" y="387"/>
                    <a:pt x="60" y="403"/>
                    <a:pt x="70" y="418"/>
                  </a:cubicBezTo>
                  <a:cubicBezTo>
                    <a:pt x="109" y="419"/>
                    <a:pt x="145" y="421"/>
                    <a:pt x="161" y="427"/>
                  </a:cubicBezTo>
                  <a:cubicBezTo>
                    <a:pt x="168" y="429"/>
                    <a:pt x="181" y="428"/>
                    <a:pt x="198" y="426"/>
                  </a:cubicBezTo>
                  <a:cubicBezTo>
                    <a:pt x="185" y="405"/>
                    <a:pt x="156" y="387"/>
                    <a:pt x="158" y="372"/>
                  </a:cubicBezTo>
                  <a:cubicBezTo>
                    <a:pt x="161" y="352"/>
                    <a:pt x="189" y="365"/>
                    <a:pt x="210" y="382"/>
                  </a:cubicBezTo>
                  <a:cubicBezTo>
                    <a:pt x="231" y="400"/>
                    <a:pt x="276" y="403"/>
                    <a:pt x="281" y="381"/>
                  </a:cubicBezTo>
                  <a:cubicBezTo>
                    <a:pt x="283" y="367"/>
                    <a:pt x="273" y="304"/>
                    <a:pt x="245" y="319"/>
                  </a:cubicBezTo>
                  <a:cubicBezTo>
                    <a:pt x="217" y="334"/>
                    <a:pt x="210" y="328"/>
                    <a:pt x="200" y="313"/>
                  </a:cubicBezTo>
                  <a:cubicBezTo>
                    <a:pt x="189" y="298"/>
                    <a:pt x="220" y="275"/>
                    <a:pt x="228" y="251"/>
                  </a:cubicBezTo>
                  <a:cubicBezTo>
                    <a:pt x="235" y="227"/>
                    <a:pt x="284" y="236"/>
                    <a:pt x="291" y="217"/>
                  </a:cubicBezTo>
                  <a:cubicBezTo>
                    <a:pt x="299" y="198"/>
                    <a:pt x="259" y="177"/>
                    <a:pt x="244" y="170"/>
                  </a:cubicBezTo>
                  <a:close/>
                  <a:moveTo>
                    <a:pt x="467" y="260"/>
                  </a:moveTo>
                  <a:cubicBezTo>
                    <a:pt x="455" y="253"/>
                    <a:pt x="446" y="281"/>
                    <a:pt x="433" y="284"/>
                  </a:cubicBezTo>
                  <a:cubicBezTo>
                    <a:pt x="419" y="286"/>
                    <a:pt x="405" y="227"/>
                    <a:pt x="399" y="260"/>
                  </a:cubicBezTo>
                  <a:cubicBezTo>
                    <a:pt x="393" y="292"/>
                    <a:pt x="363" y="247"/>
                    <a:pt x="334" y="288"/>
                  </a:cubicBezTo>
                  <a:cubicBezTo>
                    <a:pt x="304" y="329"/>
                    <a:pt x="352" y="366"/>
                    <a:pt x="372" y="379"/>
                  </a:cubicBezTo>
                  <a:cubicBezTo>
                    <a:pt x="393" y="393"/>
                    <a:pt x="371" y="412"/>
                    <a:pt x="344" y="406"/>
                  </a:cubicBezTo>
                  <a:cubicBezTo>
                    <a:pt x="318" y="400"/>
                    <a:pt x="334" y="444"/>
                    <a:pt x="371" y="450"/>
                  </a:cubicBezTo>
                  <a:cubicBezTo>
                    <a:pt x="408" y="456"/>
                    <a:pt x="447" y="385"/>
                    <a:pt x="443" y="368"/>
                  </a:cubicBezTo>
                  <a:cubicBezTo>
                    <a:pt x="439" y="350"/>
                    <a:pt x="481" y="269"/>
                    <a:pt x="467" y="26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7" name="Freeform 137"/>
            <p:cNvSpPr>
              <a:spLocks noEditPoints="1"/>
            </p:cNvSpPr>
            <p:nvPr/>
          </p:nvSpPr>
          <p:spPr bwMode="auto">
            <a:xfrm>
              <a:off x="12233884" y="4576247"/>
              <a:ext cx="629942" cy="1104073"/>
            </a:xfrm>
            <a:custGeom>
              <a:avLst/>
              <a:gdLst>
                <a:gd name="T0" fmla="*/ 1213 w 1246"/>
                <a:gd name="T1" fmla="*/ 465 h 2184"/>
                <a:gd name="T2" fmla="*/ 1194 w 1246"/>
                <a:gd name="T3" fmla="*/ 290 h 2184"/>
                <a:gd name="T4" fmla="*/ 1047 w 1246"/>
                <a:gd name="T5" fmla="*/ 109 h 2184"/>
                <a:gd name="T6" fmla="*/ 871 w 1246"/>
                <a:gd name="T7" fmla="*/ 100 h 2184"/>
                <a:gd name="T8" fmla="*/ 701 w 1246"/>
                <a:gd name="T9" fmla="*/ 100 h 2184"/>
                <a:gd name="T10" fmla="*/ 601 w 1246"/>
                <a:gd name="T11" fmla="*/ 199 h 2184"/>
                <a:gd name="T12" fmla="*/ 497 w 1246"/>
                <a:gd name="T13" fmla="*/ 328 h 2184"/>
                <a:gd name="T14" fmla="*/ 421 w 1246"/>
                <a:gd name="T15" fmla="*/ 456 h 2184"/>
                <a:gd name="T16" fmla="*/ 326 w 1246"/>
                <a:gd name="T17" fmla="*/ 531 h 2184"/>
                <a:gd name="T18" fmla="*/ 255 w 1246"/>
                <a:gd name="T19" fmla="*/ 749 h 2184"/>
                <a:gd name="T20" fmla="*/ 279 w 1246"/>
                <a:gd name="T21" fmla="*/ 859 h 2184"/>
                <a:gd name="T22" fmla="*/ 113 w 1246"/>
                <a:gd name="T23" fmla="*/ 930 h 2184"/>
                <a:gd name="T24" fmla="*/ 103 w 1246"/>
                <a:gd name="T25" fmla="*/ 1129 h 2184"/>
                <a:gd name="T26" fmla="*/ 165 w 1246"/>
                <a:gd name="T27" fmla="*/ 1295 h 2184"/>
                <a:gd name="T28" fmla="*/ 132 w 1246"/>
                <a:gd name="T29" fmla="*/ 1394 h 2184"/>
                <a:gd name="T30" fmla="*/ 70 w 1246"/>
                <a:gd name="T31" fmla="*/ 1513 h 2184"/>
                <a:gd name="T32" fmla="*/ 32 w 1246"/>
                <a:gd name="T33" fmla="*/ 1660 h 2184"/>
                <a:gd name="T34" fmla="*/ 1 w 1246"/>
                <a:gd name="T35" fmla="*/ 1665 h 2184"/>
                <a:gd name="T36" fmla="*/ 81 w 1246"/>
                <a:gd name="T37" fmla="*/ 1868 h 2184"/>
                <a:gd name="T38" fmla="*/ 151 w 1246"/>
                <a:gd name="T39" fmla="*/ 2034 h 2184"/>
                <a:gd name="T40" fmla="*/ 181 w 1246"/>
                <a:gd name="T41" fmla="*/ 2164 h 2184"/>
                <a:gd name="T42" fmla="*/ 296 w 1246"/>
                <a:gd name="T43" fmla="*/ 2103 h 2184"/>
                <a:gd name="T44" fmla="*/ 410 w 1246"/>
                <a:gd name="T45" fmla="*/ 2063 h 2184"/>
                <a:gd name="T46" fmla="*/ 503 w 1246"/>
                <a:gd name="T47" fmla="*/ 2032 h 2184"/>
                <a:gd name="T48" fmla="*/ 523 w 1246"/>
                <a:gd name="T49" fmla="*/ 1944 h 2184"/>
                <a:gd name="T50" fmla="*/ 538 w 1246"/>
                <a:gd name="T51" fmla="*/ 1733 h 2184"/>
                <a:gd name="T52" fmla="*/ 684 w 1246"/>
                <a:gd name="T53" fmla="*/ 1588 h 2184"/>
                <a:gd name="T54" fmla="*/ 649 w 1246"/>
                <a:gd name="T55" fmla="*/ 1402 h 2184"/>
                <a:gd name="T56" fmla="*/ 566 w 1246"/>
                <a:gd name="T57" fmla="*/ 1271 h 2184"/>
                <a:gd name="T58" fmla="*/ 630 w 1246"/>
                <a:gd name="T59" fmla="*/ 1097 h 2184"/>
                <a:gd name="T60" fmla="*/ 746 w 1246"/>
                <a:gd name="T61" fmla="*/ 973 h 2184"/>
                <a:gd name="T62" fmla="*/ 994 w 1246"/>
                <a:gd name="T63" fmla="*/ 803 h 2184"/>
                <a:gd name="T64" fmla="*/ 1022 w 1246"/>
                <a:gd name="T65" fmla="*/ 626 h 2184"/>
                <a:gd name="T66" fmla="*/ 1192 w 1246"/>
                <a:gd name="T67" fmla="*/ 564 h 2184"/>
                <a:gd name="T68" fmla="*/ 1232 w 1246"/>
                <a:gd name="T69" fmla="*/ 517 h 2184"/>
                <a:gd name="T70" fmla="*/ 665 w 1246"/>
                <a:gd name="T71" fmla="*/ 1945 h 2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46" h="2184">
                  <a:moveTo>
                    <a:pt x="1232" y="517"/>
                  </a:moveTo>
                  <a:cubicBezTo>
                    <a:pt x="1218" y="503"/>
                    <a:pt x="1189" y="465"/>
                    <a:pt x="1213" y="465"/>
                  </a:cubicBezTo>
                  <a:cubicBezTo>
                    <a:pt x="1237" y="465"/>
                    <a:pt x="1246" y="394"/>
                    <a:pt x="1218" y="380"/>
                  </a:cubicBezTo>
                  <a:cubicBezTo>
                    <a:pt x="1189" y="365"/>
                    <a:pt x="1218" y="304"/>
                    <a:pt x="1194" y="290"/>
                  </a:cubicBezTo>
                  <a:cubicBezTo>
                    <a:pt x="1170" y="275"/>
                    <a:pt x="1184" y="228"/>
                    <a:pt x="1189" y="195"/>
                  </a:cubicBezTo>
                  <a:cubicBezTo>
                    <a:pt x="1194" y="162"/>
                    <a:pt x="1099" y="133"/>
                    <a:pt x="1047" y="109"/>
                  </a:cubicBezTo>
                  <a:cubicBezTo>
                    <a:pt x="995" y="86"/>
                    <a:pt x="971" y="48"/>
                    <a:pt x="928" y="24"/>
                  </a:cubicBezTo>
                  <a:cubicBezTo>
                    <a:pt x="886" y="0"/>
                    <a:pt x="871" y="62"/>
                    <a:pt x="871" y="100"/>
                  </a:cubicBezTo>
                  <a:cubicBezTo>
                    <a:pt x="871" y="138"/>
                    <a:pt x="833" y="143"/>
                    <a:pt x="805" y="119"/>
                  </a:cubicBezTo>
                  <a:cubicBezTo>
                    <a:pt x="777" y="95"/>
                    <a:pt x="743" y="119"/>
                    <a:pt x="701" y="100"/>
                  </a:cubicBezTo>
                  <a:cubicBezTo>
                    <a:pt x="658" y="81"/>
                    <a:pt x="677" y="143"/>
                    <a:pt x="677" y="171"/>
                  </a:cubicBezTo>
                  <a:cubicBezTo>
                    <a:pt x="677" y="199"/>
                    <a:pt x="630" y="199"/>
                    <a:pt x="601" y="199"/>
                  </a:cubicBezTo>
                  <a:cubicBezTo>
                    <a:pt x="573" y="199"/>
                    <a:pt x="525" y="223"/>
                    <a:pt x="525" y="256"/>
                  </a:cubicBezTo>
                  <a:cubicBezTo>
                    <a:pt x="525" y="290"/>
                    <a:pt x="483" y="309"/>
                    <a:pt x="497" y="328"/>
                  </a:cubicBezTo>
                  <a:cubicBezTo>
                    <a:pt x="511" y="346"/>
                    <a:pt x="492" y="365"/>
                    <a:pt x="473" y="380"/>
                  </a:cubicBezTo>
                  <a:cubicBezTo>
                    <a:pt x="454" y="394"/>
                    <a:pt x="435" y="441"/>
                    <a:pt x="421" y="456"/>
                  </a:cubicBezTo>
                  <a:cubicBezTo>
                    <a:pt x="407" y="470"/>
                    <a:pt x="430" y="493"/>
                    <a:pt x="402" y="512"/>
                  </a:cubicBezTo>
                  <a:cubicBezTo>
                    <a:pt x="374" y="531"/>
                    <a:pt x="340" y="517"/>
                    <a:pt x="326" y="531"/>
                  </a:cubicBezTo>
                  <a:cubicBezTo>
                    <a:pt x="312" y="546"/>
                    <a:pt x="326" y="579"/>
                    <a:pt x="321" y="622"/>
                  </a:cubicBezTo>
                  <a:cubicBezTo>
                    <a:pt x="317" y="664"/>
                    <a:pt x="283" y="712"/>
                    <a:pt x="255" y="749"/>
                  </a:cubicBezTo>
                  <a:cubicBezTo>
                    <a:pt x="227" y="787"/>
                    <a:pt x="265" y="797"/>
                    <a:pt x="279" y="802"/>
                  </a:cubicBezTo>
                  <a:cubicBezTo>
                    <a:pt x="293" y="806"/>
                    <a:pt x="293" y="830"/>
                    <a:pt x="279" y="859"/>
                  </a:cubicBezTo>
                  <a:cubicBezTo>
                    <a:pt x="265" y="887"/>
                    <a:pt x="231" y="868"/>
                    <a:pt x="212" y="863"/>
                  </a:cubicBezTo>
                  <a:cubicBezTo>
                    <a:pt x="193" y="859"/>
                    <a:pt x="141" y="882"/>
                    <a:pt x="113" y="930"/>
                  </a:cubicBezTo>
                  <a:cubicBezTo>
                    <a:pt x="84" y="977"/>
                    <a:pt x="94" y="1006"/>
                    <a:pt x="103" y="1029"/>
                  </a:cubicBezTo>
                  <a:cubicBezTo>
                    <a:pt x="113" y="1053"/>
                    <a:pt x="80" y="1081"/>
                    <a:pt x="103" y="1129"/>
                  </a:cubicBezTo>
                  <a:cubicBezTo>
                    <a:pt x="127" y="1176"/>
                    <a:pt x="94" y="1186"/>
                    <a:pt x="99" y="1224"/>
                  </a:cubicBezTo>
                  <a:cubicBezTo>
                    <a:pt x="103" y="1262"/>
                    <a:pt x="160" y="1257"/>
                    <a:pt x="165" y="1295"/>
                  </a:cubicBezTo>
                  <a:cubicBezTo>
                    <a:pt x="170" y="1333"/>
                    <a:pt x="146" y="1347"/>
                    <a:pt x="127" y="1347"/>
                  </a:cubicBezTo>
                  <a:cubicBezTo>
                    <a:pt x="108" y="1347"/>
                    <a:pt x="113" y="1385"/>
                    <a:pt x="132" y="1394"/>
                  </a:cubicBezTo>
                  <a:cubicBezTo>
                    <a:pt x="151" y="1404"/>
                    <a:pt x="146" y="1470"/>
                    <a:pt x="137" y="1489"/>
                  </a:cubicBezTo>
                  <a:cubicBezTo>
                    <a:pt x="127" y="1508"/>
                    <a:pt x="65" y="1489"/>
                    <a:pt x="70" y="1513"/>
                  </a:cubicBezTo>
                  <a:cubicBezTo>
                    <a:pt x="75" y="1537"/>
                    <a:pt x="56" y="1575"/>
                    <a:pt x="56" y="1594"/>
                  </a:cubicBezTo>
                  <a:cubicBezTo>
                    <a:pt x="56" y="1613"/>
                    <a:pt x="51" y="1674"/>
                    <a:pt x="32" y="1660"/>
                  </a:cubicBezTo>
                  <a:cubicBezTo>
                    <a:pt x="25" y="1654"/>
                    <a:pt x="13" y="1654"/>
                    <a:pt x="1" y="1655"/>
                  </a:cubicBezTo>
                  <a:cubicBezTo>
                    <a:pt x="1" y="1658"/>
                    <a:pt x="1" y="1661"/>
                    <a:pt x="1" y="1665"/>
                  </a:cubicBezTo>
                  <a:cubicBezTo>
                    <a:pt x="0" y="1702"/>
                    <a:pt x="13" y="1739"/>
                    <a:pt x="45" y="1765"/>
                  </a:cubicBezTo>
                  <a:cubicBezTo>
                    <a:pt x="78" y="1792"/>
                    <a:pt x="53" y="1832"/>
                    <a:pt x="81" y="1868"/>
                  </a:cubicBezTo>
                  <a:cubicBezTo>
                    <a:pt x="109" y="1905"/>
                    <a:pt x="100" y="1932"/>
                    <a:pt x="131" y="1959"/>
                  </a:cubicBezTo>
                  <a:cubicBezTo>
                    <a:pt x="162" y="1985"/>
                    <a:pt x="165" y="2000"/>
                    <a:pt x="151" y="2034"/>
                  </a:cubicBezTo>
                  <a:cubicBezTo>
                    <a:pt x="138" y="2068"/>
                    <a:pt x="178" y="2059"/>
                    <a:pt x="179" y="2080"/>
                  </a:cubicBezTo>
                  <a:cubicBezTo>
                    <a:pt x="181" y="2100"/>
                    <a:pt x="171" y="2143"/>
                    <a:pt x="181" y="2164"/>
                  </a:cubicBezTo>
                  <a:cubicBezTo>
                    <a:pt x="191" y="2184"/>
                    <a:pt x="212" y="2164"/>
                    <a:pt x="259" y="2162"/>
                  </a:cubicBezTo>
                  <a:cubicBezTo>
                    <a:pt x="306" y="2161"/>
                    <a:pt x="295" y="2131"/>
                    <a:pt x="296" y="2103"/>
                  </a:cubicBezTo>
                  <a:cubicBezTo>
                    <a:pt x="298" y="2075"/>
                    <a:pt x="321" y="2088"/>
                    <a:pt x="327" y="2071"/>
                  </a:cubicBezTo>
                  <a:cubicBezTo>
                    <a:pt x="333" y="2053"/>
                    <a:pt x="376" y="2049"/>
                    <a:pt x="410" y="2063"/>
                  </a:cubicBezTo>
                  <a:cubicBezTo>
                    <a:pt x="444" y="2078"/>
                    <a:pt x="461" y="2053"/>
                    <a:pt x="467" y="2018"/>
                  </a:cubicBezTo>
                  <a:cubicBezTo>
                    <a:pt x="473" y="1982"/>
                    <a:pt x="492" y="2025"/>
                    <a:pt x="503" y="2032"/>
                  </a:cubicBezTo>
                  <a:cubicBezTo>
                    <a:pt x="513" y="2040"/>
                    <a:pt x="544" y="1978"/>
                    <a:pt x="559" y="1938"/>
                  </a:cubicBezTo>
                  <a:cubicBezTo>
                    <a:pt x="573" y="1898"/>
                    <a:pt x="557" y="1905"/>
                    <a:pt x="523" y="1944"/>
                  </a:cubicBezTo>
                  <a:cubicBezTo>
                    <a:pt x="489" y="1982"/>
                    <a:pt x="509" y="1905"/>
                    <a:pt x="522" y="1874"/>
                  </a:cubicBezTo>
                  <a:cubicBezTo>
                    <a:pt x="535" y="1843"/>
                    <a:pt x="534" y="1753"/>
                    <a:pt x="538" y="1733"/>
                  </a:cubicBezTo>
                  <a:cubicBezTo>
                    <a:pt x="543" y="1712"/>
                    <a:pt x="551" y="1681"/>
                    <a:pt x="594" y="1672"/>
                  </a:cubicBezTo>
                  <a:cubicBezTo>
                    <a:pt x="637" y="1663"/>
                    <a:pt x="693" y="1610"/>
                    <a:pt x="684" y="1588"/>
                  </a:cubicBezTo>
                  <a:cubicBezTo>
                    <a:pt x="675" y="1566"/>
                    <a:pt x="743" y="1529"/>
                    <a:pt x="743" y="1507"/>
                  </a:cubicBezTo>
                  <a:cubicBezTo>
                    <a:pt x="743" y="1485"/>
                    <a:pt x="672" y="1417"/>
                    <a:pt x="649" y="1402"/>
                  </a:cubicBezTo>
                  <a:cubicBezTo>
                    <a:pt x="625" y="1387"/>
                    <a:pt x="574" y="1399"/>
                    <a:pt x="578" y="1383"/>
                  </a:cubicBezTo>
                  <a:cubicBezTo>
                    <a:pt x="582" y="1367"/>
                    <a:pt x="572" y="1303"/>
                    <a:pt x="566" y="1271"/>
                  </a:cubicBezTo>
                  <a:cubicBezTo>
                    <a:pt x="560" y="1238"/>
                    <a:pt x="603" y="1204"/>
                    <a:pt x="603" y="1173"/>
                  </a:cubicBezTo>
                  <a:cubicBezTo>
                    <a:pt x="603" y="1142"/>
                    <a:pt x="602" y="1107"/>
                    <a:pt x="630" y="1097"/>
                  </a:cubicBezTo>
                  <a:cubicBezTo>
                    <a:pt x="658" y="1086"/>
                    <a:pt x="640" y="1060"/>
                    <a:pt x="677" y="1051"/>
                  </a:cubicBezTo>
                  <a:cubicBezTo>
                    <a:pt x="714" y="1042"/>
                    <a:pt x="706" y="989"/>
                    <a:pt x="746" y="973"/>
                  </a:cubicBezTo>
                  <a:cubicBezTo>
                    <a:pt x="786" y="957"/>
                    <a:pt x="789" y="943"/>
                    <a:pt x="841" y="918"/>
                  </a:cubicBezTo>
                  <a:cubicBezTo>
                    <a:pt x="892" y="893"/>
                    <a:pt x="979" y="834"/>
                    <a:pt x="994" y="803"/>
                  </a:cubicBezTo>
                  <a:cubicBezTo>
                    <a:pt x="1009" y="772"/>
                    <a:pt x="941" y="740"/>
                    <a:pt x="984" y="707"/>
                  </a:cubicBezTo>
                  <a:cubicBezTo>
                    <a:pt x="1027" y="675"/>
                    <a:pt x="991" y="638"/>
                    <a:pt x="1022" y="626"/>
                  </a:cubicBezTo>
                  <a:cubicBezTo>
                    <a:pt x="1053" y="614"/>
                    <a:pt x="1065" y="598"/>
                    <a:pt x="1087" y="574"/>
                  </a:cubicBezTo>
                  <a:cubicBezTo>
                    <a:pt x="1109" y="551"/>
                    <a:pt x="1139" y="573"/>
                    <a:pt x="1192" y="564"/>
                  </a:cubicBezTo>
                  <a:cubicBezTo>
                    <a:pt x="1211" y="561"/>
                    <a:pt x="1229" y="562"/>
                    <a:pt x="1246" y="566"/>
                  </a:cubicBezTo>
                  <a:cubicBezTo>
                    <a:pt x="1244" y="543"/>
                    <a:pt x="1238" y="524"/>
                    <a:pt x="1232" y="517"/>
                  </a:cubicBezTo>
                  <a:close/>
                  <a:moveTo>
                    <a:pt x="733" y="1815"/>
                  </a:moveTo>
                  <a:cubicBezTo>
                    <a:pt x="677" y="1817"/>
                    <a:pt x="651" y="1927"/>
                    <a:pt x="665" y="1945"/>
                  </a:cubicBezTo>
                  <a:cubicBezTo>
                    <a:pt x="677" y="1960"/>
                    <a:pt x="789" y="1814"/>
                    <a:pt x="733" y="18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8" name="Freeform 138"/>
            <p:cNvSpPr>
              <a:spLocks noEditPoints="1"/>
            </p:cNvSpPr>
            <p:nvPr/>
          </p:nvSpPr>
          <p:spPr bwMode="auto">
            <a:xfrm>
              <a:off x="12751575" y="5355296"/>
              <a:ext cx="316647" cy="155810"/>
            </a:xfrm>
            <a:custGeom>
              <a:avLst/>
              <a:gdLst>
                <a:gd name="T0" fmla="*/ 583 w 627"/>
                <a:gd name="T1" fmla="*/ 85 h 308"/>
                <a:gd name="T2" fmla="*/ 603 w 627"/>
                <a:gd name="T3" fmla="*/ 20 h 308"/>
                <a:gd name="T4" fmla="*/ 582 w 627"/>
                <a:gd name="T5" fmla="*/ 30 h 308"/>
                <a:gd name="T6" fmla="*/ 393 w 627"/>
                <a:gd name="T7" fmla="*/ 11 h 308"/>
                <a:gd name="T8" fmla="*/ 207 w 627"/>
                <a:gd name="T9" fmla="*/ 48 h 308"/>
                <a:gd name="T10" fmla="*/ 146 w 627"/>
                <a:gd name="T11" fmla="*/ 105 h 308"/>
                <a:gd name="T12" fmla="*/ 167 w 627"/>
                <a:gd name="T13" fmla="*/ 169 h 308"/>
                <a:gd name="T14" fmla="*/ 226 w 627"/>
                <a:gd name="T15" fmla="*/ 202 h 308"/>
                <a:gd name="T16" fmla="*/ 246 w 627"/>
                <a:gd name="T17" fmla="*/ 242 h 308"/>
                <a:gd name="T18" fmla="*/ 245 w 627"/>
                <a:gd name="T19" fmla="*/ 244 h 308"/>
                <a:gd name="T20" fmla="*/ 353 w 627"/>
                <a:gd name="T21" fmla="*/ 242 h 308"/>
                <a:gd name="T22" fmla="*/ 453 w 627"/>
                <a:gd name="T23" fmla="*/ 301 h 308"/>
                <a:gd name="T24" fmla="*/ 548 w 627"/>
                <a:gd name="T25" fmla="*/ 308 h 308"/>
                <a:gd name="T26" fmla="*/ 552 w 627"/>
                <a:gd name="T27" fmla="*/ 280 h 308"/>
                <a:gd name="T28" fmla="*/ 579 w 627"/>
                <a:gd name="T29" fmla="*/ 247 h 308"/>
                <a:gd name="T30" fmla="*/ 556 w 627"/>
                <a:gd name="T31" fmla="*/ 194 h 308"/>
                <a:gd name="T32" fmla="*/ 550 w 627"/>
                <a:gd name="T33" fmla="*/ 136 h 308"/>
                <a:gd name="T34" fmla="*/ 583 w 627"/>
                <a:gd name="T35" fmla="*/ 85 h 308"/>
                <a:gd name="T36" fmla="*/ 61 w 627"/>
                <a:gd name="T37" fmla="*/ 157 h 308"/>
                <a:gd name="T38" fmla="*/ 21 w 627"/>
                <a:gd name="T39" fmla="*/ 244 h 308"/>
                <a:gd name="T40" fmla="*/ 124 w 627"/>
                <a:gd name="T41" fmla="*/ 176 h 308"/>
                <a:gd name="T42" fmla="*/ 61 w 627"/>
                <a:gd name="T43" fmla="*/ 157 h 308"/>
                <a:gd name="T44" fmla="*/ 105 w 627"/>
                <a:gd name="T45" fmla="*/ 114 h 308"/>
                <a:gd name="T46" fmla="*/ 41 w 627"/>
                <a:gd name="T47" fmla="*/ 121 h 308"/>
                <a:gd name="T48" fmla="*/ 105 w 627"/>
                <a:gd name="T49" fmla="*/ 11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7" h="308">
                  <a:moveTo>
                    <a:pt x="583" y="85"/>
                  </a:moveTo>
                  <a:cubicBezTo>
                    <a:pt x="595" y="59"/>
                    <a:pt x="627" y="54"/>
                    <a:pt x="603" y="20"/>
                  </a:cubicBezTo>
                  <a:cubicBezTo>
                    <a:pt x="599" y="23"/>
                    <a:pt x="592" y="27"/>
                    <a:pt x="582" y="30"/>
                  </a:cubicBezTo>
                  <a:cubicBezTo>
                    <a:pt x="539" y="42"/>
                    <a:pt x="446" y="0"/>
                    <a:pt x="393" y="11"/>
                  </a:cubicBezTo>
                  <a:cubicBezTo>
                    <a:pt x="339" y="21"/>
                    <a:pt x="232" y="21"/>
                    <a:pt x="207" y="48"/>
                  </a:cubicBezTo>
                  <a:cubicBezTo>
                    <a:pt x="182" y="74"/>
                    <a:pt x="118" y="81"/>
                    <a:pt x="146" y="105"/>
                  </a:cubicBezTo>
                  <a:cubicBezTo>
                    <a:pt x="174" y="129"/>
                    <a:pt x="146" y="141"/>
                    <a:pt x="167" y="169"/>
                  </a:cubicBezTo>
                  <a:cubicBezTo>
                    <a:pt x="188" y="197"/>
                    <a:pt x="198" y="208"/>
                    <a:pt x="226" y="202"/>
                  </a:cubicBezTo>
                  <a:cubicBezTo>
                    <a:pt x="254" y="197"/>
                    <a:pt x="276" y="211"/>
                    <a:pt x="246" y="242"/>
                  </a:cubicBezTo>
                  <a:cubicBezTo>
                    <a:pt x="246" y="243"/>
                    <a:pt x="246" y="243"/>
                    <a:pt x="245" y="244"/>
                  </a:cubicBezTo>
                  <a:cubicBezTo>
                    <a:pt x="293" y="240"/>
                    <a:pt x="345" y="237"/>
                    <a:pt x="353" y="242"/>
                  </a:cubicBezTo>
                  <a:cubicBezTo>
                    <a:pt x="365" y="251"/>
                    <a:pt x="435" y="307"/>
                    <a:pt x="453" y="301"/>
                  </a:cubicBezTo>
                  <a:cubicBezTo>
                    <a:pt x="464" y="298"/>
                    <a:pt x="512" y="303"/>
                    <a:pt x="548" y="308"/>
                  </a:cubicBezTo>
                  <a:cubicBezTo>
                    <a:pt x="544" y="297"/>
                    <a:pt x="545" y="286"/>
                    <a:pt x="552" y="280"/>
                  </a:cubicBezTo>
                  <a:cubicBezTo>
                    <a:pt x="565" y="269"/>
                    <a:pt x="594" y="269"/>
                    <a:pt x="579" y="247"/>
                  </a:cubicBezTo>
                  <a:cubicBezTo>
                    <a:pt x="563" y="225"/>
                    <a:pt x="559" y="220"/>
                    <a:pt x="556" y="194"/>
                  </a:cubicBezTo>
                  <a:cubicBezTo>
                    <a:pt x="554" y="167"/>
                    <a:pt x="548" y="154"/>
                    <a:pt x="550" y="136"/>
                  </a:cubicBezTo>
                  <a:cubicBezTo>
                    <a:pt x="552" y="118"/>
                    <a:pt x="570" y="114"/>
                    <a:pt x="583" y="85"/>
                  </a:cubicBezTo>
                  <a:close/>
                  <a:moveTo>
                    <a:pt x="61" y="157"/>
                  </a:moveTo>
                  <a:cubicBezTo>
                    <a:pt x="7" y="172"/>
                    <a:pt x="0" y="245"/>
                    <a:pt x="21" y="244"/>
                  </a:cubicBezTo>
                  <a:cubicBezTo>
                    <a:pt x="47" y="242"/>
                    <a:pt x="108" y="192"/>
                    <a:pt x="124" y="176"/>
                  </a:cubicBezTo>
                  <a:cubicBezTo>
                    <a:pt x="140" y="160"/>
                    <a:pt x="114" y="142"/>
                    <a:pt x="61" y="157"/>
                  </a:cubicBezTo>
                  <a:close/>
                  <a:moveTo>
                    <a:pt x="105" y="114"/>
                  </a:moveTo>
                  <a:cubicBezTo>
                    <a:pt x="117" y="92"/>
                    <a:pt x="20" y="102"/>
                    <a:pt x="41" y="121"/>
                  </a:cubicBezTo>
                  <a:cubicBezTo>
                    <a:pt x="58" y="136"/>
                    <a:pt x="93" y="136"/>
                    <a:pt x="105" y="11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13336282" y="8570345"/>
              <a:ext cx="405441" cy="492561"/>
            </a:xfrm>
            <a:custGeom>
              <a:avLst/>
              <a:gdLst>
                <a:gd name="T0" fmla="*/ 709 w 803"/>
                <a:gd name="T1" fmla="*/ 225 h 977"/>
                <a:gd name="T2" fmla="*/ 755 w 803"/>
                <a:gd name="T3" fmla="*/ 153 h 977"/>
                <a:gd name="T4" fmla="*/ 803 w 803"/>
                <a:gd name="T5" fmla="*/ 83 h 977"/>
                <a:gd name="T6" fmla="*/ 753 w 803"/>
                <a:gd name="T7" fmla="*/ 97 h 977"/>
                <a:gd name="T8" fmla="*/ 704 w 803"/>
                <a:gd name="T9" fmla="*/ 77 h 977"/>
                <a:gd name="T10" fmla="*/ 618 w 803"/>
                <a:gd name="T11" fmla="*/ 95 h 977"/>
                <a:gd name="T12" fmla="*/ 552 w 803"/>
                <a:gd name="T13" fmla="*/ 148 h 977"/>
                <a:gd name="T14" fmla="*/ 436 w 803"/>
                <a:gd name="T15" fmla="*/ 128 h 977"/>
                <a:gd name="T16" fmla="*/ 321 w 803"/>
                <a:gd name="T17" fmla="*/ 62 h 977"/>
                <a:gd name="T18" fmla="*/ 219 w 803"/>
                <a:gd name="T19" fmla="*/ 42 h 977"/>
                <a:gd name="T20" fmla="*/ 162 w 803"/>
                <a:gd name="T21" fmla="*/ 13 h 977"/>
                <a:gd name="T22" fmla="*/ 102 w 803"/>
                <a:gd name="T23" fmla="*/ 6 h 977"/>
                <a:gd name="T24" fmla="*/ 22 w 803"/>
                <a:gd name="T25" fmla="*/ 60 h 977"/>
                <a:gd name="T26" fmla="*/ 10 w 803"/>
                <a:gd name="T27" fmla="*/ 76 h 977"/>
                <a:gd name="T28" fmla="*/ 55 w 803"/>
                <a:gd name="T29" fmla="*/ 117 h 977"/>
                <a:gd name="T30" fmla="*/ 65 w 803"/>
                <a:gd name="T31" fmla="*/ 189 h 977"/>
                <a:gd name="T32" fmla="*/ 106 w 803"/>
                <a:gd name="T33" fmla="*/ 225 h 977"/>
                <a:gd name="T34" fmla="*/ 101 w 803"/>
                <a:gd name="T35" fmla="*/ 306 h 977"/>
                <a:gd name="T36" fmla="*/ 35 w 803"/>
                <a:gd name="T37" fmla="*/ 424 h 977"/>
                <a:gd name="T38" fmla="*/ 5 w 803"/>
                <a:gd name="T39" fmla="*/ 486 h 977"/>
                <a:gd name="T40" fmla="*/ 71 w 803"/>
                <a:gd name="T41" fmla="*/ 522 h 977"/>
                <a:gd name="T42" fmla="*/ 0 w 803"/>
                <a:gd name="T43" fmla="*/ 586 h 977"/>
                <a:gd name="T44" fmla="*/ 0 w 803"/>
                <a:gd name="T45" fmla="*/ 597 h 977"/>
                <a:gd name="T46" fmla="*/ 377 w 803"/>
                <a:gd name="T47" fmla="*/ 797 h 977"/>
                <a:gd name="T48" fmla="*/ 372 w 803"/>
                <a:gd name="T49" fmla="*/ 858 h 977"/>
                <a:gd name="T50" fmla="*/ 539 w 803"/>
                <a:gd name="T51" fmla="*/ 977 h 977"/>
                <a:gd name="T52" fmla="*/ 637 w 803"/>
                <a:gd name="T53" fmla="*/ 760 h 977"/>
                <a:gd name="T54" fmla="*/ 701 w 803"/>
                <a:gd name="T55" fmla="*/ 708 h 977"/>
                <a:gd name="T56" fmla="*/ 755 w 803"/>
                <a:gd name="T57" fmla="*/ 673 h 977"/>
                <a:gd name="T58" fmla="*/ 764 w 803"/>
                <a:gd name="T59" fmla="*/ 661 h 977"/>
                <a:gd name="T60" fmla="*/ 714 w 803"/>
                <a:gd name="T61" fmla="*/ 582 h 977"/>
                <a:gd name="T62" fmla="*/ 709 w 803"/>
                <a:gd name="T63" fmla="*/ 225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03" h="977">
                  <a:moveTo>
                    <a:pt x="709" y="225"/>
                  </a:moveTo>
                  <a:cubicBezTo>
                    <a:pt x="755" y="153"/>
                    <a:pt x="755" y="153"/>
                    <a:pt x="755" y="153"/>
                  </a:cubicBezTo>
                  <a:cubicBezTo>
                    <a:pt x="803" y="83"/>
                    <a:pt x="803" y="83"/>
                    <a:pt x="803" y="83"/>
                  </a:cubicBezTo>
                  <a:cubicBezTo>
                    <a:pt x="780" y="88"/>
                    <a:pt x="760" y="94"/>
                    <a:pt x="753" y="97"/>
                  </a:cubicBezTo>
                  <a:cubicBezTo>
                    <a:pt x="735" y="106"/>
                    <a:pt x="711" y="93"/>
                    <a:pt x="704" y="77"/>
                  </a:cubicBezTo>
                  <a:cubicBezTo>
                    <a:pt x="698" y="62"/>
                    <a:pt x="653" y="75"/>
                    <a:pt x="618" y="95"/>
                  </a:cubicBezTo>
                  <a:cubicBezTo>
                    <a:pt x="583" y="115"/>
                    <a:pt x="565" y="157"/>
                    <a:pt x="552" y="148"/>
                  </a:cubicBezTo>
                  <a:cubicBezTo>
                    <a:pt x="538" y="139"/>
                    <a:pt x="459" y="128"/>
                    <a:pt x="436" y="128"/>
                  </a:cubicBezTo>
                  <a:cubicBezTo>
                    <a:pt x="414" y="128"/>
                    <a:pt x="343" y="82"/>
                    <a:pt x="321" y="62"/>
                  </a:cubicBezTo>
                  <a:cubicBezTo>
                    <a:pt x="299" y="42"/>
                    <a:pt x="235" y="51"/>
                    <a:pt x="219" y="42"/>
                  </a:cubicBezTo>
                  <a:cubicBezTo>
                    <a:pt x="204" y="33"/>
                    <a:pt x="173" y="26"/>
                    <a:pt x="162" y="13"/>
                  </a:cubicBezTo>
                  <a:cubicBezTo>
                    <a:pt x="151" y="0"/>
                    <a:pt x="124" y="2"/>
                    <a:pt x="102" y="6"/>
                  </a:cubicBezTo>
                  <a:cubicBezTo>
                    <a:pt x="80" y="11"/>
                    <a:pt x="27" y="42"/>
                    <a:pt x="22" y="60"/>
                  </a:cubicBezTo>
                  <a:cubicBezTo>
                    <a:pt x="21" y="65"/>
                    <a:pt x="16" y="71"/>
                    <a:pt x="10" y="76"/>
                  </a:cubicBezTo>
                  <a:cubicBezTo>
                    <a:pt x="55" y="117"/>
                    <a:pt x="55" y="117"/>
                    <a:pt x="55" y="117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106" y="225"/>
                    <a:pt x="106" y="225"/>
                    <a:pt x="106" y="225"/>
                  </a:cubicBezTo>
                  <a:cubicBezTo>
                    <a:pt x="106" y="225"/>
                    <a:pt x="106" y="265"/>
                    <a:pt x="101" y="306"/>
                  </a:cubicBezTo>
                  <a:cubicBezTo>
                    <a:pt x="96" y="347"/>
                    <a:pt x="60" y="398"/>
                    <a:pt x="35" y="424"/>
                  </a:cubicBezTo>
                  <a:cubicBezTo>
                    <a:pt x="27" y="431"/>
                    <a:pt x="16" y="456"/>
                    <a:pt x="5" y="486"/>
                  </a:cubicBezTo>
                  <a:cubicBezTo>
                    <a:pt x="44" y="496"/>
                    <a:pt x="73" y="510"/>
                    <a:pt x="71" y="522"/>
                  </a:cubicBezTo>
                  <a:cubicBezTo>
                    <a:pt x="67" y="547"/>
                    <a:pt x="0" y="536"/>
                    <a:pt x="0" y="586"/>
                  </a:cubicBezTo>
                  <a:cubicBezTo>
                    <a:pt x="0" y="590"/>
                    <a:pt x="0" y="593"/>
                    <a:pt x="0" y="597"/>
                  </a:cubicBezTo>
                  <a:cubicBezTo>
                    <a:pt x="377" y="797"/>
                    <a:pt x="377" y="797"/>
                    <a:pt x="377" y="797"/>
                  </a:cubicBezTo>
                  <a:cubicBezTo>
                    <a:pt x="372" y="858"/>
                    <a:pt x="372" y="858"/>
                    <a:pt x="372" y="858"/>
                  </a:cubicBezTo>
                  <a:cubicBezTo>
                    <a:pt x="372" y="858"/>
                    <a:pt x="457" y="920"/>
                    <a:pt x="539" y="977"/>
                  </a:cubicBezTo>
                  <a:cubicBezTo>
                    <a:pt x="576" y="883"/>
                    <a:pt x="624" y="779"/>
                    <a:pt x="637" y="760"/>
                  </a:cubicBezTo>
                  <a:cubicBezTo>
                    <a:pt x="659" y="726"/>
                    <a:pt x="681" y="732"/>
                    <a:pt x="701" y="708"/>
                  </a:cubicBezTo>
                  <a:cubicBezTo>
                    <a:pt x="720" y="685"/>
                    <a:pt x="726" y="720"/>
                    <a:pt x="755" y="673"/>
                  </a:cubicBezTo>
                  <a:cubicBezTo>
                    <a:pt x="758" y="669"/>
                    <a:pt x="760" y="665"/>
                    <a:pt x="764" y="661"/>
                  </a:cubicBezTo>
                  <a:cubicBezTo>
                    <a:pt x="714" y="582"/>
                    <a:pt x="714" y="582"/>
                    <a:pt x="714" y="582"/>
                  </a:cubicBezTo>
                  <a:lnTo>
                    <a:pt x="709" y="225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13115133" y="8608878"/>
              <a:ext cx="274762" cy="284814"/>
            </a:xfrm>
            <a:custGeom>
              <a:avLst/>
              <a:gdLst>
                <a:gd name="T0" fmla="*/ 504 w 545"/>
                <a:gd name="T1" fmla="*/ 113 h 564"/>
                <a:gd name="T2" fmla="*/ 494 w 545"/>
                <a:gd name="T3" fmla="*/ 41 h 564"/>
                <a:gd name="T4" fmla="*/ 449 w 545"/>
                <a:gd name="T5" fmla="*/ 0 h 564"/>
                <a:gd name="T6" fmla="*/ 415 w 545"/>
                <a:gd name="T7" fmla="*/ 32 h 564"/>
                <a:gd name="T8" fmla="*/ 353 w 545"/>
                <a:gd name="T9" fmla="*/ 37 h 564"/>
                <a:gd name="T10" fmla="*/ 280 w 545"/>
                <a:gd name="T11" fmla="*/ 61 h 564"/>
                <a:gd name="T12" fmla="*/ 218 w 545"/>
                <a:gd name="T13" fmla="*/ 39 h 564"/>
                <a:gd name="T14" fmla="*/ 143 w 545"/>
                <a:gd name="T15" fmla="*/ 61 h 564"/>
                <a:gd name="T16" fmla="*/ 134 w 545"/>
                <a:gd name="T17" fmla="*/ 147 h 564"/>
                <a:gd name="T18" fmla="*/ 167 w 545"/>
                <a:gd name="T19" fmla="*/ 196 h 564"/>
                <a:gd name="T20" fmla="*/ 138 w 545"/>
                <a:gd name="T21" fmla="*/ 247 h 564"/>
                <a:gd name="T22" fmla="*/ 96 w 545"/>
                <a:gd name="T23" fmla="*/ 276 h 564"/>
                <a:gd name="T24" fmla="*/ 59 w 545"/>
                <a:gd name="T25" fmla="*/ 331 h 564"/>
                <a:gd name="T26" fmla="*/ 34 w 545"/>
                <a:gd name="T27" fmla="*/ 402 h 564"/>
                <a:gd name="T28" fmla="*/ 17 w 545"/>
                <a:gd name="T29" fmla="*/ 488 h 564"/>
                <a:gd name="T30" fmla="*/ 0 w 545"/>
                <a:gd name="T31" fmla="*/ 561 h 564"/>
                <a:gd name="T32" fmla="*/ 50 w 545"/>
                <a:gd name="T33" fmla="*/ 552 h 564"/>
                <a:gd name="T34" fmla="*/ 152 w 545"/>
                <a:gd name="T35" fmla="*/ 522 h 564"/>
                <a:gd name="T36" fmla="*/ 235 w 545"/>
                <a:gd name="T37" fmla="*/ 515 h 564"/>
                <a:gd name="T38" fmla="*/ 311 w 545"/>
                <a:gd name="T39" fmla="*/ 406 h 564"/>
                <a:gd name="T40" fmla="*/ 444 w 545"/>
                <a:gd name="T41" fmla="*/ 410 h 564"/>
                <a:gd name="T42" fmla="*/ 474 w 545"/>
                <a:gd name="T43" fmla="*/ 348 h 564"/>
                <a:gd name="T44" fmla="*/ 540 w 545"/>
                <a:gd name="T45" fmla="*/ 230 h 564"/>
                <a:gd name="T46" fmla="*/ 545 w 545"/>
                <a:gd name="T47" fmla="*/ 149 h 564"/>
                <a:gd name="T48" fmla="*/ 504 w 545"/>
                <a:gd name="T49" fmla="*/ 113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5" h="564">
                  <a:moveTo>
                    <a:pt x="504" y="113"/>
                  </a:moveTo>
                  <a:cubicBezTo>
                    <a:pt x="494" y="41"/>
                    <a:pt x="494" y="41"/>
                    <a:pt x="494" y="41"/>
                  </a:cubicBezTo>
                  <a:cubicBezTo>
                    <a:pt x="449" y="0"/>
                    <a:pt x="449" y="0"/>
                    <a:pt x="449" y="0"/>
                  </a:cubicBezTo>
                  <a:cubicBezTo>
                    <a:pt x="435" y="11"/>
                    <a:pt x="416" y="22"/>
                    <a:pt x="415" y="32"/>
                  </a:cubicBezTo>
                  <a:cubicBezTo>
                    <a:pt x="413" y="48"/>
                    <a:pt x="371" y="46"/>
                    <a:pt x="353" y="37"/>
                  </a:cubicBezTo>
                  <a:cubicBezTo>
                    <a:pt x="335" y="28"/>
                    <a:pt x="289" y="48"/>
                    <a:pt x="280" y="61"/>
                  </a:cubicBezTo>
                  <a:cubicBezTo>
                    <a:pt x="271" y="74"/>
                    <a:pt x="240" y="37"/>
                    <a:pt x="218" y="39"/>
                  </a:cubicBezTo>
                  <a:cubicBezTo>
                    <a:pt x="196" y="41"/>
                    <a:pt x="143" y="61"/>
                    <a:pt x="143" y="61"/>
                  </a:cubicBezTo>
                  <a:cubicBezTo>
                    <a:pt x="143" y="61"/>
                    <a:pt x="134" y="123"/>
                    <a:pt x="134" y="147"/>
                  </a:cubicBezTo>
                  <a:cubicBezTo>
                    <a:pt x="134" y="172"/>
                    <a:pt x="167" y="176"/>
                    <a:pt x="167" y="196"/>
                  </a:cubicBezTo>
                  <a:cubicBezTo>
                    <a:pt x="167" y="216"/>
                    <a:pt x="141" y="234"/>
                    <a:pt x="138" y="247"/>
                  </a:cubicBezTo>
                  <a:cubicBezTo>
                    <a:pt x="136" y="260"/>
                    <a:pt x="118" y="269"/>
                    <a:pt x="96" y="276"/>
                  </a:cubicBezTo>
                  <a:cubicBezTo>
                    <a:pt x="74" y="282"/>
                    <a:pt x="76" y="318"/>
                    <a:pt x="59" y="331"/>
                  </a:cubicBezTo>
                  <a:cubicBezTo>
                    <a:pt x="41" y="344"/>
                    <a:pt x="45" y="378"/>
                    <a:pt x="34" y="402"/>
                  </a:cubicBezTo>
                  <a:cubicBezTo>
                    <a:pt x="23" y="426"/>
                    <a:pt x="17" y="460"/>
                    <a:pt x="17" y="488"/>
                  </a:cubicBezTo>
                  <a:cubicBezTo>
                    <a:pt x="17" y="511"/>
                    <a:pt x="14" y="544"/>
                    <a:pt x="0" y="561"/>
                  </a:cubicBezTo>
                  <a:cubicBezTo>
                    <a:pt x="28" y="564"/>
                    <a:pt x="36" y="559"/>
                    <a:pt x="50" y="552"/>
                  </a:cubicBezTo>
                  <a:cubicBezTo>
                    <a:pt x="70" y="542"/>
                    <a:pt x="152" y="522"/>
                    <a:pt x="152" y="522"/>
                  </a:cubicBezTo>
                  <a:cubicBezTo>
                    <a:pt x="235" y="515"/>
                    <a:pt x="235" y="515"/>
                    <a:pt x="235" y="515"/>
                  </a:cubicBezTo>
                  <a:cubicBezTo>
                    <a:pt x="254" y="463"/>
                    <a:pt x="281" y="415"/>
                    <a:pt x="311" y="406"/>
                  </a:cubicBezTo>
                  <a:cubicBezTo>
                    <a:pt x="350" y="395"/>
                    <a:pt x="403" y="400"/>
                    <a:pt x="444" y="410"/>
                  </a:cubicBezTo>
                  <a:cubicBezTo>
                    <a:pt x="455" y="380"/>
                    <a:pt x="466" y="355"/>
                    <a:pt x="474" y="348"/>
                  </a:cubicBezTo>
                  <a:cubicBezTo>
                    <a:pt x="499" y="322"/>
                    <a:pt x="535" y="271"/>
                    <a:pt x="540" y="230"/>
                  </a:cubicBezTo>
                  <a:cubicBezTo>
                    <a:pt x="545" y="189"/>
                    <a:pt x="545" y="149"/>
                    <a:pt x="545" y="149"/>
                  </a:cubicBezTo>
                  <a:lnTo>
                    <a:pt x="504" y="113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14472188" y="6333717"/>
              <a:ext cx="892976" cy="521042"/>
            </a:xfrm>
            <a:custGeom>
              <a:avLst/>
              <a:gdLst>
                <a:gd name="T0" fmla="*/ 1720 w 1767"/>
                <a:gd name="T1" fmla="*/ 579 h 1032"/>
                <a:gd name="T2" fmla="*/ 1582 w 1767"/>
                <a:gd name="T3" fmla="*/ 516 h 1032"/>
                <a:gd name="T4" fmla="*/ 1503 w 1767"/>
                <a:gd name="T5" fmla="*/ 520 h 1032"/>
                <a:gd name="T6" fmla="*/ 1408 w 1767"/>
                <a:gd name="T7" fmla="*/ 493 h 1032"/>
                <a:gd name="T8" fmla="*/ 1306 w 1767"/>
                <a:gd name="T9" fmla="*/ 571 h 1032"/>
                <a:gd name="T10" fmla="*/ 1259 w 1767"/>
                <a:gd name="T11" fmla="*/ 587 h 1032"/>
                <a:gd name="T12" fmla="*/ 1176 w 1767"/>
                <a:gd name="T13" fmla="*/ 536 h 1032"/>
                <a:gd name="T14" fmla="*/ 1089 w 1767"/>
                <a:gd name="T15" fmla="*/ 512 h 1032"/>
                <a:gd name="T16" fmla="*/ 1034 w 1767"/>
                <a:gd name="T17" fmla="*/ 410 h 1032"/>
                <a:gd name="T18" fmla="*/ 1010 w 1767"/>
                <a:gd name="T19" fmla="*/ 315 h 1032"/>
                <a:gd name="T20" fmla="*/ 932 w 1767"/>
                <a:gd name="T21" fmla="*/ 256 h 1032"/>
                <a:gd name="T22" fmla="*/ 731 w 1767"/>
                <a:gd name="T23" fmla="*/ 248 h 1032"/>
                <a:gd name="T24" fmla="*/ 600 w 1767"/>
                <a:gd name="T25" fmla="*/ 256 h 1032"/>
                <a:gd name="T26" fmla="*/ 484 w 1767"/>
                <a:gd name="T27" fmla="*/ 129 h 1032"/>
                <a:gd name="T28" fmla="*/ 454 w 1767"/>
                <a:gd name="T29" fmla="*/ 172 h 1032"/>
                <a:gd name="T30" fmla="*/ 333 w 1767"/>
                <a:gd name="T31" fmla="*/ 151 h 1032"/>
                <a:gd name="T32" fmla="*/ 321 w 1767"/>
                <a:gd name="T33" fmla="*/ 9 h 1032"/>
                <a:gd name="T34" fmla="*/ 280 w 1767"/>
                <a:gd name="T35" fmla="*/ 154 h 1032"/>
                <a:gd name="T36" fmla="*/ 266 w 1767"/>
                <a:gd name="T37" fmla="*/ 0 h 1032"/>
                <a:gd name="T38" fmla="*/ 13 w 1767"/>
                <a:gd name="T39" fmla="*/ 67 h 1032"/>
                <a:gd name="T40" fmla="*/ 1 w 1767"/>
                <a:gd name="T41" fmla="*/ 508 h 1032"/>
                <a:gd name="T42" fmla="*/ 0 w 1767"/>
                <a:gd name="T43" fmla="*/ 509 h 1032"/>
                <a:gd name="T44" fmla="*/ 71 w 1767"/>
                <a:gd name="T45" fmla="*/ 526 h 1032"/>
                <a:gd name="T46" fmla="*/ 106 w 1767"/>
                <a:gd name="T47" fmla="*/ 479 h 1032"/>
                <a:gd name="T48" fmla="*/ 177 w 1767"/>
                <a:gd name="T49" fmla="*/ 426 h 1032"/>
                <a:gd name="T50" fmla="*/ 212 w 1767"/>
                <a:gd name="T51" fmla="*/ 387 h 1032"/>
                <a:gd name="T52" fmla="*/ 253 w 1767"/>
                <a:gd name="T53" fmla="*/ 367 h 1032"/>
                <a:gd name="T54" fmla="*/ 324 w 1767"/>
                <a:gd name="T55" fmla="*/ 384 h 1032"/>
                <a:gd name="T56" fmla="*/ 401 w 1767"/>
                <a:gd name="T57" fmla="*/ 411 h 1032"/>
                <a:gd name="T58" fmla="*/ 436 w 1767"/>
                <a:gd name="T59" fmla="*/ 517 h 1032"/>
                <a:gd name="T60" fmla="*/ 584 w 1767"/>
                <a:gd name="T61" fmla="*/ 535 h 1032"/>
                <a:gd name="T62" fmla="*/ 625 w 1767"/>
                <a:gd name="T63" fmla="*/ 600 h 1032"/>
                <a:gd name="T64" fmla="*/ 670 w 1767"/>
                <a:gd name="T65" fmla="*/ 682 h 1032"/>
                <a:gd name="T66" fmla="*/ 770 w 1767"/>
                <a:gd name="T67" fmla="*/ 756 h 1032"/>
                <a:gd name="T68" fmla="*/ 885 w 1767"/>
                <a:gd name="T69" fmla="*/ 824 h 1032"/>
                <a:gd name="T70" fmla="*/ 988 w 1767"/>
                <a:gd name="T71" fmla="*/ 892 h 1032"/>
                <a:gd name="T72" fmla="*/ 1077 w 1767"/>
                <a:gd name="T73" fmla="*/ 921 h 1032"/>
                <a:gd name="T74" fmla="*/ 1085 w 1767"/>
                <a:gd name="T75" fmla="*/ 987 h 1032"/>
                <a:gd name="T76" fmla="*/ 1093 w 1767"/>
                <a:gd name="T77" fmla="*/ 985 h 1032"/>
                <a:gd name="T78" fmla="*/ 1176 w 1767"/>
                <a:gd name="T79" fmla="*/ 1013 h 1032"/>
                <a:gd name="T80" fmla="*/ 1216 w 1767"/>
                <a:gd name="T81" fmla="*/ 1032 h 1032"/>
                <a:gd name="T82" fmla="*/ 1257 w 1767"/>
                <a:gd name="T83" fmla="*/ 927 h 1032"/>
                <a:gd name="T84" fmla="*/ 1245 w 1767"/>
                <a:gd name="T85" fmla="*/ 839 h 1032"/>
                <a:gd name="T86" fmla="*/ 1183 w 1767"/>
                <a:gd name="T87" fmla="*/ 762 h 1032"/>
                <a:gd name="T88" fmla="*/ 1278 w 1767"/>
                <a:gd name="T89" fmla="*/ 727 h 1032"/>
                <a:gd name="T90" fmla="*/ 1310 w 1767"/>
                <a:gd name="T91" fmla="*/ 671 h 1032"/>
                <a:gd name="T92" fmla="*/ 1357 w 1767"/>
                <a:gd name="T93" fmla="*/ 617 h 1032"/>
                <a:gd name="T94" fmla="*/ 1434 w 1767"/>
                <a:gd name="T95" fmla="*/ 600 h 1032"/>
                <a:gd name="T96" fmla="*/ 1502 w 1767"/>
                <a:gd name="T97" fmla="*/ 585 h 1032"/>
                <a:gd name="T98" fmla="*/ 1467 w 1767"/>
                <a:gd name="T99" fmla="*/ 667 h 1032"/>
                <a:gd name="T100" fmla="*/ 1582 w 1767"/>
                <a:gd name="T101" fmla="*/ 646 h 1032"/>
                <a:gd name="T102" fmla="*/ 1676 w 1767"/>
                <a:gd name="T103" fmla="*/ 631 h 1032"/>
                <a:gd name="T104" fmla="*/ 1720 w 1767"/>
                <a:gd name="T105" fmla="*/ 579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67" h="1032">
                  <a:moveTo>
                    <a:pt x="1720" y="579"/>
                  </a:moveTo>
                  <a:cubicBezTo>
                    <a:pt x="1672" y="540"/>
                    <a:pt x="1590" y="493"/>
                    <a:pt x="1582" y="516"/>
                  </a:cubicBezTo>
                  <a:cubicBezTo>
                    <a:pt x="1574" y="540"/>
                    <a:pt x="1523" y="544"/>
                    <a:pt x="1503" y="520"/>
                  </a:cubicBezTo>
                  <a:cubicBezTo>
                    <a:pt x="1483" y="497"/>
                    <a:pt x="1468" y="469"/>
                    <a:pt x="1408" y="493"/>
                  </a:cubicBezTo>
                  <a:cubicBezTo>
                    <a:pt x="1349" y="516"/>
                    <a:pt x="1310" y="548"/>
                    <a:pt x="1306" y="571"/>
                  </a:cubicBezTo>
                  <a:cubicBezTo>
                    <a:pt x="1302" y="595"/>
                    <a:pt x="1263" y="619"/>
                    <a:pt x="1259" y="587"/>
                  </a:cubicBezTo>
                  <a:cubicBezTo>
                    <a:pt x="1255" y="556"/>
                    <a:pt x="1207" y="544"/>
                    <a:pt x="1176" y="536"/>
                  </a:cubicBezTo>
                  <a:cubicBezTo>
                    <a:pt x="1144" y="528"/>
                    <a:pt x="1093" y="544"/>
                    <a:pt x="1089" y="512"/>
                  </a:cubicBezTo>
                  <a:cubicBezTo>
                    <a:pt x="1085" y="481"/>
                    <a:pt x="1038" y="445"/>
                    <a:pt x="1034" y="410"/>
                  </a:cubicBezTo>
                  <a:cubicBezTo>
                    <a:pt x="1030" y="374"/>
                    <a:pt x="1042" y="323"/>
                    <a:pt x="1010" y="315"/>
                  </a:cubicBezTo>
                  <a:cubicBezTo>
                    <a:pt x="979" y="307"/>
                    <a:pt x="959" y="256"/>
                    <a:pt x="932" y="256"/>
                  </a:cubicBezTo>
                  <a:cubicBezTo>
                    <a:pt x="904" y="256"/>
                    <a:pt x="750" y="256"/>
                    <a:pt x="731" y="248"/>
                  </a:cubicBezTo>
                  <a:cubicBezTo>
                    <a:pt x="711" y="240"/>
                    <a:pt x="608" y="280"/>
                    <a:pt x="600" y="256"/>
                  </a:cubicBezTo>
                  <a:cubicBezTo>
                    <a:pt x="594" y="237"/>
                    <a:pt x="523" y="161"/>
                    <a:pt x="484" y="129"/>
                  </a:cubicBezTo>
                  <a:cubicBezTo>
                    <a:pt x="479" y="145"/>
                    <a:pt x="470" y="160"/>
                    <a:pt x="454" y="172"/>
                  </a:cubicBezTo>
                  <a:cubicBezTo>
                    <a:pt x="380" y="225"/>
                    <a:pt x="310" y="216"/>
                    <a:pt x="333" y="151"/>
                  </a:cubicBezTo>
                  <a:cubicBezTo>
                    <a:pt x="357" y="86"/>
                    <a:pt x="360" y="9"/>
                    <a:pt x="321" y="9"/>
                  </a:cubicBezTo>
                  <a:cubicBezTo>
                    <a:pt x="283" y="9"/>
                    <a:pt x="310" y="145"/>
                    <a:pt x="280" y="154"/>
                  </a:cubicBezTo>
                  <a:cubicBezTo>
                    <a:pt x="254" y="162"/>
                    <a:pt x="244" y="55"/>
                    <a:pt x="266" y="0"/>
                  </a:cubicBezTo>
                  <a:cubicBezTo>
                    <a:pt x="13" y="67"/>
                    <a:pt x="13" y="67"/>
                    <a:pt x="13" y="67"/>
                  </a:cubicBezTo>
                  <a:cubicBezTo>
                    <a:pt x="1" y="508"/>
                    <a:pt x="1" y="508"/>
                    <a:pt x="1" y="508"/>
                  </a:cubicBezTo>
                  <a:cubicBezTo>
                    <a:pt x="1" y="508"/>
                    <a:pt x="1" y="509"/>
                    <a:pt x="0" y="509"/>
                  </a:cubicBezTo>
                  <a:cubicBezTo>
                    <a:pt x="24" y="521"/>
                    <a:pt x="51" y="524"/>
                    <a:pt x="71" y="526"/>
                  </a:cubicBezTo>
                  <a:cubicBezTo>
                    <a:pt x="109" y="529"/>
                    <a:pt x="106" y="499"/>
                    <a:pt x="106" y="479"/>
                  </a:cubicBezTo>
                  <a:cubicBezTo>
                    <a:pt x="106" y="458"/>
                    <a:pt x="147" y="423"/>
                    <a:pt x="177" y="426"/>
                  </a:cubicBezTo>
                  <a:cubicBezTo>
                    <a:pt x="206" y="429"/>
                    <a:pt x="203" y="387"/>
                    <a:pt x="212" y="387"/>
                  </a:cubicBezTo>
                  <a:cubicBezTo>
                    <a:pt x="221" y="387"/>
                    <a:pt x="245" y="381"/>
                    <a:pt x="253" y="367"/>
                  </a:cubicBezTo>
                  <a:cubicBezTo>
                    <a:pt x="262" y="352"/>
                    <a:pt x="310" y="369"/>
                    <a:pt x="324" y="384"/>
                  </a:cubicBezTo>
                  <a:cubicBezTo>
                    <a:pt x="339" y="399"/>
                    <a:pt x="375" y="405"/>
                    <a:pt x="401" y="411"/>
                  </a:cubicBezTo>
                  <a:cubicBezTo>
                    <a:pt x="428" y="417"/>
                    <a:pt x="436" y="499"/>
                    <a:pt x="436" y="517"/>
                  </a:cubicBezTo>
                  <a:cubicBezTo>
                    <a:pt x="436" y="535"/>
                    <a:pt x="563" y="532"/>
                    <a:pt x="584" y="535"/>
                  </a:cubicBezTo>
                  <a:cubicBezTo>
                    <a:pt x="605" y="538"/>
                    <a:pt x="605" y="573"/>
                    <a:pt x="625" y="600"/>
                  </a:cubicBezTo>
                  <a:cubicBezTo>
                    <a:pt x="646" y="626"/>
                    <a:pt x="661" y="662"/>
                    <a:pt x="670" y="682"/>
                  </a:cubicBezTo>
                  <a:cubicBezTo>
                    <a:pt x="679" y="703"/>
                    <a:pt x="752" y="730"/>
                    <a:pt x="770" y="756"/>
                  </a:cubicBezTo>
                  <a:cubicBezTo>
                    <a:pt x="788" y="783"/>
                    <a:pt x="844" y="809"/>
                    <a:pt x="885" y="824"/>
                  </a:cubicBezTo>
                  <a:cubicBezTo>
                    <a:pt x="926" y="839"/>
                    <a:pt x="965" y="895"/>
                    <a:pt x="988" y="892"/>
                  </a:cubicBezTo>
                  <a:cubicBezTo>
                    <a:pt x="1012" y="889"/>
                    <a:pt x="1077" y="921"/>
                    <a:pt x="1077" y="921"/>
                  </a:cubicBezTo>
                  <a:cubicBezTo>
                    <a:pt x="1085" y="987"/>
                    <a:pt x="1085" y="987"/>
                    <a:pt x="1085" y="987"/>
                  </a:cubicBezTo>
                  <a:cubicBezTo>
                    <a:pt x="1087" y="987"/>
                    <a:pt x="1090" y="986"/>
                    <a:pt x="1093" y="985"/>
                  </a:cubicBezTo>
                  <a:cubicBezTo>
                    <a:pt x="1129" y="973"/>
                    <a:pt x="1148" y="1013"/>
                    <a:pt x="1176" y="1013"/>
                  </a:cubicBezTo>
                  <a:cubicBezTo>
                    <a:pt x="1188" y="1013"/>
                    <a:pt x="1202" y="1023"/>
                    <a:pt x="1216" y="1032"/>
                  </a:cubicBezTo>
                  <a:cubicBezTo>
                    <a:pt x="1214" y="974"/>
                    <a:pt x="1234" y="945"/>
                    <a:pt x="1257" y="927"/>
                  </a:cubicBezTo>
                  <a:cubicBezTo>
                    <a:pt x="1284" y="907"/>
                    <a:pt x="1239" y="871"/>
                    <a:pt x="1245" y="839"/>
                  </a:cubicBezTo>
                  <a:cubicBezTo>
                    <a:pt x="1251" y="806"/>
                    <a:pt x="1177" y="789"/>
                    <a:pt x="1183" y="762"/>
                  </a:cubicBezTo>
                  <a:cubicBezTo>
                    <a:pt x="1189" y="735"/>
                    <a:pt x="1251" y="738"/>
                    <a:pt x="1278" y="727"/>
                  </a:cubicBezTo>
                  <a:cubicBezTo>
                    <a:pt x="1304" y="715"/>
                    <a:pt x="1284" y="671"/>
                    <a:pt x="1310" y="671"/>
                  </a:cubicBezTo>
                  <a:cubicBezTo>
                    <a:pt x="1337" y="671"/>
                    <a:pt x="1348" y="644"/>
                    <a:pt x="1357" y="617"/>
                  </a:cubicBezTo>
                  <a:cubicBezTo>
                    <a:pt x="1366" y="591"/>
                    <a:pt x="1410" y="617"/>
                    <a:pt x="1434" y="600"/>
                  </a:cubicBezTo>
                  <a:cubicBezTo>
                    <a:pt x="1458" y="582"/>
                    <a:pt x="1493" y="570"/>
                    <a:pt x="1502" y="585"/>
                  </a:cubicBezTo>
                  <a:cubicBezTo>
                    <a:pt x="1509" y="597"/>
                    <a:pt x="1480" y="646"/>
                    <a:pt x="1467" y="667"/>
                  </a:cubicBezTo>
                  <a:cubicBezTo>
                    <a:pt x="1508" y="666"/>
                    <a:pt x="1570" y="658"/>
                    <a:pt x="1582" y="646"/>
                  </a:cubicBezTo>
                  <a:cubicBezTo>
                    <a:pt x="1598" y="631"/>
                    <a:pt x="1657" y="670"/>
                    <a:pt x="1676" y="631"/>
                  </a:cubicBezTo>
                  <a:cubicBezTo>
                    <a:pt x="1696" y="591"/>
                    <a:pt x="1767" y="619"/>
                    <a:pt x="1720" y="57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2" name="Freeform 142"/>
            <p:cNvSpPr>
              <a:spLocks noEditPoints="1"/>
            </p:cNvSpPr>
            <p:nvPr/>
          </p:nvSpPr>
          <p:spPr bwMode="auto">
            <a:xfrm>
              <a:off x="11912212" y="3413535"/>
              <a:ext cx="1305119" cy="2067415"/>
            </a:xfrm>
            <a:custGeom>
              <a:avLst/>
              <a:gdLst>
                <a:gd name="T0" fmla="*/ 2447 w 2585"/>
                <a:gd name="T1" fmla="*/ 2136 h 4089"/>
                <a:gd name="T2" fmla="*/ 2454 w 2585"/>
                <a:gd name="T3" fmla="*/ 2014 h 4089"/>
                <a:gd name="T4" fmla="*/ 2311 w 2585"/>
                <a:gd name="T5" fmla="*/ 1995 h 4089"/>
                <a:gd name="T6" fmla="*/ 2150 w 2585"/>
                <a:gd name="T7" fmla="*/ 1989 h 4089"/>
                <a:gd name="T8" fmla="*/ 2073 w 2585"/>
                <a:gd name="T9" fmla="*/ 1977 h 4089"/>
                <a:gd name="T10" fmla="*/ 1918 w 2585"/>
                <a:gd name="T11" fmla="*/ 2012 h 4089"/>
                <a:gd name="T12" fmla="*/ 1793 w 2585"/>
                <a:gd name="T13" fmla="*/ 2147 h 4089"/>
                <a:gd name="T14" fmla="*/ 1794 w 2585"/>
                <a:gd name="T15" fmla="*/ 2001 h 4089"/>
                <a:gd name="T16" fmla="*/ 1616 w 2585"/>
                <a:gd name="T17" fmla="*/ 2105 h 4089"/>
                <a:gd name="T18" fmla="*/ 1539 w 2585"/>
                <a:gd name="T19" fmla="*/ 2136 h 4089"/>
                <a:gd name="T20" fmla="*/ 1465 w 2585"/>
                <a:gd name="T21" fmla="*/ 2119 h 4089"/>
                <a:gd name="T22" fmla="*/ 1327 w 2585"/>
                <a:gd name="T23" fmla="*/ 2222 h 4089"/>
                <a:gd name="T24" fmla="*/ 1235 w 2585"/>
                <a:gd name="T25" fmla="*/ 2299 h 4089"/>
                <a:gd name="T26" fmla="*/ 1144 w 2585"/>
                <a:gd name="T27" fmla="*/ 2340 h 4089"/>
                <a:gd name="T28" fmla="*/ 990 w 2585"/>
                <a:gd name="T29" fmla="*/ 2380 h 4089"/>
                <a:gd name="T30" fmla="*/ 933 w 2585"/>
                <a:gd name="T31" fmla="*/ 2467 h 4089"/>
                <a:gd name="T32" fmla="*/ 1142 w 2585"/>
                <a:gd name="T33" fmla="*/ 2471 h 4089"/>
                <a:gd name="T34" fmla="*/ 987 w 2585"/>
                <a:gd name="T35" fmla="*/ 2582 h 4089"/>
                <a:gd name="T36" fmla="*/ 764 w 2585"/>
                <a:gd name="T37" fmla="*/ 2826 h 4089"/>
                <a:gd name="T38" fmla="*/ 620 w 2585"/>
                <a:gd name="T39" fmla="*/ 3016 h 4089"/>
                <a:gd name="T40" fmla="*/ 494 w 2585"/>
                <a:gd name="T41" fmla="*/ 3190 h 4089"/>
                <a:gd name="T42" fmla="*/ 325 w 2585"/>
                <a:gd name="T43" fmla="*/ 3313 h 4089"/>
                <a:gd name="T44" fmla="*/ 143 w 2585"/>
                <a:gd name="T45" fmla="*/ 3425 h 4089"/>
                <a:gd name="T46" fmla="*/ 53 w 2585"/>
                <a:gd name="T47" fmla="*/ 3575 h 4089"/>
                <a:gd name="T48" fmla="*/ 24 w 2585"/>
                <a:gd name="T49" fmla="*/ 3757 h 4089"/>
                <a:gd name="T50" fmla="*/ 112 w 2585"/>
                <a:gd name="T51" fmla="*/ 3819 h 4089"/>
                <a:gd name="T52" fmla="*/ 87 w 2585"/>
                <a:gd name="T53" fmla="*/ 3890 h 4089"/>
                <a:gd name="T54" fmla="*/ 179 w 2585"/>
                <a:gd name="T55" fmla="*/ 4049 h 4089"/>
                <a:gd name="T56" fmla="*/ 576 w 2585"/>
                <a:gd name="T57" fmla="*/ 3856 h 4089"/>
                <a:gd name="T58" fmla="*/ 694 w 2585"/>
                <a:gd name="T59" fmla="*/ 3894 h 4089"/>
                <a:gd name="T60" fmla="*/ 765 w 2585"/>
                <a:gd name="T61" fmla="*/ 3647 h 4089"/>
                <a:gd name="T62" fmla="*/ 741 w 2585"/>
                <a:gd name="T63" fmla="*/ 3329 h 4089"/>
                <a:gd name="T64" fmla="*/ 917 w 2585"/>
                <a:gd name="T65" fmla="*/ 3102 h 4089"/>
                <a:gd name="T66" fmla="*/ 1040 w 2585"/>
                <a:gd name="T67" fmla="*/ 2812 h 4089"/>
                <a:gd name="T68" fmla="*/ 1163 w 2585"/>
                <a:gd name="T69" fmla="*/ 2556 h 4089"/>
                <a:gd name="T70" fmla="*/ 1443 w 2585"/>
                <a:gd name="T71" fmla="*/ 2419 h 4089"/>
                <a:gd name="T72" fmla="*/ 1642 w 2585"/>
                <a:gd name="T73" fmla="*/ 2281 h 4089"/>
                <a:gd name="T74" fmla="*/ 1993 w 2585"/>
                <a:gd name="T75" fmla="*/ 2386 h 4089"/>
                <a:gd name="T76" fmla="*/ 2216 w 2585"/>
                <a:gd name="T77" fmla="*/ 2153 h 4089"/>
                <a:gd name="T78" fmla="*/ 2447 w 2585"/>
                <a:gd name="T79" fmla="*/ 2257 h 4089"/>
                <a:gd name="T80" fmla="*/ 721 w 2585"/>
                <a:gd name="T81" fmla="*/ 295 h 4089"/>
                <a:gd name="T82" fmla="*/ 962 w 2585"/>
                <a:gd name="T83" fmla="*/ 434 h 4089"/>
                <a:gd name="T84" fmla="*/ 1146 w 2585"/>
                <a:gd name="T85" fmla="*/ 474 h 4089"/>
                <a:gd name="T86" fmla="*/ 1159 w 2585"/>
                <a:gd name="T87" fmla="*/ 609 h 4089"/>
                <a:gd name="T88" fmla="*/ 984 w 2585"/>
                <a:gd name="T89" fmla="*/ 768 h 4089"/>
                <a:gd name="T90" fmla="*/ 1181 w 2585"/>
                <a:gd name="T91" fmla="*/ 846 h 4089"/>
                <a:gd name="T92" fmla="*/ 1416 w 2585"/>
                <a:gd name="T93" fmla="*/ 461 h 4089"/>
                <a:gd name="T94" fmla="*/ 1606 w 2585"/>
                <a:gd name="T95" fmla="*/ 558 h 4089"/>
                <a:gd name="T96" fmla="*/ 1865 w 2585"/>
                <a:gd name="T97" fmla="*/ 664 h 4089"/>
                <a:gd name="T98" fmla="*/ 1781 w 2585"/>
                <a:gd name="T99" fmla="*/ 529 h 4089"/>
                <a:gd name="T100" fmla="*/ 1558 w 2585"/>
                <a:gd name="T101" fmla="*/ 343 h 4089"/>
                <a:gd name="T102" fmla="*/ 1334 w 2585"/>
                <a:gd name="T103" fmla="*/ 224 h 4089"/>
                <a:gd name="T104" fmla="*/ 1121 w 2585"/>
                <a:gd name="T105" fmla="*/ 106 h 4089"/>
                <a:gd name="T106" fmla="*/ 1035 w 2585"/>
                <a:gd name="T107" fmla="*/ 226 h 4089"/>
                <a:gd name="T108" fmla="*/ 825 w 2585"/>
                <a:gd name="T109" fmla="*/ 213 h 4089"/>
                <a:gd name="T110" fmla="*/ 697 w 2585"/>
                <a:gd name="T111" fmla="*/ 168 h 4089"/>
                <a:gd name="T112" fmla="*/ 630 w 2585"/>
                <a:gd name="T113" fmla="*/ 474 h 4089"/>
                <a:gd name="T114" fmla="*/ 630 w 2585"/>
                <a:gd name="T115" fmla="*/ 474 h 4089"/>
                <a:gd name="T116" fmla="*/ 1478 w 2585"/>
                <a:gd name="T117" fmla="*/ 235 h 4089"/>
                <a:gd name="T118" fmla="*/ 2073 w 2585"/>
                <a:gd name="T119" fmla="*/ 222 h 4089"/>
                <a:gd name="T120" fmla="*/ 1810 w 2585"/>
                <a:gd name="T121" fmla="*/ 84 h 4089"/>
                <a:gd name="T122" fmla="*/ 1573 w 2585"/>
                <a:gd name="T123" fmla="*/ 69 h 4089"/>
                <a:gd name="T124" fmla="*/ 1400 w 2585"/>
                <a:gd name="T125" fmla="*/ 87 h 40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5" h="4089">
                  <a:moveTo>
                    <a:pt x="2506" y="2187"/>
                  </a:moveTo>
                  <a:cubicBezTo>
                    <a:pt x="2500" y="2209"/>
                    <a:pt x="2460" y="2204"/>
                    <a:pt x="2462" y="2182"/>
                  </a:cubicBezTo>
                  <a:cubicBezTo>
                    <a:pt x="2463" y="2160"/>
                    <a:pt x="2400" y="2142"/>
                    <a:pt x="2397" y="2132"/>
                  </a:cubicBezTo>
                  <a:cubicBezTo>
                    <a:pt x="2394" y="2122"/>
                    <a:pt x="2423" y="2123"/>
                    <a:pt x="2447" y="2136"/>
                  </a:cubicBezTo>
                  <a:cubicBezTo>
                    <a:pt x="2470" y="2150"/>
                    <a:pt x="2487" y="2141"/>
                    <a:pt x="2513" y="2116"/>
                  </a:cubicBezTo>
                  <a:cubicBezTo>
                    <a:pt x="2540" y="2091"/>
                    <a:pt x="2577" y="2111"/>
                    <a:pt x="2581" y="2089"/>
                  </a:cubicBezTo>
                  <a:cubicBezTo>
                    <a:pt x="2585" y="2067"/>
                    <a:pt x="2538" y="2052"/>
                    <a:pt x="2529" y="2039"/>
                  </a:cubicBezTo>
                  <a:cubicBezTo>
                    <a:pt x="2521" y="2026"/>
                    <a:pt x="2487" y="2008"/>
                    <a:pt x="2454" y="2014"/>
                  </a:cubicBezTo>
                  <a:cubicBezTo>
                    <a:pt x="2422" y="2020"/>
                    <a:pt x="2420" y="2007"/>
                    <a:pt x="2401" y="1989"/>
                  </a:cubicBezTo>
                  <a:cubicBezTo>
                    <a:pt x="2382" y="1971"/>
                    <a:pt x="2323" y="2001"/>
                    <a:pt x="2323" y="2042"/>
                  </a:cubicBezTo>
                  <a:cubicBezTo>
                    <a:pt x="2323" y="2083"/>
                    <a:pt x="2286" y="2073"/>
                    <a:pt x="2299" y="2051"/>
                  </a:cubicBezTo>
                  <a:cubicBezTo>
                    <a:pt x="2312" y="2029"/>
                    <a:pt x="2281" y="2002"/>
                    <a:pt x="2311" y="1995"/>
                  </a:cubicBezTo>
                  <a:cubicBezTo>
                    <a:pt x="2341" y="1987"/>
                    <a:pt x="2324" y="1943"/>
                    <a:pt x="2270" y="1939"/>
                  </a:cubicBezTo>
                  <a:cubicBezTo>
                    <a:pt x="2215" y="1934"/>
                    <a:pt x="2194" y="1980"/>
                    <a:pt x="2208" y="1995"/>
                  </a:cubicBezTo>
                  <a:cubicBezTo>
                    <a:pt x="2221" y="2010"/>
                    <a:pt x="2171" y="2073"/>
                    <a:pt x="2149" y="2073"/>
                  </a:cubicBezTo>
                  <a:cubicBezTo>
                    <a:pt x="2126" y="2073"/>
                    <a:pt x="2152" y="2018"/>
                    <a:pt x="2150" y="1989"/>
                  </a:cubicBezTo>
                  <a:cubicBezTo>
                    <a:pt x="2149" y="1959"/>
                    <a:pt x="2128" y="1976"/>
                    <a:pt x="2087" y="2023"/>
                  </a:cubicBezTo>
                  <a:cubicBezTo>
                    <a:pt x="2045" y="2070"/>
                    <a:pt x="2014" y="2113"/>
                    <a:pt x="1991" y="2117"/>
                  </a:cubicBezTo>
                  <a:cubicBezTo>
                    <a:pt x="1967" y="2122"/>
                    <a:pt x="1970" y="2074"/>
                    <a:pt x="2008" y="2054"/>
                  </a:cubicBezTo>
                  <a:cubicBezTo>
                    <a:pt x="2047" y="2033"/>
                    <a:pt x="2048" y="1977"/>
                    <a:pt x="2073" y="1977"/>
                  </a:cubicBezTo>
                  <a:cubicBezTo>
                    <a:pt x="2098" y="1977"/>
                    <a:pt x="2098" y="1948"/>
                    <a:pt x="2062" y="1939"/>
                  </a:cubicBezTo>
                  <a:cubicBezTo>
                    <a:pt x="2025" y="1930"/>
                    <a:pt x="2019" y="1971"/>
                    <a:pt x="2007" y="1983"/>
                  </a:cubicBezTo>
                  <a:cubicBezTo>
                    <a:pt x="1995" y="1995"/>
                    <a:pt x="1935" y="1962"/>
                    <a:pt x="1936" y="1974"/>
                  </a:cubicBezTo>
                  <a:cubicBezTo>
                    <a:pt x="1938" y="1986"/>
                    <a:pt x="1904" y="1990"/>
                    <a:pt x="1918" y="2012"/>
                  </a:cubicBezTo>
                  <a:cubicBezTo>
                    <a:pt x="1933" y="2035"/>
                    <a:pt x="1911" y="2054"/>
                    <a:pt x="1896" y="2027"/>
                  </a:cubicBezTo>
                  <a:cubicBezTo>
                    <a:pt x="1882" y="2001"/>
                    <a:pt x="1845" y="2021"/>
                    <a:pt x="1827" y="2051"/>
                  </a:cubicBezTo>
                  <a:cubicBezTo>
                    <a:pt x="1809" y="2080"/>
                    <a:pt x="1786" y="2079"/>
                    <a:pt x="1803" y="2089"/>
                  </a:cubicBezTo>
                  <a:cubicBezTo>
                    <a:pt x="1821" y="2100"/>
                    <a:pt x="1820" y="2139"/>
                    <a:pt x="1793" y="2147"/>
                  </a:cubicBezTo>
                  <a:cubicBezTo>
                    <a:pt x="1766" y="2154"/>
                    <a:pt x="1777" y="2074"/>
                    <a:pt x="1756" y="2082"/>
                  </a:cubicBezTo>
                  <a:cubicBezTo>
                    <a:pt x="1735" y="2089"/>
                    <a:pt x="1749" y="2043"/>
                    <a:pt x="1777" y="2043"/>
                  </a:cubicBezTo>
                  <a:cubicBezTo>
                    <a:pt x="1805" y="2043"/>
                    <a:pt x="1833" y="2002"/>
                    <a:pt x="1830" y="1992"/>
                  </a:cubicBezTo>
                  <a:cubicBezTo>
                    <a:pt x="1825" y="1975"/>
                    <a:pt x="1794" y="1979"/>
                    <a:pt x="1794" y="2001"/>
                  </a:cubicBezTo>
                  <a:cubicBezTo>
                    <a:pt x="1794" y="2023"/>
                    <a:pt x="1750" y="2018"/>
                    <a:pt x="1713" y="2017"/>
                  </a:cubicBezTo>
                  <a:cubicBezTo>
                    <a:pt x="1676" y="2015"/>
                    <a:pt x="1678" y="2060"/>
                    <a:pt x="1719" y="2083"/>
                  </a:cubicBezTo>
                  <a:cubicBezTo>
                    <a:pt x="1760" y="2107"/>
                    <a:pt x="1712" y="2122"/>
                    <a:pt x="1691" y="2104"/>
                  </a:cubicBezTo>
                  <a:cubicBezTo>
                    <a:pt x="1670" y="2086"/>
                    <a:pt x="1638" y="2095"/>
                    <a:pt x="1616" y="2105"/>
                  </a:cubicBezTo>
                  <a:cubicBezTo>
                    <a:pt x="1594" y="2116"/>
                    <a:pt x="1669" y="2142"/>
                    <a:pt x="1672" y="2156"/>
                  </a:cubicBezTo>
                  <a:cubicBezTo>
                    <a:pt x="1675" y="2169"/>
                    <a:pt x="1634" y="2139"/>
                    <a:pt x="1625" y="2150"/>
                  </a:cubicBezTo>
                  <a:cubicBezTo>
                    <a:pt x="1616" y="2160"/>
                    <a:pt x="1575" y="2142"/>
                    <a:pt x="1572" y="2117"/>
                  </a:cubicBezTo>
                  <a:cubicBezTo>
                    <a:pt x="1569" y="2092"/>
                    <a:pt x="1502" y="2128"/>
                    <a:pt x="1539" y="2136"/>
                  </a:cubicBezTo>
                  <a:cubicBezTo>
                    <a:pt x="1576" y="2145"/>
                    <a:pt x="1563" y="2169"/>
                    <a:pt x="1563" y="2201"/>
                  </a:cubicBezTo>
                  <a:cubicBezTo>
                    <a:pt x="1563" y="2234"/>
                    <a:pt x="1520" y="2209"/>
                    <a:pt x="1529" y="2181"/>
                  </a:cubicBezTo>
                  <a:cubicBezTo>
                    <a:pt x="1538" y="2153"/>
                    <a:pt x="1502" y="2159"/>
                    <a:pt x="1473" y="2176"/>
                  </a:cubicBezTo>
                  <a:cubicBezTo>
                    <a:pt x="1443" y="2194"/>
                    <a:pt x="1477" y="2144"/>
                    <a:pt x="1465" y="2119"/>
                  </a:cubicBezTo>
                  <a:cubicBezTo>
                    <a:pt x="1454" y="2094"/>
                    <a:pt x="1427" y="2119"/>
                    <a:pt x="1396" y="2125"/>
                  </a:cubicBezTo>
                  <a:cubicBezTo>
                    <a:pt x="1365" y="2130"/>
                    <a:pt x="1349" y="2132"/>
                    <a:pt x="1368" y="2153"/>
                  </a:cubicBezTo>
                  <a:cubicBezTo>
                    <a:pt x="1387" y="2173"/>
                    <a:pt x="1384" y="2203"/>
                    <a:pt x="1359" y="2198"/>
                  </a:cubicBezTo>
                  <a:cubicBezTo>
                    <a:pt x="1334" y="2194"/>
                    <a:pt x="1324" y="2198"/>
                    <a:pt x="1327" y="2222"/>
                  </a:cubicBezTo>
                  <a:cubicBezTo>
                    <a:pt x="1330" y="2246"/>
                    <a:pt x="1294" y="2247"/>
                    <a:pt x="1291" y="2226"/>
                  </a:cubicBezTo>
                  <a:cubicBezTo>
                    <a:pt x="1288" y="2206"/>
                    <a:pt x="1238" y="2212"/>
                    <a:pt x="1223" y="2235"/>
                  </a:cubicBezTo>
                  <a:cubicBezTo>
                    <a:pt x="1209" y="2259"/>
                    <a:pt x="1167" y="2277"/>
                    <a:pt x="1172" y="2303"/>
                  </a:cubicBezTo>
                  <a:cubicBezTo>
                    <a:pt x="1176" y="2330"/>
                    <a:pt x="1209" y="2290"/>
                    <a:pt x="1235" y="2299"/>
                  </a:cubicBezTo>
                  <a:cubicBezTo>
                    <a:pt x="1262" y="2308"/>
                    <a:pt x="1234" y="2321"/>
                    <a:pt x="1248" y="2334"/>
                  </a:cubicBezTo>
                  <a:cubicBezTo>
                    <a:pt x="1263" y="2347"/>
                    <a:pt x="1260" y="2380"/>
                    <a:pt x="1240" y="2361"/>
                  </a:cubicBezTo>
                  <a:cubicBezTo>
                    <a:pt x="1219" y="2342"/>
                    <a:pt x="1192" y="2336"/>
                    <a:pt x="1188" y="2367"/>
                  </a:cubicBezTo>
                  <a:cubicBezTo>
                    <a:pt x="1183" y="2398"/>
                    <a:pt x="1161" y="2362"/>
                    <a:pt x="1144" y="2340"/>
                  </a:cubicBezTo>
                  <a:cubicBezTo>
                    <a:pt x="1126" y="2318"/>
                    <a:pt x="1108" y="2381"/>
                    <a:pt x="1089" y="2367"/>
                  </a:cubicBezTo>
                  <a:cubicBezTo>
                    <a:pt x="1070" y="2352"/>
                    <a:pt x="1127" y="2306"/>
                    <a:pt x="1113" y="2284"/>
                  </a:cubicBezTo>
                  <a:cubicBezTo>
                    <a:pt x="1098" y="2262"/>
                    <a:pt x="1088" y="2297"/>
                    <a:pt x="1054" y="2331"/>
                  </a:cubicBezTo>
                  <a:cubicBezTo>
                    <a:pt x="1020" y="2365"/>
                    <a:pt x="974" y="2364"/>
                    <a:pt x="990" y="2380"/>
                  </a:cubicBezTo>
                  <a:cubicBezTo>
                    <a:pt x="1006" y="2396"/>
                    <a:pt x="956" y="2405"/>
                    <a:pt x="947" y="2433"/>
                  </a:cubicBezTo>
                  <a:cubicBezTo>
                    <a:pt x="939" y="2461"/>
                    <a:pt x="869" y="2471"/>
                    <a:pt x="825" y="2501"/>
                  </a:cubicBezTo>
                  <a:cubicBezTo>
                    <a:pt x="781" y="2530"/>
                    <a:pt x="834" y="2532"/>
                    <a:pt x="859" y="2504"/>
                  </a:cubicBezTo>
                  <a:cubicBezTo>
                    <a:pt x="884" y="2476"/>
                    <a:pt x="893" y="2492"/>
                    <a:pt x="933" y="2467"/>
                  </a:cubicBezTo>
                  <a:cubicBezTo>
                    <a:pt x="973" y="2442"/>
                    <a:pt x="1015" y="2421"/>
                    <a:pt x="1030" y="2432"/>
                  </a:cubicBezTo>
                  <a:cubicBezTo>
                    <a:pt x="1045" y="2442"/>
                    <a:pt x="1070" y="2449"/>
                    <a:pt x="1089" y="2423"/>
                  </a:cubicBezTo>
                  <a:cubicBezTo>
                    <a:pt x="1108" y="2396"/>
                    <a:pt x="1132" y="2402"/>
                    <a:pt x="1151" y="2418"/>
                  </a:cubicBezTo>
                  <a:cubicBezTo>
                    <a:pt x="1170" y="2435"/>
                    <a:pt x="1119" y="2448"/>
                    <a:pt x="1142" y="2471"/>
                  </a:cubicBezTo>
                  <a:cubicBezTo>
                    <a:pt x="1166" y="2495"/>
                    <a:pt x="1114" y="2508"/>
                    <a:pt x="1114" y="2488"/>
                  </a:cubicBezTo>
                  <a:cubicBezTo>
                    <a:pt x="1114" y="2467"/>
                    <a:pt x="1085" y="2449"/>
                    <a:pt x="1074" y="2468"/>
                  </a:cubicBezTo>
                  <a:cubicBezTo>
                    <a:pt x="1064" y="2488"/>
                    <a:pt x="1046" y="2508"/>
                    <a:pt x="1027" y="2510"/>
                  </a:cubicBezTo>
                  <a:cubicBezTo>
                    <a:pt x="1008" y="2511"/>
                    <a:pt x="987" y="2547"/>
                    <a:pt x="987" y="2582"/>
                  </a:cubicBezTo>
                  <a:cubicBezTo>
                    <a:pt x="987" y="2617"/>
                    <a:pt x="953" y="2582"/>
                    <a:pt x="950" y="2613"/>
                  </a:cubicBezTo>
                  <a:cubicBezTo>
                    <a:pt x="947" y="2644"/>
                    <a:pt x="900" y="2699"/>
                    <a:pt x="859" y="2738"/>
                  </a:cubicBezTo>
                  <a:cubicBezTo>
                    <a:pt x="818" y="2778"/>
                    <a:pt x="856" y="2787"/>
                    <a:pt x="843" y="2812"/>
                  </a:cubicBezTo>
                  <a:cubicBezTo>
                    <a:pt x="829" y="2837"/>
                    <a:pt x="781" y="2815"/>
                    <a:pt x="764" y="2826"/>
                  </a:cubicBezTo>
                  <a:cubicBezTo>
                    <a:pt x="748" y="2836"/>
                    <a:pt x="773" y="2898"/>
                    <a:pt x="751" y="2917"/>
                  </a:cubicBezTo>
                  <a:cubicBezTo>
                    <a:pt x="729" y="2936"/>
                    <a:pt x="751" y="2963"/>
                    <a:pt x="751" y="2985"/>
                  </a:cubicBezTo>
                  <a:cubicBezTo>
                    <a:pt x="751" y="3007"/>
                    <a:pt x="694" y="2972"/>
                    <a:pt x="689" y="2994"/>
                  </a:cubicBezTo>
                  <a:cubicBezTo>
                    <a:pt x="685" y="3016"/>
                    <a:pt x="635" y="3010"/>
                    <a:pt x="620" y="3016"/>
                  </a:cubicBezTo>
                  <a:cubicBezTo>
                    <a:pt x="605" y="3022"/>
                    <a:pt x="649" y="3057"/>
                    <a:pt x="676" y="3078"/>
                  </a:cubicBezTo>
                  <a:cubicBezTo>
                    <a:pt x="702" y="3099"/>
                    <a:pt x="651" y="3115"/>
                    <a:pt x="645" y="3091"/>
                  </a:cubicBezTo>
                  <a:cubicBezTo>
                    <a:pt x="639" y="3068"/>
                    <a:pt x="602" y="3106"/>
                    <a:pt x="556" y="3127"/>
                  </a:cubicBezTo>
                  <a:cubicBezTo>
                    <a:pt x="511" y="3147"/>
                    <a:pt x="530" y="3189"/>
                    <a:pt x="494" y="3190"/>
                  </a:cubicBezTo>
                  <a:cubicBezTo>
                    <a:pt x="459" y="3192"/>
                    <a:pt x="469" y="3248"/>
                    <a:pt x="446" y="3265"/>
                  </a:cubicBezTo>
                  <a:cubicBezTo>
                    <a:pt x="422" y="3283"/>
                    <a:pt x="428" y="3224"/>
                    <a:pt x="391" y="3223"/>
                  </a:cubicBezTo>
                  <a:cubicBezTo>
                    <a:pt x="354" y="3221"/>
                    <a:pt x="357" y="3248"/>
                    <a:pt x="379" y="3279"/>
                  </a:cubicBezTo>
                  <a:cubicBezTo>
                    <a:pt x="401" y="3310"/>
                    <a:pt x="345" y="3286"/>
                    <a:pt x="325" y="3313"/>
                  </a:cubicBezTo>
                  <a:cubicBezTo>
                    <a:pt x="304" y="3339"/>
                    <a:pt x="245" y="3326"/>
                    <a:pt x="229" y="3348"/>
                  </a:cubicBezTo>
                  <a:cubicBezTo>
                    <a:pt x="213" y="3370"/>
                    <a:pt x="273" y="3370"/>
                    <a:pt x="282" y="3388"/>
                  </a:cubicBezTo>
                  <a:cubicBezTo>
                    <a:pt x="291" y="3406"/>
                    <a:pt x="229" y="3397"/>
                    <a:pt x="196" y="3389"/>
                  </a:cubicBezTo>
                  <a:cubicBezTo>
                    <a:pt x="164" y="3382"/>
                    <a:pt x="173" y="3431"/>
                    <a:pt x="143" y="3425"/>
                  </a:cubicBezTo>
                  <a:cubicBezTo>
                    <a:pt x="114" y="3419"/>
                    <a:pt x="77" y="3450"/>
                    <a:pt x="97" y="3471"/>
                  </a:cubicBezTo>
                  <a:cubicBezTo>
                    <a:pt x="118" y="3491"/>
                    <a:pt x="81" y="3494"/>
                    <a:pt x="60" y="3481"/>
                  </a:cubicBezTo>
                  <a:cubicBezTo>
                    <a:pt x="40" y="3468"/>
                    <a:pt x="22" y="3500"/>
                    <a:pt x="15" y="3525"/>
                  </a:cubicBezTo>
                  <a:cubicBezTo>
                    <a:pt x="7" y="3550"/>
                    <a:pt x="55" y="3564"/>
                    <a:pt x="53" y="3575"/>
                  </a:cubicBezTo>
                  <a:cubicBezTo>
                    <a:pt x="52" y="3587"/>
                    <a:pt x="15" y="3606"/>
                    <a:pt x="41" y="3612"/>
                  </a:cubicBezTo>
                  <a:cubicBezTo>
                    <a:pt x="68" y="3618"/>
                    <a:pt x="49" y="3642"/>
                    <a:pt x="31" y="3649"/>
                  </a:cubicBezTo>
                  <a:cubicBezTo>
                    <a:pt x="13" y="3657"/>
                    <a:pt x="13" y="3674"/>
                    <a:pt x="31" y="3696"/>
                  </a:cubicBezTo>
                  <a:cubicBezTo>
                    <a:pt x="49" y="3718"/>
                    <a:pt x="0" y="3723"/>
                    <a:pt x="24" y="3757"/>
                  </a:cubicBezTo>
                  <a:cubicBezTo>
                    <a:pt x="47" y="3791"/>
                    <a:pt x="65" y="3748"/>
                    <a:pt x="75" y="3773"/>
                  </a:cubicBezTo>
                  <a:cubicBezTo>
                    <a:pt x="86" y="3798"/>
                    <a:pt x="114" y="3776"/>
                    <a:pt x="146" y="3746"/>
                  </a:cubicBezTo>
                  <a:cubicBezTo>
                    <a:pt x="179" y="3717"/>
                    <a:pt x="190" y="3779"/>
                    <a:pt x="164" y="3777"/>
                  </a:cubicBezTo>
                  <a:cubicBezTo>
                    <a:pt x="137" y="3776"/>
                    <a:pt x="106" y="3792"/>
                    <a:pt x="112" y="3819"/>
                  </a:cubicBezTo>
                  <a:cubicBezTo>
                    <a:pt x="118" y="3845"/>
                    <a:pt x="71" y="3841"/>
                    <a:pt x="72" y="3808"/>
                  </a:cubicBezTo>
                  <a:cubicBezTo>
                    <a:pt x="74" y="3776"/>
                    <a:pt x="18" y="3814"/>
                    <a:pt x="38" y="3838"/>
                  </a:cubicBezTo>
                  <a:cubicBezTo>
                    <a:pt x="59" y="3862"/>
                    <a:pt x="31" y="3875"/>
                    <a:pt x="31" y="3897"/>
                  </a:cubicBezTo>
                  <a:cubicBezTo>
                    <a:pt x="31" y="3919"/>
                    <a:pt x="71" y="3915"/>
                    <a:pt x="87" y="3890"/>
                  </a:cubicBezTo>
                  <a:cubicBezTo>
                    <a:pt x="103" y="3865"/>
                    <a:pt x="130" y="3870"/>
                    <a:pt x="140" y="3896"/>
                  </a:cubicBezTo>
                  <a:cubicBezTo>
                    <a:pt x="151" y="3921"/>
                    <a:pt x="115" y="3901"/>
                    <a:pt x="115" y="3935"/>
                  </a:cubicBezTo>
                  <a:cubicBezTo>
                    <a:pt x="115" y="3969"/>
                    <a:pt x="93" y="3940"/>
                    <a:pt x="74" y="3966"/>
                  </a:cubicBezTo>
                  <a:cubicBezTo>
                    <a:pt x="55" y="3993"/>
                    <a:pt x="149" y="4042"/>
                    <a:pt x="179" y="4049"/>
                  </a:cubicBezTo>
                  <a:cubicBezTo>
                    <a:pt x="208" y="4056"/>
                    <a:pt x="236" y="4089"/>
                    <a:pt x="295" y="4080"/>
                  </a:cubicBezTo>
                  <a:cubicBezTo>
                    <a:pt x="354" y="4071"/>
                    <a:pt x="466" y="3962"/>
                    <a:pt x="481" y="3943"/>
                  </a:cubicBezTo>
                  <a:cubicBezTo>
                    <a:pt x="496" y="3923"/>
                    <a:pt x="528" y="3946"/>
                    <a:pt x="550" y="3928"/>
                  </a:cubicBezTo>
                  <a:cubicBezTo>
                    <a:pt x="573" y="3910"/>
                    <a:pt x="559" y="3865"/>
                    <a:pt x="576" y="3856"/>
                  </a:cubicBezTo>
                  <a:cubicBezTo>
                    <a:pt x="592" y="3847"/>
                    <a:pt x="601" y="3904"/>
                    <a:pt x="615" y="3910"/>
                  </a:cubicBezTo>
                  <a:cubicBezTo>
                    <a:pt x="629" y="3916"/>
                    <a:pt x="638" y="3926"/>
                    <a:pt x="639" y="3955"/>
                  </a:cubicBezTo>
                  <a:cubicBezTo>
                    <a:pt x="651" y="3954"/>
                    <a:pt x="663" y="3954"/>
                    <a:pt x="670" y="3960"/>
                  </a:cubicBezTo>
                  <a:cubicBezTo>
                    <a:pt x="689" y="3974"/>
                    <a:pt x="694" y="3913"/>
                    <a:pt x="694" y="3894"/>
                  </a:cubicBezTo>
                  <a:cubicBezTo>
                    <a:pt x="694" y="3875"/>
                    <a:pt x="713" y="3837"/>
                    <a:pt x="708" y="3813"/>
                  </a:cubicBezTo>
                  <a:cubicBezTo>
                    <a:pt x="703" y="3789"/>
                    <a:pt x="765" y="3808"/>
                    <a:pt x="775" y="3789"/>
                  </a:cubicBezTo>
                  <a:cubicBezTo>
                    <a:pt x="784" y="3770"/>
                    <a:pt x="789" y="3704"/>
                    <a:pt x="770" y="3694"/>
                  </a:cubicBezTo>
                  <a:cubicBezTo>
                    <a:pt x="751" y="3685"/>
                    <a:pt x="746" y="3647"/>
                    <a:pt x="765" y="3647"/>
                  </a:cubicBezTo>
                  <a:cubicBezTo>
                    <a:pt x="784" y="3647"/>
                    <a:pt x="808" y="3633"/>
                    <a:pt x="803" y="3595"/>
                  </a:cubicBezTo>
                  <a:cubicBezTo>
                    <a:pt x="798" y="3557"/>
                    <a:pt x="741" y="3562"/>
                    <a:pt x="737" y="3524"/>
                  </a:cubicBezTo>
                  <a:cubicBezTo>
                    <a:pt x="732" y="3486"/>
                    <a:pt x="765" y="3476"/>
                    <a:pt x="741" y="3429"/>
                  </a:cubicBezTo>
                  <a:cubicBezTo>
                    <a:pt x="718" y="3381"/>
                    <a:pt x="751" y="3353"/>
                    <a:pt x="741" y="3329"/>
                  </a:cubicBezTo>
                  <a:cubicBezTo>
                    <a:pt x="732" y="3306"/>
                    <a:pt x="722" y="3277"/>
                    <a:pt x="751" y="3230"/>
                  </a:cubicBezTo>
                  <a:cubicBezTo>
                    <a:pt x="779" y="3182"/>
                    <a:pt x="831" y="3159"/>
                    <a:pt x="850" y="3163"/>
                  </a:cubicBezTo>
                  <a:cubicBezTo>
                    <a:pt x="869" y="3168"/>
                    <a:pt x="903" y="3187"/>
                    <a:pt x="917" y="3159"/>
                  </a:cubicBezTo>
                  <a:cubicBezTo>
                    <a:pt x="931" y="3130"/>
                    <a:pt x="931" y="3106"/>
                    <a:pt x="917" y="3102"/>
                  </a:cubicBezTo>
                  <a:cubicBezTo>
                    <a:pt x="903" y="3097"/>
                    <a:pt x="865" y="3087"/>
                    <a:pt x="893" y="3049"/>
                  </a:cubicBezTo>
                  <a:cubicBezTo>
                    <a:pt x="921" y="3012"/>
                    <a:pt x="955" y="2964"/>
                    <a:pt x="959" y="2922"/>
                  </a:cubicBezTo>
                  <a:cubicBezTo>
                    <a:pt x="964" y="2879"/>
                    <a:pt x="950" y="2846"/>
                    <a:pt x="964" y="2831"/>
                  </a:cubicBezTo>
                  <a:cubicBezTo>
                    <a:pt x="978" y="2817"/>
                    <a:pt x="1012" y="2831"/>
                    <a:pt x="1040" y="2812"/>
                  </a:cubicBezTo>
                  <a:cubicBezTo>
                    <a:pt x="1068" y="2793"/>
                    <a:pt x="1045" y="2770"/>
                    <a:pt x="1059" y="2756"/>
                  </a:cubicBezTo>
                  <a:cubicBezTo>
                    <a:pt x="1073" y="2741"/>
                    <a:pt x="1092" y="2694"/>
                    <a:pt x="1111" y="2680"/>
                  </a:cubicBezTo>
                  <a:cubicBezTo>
                    <a:pt x="1130" y="2665"/>
                    <a:pt x="1149" y="2646"/>
                    <a:pt x="1135" y="2628"/>
                  </a:cubicBezTo>
                  <a:cubicBezTo>
                    <a:pt x="1121" y="2609"/>
                    <a:pt x="1163" y="2590"/>
                    <a:pt x="1163" y="2556"/>
                  </a:cubicBezTo>
                  <a:cubicBezTo>
                    <a:pt x="1163" y="2523"/>
                    <a:pt x="1211" y="2499"/>
                    <a:pt x="1239" y="2499"/>
                  </a:cubicBezTo>
                  <a:cubicBezTo>
                    <a:pt x="1268" y="2499"/>
                    <a:pt x="1315" y="2499"/>
                    <a:pt x="1315" y="2471"/>
                  </a:cubicBezTo>
                  <a:cubicBezTo>
                    <a:pt x="1315" y="2443"/>
                    <a:pt x="1296" y="2381"/>
                    <a:pt x="1339" y="2400"/>
                  </a:cubicBezTo>
                  <a:cubicBezTo>
                    <a:pt x="1381" y="2419"/>
                    <a:pt x="1415" y="2395"/>
                    <a:pt x="1443" y="2419"/>
                  </a:cubicBezTo>
                  <a:cubicBezTo>
                    <a:pt x="1471" y="2443"/>
                    <a:pt x="1509" y="2438"/>
                    <a:pt x="1509" y="2400"/>
                  </a:cubicBezTo>
                  <a:cubicBezTo>
                    <a:pt x="1509" y="2362"/>
                    <a:pt x="1524" y="2300"/>
                    <a:pt x="1566" y="2324"/>
                  </a:cubicBezTo>
                  <a:cubicBezTo>
                    <a:pt x="1570" y="2326"/>
                    <a:pt x="1573" y="2328"/>
                    <a:pt x="1576" y="2330"/>
                  </a:cubicBezTo>
                  <a:cubicBezTo>
                    <a:pt x="1590" y="2298"/>
                    <a:pt x="1617" y="2278"/>
                    <a:pt x="1642" y="2281"/>
                  </a:cubicBezTo>
                  <a:cubicBezTo>
                    <a:pt x="1680" y="2286"/>
                    <a:pt x="1704" y="2353"/>
                    <a:pt x="1751" y="2362"/>
                  </a:cubicBezTo>
                  <a:cubicBezTo>
                    <a:pt x="1799" y="2371"/>
                    <a:pt x="1846" y="2390"/>
                    <a:pt x="1860" y="2367"/>
                  </a:cubicBezTo>
                  <a:cubicBezTo>
                    <a:pt x="1875" y="2343"/>
                    <a:pt x="1908" y="2381"/>
                    <a:pt x="1936" y="2371"/>
                  </a:cubicBezTo>
                  <a:cubicBezTo>
                    <a:pt x="1965" y="2362"/>
                    <a:pt x="1965" y="2424"/>
                    <a:pt x="1993" y="2386"/>
                  </a:cubicBezTo>
                  <a:cubicBezTo>
                    <a:pt x="2022" y="2348"/>
                    <a:pt x="1988" y="2324"/>
                    <a:pt x="2036" y="2329"/>
                  </a:cubicBezTo>
                  <a:cubicBezTo>
                    <a:pt x="2083" y="2334"/>
                    <a:pt x="2055" y="2277"/>
                    <a:pt x="2055" y="2243"/>
                  </a:cubicBezTo>
                  <a:cubicBezTo>
                    <a:pt x="2055" y="2210"/>
                    <a:pt x="2116" y="2206"/>
                    <a:pt x="2116" y="2177"/>
                  </a:cubicBezTo>
                  <a:cubicBezTo>
                    <a:pt x="2116" y="2149"/>
                    <a:pt x="2202" y="2172"/>
                    <a:pt x="2216" y="2153"/>
                  </a:cubicBezTo>
                  <a:cubicBezTo>
                    <a:pt x="2230" y="2134"/>
                    <a:pt x="2278" y="2120"/>
                    <a:pt x="2297" y="2153"/>
                  </a:cubicBezTo>
                  <a:cubicBezTo>
                    <a:pt x="2316" y="2187"/>
                    <a:pt x="2396" y="2196"/>
                    <a:pt x="2401" y="2225"/>
                  </a:cubicBezTo>
                  <a:cubicBezTo>
                    <a:pt x="2403" y="2238"/>
                    <a:pt x="2401" y="2260"/>
                    <a:pt x="2401" y="2280"/>
                  </a:cubicBezTo>
                  <a:cubicBezTo>
                    <a:pt x="2414" y="2267"/>
                    <a:pt x="2431" y="2257"/>
                    <a:pt x="2447" y="2257"/>
                  </a:cubicBezTo>
                  <a:cubicBezTo>
                    <a:pt x="2476" y="2257"/>
                    <a:pt x="2503" y="2213"/>
                    <a:pt x="2529" y="2219"/>
                  </a:cubicBezTo>
                  <a:cubicBezTo>
                    <a:pt x="2551" y="2224"/>
                    <a:pt x="2573" y="2220"/>
                    <a:pt x="2580" y="2183"/>
                  </a:cubicBezTo>
                  <a:cubicBezTo>
                    <a:pt x="2556" y="2168"/>
                    <a:pt x="2511" y="2166"/>
                    <a:pt x="2506" y="2187"/>
                  </a:cubicBezTo>
                  <a:close/>
                  <a:moveTo>
                    <a:pt x="721" y="295"/>
                  </a:moveTo>
                  <a:cubicBezTo>
                    <a:pt x="763" y="304"/>
                    <a:pt x="677" y="350"/>
                    <a:pt x="663" y="392"/>
                  </a:cubicBezTo>
                  <a:cubicBezTo>
                    <a:pt x="650" y="434"/>
                    <a:pt x="730" y="472"/>
                    <a:pt x="763" y="503"/>
                  </a:cubicBezTo>
                  <a:cubicBezTo>
                    <a:pt x="796" y="534"/>
                    <a:pt x="876" y="529"/>
                    <a:pt x="905" y="512"/>
                  </a:cubicBezTo>
                  <a:cubicBezTo>
                    <a:pt x="933" y="494"/>
                    <a:pt x="925" y="432"/>
                    <a:pt x="962" y="434"/>
                  </a:cubicBezTo>
                  <a:cubicBezTo>
                    <a:pt x="1000" y="436"/>
                    <a:pt x="980" y="401"/>
                    <a:pt x="1011" y="390"/>
                  </a:cubicBezTo>
                  <a:cubicBezTo>
                    <a:pt x="1042" y="379"/>
                    <a:pt x="1046" y="419"/>
                    <a:pt x="1020" y="450"/>
                  </a:cubicBezTo>
                  <a:cubicBezTo>
                    <a:pt x="993" y="481"/>
                    <a:pt x="1066" y="478"/>
                    <a:pt x="1106" y="441"/>
                  </a:cubicBezTo>
                  <a:cubicBezTo>
                    <a:pt x="1146" y="403"/>
                    <a:pt x="1155" y="439"/>
                    <a:pt x="1146" y="474"/>
                  </a:cubicBezTo>
                  <a:cubicBezTo>
                    <a:pt x="1137" y="509"/>
                    <a:pt x="1055" y="489"/>
                    <a:pt x="1026" y="529"/>
                  </a:cubicBezTo>
                  <a:cubicBezTo>
                    <a:pt x="998" y="569"/>
                    <a:pt x="909" y="538"/>
                    <a:pt x="869" y="582"/>
                  </a:cubicBezTo>
                  <a:cubicBezTo>
                    <a:pt x="829" y="627"/>
                    <a:pt x="905" y="629"/>
                    <a:pt x="960" y="618"/>
                  </a:cubicBezTo>
                  <a:cubicBezTo>
                    <a:pt x="1015" y="607"/>
                    <a:pt x="1119" y="600"/>
                    <a:pt x="1159" y="609"/>
                  </a:cubicBezTo>
                  <a:cubicBezTo>
                    <a:pt x="1199" y="618"/>
                    <a:pt x="1135" y="631"/>
                    <a:pt x="1068" y="631"/>
                  </a:cubicBezTo>
                  <a:cubicBezTo>
                    <a:pt x="1002" y="631"/>
                    <a:pt x="980" y="651"/>
                    <a:pt x="982" y="669"/>
                  </a:cubicBezTo>
                  <a:cubicBezTo>
                    <a:pt x="984" y="686"/>
                    <a:pt x="889" y="649"/>
                    <a:pt x="885" y="689"/>
                  </a:cubicBezTo>
                  <a:cubicBezTo>
                    <a:pt x="880" y="729"/>
                    <a:pt x="973" y="744"/>
                    <a:pt x="984" y="768"/>
                  </a:cubicBezTo>
                  <a:cubicBezTo>
                    <a:pt x="995" y="793"/>
                    <a:pt x="1057" y="771"/>
                    <a:pt x="1082" y="779"/>
                  </a:cubicBezTo>
                  <a:cubicBezTo>
                    <a:pt x="1106" y="788"/>
                    <a:pt x="1042" y="806"/>
                    <a:pt x="1033" y="817"/>
                  </a:cubicBezTo>
                  <a:cubicBezTo>
                    <a:pt x="1024" y="828"/>
                    <a:pt x="1102" y="844"/>
                    <a:pt x="1115" y="866"/>
                  </a:cubicBezTo>
                  <a:cubicBezTo>
                    <a:pt x="1128" y="888"/>
                    <a:pt x="1183" y="877"/>
                    <a:pt x="1181" y="846"/>
                  </a:cubicBezTo>
                  <a:cubicBezTo>
                    <a:pt x="1178" y="807"/>
                    <a:pt x="1230" y="691"/>
                    <a:pt x="1296" y="667"/>
                  </a:cubicBezTo>
                  <a:cubicBezTo>
                    <a:pt x="1363" y="642"/>
                    <a:pt x="1325" y="620"/>
                    <a:pt x="1334" y="582"/>
                  </a:cubicBezTo>
                  <a:cubicBezTo>
                    <a:pt x="1343" y="545"/>
                    <a:pt x="1396" y="576"/>
                    <a:pt x="1380" y="545"/>
                  </a:cubicBezTo>
                  <a:cubicBezTo>
                    <a:pt x="1365" y="514"/>
                    <a:pt x="1374" y="501"/>
                    <a:pt x="1416" y="461"/>
                  </a:cubicBezTo>
                  <a:cubicBezTo>
                    <a:pt x="1458" y="421"/>
                    <a:pt x="1485" y="450"/>
                    <a:pt x="1535" y="425"/>
                  </a:cubicBezTo>
                  <a:cubicBezTo>
                    <a:pt x="1586" y="401"/>
                    <a:pt x="1611" y="443"/>
                    <a:pt x="1555" y="447"/>
                  </a:cubicBezTo>
                  <a:cubicBezTo>
                    <a:pt x="1507" y="451"/>
                    <a:pt x="1531" y="507"/>
                    <a:pt x="1571" y="523"/>
                  </a:cubicBezTo>
                  <a:cubicBezTo>
                    <a:pt x="1611" y="538"/>
                    <a:pt x="1575" y="551"/>
                    <a:pt x="1606" y="558"/>
                  </a:cubicBezTo>
                  <a:cubicBezTo>
                    <a:pt x="1637" y="565"/>
                    <a:pt x="1628" y="611"/>
                    <a:pt x="1589" y="653"/>
                  </a:cubicBezTo>
                  <a:cubicBezTo>
                    <a:pt x="1549" y="695"/>
                    <a:pt x="1600" y="704"/>
                    <a:pt x="1684" y="673"/>
                  </a:cubicBezTo>
                  <a:cubicBezTo>
                    <a:pt x="1768" y="642"/>
                    <a:pt x="1715" y="700"/>
                    <a:pt x="1739" y="724"/>
                  </a:cubicBezTo>
                  <a:cubicBezTo>
                    <a:pt x="1763" y="748"/>
                    <a:pt x="1830" y="706"/>
                    <a:pt x="1865" y="664"/>
                  </a:cubicBezTo>
                  <a:cubicBezTo>
                    <a:pt x="1901" y="622"/>
                    <a:pt x="1954" y="629"/>
                    <a:pt x="1952" y="607"/>
                  </a:cubicBezTo>
                  <a:cubicBezTo>
                    <a:pt x="1949" y="582"/>
                    <a:pt x="1912" y="576"/>
                    <a:pt x="1881" y="589"/>
                  </a:cubicBezTo>
                  <a:cubicBezTo>
                    <a:pt x="1850" y="602"/>
                    <a:pt x="1772" y="593"/>
                    <a:pt x="1799" y="569"/>
                  </a:cubicBezTo>
                  <a:cubicBezTo>
                    <a:pt x="1825" y="545"/>
                    <a:pt x="1821" y="525"/>
                    <a:pt x="1781" y="529"/>
                  </a:cubicBezTo>
                  <a:cubicBezTo>
                    <a:pt x="1741" y="534"/>
                    <a:pt x="1670" y="514"/>
                    <a:pt x="1704" y="501"/>
                  </a:cubicBezTo>
                  <a:cubicBezTo>
                    <a:pt x="1737" y="487"/>
                    <a:pt x="1679" y="443"/>
                    <a:pt x="1648" y="445"/>
                  </a:cubicBezTo>
                  <a:cubicBezTo>
                    <a:pt x="1617" y="447"/>
                    <a:pt x="1626" y="412"/>
                    <a:pt x="1628" y="388"/>
                  </a:cubicBezTo>
                  <a:cubicBezTo>
                    <a:pt x="1631" y="363"/>
                    <a:pt x="1540" y="352"/>
                    <a:pt x="1558" y="343"/>
                  </a:cubicBezTo>
                  <a:cubicBezTo>
                    <a:pt x="1575" y="334"/>
                    <a:pt x="1520" y="315"/>
                    <a:pt x="1507" y="332"/>
                  </a:cubicBezTo>
                  <a:cubicBezTo>
                    <a:pt x="1493" y="350"/>
                    <a:pt x="1467" y="346"/>
                    <a:pt x="1467" y="319"/>
                  </a:cubicBezTo>
                  <a:cubicBezTo>
                    <a:pt x="1467" y="292"/>
                    <a:pt x="1400" y="299"/>
                    <a:pt x="1374" y="301"/>
                  </a:cubicBezTo>
                  <a:cubicBezTo>
                    <a:pt x="1347" y="304"/>
                    <a:pt x="1361" y="244"/>
                    <a:pt x="1334" y="224"/>
                  </a:cubicBezTo>
                  <a:cubicBezTo>
                    <a:pt x="1307" y="204"/>
                    <a:pt x="1272" y="264"/>
                    <a:pt x="1252" y="259"/>
                  </a:cubicBezTo>
                  <a:cubicBezTo>
                    <a:pt x="1232" y="255"/>
                    <a:pt x="1268" y="215"/>
                    <a:pt x="1279" y="188"/>
                  </a:cubicBezTo>
                  <a:cubicBezTo>
                    <a:pt x="1290" y="162"/>
                    <a:pt x="1186" y="126"/>
                    <a:pt x="1175" y="153"/>
                  </a:cubicBezTo>
                  <a:cubicBezTo>
                    <a:pt x="1164" y="180"/>
                    <a:pt x="1144" y="113"/>
                    <a:pt x="1121" y="106"/>
                  </a:cubicBezTo>
                  <a:cubicBezTo>
                    <a:pt x="1099" y="100"/>
                    <a:pt x="1117" y="151"/>
                    <a:pt x="1097" y="155"/>
                  </a:cubicBezTo>
                  <a:cubicBezTo>
                    <a:pt x="1077" y="160"/>
                    <a:pt x="1051" y="180"/>
                    <a:pt x="1084" y="202"/>
                  </a:cubicBezTo>
                  <a:cubicBezTo>
                    <a:pt x="1117" y="224"/>
                    <a:pt x="1150" y="334"/>
                    <a:pt x="1146" y="352"/>
                  </a:cubicBezTo>
                  <a:cubicBezTo>
                    <a:pt x="1141" y="370"/>
                    <a:pt x="1040" y="273"/>
                    <a:pt x="1035" y="226"/>
                  </a:cubicBezTo>
                  <a:cubicBezTo>
                    <a:pt x="1031" y="180"/>
                    <a:pt x="980" y="142"/>
                    <a:pt x="967" y="175"/>
                  </a:cubicBezTo>
                  <a:cubicBezTo>
                    <a:pt x="953" y="208"/>
                    <a:pt x="916" y="222"/>
                    <a:pt x="927" y="255"/>
                  </a:cubicBezTo>
                  <a:cubicBezTo>
                    <a:pt x="938" y="288"/>
                    <a:pt x="900" y="299"/>
                    <a:pt x="900" y="273"/>
                  </a:cubicBezTo>
                  <a:cubicBezTo>
                    <a:pt x="900" y="246"/>
                    <a:pt x="845" y="215"/>
                    <a:pt x="825" y="213"/>
                  </a:cubicBezTo>
                  <a:cubicBezTo>
                    <a:pt x="805" y="211"/>
                    <a:pt x="876" y="197"/>
                    <a:pt x="909" y="182"/>
                  </a:cubicBezTo>
                  <a:cubicBezTo>
                    <a:pt x="942" y="166"/>
                    <a:pt x="880" y="144"/>
                    <a:pt x="851" y="162"/>
                  </a:cubicBezTo>
                  <a:cubicBezTo>
                    <a:pt x="823" y="180"/>
                    <a:pt x="785" y="151"/>
                    <a:pt x="767" y="175"/>
                  </a:cubicBezTo>
                  <a:cubicBezTo>
                    <a:pt x="750" y="199"/>
                    <a:pt x="728" y="175"/>
                    <a:pt x="697" y="168"/>
                  </a:cubicBezTo>
                  <a:cubicBezTo>
                    <a:pt x="666" y="162"/>
                    <a:pt x="639" y="213"/>
                    <a:pt x="617" y="204"/>
                  </a:cubicBezTo>
                  <a:cubicBezTo>
                    <a:pt x="595" y="195"/>
                    <a:pt x="581" y="248"/>
                    <a:pt x="617" y="304"/>
                  </a:cubicBezTo>
                  <a:cubicBezTo>
                    <a:pt x="652" y="359"/>
                    <a:pt x="679" y="286"/>
                    <a:pt x="721" y="295"/>
                  </a:cubicBezTo>
                  <a:close/>
                  <a:moveTo>
                    <a:pt x="630" y="474"/>
                  </a:moveTo>
                  <a:cubicBezTo>
                    <a:pt x="657" y="481"/>
                    <a:pt x="677" y="525"/>
                    <a:pt x="701" y="523"/>
                  </a:cubicBezTo>
                  <a:cubicBezTo>
                    <a:pt x="712" y="522"/>
                    <a:pt x="663" y="467"/>
                    <a:pt x="635" y="436"/>
                  </a:cubicBezTo>
                  <a:cubicBezTo>
                    <a:pt x="606" y="405"/>
                    <a:pt x="608" y="374"/>
                    <a:pt x="568" y="385"/>
                  </a:cubicBezTo>
                  <a:cubicBezTo>
                    <a:pt x="528" y="396"/>
                    <a:pt x="604" y="467"/>
                    <a:pt x="630" y="474"/>
                  </a:cubicBezTo>
                  <a:close/>
                  <a:moveTo>
                    <a:pt x="1334" y="115"/>
                  </a:moveTo>
                  <a:cubicBezTo>
                    <a:pt x="1354" y="131"/>
                    <a:pt x="1301" y="131"/>
                    <a:pt x="1323" y="153"/>
                  </a:cubicBezTo>
                  <a:cubicBezTo>
                    <a:pt x="1389" y="219"/>
                    <a:pt x="1651" y="144"/>
                    <a:pt x="1686" y="164"/>
                  </a:cubicBezTo>
                  <a:cubicBezTo>
                    <a:pt x="1721" y="184"/>
                    <a:pt x="1467" y="208"/>
                    <a:pt x="1478" y="235"/>
                  </a:cubicBezTo>
                  <a:cubicBezTo>
                    <a:pt x="1489" y="261"/>
                    <a:pt x="1697" y="284"/>
                    <a:pt x="1713" y="266"/>
                  </a:cubicBezTo>
                  <a:cubicBezTo>
                    <a:pt x="1728" y="248"/>
                    <a:pt x="1763" y="301"/>
                    <a:pt x="1832" y="306"/>
                  </a:cubicBezTo>
                  <a:cubicBezTo>
                    <a:pt x="1901" y="310"/>
                    <a:pt x="1894" y="279"/>
                    <a:pt x="1945" y="277"/>
                  </a:cubicBezTo>
                  <a:cubicBezTo>
                    <a:pt x="1996" y="275"/>
                    <a:pt x="2071" y="250"/>
                    <a:pt x="2073" y="222"/>
                  </a:cubicBezTo>
                  <a:cubicBezTo>
                    <a:pt x="2076" y="193"/>
                    <a:pt x="2224" y="157"/>
                    <a:pt x="2211" y="109"/>
                  </a:cubicBezTo>
                  <a:cubicBezTo>
                    <a:pt x="2197" y="60"/>
                    <a:pt x="2053" y="93"/>
                    <a:pt x="2014" y="73"/>
                  </a:cubicBezTo>
                  <a:cubicBezTo>
                    <a:pt x="1974" y="53"/>
                    <a:pt x="1881" y="27"/>
                    <a:pt x="1865" y="58"/>
                  </a:cubicBezTo>
                  <a:cubicBezTo>
                    <a:pt x="1850" y="89"/>
                    <a:pt x="1823" y="98"/>
                    <a:pt x="1810" y="84"/>
                  </a:cubicBezTo>
                  <a:cubicBezTo>
                    <a:pt x="1797" y="71"/>
                    <a:pt x="1817" y="0"/>
                    <a:pt x="1752" y="20"/>
                  </a:cubicBezTo>
                  <a:cubicBezTo>
                    <a:pt x="1688" y="40"/>
                    <a:pt x="1748" y="109"/>
                    <a:pt x="1735" y="118"/>
                  </a:cubicBezTo>
                  <a:cubicBezTo>
                    <a:pt x="1721" y="126"/>
                    <a:pt x="1659" y="104"/>
                    <a:pt x="1655" y="73"/>
                  </a:cubicBezTo>
                  <a:cubicBezTo>
                    <a:pt x="1651" y="42"/>
                    <a:pt x="1582" y="106"/>
                    <a:pt x="1573" y="69"/>
                  </a:cubicBezTo>
                  <a:cubicBezTo>
                    <a:pt x="1564" y="31"/>
                    <a:pt x="1482" y="5"/>
                    <a:pt x="1465" y="7"/>
                  </a:cubicBezTo>
                  <a:cubicBezTo>
                    <a:pt x="1447" y="9"/>
                    <a:pt x="1482" y="33"/>
                    <a:pt x="1471" y="51"/>
                  </a:cubicBezTo>
                  <a:cubicBezTo>
                    <a:pt x="1460" y="69"/>
                    <a:pt x="1416" y="33"/>
                    <a:pt x="1398" y="31"/>
                  </a:cubicBezTo>
                  <a:cubicBezTo>
                    <a:pt x="1380" y="29"/>
                    <a:pt x="1409" y="69"/>
                    <a:pt x="1400" y="87"/>
                  </a:cubicBezTo>
                  <a:cubicBezTo>
                    <a:pt x="1392" y="104"/>
                    <a:pt x="1356" y="33"/>
                    <a:pt x="1325" y="33"/>
                  </a:cubicBezTo>
                  <a:cubicBezTo>
                    <a:pt x="1294" y="33"/>
                    <a:pt x="1305" y="69"/>
                    <a:pt x="1283" y="71"/>
                  </a:cubicBezTo>
                  <a:cubicBezTo>
                    <a:pt x="1261" y="73"/>
                    <a:pt x="1314" y="100"/>
                    <a:pt x="1334" y="11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3" name="Freeform 143"/>
            <p:cNvSpPr>
              <a:spLocks noEditPoints="1"/>
            </p:cNvSpPr>
            <p:nvPr/>
          </p:nvSpPr>
          <p:spPr bwMode="auto">
            <a:xfrm>
              <a:off x="18144614" y="6337067"/>
              <a:ext cx="864494" cy="866169"/>
            </a:xfrm>
            <a:custGeom>
              <a:avLst/>
              <a:gdLst>
                <a:gd name="T0" fmla="*/ 1514 w 1709"/>
                <a:gd name="T1" fmla="*/ 213 h 1716"/>
                <a:gd name="T2" fmla="*/ 1231 w 1709"/>
                <a:gd name="T3" fmla="*/ 83 h 1716"/>
                <a:gd name="T4" fmla="*/ 1196 w 1709"/>
                <a:gd name="T5" fmla="*/ 275 h 1716"/>
                <a:gd name="T6" fmla="*/ 1075 w 1709"/>
                <a:gd name="T7" fmla="*/ 369 h 1716"/>
                <a:gd name="T8" fmla="*/ 1057 w 1709"/>
                <a:gd name="T9" fmla="*/ 505 h 1716"/>
                <a:gd name="T10" fmla="*/ 1160 w 1709"/>
                <a:gd name="T11" fmla="*/ 473 h 1716"/>
                <a:gd name="T12" fmla="*/ 1184 w 1709"/>
                <a:gd name="T13" fmla="*/ 390 h 1716"/>
                <a:gd name="T14" fmla="*/ 1399 w 1709"/>
                <a:gd name="T15" fmla="*/ 402 h 1716"/>
                <a:gd name="T16" fmla="*/ 1597 w 1709"/>
                <a:gd name="T17" fmla="*/ 287 h 1716"/>
                <a:gd name="T18" fmla="*/ 1615 w 1709"/>
                <a:gd name="T19" fmla="*/ 189 h 1716"/>
                <a:gd name="T20" fmla="*/ 1054 w 1709"/>
                <a:gd name="T21" fmla="*/ 726 h 1716"/>
                <a:gd name="T22" fmla="*/ 942 w 1709"/>
                <a:gd name="T23" fmla="*/ 957 h 1716"/>
                <a:gd name="T24" fmla="*/ 785 w 1709"/>
                <a:gd name="T25" fmla="*/ 995 h 1716"/>
                <a:gd name="T26" fmla="*/ 650 w 1709"/>
                <a:gd name="T27" fmla="*/ 1175 h 1716"/>
                <a:gd name="T28" fmla="*/ 467 w 1709"/>
                <a:gd name="T29" fmla="*/ 1211 h 1716"/>
                <a:gd name="T30" fmla="*/ 165 w 1709"/>
                <a:gd name="T31" fmla="*/ 1335 h 1716"/>
                <a:gd name="T32" fmla="*/ 275 w 1709"/>
                <a:gd name="T33" fmla="*/ 1367 h 1716"/>
                <a:gd name="T34" fmla="*/ 567 w 1709"/>
                <a:gd name="T35" fmla="*/ 1394 h 1716"/>
                <a:gd name="T36" fmla="*/ 720 w 1709"/>
                <a:gd name="T37" fmla="*/ 1320 h 1716"/>
                <a:gd name="T38" fmla="*/ 877 w 1709"/>
                <a:gd name="T39" fmla="*/ 1296 h 1716"/>
                <a:gd name="T40" fmla="*/ 1010 w 1709"/>
                <a:gd name="T41" fmla="*/ 1243 h 1716"/>
                <a:gd name="T42" fmla="*/ 1131 w 1709"/>
                <a:gd name="T43" fmla="*/ 1087 h 1716"/>
                <a:gd name="T44" fmla="*/ 1246 w 1709"/>
                <a:gd name="T45" fmla="*/ 824 h 1716"/>
                <a:gd name="T46" fmla="*/ 1072 w 1709"/>
                <a:gd name="T47" fmla="*/ 594 h 1716"/>
                <a:gd name="T48" fmla="*/ 328 w 1709"/>
                <a:gd name="T49" fmla="*/ 1388 h 1716"/>
                <a:gd name="T50" fmla="*/ 369 w 1709"/>
                <a:gd name="T51" fmla="*/ 1494 h 1716"/>
                <a:gd name="T52" fmla="*/ 523 w 1709"/>
                <a:gd name="T53" fmla="*/ 1373 h 1716"/>
                <a:gd name="T54" fmla="*/ 219 w 1709"/>
                <a:gd name="T55" fmla="*/ 1476 h 1716"/>
                <a:gd name="T56" fmla="*/ 59 w 1709"/>
                <a:gd name="T57" fmla="*/ 1447 h 1716"/>
                <a:gd name="T58" fmla="*/ 74 w 1709"/>
                <a:gd name="T59" fmla="*/ 1488 h 1716"/>
                <a:gd name="T60" fmla="*/ 127 w 1709"/>
                <a:gd name="T61" fmla="*/ 1709 h 1716"/>
                <a:gd name="T62" fmla="*/ 219 w 1709"/>
                <a:gd name="T63" fmla="*/ 1476 h 1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09" h="1716">
                  <a:moveTo>
                    <a:pt x="1615" y="189"/>
                  </a:moveTo>
                  <a:cubicBezTo>
                    <a:pt x="1594" y="163"/>
                    <a:pt x="1559" y="204"/>
                    <a:pt x="1514" y="213"/>
                  </a:cubicBezTo>
                  <a:cubicBezTo>
                    <a:pt x="1470" y="222"/>
                    <a:pt x="1331" y="107"/>
                    <a:pt x="1296" y="54"/>
                  </a:cubicBezTo>
                  <a:cubicBezTo>
                    <a:pt x="1260" y="0"/>
                    <a:pt x="1201" y="45"/>
                    <a:pt x="1231" y="83"/>
                  </a:cubicBezTo>
                  <a:cubicBezTo>
                    <a:pt x="1261" y="121"/>
                    <a:pt x="1225" y="133"/>
                    <a:pt x="1225" y="186"/>
                  </a:cubicBezTo>
                  <a:cubicBezTo>
                    <a:pt x="1225" y="239"/>
                    <a:pt x="1190" y="239"/>
                    <a:pt x="1196" y="275"/>
                  </a:cubicBezTo>
                  <a:cubicBezTo>
                    <a:pt x="1201" y="310"/>
                    <a:pt x="1148" y="304"/>
                    <a:pt x="1113" y="310"/>
                  </a:cubicBezTo>
                  <a:cubicBezTo>
                    <a:pt x="1078" y="316"/>
                    <a:pt x="1116" y="352"/>
                    <a:pt x="1075" y="369"/>
                  </a:cubicBezTo>
                  <a:cubicBezTo>
                    <a:pt x="1033" y="387"/>
                    <a:pt x="1036" y="417"/>
                    <a:pt x="1057" y="428"/>
                  </a:cubicBezTo>
                  <a:cubicBezTo>
                    <a:pt x="1078" y="440"/>
                    <a:pt x="1063" y="479"/>
                    <a:pt x="1057" y="505"/>
                  </a:cubicBezTo>
                  <a:cubicBezTo>
                    <a:pt x="1051" y="532"/>
                    <a:pt x="1083" y="511"/>
                    <a:pt x="1107" y="485"/>
                  </a:cubicBezTo>
                  <a:cubicBezTo>
                    <a:pt x="1131" y="458"/>
                    <a:pt x="1155" y="497"/>
                    <a:pt x="1160" y="473"/>
                  </a:cubicBezTo>
                  <a:cubicBezTo>
                    <a:pt x="1166" y="443"/>
                    <a:pt x="1098" y="428"/>
                    <a:pt x="1101" y="399"/>
                  </a:cubicBezTo>
                  <a:cubicBezTo>
                    <a:pt x="1104" y="369"/>
                    <a:pt x="1148" y="408"/>
                    <a:pt x="1184" y="390"/>
                  </a:cubicBezTo>
                  <a:cubicBezTo>
                    <a:pt x="1219" y="372"/>
                    <a:pt x="1290" y="387"/>
                    <a:pt x="1334" y="425"/>
                  </a:cubicBezTo>
                  <a:cubicBezTo>
                    <a:pt x="1379" y="464"/>
                    <a:pt x="1390" y="449"/>
                    <a:pt x="1399" y="402"/>
                  </a:cubicBezTo>
                  <a:cubicBezTo>
                    <a:pt x="1408" y="355"/>
                    <a:pt x="1476" y="334"/>
                    <a:pt x="1544" y="334"/>
                  </a:cubicBezTo>
                  <a:cubicBezTo>
                    <a:pt x="1612" y="334"/>
                    <a:pt x="1618" y="301"/>
                    <a:pt x="1597" y="287"/>
                  </a:cubicBezTo>
                  <a:cubicBezTo>
                    <a:pt x="1576" y="272"/>
                    <a:pt x="1709" y="186"/>
                    <a:pt x="1706" y="163"/>
                  </a:cubicBezTo>
                  <a:cubicBezTo>
                    <a:pt x="1703" y="139"/>
                    <a:pt x="1635" y="216"/>
                    <a:pt x="1615" y="189"/>
                  </a:cubicBezTo>
                  <a:close/>
                  <a:moveTo>
                    <a:pt x="1072" y="594"/>
                  </a:moveTo>
                  <a:cubicBezTo>
                    <a:pt x="1042" y="608"/>
                    <a:pt x="1021" y="700"/>
                    <a:pt x="1054" y="726"/>
                  </a:cubicBezTo>
                  <a:cubicBezTo>
                    <a:pt x="1086" y="753"/>
                    <a:pt x="1001" y="803"/>
                    <a:pt x="1004" y="859"/>
                  </a:cubicBezTo>
                  <a:cubicBezTo>
                    <a:pt x="1007" y="915"/>
                    <a:pt x="951" y="915"/>
                    <a:pt x="942" y="957"/>
                  </a:cubicBezTo>
                  <a:cubicBezTo>
                    <a:pt x="933" y="998"/>
                    <a:pt x="900" y="989"/>
                    <a:pt x="850" y="1028"/>
                  </a:cubicBezTo>
                  <a:cubicBezTo>
                    <a:pt x="800" y="1066"/>
                    <a:pt x="774" y="1022"/>
                    <a:pt x="785" y="995"/>
                  </a:cubicBezTo>
                  <a:cubicBezTo>
                    <a:pt x="797" y="968"/>
                    <a:pt x="709" y="1010"/>
                    <a:pt x="711" y="1075"/>
                  </a:cubicBezTo>
                  <a:cubicBezTo>
                    <a:pt x="715" y="1140"/>
                    <a:pt x="629" y="1146"/>
                    <a:pt x="650" y="1175"/>
                  </a:cubicBezTo>
                  <a:cubicBezTo>
                    <a:pt x="670" y="1205"/>
                    <a:pt x="585" y="1222"/>
                    <a:pt x="588" y="1196"/>
                  </a:cubicBezTo>
                  <a:cubicBezTo>
                    <a:pt x="591" y="1169"/>
                    <a:pt x="534" y="1184"/>
                    <a:pt x="467" y="1211"/>
                  </a:cubicBezTo>
                  <a:cubicBezTo>
                    <a:pt x="399" y="1237"/>
                    <a:pt x="357" y="1181"/>
                    <a:pt x="319" y="1219"/>
                  </a:cubicBezTo>
                  <a:cubicBezTo>
                    <a:pt x="281" y="1258"/>
                    <a:pt x="216" y="1326"/>
                    <a:pt x="165" y="1335"/>
                  </a:cubicBezTo>
                  <a:cubicBezTo>
                    <a:pt x="115" y="1343"/>
                    <a:pt x="144" y="1404"/>
                    <a:pt x="165" y="1394"/>
                  </a:cubicBezTo>
                  <a:cubicBezTo>
                    <a:pt x="201" y="1376"/>
                    <a:pt x="257" y="1394"/>
                    <a:pt x="275" y="1367"/>
                  </a:cubicBezTo>
                  <a:cubicBezTo>
                    <a:pt x="292" y="1340"/>
                    <a:pt x="437" y="1308"/>
                    <a:pt x="526" y="1305"/>
                  </a:cubicBezTo>
                  <a:cubicBezTo>
                    <a:pt x="614" y="1302"/>
                    <a:pt x="561" y="1346"/>
                    <a:pt x="567" y="1394"/>
                  </a:cubicBezTo>
                  <a:cubicBezTo>
                    <a:pt x="573" y="1441"/>
                    <a:pt x="647" y="1432"/>
                    <a:pt x="685" y="1388"/>
                  </a:cubicBezTo>
                  <a:cubicBezTo>
                    <a:pt x="723" y="1343"/>
                    <a:pt x="753" y="1346"/>
                    <a:pt x="720" y="1320"/>
                  </a:cubicBezTo>
                  <a:cubicBezTo>
                    <a:pt x="688" y="1293"/>
                    <a:pt x="726" y="1270"/>
                    <a:pt x="750" y="1305"/>
                  </a:cubicBezTo>
                  <a:cubicBezTo>
                    <a:pt x="774" y="1340"/>
                    <a:pt x="847" y="1343"/>
                    <a:pt x="877" y="1296"/>
                  </a:cubicBezTo>
                  <a:cubicBezTo>
                    <a:pt x="906" y="1249"/>
                    <a:pt x="915" y="1305"/>
                    <a:pt x="951" y="1302"/>
                  </a:cubicBezTo>
                  <a:cubicBezTo>
                    <a:pt x="986" y="1299"/>
                    <a:pt x="1007" y="1211"/>
                    <a:pt x="1010" y="1243"/>
                  </a:cubicBezTo>
                  <a:cubicBezTo>
                    <a:pt x="1013" y="1275"/>
                    <a:pt x="1069" y="1267"/>
                    <a:pt x="1104" y="1228"/>
                  </a:cubicBezTo>
                  <a:cubicBezTo>
                    <a:pt x="1139" y="1190"/>
                    <a:pt x="1107" y="1122"/>
                    <a:pt x="1131" y="1087"/>
                  </a:cubicBezTo>
                  <a:cubicBezTo>
                    <a:pt x="1154" y="1051"/>
                    <a:pt x="1178" y="977"/>
                    <a:pt x="1154" y="933"/>
                  </a:cubicBezTo>
                  <a:cubicBezTo>
                    <a:pt x="1131" y="889"/>
                    <a:pt x="1207" y="859"/>
                    <a:pt x="1246" y="824"/>
                  </a:cubicBezTo>
                  <a:cubicBezTo>
                    <a:pt x="1284" y="788"/>
                    <a:pt x="1201" y="611"/>
                    <a:pt x="1198" y="558"/>
                  </a:cubicBezTo>
                  <a:cubicBezTo>
                    <a:pt x="1196" y="505"/>
                    <a:pt x="1101" y="579"/>
                    <a:pt x="1072" y="594"/>
                  </a:cubicBezTo>
                  <a:close/>
                  <a:moveTo>
                    <a:pt x="422" y="1361"/>
                  </a:moveTo>
                  <a:cubicBezTo>
                    <a:pt x="410" y="1394"/>
                    <a:pt x="375" y="1379"/>
                    <a:pt x="328" y="1388"/>
                  </a:cubicBezTo>
                  <a:cubicBezTo>
                    <a:pt x="281" y="1397"/>
                    <a:pt x="279" y="1509"/>
                    <a:pt x="313" y="1520"/>
                  </a:cubicBezTo>
                  <a:cubicBezTo>
                    <a:pt x="340" y="1529"/>
                    <a:pt x="360" y="1529"/>
                    <a:pt x="369" y="1494"/>
                  </a:cubicBezTo>
                  <a:cubicBezTo>
                    <a:pt x="378" y="1458"/>
                    <a:pt x="425" y="1447"/>
                    <a:pt x="455" y="1461"/>
                  </a:cubicBezTo>
                  <a:cubicBezTo>
                    <a:pt x="484" y="1476"/>
                    <a:pt x="523" y="1417"/>
                    <a:pt x="523" y="1373"/>
                  </a:cubicBezTo>
                  <a:cubicBezTo>
                    <a:pt x="523" y="1329"/>
                    <a:pt x="434" y="1329"/>
                    <a:pt x="422" y="1361"/>
                  </a:cubicBezTo>
                  <a:close/>
                  <a:moveTo>
                    <a:pt x="219" y="1476"/>
                  </a:moveTo>
                  <a:cubicBezTo>
                    <a:pt x="219" y="1447"/>
                    <a:pt x="154" y="1453"/>
                    <a:pt x="151" y="1426"/>
                  </a:cubicBezTo>
                  <a:cubicBezTo>
                    <a:pt x="148" y="1399"/>
                    <a:pt x="104" y="1414"/>
                    <a:pt x="59" y="1447"/>
                  </a:cubicBezTo>
                  <a:cubicBezTo>
                    <a:pt x="15" y="1479"/>
                    <a:pt x="0" y="1485"/>
                    <a:pt x="18" y="1518"/>
                  </a:cubicBezTo>
                  <a:cubicBezTo>
                    <a:pt x="36" y="1550"/>
                    <a:pt x="62" y="1520"/>
                    <a:pt x="74" y="1488"/>
                  </a:cubicBezTo>
                  <a:cubicBezTo>
                    <a:pt x="86" y="1456"/>
                    <a:pt x="115" y="1535"/>
                    <a:pt x="89" y="1588"/>
                  </a:cubicBezTo>
                  <a:cubicBezTo>
                    <a:pt x="62" y="1642"/>
                    <a:pt x="92" y="1716"/>
                    <a:pt x="127" y="1709"/>
                  </a:cubicBezTo>
                  <a:cubicBezTo>
                    <a:pt x="157" y="1703"/>
                    <a:pt x="195" y="1597"/>
                    <a:pt x="239" y="1541"/>
                  </a:cubicBezTo>
                  <a:cubicBezTo>
                    <a:pt x="284" y="1485"/>
                    <a:pt x="219" y="1506"/>
                    <a:pt x="219" y="147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4" name="Freeform 144"/>
            <p:cNvSpPr>
              <a:spLocks noEditPoints="1"/>
            </p:cNvSpPr>
            <p:nvPr/>
          </p:nvSpPr>
          <p:spPr bwMode="auto">
            <a:xfrm>
              <a:off x="15386944" y="5812675"/>
              <a:ext cx="3029081" cy="2099247"/>
            </a:xfrm>
            <a:custGeom>
              <a:avLst/>
              <a:gdLst>
                <a:gd name="T0" fmla="*/ 5698 w 5996"/>
                <a:gd name="T1" fmla="*/ 777 h 4153"/>
                <a:gd name="T2" fmla="*/ 5409 w 5996"/>
                <a:gd name="T3" fmla="*/ 561 h 4153"/>
                <a:gd name="T4" fmla="*/ 5164 w 5996"/>
                <a:gd name="T5" fmla="*/ 231 h 4153"/>
                <a:gd name="T6" fmla="*/ 4819 w 5996"/>
                <a:gd name="T7" fmla="*/ 12 h 4153"/>
                <a:gd name="T8" fmla="*/ 4583 w 5996"/>
                <a:gd name="T9" fmla="*/ 189 h 4153"/>
                <a:gd name="T10" fmla="*/ 4385 w 5996"/>
                <a:gd name="T11" fmla="*/ 482 h 4153"/>
                <a:gd name="T12" fmla="*/ 4091 w 5996"/>
                <a:gd name="T13" fmla="*/ 648 h 4153"/>
                <a:gd name="T14" fmla="*/ 4271 w 5996"/>
                <a:gd name="T15" fmla="*/ 770 h 4153"/>
                <a:gd name="T16" fmla="*/ 4265 w 5996"/>
                <a:gd name="T17" fmla="*/ 931 h 4153"/>
                <a:gd name="T18" fmla="*/ 3744 w 5996"/>
                <a:gd name="T19" fmla="*/ 1124 h 4153"/>
                <a:gd name="T20" fmla="*/ 3371 w 5996"/>
                <a:gd name="T21" fmla="*/ 1439 h 4153"/>
                <a:gd name="T22" fmla="*/ 2792 w 5996"/>
                <a:gd name="T23" fmla="*/ 1471 h 4153"/>
                <a:gd name="T24" fmla="*/ 2136 w 5996"/>
                <a:gd name="T25" fmla="*/ 1388 h 4153"/>
                <a:gd name="T26" fmla="*/ 1862 w 5996"/>
                <a:gd name="T27" fmla="*/ 1111 h 4153"/>
                <a:gd name="T28" fmla="*/ 1613 w 5996"/>
                <a:gd name="T29" fmla="*/ 799 h 4153"/>
                <a:gd name="T30" fmla="*/ 1362 w 5996"/>
                <a:gd name="T31" fmla="*/ 576 h 4153"/>
                <a:gd name="T32" fmla="*/ 1220 w 5996"/>
                <a:gd name="T33" fmla="*/ 674 h 4153"/>
                <a:gd name="T34" fmla="*/ 983 w 5996"/>
                <a:gd name="T35" fmla="*/ 856 h 4153"/>
                <a:gd name="T36" fmla="*/ 783 w 5996"/>
                <a:gd name="T37" fmla="*/ 1076 h 4153"/>
                <a:gd name="T38" fmla="*/ 694 w 5996"/>
                <a:gd name="T39" fmla="*/ 1331 h 4153"/>
                <a:gd name="T40" fmla="*/ 468 w 5996"/>
                <a:gd name="T41" fmla="*/ 1557 h 4153"/>
                <a:gd name="T42" fmla="*/ 176 w 5996"/>
                <a:gd name="T43" fmla="*/ 1647 h 4153"/>
                <a:gd name="T44" fmla="*/ 0 w 5996"/>
                <a:gd name="T45" fmla="*/ 1779 h 4153"/>
                <a:gd name="T46" fmla="*/ 134 w 5996"/>
                <a:gd name="T47" fmla="*/ 2063 h 4153"/>
                <a:gd name="T48" fmla="*/ 351 w 5996"/>
                <a:gd name="T49" fmla="*/ 2253 h 4153"/>
                <a:gd name="T50" fmla="*/ 530 w 5996"/>
                <a:gd name="T51" fmla="*/ 2194 h 4153"/>
                <a:gd name="T52" fmla="*/ 497 w 5996"/>
                <a:gd name="T53" fmla="*/ 2449 h 4153"/>
                <a:gd name="T54" fmla="*/ 505 w 5996"/>
                <a:gd name="T55" fmla="*/ 2693 h 4153"/>
                <a:gd name="T56" fmla="*/ 688 w 5996"/>
                <a:gd name="T57" fmla="*/ 2853 h 4153"/>
                <a:gd name="T58" fmla="*/ 1225 w 5996"/>
                <a:gd name="T59" fmla="*/ 3075 h 4153"/>
                <a:gd name="T60" fmla="*/ 1443 w 5996"/>
                <a:gd name="T61" fmla="*/ 3127 h 4153"/>
                <a:gd name="T62" fmla="*/ 1624 w 5996"/>
                <a:gd name="T63" fmla="*/ 3080 h 4153"/>
                <a:gd name="T64" fmla="*/ 1861 w 5996"/>
                <a:gd name="T65" fmla="*/ 3016 h 4153"/>
                <a:gd name="T66" fmla="*/ 2156 w 5996"/>
                <a:gd name="T67" fmla="*/ 3016 h 4153"/>
                <a:gd name="T68" fmla="*/ 2319 w 5996"/>
                <a:gd name="T69" fmla="*/ 3122 h 4153"/>
                <a:gd name="T70" fmla="*/ 2270 w 5996"/>
                <a:gd name="T71" fmla="*/ 3505 h 4153"/>
                <a:gd name="T72" fmla="*/ 2429 w 5996"/>
                <a:gd name="T73" fmla="*/ 3715 h 4153"/>
                <a:gd name="T74" fmla="*/ 2641 w 5996"/>
                <a:gd name="T75" fmla="*/ 3812 h 4153"/>
                <a:gd name="T76" fmla="*/ 2803 w 5996"/>
                <a:gd name="T77" fmla="*/ 3651 h 4153"/>
                <a:gd name="T78" fmla="*/ 3118 w 5996"/>
                <a:gd name="T79" fmla="*/ 3631 h 4153"/>
                <a:gd name="T80" fmla="*/ 3325 w 5996"/>
                <a:gd name="T81" fmla="*/ 3765 h 4153"/>
                <a:gd name="T82" fmla="*/ 3486 w 5996"/>
                <a:gd name="T83" fmla="*/ 3896 h 4153"/>
                <a:gd name="T84" fmla="*/ 3945 w 5996"/>
                <a:gd name="T85" fmla="*/ 3659 h 4153"/>
                <a:gd name="T86" fmla="*/ 4293 w 5996"/>
                <a:gd name="T87" fmla="*/ 3471 h 4153"/>
                <a:gd name="T88" fmla="*/ 4468 w 5996"/>
                <a:gd name="T89" fmla="*/ 3266 h 4153"/>
                <a:gd name="T90" fmla="*/ 4634 w 5996"/>
                <a:gd name="T91" fmla="*/ 3055 h 4153"/>
                <a:gd name="T92" fmla="*/ 4673 w 5996"/>
                <a:gd name="T93" fmla="*/ 2863 h 4153"/>
                <a:gd name="T94" fmla="*/ 4624 w 5996"/>
                <a:gd name="T95" fmla="*/ 2716 h 4153"/>
                <a:gd name="T96" fmla="*/ 4596 w 5996"/>
                <a:gd name="T97" fmla="*/ 2571 h 4153"/>
                <a:gd name="T98" fmla="*/ 4473 w 5996"/>
                <a:gd name="T99" fmla="*/ 2235 h 4153"/>
                <a:gd name="T100" fmla="*/ 4749 w 5996"/>
                <a:gd name="T101" fmla="*/ 2078 h 4153"/>
                <a:gd name="T102" fmla="*/ 4400 w 5996"/>
                <a:gd name="T103" fmla="*/ 1982 h 4153"/>
                <a:gd name="T104" fmla="*/ 4535 w 5996"/>
                <a:gd name="T105" fmla="*/ 1705 h 4153"/>
                <a:gd name="T106" fmla="*/ 4692 w 5996"/>
                <a:gd name="T107" fmla="*/ 1850 h 4153"/>
                <a:gd name="T108" fmla="*/ 5139 w 5996"/>
                <a:gd name="T109" fmla="*/ 1593 h 4153"/>
                <a:gd name="T110" fmla="*/ 5371 w 5996"/>
                <a:gd name="T111" fmla="*/ 1490 h 4153"/>
                <a:gd name="T112" fmla="*/ 5610 w 5996"/>
                <a:gd name="T113" fmla="*/ 1398 h 4153"/>
                <a:gd name="T114" fmla="*/ 5636 w 5996"/>
                <a:gd name="T115" fmla="*/ 1131 h 4153"/>
                <a:gd name="T116" fmla="*/ 5914 w 5996"/>
                <a:gd name="T117" fmla="*/ 951 h 4153"/>
                <a:gd name="T118" fmla="*/ 4571 w 5996"/>
                <a:gd name="T119" fmla="*/ 3708 h 4153"/>
                <a:gd name="T120" fmla="*/ 3367 w 5996"/>
                <a:gd name="T121" fmla="*/ 4074 h 4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96" h="4153">
                  <a:moveTo>
                    <a:pt x="5964" y="741"/>
                  </a:moveTo>
                  <a:cubicBezTo>
                    <a:pt x="5967" y="688"/>
                    <a:pt x="5905" y="706"/>
                    <a:pt x="5884" y="721"/>
                  </a:cubicBezTo>
                  <a:cubicBezTo>
                    <a:pt x="5864" y="735"/>
                    <a:pt x="5805" y="721"/>
                    <a:pt x="5787" y="756"/>
                  </a:cubicBezTo>
                  <a:cubicBezTo>
                    <a:pt x="5769" y="791"/>
                    <a:pt x="5740" y="771"/>
                    <a:pt x="5698" y="777"/>
                  </a:cubicBezTo>
                  <a:cubicBezTo>
                    <a:pt x="5657" y="783"/>
                    <a:pt x="5598" y="765"/>
                    <a:pt x="5601" y="738"/>
                  </a:cubicBezTo>
                  <a:cubicBezTo>
                    <a:pt x="5604" y="712"/>
                    <a:pt x="5577" y="685"/>
                    <a:pt x="5580" y="653"/>
                  </a:cubicBezTo>
                  <a:cubicBezTo>
                    <a:pt x="5583" y="620"/>
                    <a:pt x="5539" y="635"/>
                    <a:pt x="5509" y="606"/>
                  </a:cubicBezTo>
                  <a:cubicBezTo>
                    <a:pt x="5480" y="576"/>
                    <a:pt x="5421" y="555"/>
                    <a:pt x="5409" y="561"/>
                  </a:cubicBezTo>
                  <a:cubicBezTo>
                    <a:pt x="5397" y="567"/>
                    <a:pt x="5362" y="529"/>
                    <a:pt x="5312" y="526"/>
                  </a:cubicBezTo>
                  <a:cubicBezTo>
                    <a:pt x="5261" y="523"/>
                    <a:pt x="5267" y="490"/>
                    <a:pt x="5273" y="470"/>
                  </a:cubicBezTo>
                  <a:cubicBezTo>
                    <a:pt x="5279" y="449"/>
                    <a:pt x="5232" y="384"/>
                    <a:pt x="5223" y="349"/>
                  </a:cubicBezTo>
                  <a:cubicBezTo>
                    <a:pt x="5214" y="313"/>
                    <a:pt x="5179" y="307"/>
                    <a:pt x="5164" y="231"/>
                  </a:cubicBezTo>
                  <a:cubicBezTo>
                    <a:pt x="5149" y="154"/>
                    <a:pt x="5108" y="175"/>
                    <a:pt x="5117" y="139"/>
                  </a:cubicBezTo>
                  <a:cubicBezTo>
                    <a:pt x="5126" y="104"/>
                    <a:pt x="5067" y="86"/>
                    <a:pt x="5052" y="65"/>
                  </a:cubicBezTo>
                  <a:cubicBezTo>
                    <a:pt x="5037" y="45"/>
                    <a:pt x="4975" y="54"/>
                    <a:pt x="4931" y="30"/>
                  </a:cubicBezTo>
                  <a:cubicBezTo>
                    <a:pt x="4887" y="6"/>
                    <a:pt x="4860" y="24"/>
                    <a:pt x="4819" y="12"/>
                  </a:cubicBezTo>
                  <a:cubicBezTo>
                    <a:pt x="4777" y="0"/>
                    <a:pt x="4683" y="24"/>
                    <a:pt x="4671" y="24"/>
                  </a:cubicBezTo>
                  <a:cubicBezTo>
                    <a:pt x="4659" y="24"/>
                    <a:pt x="4586" y="9"/>
                    <a:pt x="4544" y="65"/>
                  </a:cubicBezTo>
                  <a:cubicBezTo>
                    <a:pt x="4503" y="122"/>
                    <a:pt x="4535" y="119"/>
                    <a:pt x="4553" y="119"/>
                  </a:cubicBezTo>
                  <a:cubicBezTo>
                    <a:pt x="4571" y="119"/>
                    <a:pt x="4580" y="172"/>
                    <a:pt x="4583" y="189"/>
                  </a:cubicBezTo>
                  <a:cubicBezTo>
                    <a:pt x="4586" y="207"/>
                    <a:pt x="4553" y="234"/>
                    <a:pt x="4538" y="240"/>
                  </a:cubicBezTo>
                  <a:cubicBezTo>
                    <a:pt x="4524" y="245"/>
                    <a:pt x="4482" y="310"/>
                    <a:pt x="4476" y="334"/>
                  </a:cubicBezTo>
                  <a:cubicBezTo>
                    <a:pt x="4470" y="358"/>
                    <a:pt x="4423" y="417"/>
                    <a:pt x="4429" y="437"/>
                  </a:cubicBezTo>
                  <a:cubicBezTo>
                    <a:pt x="4435" y="458"/>
                    <a:pt x="4406" y="479"/>
                    <a:pt x="4385" y="482"/>
                  </a:cubicBezTo>
                  <a:cubicBezTo>
                    <a:pt x="4364" y="485"/>
                    <a:pt x="4308" y="526"/>
                    <a:pt x="4290" y="532"/>
                  </a:cubicBezTo>
                  <a:cubicBezTo>
                    <a:pt x="4273" y="538"/>
                    <a:pt x="4202" y="526"/>
                    <a:pt x="4193" y="505"/>
                  </a:cubicBezTo>
                  <a:cubicBezTo>
                    <a:pt x="4190" y="498"/>
                    <a:pt x="4182" y="493"/>
                    <a:pt x="4171" y="489"/>
                  </a:cubicBezTo>
                  <a:cubicBezTo>
                    <a:pt x="4091" y="648"/>
                    <a:pt x="4091" y="648"/>
                    <a:pt x="4091" y="648"/>
                  </a:cubicBezTo>
                  <a:cubicBezTo>
                    <a:pt x="4084" y="700"/>
                    <a:pt x="4084" y="700"/>
                    <a:pt x="4084" y="700"/>
                  </a:cubicBezTo>
                  <a:cubicBezTo>
                    <a:pt x="4084" y="700"/>
                    <a:pt x="4033" y="713"/>
                    <a:pt x="4072" y="751"/>
                  </a:cubicBezTo>
                  <a:cubicBezTo>
                    <a:pt x="4110" y="790"/>
                    <a:pt x="4117" y="757"/>
                    <a:pt x="4175" y="757"/>
                  </a:cubicBezTo>
                  <a:cubicBezTo>
                    <a:pt x="4232" y="757"/>
                    <a:pt x="4258" y="803"/>
                    <a:pt x="4271" y="770"/>
                  </a:cubicBezTo>
                  <a:cubicBezTo>
                    <a:pt x="4284" y="738"/>
                    <a:pt x="4335" y="719"/>
                    <a:pt x="4367" y="757"/>
                  </a:cubicBezTo>
                  <a:cubicBezTo>
                    <a:pt x="4400" y="796"/>
                    <a:pt x="4502" y="860"/>
                    <a:pt x="4496" y="893"/>
                  </a:cubicBezTo>
                  <a:cubicBezTo>
                    <a:pt x="4490" y="925"/>
                    <a:pt x="4432" y="918"/>
                    <a:pt x="4393" y="905"/>
                  </a:cubicBezTo>
                  <a:cubicBezTo>
                    <a:pt x="4355" y="893"/>
                    <a:pt x="4303" y="931"/>
                    <a:pt x="4265" y="931"/>
                  </a:cubicBezTo>
                  <a:cubicBezTo>
                    <a:pt x="4226" y="931"/>
                    <a:pt x="4181" y="944"/>
                    <a:pt x="4142" y="983"/>
                  </a:cubicBezTo>
                  <a:cubicBezTo>
                    <a:pt x="4104" y="1021"/>
                    <a:pt x="4110" y="1060"/>
                    <a:pt x="4052" y="1066"/>
                  </a:cubicBezTo>
                  <a:cubicBezTo>
                    <a:pt x="3995" y="1073"/>
                    <a:pt x="3969" y="1066"/>
                    <a:pt x="3904" y="1111"/>
                  </a:cubicBezTo>
                  <a:cubicBezTo>
                    <a:pt x="3840" y="1156"/>
                    <a:pt x="3769" y="1137"/>
                    <a:pt x="3744" y="1124"/>
                  </a:cubicBezTo>
                  <a:cubicBezTo>
                    <a:pt x="3718" y="1111"/>
                    <a:pt x="3673" y="1105"/>
                    <a:pt x="3647" y="1150"/>
                  </a:cubicBezTo>
                  <a:cubicBezTo>
                    <a:pt x="3622" y="1195"/>
                    <a:pt x="3679" y="1214"/>
                    <a:pt x="3673" y="1266"/>
                  </a:cubicBezTo>
                  <a:cubicBezTo>
                    <a:pt x="3666" y="1317"/>
                    <a:pt x="3602" y="1304"/>
                    <a:pt x="3551" y="1362"/>
                  </a:cubicBezTo>
                  <a:cubicBezTo>
                    <a:pt x="3499" y="1420"/>
                    <a:pt x="3416" y="1446"/>
                    <a:pt x="3371" y="1439"/>
                  </a:cubicBezTo>
                  <a:cubicBezTo>
                    <a:pt x="3326" y="1433"/>
                    <a:pt x="3229" y="1407"/>
                    <a:pt x="3146" y="1446"/>
                  </a:cubicBezTo>
                  <a:cubicBezTo>
                    <a:pt x="3062" y="1484"/>
                    <a:pt x="3004" y="1542"/>
                    <a:pt x="2972" y="1536"/>
                  </a:cubicBezTo>
                  <a:cubicBezTo>
                    <a:pt x="2940" y="1529"/>
                    <a:pt x="2940" y="1490"/>
                    <a:pt x="2895" y="1497"/>
                  </a:cubicBezTo>
                  <a:cubicBezTo>
                    <a:pt x="2850" y="1503"/>
                    <a:pt x="2824" y="1490"/>
                    <a:pt x="2792" y="1471"/>
                  </a:cubicBezTo>
                  <a:cubicBezTo>
                    <a:pt x="2760" y="1452"/>
                    <a:pt x="2734" y="1484"/>
                    <a:pt x="2683" y="1446"/>
                  </a:cubicBezTo>
                  <a:cubicBezTo>
                    <a:pt x="2631" y="1407"/>
                    <a:pt x="2541" y="1413"/>
                    <a:pt x="2503" y="1407"/>
                  </a:cubicBezTo>
                  <a:cubicBezTo>
                    <a:pt x="2464" y="1401"/>
                    <a:pt x="2316" y="1407"/>
                    <a:pt x="2265" y="1401"/>
                  </a:cubicBezTo>
                  <a:cubicBezTo>
                    <a:pt x="2213" y="1394"/>
                    <a:pt x="2143" y="1413"/>
                    <a:pt x="2136" y="1388"/>
                  </a:cubicBezTo>
                  <a:cubicBezTo>
                    <a:pt x="2130" y="1362"/>
                    <a:pt x="2091" y="1343"/>
                    <a:pt x="2078" y="1285"/>
                  </a:cubicBezTo>
                  <a:cubicBezTo>
                    <a:pt x="2065" y="1227"/>
                    <a:pt x="2033" y="1208"/>
                    <a:pt x="2001" y="1201"/>
                  </a:cubicBezTo>
                  <a:cubicBezTo>
                    <a:pt x="1969" y="1195"/>
                    <a:pt x="1965" y="1161"/>
                    <a:pt x="1937" y="1156"/>
                  </a:cubicBezTo>
                  <a:cubicBezTo>
                    <a:pt x="1923" y="1154"/>
                    <a:pt x="1907" y="1111"/>
                    <a:pt x="1862" y="1111"/>
                  </a:cubicBezTo>
                  <a:cubicBezTo>
                    <a:pt x="1817" y="1111"/>
                    <a:pt x="1660" y="1093"/>
                    <a:pt x="1637" y="1056"/>
                  </a:cubicBezTo>
                  <a:cubicBezTo>
                    <a:pt x="1615" y="1019"/>
                    <a:pt x="1660" y="1011"/>
                    <a:pt x="1660" y="974"/>
                  </a:cubicBezTo>
                  <a:cubicBezTo>
                    <a:pt x="1660" y="937"/>
                    <a:pt x="1684" y="888"/>
                    <a:pt x="1666" y="874"/>
                  </a:cubicBezTo>
                  <a:cubicBezTo>
                    <a:pt x="1647" y="860"/>
                    <a:pt x="1617" y="827"/>
                    <a:pt x="1613" y="799"/>
                  </a:cubicBezTo>
                  <a:cubicBezTo>
                    <a:pt x="1609" y="770"/>
                    <a:pt x="1560" y="731"/>
                    <a:pt x="1527" y="729"/>
                  </a:cubicBezTo>
                  <a:cubicBezTo>
                    <a:pt x="1494" y="727"/>
                    <a:pt x="1468" y="707"/>
                    <a:pt x="1437" y="680"/>
                  </a:cubicBezTo>
                  <a:cubicBezTo>
                    <a:pt x="1406" y="653"/>
                    <a:pt x="1378" y="655"/>
                    <a:pt x="1366" y="588"/>
                  </a:cubicBezTo>
                  <a:cubicBezTo>
                    <a:pt x="1365" y="584"/>
                    <a:pt x="1363" y="580"/>
                    <a:pt x="1362" y="576"/>
                  </a:cubicBezTo>
                  <a:cubicBezTo>
                    <a:pt x="1350" y="575"/>
                    <a:pt x="1334" y="570"/>
                    <a:pt x="1324" y="570"/>
                  </a:cubicBezTo>
                  <a:cubicBezTo>
                    <a:pt x="1316" y="570"/>
                    <a:pt x="1307" y="563"/>
                    <a:pt x="1298" y="554"/>
                  </a:cubicBezTo>
                  <a:cubicBezTo>
                    <a:pt x="1290" y="583"/>
                    <a:pt x="1263" y="597"/>
                    <a:pt x="1263" y="619"/>
                  </a:cubicBezTo>
                  <a:cubicBezTo>
                    <a:pt x="1263" y="643"/>
                    <a:pt x="1253" y="674"/>
                    <a:pt x="1220" y="674"/>
                  </a:cubicBezTo>
                  <a:cubicBezTo>
                    <a:pt x="1188" y="674"/>
                    <a:pt x="1157" y="698"/>
                    <a:pt x="1155" y="749"/>
                  </a:cubicBezTo>
                  <a:cubicBezTo>
                    <a:pt x="1153" y="801"/>
                    <a:pt x="1184" y="807"/>
                    <a:pt x="1169" y="829"/>
                  </a:cubicBezTo>
                  <a:cubicBezTo>
                    <a:pt x="1155" y="852"/>
                    <a:pt x="1096" y="874"/>
                    <a:pt x="1075" y="864"/>
                  </a:cubicBezTo>
                  <a:cubicBezTo>
                    <a:pt x="1055" y="854"/>
                    <a:pt x="1016" y="860"/>
                    <a:pt x="983" y="856"/>
                  </a:cubicBezTo>
                  <a:cubicBezTo>
                    <a:pt x="951" y="852"/>
                    <a:pt x="926" y="811"/>
                    <a:pt x="916" y="856"/>
                  </a:cubicBezTo>
                  <a:cubicBezTo>
                    <a:pt x="906" y="901"/>
                    <a:pt x="838" y="1033"/>
                    <a:pt x="855" y="1048"/>
                  </a:cubicBezTo>
                  <a:cubicBezTo>
                    <a:pt x="871" y="1062"/>
                    <a:pt x="883" y="1095"/>
                    <a:pt x="855" y="1095"/>
                  </a:cubicBezTo>
                  <a:cubicBezTo>
                    <a:pt x="826" y="1095"/>
                    <a:pt x="798" y="1091"/>
                    <a:pt x="783" y="1076"/>
                  </a:cubicBezTo>
                  <a:cubicBezTo>
                    <a:pt x="769" y="1062"/>
                    <a:pt x="722" y="1096"/>
                    <a:pt x="689" y="1095"/>
                  </a:cubicBezTo>
                  <a:cubicBezTo>
                    <a:pt x="674" y="1094"/>
                    <a:pt x="610" y="1123"/>
                    <a:pt x="632" y="1134"/>
                  </a:cubicBezTo>
                  <a:cubicBezTo>
                    <a:pt x="654" y="1145"/>
                    <a:pt x="654" y="1198"/>
                    <a:pt x="654" y="1220"/>
                  </a:cubicBezTo>
                  <a:cubicBezTo>
                    <a:pt x="654" y="1242"/>
                    <a:pt x="703" y="1309"/>
                    <a:pt x="694" y="1331"/>
                  </a:cubicBezTo>
                  <a:cubicBezTo>
                    <a:pt x="685" y="1353"/>
                    <a:pt x="641" y="1377"/>
                    <a:pt x="641" y="1406"/>
                  </a:cubicBezTo>
                  <a:cubicBezTo>
                    <a:pt x="641" y="1435"/>
                    <a:pt x="650" y="1461"/>
                    <a:pt x="634" y="1468"/>
                  </a:cubicBezTo>
                  <a:cubicBezTo>
                    <a:pt x="619" y="1475"/>
                    <a:pt x="570" y="1495"/>
                    <a:pt x="546" y="1512"/>
                  </a:cubicBezTo>
                  <a:cubicBezTo>
                    <a:pt x="521" y="1530"/>
                    <a:pt x="481" y="1530"/>
                    <a:pt x="468" y="1557"/>
                  </a:cubicBezTo>
                  <a:cubicBezTo>
                    <a:pt x="455" y="1583"/>
                    <a:pt x="435" y="1606"/>
                    <a:pt x="389" y="1601"/>
                  </a:cubicBezTo>
                  <a:cubicBezTo>
                    <a:pt x="349" y="1596"/>
                    <a:pt x="329" y="1590"/>
                    <a:pt x="298" y="1627"/>
                  </a:cubicBezTo>
                  <a:cubicBezTo>
                    <a:pt x="267" y="1665"/>
                    <a:pt x="260" y="1650"/>
                    <a:pt x="238" y="1667"/>
                  </a:cubicBezTo>
                  <a:cubicBezTo>
                    <a:pt x="216" y="1685"/>
                    <a:pt x="194" y="1654"/>
                    <a:pt x="176" y="1647"/>
                  </a:cubicBezTo>
                  <a:cubicBezTo>
                    <a:pt x="158" y="1641"/>
                    <a:pt x="134" y="1667"/>
                    <a:pt x="116" y="1667"/>
                  </a:cubicBezTo>
                  <a:cubicBezTo>
                    <a:pt x="99" y="1667"/>
                    <a:pt x="83" y="1696"/>
                    <a:pt x="61" y="1703"/>
                  </a:cubicBezTo>
                  <a:cubicBezTo>
                    <a:pt x="39" y="1709"/>
                    <a:pt x="17" y="1703"/>
                    <a:pt x="17" y="1729"/>
                  </a:cubicBezTo>
                  <a:cubicBezTo>
                    <a:pt x="17" y="1746"/>
                    <a:pt x="12" y="1765"/>
                    <a:pt x="0" y="1779"/>
                  </a:cubicBezTo>
                  <a:cubicBezTo>
                    <a:pt x="0" y="1779"/>
                    <a:pt x="0" y="1779"/>
                    <a:pt x="0" y="1779"/>
                  </a:cubicBezTo>
                  <a:cubicBezTo>
                    <a:pt x="16" y="1865"/>
                    <a:pt x="16" y="1865"/>
                    <a:pt x="16" y="1865"/>
                  </a:cubicBezTo>
                  <a:cubicBezTo>
                    <a:pt x="16" y="1865"/>
                    <a:pt x="111" y="1897"/>
                    <a:pt x="115" y="1928"/>
                  </a:cubicBezTo>
                  <a:cubicBezTo>
                    <a:pt x="119" y="1960"/>
                    <a:pt x="134" y="2063"/>
                    <a:pt x="134" y="2063"/>
                  </a:cubicBezTo>
                  <a:cubicBezTo>
                    <a:pt x="134" y="2063"/>
                    <a:pt x="133" y="2063"/>
                    <a:pt x="132" y="2063"/>
                  </a:cubicBezTo>
                  <a:cubicBezTo>
                    <a:pt x="170" y="2093"/>
                    <a:pt x="222" y="2125"/>
                    <a:pt x="222" y="2137"/>
                  </a:cubicBezTo>
                  <a:cubicBezTo>
                    <a:pt x="222" y="2150"/>
                    <a:pt x="227" y="2190"/>
                    <a:pt x="273" y="2212"/>
                  </a:cubicBezTo>
                  <a:cubicBezTo>
                    <a:pt x="303" y="2226"/>
                    <a:pt x="333" y="2241"/>
                    <a:pt x="351" y="2253"/>
                  </a:cubicBezTo>
                  <a:cubicBezTo>
                    <a:pt x="354" y="2248"/>
                    <a:pt x="355" y="2244"/>
                    <a:pt x="355" y="2244"/>
                  </a:cubicBezTo>
                  <a:cubicBezTo>
                    <a:pt x="394" y="2240"/>
                    <a:pt x="394" y="2240"/>
                    <a:pt x="394" y="2240"/>
                  </a:cubicBezTo>
                  <a:cubicBezTo>
                    <a:pt x="394" y="2240"/>
                    <a:pt x="406" y="2247"/>
                    <a:pt x="417" y="2259"/>
                  </a:cubicBezTo>
                  <a:cubicBezTo>
                    <a:pt x="427" y="2227"/>
                    <a:pt x="495" y="2192"/>
                    <a:pt x="530" y="2194"/>
                  </a:cubicBezTo>
                  <a:cubicBezTo>
                    <a:pt x="568" y="2196"/>
                    <a:pt x="654" y="2265"/>
                    <a:pt x="645" y="2289"/>
                  </a:cubicBezTo>
                  <a:cubicBezTo>
                    <a:pt x="636" y="2314"/>
                    <a:pt x="574" y="2402"/>
                    <a:pt x="546" y="2409"/>
                  </a:cubicBezTo>
                  <a:cubicBezTo>
                    <a:pt x="535" y="2411"/>
                    <a:pt x="519" y="2413"/>
                    <a:pt x="503" y="2413"/>
                  </a:cubicBezTo>
                  <a:cubicBezTo>
                    <a:pt x="500" y="2428"/>
                    <a:pt x="497" y="2441"/>
                    <a:pt x="497" y="2449"/>
                  </a:cubicBezTo>
                  <a:cubicBezTo>
                    <a:pt x="497" y="2469"/>
                    <a:pt x="532" y="2500"/>
                    <a:pt x="552" y="2535"/>
                  </a:cubicBezTo>
                  <a:cubicBezTo>
                    <a:pt x="572" y="2571"/>
                    <a:pt x="521" y="2595"/>
                    <a:pt x="493" y="2571"/>
                  </a:cubicBezTo>
                  <a:cubicBezTo>
                    <a:pt x="465" y="2547"/>
                    <a:pt x="454" y="2595"/>
                    <a:pt x="469" y="2614"/>
                  </a:cubicBezTo>
                  <a:cubicBezTo>
                    <a:pt x="485" y="2634"/>
                    <a:pt x="477" y="2689"/>
                    <a:pt x="505" y="2693"/>
                  </a:cubicBezTo>
                  <a:cubicBezTo>
                    <a:pt x="532" y="2697"/>
                    <a:pt x="556" y="2752"/>
                    <a:pt x="588" y="2752"/>
                  </a:cubicBezTo>
                  <a:cubicBezTo>
                    <a:pt x="619" y="2752"/>
                    <a:pt x="647" y="2803"/>
                    <a:pt x="647" y="2803"/>
                  </a:cubicBezTo>
                  <a:cubicBezTo>
                    <a:pt x="647" y="2803"/>
                    <a:pt x="690" y="2831"/>
                    <a:pt x="690" y="2847"/>
                  </a:cubicBezTo>
                  <a:cubicBezTo>
                    <a:pt x="690" y="2849"/>
                    <a:pt x="689" y="2851"/>
                    <a:pt x="688" y="2853"/>
                  </a:cubicBezTo>
                  <a:cubicBezTo>
                    <a:pt x="723" y="2849"/>
                    <a:pt x="745" y="2848"/>
                    <a:pt x="749" y="2834"/>
                  </a:cubicBezTo>
                  <a:cubicBezTo>
                    <a:pt x="754" y="2818"/>
                    <a:pt x="798" y="2818"/>
                    <a:pt x="829" y="2849"/>
                  </a:cubicBezTo>
                  <a:cubicBezTo>
                    <a:pt x="860" y="2880"/>
                    <a:pt x="986" y="2960"/>
                    <a:pt x="1033" y="2998"/>
                  </a:cubicBezTo>
                  <a:cubicBezTo>
                    <a:pt x="1079" y="3035"/>
                    <a:pt x="1188" y="3077"/>
                    <a:pt x="1225" y="3075"/>
                  </a:cubicBezTo>
                  <a:cubicBezTo>
                    <a:pt x="1263" y="3073"/>
                    <a:pt x="1298" y="3102"/>
                    <a:pt x="1356" y="3100"/>
                  </a:cubicBezTo>
                  <a:cubicBezTo>
                    <a:pt x="1365" y="3099"/>
                    <a:pt x="1372" y="3100"/>
                    <a:pt x="1379" y="3100"/>
                  </a:cubicBezTo>
                  <a:cubicBezTo>
                    <a:pt x="1387" y="3091"/>
                    <a:pt x="1401" y="3091"/>
                    <a:pt x="1411" y="3075"/>
                  </a:cubicBezTo>
                  <a:cubicBezTo>
                    <a:pt x="1427" y="3052"/>
                    <a:pt x="1451" y="3095"/>
                    <a:pt x="1443" y="3127"/>
                  </a:cubicBezTo>
                  <a:cubicBezTo>
                    <a:pt x="1439" y="3141"/>
                    <a:pt x="1442" y="3157"/>
                    <a:pt x="1448" y="3170"/>
                  </a:cubicBezTo>
                  <a:cubicBezTo>
                    <a:pt x="1456" y="3159"/>
                    <a:pt x="1464" y="3144"/>
                    <a:pt x="1471" y="3128"/>
                  </a:cubicBezTo>
                  <a:cubicBezTo>
                    <a:pt x="1491" y="3080"/>
                    <a:pt x="1522" y="3082"/>
                    <a:pt x="1542" y="3066"/>
                  </a:cubicBezTo>
                  <a:cubicBezTo>
                    <a:pt x="1562" y="3051"/>
                    <a:pt x="1582" y="3057"/>
                    <a:pt x="1624" y="3080"/>
                  </a:cubicBezTo>
                  <a:cubicBezTo>
                    <a:pt x="1663" y="3101"/>
                    <a:pt x="1680" y="3056"/>
                    <a:pt x="1739" y="3111"/>
                  </a:cubicBezTo>
                  <a:cubicBezTo>
                    <a:pt x="1751" y="3106"/>
                    <a:pt x="1767" y="3099"/>
                    <a:pt x="1774" y="3099"/>
                  </a:cubicBezTo>
                  <a:cubicBezTo>
                    <a:pt x="1786" y="3099"/>
                    <a:pt x="1801" y="3075"/>
                    <a:pt x="1821" y="3056"/>
                  </a:cubicBezTo>
                  <a:cubicBezTo>
                    <a:pt x="1841" y="3036"/>
                    <a:pt x="1837" y="3012"/>
                    <a:pt x="1861" y="3016"/>
                  </a:cubicBezTo>
                  <a:cubicBezTo>
                    <a:pt x="1884" y="3020"/>
                    <a:pt x="1896" y="2989"/>
                    <a:pt x="1947" y="2961"/>
                  </a:cubicBezTo>
                  <a:cubicBezTo>
                    <a:pt x="1998" y="2934"/>
                    <a:pt x="2042" y="2977"/>
                    <a:pt x="2066" y="2957"/>
                  </a:cubicBezTo>
                  <a:cubicBezTo>
                    <a:pt x="2089" y="2937"/>
                    <a:pt x="2117" y="2930"/>
                    <a:pt x="2117" y="2949"/>
                  </a:cubicBezTo>
                  <a:cubicBezTo>
                    <a:pt x="2117" y="2969"/>
                    <a:pt x="2148" y="2993"/>
                    <a:pt x="2156" y="3016"/>
                  </a:cubicBezTo>
                  <a:cubicBezTo>
                    <a:pt x="2163" y="3037"/>
                    <a:pt x="2205" y="3046"/>
                    <a:pt x="2213" y="3047"/>
                  </a:cubicBezTo>
                  <a:cubicBezTo>
                    <a:pt x="2221" y="3043"/>
                    <a:pt x="2227" y="3040"/>
                    <a:pt x="2230" y="3038"/>
                  </a:cubicBezTo>
                  <a:cubicBezTo>
                    <a:pt x="2255" y="3020"/>
                    <a:pt x="2297" y="3040"/>
                    <a:pt x="2297" y="3066"/>
                  </a:cubicBezTo>
                  <a:cubicBezTo>
                    <a:pt x="2297" y="3093"/>
                    <a:pt x="2299" y="3122"/>
                    <a:pt x="2319" y="3122"/>
                  </a:cubicBezTo>
                  <a:cubicBezTo>
                    <a:pt x="2339" y="3122"/>
                    <a:pt x="2359" y="3122"/>
                    <a:pt x="2359" y="3170"/>
                  </a:cubicBezTo>
                  <a:cubicBezTo>
                    <a:pt x="2359" y="3219"/>
                    <a:pt x="2376" y="3274"/>
                    <a:pt x="2334" y="3317"/>
                  </a:cubicBezTo>
                  <a:cubicBezTo>
                    <a:pt x="2292" y="3358"/>
                    <a:pt x="2243" y="3434"/>
                    <a:pt x="2252" y="3456"/>
                  </a:cubicBezTo>
                  <a:cubicBezTo>
                    <a:pt x="2261" y="3478"/>
                    <a:pt x="2239" y="3520"/>
                    <a:pt x="2270" y="3505"/>
                  </a:cubicBezTo>
                  <a:cubicBezTo>
                    <a:pt x="2301" y="3489"/>
                    <a:pt x="2372" y="3505"/>
                    <a:pt x="2361" y="3522"/>
                  </a:cubicBezTo>
                  <a:cubicBezTo>
                    <a:pt x="2350" y="3540"/>
                    <a:pt x="2363" y="3602"/>
                    <a:pt x="2392" y="3604"/>
                  </a:cubicBezTo>
                  <a:cubicBezTo>
                    <a:pt x="2421" y="3606"/>
                    <a:pt x="2438" y="3622"/>
                    <a:pt x="2429" y="3648"/>
                  </a:cubicBezTo>
                  <a:cubicBezTo>
                    <a:pt x="2421" y="3675"/>
                    <a:pt x="2405" y="3715"/>
                    <a:pt x="2429" y="3715"/>
                  </a:cubicBezTo>
                  <a:cubicBezTo>
                    <a:pt x="2454" y="3715"/>
                    <a:pt x="2489" y="3715"/>
                    <a:pt x="2485" y="3741"/>
                  </a:cubicBezTo>
                  <a:cubicBezTo>
                    <a:pt x="2480" y="3768"/>
                    <a:pt x="2502" y="3792"/>
                    <a:pt x="2547" y="3775"/>
                  </a:cubicBezTo>
                  <a:cubicBezTo>
                    <a:pt x="2573" y="3764"/>
                    <a:pt x="2586" y="3755"/>
                    <a:pt x="2592" y="3765"/>
                  </a:cubicBezTo>
                  <a:cubicBezTo>
                    <a:pt x="2609" y="3765"/>
                    <a:pt x="2611" y="3805"/>
                    <a:pt x="2641" y="3812"/>
                  </a:cubicBezTo>
                  <a:cubicBezTo>
                    <a:pt x="2672" y="3820"/>
                    <a:pt x="2657" y="3745"/>
                    <a:pt x="2645" y="3734"/>
                  </a:cubicBezTo>
                  <a:cubicBezTo>
                    <a:pt x="2633" y="3722"/>
                    <a:pt x="2649" y="3670"/>
                    <a:pt x="2661" y="3682"/>
                  </a:cubicBezTo>
                  <a:cubicBezTo>
                    <a:pt x="2672" y="3694"/>
                    <a:pt x="2708" y="3682"/>
                    <a:pt x="2728" y="3659"/>
                  </a:cubicBezTo>
                  <a:cubicBezTo>
                    <a:pt x="2747" y="3635"/>
                    <a:pt x="2787" y="3678"/>
                    <a:pt x="2803" y="3651"/>
                  </a:cubicBezTo>
                  <a:cubicBezTo>
                    <a:pt x="2818" y="3623"/>
                    <a:pt x="2854" y="3670"/>
                    <a:pt x="2889" y="3651"/>
                  </a:cubicBezTo>
                  <a:cubicBezTo>
                    <a:pt x="2925" y="3631"/>
                    <a:pt x="2940" y="3667"/>
                    <a:pt x="2956" y="3639"/>
                  </a:cubicBezTo>
                  <a:cubicBezTo>
                    <a:pt x="2972" y="3611"/>
                    <a:pt x="3023" y="3576"/>
                    <a:pt x="3035" y="3588"/>
                  </a:cubicBezTo>
                  <a:cubicBezTo>
                    <a:pt x="3047" y="3599"/>
                    <a:pt x="3055" y="3623"/>
                    <a:pt x="3118" y="3631"/>
                  </a:cubicBezTo>
                  <a:cubicBezTo>
                    <a:pt x="3181" y="3639"/>
                    <a:pt x="3145" y="3670"/>
                    <a:pt x="3145" y="3690"/>
                  </a:cubicBezTo>
                  <a:cubicBezTo>
                    <a:pt x="3145" y="3710"/>
                    <a:pt x="3216" y="3761"/>
                    <a:pt x="3244" y="3765"/>
                  </a:cubicBezTo>
                  <a:cubicBezTo>
                    <a:pt x="3249" y="3766"/>
                    <a:pt x="3256" y="3772"/>
                    <a:pt x="3264" y="3781"/>
                  </a:cubicBezTo>
                  <a:cubicBezTo>
                    <a:pt x="3284" y="3772"/>
                    <a:pt x="3318" y="3788"/>
                    <a:pt x="3325" y="3765"/>
                  </a:cubicBezTo>
                  <a:cubicBezTo>
                    <a:pt x="3334" y="3739"/>
                    <a:pt x="3367" y="3746"/>
                    <a:pt x="3380" y="3768"/>
                  </a:cubicBezTo>
                  <a:cubicBezTo>
                    <a:pt x="3393" y="3790"/>
                    <a:pt x="3408" y="3795"/>
                    <a:pt x="3437" y="3768"/>
                  </a:cubicBezTo>
                  <a:cubicBezTo>
                    <a:pt x="3467" y="3741"/>
                    <a:pt x="3482" y="3795"/>
                    <a:pt x="3464" y="3809"/>
                  </a:cubicBezTo>
                  <a:cubicBezTo>
                    <a:pt x="3446" y="3824"/>
                    <a:pt x="3458" y="3870"/>
                    <a:pt x="3486" y="3896"/>
                  </a:cubicBezTo>
                  <a:cubicBezTo>
                    <a:pt x="3514" y="3923"/>
                    <a:pt x="3519" y="3880"/>
                    <a:pt x="3513" y="3854"/>
                  </a:cubicBezTo>
                  <a:cubicBezTo>
                    <a:pt x="3507" y="3827"/>
                    <a:pt x="3560" y="3801"/>
                    <a:pt x="3653" y="3770"/>
                  </a:cubicBezTo>
                  <a:cubicBezTo>
                    <a:pt x="3746" y="3739"/>
                    <a:pt x="3846" y="3671"/>
                    <a:pt x="3848" y="3656"/>
                  </a:cubicBezTo>
                  <a:cubicBezTo>
                    <a:pt x="3849" y="3641"/>
                    <a:pt x="3914" y="3682"/>
                    <a:pt x="3945" y="3659"/>
                  </a:cubicBezTo>
                  <a:cubicBezTo>
                    <a:pt x="3976" y="3635"/>
                    <a:pt x="4088" y="3632"/>
                    <a:pt x="4118" y="3631"/>
                  </a:cubicBezTo>
                  <a:cubicBezTo>
                    <a:pt x="4147" y="3629"/>
                    <a:pt x="4146" y="3604"/>
                    <a:pt x="4177" y="3579"/>
                  </a:cubicBezTo>
                  <a:cubicBezTo>
                    <a:pt x="4208" y="3554"/>
                    <a:pt x="4200" y="3542"/>
                    <a:pt x="4236" y="3532"/>
                  </a:cubicBezTo>
                  <a:cubicBezTo>
                    <a:pt x="4271" y="3522"/>
                    <a:pt x="4293" y="3489"/>
                    <a:pt x="4293" y="3471"/>
                  </a:cubicBezTo>
                  <a:cubicBezTo>
                    <a:pt x="4293" y="3454"/>
                    <a:pt x="4360" y="3448"/>
                    <a:pt x="4361" y="3429"/>
                  </a:cubicBezTo>
                  <a:cubicBezTo>
                    <a:pt x="4363" y="3410"/>
                    <a:pt x="4411" y="3404"/>
                    <a:pt x="4411" y="3380"/>
                  </a:cubicBezTo>
                  <a:cubicBezTo>
                    <a:pt x="4411" y="3356"/>
                    <a:pt x="4441" y="3361"/>
                    <a:pt x="4454" y="3343"/>
                  </a:cubicBezTo>
                  <a:cubicBezTo>
                    <a:pt x="4468" y="3325"/>
                    <a:pt x="4444" y="3274"/>
                    <a:pt x="4468" y="3266"/>
                  </a:cubicBezTo>
                  <a:cubicBezTo>
                    <a:pt x="4491" y="3259"/>
                    <a:pt x="4459" y="3231"/>
                    <a:pt x="4454" y="3218"/>
                  </a:cubicBezTo>
                  <a:cubicBezTo>
                    <a:pt x="4450" y="3204"/>
                    <a:pt x="4499" y="3201"/>
                    <a:pt x="4524" y="3185"/>
                  </a:cubicBezTo>
                  <a:cubicBezTo>
                    <a:pt x="4549" y="3169"/>
                    <a:pt x="4565" y="3144"/>
                    <a:pt x="4569" y="3116"/>
                  </a:cubicBezTo>
                  <a:cubicBezTo>
                    <a:pt x="4574" y="3088"/>
                    <a:pt x="4615" y="3063"/>
                    <a:pt x="4634" y="3055"/>
                  </a:cubicBezTo>
                  <a:cubicBezTo>
                    <a:pt x="4653" y="3048"/>
                    <a:pt x="4661" y="3008"/>
                    <a:pt x="4655" y="2974"/>
                  </a:cubicBezTo>
                  <a:cubicBezTo>
                    <a:pt x="4649" y="2940"/>
                    <a:pt x="4689" y="2949"/>
                    <a:pt x="4671" y="2936"/>
                  </a:cubicBezTo>
                  <a:cubicBezTo>
                    <a:pt x="4653" y="2922"/>
                    <a:pt x="4679" y="2886"/>
                    <a:pt x="4714" y="2875"/>
                  </a:cubicBezTo>
                  <a:cubicBezTo>
                    <a:pt x="4749" y="2865"/>
                    <a:pt x="4692" y="2849"/>
                    <a:pt x="4673" y="2863"/>
                  </a:cubicBezTo>
                  <a:cubicBezTo>
                    <a:pt x="4653" y="2878"/>
                    <a:pt x="4633" y="2821"/>
                    <a:pt x="4615" y="2843"/>
                  </a:cubicBezTo>
                  <a:cubicBezTo>
                    <a:pt x="4597" y="2865"/>
                    <a:pt x="4547" y="2829"/>
                    <a:pt x="4580" y="2822"/>
                  </a:cubicBezTo>
                  <a:cubicBezTo>
                    <a:pt x="4612" y="2815"/>
                    <a:pt x="4662" y="2778"/>
                    <a:pt x="4684" y="2770"/>
                  </a:cubicBezTo>
                  <a:cubicBezTo>
                    <a:pt x="4707" y="2763"/>
                    <a:pt x="4652" y="2714"/>
                    <a:pt x="4624" y="2716"/>
                  </a:cubicBezTo>
                  <a:cubicBezTo>
                    <a:pt x="4596" y="2717"/>
                    <a:pt x="4565" y="2651"/>
                    <a:pt x="4535" y="2651"/>
                  </a:cubicBezTo>
                  <a:cubicBezTo>
                    <a:pt x="4506" y="2651"/>
                    <a:pt x="4558" y="2630"/>
                    <a:pt x="4591" y="2648"/>
                  </a:cubicBezTo>
                  <a:cubicBezTo>
                    <a:pt x="4625" y="2666"/>
                    <a:pt x="4665" y="2680"/>
                    <a:pt x="4680" y="2666"/>
                  </a:cubicBezTo>
                  <a:cubicBezTo>
                    <a:pt x="4695" y="2651"/>
                    <a:pt x="4622" y="2592"/>
                    <a:pt x="4596" y="2571"/>
                  </a:cubicBezTo>
                  <a:cubicBezTo>
                    <a:pt x="4569" y="2551"/>
                    <a:pt x="4594" y="2522"/>
                    <a:pt x="4578" y="2511"/>
                  </a:cubicBezTo>
                  <a:cubicBezTo>
                    <a:pt x="4562" y="2499"/>
                    <a:pt x="4527" y="2424"/>
                    <a:pt x="4515" y="2390"/>
                  </a:cubicBezTo>
                  <a:cubicBezTo>
                    <a:pt x="4503" y="2356"/>
                    <a:pt x="4441" y="2350"/>
                    <a:pt x="4426" y="2328"/>
                  </a:cubicBezTo>
                  <a:cubicBezTo>
                    <a:pt x="4411" y="2306"/>
                    <a:pt x="4428" y="2254"/>
                    <a:pt x="4473" y="2235"/>
                  </a:cubicBezTo>
                  <a:cubicBezTo>
                    <a:pt x="4519" y="2216"/>
                    <a:pt x="4500" y="2177"/>
                    <a:pt x="4521" y="2182"/>
                  </a:cubicBezTo>
                  <a:cubicBezTo>
                    <a:pt x="4541" y="2186"/>
                    <a:pt x="4559" y="2177"/>
                    <a:pt x="4575" y="2143"/>
                  </a:cubicBezTo>
                  <a:cubicBezTo>
                    <a:pt x="4591" y="2109"/>
                    <a:pt x="4620" y="2130"/>
                    <a:pt x="4636" y="2112"/>
                  </a:cubicBezTo>
                  <a:cubicBezTo>
                    <a:pt x="4652" y="2095"/>
                    <a:pt x="4724" y="2096"/>
                    <a:pt x="4749" y="2078"/>
                  </a:cubicBezTo>
                  <a:cubicBezTo>
                    <a:pt x="4774" y="2061"/>
                    <a:pt x="4726" y="2006"/>
                    <a:pt x="4692" y="2015"/>
                  </a:cubicBezTo>
                  <a:cubicBezTo>
                    <a:pt x="4658" y="2024"/>
                    <a:pt x="4618" y="2010"/>
                    <a:pt x="4594" y="1975"/>
                  </a:cubicBezTo>
                  <a:cubicBezTo>
                    <a:pt x="4571" y="1940"/>
                    <a:pt x="4509" y="2040"/>
                    <a:pt x="4462" y="2062"/>
                  </a:cubicBezTo>
                  <a:cubicBezTo>
                    <a:pt x="4414" y="2084"/>
                    <a:pt x="4383" y="2022"/>
                    <a:pt x="4400" y="1982"/>
                  </a:cubicBezTo>
                  <a:cubicBezTo>
                    <a:pt x="4416" y="1943"/>
                    <a:pt x="4363" y="1944"/>
                    <a:pt x="4296" y="1947"/>
                  </a:cubicBezTo>
                  <a:cubicBezTo>
                    <a:pt x="4230" y="1950"/>
                    <a:pt x="4255" y="1829"/>
                    <a:pt x="4295" y="1823"/>
                  </a:cubicBezTo>
                  <a:cubicBezTo>
                    <a:pt x="4335" y="1817"/>
                    <a:pt x="4394" y="1860"/>
                    <a:pt x="4419" y="1786"/>
                  </a:cubicBezTo>
                  <a:cubicBezTo>
                    <a:pt x="4444" y="1712"/>
                    <a:pt x="4479" y="1770"/>
                    <a:pt x="4535" y="1705"/>
                  </a:cubicBezTo>
                  <a:cubicBezTo>
                    <a:pt x="4591" y="1640"/>
                    <a:pt x="4656" y="1600"/>
                    <a:pt x="4705" y="1639"/>
                  </a:cubicBezTo>
                  <a:cubicBezTo>
                    <a:pt x="4754" y="1677"/>
                    <a:pt x="4653" y="1737"/>
                    <a:pt x="4637" y="1774"/>
                  </a:cubicBezTo>
                  <a:cubicBezTo>
                    <a:pt x="4621" y="1811"/>
                    <a:pt x="4652" y="1823"/>
                    <a:pt x="4622" y="1851"/>
                  </a:cubicBezTo>
                  <a:cubicBezTo>
                    <a:pt x="4593" y="1879"/>
                    <a:pt x="4634" y="1886"/>
                    <a:pt x="4692" y="1850"/>
                  </a:cubicBezTo>
                  <a:cubicBezTo>
                    <a:pt x="4749" y="1813"/>
                    <a:pt x="4820" y="1768"/>
                    <a:pt x="4876" y="1746"/>
                  </a:cubicBezTo>
                  <a:cubicBezTo>
                    <a:pt x="4891" y="1740"/>
                    <a:pt x="4908" y="1739"/>
                    <a:pt x="4924" y="1740"/>
                  </a:cubicBezTo>
                  <a:cubicBezTo>
                    <a:pt x="4932" y="1719"/>
                    <a:pt x="4942" y="1702"/>
                    <a:pt x="4953" y="1696"/>
                  </a:cubicBezTo>
                  <a:cubicBezTo>
                    <a:pt x="4991" y="1677"/>
                    <a:pt x="5120" y="1619"/>
                    <a:pt x="5139" y="1593"/>
                  </a:cubicBezTo>
                  <a:cubicBezTo>
                    <a:pt x="5158" y="1568"/>
                    <a:pt x="5178" y="1523"/>
                    <a:pt x="5203" y="1523"/>
                  </a:cubicBezTo>
                  <a:cubicBezTo>
                    <a:pt x="5229" y="1523"/>
                    <a:pt x="5229" y="1548"/>
                    <a:pt x="5268" y="1548"/>
                  </a:cubicBezTo>
                  <a:cubicBezTo>
                    <a:pt x="5306" y="1548"/>
                    <a:pt x="5351" y="1561"/>
                    <a:pt x="5332" y="1529"/>
                  </a:cubicBezTo>
                  <a:cubicBezTo>
                    <a:pt x="5313" y="1497"/>
                    <a:pt x="5326" y="1497"/>
                    <a:pt x="5371" y="1490"/>
                  </a:cubicBezTo>
                  <a:cubicBezTo>
                    <a:pt x="5416" y="1484"/>
                    <a:pt x="5409" y="1439"/>
                    <a:pt x="5441" y="1439"/>
                  </a:cubicBezTo>
                  <a:cubicBezTo>
                    <a:pt x="5473" y="1439"/>
                    <a:pt x="5467" y="1362"/>
                    <a:pt x="5499" y="1362"/>
                  </a:cubicBezTo>
                  <a:cubicBezTo>
                    <a:pt x="5531" y="1362"/>
                    <a:pt x="5544" y="1407"/>
                    <a:pt x="5583" y="1394"/>
                  </a:cubicBezTo>
                  <a:cubicBezTo>
                    <a:pt x="5590" y="1392"/>
                    <a:pt x="5600" y="1394"/>
                    <a:pt x="5610" y="1398"/>
                  </a:cubicBezTo>
                  <a:cubicBezTo>
                    <a:pt x="5618" y="1392"/>
                    <a:pt x="5626" y="1386"/>
                    <a:pt x="5635" y="1380"/>
                  </a:cubicBezTo>
                  <a:cubicBezTo>
                    <a:pt x="5631" y="1339"/>
                    <a:pt x="5635" y="1303"/>
                    <a:pt x="5628" y="1284"/>
                  </a:cubicBezTo>
                  <a:cubicBezTo>
                    <a:pt x="5613" y="1249"/>
                    <a:pt x="5628" y="1222"/>
                    <a:pt x="5621" y="1202"/>
                  </a:cubicBezTo>
                  <a:cubicBezTo>
                    <a:pt x="5616" y="1181"/>
                    <a:pt x="5613" y="1131"/>
                    <a:pt x="5636" y="1131"/>
                  </a:cubicBezTo>
                  <a:cubicBezTo>
                    <a:pt x="5660" y="1131"/>
                    <a:pt x="5689" y="1072"/>
                    <a:pt x="5719" y="1093"/>
                  </a:cubicBezTo>
                  <a:cubicBezTo>
                    <a:pt x="5748" y="1113"/>
                    <a:pt x="5807" y="1119"/>
                    <a:pt x="5807" y="1093"/>
                  </a:cubicBezTo>
                  <a:cubicBezTo>
                    <a:pt x="5807" y="1066"/>
                    <a:pt x="5849" y="1063"/>
                    <a:pt x="5855" y="1028"/>
                  </a:cubicBezTo>
                  <a:cubicBezTo>
                    <a:pt x="5861" y="992"/>
                    <a:pt x="5905" y="983"/>
                    <a:pt x="5914" y="951"/>
                  </a:cubicBezTo>
                  <a:cubicBezTo>
                    <a:pt x="5923" y="918"/>
                    <a:pt x="5937" y="842"/>
                    <a:pt x="5967" y="824"/>
                  </a:cubicBezTo>
                  <a:cubicBezTo>
                    <a:pt x="5996" y="806"/>
                    <a:pt x="5961" y="794"/>
                    <a:pt x="5964" y="741"/>
                  </a:cubicBezTo>
                  <a:close/>
                  <a:moveTo>
                    <a:pt x="4518" y="3536"/>
                  </a:moveTo>
                  <a:cubicBezTo>
                    <a:pt x="4485" y="3654"/>
                    <a:pt x="4561" y="3715"/>
                    <a:pt x="4571" y="3708"/>
                  </a:cubicBezTo>
                  <a:cubicBezTo>
                    <a:pt x="4600" y="3687"/>
                    <a:pt x="4721" y="3433"/>
                    <a:pt x="4695" y="3398"/>
                  </a:cubicBezTo>
                  <a:cubicBezTo>
                    <a:pt x="4668" y="3362"/>
                    <a:pt x="4550" y="3418"/>
                    <a:pt x="4518" y="3536"/>
                  </a:cubicBezTo>
                  <a:close/>
                  <a:moveTo>
                    <a:pt x="3464" y="3938"/>
                  </a:moveTo>
                  <a:cubicBezTo>
                    <a:pt x="3426" y="3938"/>
                    <a:pt x="3328" y="3994"/>
                    <a:pt x="3367" y="4074"/>
                  </a:cubicBezTo>
                  <a:cubicBezTo>
                    <a:pt x="3405" y="4153"/>
                    <a:pt x="3532" y="4100"/>
                    <a:pt x="3535" y="4065"/>
                  </a:cubicBezTo>
                  <a:cubicBezTo>
                    <a:pt x="3538" y="4029"/>
                    <a:pt x="3596" y="3973"/>
                    <a:pt x="3588" y="3947"/>
                  </a:cubicBezTo>
                  <a:cubicBezTo>
                    <a:pt x="3582" y="3926"/>
                    <a:pt x="3502" y="3938"/>
                    <a:pt x="3464" y="39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5" name="Freeform 145"/>
            <p:cNvSpPr>
              <a:spLocks noEditPoints="1"/>
            </p:cNvSpPr>
            <p:nvPr/>
          </p:nvSpPr>
          <p:spPr bwMode="auto">
            <a:xfrm>
              <a:off x="17514672" y="7875063"/>
              <a:ext cx="489210" cy="681878"/>
            </a:xfrm>
            <a:custGeom>
              <a:avLst/>
              <a:gdLst>
                <a:gd name="T0" fmla="*/ 512 w 967"/>
                <a:gd name="T1" fmla="*/ 519 h 1348"/>
                <a:gd name="T2" fmla="*/ 633 w 967"/>
                <a:gd name="T3" fmla="*/ 607 h 1348"/>
                <a:gd name="T4" fmla="*/ 663 w 967"/>
                <a:gd name="T5" fmla="*/ 696 h 1348"/>
                <a:gd name="T6" fmla="*/ 704 w 967"/>
                <a:gd name="T7" fmla="*/ 740 h 1348"/>
                <a:gd name="T8" fmla="*/ 754 w 967"/>
                <a:gd name="T9" fmla="*/ 864 h 1348"/>
                <a:gd name="T10" fmla="*/ 787 w 967"/>
                <a:gd name="T11" fmla="*/ 838 h 1348"/>
                <a:gd name="T12" fmla="*/ 831 w 967"/>
                <a:gd name="T13" fmla="*/ 779 h 1348"/>
                <a:gd name="T14" fmla="*/ 805 w 967"/>
                <a:gd name="T15" fmla="*/ 658 h 1348"/>
                <a:gd name="T16" fmla="*/ 692 w 967"/>
                <a:gd name="T17" fmla="*/ 578 h 1348"/>
                <a:gd name="T18" fmla="*/ 624 w 967"/>
                <a:gd name="T19" fmla="*/ 489 h 1348"/>
                <a:gd name="T20" fmla="*/ 486 w 967"/>
                <a:gd name="T21" fmla="*/ 466 h 1348"/>
                <a:gd name="T22" fmla="*/ 436 w 967"/>
                <a:gd name="T23" fmla="*/ 374 h 1348"/>
                <a:gd name="T24" fmla="*/ 503 w 967"/>
                <a:gd name="T25" fmla="*/ 233 h 1348"/>
                <a:gd name="T26" fmla="*/ 498 w 967"/>
                <a:gd name="T27" fmla="*/ 70 h 1348"/>
                <a:gd name="T28" fmla="*/ 480 w 967"/>
                <a:gd name="T29" fmla="*/ 35 h 1348"/>
                <a:gd name="T30" fmla="*/ 335 w 967"/>
                <a:gd name="T31" fmla="*/ 23 h 1348"/>
                <a:gd name="T32" fmla="*/ 315 w 967"/>
                <a:gd name="T33" fmla="*/ 256 h 1348"/>
                <a:gd name="T34" fmla="*/ 267 w 967"/>
                <a:gd name="T35" fmla="*/ 244 h 1348"/>
                <a:gd name="T36" fmla="*/ 294 w 967"/>
                <a:gd name="T37" fmla="*/ 380 h 1348"/>
                <a:gd name="T38" fmla="*/ 320 w 967"/>
                <a:gd name="T39" fmla="*/ 457 h 1348"/>
                <a:gd name="T40" fmla="*/ 421 w 967"/>
                <a:gd name="T41" fmla="*/ 489 h 1348"/>
                <a:gd name="T42" fmla="*/ 512 w 967"/>
                <a:gd name="T43" fmla="*/ 519 h 1348"/>
                <a:gd name="T44" fmla="*/ 323 w 967"/>
                <a:gd name="T45" fmla="*/ 545 h 1348"/>
                <a:gd name="T46" fmla="*/ 418 w 967"/>
                <a:gd name="T47" fmla="*/ 652 h 1348"/>
                <a:gd name="T48" fmla="*/ 323 w 967"/>
                <a:gd name="T49" fmla="*/ 545 h 1348"/>
                <a:gd name="T50" fmla="*/ 489 w 967"/>
                <a:gd name="T51" fmla="*/ 832 h 1348"/>
                <a:gd name="T52" fmla="*/ 542 w 967"/>
                <a:gd name="T53" fmla="*/ 802 h 1348"/>
                <a:gd name="T54" fmla="*/ 551 w 967"/>
                <a:gd name="T55" fmla="*/ 882 h 1348"/>
                <a:gd name="T56" fmla="*/ 565 w 967"/>
                <a:gd name="T57" fmla="*/ 991 h 1348"/>
                <a:gd name="T58" fmla="*/ 672 w 967"/>
                <a:gd name="T59" fmla="*/ 832 h 1348"/>
                <a:gd name="T60" fmla="*/ 633 w 967"/>
                <a:gd name="T61" fmla="*/ 814 h 1348"/>
                <a:gd name="T62" fmla="*/ 483 w 967"/>
                <a:gd name="T63" fmla="*/ 696 h 1348"/>
                <a:gd name="T64" fmla="*/ 489 w 967"/>
                <a:gd name="T65" fmla="*/ 832 h 1348"/>
                <a:gd name="T66" fmla="*/ 140 w 967"/>
                <a:gd name="T67" fmla="*/ 888 h 1348"/>
                <a:gd name="T68" fmla="*/ 13 w 967"/>
                <a:gd name="T69" fmla="*/ 1053 h 1348"/>
                <a:gd name="T70" fmla="*/ 194 w 967"/>
                <a:gd name="T71" fmla="*/ 885 h 1348"/>
                <a:gd name="T72" fmla="*/ 220 w 967"/>
                <a:gd name="T73" fmla="*/ 779 h 1348"/>
                <a:gd name="T74" fmla="*/ 140 w 967"/>
                <a:gd name="T75" fmla="*/ 888 h 1348"/>
                <a:gd name="T76" fmla="*/ 666 w 967"/>
                <a:gd name="T77" fmla="*/ 947 h 1348"/>
                <a:gd name="T78" fmla="*/ 740 w 967"/>
                <a:gd name="T79" fmla="*/ 900 h 1348"/>
                <a:gd name="T80" fmla="*/ 666 w 967"/>
                <a:gd name="T81" fmla="*/ 947 h 1348"/>
                <a:gd name="T82" fmla="*/ 931 w 967"/>
                <a:gd name="T83" fmla="*/ 1177 h 1348"/>
                <a:gd name="T84" fmla="*/ 908 w 967"/>
                <a:gd name="T85" fmla="*/ 956 h 1348"/>
                <a:gd name="T86" fmla="*/ 837 w 967"/>
                <a:gd name="T87" fmla="*/ 950 h 1348"/>
                <a:gd name="T88" fmla="*/ 781 w 967"/>
                <a:gd name="T89" fmla="*/ 1003 h 1348"/>
                <a:gd name="T90" fmla="*/ 722 w 967"/>
                <a:gd name="T91" fmla="*/ 1047 h 1348"/>
                <a:gd name="T92" fmla="*/ 633 w 967"/>
                <a:gd name="T93" fmla="*/ 1027 h 1348"/>
                <a:gd name="T94" fmla="*/ 518 w 967"/>
                <a:gd name="T95" fmla="*/ 1095 h 1348"/>
                <a:gd name="T96" fmla="*/ 480 w 967"/>
                <a:gd name="T97" fmla="*/ 1198 h 1348"/>
                <a:gd name="T98" fmla="*/ 568 w 967"/>
                <a:gd name="T99" fmla="*/ 1151 h 1348"/>
                <a:gd name="T100" fmla="*/ 642 w 967"/>
                <a:gd name="T101" fmla="*/ 1124 h 1348"/>
                <a:gd name="T102" fmla="*/ 725 w 967"/>
                <a:gd name="T103" fmla="*/ 1295 h 1348"/>
                <a:gd name="T104" fmla="*/ 828 w 967"/>
                <a:gd name="T105" fmla="*/ 1348 h 1348"/>
                <a:gd name="T106" fmla="*/ 825 w 967"/>
                <a:gd name="T107" fmla="*/ 1221 h 1348"/>
                <a:gd name="T108" fmla="*/ 931 w 967"/>
                <a:gd name="T109" fmla="*/ 1177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7" h="1348">
                  <a:moveTo>
                    <a:pt x="512" y="519"/>
                  </a:moveTo>
                  <a:cubicBezTo>
                    <a:pt x="568" y="510"/>
                    <a:pt x="645" y="581"/>
                    <a:pt x="633" y="607"/>
                  </a:cubicBezTo>
                  <a:cubicBezTo>
                    <a:pt x="621" y="634"/>
                    <a:pt x="636" y="720"/>
                    <a:pt x="663" y="696"/>
                  </a:cubicBezTo>
                  <a:cubicBezTo>
                    <a:pt x="689" y="672"/>
                    <a:pt x="731" y="702"/>
                    <a:pt x="704" y="740"/>
                  </a:cubicBezTo>
                  <a:cubicBezTo>
                    <a:pt x="678" y="779"/>
                    <a:pt x="745" y="817"/>
                    <a:pt x="754" y="864"/>
                  </a:cubicBezTo>
                  <a:cubicBezTo>
                    <a:pt x="763" y="911"/>
                    <a:pt x="793" y="873"/>
                    <a:pt x="787" y="838"/>
                  </a:cubicBezTo>
                  <a:cubicBezTo>
                    <a:pt x="781" y="802"/>
                    <a:pt x="793" y="805"/>
                    <a:pt x="831" y="779"/>
                  </a:cubicBezTo>
                  <a:cubicBezTo>
                    <a:pt x="869" y="752"/>
                    <a:pt x="828" y="708"/>
                    <a:pt x="805" y="658"/>
                  </a:cubicBezTo>
                  <a:cubicBezTo>
                    <a:pt x="781" y="607"/>
                    <a:pt x="692" y="625"/>
                    <a:pt x="692" y="578"/>
                  </a:cubicBezTo>
                  <a:cubicBezTo>
                    <a:pt x="692" y="531"/>
                    <a:pt x="627" y="516"/>
                    <a:pt x="624" y="489"/>
                  </a:cubicBezTo>
                  <a:cubicBezTo>
                    <a:pt x="621" y="463"/>
                    <a:pt x="536" y="436"/>
                    <a:pt x="486" y="466"/>
                  </a:cubicBezTo>
                  <a:cubicBezTo>
                    <a:pt x="436" y="495"/>
                    <a:pt x="471" y="413"/>
                    <a:pt x="436" y="374"/>
                  </a:cubicBezTo>
                  <a:cubicBezTo>
                    <a:pt x="400" y="336"/>
                    <a:pt x="462" y="280"/>
                    <a:pt x="503" y="233"/>
                  </a:cubicBezTo>
                  <a:cubicBezTo>
                    <a:pt x="545" y="185"/>
                    <a:pt x="492" y="106"/>
                    <a:pt x="498" y="70"/>
                  </a:cubicBezTo>
                  <a:cubicBezTo>
                    <a:pt x="503" y="35"/>
                    <a:pt x="500" y="23"/>
                    <a:pt x="480" y="35"/>
                  </a:cubicBezTo>
                  <a:cubicBezTo>
                    <a:pt x="459" y="47"/>
                    <a:pt x="374" y="0"/>
                    <a:pt x="335" y="23"/>
                  </a:cubicBezTo>
                  <a:cubicBezTo>
                    <a:pt x="297" y="47"/>
                    <a:pt x="332" y="241"/>
                    <a:pt x="315" y="256"/>
                  </a:cubicBezTo>
                  <a:cubicBezTo>
                    <a:pt x="297" y="271"/>
                    <a:pt x="274" y="225"/>
                    <a:pt x="267" y="244"/>
                  </a:cubicBezTo>
                  <a:cubicBezTo>
                    <a:pt x="258" y="271"/>
                    <a:pt x="270" y="380"/>
                    <a:pt x="294" y="380"/>
                  </a:cubicBezTo>
                  <a:cubicBezTo>
                    <a:pt x="318" y="380"/>
                    <a:pt x="335" y="410"/>
                    <a:pt x="320" y="457"/>
                  </a:cubicBezTo>
                  <a:cubicBezTo>
                    <a:pt x="306" y="504"/>
                    <a:pt x="365" y="510"/>
                    <a:pt x="421" y="489"/>
                  </a:cubicBezTo>
                  <a:cubicBezTo>
                    <a:pt x="477" y="469"/>
                    <a:pt x="456" y="528"/>
                    <a:pt x="512" y="519"/>
                  </a:cubicBezTo>
                  <a:close/>
                  <a:moveTo>
                    <a:pt x="323" y="545"/>
                  </a:moveTo>
                  <a:cubicBezTo>
                    <a:pt x="332" y="587"/>
                    <a:pt x="353" y="672"/>
                    <a:pt x="418" y="652"/>
                  </a:cubicBezTo>
                  <a:cubicBezTo>
                    <a:pt x="483" y="631"/>
                    <a:pt x="317" y="516"/>
                    <a:pt x="323" y="545"/>
                  </a:cubicBezTo>
                  <a:close/>
                  <a:moveTo>
                    <a:pt x="489" y="832"/>
                  </a:moveTo>
                  <a:cubicBezTo>
                    <a:pt x="503" y="829"/>
                    <a:pt x="539" y="832"/>
                    <a:pt x="542" y="802"/>
                  </a:cubicBezTo>
                  <a:cubicBezTo>
                    <a:pt x="545" y="773"/>
                    <a:pt x="577" y="855"/>
                    <a:pt x="551" y="882"/>
                  </a:cubicBezTo>
                  <a:cubicBezTo>
                    <a:pt x="524" y="909"/>
                    <a:pt x="524" y="982"/>
                    <a:pt x="565" y="991"/>
                  </a:cubicBezTo>
                  <a:cubicBezTo>
                    <a:pt x="607" y="1000"/>
                    <a:pt x="683" y="858"/>
                    <a:pt x="672" y="832"/>
                  </a:cubicBezTo>
                  <a:cubicBezTo>
                    <a:pt x="660" y="805"/>
                    <a:pt x="624" y="849"/>
                    <a:pt x="633" y="814"/>
                  </a:cubicBezTo>
                  <a:cubicBezTo>
                    <a:pt x="642" y="779"/>
                    <a:pt x="527" y="687"/>
                    <a:pt x="483" y="696"/>
                  </a:cubicBezTo>
                  <a:cubicBezTo>
                    <a:pt x="439" y="705"/>
                    <a:pt x="454" y="839"/>
                    <a:pt x="489" y="832"/>
                  </a:cubicBezTo>
                  <a:close/>
                  <a:moveTo>
                    <a:pt x="140" y="888"/>
                  </a:moveTo>
                  <a:cubicBezTo>
                    <a:pt x="99" y="941"/>
                    <a:pt x="0" y="1029"/>
                    <a:pt x="13" y="1053"/>
                  </a:cubicBezTo>
                  <a:cubicBezTo>
                    <a:pt x="31" y="1086"/>
                    <a:pt x="140" y="923"/>
                    <a:pt x="194" y="885"/>
                  </a:cubicBezTo>
                  <a:cubicBezTo>
                    <a:pt x="247" y="847"/>
                    <a:pt x="238" y="814"/>
                    <a:pt x="220" y="779"/>
                  </a:cubicBezTo>
                  <a:cubicBezTo>
                    <a:pt x="202" y="743"/>
                    <a:pt x="182" y="835"/>
                    <a:pt x="140" y="888"/>
                  </a:cubicBezTo>
                  <a:close/>
                  <a:moveTo>
                    <a:pt x="666" y="947"/>
                  </a:moveTo>
                  <a:cubicBezTo>
                    <a:pt x="678" y="976"/>
                    <a:pt x="763" y="929"/>
                    <a:pt x="740" y="900"/>
                  </a:cubicBezTo>
                  <a:cubicBezTo>
                    <a:pt x="716" y="870"/>
                    <a:pt x="657" y="925"/>
                    <a:pt x="666" y="947"/>
                  </a:cubicBezTo>
                  <a:close/>
                  <a:moveTo>
                    <a:pt x="931" y="1177"/>
                  </a:moveTo>
                  <a:cubicBezTo>
                    <a:pt x="967" y="1136"/>
                    <a:pt x="908" y="1027"/>
                    <a:pt x="908" y="956"/>
                  </a:cubicBezTo>
                  <a:cubicBezTo>
                    <a:pt x="908" y="885"/>
                    <a:pt x="810" y="905"/>
                    <a:pt x="837" y="950"/>
                  </a:cubicBezTo>
                  <a:cubicBezTo>
                    <a:pt x="864" y="994"/>
                    <a:pt x="787" y="959"/>
                    <a:pt x="781" y="1003"/>
                  </a:cubicBezTo>
                  <a:cubicBezTo>
                    <a:pt x="775" y="1047"/>
                    <a:pt x="719" y="1012"/>
                    <a:pt x="722" y="1047"/>
                  </a:cubicBezTo>
                  <a:cubicBezTo>
                    <a:pt x="725" y="1083"/>
                    <a:pt x="663" y="1047"/>
                    <a:pt x="633" y="1027"/>
                  </a:cubicBezTo>
                  <a:cubicBezTo>
                    <a:pt x="604" y="1006"/>
                    <a:pt x="562" y="1083"/>
                    <a:pt x="518" y="1095"/>
                  </a:cubicBezTo>
                  <a:cubicBezTo>
                    <a:pt x="474" y="1106"/>
                    <a:pt x="450" y="1200"/>
                    <a:pt x="480" y="1198"/>
                  </a:cubicBezTo>
                  <a:cubicBezTo>
                    <a:pt x="515" y="1195"/>
                    <a:pt x="533" y="1147"/>
                    <a:pt x="568" y="1151"/>
                  </a:cubicBezTo>
                  <a:cubicBezTo>
                    <a:pt x="604" y="1153"/>
                    <a:pt x="592" y="1115"/>
                    <a:pt x="642" y="1124"/>
                  </a:cubicBezTo>
                  <a:cubicBezTo>
                    <a:pt x="692" y="1133"/>
                    <a:pt x="657" y="1283"/>
                    <a:pt x="725" y="1295"/>
                  </a:cubicBezTo>
                  <a:cubicBezTo>
                    <a:pt x="793" y="1307"/>
                    <a:pt x="796" y="1348"/>
                    <a:pt x="828" y="1348"/>
                  </a:cubicBezTo>
                  <a:cubicBezTo>
                    <a:pt x="861" y="1348"/>
                    <a:pt x="822" y="1254"/>
                    <a:pt x="825" y="1221"/>
                  </a:cubicBezTo>
                  <a:cubicBezTo>
                    <a:pt x="828" y="1189"/>
                    <a:pt x="896" y="1218"/>
                    <a:pt x="931" y="117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6" name="Freeform 146"/>
            <p:cNvSpPr>
              <a:spLocks noEditPoints="1"/>
            </p:cNvSpPr>
            <p:nvPr/>
          </p:nvSpPr>
          <p:spPr bwMode="auto">
            <a:xfrm>
              <a:off x="18720943" y="8975786"/>
              <a:ext cx="639994" cy="407116"/>
            </a:xfrm>
            <a:custGeom>
              <a:avLst/>
              <a:gdLst>
                <a:gd name="T0" fmla="*/ 910 w 1267"/>
                <a:gd name="T1" fmla="*/ 741 h 806"/>
                <a:gd name="T2" fmla="*/ 839 w 1267"/>
                <a:gd name="T3" fmla="*/ 674 h 806"/>
                <a:gd name="T4" fmla="*/ 738 w 1267"/>
                <a:gd name="T5" fmla="*/ 626 h 806"/>
                <a:gd name="T6" fmla="*/ 668 w 1267"/>
                <a:gd name="T7" fmla="*/ 494 h 806"/>
                <a:gd name="T8" fmla="*/ 644 w 1267"/>
                <a:gd name="T9" fmla="*/ 411 h 806"/>
                <a:gd name="T10" fmla="*/ 665 w 1267"/>
                <a:gd name="T11" fmla="*/ 346 h 806"/>
                <a:gd name="T12" fmla="*/ 467 w 1267"/>
                <a:gd name="T13" fmla="*/ 237 h 806"/>
                <a:gd name="T14" fmla="*/ 74 w 1267"/>
                <a:gd name="T15" fmla="*/ 21 h 806"/>
                <a:gd name="T16" fmla="*/ 0 w 1267"/>
                <a:gd name="T17" fmla="*/ 0 h 806"/>
                <a:gd name="T18" fmla="*/ 0 w 1267"/>
                <a:gd name="T19" fmla="*/ 630 h 806"/>
                <a:gd name="T20" fmla="*/ 107 w 1267"/>
                <a:gd name="T21" fmla="*/ 665 h 806"/>
                <a:gd name="T22" fmla="*/ 228 w 1267"/>
                <a:gd name="T23" fmla="*/ 597 h 806"/>
                <a:gd name="T24" fmla="*/ 287 w 1267"/>
                <a:gd name="T25" fmla="*/ 523 h 806"/>
                <a:gd name="T26" fmla="*/ 496 w 1267"/>
                <a:gd name="T27" fmla="*/ 570 h 806"/>
                <a:gd name="T28" fmla="*/ 715 w 1267"/>
                <a:gd name="T29" fmla="*/ 765 h 806"/>
                <a:gd name="T30" fmla="*/ 924 w 1267"/>
                <a:gd name="T31" fmla="*/ 803 h 806"/>
                <a:gd name="T32" fmla="*/ 910 w 1267"/>
                <a:gd name="T33" fmla="*/ 741 h 806"/>
                <a:gd name="T34" fmla="*/ 1078 w 1267"/>
                <a:gd name="T35" fmla="*/ 216 h 806"/>
                <a:gd name="T36" fmla="*/ 957 w 1267"/>
                <a:gd name="T37" fmla="*/ 287 h 806"/>
                <a:gd name="T38" fmla="*/ 744 w 1267"/>
                <a:gd name="T39" fmla="*/ 296 h 806"/>
                <a:gd name="T40" fmla="*/ 907 w 1267"/>
                <a:gd name="T41" fmla="*/ 370 h 806"/>
                <a:gd name="T42" fmla="*/ 1113 w 1267"/>
                <a:gd name="T43" fmla="*/ 266 h 806"/>
                <a:gd name="T44" fmla="*/ 1143 w 1267"/>
                <a:gd name="T45" fmla="*/ 178 h 806"/>
                <a:gd name="T46" fmla="*/ 1078 w 1267"/>
                <a:gd name="T47" fmla="*/ 216 h 806"/>
                <a:gd name="T48" fmla="*/ 1178 w 1267"/>
                <a:gd name="T49" fmla="*/ 104 h 806"/>
                <a:gd name="T50" fmla="*/ 1149 w 1267"/>
                <a:gd name="T51" fmla="*/ 110 h 806"/>
                <a:gd name="T52" fmla="*/ 1211 w 1267"/>
                <a:gd name="T53" fmla="*/ 204 h 806"/>
                <a:gd name="T54" fmla="*/ 1178 w 1267"/>
                <a:gd name="T55" fmla="*/ 104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7" h="806">
                  <a:moveTo>
                    <a:pt x="910" y="741"/>
                  </a:moveTo>
                  <a:cubicBezTo>
                    <a:pt x="889" y="733"/>
                    <a:pt x="836" y="697"/>
                    <a:pt x="839" y="674"/>
                  </a:cubicBezTo>
                  <a:cubicBezTo>
                    <a:pt x="842" y="650"/>
                    <a:pt x="780" y="653"/>
                    <a:pt x="738" y="626"/>
                  </a:cubicBezTo>
                  <a:cubicBezTo>
                    <a:pt x="697" y="600"/>
                    <a:pt x="712" y="514"/>
                    <a:pt x="668" y="494"/>
                  </a:cubicBezTo>
                  <a:cubicBezTo>
                    <a:pt x="623" y="473"/>
                    <a:pt x="591" y="408"/>
                    <a:pt x="644" y="411"/>
                  </a:cubicBezTo>
                  <a:cubicBezTo>
                    <a:pt x="697" y="414"/>
                    <a:pt x="706" y="384"/>
                    <a:pt x="665" y="346"/>
                  </a:cubicBezTo>
                  <a:cubicBezTo>
                    <a:pt x="623" y="308"/>
                    <a:pt x="473" y="293"/>
                    <a:pt x="467" y="237"/>
                  </a:cubicBezTo>
                  <a:cubicBezTo>
                    <a:pt x="461" y="181"/>
                    <a:pt x="192" y="48"/>
                    <a:pt x="74" y="21"/>
                  </a:cubicBezTo>
                  <a:cubicBezTo>
                    <a:pt x="53" y="17"/>
                    <a:pt x="28" y="9"/>
                    <a:pt x="0" y="0"/>
                  </a:cubicBezTo>
                  <a:cubicBezTo>
                    <a:pt x="0" y="630"/>
                    <a:pt x="0" y="630"/>
                    <a:pt x="0" y="630"/>
                  </a:cubicBezTo>
                  <a:cubicBezTo>
                    <a:pt x="28" y="648"/>
                    <a:pt x="62" y="663"/>
                    <a:pt x="107" y="665"/>
                  </a:cubicBezTo>
                  <a:cubicBezTo>
                    <a:pt x="237" y="671"/>
                    <a:pt x="204" y="597"/>
                    <a:pt x="228" y="597"/>
                  </a:cubicBezTo>
                  <a:cubicBezTo>
                    <a:pt x="251" y="597"/>
                    <a:pt x="260" y="556"/>
                    <a:pt x="287" y="523"/>
                  </a:cubicBezTo>
                  <a:cubicBezTo>
                    <a:pt x="313" y="491"/>
                    <a:pt x="428" y="517"/>
                    <a:pt x="496" y="570"/>
                  </a:cubicBezTo>
                  <a:cubicBezTo>
                    <a:pt x="564" y="623"/>
                    <a:pt x="644" y="780"/>
                    <a:pt x="715" y="765"/>
                  </a:cubicBezTo>
                  <a:cubicBezTo>
                    <a:pt x="786" y="750"/>
                    <a:pt x="859" y="806"/>
                    <a:pt x="924" y="803"/>
                  </a:cubicBezTo>
                  <a:cubicBezTo>
                    <a:pt x="989" y="800"/>
                    <a:pt x="930" y="750"/>
                    <a:pt x="910" y="741"/>
                  </a:cubicBezTo>
                  <a:close/>
                  <a:moveTo>
                    <a:pt x="1078" y="216"/>
                  </a:moveTo>
                  <a:cubicBezTo>
                    <a:pt x="1078" y="243"/>
                    <a:pt x="1031" y="257"/>
                    <a:pt x="957" y="287"/>
                  </a:cubicBezTo>
                  <a:cubicBezTo>
                    <a:pt x="883" y="316"/>
                    <a:pt x="749" y="253"/>
                    <a:pt x="744" y="296"/>
                  </a:cubicBezTo>
                  <a:cubicBezTo>
                    <a:pt x="741" y="322"/>
                    <a:pt x="827" y="370"/>
                    <a:pt x="907" y="370"/>
                  </a:cubicBezTo>
                  <a:cubicBezTo>
                    <a:pt x="986" y="370"/>
                    <a:pt x="1113" y="290"/>
                    <a:pt x="1113" y="266"/>
                  </a:cubicBezTo>
                  <a:cubicBezTo>
                    <a:pt x="1113" y="243"/>
                    <a:pt x="1163" y="201"/>
                    <a:pt x="1143" y="178"/>
                  </a:cubicBezTo>
                  <a:cubicBezTo>
                    <a:pt x="1122" y="154"/>
                    <a:pt x="1078" y="190"/>
                    <a:pt x="1078" y="216"/>
                  </a:cubicBezTo>
                  <a:close/>
                  <a:moveTo>
                    <a:pt x="1178" y="104"/>
                  </a:moveTo>
                  <a:cubicBezTo>
                    <a:pt x="1131" y="74"/>
                    <a:pt x="1090" y="54"/>
                    <a:pt x="1149" y="110"/>
                  </a:cubicBezTo>
                  <a:cubicBezTo>
                    <a:pt x="1208" y="166"/>
                    <a:pt x="1176" y="213"/>
                    <a:pt x="1211" y="204"/>
                  </a:cubicBezTo>
                  <a:cubicBezTo>
                    <a:pt x="1267" y="190"/>
                    <a:pt x="1225" y="133"/>
                    <a:pt x="1178" y="10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7" name="Freeform 147"/>
            <p:cNvSpPr>
              <a:spLocks/>
            </p:cNvSpPr>
            <p:nvPr/>
          </p:nvSpPr>
          <p:spPr bwMode="auto">
            <a:xfrm>
              <a:off x="15675108" y="8339143"/>
              <a:ext cx="107224" cy="209422"/>
            </a:xfrm>
            <a:custGeom>
              <a:avLst/>
              <a:gdLst>
                <a:gd name="T0" fmla="*/ 50 w 215"/>
                <a:gd name="T1" fmla="*/ 2 h 414"/>
                <a:gd name="T2" fmla="*/ 14 w 215"/>
                <a:gd name="T3" fmla="*/ 97 h 414"/>
                <a:gd name="T4" fmla="*/ 8 w 215"/>
                <a:gd name="T5" fmla="*/ 229 h 414"/>
                <a:gd name="T6" fmla="*/ 59 w 215"/>
                <a:gd name="T7" fmla="*/ 377 h 414"/>
                <a:gd name="T8" fmla="*/ 212 w 215"/>
                <a:gd name="T9" fmla="*/ 235 h 414"/>
                <a:gd name="T10" fmla="*/ 50 w 215"/>
                <a:gd name="T11" fmla="*/ 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5" h="414">
                  <a:moveTo>
                    <a:pt x="50" y="2"/>
                  </a:moveTo>
                  <a:cubicBezTo>
                    <a:pt x="23" y="5"/>
                    <a:pt x="29" y="58"/>
                    <a:pt x="14" y="97"/>
                  </a:cubicBezTo>
                  <a:cubicBezTo>
                    <a:pt x="0" y="135"/>
                    <a:pt x="3" y="173"/>
                    <a:pt x="8" y="229"/>
                  </a:cubicBezTo>
                  <a:cubicBezTo>
                    <a:pt x="14" y="286"/>
                    <a:pt x="8" y="345"/>
                    <a:pt x="59" y="377"/>
                  </a:cubicBezTo>
                  <a:cubicBezTo>
                    <a:pt x="116" y="414"/>
                    <a:pt x="209" y="318"/>
                    <a:pt x="212" y="235"/>
                  </a:cubicBezTo>
                  <a:cubicBezTo>
                    <a:pt x="215" y="153"/>
                    <a:pt x="72" y="0"/>
                    <a:pt x="50" y="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13798686" y="9416410"/>
              <a:ext cx="375284" cy="742191"/>
            </a:xfrm>
            <a:custGeom>
              <a:avLst/>
              <a:gdLst>
                <a:gd name="T0" fmla="*/ 625 w 743"/>
                <a:gd name="T1" fmla="*/ 49 h 1468"/>
                <a:gd name="T2" fmla="*/ 590 w 743"/>
                <a:gd name="T3" fmla="*/ 78 h 1468"/>
                <a:gd name="T4" fmla="*/ 575 w 743"/>
                <a:gd name="T5" fmla="*/ 149 h 1468"/>
                <a:gd name="T6" fmla="*/ 516 w 743"/>
                <a:gd name="T7" fmla="*/ 193 h 1468"/>
                <a:gd name="T8" fmla="*/ 466 w 743"/>
                <a:gd name="T9" fmla="*/ 237 h 1468"/>
                <a:gd name="T10" fmla="*/ 463 w 743"/>
                <a:gd name="T11" fmla="*/ 290 h 1468"/>
                <a:gd name="T12" fmla="*/ 389 w 743"/>
                <a:gd name="T13" fmla="*/ 353 h 1468"/>
                <a:gd name="T14" fmla="*/ 251 w 743"/>
                <a:gd name="T15" fmla="*/ 423 h 1468"/>
                <a:gd name="T16" fmla="*/ 124 w 743"/>
                <a:gd name="T17" fmla="*/ 447 h 1468"/>
                <a:gd name="T18" fmla="*/ 82 w 743"/>
                <a:gd name="T19" fmla="*/ 580 h 1468"/>
                <a:gd name="T20" fmla="*/ 94 w 743"/>
                <a:gd name="T21" fmla="*/ 760 h 1468"/>
                <a:gd name="T22" fmla="*/ 70 w 743"/>
                <a:gd name="T23" fmla="*/ 963 h 1468"/>
                <a:gd name="T24" fmla="*/ 32 w 743"/>
                <a:gd name="T25" fmla="*/ 1203 h 1468"/>
                <a:gd name="T26" fmla="*/ 97 w 743"/>
                <a:gd name="T27" fmla="*/ 1391 h 1468"/>
                <a:gd name="T28" fmla="*/ 274 w 743"/>
                <a:gd name="T29" fmla="*/ 1436 h 1468"/>
                <a:gd name="T30" fmla="*/ 377 w 743"/>
                <a:gd name="T31" fmla="*/ 1397 h 1468"/>
                <a:gd name="T32" fmla="*/ 522 w 743"/>
                <a:gd name="T33" fmla="*/ 978 h 1468"/>
                <a:gd name="T34" fmla="*/ 631 w 743"/>
                <a:gd name="T35" fmla="*/ 589 h 1468"/>
                <a:gd name="T36" fmla="*/ 649 w 743"/>
                <a:gd name="T37" fmla="*/ 476 h 1468"/>
                <a:gd name="T38" fmla="*/ 675 w 743"/>
                <a:gd name="T39" fmla="*/ 414 h 1468"/>
                <a:gd name="T40" fmla="*/ 734 w 743"/>
                <a:gd name="T41" fmla="*/ 403 h 1468"/>
                <a:gd name="T42" fmla="*/ 696 w 743"/>
                <a:gd name="T43" fmla="*/ 214 h 1468"/>
                <a:gd name="T44" fmla="*/ 625 w 743"/>
                <a:gd name="T45" fmla="*/ 49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3" h="1468">
                  <a:moveTo>
                    <a:pt x="625" y="49"/>
                  </a:moveTo>
                  <a:cubicBezTo>
                    <a:pt x="612" y="0"/>
                    <a:pt x="602" y="66"/>
                    <a:pt x="590" y="78"/>
                  </a:cubicBezTo>
                  <a:cubicBezTo>
                    <a:pt x="578" y="90"/>
                    <a:pt x="572" y="125"/>
                    <a:pt x="575" y="149"/>
                  </a:cubicBezTo>
                  <a:cubicBezTo>
                    <a:pt x="578" y="173"/>
                    <a:pt x="540" y="196"/>
                    <a:pt x="516" y="193"/>
                  </a:cubicBezTo>
                  <a:cubicBezTo>
                    <a:pt x="493" y="190"/>
                    <a:pt x="454" y="205"/>
                    <a:pt x="466" y="237"/>
                  </a:cubicBezTo>
                  <a:cubicBezTo>
                    <a:pt x="478" y="270"/>
                    <a:pt x="448" y="264"/>
                    <a:pt x="463" y="290"/>
                  </a:cubicBezTo>
                  <a:cubicBezTo>
                    <a:pt x="478" y="317"/>
                    <a:pt x="431" y="350"/>
                    <a:pt x="389" y="353"/>
                  </a:cubicBezTo>
                  <a:cubicBezTo>
                    <a:pt x="348" y="355"/>
                    <a:pt x="295" y="429"/>
                    <a:pt x="251" y="423"/>
                  </a:cubicBezTo>
                  <a:cubicBezTo>
                    <a:pt x="206" y="418"/>
                    <a:pt x="162" y="453"/>
                    <a:pt x="124" y="447"/>
                  </a:cubicBezTo>
                  <a:cubicBezTo>
                    <a:pt x="85" y="441"/>
                    <a:pt x="112" y="527"/>
                    <a:pt x="82" y="580"/>
                  </a:cubicBezTo>
                  <a:cubicBezTo>
                    <a:pt x="53" y="633"/>
                    <a:pt x="67" y="695"/>
                    <a:pt x="94" y="760"/>
                  </a:cubicBezTo>
                  <a:cubicBezTo>
                    <a:pt x="121" y="825"/>
                    <a:pt x="141" y="878"/>
                    <a:pt x="70" y="963"/>
                  </a:cubicBezTo>
                  <a:cubicBezTo>
                    <a:pt x="0" y="1049"/>
                    <a:pt x="5" y="1143"/>
                    <a:pt x="32" y="1203"/>
                  </a:cubicBezTo>
                  <a:cubicBezTo>
                    <a:pt x="59" y="1262"/>
                    <a:pt x="59" y="1350"/>
                    <a:pt x="97" y="1391"/>
                  </a:cubicBezTo>
                  <a:cubicBezTo>
                    <a:pt x="135" y="1433"/>
                    <a:pt x="242" y="1468"/>
                    <a:pt x="274" y="1436"/>
                  </a:cubicBezTo>
                  <a:cubicBezTo>
                    <a:pt x="307" y="1403"/>
                    <a:pt x="341" y="1440"/>
                    <a:pt x="377" y="1397"/>
                  </a:cubicBezTo>
                  <a:cubicBezTo>
                    <a:pt x="413" y="1356"/>
                    <a:pt x="472" y="1129"/>
                    <a:pt x="522" y="978"/>
                  </a:cubicBezTo>
                  <a:cubicBezTo>
                    <a:pt x="572" y="828"/>
                    <a:pt x="637" y="630"/>
                    <a:pt x="631" y="589"/>
                  </a:cubicBezTo>
                  <a:cubicBezTo>
                    <a:pt x="625" y="547"/>
                    <a:pt x="667" y="521"/>
                    <a:pt x="649" y="476"/>
                  </a:cubicBezTo>
                  <a:cubicBezTo>
                    <a:pt x="631" y="432"/>
                    <a:pt x="655" y="379"/>
                    <a:pt x="675" y="414"/>
                  </a:cubicBezTo>
                  <a:cubicBezTo>
                    <a:pt x="696" y="450"/>
                    <a:pt x="726" y="450"/>
                    <a:pt x="734" y="403"/>
                  </a:cubicBezTo>
                  <a:cubicBezTo>
                    <a:pt x="743" y="355"/>
                    <a:pt x="699" y="282"/>
                    <a:pt x="696" y="214"/>
                  </a:cubicBezTo>
                  <a:cubicBezTo>
                    <a:pt x="693" y="146"/>
                    <a:pt x="634" y="81"/>
                    <a:pt x="625" y="4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49" name="Freeform 149"/>
            <p:cNvSpPr>
              <a:spLocks noEditPoints="1"/>
            </p:cNvSpPr>
            <p:nvPr/>
          </p:nvSpPr>
          <p:spPr bwMode="auto">
            <a:xfrm>
              <a:off x="13783607" y="7846582"/>
              <a:ext cx="603136" cy="365232"/>
            </a:xfrm>
            <a:custGeom>
              <a:avLst/>
              <a:gdLst>
                <a:gd name="T0" fmla="*/ 845 w 1193"/>
                <a:gd name="T1" fmla="*/ 28 h 723"/>
                <a:gd name="T2" fmla="*/ 648 w 1193"/>
                <a:gd name="T3" fmla="*/ 39 h 723"/>
                <a:gd name="T4" fmla="*/ 494 w 1193"/>
                <a:gd name="T5" fmla="*/ 173 h 723"/>
                <a:gd name="T6" fmla="*/ 426 w 1193"/>
                <a:gd name="T7" fmla="*/ 199 h 723"/>
                <a:gd name="T8" fmla="*/ 286 w 1193"/>
                <a:gd name="T9" fmla="*/ 176 h 723"/>
                <a:gd name="T10" fmla="*/ 164 w 1193"/>
                <a:gd name="T11" fmla="*/ 165 h 723"/>
                <a:gd name="T12" fmla="*/ 89 w 1193"/>
                <a:gd name="T13" fmla="*/ 153 h 723"/>
                <a:gd name="T14" fmla="*/ 47 w 1193"/>
                <a:gd name="T15" fmla="*/ 190 h 723"/>
                <a:gd name="T16" fmla="*/ 50 w 1193"/>
                <a:gd name="T17" fmla="*/ 245 h 723"/>
                <a:gd name="T18" fmla="*/ 3 w 1193"/>
                <a:gd name="T19" fmla="*/ 270 h 723"/>
                <a:gd name="T20" fmla="*/ 12 w 1193"/>
                <a:gd name="T21" fmla="*/ 331 h 723"/>
                <a:gd name="T22" fmla="*/ 41 w 1193"/>
                <a:gd name="T23" fmla="*/ 491 h 723"/>
                <a:gd name="T24" fmla="*/ 75 w 1193"/>
                <a:gd name="T25" fmla="*/ 637 h 723"/>
                <a:gd name="T26" fmla="*/ 257 w 1193"/>
                <a:gd name="T27" fmla="*/ 616 h 723"/>
                <a:gd name="T28" fmla="*/ 385 w 1193"/>
                <a:gd name="T29" fmla="*/ 576 h 723"/>
                <a:gd name="T30" fmla="*/ 494 w 1193"/>
                <a:gd name="T31" fmla="*/ 523 h 723"/>
                <a:gd name="T32" fmla="*/ 593 w 1193"/>
                <a:gd name="T33" fmla="*/ 507 h 723"/>
                <a:gd name="T34" fmla="*/ 672 w 1193"/>
                <a:gd name="T35" fmla="*/ 454 h 723"/>
                <a:gd name="T36" fmla="*/ 883 w 1193"/>
                <a:gd name="T37" fmla="*/ 385 h 723"/>
                <a:gd name="T38" fmla="*/ 978 w 1193"/>
                <a:gd name="T39" fmla="*/ 284 h 723"/>
                <a:gd name="T40" fmla="*/ 1064 w 1193"/>
                <a:gd name="T41" fmla="*/ 252 h 723"/>
                <a:gd name="T42" fmla="*/ 942 w 1193"/>
                <a:gd name="T43" fmla="*/ 0 h 723"/>
                <a:gd name="T44" fmla="*/ 845 w 1193"/>
                <a:gd name="T45" fmla="*/ 28 h 723"/>
                <a:gd name="T46" fmla="*/ 1088 w 1193"/>
                <a:gd name="T47" fmla="*/ 689 h 723"/>
                <a:gd name="T48" fmla="*/ 1190 w 1193"/>
                <a:gd name="T49" fmla="*/ 670 h 723"/>
                <a:gd name="T50" fmla="*/ 1088 w 1193"/>
                <a:gd name="T51" fmla="*/ 68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93" h="723">
                  <a:moveTo>
                    <a:pt x="845" y="28"/>
                  </a:moveTo>
                  <a:cubicBezTo>
                    <a:pt x="794" y="39"/>
                    <a:pt x="665" y="31"/>
                    <a:pt x="648" y="39"/>
                  </a:cubicBezTo>
                  <a:cubicBezTo>
                    <a:pt x="631" y="48"/>
                    <a:pt x="512" y="133"/>
                    <a:pt x="494" y="173"/>
                  </a:cubicBezTo>
                  <a:cubicBezTo>
                    <a:pt x="477" y="213"/>
                    <a:pt x="452" y="219"/>
                    <a:pt x="426" y="199"/>
                  </a:cubicBezTo>
                  <a:cubicBezTo>
                    <a:pt x="400" y="179"/>
                    <a:pt x="295" y="185"/>
                    <a:pt x="286" y="176"/>
                  </a:cubicBezTo>
                  <a:cubicBezTo>
                    <a:pt x="278" y="168"/>
                    <a:pt x="201" y="159"/>
                    <a:pt x="164" y="165"/>
                  </a:cubicBezTo>
                  <a:cubicBezTo>
                    <a:pt x="126" y="170"/>
                    <a:pt x="106" y="148"/>
                    <a:pt x="89" y="153"/>
                  </a:cubicBezTo>
                  <a:cubicBezTo>
                    <a:pt x="72" y="159"/>
                    <a:pt x="55" y="179"/>
                    <a:pt x="47" y="190"/>
                  </a:cubicBezTo>
                  <a:cubicBezTo>
                    <a:pt x="38" y="202"/>
                    <a:pt x="55" y="233"/>
                    <a:pt x="50" y="245"/>
                  </a:cubicBezTo>
                  <a:cubicBezTo>
                    <a:pt x="48" y="248"/>
                    <a:pt x="30" y="257"/>
                    <a:pt x="3" y="270"/>
                  </a:cubicBezTo>
                  <a:cubicBezTo>
                    <a:pt x="12" y="292"/>
                    <a:pt x="18" y="315"/>
                    <a:pt x="12" y="331"/>
                  </a:cubicBezTo>
                  <a:cubicBezTo>
                    <a:pt x="0" y="365"/>
                    <a:pt x="10" y="445"/>
                    <a:pt x="41" y="491"/>
                  </a:cubicBezTo>
                  <a:cubicBezTo>
                    <a:pt x="72" y="536"/>
                    <a:pt x="61" y="621"/>
                    <a:pt x="75" y="637"/>
                  </a:cubicBezTo>
                  <a:cubicBezTo>
                    <a:pt x="90" y="653"/>
                    <a:pt x="205" y="650"/>
                    <a:pt x="257" y="616"/>
                  </a:cubicBezTo>
                  <a:cubicBezTo>
                    <a:pt x="308" y="582"/>
                    <a:pt x="344" y="576"/>
                    <a:pt x="385" y="576"/>
                  </a:cubicBezTo>
                  <a:cubicBezTo>
                    <a:pt x="427" y="576"/>
                    <a:pt x="481" y="541"/>
                    <a:pt x="494" y="523"/>
                  </a:cubicBezTo>
                  <a:cubicBezTo>
                    <a:pt x="508" y="505"/>
                    <a:pt x="568" y="504"/>
                    <a:pt x="593" y="507"/>
                  </a:cubicBezTo>
                  <a:cubicBezTo>
                    <a:pt x="618" y="510"/>
                    <a:pt x="643" y="482"/>
                    <a:pt x="672" y="454"/>
                  </a:cubicBezTo>
                  <a:cubicBezTo>
                    <a:pt x="700" y="426"/>
                    <a:pt x="788" y="414"/>
                    <a:pt x="883" y="385"/>
                  </a:cubicBezTo>
                  <a:cubicBezTo>
                    <a:pt x="977" y="355"/>
                    <a:pt x="956" y="311"/>
                    <a:pt x="978" y="284"/>
                  </a:cubicBezTo>
                  <a:cubicBezTo>
                    <a:pt x="997" y="262"/>
                    <a:pt x="1023" y="268"/>
                    <a:pt x="1064" y="252"/>
                  </a:cubicBezTo>
                  <a:cubicBezTo>
                    <a:pt x="1018" y="158"/>
                    <a:pt x="967" y="53"/>
                    <a:pt x="942" y="0"/>
                  </a:cubicBezTo>
                  <a:cubicBezTo>
                    <a:pt x="896" y="14"/>
                    <a:pt x="859" y="25"/>
                    <a:pt x="845" y="28"/>
                  </a:cubicBezTo>
                  <a:close/>
                  <a:moveTo>
                    <a:pt x="1088" y="689"/>
                  </a:moveTo>
                  <a:cubicBezTo>
                    <a:pt x="1122" y="723"/>
                    <a:pt x="1187" y="684"/>
                    <a:pt x="1190" y="670"/>
                  </a:cubicBezTo>
                  <a:cubicBezTo>
                    <a:pt x="1193" y="656"/>
                    <a:pt x="1051" y="651"/>
                    <a:pt x="1088" y="6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0" name="Freeform 150"/>
            <p:cNvSpPr>
              <a:spLocks noEditPoints="1"/>
            </p:cNvSpPr>
            <p:nvPr/>
          </p:nvSpPr>
          <p:spPr bwMode="auto">
            <a:xfrm>
              <a:off x="19417900" y="9106466"/>
              <a:ext cx="408792" cy="296541"/>
            </a:xfrm>
            <a:custGeom>
              <a:avLst/>
              <a:gdLst>
                <a:gd name="T0" fmla="*/ 6 w 810"/>
                <a:gd name="T1" fmla="*/ 27 h 585"/>
                <a:gd name="T2" fmla="*/ 130 w 810"/>
                <a:gd name="T3" fmla="*/ 172 h 585"/>
                <a:gd name="T4" fmla="*/ 6 w 810"/>
                <a:gd name="T5" fmla="*/ 27 h 585"/>
                <a:gd name="T6" fmla="*/ 195 w 810"/>
                <a:gd name="T7" fmla="*/ 151 h 585"/>
                <a:gd name="T8" fmla="*/ 279 w 810"/>
                <a:gd name="T9" fmla="*/ 220 h 585"/>
                <a:gd name="T10" fmla="*/ 195 w 810"/>
                <a:gd name="T11" fmla="*/ 151 h 585"/>
                <a:gd name="T12" fmla="*/ 527 w 810"/>
                <a:gd name="T13" fmla="*/ 328 h 585"/>
                <a:gd name="T14" fmla="*/ 387 w 810"/>
                <a:gd name="T15" fmla="*/ 253 h 585"/>
                <a:gd name="T16" fmla="*/ 527 w 810"/>
                <a:gd name="T17" fmla="*/ 328 h 585"/>
                <a:gd name="T18" fmla="*/ 509 w 810"/>
                <a:gd name="T19" fmla="*/ 423 h 585"/>
                <a:gd name="T20" fmla="*/ 611 w 810"/>
                <a:gd name="T21" fmla="*/ 479 h 585"/>
                <a:gd name="T22" fmla="*/ 509 w 810"/>
                <a:gd name="T23" fmla="*/ 423 h 585"/>
                <a:gd name="T24" fmla="*/ 690 w 810"/>
                <a:gd name="T25" fmla="*/ 521 h 585"/>
                <a:gd name="T26" fmla="*/ 781 w 810"/>
                <a:gd name="T27" fmla="*/ 565 h 585"/>
                <a:gd name="T28" fmla="*/ 690 w 810"/>
                <a:gd name="T29" fmla="*/ 521 h 585"/>
                <a:gd name="T30" fmla="*/ 613 w 810"/>
                <a:gd name="T31" fmla="*/ 323 h 585"/>
                <a:gd name="T32" fmla="*/ 693 w 810"/>
                <a:gd name="T33" fmla="*/ 459 h 585"/>
                <a:gd name="T34" fmla="*/ 613 w 810"/>
                <a:gd name="T35" fmla="*/ 323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0" h="585">
                  <a:moveTo>
                    <a:pt x="6" y="27"/>
                  </a:moveTo>
                  <a:cubicBezTo>
                    <a:pt x="0" y="54"/>
                    <a:pt x="94" y="194"/>
                    <a:pt x="130" y="172"/>
                  </a:cubicBezTo>
                  <a:cubicBezTo>
                    <a:pt x="195" y="130"/>
                    <a:pt x="12" y="0"/>
                    <a:pt x="6" y="27"/>
                  </a:cubicBezTo>
                  <a:close/>
                  <a:moveTo>
                    <a:pt x="195" y="151"/>
                  </a:moveTo>
                  <a:cubicBezTo>
                    <a:pt x="192" y="162"/>
                    <a:pt x="263" y="231"/>
                    <a:pt x="279" y="220"/>
                  </a:cubicBezTo>
                  <a:cubicBezTo>
                    <a:pt x="294" y="209"/>
                    <a:pt x="199" y="131"/>
                    <a:pt x="195" y="151"/>
                  </a:cubicBezTo>
                  <a:close/>
                  <a:moveTo>
                    <a:pt x="527" y="328"/>
                  </a:moveTo>
                  <a:cubicBezTo>
                    <a:pt x="551" y="313"/>
                    <a:pt x="390" y="224"/>
                    <a:pt x="387" y="253"/>
                  </a:cubicBezTo>
                  <a:cubicBezTo>
                    <a:pt x="385" y="279"/>
                    <a:pt x="502" y="343"/>
                    <a:pt x="527" y="328"/>
                  </a:cubicBezTo>
                  <a:close/>
                  <a:moveTo>
                    <a:pt x="509" y="423"/>
                  </a:moveTo>
                  <a:cubicBezTo>
                    <a:pt x="518" y="467"/>
                    <a:pt x="584" y="494"/>
                    <a:pt x="611" y="479"/>
                  </a:cubicBezTo>
                  <a:cubicBezTo>
                    <a:pt x="637" y="463"/>
                    <a:pt x="500" y="377"/>
                    <a:pt x="509" y="423"/>
                  </a:cubicBezTo>
                  <a:close/>
                  <a:moveTo>
                    <a:pt x="690" y="521"/>
                  </a:moveTo>
                  <a:cubicBezTo>
                    <a:pt x="695" y="532"/>
                    <a:pt x="753" y="585"/>
                    <a:pt x="781" y="565"/>
                  </a:cubicBezTo>
                  <a:cubicBezTo>
                    <a:pt x="810" y="545"/>
                    <a:pt x="683" y="502"/>
                    <a:pt x="690" y="521"/>
                  </a:cubicBezTo>
                  <a:close/>
                  <a:moveTo>
                    <a:pt x="613" y="323"/>
                  </a:moveTo>
                  <a:cubicBezTo>
                    <a:pt x="591" y="372"/>
                    <a:pt x="679" y="456"/>
                    <a:pt x="693" y="459"/>
                  </a:cubicBezTo>
                  <a:cubicBezTo>
                    <a:pt x="706" y="461"/>
                    <a:pt x="630" y="286"/>
                    <a:pt x="613" y="3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1" name="Freeform 151"/>
            <p:cNvSpPr>
              <a:spLocks noEditPoints="1"/>
            </p:cNvSpPr>
            <p:nvPr/>
          </p:nvSpPr>
          <p:spPr bwMode="auto">
            <a:xfrm>
              <a:off x="19417900" y="9106466"/>
              <a:ext cx="408792" cy="296541"/>
            </a:xfrm>
            <a:custGeom>
              <a:avLst/>
              <a:gdLst>
                <a:gd name="T0" fmla="*/ 6 w 810"/>
                <a:gd name="T1" fmla="*/ 27 h 585"/>
                <a:gd name="T2" fmla="*/ 130 w 810"/>
                <a:gd name="T3" fmla="*/ 172 h 585"/>
                <a:gd name="T4" fmla="*/ 6 w 810"/>
                <a:gd name="T5" fmla="*/ 27 h 585"/>
                <a:gd name="T6" fmla="*/ 195 w 810"/>
                <a:gd name="T7" fmla="*/ 151 h 585"/>
                <a:gd name="T8" fmla="*/ 279 w 810"/>
                <a:gd name="T9" fmla="*/ 220 h 585"/>
                <a:gd name="T10" fmla="*/ 195 w 810"/>
                <a:gd name="T11" fmla="*/ 151 h 585"/>
                <a:gd name="T12" fmla="*/ 527 w 810"/>
                <a:gd name="T13" fmla="*/ 328 h 585"/>
                <a:gd name="T14" fmla="*/ 387 w 810"/>
                <a:gd name="T15" fmla="*/ 253 h 585"/>
                <a:gd name="T16" fmla="*/ 527 w 810"/>
                <a:gd name="T17" fmla="*/ 328 h 585"/>
                <a:gd name="T18" fmla="*/ 509 w 810"/>
                <a:gd name="T19" fmla="*/ 423 h 585"/>
                <a:gd name="T20" fmla="*/ 611 w 810"/>
                <a:gd name="T21" fmla="*/ 479 h 585"/>
                <a:gd name="T22" fmla="*/ 509 w 810"/>
                <a:gd name="T23" fmla="*/ 423 h 585"/>
                <a:gd name="T24" fmla="*/ 690 w 810"/>
                <a:gd name="T25" fmla="*/ 521 h 585"/>
                <a:gd name="T26" fmla="*/ 781 w 810"/>
                <a:gd name="T27" fmla="*/ 565 h 585"/>
                <a:gd name="T28" fmla="*/ 690 w 810"/>
                <a:gd name="T29" fmla="*/ 521 h 585"/>
                <a:gd name="T30" fmla="*/ 613 w 810"/>
                <a:gd name="T31" fmla="*/ 323 h 585"/>
                <a:gd name="T32" fmla="*/ 693 w 810"/>
                <a:gd name="T33" fmla="*/ 459 h 585"/>
                <a:gd name="T34" fmla="*/ 613 w 810"/>
                <a:gd name="T35" fmla="*/ 323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10" h="585">
                  <a:moveTo>
                    <a:pt x="6" y="27"/>
                  </a:moveTo>
                  <a:cubicBezTo>
                    <a:pt x="0" y="54"/>
                    <a:pt x="94" y="194"/>
                    <a:pt x="130" y="172"/>
                  </a:cubicBezTo>
                  <a:cubicBezTo>
                    <a:pt x="195" y="130"/>
                    <a:pt x="12" y="0"/>
                    <a:pt x="6" y="27"/>
                  </a:cubicBezTo>
                  <a:close/>
                  <a:moveTo>
                    <a:pt x="195" y="151"/>
                  </a:moveTo>
                  <a:cubicBezTo>
                    <a:pt x="192" y="162"/>
                    <a:pt x="263" y="231"/>
                    <a:pt x="279" y="220"/>
                  </a:cubicBezTo>
                  <a:cubicBezTo>
                    <a:pt x="294" y="209"/>
                    <a:pt x="199" y="131"/>
                    <a:pt x="195" y="151"/>
                  </a:cubicBezTo>
                  <a:close/>
                  <a:moveTo>
                    <a:pt x="527" y="328"/>
                  </a:moveTo>
                  <a:cubicBezTo>
                    <a:pt x="551" y="313"/>
                    <a:pt x="390" y="224"/>
                    <a:pt x="387" y="253"/>
                  </a:cubicBezTo>
                  <a:cubicBezTo>
                    <a:pt x="385" y="279"/>
                    <a:pt x="502" y="343"/>
                    <a:pt x="527" y="328"/>
                  </a:cubicBezTo>
                  <a:close/>
                  <a:moveTo>
                    <a:pt x="509" y="423"/>
                  </a:moveTo>
                  <a:cubicBezTo>
                    <a:pt x="518" y="467"/>
                    <a:pt x="584" y="494"/>
                    <a:pt x="611" y="479"/>
                  </a:cubicBezTo>
                  <a:cubicBezTo>
                    <a:pt x="637" y="463"/>
                    <a:pt x="500" y="377"/>
                    <a:pt x="509" y="423"/>
                  </a:cubicBezTo>
                  <a:close/>
                  <a:moveTo>
                    <a:pt x="690" y="521"/>
                  </a:moveTo>
                  <a:cubicBezTo>
                    <a:pt x="695" y="532"/>
                    <a:pt x="753" y="585"/>
                    <a:pt x="781" y="565"/>
                  </a:cubicBezTo>
                  <a:cubicBezTo>
                    <a:pt x="810" y="545"/>
                    <a:pt x="683" y="502"/>
                    <a:pt x="690" y="521"/>
                  </a:cubicBezTo>
                  <a:close/>
                  <a:moveTo>
                    <a:pt x="613" y="323"/>
                  </a:moveTo>
                  <a:cubicBezTo>
                    <a:pt x="591" y="372"/>
                    <a:pt x="679" y="456"/>
                    <a:pt x="693" y="459"/>
                  </a:cubicBezTo>
                  <a:cubicBezTo>
                    <a:pt x="706" y="461"/>
                    <a:pt x="630" y="286"/>
                    <a:pt x="613" y="3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17293522" y="9377877"/>
              <a:ext cx="2074116" cy="1841239"/>
            </a:xfrm>
            <a:custGeom>
              <a:avLst/>
              <a:gdLst>
                <a:gd name="T0" fmla="*/ 4049 w 4106"/>
                <a:gd name="T1" fmla="*/ 1589 h 3644"/>
                <a:gd name="T2" fmla="*/ 3881 w 4106"/>
                <a:gd name="T3" fmla="*/ 1417 h 3644"/>
                <a:gd name="T4" fmla="*/ 3757 w 4106"/>
                <a:gd name="T5" fmla="*/ 1233 h 3644"/>
                <a:gd name="T6" fmla="*/ 3637 w 4106"/>
                <a:gd name="T7" fmla="*/ 1096 h 3644"/>
                <a:gd name="T8" fmla="*/ 3349 w 4106"/>
                <a:gd name="T9" fmla="*/ 819 h 3644"/>
                <a:gd name="T10" fmla="*/ 3252 w 4106"/>
                <a:gd name="T11" fmla="*/ 471 h 3644"/>
                <a:gd name="T12" fmla="*/ 3077 w 4106"/>
                <a:gd name="T13" fmla="*/ 294 h 3644"/>
                <a:gd name="T14" fmla="*/ 2918 w 4106"/>
                <a:gd name="T15" fmla="*/ 86 h 3644"/>
                <a:gd name="T16" fmla="*/ 2871 w 4106"/>
                <a:gd name="T17" fmla="*/ 454 h 3644"/>
                <a:gd name="T18" fmla="*/ 2634 w 4106"/>
                <a:gd name="T19" fmla="*/ 673 h 3644"/>
                <a:gd name="T20" fmla="*/ 2347 w 4106"/>
                <a:gd name="T21" fmla="*/ 518 h 3644"/>
                <a:gd name="T22" fmla="*/ 2298 w 4106"/>
                <a:gd name="T23" fmla="*/ 310 h 3644"/>
                <a:gd name="T24" fmla="*/ 2373 w 4106"/>
                <a:gd name="T25" fmla="*/ 148 h 3644"/>
                <a:gd name="T26" fmla="*/ 2223 w 4106"/>
                <a:gd name="T27" fmla="*/ 166 h 3644"/>
                <a:gd name="T28" fmla="*/ 1972 w 4106"/>
                <a:gd name="T29" fmla="*/ 115 h 3644"/>
                <a:gd name="T30" fmla="*/ 1720 w 4106"/>
                <a:gd name="T31" fmla="*/ 281 h 3644"/>
                <a:gd name="T32" fmla="*/ 1634 w 4106"/>
                <a:gd name="T33" fmla="*/ 449 h 3644"/>
                <a:gd name="T34" fmla="*/ 1481 w 4106"/>
                <a:gd name="T35" fmla="*/ 385 h 3644"/>
                <a:gd name="T36" fmla="*/ 1308 w 4106"/>
                <a:gd name="T37" fmla="*/ 403 h 3644"/>
                <a:gd name="T38" fmla="*/ 1167 w 4106"/>
                <a:gd name="T39" fmla="*/ 483 h 3644"/>
                <a:gd name="T40" fmla="*/ 1089 w 4106"/>
                <a:gd name="T41" fmla="*/ 649 h 3644"/>
                <a:gd name="T42" fmla="*/ 941 w 4106"/>
                <a:gd name="T43" fmla="*/ 664 h 3644"/>
                <a:gd name="T44" fmla="*/ 616 w 4106"/>
                <a:gd name="T45" fmla="*/ 972 h 3644"/>
                <a:gd name="T46" fmla="*/ 306 w 4106"/>
                <a:gd name="T47" fmla="*/ 1074 h 3644"/>
                <a:gd name="T48" fmla="*/ 117 w 4106"/>
                <a:gd name="T49" fmla="*/ 1153 h 3644"/>
                <a:gd name="T50" fmla="*/ 53 w 4106"/>
                <a:gd name="T51" fmla="*/ 1499 h 3644"/>
                <a:gd name="T52" fmla="*/ 80 w 4106"/>
                <a:gd name="T53" fmla="*/ 1651 h 3644"/>
                <a:gd name="T54" fmla="*/ 195 w 4106"/>
                <a:gd name="T55" fmla="*/ 2012 h 3644"/>
                <a:gd name="T56" fmla="*/ 204 w 4106"/>
                <a:gd name="T57" fmla="*/ 2455 h 3644"/>
                <a:gd name="T58" fmla="*/ 498 w 4106"/>
                <a:gd name="T59" fmla="*/ 2606 h 3644"/>
                <a:gd name="T60" fmla="*/ 925 w 4106"/>
                <a:gd name="T61" fmla="*/ 2482 h 3644"/>
                <a:gd name="T62" fmla="*/ 1393 w 4106"/>
                <a:gd name="T63" fmla="*/ 2300 h 3644"/>
                <a:gd name="T64" fmla="*/ 1946 w 4106"/>
                <a:gd name="T65" fmla="*/ 2269 h 3644"/>
                <a:gd name="T66" fmla="*/ 2127 w 4106"/>
                <a:gd name="T67" fmla="*/ 2375 h 3644"/>
                <a:gd name="T68" fmla="*/ 2322 w 4106"/>
                <a:gd name="T69" fmla="*/ 2541 h 3644"/>
                <a:gd name="T70" fmla="*/ 2464 w 4106"/>
                <a:gd name="T71" fmla="*/ 2519 h 3644"/>
                <a:gd name="T72" fmla="*/ 2550 w 4106"/>
                <a:gd name="T73" fmla="*/ 2559 h 3644"/>
                <a:gd name="T74" fmla="*/ 2694 w 4106"/>
                <a:gd name="T75" fmla="*/ 2803 h 3644"/>
                <a:gd name="T76" fmla="*/ 3051 w 4106"/>
                <a:gd name="T77" fmla="*/ 3046 h 3644"/>
                <a:gd name="T78" fmla="*/ 3236 w 4106"/>
                <a:gd name="T79" fmla="*/ 3019 h 3644"/>
                <a:gd name="T80" fmla="*/ 3363 w 4106"/>
                <a:gd name="T81" fmla="*/ 3084 h 3644"/>
                <a:gd name="T82" fmla="*/ 3710 w 4106"/>
                <a:gd name="T83" fmla="*/ 2922 h 3644"/>
                <a:gd name="T84" fmla="*/ 3925 w 4106"/>
                <a:gd name="T85" fmla="*/ 2353 h 3644"/>
                <a:gd name="T86" fmla="*/ 4062 w 4106"/>
                <a:gd name="T87" fmla="*/ 2019 h 3644"/>
                <a:gd name="T88" fmla="*/ 1860 w 4106"/>
                <a:gd name="T89" fmla="*/ 95 h 3644"/>
                <a:gd name="T90" fmla="*/ 2358 w 4106"/>
                <a:gd name="T91" fmla="*/ 2716 h 3644"/>
                <a:gd name="T92" fmla="*/ 3358 w 4106"/>
                <a:gd name="T93" fmla="*/ 3331 h 3644"/>
                <a:gd name="T94" fmla="*/ 3367 w 4106"/>
                <a:gd name="T95" fmla="*/ 3637 h 3644"/>
                <a:gd name="T96" fmla="*/ 3502 w 4106"/>
                <a:gd name="T97" fmla="*/ 3557 h 3644"/>
                <a:gd name="T98" fmla="*/ 3358 w 4106"/>
                <a:gd name="T99" fmla="*/ 3331 h 3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06" h="3644">
                  <a:moveTo>
                    <a:pt x="4078" y="1828"/>
                  </a:moveTo>
                  <a:cubicBezTo>
                    <a:pt x="4095" y="1815"/>
                    <a:pt x="4069" y="1744"/>
                    <a:pt x="4053" y="1755"/>
                  </a:cubicBezTo>
                  <a:cubicBezTo>
                    <a:pt x="4038" y="1766"/>
                    <a:pt x="4038" y="1645"/>
                    <a:pt x="4049" y="1589"/>
                  </a:cubicBezTo>
                  <a:cubicBezTo>
                    <a:pt x="4060" y="1534"/>
                    <a:pt x="4053" y="1541"/>
                    <a:pt x="4025" y="1569"/>
                  </a:cubicBezTo>
                  <a:cubicBezTo>
                    <a:pt x="3996" y="1598"/>
                    <a:pt x="3965" y="1514"/>
                    <a:pt x="3958" y="1492"/>
                  </a:cubicBezTo>
                  <a:cubicBezTo>
                    <a:pt x="3951" y="1470"/>
                    <a:pt x="3918" y="1408"/>
                    <a:pt x="3881" y="1417"/>
                  </a:cubicBezTo>
                  <a:cubicBezTo>
                    <a:pt x="3843" y="1426"/>
                    <a:pt x="3867" y="1364"/>
                    <a:pt x="3832" y="1370"/>
                  </a:cubicBezTo>
                  <a:cubicBezTo>
                    <a:pt x="3796" y="1377"/>
                    <a:pt x="3790" y="1319"/>
                    <a:pt x="3796" y="1266"/>
                  </a:cubicBezTo>
                  <a:cubicBezTo>
                    <a:pt x="3803" y="1213"/>
                    <a:pt x="3772" y="1255"/>
                    <a:pt x="3757" y="1233"/>
                  </a:cubicBezTo>
                  <a:cubicBezTo>
                    <a:pt x="3741" y="1211"/>
                    <a:pt x="3723" y="1229"/>
                    <a:pt x="3699" y="1237"/>
                  </a:cubicBezTo>
                  <a:cubicBezTo>
                    <a:pt x="3675" y="1246"/>
                    <a:pt x="3668" y="1191"/>
                    <a:pt x="3675" y="1169"/>
                  </a:cubicBezTo>
                  <a:cubicBezTo>
                    <a:pt x="3681" y="1147"/>
                    <a:pt x="3670" y="1120"/>
                    <a:pt x="3637" y="1096"/>
                  </a:cubicBezTo>
                  <a:cubicBezTo>
                    <a:pt x="3604" y="1071"/>
                    <a:pt x="3602" y="1051"/>
                    <a:pt x="3604" y="1023"/>
                  </a:cubicBezTo>
                  <a:cubicBezTo>
                    <a:pt x="3606" y="994"/>
                    <a:pt x="3416" y="897"/>
                    <a:pt x="3374" y="888"/>
                  </a:cubicBezTo>
                  <a:cubicBezTo>
                    <a:pt x="3332" y="879"/>
                    <a:pt x="3367" y="835"/>
                    <a:pt x="3349" y="819"/>
                  </a:cubicBezTo>
                  <a:cubicBezTo>
                    <a:pt x="3332" y="804"/>
                    <a:pt x="3325" y="746"/>
                    <a:pt x="3325" y="697"/>
                  </a:cubicBezTo>
                  <a:cubicBezTo>
                    <a:pt x="3325" y="649"/>
                    <a:pt x="3263" y="633"/>
                    <a:pt x="3265" y="593"/>
                  </a:cubicBezTo>
                  <a:cubicBezTo>
                    <a:pt x="3267" y="553"/>
                    <a:pt x="3248" y="516"/>
                    <a:pt x="3252" y="471"/>
                  </a:cubicBezTo>
                  <a:cubicBezTo>
                    <a:pt x="3256" y="427"/>
                    <a:pt x="3188" y="416"/>
                    <a:pt x="3186" y="392"/>
                  </a:cubicBezTo>
                  <a:cubicBezTo>
                    <a:pt x="3183" y="367"/>
                    <a:pt x="3146" y="390"/>
                    <a:pt x="3108" y="394"/>
                  </a:cubicBezTo>
                  <a:cubicBezTo>
                    <a:pt x="3070" y="398"/>
                    <a:pt x="3073" y="345"/>
                    <a:pt x="3077" y="294"/>
                  </a:cubicBezTo>
                  <a:cubicBezTo>
                    <a:pt x="3081" y="244"/>
                    <a:pt x="3062" y="159"/>
                    <a:pt x="3031" y="135"/>
                  </a:cubicBezTo>
                  <a:cubicBezTo>
                    <a:pt x="3000" y="111"/>
                    <a:pt x="2997" y="27"/>
                    <a:pt x="2982" y="13"/>
                  </a:cubicBezTo>
                  <a:cubicBezTo>
                    <a:pt x="2966" y="0"/>
                    <a:pt x="2915" y="58"/>
                    <a:pt x="2918" y="86"/>
                  </a:cubicBezTo>
                  <a:cubicBezTo>
                    <a:pt x="2920" y="115"/>
                    <a:pt x="2913" y="148"/>
                    <a:pt x="2893" y="166"/>
                  </a:cubicBezTo>
                  <a:cubicBezTo>
                    <a:pt x="2873" y="184"/>
                    <a:pt x="2907" y="252"/>
                    <a:pt x="2880" y="277"/>
                  </a:cubicBezTo>
                  <a:cubicBezTo>
                    <a:pt x="2853" y="301"/>
                    <a:pt x="2878" y="398"/>
                    <a:pt x="2871" y="454"/>
                  </a:cubicBezTo>
                  <a:cubicBezTo>
                    <a:pt x="2865" y="509"/>
                    <a:pt x="2867" y="569"/>
                    <a:pt x="2840" y="607"/>
                  </a:cubicBezTo>
                  <a:cubicBezTo>
                    <a:pt x="2814" y="644"/>
                    <a:pt x="2809" y="704"/>
                    <a:pt x="2756" y="724"/>
                  </a:cubicBezTo>
                  <a:cubicBezTo>
                    <a:pt x="2703" y="744"/>
                    <a:pt x="2632" y="702"/>
                    <a:pt x="2634" y="673"/>
                  </a:cubicBezTo>
                  <a:cubicBezTo>
                    <a:pt x="2637" y="644"/>
                    <a:pt x="2577" y="626"/>
                    <a:pt x="2546" y="631"/>
                  </a:cubicBezTo>
                  <a:cubicBezTo>
                    <a:pt x="2515" y="635"/>
                    <a:pt x="2497" y="591"/>
                    <a:pt x="2448" y="553"/>
                  </a:cubicBezTo>
                  <a:cubicBezTo>
                    <a:pt x="2400" y="516"/>
                    <a:pt x="2362" y="562"/>
                    <a:pt x="2347" y="518"/>
                  </a:cubicBezTo>
                  <a:cubicBezTo>
                    <a:pt x="2331" y="474"/>
                    <a:pt x="2316" y="467"/>
                    <a:pt x="2280" y="443"/>
                  </a:cubicBezTo>
                  <a:cubicBezTo>
                    <a:pt x="2245" y="418"/>
                    <a:pt x="2256" y="418"/>
                    <a:pt x="2289" y="394"/>
                  </a:cubicBezTo>
                  <a:cubicBezTo>
                    <a:pt x="2322" y="370"/>
                    <a:pt x="2316" y="339"/>
                    <a:pt x="2298" y="310"/>
                  </a:cubicBezTo>
                  <a:cubicBezTo>
                    <a:pt x="2280" y="281"/>
                    <a:pt x="2318" y="288"/>
                    <a:pt x="2362" y="263"/>
                  </a:cubicBezTo>
                  <a:cubicBezTo>
                    <a:pt x="2406" y="239"/>
                    <a:pt x="2362" y="210"/>
                    <a:pt x="2395" y="197"/>
                  </a:cubicBezTo>
                  <a:cubicBezTo>
                    <a:pt x="2428" y="184"/>
                    <a:pt x="2409" y="155"/>
                    <a:pt x="2373" y="148"/>
                  </a:cubicBezTo>
                  <a:cubicBezTo>
                    <a:pt x="2338" y="142"/>
                    <a:pt x="2349" y="184"/>
                    <a:pt x="2336" y="188"/>
                  </a:cubicBezTo>
                  <a:cubicBezTo>
                    <a:pt x="2322" y="193"/>
                    <a:pt x="2309" y="133"/>
                    <a:pt x="2298" y="135"/>
                  </a:cubicBezTo>
                  <a:cubicBezTo>
                    <a:pt x="2287" y="137"/>
                    <a:pt x="2245" y="195"/>
                    <a:pt x="2223" y="166"/>
                  </a:cubicBezTo>
                  <a:cubicBezTo>
                    <a:pt x="2200" y="137"/>
                    <a:pt x="2077" y="113"/>
                    <a:pt x="2028" y="106"/>
                  </a:cubicBezTo>
                  <a:cubicBezTo>
                    <a:pt x="1979" y="100"/>
                    <a:pt x="1964" y="38"/>
                    <a:pt x="1935" y="49"/>
                  </a:cubicBezTo>
                  <a:cubicBezTo>
                    <a:pt x="1906" y="60"/>
                    <a:pt x="1939" y="80"/>
                    <a:pt x="1972" y="115"/>
                  </a:cubicBezTo>
                  <a:cubicBezTo>
                    <a:pt x="2006" y="151"/>
                    <a:pt x="1862" y="175"/>
                    <a:pt x="1820" y="162"/>
                  </a:cubicBezTo>
                  <a:cubicBezTo>
                    <a:pt x="1778" y="148"/>
                    <a:pt x="1826" y="193"/>
                    <a:pt x="1791" y="190"/>
                  </a:cubicBezTo>
                  <a:cubicBezTo>
                    <a:pt x="1756" y="188"/>
                    <a:pt x="1749" y="250"/>
                    <a:pt x="1720" y="281"/>
                  </a:cubicBezTo>
                  <a:cubicBezTo>
                    <a:pt x="1691" y="312"/>
                    <a:pt x="1711" y="334"/>
                    <a:pt x="1680" y="354"/>
                  </a:cubicBezTo>
                  <a:cubicBezTo>
                    <a:pt x="1649" y="374"/>
                    <a:pt x="1647" y="396"/>
                    <a:pt x="1685" y="438"/>
                  </a:cubicBezTo>
                  <a:cubicBezTo>
                    <a:pt x="1722" y="480"/>
                    <a:pt x="1667" y="483"/>
                    <a:pt x="1634" y="449"/>
                  </a:cubicBezTo>
                  <a:cubicBezTo>
                    <a:pt x="1601" y="416"/>
                    <a:pt x="1567" y="416"/>
                    <a:pt x="1570" y="454"/>
                  </a:cubicBezTo>
                  <a:cubicBezTo>
                    <a:pt x="1572" y="491"/>
                    <a:pt x="1530" y="474"/>
                    <a:pt x="1536" y="432"/>
                  </a:cubicBezTo>
                  <a:cubicBezTo>
                    <a:pt x="1543" y="390"/>
                    <a:pt x="1490" y="410"/>
                    <a:pt x="1481" y="385"/>
                  </a:cubicBezTo>
                  <a:cubicBezTo>
                    <a:pt x="1472" y="361"/>
                    <a:pt x="1426" y="321"/>
                    <a:pt x="1397" y="323"/>
                  </a:cubicBezTo>
                  <a:cubicBezTo>
                    <a:pt x="1368" y="326"/>
                    <a:pt x="1368" y="357"/>
                    <a:pt x="1339" y="357"/>
                  </a:cubicBezTo>
                  <a:cubicBezTo>
                    <a:pt x="1311" y="357"/>
                    <a:pt x="1304" y="372"/>
                    <a:pt x="1308" y="403"/>
                  </a:cubicBezTo>
                  <a:cubicBezTo>
                    <a:pt x="1313" y="434"/>
                    <a:pt x="1264" y="401"/>
                    <a:pt x="1231" y="405"/>
                  </a:cubicBezTo>
                  <a:cubicBezTo>
                    <a:pt x="1198" y="410"/>
                    <a:pt x="1231" y="447"/>
                    <a:pt x="1213" y="449"/>
                  </a:cubicBezTo>
                  <a:cubicBezTo>
                    <a:pt x="1196" y="452"/>
                    <a:pt x="1196" y="483"/>
                    <a:pt x="1167" y="483"/>
                  </a:cubicBezTo>
                  <a:cubicBezTo>
                    <a:pt x="1138" y="483"/>
                    <a:pt x="1142" y="547"/>
                    <a:pt x="1147" y="580"/>
                  </a:cubicBezTo>
                  <a:cubicBezTo>
                    <a:pt x="1151" y="613"/>
                    <a:pt x="1103" y="564"/>
                    <a:pt x="1074" y="573"/>
                  </a:cubicBezTo>
                  <a:cubicBezTo>
                    <a:pt x="1045" y="582"/>
                    <a:pt x="1080" y="611"/>
                    <a:pt x="1089" y="649"/>
                  </a:cubicBezTo>
                  <a:cubicBezTo>
                    <a:pt x="1098" y="686"/>
                    <a:pt x="1074" y="684"/>
                    <a:pt x="1058" y="700"/>
                  </a:cubicBezTo>
                  <a:cubicBezTo>
                    <a:pt x="1043" y="715"/>
                    <a:pt x="1018" y="657"/>
                    <a:pt x="1018" y="624"/>
                  </a:cubicBezTo>
                  <a:cubicBezTo>
                    <a:pt x="1018" y="591"/>
                    <a:pt x="981" y="622"/>
                    <a:pt x="941" y="664"/>
                  </a:cubicBezTo>
                  <a:cubicBezTo>
                    <a:pt x="901" y="706"/>
                    <a:pt x="954" y="770"/>
                    <a:pt x="937" y="781"/>
                  </a:cubicBezTo>
                  <a:cubicBezTo>
                    <a:pt x="919" y="792"/>
                    <a:pt x="839" y="868"/>
                    <a:pt x="793" y="923"/>
                  </a:cubicBezTo>
                  <a:cubicBezTo>
                    <a:pt x="746" y="978"/>
                    <a:pt x="647" y="945"/>
                    <a:pt x="616" y="972"/>
                  </a:cubicBezTo>
                  <a:cubicBezTo>
                    <a:pt x="585" y="998"/>
                    <a:pt x="551" y="978"/>
                    <a:pt x="520" y="1003"/>
                  </a:cubicBezTo>
                  <a:cubicBezTo>
                    <a:pt x="489" y="1027"/>
                    <a:pt x="432" y="1074"/>
                    <a:pt x="425" y="1045"/>
                  </a:cubicBezTo>
                  <a:cubicBezTo>
                    <a:pt x="419" y="1016"/>
                    <a:pt x="339" y="1038"/>
                    <a:pt x="306" y="1074"/>
                  </a:cubicBezTo>
                  <a:cubicBezTo>
                    <a:pt x="272" y="1109"/>
                    <a:pt x="219" y="1140"/>
                    <a:pt x="182" y="1142"/>
                  </a:cubicBezTo>
                  <a:cubicBezTo>
                    <a:pt x="144" y="1144"/>
                    <a:pt x="144" y="1202"/>
                    <a:pt x="129" y="1215"/>
                  </a:cubicBezTo>
                  <a:cubicBezTo>
                    <a:pt x="113" y="1229"/>
                    <a:pt x="117" y="1169"/>
                    <a:pt x="117" y="1153"/>
                  </a:cubicBezTo>
                  <a:cubicBezTo>
                    <a:pt x="117" y="1138"/>
                    <a:pt x="82" y="1180"/>
                    <a:pt x="67" y="1226"/>
                  </a:cubicBezTo>
                  <a:cubicBezTo>
                    <a:pt x="51" y="1273"/>
                    <a:pt x="104" y="1291"/>
                    <a:pt x="71" y="1339"/>
                  </a:cubicBezTo>
                  <a:cubicBezTo>
                    <a:pt x="38" y="1388"/>
                    <a:pt x="7" y="1437"/>
                    <a:pt x="53" y="1499"/>
                  </a:cubicBezTo>
                  <a:cubicBezTo>
                    <a:pt x="100" y="1561"/>
                    <a:pt x="126" y="1601"/>
                    <a:pt x="111" y="1631"/>
                  </a:cubicBezTo>
                  <a:cubicBezTo>
                    <a:pt x="95" y="1662"/>
                    <a:pt x="62" y="1569"/>
                    <a:pt x="51" y="1581"/>
                  </a:cubicBezTo>
                  <a:cubicBezTo>
                    <a:pt x="40" y="1592"/>
                    <a:pt x="93" y="1631"/>
                    <a:pt x="80" y="1651"/>
                  </a:cubicBezTo>
                  <a:cubicBezTo>
                    <a:pt x="67" y="1671"/>
                    <a:pt x="19" y="1576"/>
                    <a:pt x="9" y="1598"/>
                  </a:cubicBezTo>
                  <a:cubicBezTo>
                    <a:pt x="0" y="1618"/>
                    <a:pt x="109" y="1769"/>
                    <a:pt x="111" y="1824"/>
                  </a:cubicBezTo>
                  <a:cubicBezTo>
                    <a:pt x="113" y="1879"/>
                    <a:pt x="199" y="1933"/>
                    <a:pt x="195" y="2012"/>
                  </a:cubicBezTo>
                  <a:cubicBezTo>
                    <a:pt x="191" y="2092"/>
                    <a:pt x="270" y="2220"/>
                    <a:pt x="284" y="2240"/>
                  </a:cubicBezTo>
                  <a:cubicBezTo>
                    <a:pt x="297" y="2260"/>
                    <a:pt x="252" y="2313"/>
                    <a:pt x="261" y="2373"/>
                  </a:cubicBezTo>
                  <a:cubicBezTo>
                    <a:pt x="270" y="2433"/>
                    <a:pt x="241" y="2455"/>
                    <a:pt x="204" y="2455"/>
                  </a:cubicBezTo>
                  <a:cubicBezTo>
                    <a:pt x="166" y="2455"/>
                    <a:pt x="188" y="2517"/>
                    <a:pt x="230" y="2521"/>
                  </a:cubicBezTo>
                  <a:cubicBezTo>
                    <a:pt x="272" y="2526"/>
                    <a:pt x="257" y="2555"/>
                    <a:pt x="303" y="2586"/>
                  </a:cubicBezTo>
                  <a:cubicBezTo>
                    <a:pt x="350" y="2617"/>
                    <a:pt x="461" y="2606"/>
                    <a:pt x="498" y="2606"/>
                  </a:cubicBezTo>
                  <a:cubicBezTo>
                    <a:pt x="536" y="2606"/>
                    <a:pt x="547" y="2548"/>
                    <a:pt x="598" y="2546"/>
                  </a:cubicBezTo>
                  <a:cubicBezTo>
                    <a:pt x="649" y="2544"/>
                    <a:pt x="644" y="2528"/>
                    <a:pt x="669" y="2497"/>
                  </a:cubicBezTo>
                  <a:cubicBezTo>
                    <a:pt x="693" y="2466"/>
                    <a:pt x="808" y="2475"/>
                    <a:pt x="925" y="2482"/>
                  </a:cubicBezTo>
                  <a:cubicBezTo>
                    <a:pt x="1043" y="2488"/>
                    <a:pt x="1094" y="2453"/>
                    <a:pt x="1111" y="2404"/>
                  </a:cubicBezTo>
                  <a:cubicBezTo>
                    <a:pt x="1127" y="2363"/>
                    <a:pt x="1211" y="2360"/>
                    <a:pt x="1244" y="2329"/>
                  </a:cubicBezTo>
                  <a:cubicBezTo>
                    <a:pt x="1277" y="2298"/>
                    <a:pt x="1306" y="2296"/>
                    <a:pt x="1393" y="2300"/>
                  </a:cubicBezTo>
                  <a:cubicBezTo>
                    <a:pt x="1479" y="2304"/>
                    <a:pt x="1559" y="2258"/>
                    <a:pt x="1614" y="2236"/>
                  </a:cubicBezTo>
                  <a:cubicBezTo>
                    <a:pt x="1669" y="2214"/>
                    <a:pt x="1771" y="2223"/>
                    <a:pt x="1824" y="2209"/>
                  </a:cubicBezTo>
                  <a:cubicBezTo>
                    <a:pt x="1877" y="2196"/>
                    <a:pt x="1886" y="2276"/>
                    <a:pt x="1946" y="2269"/>
                  </a:cubicBezTo>
                  <a:cubicBezTo>
                    <a:pt x="2006" y="2262"/>
                    <a:pt x="2032" y="2287"/>
                    <a:pt x="2063" y="2285"/>
                  </a:cubicBezTo>
                  <a:cubicBezTo>
                    <a:pt x="2094" y="2282"/>
                    <a:pt x="2090" y="2307"/>
                    <a:pt x="2121" y="2313"/>
                  </a:cubicBezTo>
                  <a:cubicBezTo>
                    <a:pt x="2152" y="2320"/>
                    <a:pt x="2147" y="2346"/>
                    <a:pt x="2127" y="2375"/>
                  </a:cubicBezTo>
                  <a:cubicBezTo>
                    <a:pt x="2107" y="2404"/>
                    <a:pt x="2174" y="2402"/>
                    <a:pt x="2216" y="2459"/>
                  </a:cubicBezTo>
                  <a:cubicBezTo>
                    <a:pt x="2258" y="2517"/>
                    <a:pt x="2218" y="2526"/>
                    <a:pt x="2240" y="2570"/>
                  </a:cubicBezTo>
                  <a:cubicBezTo>
                    <a:pt x="2262" y="2614"/>
                    <a:pt x="2278" y="2603"/>
                    <a:pt x="2322" y="2541"/>
                  </a:cubicBezTo>
                  <a:cubicBezTo>
                    <a:pt x="2367" y="2479"/>
                    <a:pt x="2415" y="2519"/>
                    <a:pt x="2422" y="2466"/>
                  </a:cubicBezTo>
                  <a:cubicBezTo>
                    <a:pt x="2428" y="2413"/>
                    <a:pt x="2475" y="2351"/>
                    <a:pt x="2506" y="2378"/>
                  </a:cubicBezTo>
                  <a:cubicBezTo>
                    <a:pt x="2537" y="2404"/>
                    <a:pt x="2484" y="2417"/>
                    <a:pt x="2464" y="2519"/>
                  </a:cubicBezTo>
                  <a:cubicBezTo>
                    <a:pt x="2444" y="2621"/>
                    <a:pt x="2409" y="2568"/>
                    <a:pt x="2402" y="2597"/>
                  </a:cubicBezTo>
                  <a:cubicBezTo>
                    <a:pt x="2395" y="2625"/>
                    <a:pt x="2495" y="2641"/>
                    <a:pt x="2495" y="2588"/>
                  </a:cubicBezTo>
                  <a:cubicBezTo>
                    <a:pt x="2495" y="2535"/>
                    <a:pt x="2513" y="2510"/>
                    <a:pt x="2550" y="2559"/>
                  </a:cubicBezTo>
                  <a:cubicBezTo>
                    <a:pt x="2588" y="2608"/>
                    <a:pt x="2528" y="2648"/>
                    <a:pt x="2537" y="2670"/>
                  </a:cubicBezTo>
                  <a:cubicBezTo>
                    <a:pt x="2546" y="2692"/>
                    <a:pt x="2588" y="2663"/>
                    <a:pt x="2610" y="2665"/>
                  </a:cubicBezTo>
                  <a:cubicBezTo>
                    <a:pt x="2649" y="2669"/>
                    <a:pt x="2703" y="2756"/>
                    <a:pt x="2694" y="2803"/>
                  </a:cubicBezTo>
                  <a:cubicBezTo>
                    <a:pt x="2685" y="2849"/>
                    <a:pt x="2672" y="2893"/>
                    <a:pt x="2747" y="2931"/>
                  </a:cubicBezTo>
                  <a:cubicBezTo>
                    <a:pt x="2822" y="2969"/>
                    <a:pt x="2794" y="2975"/>
                    <a:pt x="2849" y="2975"/>
                  </a:cubicBezTo>
                  <a:cubicBezTo>
                    <a:pt x="2904" y="2975"/>
                    <a:pt x="3020" y="3019"/>
                    <a:pt x="3051" y="3046"/>
                  </a:cubicBezTo>
                  <a:cubicBezTo>
                    <a:pt x="3081" y="3073"/>
                    <a:pt x="3161" y="3026"/>
                    <a:pt x="3177" y="2973"/>
                  </a:cubicBezTo>
                  <a:cubicBezTo>
                    <a:pt x="3192" y="2920"/>
                    <a:pt x="3250" y="2971"/>
                    <a:pt x="3219" y="2988"/>
                  </a:cubicBezTo>
                  <a:cubicBezTo>
                    <a:pt x="3188" y="3006"/>
                    <a:pt x="3234" y="3048"/>
                    <a:pt x="3236" y="3019"/>
                  </a:cubicBezTo>
                  <a:cubicBezTo>
                    <a:pt x="3239" y="2991"/>
                    <a:pt x="3252" y="2966"/>
                    <a:pt x="3263" y="3000"/>
                  </a:cubicBezTo>
                  <a:cubicBezTo>
                    <a:pt x="3274" y="3033"/>
                    <a:pt x="3314" y="3033"/>
                    <a:pt x="3329" y="3059"/>
                  </a:cubicBezTo>
                  <a:cubicBezTo>
                    <a:pt x="3345" y="3086"/>
                    <a:pt x="3363" y="3106"/>
                    <a:pt x="3363" y="3084"/>
                  </a:cubicBezTo>
                  <a:cubicBezTo>
                    <a:pt x="3363" y="3062"/>
                    <a:pt x="3371" y="3042"/>
                    <a:pt x="3407" y="3028"/>
                  </a:cubicBezTo>
                  <a:cubicBezTo>
                    <a:pt x="3442" y="3015"/>
                    <a:pt x="3464" y="2991"/>
                    <a:pt x="3502" y="2960"/>
                  </a:cubicBezTo>
                  <a:cubicBezTo>
                    <a:pt x="3540" y="2929"/>
                    <a:pt x="3695" y="2922"/>
                    <a:pt x="3710" y="2922"/>
                  </a:cubicBezTo>
                  <a:cubicBezTo>
                    <a:pt x="3726" y="2922"/>
                    <a:pt x="3735" y="2789"/>
                    <a:pt x="3743" y="2721"/>
                  </a:cubicBezTo>
                  <a:cubicBezTo>
                    <a:pt x="3752" y="2652"/>
                    <a:pt x="3810" y="2641"/>
                    <a:pt x="3819" y="2568"/>
                  </a:cubicBezTo>
                  <a:cubicBezTo>
                    <a:pt x="3828" y="2495"/>
                    <a:pt x="3905" y="2360"/>
                    <a:pt x="3925" y="2353"/>
                  </a:cubicBezTo>
                  <a:cubicBezTo>
                    <a:pt x="3945" y="2346"/>
                    <a:pt x="3983" y="2327"/>
                    <a:pt x="3985" y="2285"/>
                  </a:cubicBezTo>
                  <a:cubicBezTo>
                    <a:pt x="3987" y="2242"/>
                    <a:pt x="4038" y="2196"/>
                    <a:pt x="4038" y="2145"/>
                  </a:cubicBezTo>
                  <a:cubicBezTo>
                    <a:pt x="4038" y="2094"/>
                    <a:pt x="4067" y="2034"/>
                    <a:pt x="4062" y="2019"/>
                  </a:cubicBezTo>
                  <a:cubicBezTo>
                    <a:pt x="4058" y="2003"/>
                    <a:pt x="4040" y="1955"/>
                    <a:pt x="4073" y="1919"/>
                  </a:cubicBezTo>
                  <a:cubicBezTo>
                    <a:pt x="4106" y="1884"/>
                    <a:pt x="4060" y="1842"/>
                    <a:pt x="4078" y="1828"/>
                  </a:cubicBezTo>
                  <a:close/>
                  <a:moveTo>
                    <a:pt x="1860" y="95"/>
                  </a:moveTo>
                  <a:cubicBezTo>
                    <a:pt x="1855" y="69"/>
                    <a:pt x="1698" y="99"/>
                    <a:pt x="1731" y="126"/>
                  </a:cubicBezTo>
                  <a:cubicBezTo>
                    <a:pt x="1753" y="144"/>
                    <a:pt x="1864" y="122"/>
                    <a:pt x="1860" y="95"/>
                  </a:cubicBezTo>
                  <a:close/>
                  <a:moveTo>
                    <a:pt x="2358" y="2716"/>
                  </a:moveTo>
                  <a:cubicBezTo>
                    <a:pt x="2382" y="2738"/>
                    <a:pt x="2464" y="2732"/>
                    <a:pt x="2477" y="2701"/>
                  </a:cubicBezTo>
                  <a:cubicBezTo>
                    <a:pt x="2490" y="2670"/>
                    <a:pt x="2336" y="2696"/>
                    <a:pt x="2358" y="2716"/>
                  </a:cubicBezTo>
                  <a:close/>
                  <a:moveTo>
                    <a:pt x="3358" y="3331"/>
                  </a:moveTo>
                  <a:cubicBezTo>
                    <a:pt x="3298" y="3338"/>
                    <a:pt x="3209" y="3277"/>
                    <a:pt x="3188" y="3283"/>
                  </a:cubicBezTo>
                  <a:cubicBezTo>
                    <a:pt x="3163" y="3290"/>
                    <a:pt x="3265" y="3442"/>
                    <a:pt x="3234" y="3482"/>
                  </a:cubicBezTo>
                  <a:cubicBezTo>
                    <a:pt x="3203" y="3522"/>
                    <a:pt x="3325" y="3630"/>
                    <a:pt x="3367" y="3637"/>
                  </a:cubicBezTo>
                  <a:cubicBezTo>
                    <a:pt x="3409" y="3644"/>
                    <a:pt x="3394" y="3595"/>
                    <a:pt x="3422" y="3597"/>
                  </a:cubicBezTo>
                  <a:cubicBezTo>
                    <a:pt x="3451" y="3599"/>
                    <a:pt x="3440" y="3568"/>
                    <a:pt x="3445" y="3546"/>
                  </a:cubicBezTo>
                  <a:cubicBezTo>
                    <a:pt x="3449" y="3524"/>
                    <a:pt x="3478" y="3571"/>
                    <a:pt x="3502" y="3557"/>
                  </a:cubicBezTo>
                  <a:cubicBezTo>
                    <a:pt x="3526" y="3544"/>
                    <a:pt x="3495" y="3449"/>
                    <a:pt x="3531" y="3449"/>
                  </a:cubicBezTo>
                  <a:cubicBezTo>
                    <a:pt x="3566" y="3449"/>
                    <a:pt x="3538" y="3334"/>
                    <a:pt x="3526" y="3296"/>
                  </a:cubicBezTo>
                  <a:cubicBezTo>
                    <a:pt x="3515" y="3259"/>
                    <a:pt x="3418" y="3325"/>
                    <a:pt x="3358" y="333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3" name="Freeform 153"/>
            <p:cNvSpPr>
              <a:spLocks noEditPoints="1"/>
            </p:cNvSpPr>
            <p:nvPr/>
          </p:nvSpPr>
          <p:spPr bwMode="auto">
            <a:xfrm>
              <a:off x="20005957" y="10688022"/>
              <a:ext cx="629942" cy="752244"/>
            </a:xfrm>
            <a:custGeom>
              <a:avLst/>
              <a:gdLst>
                <a:gd name="T0" fmla="*/ 771 w 1247"/>
                <a:gd name="T1" fmla="*/ 720 h 1488"/>
                <a:gd name="T2" fmla="*/ 691 w 1247"/>
                <a:gd name="T3" fmla="*/ 744 h 1488"/>
                <a:gd name="T4" fmla="*/ 594 w 1247"/>
                <a:gd name="T5" fmla="*/ 704 h 1488"/>
                <a:gd name="T6" fmla="*/ 543 w 1247"/>
                <a:gd name="T7" fmla="*/ 791 h 1488"/>
                <a:gd name="T8" fmla="*/ 461 w 1247"/>
                <a:gd name="T9" fmla="*/ 930 h 1488"/>
                <a:gd name="T10" fmla="*/ 186 w 1247"/>
                <a:gd name="T11" fmla="*/ 1111 h 1488"/>
                <a:gd name="T12" fmla="*/ 60 w 1247"/>
                <a:gd name="T13" fmla="*/ 1231 h 1488"/>
                <a:gd name="T14" fmla="*/ 34 w 1247"/>
                <a:gd name="T15" fmla="*/ 1339 h 1488"/>
                <a:gd name="T16" fmla="*/ 124 w 1247"/>
                <a:gd name="T17" fmla="*/ 1379 h 1488"/>
                <a:gd name="T18" fmla="*/ 195 w 1247"/>
                <a:gd name="T19" fmla="*/ 1408 h 1488"/>
                <a:gd name="T20" fmla="*/ 379 w 1247"/>
                <a:gd name="T21" fmla="*/ 1366 h 1488"/>
                <a:gd name="T22" fmla="*/ 445 w 1247"/>
                <a:gd name="T23" fmla="*/ 1251 h 1488"/>
                <a:gd name="T24" fmla="*/ 496 w 1247"/>
                <a:gd name="T25" fmla="*/ 1147 h 1488"/>
                <a:gd name="T26" fmla="*/ 607 w 1247"/>
                <a:gd name="T27" fmla="*/ 1078 h 1488"/>
                <a:gd name="T28" fmla="*/ 640 w 1247"/>
                <a:gd name="T29" fmla="*/ 1025 h 1488"/>
                <a:gd name="T30" fmla="*/ 707 w 1247"/>
                <a:gd name="T31" fmla="*/ 932 h 1488"/>
                <a:gd name="T32" fmla="*/ 784 w 1247"/>
                <a:gd name="T33" fmla="*/ 802 h 1488"/>
                <a:gd name="T34" fmla="*/ 771 w 1247"/>
                <a:gd name="T35" fmla="*/ 720 h 1488"/>
                <a:gd name="T36" fmla="*/ 131 w 1247"/>
                <a:gd name="T37" fmla="*/ 1483 h 1488"/>
                <a:gd name="T38" fmla="*/ 169 w 1247"/>
                <a:gd name="T39" fmla="*/ 1439 h 1488"/>
                <a:gd name="T40" fmla="*/ 131 w 1247"/>
                <a:gd name="T41" fmla="*/ 1483 h 1488"/>
                <a:gd name="T42" fmla="*/ 1132 w 1247"/>
                <a:gd name="T43" fmla="*/ 363 h 1488"/>
                <a:gd name="T44" fmla="*/ 1034 w 1247"/>
                <a:gd name="T45" fmla="*/ 354 h 1488"/>
                <a:gd name="T46" fmla="*/ 974 w 1247"/>
                <a:gd name="T47" fmla="*/ 295 h 1488"/>
                <a:gd name="T48" fmla="*/ 930 w 1247"/>
                <a:gd name="T49" fmla="*/ 215 h 1488"/>
                <a:gd name="T50" fmla="*/ 928 w 1247"/>
                <a:gd name="T51" fmla="*/ 270 h 1488"/>
                <a:gd name="T52" fmla="*/ 888 w 1247"/>
                <a:gd name="T53" fmla="*/ 250 h 1488"/>
                <a:gd name="T54" fmla="*/ 850 w 1247"/>
                <a:gd name="T55" fmla="*/ 182 h 1488"/>
                <a:gd name="T56" fmla="*/ 813 w 1247"/>
                <a:gd name="T57" fmla="*/ 91 h 1488"/>
                <a:gd name="T58" fmla="*/ 689 w 1247"/>
                <a:gd name="T59" fmla="*/ 0 h 1488"/>
                <a:gd name="T60" fmla="*/ 720 w 1247"/>
                <a:gd name="T61" fmla="*/ 107 h 1488"/>
                <a:gd name="T62" fmla="*/ 788 w 1247"/>
                <a:gd name="T63" fmla="*/ 177 h 1488"/>
                <a:gd name="T64" fmla="*/ 848 w 1247"/>
                <a:gd name="T65" fmla="*/ 257 h 1488"/>
                <a:gd name="T66" fmla="*/ 833 w 1247"/>
                <a:gd name="T67" fmla="*/ 405 h 1488"/>
                <a:gd name="T68" fmla="*/ 751 w 1247"/>
                <a:gd name="T69" fmla="*/ 496 h 1488"/>
                <a:gd name="T70" fmla="*/ 884 w 1247"/>
                <a:gd name="T71" fmla="*/ 616 h 1488"/>
                <a:gd name="T72" fmla="*/ 855 w 1247"/>
                <a:gd name="T73" fmla="*/ 775 h 1488"/>
                <a:gd name="T74" fmla="*/ 946 w 1247"/>
                <a:gd name="T75" fmla="*/ 788 h 1488"/>
                <a:gd name="T76" fmla="*/ 1056 w 1247"/>
                <a:gd name="T77" fmla="*/ 633 h 1488"/>
                <a:gd name="T78" fmla="*/ 1087 w 1247"/>
                <a:gd name="T79" fmla="*/ 529 h 1488"/>
                <a:gd name="T80" fmla="*/ 1154 w 1247"/>
                <a:gd name="T81" fmla="*/ 507 h 1488"/>
                <a:gd name="T82" fmla="*/ 1196 w 1247"/>
                <a:gd name="T83" fmla="*/ 447 h 1488"/>
                <a:gd name="T84" fmla="*/ 1229 w 1247"/>
                <a:gd name="T85" fmla="*/ 359 h 1488"/>
                <a:gd name="T86" fmla="*/ 1132 w 1247"/>
                <a:gd name="T87" fmla="*/ 363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47" h="1488">
                  <a:moveTo>
                    <a:pt x="771" y="720"/>
                  </a:moveTo>
                  <a:cubicBezTo>
                    <a:pt x="740" y="698"/>
                    <a:pt x="724" y="729"/>
                    <a:pt x="691" y="744"/>
                  </a:cubicBezTo>
                  <a:cubicBezTo>
                    <a:pt x="658" y="760"/>
                    <a:pt x="636" y="671"/>
                    <a:pt x="594" y="704"/>
                  </a:cubicBezTo>
                  <a:cubicBezTo>
                    <a:pt x="552" y="737"/>
                    <a:pt x="589" y="751"/>
                    <a:pt x="543" y="791"/>
                  </a:cubicBezTo>
                  <a:cubicBezTo>
                    <a:pt x="496" y="830"/>
                    <a:pt x="516" y="844"/>
                    <a:pt x="461" y="930"/>
                  </a:cubicBezTo>
                  <a:cubicBezTo>
                    <a:pt x="405" y="1016"/>
                    <a:pt x="215" y="1065"/>
                    <a:pt x="186" y="1111"/>
                  </a:cubicBezTo>
                  <a:cubicBezTo>
                    <a:pt x="158" y="1158"/>
                    <a:pt x="62" y="1196"/>
                    <a:pt x="60" y="1231"/>
                  </a:cubicBezTo>
                  <a:cubicBezTo>
                    <a:pt x="58" y="1266"/>
                    <a:pt x="0" y="1292"/>
                    <a:pt x="34" y="1339"/>
                  </a:cubicBezTo>
                  <a:cubicBezTo>
                    <a:pt x="60" y="1377"/>
                    <a:pt x="96" y="1351"/>
                    <a:pt x="124" y="1379"/>
                  </a:cubicBezTo>
                  <a:cubicBezTo>
                    <a:pt x="153" y="1408"/>
                    <a:pt x="182" y="1384"/>
                    <a:pt x="195" y="1408"/>
                  </a:cubicBezTo>
                  <a:cubicBezTo>
                    <a:pt x="209" y="1432"/>
                    <a:pt x="306" y="1432"/>
                    <a:pt x="379" y="1366"/>
                  </a:cubicBezTo>
                  <a:cubicBezTo>
                    <a:pt x="452" y="1300"/>
                    <a:pt x="417" y="1269"/>
                    <a:pt x="445" y="1251"/>
                  </a:cubicBezTo>
                  <a:cubicBezTo>
                    <a:pt x="474" y="1233"/>
                    <a:pt x="479" y="1180"/>
                    <a:pt x="496" y="1147"/>
                  </a:cubicBezTo>
                  <a:cubicBezTo>
                    <a:pt x="514" y="1114"/>
                    <a:pt x="527" y="1078"/>
                    <a:pt x="607" y="1078"/>
                  </a:cubicBezTo>
                  <a:cubicBezTo>
                    <a:pt x="687" y="1078"/>
                    <a:pt x="645" y="1063"/>
                    <a:pt x="640" y="1025"/>
                  </a:cubicBezTo>
                  <a:cubicBezTo>
                    <a:pt x="636" y="988"/>
                    <a:pt x="707" y="981"/>
                    <a:pt x="707" y="932"/>
                  </a:cubicBezTo>
                  <a:cubicBezTo>
                    <a:pt x="707" y="884"/>
                    <a:pt x="804" y="839"/>
                    <a:pt x="784" y="802"/>
                  </a:cubicBezTo>
                  <a:cubicBezTo>
                    <a:pt x="764" y="764"/>
                    <a:pt x="802" y="742"/>
                    <a:pt x="771" y="720"/>
                  </a:cubicBezTo>
                  <a:close/>
                  <a:moveTo>
                    <a:pt x="131" y="1483"/>
                  </a:moveTo>
                  <a:cubicBezTo>
                    <a:pt x="146" y="1488"/>
                    <a:pt x="197" y="1474"/>
                    <a:pt x="169" y="1439"/>
                  </a:cubicBezTo>
                  <a:cubicBezTo>
                    <a:pt x="140" y="1404"/>
                    <a:pt x="94" y="1473"/>
                    <a:pt x="131" y="1483"/>
                  </a:cubicBezTo>
                  <a:close/>
                  <a:moveTo>
                    <a:pt x="1132" y="363"/>
                  </a:moveTo>
                  <a:cubicBezTo>
                    <a:pt x="1112" y="396"/>
                    <a:pt x="1072" y="354"/>
                    <a:pt x="1034" y="354"/>
                  </a:cubicBezTo>
                  <a:cubicBezTo>
                    <a:pt x="997" y="354"/>
                    <a:pt x="974" y="328"/>
                    <a:pt x="974" y="295"/>
                  </a:cubicBezTo>
                  <a:cubicBezTo>
                    <a:pt x="974" y="261"/>
                    <a:pt x="966" y="213"/>
                    <a:pt x="930" y="215"/>
                  </a:cubicBezTo>
                  <a:cubicBezTo>
                    <a:pt x="895" y="217"/>
                    <a:pt x="941" y="253"/>
                    <a:pt x="928" y="270"/>
                  </a:cubicBezTo>
                  <a:cubicBezTo>
                    <a:pt x="915" y="288"/>
                    <a:pt x="906" y="250"/>
                    <a:pt x="888" y="250"/>
                  </a:cubicBezTo>
                  <a:cubicBezTo>
                    <a:pt x="870" y="250"/>
                    <a:pt x="850" y="226"/>
                    <a:pt x="850" y="182"/>
                  </a:cubicBezTo>
                  <a:cubicBezTo>
                    <a:pt x="850" y="137"/>
                    <a:pt x="813" y="142"/>
                    <a:pt x="813" y="91"/>
                  </a:cubicBezTo>
                  <a:cubicBezTo>
                    <a:pt x="813" y="40"/>
                    <a:pt x="733" y="0"/>
                    <a:pt x="689" y="0"/>
                  </a:cubicBezTo>
                  <a:cubicBezTo>
                    <a:pt x="645" y="0"/>
                    <a:pt x="698" y="80"/>
                    <a:pt x="720" y="107"/>
                  </a:cubicBezTo>
                  <a:cubicBezTo>
                    <a:pt x="742" y="133"/>
                    <a:pt x="791" y="157"/>
                    <a:pt x="788" y="177"/>
                  </a:cubicBezTo>
                  <a:cubicBezTo>
                    <a:pt x="786" y="197"/>
                    <a:pt x="822" y="248"/>
                    <a:pt x="848" y="257"/>
                  </a:cubicBezTo>
                  <a:cubicBezTo>
                    <a:pt x="875" y="266"/>
                    <a:pt x="833" y="343"/>
                    <a:pt x="833" y="405"/>
                  </a:cubicBezTo>
                  <a:cubicBezTo>
                    <a:pt x="833" y="467"/>
                    <a:pt x="784" y="456"/>
                    <a:pt x="751" y="496"/>
                  </a:cubicBezTo>
                  <a:cubicBezTo>
                    <a:pt x="718" y="536"/>
                    <a:pt x="835" y="576"/>
                    <a:pt x="884" y="616"/>
                  </a:cubicBezTo>
                  <a:cubicBezTo>
                    <a:pt x="932" y="655"/>
                    <a:pt x="842" y="753"/>
                    <a:pt x="855" y="775"/>
                  </a:cubicBezTo>
                  <a:cubicBezTo>
                    <a:pt x="861" y="786"/>
                    <a:pt x="895" y="802"/>
                    <a:pt x="946" y="788"/>
                  </a:cubicBezTo>
                  <a:cubicBezTo>
                    <a:pt x="997" y="775"/>
                    <a:pt x="1021" y="664"/>
                    <a:pt x="1056" y="633"/>
                  </a:cubicBezTo>
                  <a:cubicBezTo>
                    <a:pt x="1092" y="602"/>
                    <a:pt x="1070" y="554"/>
                    <a:pt x="1087" y="529"/>
                  </a:cubicBezTo>
                  <a:cubicBezTo>
                    <a:pt x="1105" y="505"/>
                    <a:pt x="1129" y="507"/>
                    <a:pt x="1154" y="507"/>
                  </a:cubicBezTo>
                  <a:cubicBezTo>
                    <a:pt x="1178" y="507"/>
                    <a:pt x="1165" y="447"/>
                    <a:pt x="1196" y="447"/>
                  </a:cubicBezTo>
                  <a:cubicBezTo>
                    <a:pt x="1227" y="447"/>
                    <a:pt x="1211" y="405"/>
                    <a:pt x="1229" y="359"/>
                  </a:cubicBezTo>
                  <a:cubicBezTo>
                    <a:pt x="1247" y="312"/>
                    <a:pt x="1151" y="330"/>
                    <a:pt x="1132" y="36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4" name="Freeform 154"/>
            <p:cNvSpPr>
              <a:spLocks noEditPoints="1"/>
            </p:cNvSpPr>
            <p:nvPr/>
          </p:nvSpPr>
          <p:spPr bwMode="auto">
            <a:xfrm>
              <a:off x="20557156" y="9667717"/>
              <a:ext cx="139057" cy="123978"/>
            </a:xfrm>
            <a:custGeom>
              <a:avLst/>
              <a:gdLst>
                <a:gd name="T0" fmla="*/ 34 w 275"/>
                <a:gd name="T1" fmla="*/ 211 h 246"/>
                <a:gd name="T2" fmla="*/ 149 w 275"/>
                <a:gd name="T3" fmla="*/ 180 h 246"/>
                <a:gd name="T4" fmla="*/ 34 w 275"/>
                <a:gd name="T5" fmla="*/ 211 h 246"/>
                <a:gd name="T6" fmla="*/ 171 w 275"/>
                <a:gd name="T7" fmla="*/ 93 h 246"/>
                <a:gd name="T8" fmla="*/ 275 w 275"/>
                <a:gd name="T9" fmla="*/ 38 h 246"/>
                <a:gd name="T10" fmla="*/ 171 w 275"/>
                <a:gd name="T11" fmla="*/ 93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5" h="246">
                  <a:moveTo>
                    <a:pt x="34" y="211"/>
                  </a:moveTo>
                  <a:cubicBezTo>
                    <a:pt x="72" y="246"/>
                    <a:pt x="147" y="244"/>
                    <a:pt x="149" y="180"/>
                  </a:cubicBezTo>
                  <a:cubicBezTo>
                    <a:pt x="151" y="115"/>
                    <a:pt x="0" y="179"/>
                    <a:pt x="34" y="211"/>
                  </a:cubicBezTo>
                  <a:close/>
                  <a:moveTo>
                    <a:pt x="171" y="93"/>
                  </a:moveTo>
                  <a:cubicBezTo>
                    <a:pt x="196" y="102"/>
                    <a:pt x="275" y="76"/>
                    <a:pt x="275" y="38"/>
                  </a:cubicBezTo>
                  <a:cubicBezTo>
                    <a:pt x="275" y="0"/>
                    <a:pt x="134" y="80"/>
                    <a:pt x="171" y="9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14299623" y="6511307"/>
              <a:ext cx="720412" cy="457377"/>
            </a:xfrm>
            <a:custGeom>
              <a:avLst/>
              <a:gdLst>
                <a:gd name="T0" fmla="*/ 1420 w 1428"/>
                <a:gd name="T1" fmla="*/ 569 h 905"/>
                <a:gd name="T2" fmla="*/ 1331 w 1428"/>
                <a:gd name="T3" fmla="*/ 540 h 905"/>
                <a:gd name="T4" fmla="*/ 1228 w 1428"/>
                <a:gd name="T5" fmla="*/ 472 h 905"/>
                <a:gd name="T6" fmla="*/ 1113 w 1428"/>
                <a:gd name="T7" fmla="*/ 404 h 905"/>
                <a:gd name="T8" fmla="*/ 1013 w 1428"/>
                <a:gd name="T9" fmla="*/ 330 h 905"/>
                <a:gd name="T10" fmla="*/ 968 w 1428"/>
                <a:gd name="T11" fmla="*/ 248 h 905"/>
                <a:gd name="T12" fmla="*/ 927 w 1428"/>
                <a:gd name="T13" fmla="*/ 183 h 905"/>
                <a:gd name="T14" fmla="*/ 779 w 1428"/>
                <a:gd name="T15" fmla="*/ 165 h 905"/>
                <a:gd name="T16" fmla="*/ 744 w 1428"/>
                <a:gd name="T17" fmla="*/ 59 h 905"/>
                <a:gd name="T18" fmla="*/ 667 w 1428"/>
                <a:gd name="T19" fmla="*/ 32 h 905"/>
                <a:gd name="T20" fmla="*/ 596 w 1428"/>
                <a:gd name="T21" fmla="*/ 15 h 905"/>
                <a:gd name="T22" fmla="*/ 555 w 1428"/>
                <a:gd name="T23" fmla="*/ 35 h 905"/>
                <a:gd name="T24" fmla="*/ 520 w 1428"/>
                <a:gd name="T25" fmla="*/ 74 h 905"/>
                <a:gd name="T26" fmla="*/ 449 w 1428"/>
                <a:gd name="T27" fmla="*/ 127 h 905"/>
                <a:gd name="T28" fmla="*/ 414 w 1428"/>
                <a:gd name="T29" fmla="*/ 174 h 905"/>
                <a:gd name="T30" fmla="*/ 343 w 1428"/>
                <a:gd name="T31" fmla="*/ 157 h 905"/>
                <a:gd name="T32" fmla="*/ 273 w 1428"/>
                <a:gd name="T33" fmla="*/ 141 h 905"/>
                <a:gd name="T34" fmla="*/ 151 w 1428"/>
                <a:gd name="T35" fmla="*/ 46 h 905"/>
                <a:gd name="T36" fmla="*/ 48 w 1428"/>
                <a:gd name="T37" fmla="*/ 100 h 905"/>
                <a:gd name="T38" fmla="*/ 95 w 1428"/>
                <a:gd name="T39" fmla="*/ 82 h 905"/>
                <a:gd name="T40" fmla="*/ 171 w 1428"/>
                <a:gd name="T41" fmla="*/ 174 h 905"/>
                <a:gd name="T42" fmla="*/ 219 w 1428"/>
                <a:gd name="T43" fmla="*/ 233 h 905"/>
                <a:gd name="T44" fmla="*/ 118 w 1428"/>
                <a:gd name="T45" fmla="*/ 254 h 905"/>
                <a:gd name="T46" fmla="*/ 27 w 1428"/>
                <a:gd name="T47" fmla="*/ 254 h 905"/>
                <a:gd name="T48" fmla="*/ 48 w 1428"/>
                <a:gd name="T49" fmla="*/ 336 h 905"/>
                <a:gd name="T50" fmla="*/ 53 w 1428"/>
                <a:gd name="T51" fmla="*/ 398 h 905"/>
                <a:gd name="T52" fmla="*/ 109 w 1428"/>
                <a:gd name="T53" fmla="*/ 422 h 905"/>
                <a:gd name="T54" fmla="*/ 130 w 1428"/>
                <a:gd name="T55" fmla="*/ 502 h 905"/>
                <a:gd name="T56" fmla="*/ 130 w 1428"/>
                <a:gd name="T57" fmla="*/ 635 h 905"/>
                <a:gd name="T58" fmla="*/ 213 w 1428"/>
                <a:gd name="T59" fmla="*/ 620 h 905"/>
                <a:gd name="T60" fmla="*/ 301 w 1428"/>
                <a:gd name="T61" fmla="*/ 558 h 905"/>
                <a:gd name="T62" fmla="*/ 372 w 1428"/>
                <a:gd name="T63" fmla="*/ 549 h 905"/>
                <a:gd name="T64" fmla="*/ 487 w 1428"/>
                <a:gd name="T65" fmla="*/ 552 h 905"/>
                <a:gd name="T66" fmla="*/ 561 w 1428"/>
                <a:gd name="T67" fmla="*/ 584 h 905"/>
                <a:gd name="T68" fmla="*/ 608 w 1428"/>
                <a:gd name="T69" fmla="*/ 608 h 905"/>
                <a:gd name="T70" fmla="*/ 694 w 1428"/>
                <a:gd name="T71" fmla="*/ 634 h 905"/>
                <a:gd name="T72" fmla="*/ 738 w 1428"/>
                <a:gd name="T73" fmla="*/ 670 h 905"/>
                <a:gd name="T74" fmla="*/ 806 w 1428"/>
                <a:gd name="T75" fmla="*/ 726 h 905"/>
                <a:gd name="T76" fmla="*/ 877 w 1428"/>
                <a:gd name="T77" fmla="*/ 738 h 905"/>
                <a:gd name="T78" fmla="*/ 895 w 1428"/>
                <a:gd name="T79" fmla="*/ 860 h 905"/>
                <a:gd name="T80" fmla="*/ 916 w 1428"/>
                <a:gd name="T81" fmla="*/ 858 h 905"/>
                <a:gd name="T82" fmla="*/ 987 w 1428"/>
                <a:gd name="T83" fmla="*/ 878 h 905"/>
                <a:gd name="T84" fmla="*/ 1074 w 1428"/>
                <a:gd name="T85" fmla="*/ 846 h 905"/>
                <a:gd name="T86" fmla="*/ 1215 w 1428"/>
                <a:gd name="T87" fmla="*/ 763 h 905"/>
                <a:gd name="T88" fmla="*/ 1275 w 1428"/>
                <a:gd name="T89" fmla="*/ 665 h 905"/>
                <a:gd name="T90" fmla="*/ 1353 w 1428"/>
                <a:gd name="T91" fmla="*/ 617 h 905"/>
                <a:gd name="T92" fmla="*/ 1428 w 1428"/>
                <a:gd name="T93" fmla="*/ 635 h 905"/>
                <a:gd name="T94" fmla="*/ 1420 w 1428"/>
                <a:gd name="T95" fmla="*/ 569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28" h="905">
                  <a:moveTo>
                    <a:pt x="1420" y="569"/>
                  </a:moveTo>
                  <a:cubicBezTo>
                    <a:pt x="1420" y="569"/>
                    <a:pt x="1355" y="537"/>
                    <a:pt x="1331" y="540"/>
                  </a:cubicBezTo>
                  <a:cubicBezTo>
                    <a:pt x="1308" y="543"/>
                    <a:pt x="1269" y="487"/>
                    <a:pt x="1228" y="472"/>
                  </a:cubicBezTo>
                  <a:cubicBezTo>
                    <a:pt x="1187" y="457"/>
                    <a:pt x="1131" y="431"/>
                    <a:pt x="1113" y="404"/>
                  </a:cubicBezTo>
                  <a:cubicBezTo>
                    <a:pt x="1095" y="378"/>
                    <a:pt x="1022" y="351"/>
                    <a:pt x="1013" y="330"/>
                  </a:cubicBezTo>
                  <a:cubicBezTo>
                    <a:pt x="1004" y="310"/>
                    <a:pt x="989" y="274"/>
                    <a:pt x="968" y="248"/>
                  </a:cubicBezTo>
                  <a:cubicBezTo>
                    <a:pt x="948" y="221"/>
                    <a:pt x="948" y="186"/>
                    <a:pt x="927" y="183"/>
                  </a:cubicBezTo>
                  <a:cubicBezTo>
                    <a:pt x="906" y="180"/>
                    <a:pt x="779" y="183"/>
                    <a:pt x="779" y="165"/>
                  </a:cubicBezTo>
                  <a:cubicBezTo>
                    <a:pt x="779" y="147"/>
                    <a:pt x="771" y="65"/>
                    <a:pt x="744" y="59"/>
                  </a:cubicBezTo>
                  <a:cubicBezTo>
                    <a:pt x="718" y="53"/>
                    <a:pt x="682" y="47"/>
                    <a:pt x="667" y="32"/>
                  </a:cubicBezTo>
                  <a:cubicBezTo>
                    <a:pt x="653" y="17"/>
                    <a:pt x="605" y="0"/>
                    <a:pt x="596" y="15"/>
                  </a:cubicBezTo>
                  <a:cubicBezTo>
                    <a:pt x="588" y="29"/>
                    <a:pt x="564" y="35"/>
                    <a:pt x="555" y="35"/>
                  </a:cubicBezTo>
                  <a:cubicBezTo>
                    <a:pt x="546" y="35"/>
                    <a:pt x="549" y="77"/>
                    <a:pt x="520" y="74"/>
                  </a:cubicBezTo>
                  <a:cubicBezTo>
                    <a:pt x="490" y="71"/>
                    <a:pt x="449" y="106"/>
                    <a:pt x="449" y="127"/>
                  </a:cubicBezTo>
                  <a:cubicBezTo>
                    <a:pt x="449" y="147"/>
                    <a:pt x="452" y="177"/>
                    <a:pt x="414" y="174"/>
                  </a:cubicBezTo>
                  <a:cubicBezTo>
                    <a:pt x="394" y="172"/>
                    <a:pt x="367" y="169"/>
                    <a:pt x="343" y="157"/>
                  </a:cubicBezTo>
                  <a:cubicBezTo>
                    <a:pt x="338" y="162"/>
                    <a:pt x="306" y="184"/>
                    <a:pt x="273" y="141"/>
                  </a:cubicBezTo>
                  <a:cubicBezTo>
                    <a:pt x="238" y="93"/>
                    <a:pt x="183" y="46"/>
                    <a:pt x="151" y="46"/>
                  </a:cubicBezTo>
                  <a:cubicBezTo>
                    <a:pt x="123" y="46"/>
                    <a:pt x="25" y="46"/>
                    <a:pt x="48" y="100"/>
                  </a:cubicBezTo>
                  <a:cubicBezTo>
                    <a:pt x="55" y="88"/>
                    <a:pt x="68" y="80"/>
                    <a:pt x="95" y="82"/>
                  </a:cubicBezTo>
                  <a:cubicBezTo>
                    <a:pt x="166" y="88"/>
                    <a:pt x="133" y="171"/>
                    <a:pt x="171" y="174"/>
                  </a:cubicBezTo>
                  <a:cubicBezTo>
                    <a:pt x="210" y="177"/>
                    <a:pt x="254" y="236"/>
                    <a:pt x="219" y="233"/>
                  </a:cubicBezTo>
                  <a:cubicBezTo>
                    <a:pt x="183" y="230"/>
                    <a:pt x="154" y="265"/>
                    <a:pt x="118" y="254"/>
                  </a:cubicBezTo>
                  <a:cubicBezTo>
                    <a:pt x="83" y="242"/>
                    <a:pt x="39" y="212"/>
                    <a:pt x="27" y="254"/>
                  </a:cubicBezTo>
                  <a:cubicBezTo>
                    <a:pt x="15" y="295"/>
                    <a:pt x="0" y="339"/>
                    <a:pt x="48" y="336"/>
                  </a:cubicBezTo>
                  <a:cubicBezTo>
                    <a:pt x="95" y="333"/>
                    <a:pt x="86" y="366"/>
                    <a:pt x="53" y="398"/>
                  </a:cubicBezTo>
                  <a:cubicBezTo>
                    <a:pt x="21" y="431"/>
                    <a:pt x="104" y="392"/>
                    <a:pt x="109" y="422"/>
                  </a:cubicBezTo>
                  <a:cubicBezTo>
                    <a:pt x="115" y="451"/>
                    <a:pt x="142" y="454"/>
                    <a:pt x="130" y="502"/>
                  </a:cubicBezTo>
                  <a:cubicBezTo>
                    <a:pt x="123" y="531"/>
                    <a:pt x="128" y="591"/>
                    <a:pt x="130" y="635"/>
                  </a:cubicBezTo>
                  <a:cubicBezTo>
                    <a:pt x="162" y="635"/>
                    <a:pt x="204" y="632"/>
                    <a:pt x="213" y="620"/>
                  </a:cubicBezTo>
                  <a:cubicBezTo>
                    <a:pt x="228" y="599"/>
                    <a:pt x="275" y="558"/>
                    <a:pt x="301" y="558"/>
                  </a:cubicBezTo>
                  <a:cubicBezTo>
                    <a:pt x="328" y="558"/>
                    <a:pt x="357" y="569"/>
                    <a:pt x="372" y="549"/>
                  </a:cubicBezTo>
                  <a:cubicBezTo>
                    <a:pt x="387" y="528"/>
                    <a:pt x="473" y="534"/>
                    <a:pt x="487" y="552"/>
                  </a:cubicBezTo>
                  <a:cubicBezTo>
                    <a:pt x="502" y="569"/>
                    <a:pt x="549" y="584"/>
                    <a:pt x="561" y="584"/>
                  </a:cubicBezTo>
                  <a:cubicBezTo>
                    <a:pt x="573" y="584"/>
                    <a:pt x="579" y="611"/>
                    <a:pt x="608" y="608"/>
                  </a:cubicBezTo>
                  <a:cubicBezTo>
                    <a:pt x="638" y="605"/>
                    <a:pt x="694" y="617"/>
                    <a:pt x="694" y="634"/>
                  </a:cubicBezTo>
                  <a:cubicBezTo>
                    <a:pt x="694" y="652"/>
                    <a:pt x="715" y="670"/>
                    <a:pt x="738" y="670"/>
                  </a:cubicBezTo>
                  <a:cubicBezTo>
                    <a:pt x="762" y="670"/>
                    <a:pt x="782" y="729"/>
                    <a:pt x="806" y="726"/>
                  </a:cubicBezTo>
                  <a:cubicBezTo>
                    <a:pt x="830" y="723"/>
                    <a:pt x="877" y="723"/>
                    <a:pt x="877" y="738"/>
                  </a:cubicBezTo>
                  <a:cubicBezTo>
                    <a:pt x="877" y="750"/>
                    <a:pt x="881" y="820"/>
                    <a:pt x="895" y="860"/>
                  </a:cubicBezTo>
                  <a:cubicBezTo>
                    <a:pt x="903" y="855"/>
                    <a:pt x="911" y="855"/>
                    <a:pt x="916" y="858"/>
                  </a:cubicBezTo>
                  <a:cubicBezTo>
                    <a:pt x="928" y="866"/>
                    <a:pt x="979" y="850"/>
                    <a:pt x="987" y="878"/>
                  </a:cubicBezTo>
                  <a:cubicBezTo>
                    <a:pt x="995" y="905"/>
                    <a:pt x="1077" y="889"/>
                    <a:pt x="1074" y="846"/>
                  </a:cubicBezTo>
                  <a:cubicBezTo>
                    <a:pt x="1070" y="803"/>
                    <a:pt x="1204" y="803"/>
                    <a:pt x="1215" y="763"/>
                  </a:cubicBezTo>
                  <a:cubicBezTo>
                    <a:pt x="1227" y="724"/>
                    <a:pt x="1243" y="653"/>
                    <a:pt x="1275" y="665"/>
                  </a:cubicBezTo>
                  <a:cubicBezTo>
                    <a:pt x="1306" y="677"/>
                    <a:pt x="1326" y="614"/>
                    <a:pt x="1353" y="617"/>
                  </a:cubicBezTo>
                  <a:cubicBezTo>
                    <a:pt x="1379" y="621"/>
                    <a:pt x="1397" y="641"/>
                    <a:pt x="1428" y="635"/>
                  </a:cubicBezTo>
                  <a:lnTo>
                    <a:pt x="1420" y="569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13860675" y="6678844"/>
              <a:ext cx="996850" cy="842714"/>
            </a:xfrm>
            <a:custGeom>
              <a:avLst/>
              <a:gdLst>
                <a:gd name="T0" fmla="*/ 1919 w 1974"/>
                <a:gd name="T1" fmla="*/ 1438 h 1668"/>
                <a:gd name="T2" fmla="*/ 1872 w 1974"/>
                <a:gd name="T3" fmla="*/ 1328 h 1668"/>
                <a:gd name="T4" fmla="*/ 1769 w 1974"/>
                <a:gd name="T5" fmla="*/ 1241 h 1668"/>
                <a:gd name="T6" fmla="*/ 1702 w 1974"/>
                <a:gd name="T7" fmla="*/ 1154 h 1668"/>
                <a:gd name="T8" fmla="*/ 1805 w 1974"/>
                <a:gd name="T9" fmla="*/ 1013 h 1668"/>
                <a:gd name="T10" fmla="*/ 1706 w 1974"/>
                <a:gd name="T11" fmla="*/ 961 h 1668"/>
                <a:gd name="T12" fmla="*/ 1690 w 1974"/>
                <a:gd name="T13" fmla="*/ 847 h 1668"/>
                <a:gd name="T14" fmla="*/ 1690 w 1974"/>
                <a:gd name="T15" fmla="*/ 741 h 1668"/>
                <a:gd name="T16" fmla="*/ 1702 w 1974"/>
                <a:gd name="T17" fmla="*/ 654 h 1668"/>
                <a:gd name="T18" fmla="*/ 1741 w 1974"/>
                <a:gd name="T19" fmla="*/ 575 h 1668"/>
                <a:gd name="T20" fmla="*/ 1764 w 1974"/>
                <a:gd name="T21" fmla="*/ 530 h 1668"/>
                <a:gd name="T22" fmla="*/ 1746 w 1974"/>
                <a:gd name="T23" fmla="*/ 408 h 1668"/>
                <a:gd name="T24" fmla="*/ 1675 w 1974"/>
                <a:gd name="T25" fmla="*/ 396 h 1668"/>
                <a:gd name="T26" fmla="*/ 1607 w 1974"/>
                <a:gd name="T27" fmla="*/ 340 h 1668"/>
                <a:gd name="T28" fmla="*/ 1563 w 1974"/>
                <a:gd name="T29" fmla="*/ 304 h 1668"/>
                <a:gd name="T30" fmla="*/ 1477 w 1974"/>
                <a:gd name="T31" fmla="*/ 278 h 1668"/>
                <a:gd name="T32" fmla="*/ 1430 w 1974"/>
                <a:gd name="T33" fmla="*/ 254 h 1668"/>
                <a:gd name="T34" fmla="*/ 1356 w 1974"/>
                <a:gd name="T35" fmla="*/ 222 h 1668"/>
                <a:gd name="T36" fmla="*/ 1241 w 1974"/>
                <a:gd name="T37" fmla="*/ 219 h 1668"/>
                <a:gd name="T38" fmla="*/ 1170 w 1974"/>
                <a:gd name="T39" fmla="*/ 228 h 1668"/>
                <a:gd name="T40" fmla="*/ 1082 w 1974"/>
                <a:gd name="T41" fmla="*/ 290 h 1668"/>
                <a:gd name="T42" fmla="*/ 999 w 1974"/>
                <a:gd name="T43" fmla="*/ 305 h 1668"/>
                <a:gd name="T44" fmla="*/ 996 w 1974"/>
                <a:gd name="T45" fmla="*/ 357 h 1668"/>
                <a:gd name="T46" fmla="*/ 781 w 1974"/>
                <a:gd name="T47" fmla="*/ 405 h 1668"/>
                <a:gd name="T48" fmla="*/ 598 w 1974"/>
                <a:gd name="T49" fmla="*/ 296 h 1668"/>
                <a:gd name="T50" fmla="*/ 477 w 1974"/>
                <a:gd name="T51" fmla="*/ 178 h 1668"/>
                <a:gd name="T52" fmla="*/ 406 w 1974"/>
                <a:gd name="T53" fmla="*/ 126 h 1668"/>
                <a:gd name="T54" fmla="*/ 386 w 1974"/>
                <a:gd name="T55" fmla="*/ 35 h 1668"/>
                <a:gd name="T56" fmla="*/ 185 w 1974"/>
                <a:gd name="T57" fmla="*/ 122 h 1668"/>
                <a:gd name="T58" fmla="*/ 118 w 1974"/>
                <a:gd name="T59" fmla="*/ 83 h 1668"/>
                <a:gd name="T60" fmla="*/ 59 w 1974"/>
                <a:gd name="T61" fmla="*/ 8 h 1668"/>
                <a:gd name="T62" fmla="*/ 23 w 1974"/>
                <a:gd name="T63" fmla="*/ 59 h 1668"/>
                <a:gd name="T64" fmla="*/ 27 w 1974"/>
                <a:gd name="T65" fmla="*/ 142 h 1668"/>
                <a:gd name="T66" fmla="*/ 27 w 1974"/>
                <a:gd name="T67" fmla="*/ 248 h 1668"/>
                <a:gd name="T68" fmla="*/ 74 w 1974"/>
                <a:gd name="T69" fmla="*/ 327 h 1668"/>
                <a:gd name="T70" fmla="*/ 110 w 1974"/>
                <a:gd name="T71" fmla="*/ 406 h 1668"/>
                <a:gd name="T72" fmla="*/ 165 w 1974"/>
                <a:gd name="T73" fmla="*/ 465 h 1668"/>
                <a:gd name="T74" fmla="*/ 205 w 1974"/>
                <a:gd name="T75" fmla="*/ 500 h 1668"/>
                <a:gd name="T76" fmla="*/ 193 w 1974"/>
                <a:gd name="T77" fmla="*/ 559 h 1668"/>
                <a:gd name="T78" fmla="*/ 153 w 1974"/>
                <a:gd name="T79" fmla="*/ 638 h 1668"/>
                <a:gd name="T80" fmla="*/ 165 w 1974"/>
                <a:gd name="T81" fmla="*/ 729 h 1668"/>
                <a:gd name="T82" fmla="*/ 212 w 1974"/>
                <a:gd name="T83" fmla="*/ 784 h 1668"/>
                <a:gd name="T84" fmla="*/ 323 w 1974"/>
                <a:gd name="T85" fmla="*/ 859 h 1668"/>
                <a:gd name="T86" fmla="*/ 370 w 1974"/>
                <a:gd name="T87" fmla="*/ 918 h 1668"/>
                <a:gd name="T88" fmla="*/ 362 w 1974"/>
                <a:gd name="T89" fmla="*/ 985 h 1668"/>
                <a:gd name="T90" fmla="*/ 398 w 1974"/>
                <a:gd name="T91" fmla="*/ 1052 h 1668"/>
                <a:gd name="T92" fmla="*/ 454 w 1974"/>
                <a:gd name="T93" fmla="*/ 1131 h 1668"/>
                <a:gd name="T94" fmla="*/ 478 w 1974"/>
                <a:gd name="T95" fmla="*/ 1126 h 1668"/>
                <a:gd name="T96" fmla="*/ 524 w 1974"/>
                <a:gd name="T97" fmla="*/ 1115 h 1668"/>
                <a:gd name="T98" fmla="*/ 593 w 1974"/>
                <a:gd name="T99" fmla="*/ 1112 h 1668"/>
                <a:gd name="T100" fmla="*/ 695 w 1974"/>
                <a:gd name="T101" fmla="*/ 1268 h 1668"/>
                <a:gd name="T102" fmla="*/ 753 w 1974"/>
                <a:gd name="T103" fmla="*/ 1359 h 1668"/>
                <a:gd name="T104" fmla="*/ 874 w 1974"/>
                <a:gd name="T105" fmla="*/ 1420 h 1668"/>
                <a:gd name="T106" fmla="*/ 1101 w 1974"/>
                <a:gd name="T107" fmla="*/ 1507 h 1668"/>
                <a:gd name="T108" fmla="*/ 1262 w 1974"/>
                <a:gd name="T109" fmla="*/ 1463 h 1668"/>
                <a:gd name="T110" fmla="*/ 1339 w 1974"/>
                <a:gd name="T111" fmla="*/ 1594 h 1668"/>
                <a:gd name="T112" fmla="*/ 1687 w 1974"/>
                <a:gd name="T113" fmla="*/ 1659 h 1668"/>
                <a:gd name="T114" fmla="*/ 1791 w 1974"/>
                <a:gd name="T115" fmla="*/ 1668 h 1668"/>
                <a:gd name="T116" fmla="*/ 1789 w 1974"/>
                <a:gd name="T117" fmla="*/ 1643 h 1668"/>
                <a:gd name="T118" fmla="*/ 1852 w 1974"/>
                <a:gd name="T119" fmla="*/ 1541 h 1668"/>
                <a:gd name="T120" fmla="*/ 1943 w 1974"/>
                <a:gd name="T121" fmla="*/ 1513 h 1668"/>
                <a:gd name="T122" fmla="*/ 1919 w 1974"/>
                <a:gd name="T123" fmla="*/ 143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74" h="1668">
                  <a:moveTo>
                    <a:pt x="1919" y="1438"/>
                  </a:moveTo>
                  <a:cubicBezTo>
                    <a:pt x="1895" y="1430"/>
                    <a:pt x="1919" y="1348"/>
                    <a:pt x="1872" y="1328"/>
                  </a:cubicBezTo>
                  <a:cubicBezTo>
                    <a:pt x="1824" y="1308"/>
                    <a:pt x="1782" y="1276"/>
                    <a:pt x="1769" y="1241"/>
                  </a:cubicBezTo>
                  <a:cubicBezTo>
                    <a:pt x="1757" y="1210"/>
                    <a:pt x="1698" y="1178"/>
                    <a:pt x="1702" y="1154"/>
                  </a:cubicBezTo>
                  <a:cubicBezTo>
                    <a:pt x="1706" y="1131"/>
                    <a:pt x="1820" y="1056"/>
                    <a:pt x="1805" y="1013"/>
                  </a:cubicBezTo>
                  <a:cubicBezTo>
                    <a:pt x="1789" y="969"/>
                    <a:pt x="1714" y="977"/>
                    <a:pt x="1706" y="961"/>
                  </a:cubicBezTo>
                  <a:cubicBezTo>
                    <a:pt x="1698" y="946"/>
                    <a:pt x="1710" y="890"/>
                    <a:pt x="1690" y="847"/>
                  </a:cubicBezTo>
                  <a:cubicBezTo>
                    <a:pt x="1671" y="804"/>
                    <a:pt x="1706" y="764"/>
                    <a:pt x="1690" y="741"/>
                  </a:cubicBezTo>
                  <a:cubicBezTo>
                    <a:pt x="1675" y="717"/>
                    <a:pt x="1698" y="670"/>
                    <a:pt x="1702" y="654"/>
                  </a:cubicBezTo>
                  <a:cubicBezTo>
                    <a:pt x="1706" y="638"/>
                    <a:pt x="1745" y="615"/>
                    <a:pt x="1741" y="575"/>
                  </a:cubicBezTo>
                  <a:cubicBezTo>
                    <a:pt x="1739" y="551"/>
                    <a:pt x="1751" y="536"/>
                    <a:pt x="1764" y="530"/>
                  </a:cubicBezTo>
                  <a:cubicBezTo>
                    <a:pt x="1750" y="490"/>
                    <a:pt x="1746" y="420"/>
                    <a:pt x="1746" y="408"/>
                  </a:cubicBezTo>
                  <a:cubicBezTo>
                    <a:pt x="1746" y="393"/>
                    <a:pt x="1699" y="393"/>
                    <a:pt x="1675" y="396"/>
                  </a:cubicBezTo>
                  <a:cubicBezTo>
                    <a:pt x="1651" y="399"/>
                    <a:pt x="1631" y="340"/>
                    <a:pt x="1607" y="340"/>
                  </a:cubicBezTo>
                  <a:cubicBezTo>
                    <a:pt x="1584" y="340"/>
                    <a:pt x="1563" y="322"/>
                    <a:pt x="1563" y="304"/>
                  </a:cubicBezTo>
                  <a:cubicBezTo>
                    <a:pt x="1563" y="287"/>
                    <a:pt x="1507" y="275"/>
                    <a:pt x="1477" y="278"/>
                  </a:cubicBezTo>
                  <a:cubicBezTo>
                    <a:pt x="1448" y="281"/>
                    <a:pt x="1442" y="254"/>
                    <a:pt x="1430" y="254"/>
                  </a:cubicBezTo>
                  <a:cubicBezTo>
                    <a:pt x="1418" y="254"/>
                    <a:pt x="1371" y="239"/>
                    <a:pt x="1356" y="222"/>
                  </a:cubicBezTo>
                  <a:cubicBezTo>
                    <a:pt x="1342" y="204"/>
                    <a:pt x="1256" y="198"/>
                    <a:pt x="1241" y="219"/>
                  </a:cubicBezTo>
                  <a:cubicBezTo>
                    <a:pt x="1226" y="239"/>
                    <a:pt x="1197" y="228"/>
                    <a:pt x="1170" y="228"/>
                  </a:cubicBezTo>
                  <a:cubicBezTo>
                    <a:pt x="1144" y="228"/>
                    <a:pt x="1097" y="269"/>
                    <a:pt x="1082" y="290"/>
                  </a:cubicBezTo>
                  <a:cubicBezTo>
                    <a:pt x="1073" y="302"/>
                    <a:pt x="1031" y="305"/>
                    <a:pt x="999" y="305"/>
                  </a:cubicBezTo>
                  <a:cubicBezTo>
                    <a:pt x="1001" y="331"/>
                    <a:pt x="1001" y="351"/>
                    <a:pt x="996" y="357"/>
                  </a:cubicBezTo>
                  <a:cubicBezTo>
                    <a:pt x="981" y="381"/>
                    <a:pt x="866" y="402"/>
                    <a:pt x="781" y="405"/>
                  </a:cubicBezTo>
                  <a:cubicBezTo>
                    <a:pt x="695" y="408"/>
                    <a:pt x="689" y="296"/>
                    <a:pt x="598" y="296"/>
                  </a:cubicBezTo>
                  <a:cubicBezTo>
                    <a:pt x="531" y="296"/>
                    <a:pt x="480" y="235"/>
                    <a:pt x="477" y="178"/>
                  </a:cubicBezTo>
                  <a:cubicBezTo>
                    <a:pt x="438" y="163"/>
                    <a:pt x="400" y="137"/>
                    <a:pt x="406" y="126"/>
                  </a:cubicBezTo>
                  <a:cubicBezTo>
                    <a:pt x="413" y="110"/>
                    <a:pt x="433" y="12"/>
                    <a:pt x="386" y="35"/>
                  </a:cubicBezTo>
                  <a:cubicBezTo>
                    <a:pt x="339" y="59"/>
                    <a:pt x="272" y="134"/>
                    <a:pt x="185" y="122"/>
                  </a:cubicBezTo>
                  <a:cubicBezTo>
                    <a:pt x="98" y="110"/>
                    <a:pt x="161" y="102"/>
                    <a:pt x="118" y="83"/>
                  </a:cubicBezTo>
                  <a:cubicBezTo>
                    <a:pt x="74" y="63"/>
                    <a:pt x="102" y="15"/>
                    <a:pt x="59" y="8"/>
                  </a:cubicBezTo>
                  <a:cubicBezTo>
                    <a:pt x="15" y="0"/>
                    <a:pt x="47" y="59"/>
                    <a:pt x="23" y="59"/>
                  </a:cubicBezTo>
                  <a:cubicBezTo>
                    <a:pt x="0" y="59"/>
                    <a:pt x="19" y="126"/>
                    <a:pt x="27" y="142"/>
                  </a:cubicBezTo>
                  <a:cubicBezTo>
                    <a:pt x="35" y="157"/>
                    <a:pt x="11" y="244"/>
                    <a:pt x="27" y="248"/>
                  </a:cubicBezTo>
                  <a:cubicBezTo>
                    <a:pt x="43" y="252"/>
                    <a:pt x="78" y="315"/>
                    <a:pt x="74" y="327"/>
                  </a:cubicBezTo>
                  <a:cubicBezTo>
                    <a:pt x="70" y="339"/>
                    <a:pt x="110" y="378"/>
                    <a:pt x="110" y="406"/>
                  </a:cubicBezTo>
                  <a:cubicBezTo>
                    <a:pt x="110" y="433"/>
                    <a:pt x="145" y="465"/>
                    <a:pt x="165" y="465"/>
                  </a:cubicBezTo>
                  <a:cubicBezTo>
                    <a:pt x="185" y="465"/>
                    <a:pt x="212" y="477"/>
                    <a:pt x="205" y="500"/>
                  </a:cubicBezTo>
                  <a:cubicBezTo>
                    <a:pt x="197" y="524"/>
                    <a:pt x="216" y="559"/>
                    <a:pt x="193" y="559"/>
                  </a:cubicBezTo>
                  <a:cubicBezTo>
                    <a:pt x="169" y="559"/>
                    <a:pt x="173" y="626"/>
                    <a:pt x="153" y="638"/>
                  </a:cubicBezTo>
                  <a:cubicBezTo>
                    <a:pt x="134" y="650"/>
                    <a:pt x="149" y="721"/>
                    <a:pt x="165" y="729"/>
                  </a:cubicBezTo>
                  <a:cubicBezTo>
                    <a:pt x="181" y="737"/>
                    <a:pt x="216" y="756"/>
                    <a:pt x="212" y="784"/>
                  </a:cubicBezTo>
                  <a:cubicBezTo>
                    <a:pt x="208" y="812"/>
                    <a:pt x="295" y="855"/>
                    <a:pt x="323" y="859"/>
                  </a:cubicBezTo>
                  <a:cubicBezTo>
                    <a:pt x="350" y="863"/>
                    <a:pt x="354" y="902"/>
                    <a:pt x="370" y="918"/>
                  </a:cubicBezTo>
                  <a:cubicBezTo>
                    <a:pt x="386" y="934"/>
                    <a:pt x="358" y="965"/>
                    <a:pt x="362" y="985"/>
                  </a:cubicBezTo>
                  <a:cubicBezTo>
                    <a:pt x="366" y="1005"/>
                    <a:pt x="402" y="1020"/>
                    <a:pt x="398" y="1052"/>
                  </a:cubicBezTo>
                  <a:cubicBezTo>
                    <a:pt x="395" y="1071"/>
                    <a:pt x="427" y="1103"/>
                    <a:pt x="454" y="1131"/>
                  </a:cubicBezTo>
                  <a:cubicBezTo>
                    <a:pt x="463" y="1128"/>
                    <a:pt x="471" y="1126"/>
                    <a:pt x="478" y="1126"/>
                  </a:cubicBezTo>
                  <a:cubicBezTo>
                    <a:pt x="505" y="1126"/>
                    <a:pt x="503" y="1097"/>
                    <a:pt x="524" y="1115"/>
                  </a:cubicBezTo>
                  <a:cubicBezTo>
                    <a:pt x="545" y="1132"/>
                    <a:pt x="573" y="1113"/>
                    <a:pt x="593" y="1112"/>
                  </a:cubicBezTo>
                  <a:cubicBezTo>
                    <a:pt x="614" y="1110"/>
                    <a:pt x="670" y="1216"/>
                    <a:pt x="695" y="1268"/>
                  </a:cubicBezTo>
                  <a:cubicBezTo>
                    <a:pt x="720" y="1320"/>
                    <a:pt x="719" y="1337"/>
                    <a:pt x="753" y="1359"/>
                  </a:cubicBezTo>
                  <a:cubicBezTo>
                    <a:pt x="787" y="1382"/>
                    <a:pt x="825" y="1370"/>
                    <a:pt x="874" y="1420"/>
                  </a:cubicBezTo>
                  <a:cubicBezTo>
                    <a:pt x="922" y="1470"/>
                    <a:pt x="1048" y="1504"/>
                    <a:pt x="1101" y="1507"/>
                  </a:cubicBezTo>
                  <a:cubicBezTo>
                    <a:pt x="1154" y="1510"/>
                    <a:pt x="1194" y="1450"/>
                    <a:pt x="1262" y="1463"/>
                  </a:cubicBezTo>
                  <a:cubicBezTo>
                    <a:pt x="1330" y="1476"/>
                    <a:pt x="1313" y="1563"/>
                    <a:pt x="1339" y="1594"/>
                  </a:cubicBezTo>
                  <a:cubicBezTo>
                    <a:pt x="1364" y="1625"/>
                    <a:pt x="1640" y="1646"/>
                    <a:pt x="1687" y="1659"/>
                  </a:cubicBezTo>
                  <a:cubicBezTo>
                    <a:pt x="1704" y="1664"/>
                    <a:pt x="1745" y="1667"/>
                    <a:pt x="1791" y="1668"/>
                  </a:cubicBezTo>
                  <a:cubicBezTo>
                    <a:pt x="1790" y="1658"/>
                    <a:pt x="1789" y="1649"/>
                    <a:pt x="1789" y="1643"/>
                  </a:cubicBezTo>
                  <a:cubicBezTo>
                    <a:pt x="1785" y="1596"/>
                    <a:pt x="1820" y="1556"/>
                    <a:pt x="1852" y="1541"/>
                  </a:cubicBezTo>
                  <a:cubicBezTo>
                    <a:pt x="1883" y="1525"/>
                    <a:pt x="1911" y="1517"/>
                    <a:pt x="1943" y="1513"/>
                  </a:cubicBezTo>
                  <a:cubicBezTo>
                    <a:pt x="1974" y="1509"/>
                    <a:pt x="1943" y="1446"/>
                    <a:pt x="1919" y="14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7" name="Freeform 157"/>
            <p:cNvSpPr>
              <a:spLocks noEditPoints="1"/>
            </p:cNvSpPr>
            <p:nvPr/>
          </p:nvSpPr>
          <p:spPr bwMode="auto">
            <a:xfrm>
              <a:off x="13988003" y="5678645"/>
              <a:ext cx="2054012" cy="968368"/>
            </a:xfrm>
            <a:custGeom>
              <a:avLst/>
              <a:gdLst>
                <a:gd name="T0" fmla="*/ 3930 w 4066"/>
                <a:gd name="T1" fmla="*/ 794 h 1914"/>
                <a:gd name="T2" fmla="*/ 3796 w 4066"/>
                <a:gd name="T3" fmla="*/ 664 h 1914"/>
                <a:gd name="T4" fmla="*/ 3535 w 4066"/>
                <a:gd name="T5" fmla="*/ 624 h 1914"/>
                <a:gd name="T6" fmla="*/ 3296 w 4066"/>
                <a:gd name="T7" fmla="*/ 454 h 1914"/>
                <a:gd name="T8" fmla="*/ 3017 w 4066"/>
                <a:gd name="T9" fmla="*/ 155 h 1914"/>
                <a:gd name="T10" fmla="*/ 2743 w 4066"/>
                <a:gd name="T11" fmla="*/ 268 h 1914"/>
                <a:gd name="T12" fmla="*/ 2678 w 4066"/>
                <a:gd name="T13" fmla="*/ 190 h 1914"/>
                <a:gd name="T14" fmla="*/ 2521 w 4066"/>
                <a:gd name="T15" fmla="*/ 175 h 1914"/>
                <a:gd name="T16" fmla="*/ 2450 w 4066"/>
                <a:gd name="T17" fmla="*/ 22 h 1914"/>
                <a:gd name="T18" fmla="*/ 2103 w 4066"/>
                <a:gd name="T19" fmla="*/ 88 h 1914"/>
                <a:gd name="T20" fmla="*/ 1709 w 4066"/>
                <a:gd name="T21" fmla="*/ 177 h 1914"/>
                <a:gd name="T22" fmla="*/ 1510 w 4066"/>
                <a:gd name="T23" fmla="*/ 279 h 1914"/>
                <a:gd name="T24" fmla="*/ 1474 w 4066"/>
                <a:gd name="T25" fmla="*/ 412 h 1914"/>
                <a:gd name="T26" fmla="*/ 1510 w 4066"/>
                <a:gd name="T27" fmla="*/ 540 h 1914"/>
                <a:gd name="T28" fmla="*/ 1399 w 4066"/>
                <a:gd name="T29" fmla="*/ 615 h 1914"/>
                <a:gd name="T30" fmla="*/ 1248 w 4066"/>
                <a:gd name="T31" fmla="*/ 602 h 1914"/>
                <a:gd name="T32" fmla="*/ 996 w 4066"/>
                <a:gd name="T33" fmla="*/ 624 h 1914"/>
                <a:gd name="T34" fmla="*/ 819 w 4066"/>
                <a:gd name="T35" fmla="*/ 620 h 1914"/>
                <a:gd name="T36" fmla="*/ 549 w 4066"/>
                <a:gd name="T37" fmla="*/ 513 h 1914"/>
                <a:gd name="T38" fmla="*/ 314 w 4066"/>
                <a:gd name="T39" fmla="*/ 584 h 1914"/>
                <a:gd name="T40" fmla="*/ 226 w 4066"/>
                <a:gd name="T41" fmla="*/ 748 h 1914"/>
                <a:gd name="T42" fmla="*/ 35 w 4066"/>
                <a:gd name="T43" fmla="*/ 779 h 1914"/>
                <a:gd name="T44" fmla="*/ 9 w 4066"/>
                <a:gd name="T45" fmla="*/ 921 h 1914"/>
                <a:gd name="T46" fmla="*/ 155 w 4066"/>
                <a:gd name="T47" fmla="*/ 1009 h 1914"/>
                <a:gd name="T48" fmla="*/ 252 w 4066"/>
                <a:gd name="T49" fmla="*/ 1186 h 1914"/>
                <a:gd name="T50" fmla="*/ 512 w 4066"/>
                <a:gd name="T51" fmla="*/ 1124 h 1914"/>
                <a:gd name="T52" fmla="*/ 580 w 4066"/>
                <a:gd name="T53" fmla="*/ 1328 h 1914"/>
                <a:gd name="T54" fmla="*/ 391 w 4066"/>
                <a:gd name="T55" fmla="*/ 1461 h 1914"/>
                <a:gd name="T56" fmla="*/ 571 w 4066"/>
                <a:gd name="T57" fmla="*/ 1644 h 1914"/>
                <a:gd name="T58" fmla="*/ 663 w 4066"/>
                <a:gd name="T59" fmla="*/ 1747 h 1914"/>
                <a:gd name="T60" fmla="*/ 959 w 4066"/>
                <a:gd name="T61" fmla="*/ 1803 h 1914"/>
                <a:gd name="T62" fmla="*/ 1232 w 4066"/>
                <a:gd name="T63" fmla="*/ 1278 h 1914"/>
                <a:gd name="T64" fmla="*/ 1389 w 4066"/>
                <a:gd name="T65" fmla="*/ 1293 h 1914"/>
                <a:gd name="T66" fmla="*/ 1689 w 4066"/>
                <a:gd name="T67" fmla="*/ 1543 h 1914"/>
                <a:gd name="T68" fmla="*/ 1992 w 4066"/>
                <a:gd name="T69" fmla="*/ 1705 h 1914"/>
                <a:gd name="T70" fmla="*/ 2217 w 4066"/>
                <a:gd name="T71" fmla="*/ 1882 h 1914"/>
                <a:gd name="T72" fmla="*/ 2424 w 4066"/>
                <a:gd name="T73" fmla="*/ 1782 h 1914"/>
                <a:gd name="T74" fmla="*/ 2652 w 4066"/>
                <a:gd name="T75" fmla="*/ 1656 h 1914"/>
                <a:gd name="T76" fmla="*/ 2977 w 4066"/>
                <a:gd name="T77" fmla="*/ 1638 h 1914"/>
                <a:gd name="T78" fmla="*/ 3411 w 4066"/>
                <a:gd name="T79" fmla="*/ 1712 h 1914"/>
                <a:gd name="T80" fmla="*/ 3422 w 4066"/>
                <a:gd name="T81" fmla="*/ 1485 h 1914"/>
                <a:gd name="T82" fmla="*/ 3551 w 4066"/>
                <a:gd name="T83" fmla="*/ 1341 h 1914"/>
                <a:gd name="T84" fmla="*/ 3684 w 4066"/>
                <a:gd name="T85" fmla="*/ 1121 h 1914"/>
                <a:gd name="T86" fmla="*/ 3937 w 4066"/>
                <a:gd name="T87" fmla="*/ 1094 h 1914"/>
                <a:gd name="T88" fmla="*/ 4031 w 4066"/>
                <a:gd name="T89" fmla="*/ 884 h 1914"/>
                <a:gd name="T90" fmla="*/ 1519 w 4066"/>
                <a:gd name="T91" fmla="*/ 1215 h 1914"/>
                <a:gd name="T92" fmla="*/ 3195 w 4066"/>
                <a:gd name="T93" fmla="*/ 1204 h 1914"/>
                <a:gd name="T94" fmla="*/ 2790 w 4066"/>
                <a:gd name="T95" fmla="*/ 1207 h 1914"/>
                <a:gd name="T96" fmla="*/ 3195 w 4066"/>
                <a:gd name="T97" fmla="*/ 1204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66" h="1914">
                  <a:moveTo>
                    <a:pt x="4045" y="782"/>
                  </a:moveTo>
                  <a:cubicBezTo>
                    <a:pt x="4042" y="761"/>
                    <a:pt x="4024" y="770"/>
                    <a:pt x="4010" y="779"/>
                  </a:cubicBezTo>
                  <a:cubicBezTo>
                    <a:pt x="3995" y="788"/>
                    <a:pt x="3948" y="794"/>
                    <a:pt x="3930" y="794"/>
                  </a:cubicBezTo>
                  <a:cubicBezTo>
                    <a:pt x="3912" y="794"/>
                    <a:pt x="3880" y="770"/>
                    <a:pt x="3880" y="752"/>
                  </a:cubicBezTo>
                  <a:cubicBezTo>
                    <a:pt x="3880" y="735"/>
                    <a:pt x="3876" y="715"/>
                    <a:pt x="3858" y="715"/>
                  </a:cubicBezTo>
                  <a:cubicBezTo>
                    <a:pt x="3841" y="715"/>
                    <a:pt x="3814" y="706"/>
                    <a:pt x="3796" y="664"/>
                  </a:cubicBezTo>
                  <a:cubicBezTo>
                    <a:pt x="3779" y="622"/>
                    <a:pt x="3752" y="622"/>
                    <a:pt x="3732" y="611"/>
                  </a:cubicBezTo>
                  <a:cubicBezTo>
                    <a:pt x="3712" y="600"/>
                    <a:pt x="3657" y="631"/>
                    <a:pt x="3632" y="640"/>
                  </a:cubicBezTo>
                  <a:cubicBezTo>
                    <a:pt x="3608" y="648"/>
                    <a:pt x="3566" y="631"/>
                    <a:pt x="3535" y="624"/>
                  </a:cubicBezTo>
                  <a:cubicBezTo>
                    <a:pt x="3504" y="617"/>
                    <a:pt x="3486" y="562"/>
                    <a:pt x="3458" y="569"/>
                  </a:cubicBezTo>
                  <a:cubicBezTo>
                    <a:pt x="3429" y="575"/>
                    <a:pt x="3422" y="633"/>
                    <a:pt x="3400" y="633"/>
                  </a:cubicBezTo>
                  <a:cubicBezTo>
                    <a:pt x="3378" y="633"/>
                    <a:pt x="3338" y="518"/>
                    <a:pt x="3296" y="454"/>
                  </a:cubicBezTo>
                  <a:cubicBezTo>
                    <a:pt x="3254" y="389"/>
                    <a:pt x="3179" y="261"/>
                    <a:pt x="3112" y="237"/>
                  </a:cubicBezTo>
                  <a:cubicBezTo>
                    <a:pt x="3046" y="212"/>
                    <a:pt x="3066" y="179"/>
                    <a:pt x="3083" y="161"/>
                  </a:cubicBezTo>
                  <a:cubicBezTo>
                    <a:pt x="3101" y="144"/>
                    <a:pt x="3044" y="139"/>
                    <a:pt x="3017" y="155"/>
                  </a:cubicBezTo>
                  <a:cubicBezTo>
                    <a:pt x="2990" y="170"/>
                    <a:pt x="2957" y="199"/>
                    <a:pt x="2926" y="206"/>
                  </a:cubicBezTo>
                  <a:cubicBezTo>
                    <a:pt x="2895" y="212"/>
                    <a:pt x="2851" y="261"/>
                    <a:pt x="2818" y="250"/>
                  </a:cubicBezTo>
                  <a:cubicBezTo>
                    <a:pt x="2785" y="239"/>
                    <a:pt x="2769" y="292"/>
                    <a:pt x="2743" y="268"/>
                  </a:cubicBezTo>
                  <a:cubicBezTo>
                    <a:pt x="2716" y="243"/>
                    <a:pt x="2778" y="226"/>
                    <a:pt x="2778" y="203"/>
                  </a:cubicBezTo>
                  <a:cubicBezTo>
                    <a:pt x="2778" y="181"/>
                    <a:pt x="2736" y="210"/>
                    <a:pt x="2725" y="197"/>
                  </a:cubicBezTo>
                  <a:cubicBezTo>
                    <a:pt x="2714" y="184"/>
                    <a:pt x="2678" y="170"/>
                    <a:pt x="2678" y="190"/>
                  </a:cubicBezTo>
                  <a:cubicBezTo>
                    <a:pt x="2678" y="210"/>
                    <a:pt x="2650" y="199"/>
                    <a:pt x="2650" y="184"/>
                  </a:cubicBezTo>
                  <a:cubicBezTo>
                    <a:pt x="2650" y="168"/>
                    <a:pt x="2630" y="139"/>
                    <a:pt x="2612" y="159"/>
                  </a:cubicBezTo>
                  <a:cubicBezTo>
                    <a:pt x="2594" y="179"/>
                    <a:pt x="2534" y="190"/>
                    <a:pt x="2521" y="175"/>
                  </a:cubicBezTo>
                  <a:cubicBezTo>
                    <a:pt x="2508" y="159"/>
                    <a:pt x="2530" y="153"/>
                    <a:pt x="2532" y="133"/>
                  </a:cubicBezTo>
                  <a:cubicBezTo>
                    <a:pt x="2534" y="113"/>
                    <a:pt x="2510" y="86"/>
                    <a:pt x="2515" y="62"/>
                  </a:cubicBezTo>
                  <a:cubicBezTo>
                    <a:pt x="2519" y="37"/>
                    <a:pt x="2472" y="13"/>
                    <a:pt x="2450" y="22"/>
                  </a:cubicBezTo>
                  <a:cubicBezTo>
                    <a:pt x="2428" y="31"/>
                    <a:pt x="2397" y="22"/>
                    <a:pt x="2373" y="11"/>
                  </a:cubicBezTo>
                  <a:cubicBezTo>
                    <a:pt x="2349" y="0"/>
                    <a:pt x="2253" y="18"/>
                    <a:pt x="2249" y="40"/>
                  </a:cubicBezTo>
                  <a:cubicBezTo>
                    <a:pt x="2244" y="62"/>
                    <a:pt x="2125" y="80"/>
                    <a:pt x="2103" y="88"/>
                  </a:cubicBezTo>
                  <a:cubicBezTo>
                    <a:pt x="2081" y="97"/>
                    <a:pt x="1992" y="110"/>
                    <a:pt x="1961" y="115"/>
                  </a:cubicBezTo>
                  <a:cubicBezTo>
                    <a:pt x="1930" y="119"/>
                    <a:pt x="1899" y="146"/>
                    <a:pt x="1859" y="146"/>
                  </a:cubicBezTo>
                  <a:cubicBezTo>
                    <a:pt x="1819" y="146"/>
                    <a:pt x="1744" y="150"/>
                    <a:pt x="1709" y="177"/>
                  </a:cubicBezTo>
                  <a:cubicBezTo>
                    <a:pt x="1673" y="203"/>
                    <a:pt x="1616" y="181"/>
                    <a:pt x="1589" y="190"/>
                  </a:cubicBezTo>
                  <a:cubicBezTo>
                    <a:pt x="1563" y="199"/>
                    <a:pt x="1518" y="186"/>
                    <a:pt x="1505" y="195"/>
                  </a:cubicBezTo>
                  <a:cubicBezTo>
                    <a:pt x="1492" y="203"/>
                    <a:pt x="1496" y="257"/>
                    <a:pt x="1510" y="279"/>
                  </a:cubicBezTo>
                  <a:cubicBezTo>
                    <a:pt x="1523" y="301"/>
                    <a:pt x="1594" y="310"/>
                    <a:pt x="1598" y="323"/>
                  </a:cubicBezTo>
                  <a:cubicBezTo>
                    <a:pt x="1603" y="336"/>
                    <a:pt x="1527" y="336"/>
                    <a:pt x="1492" y="341"/>
                  </a:cubicBezTo>
                  <a:cubicBezTo>
                    <a:pt x="1456" y="345"/>
                    <a:pt x="1465" y="389"/>
                    <a:pt x="1474" y="412"/>
                  </a:cubicBezTo>
                  <a:cubicBezTo>
                    <a:pt x="1483" y="434"/>
                    <a:pt x="1439" y="456"/>
                    <a:pt x="1412" y="465"/>
                  </a:cubicBezTo>
                  <a:cubicBezTo>
                    <a:pt x="1386" y="473"/>
                    <a:pt x="1412" y="518"/>
                    <a:pt x="1439" y="518"/>
                  </a:cubicBezTo>
                  <a:cubicBezTo>
                    <a:pt x="1465" y="518"/>
                    <a:pt x="1487" y="540"/>
                    <a:pt x="1510" y="540"/>
                  </a:cubicBezTo>
                  <a:cubicBezTo>
                    <a:pt x="1532" y="540"/>
                    <a:pt x="1536" y="584"/>
                    <a:pt x="1536" y="611"/>
                  </a:cubicBezTo>
                  <a:cubicBezTo>
                    <a:pt x="1536" y="637"/>
                    <a:pt x="1510" y="646"/>
                    <a:pt x="1474" y="646"/>
                  </a:cubicBezTo>
                  <a:cubicBezTo>
                    <a:pt x="1439" y="646"/>
                    <a:pt x="1421" y="620"/>
                    <a:pt x="1399" y="615"/>
                  </a:cubicBezTo>
                  <a:cubicBezTo>
                    <a:pt x="1377" y="611"/>
                    <a:pt x="1381" y="655"/>
                    <a:pt x="1363" y="664"/>
                  </a:cubicBezTo>
                  <a:cubicBezTo>
                    <a:pt x="1346" y="673"/>
                    <a:pt x="1341" y="633"/>
                    <a:pt x="1315" y="633"/>
                  </a:cubicBezTo>
                  <a:cubicBezTo>
                    <a:pt x="1288" y="633"/>
                    <a:pt x="1257" y="628"/>
                    <a:pt x="1248" y="602"/>
                  </a:cubicBezTo>
                  <a:cubicBezTo>
                    <a:pt x="1240" y="575"/>
                    <a:pt x="1177" y="571"/>
                    <a:pt x="1151" y="598"/>
                  </a:cubicBezTo>
                  <a:cubicBezTo>
                    <a:pt x="1124" y="624"/>
                    <a:pt x="1116" y="611"/>
                    <a:pt x="1093" y="593"/>
                  </a:cubicBezTo>
                  <a:cubicBezTo>
                    <a:pt x="1071" y="575"/>
                    <a:pt x="1005" y="602"/>
                    <a:pt x="996" y="624"/>
                  </a:cubicBezTo>
                  <a:cubicBezTo>
                    <a:pt x="987" y="646"/>
                    <a:pt x="938" y="655"/>
                    <a:pt x="903" y="633"/>
                  </a:cubicBezTo>
                  <a:cubicBezTo>
                    <a:pt x="868" y="611"/>
                    <a:pt x="845" y="602"/>
                    <a:pt x="845" y="633"/>
                  </a:cubicBezTo>
                  <a:cubicBezTo>
                    <a:pt x="845" y="664"/>
                    <a:pt x="819" y="637"/>
                    <a:pt x="819" y="620"/>
                  </a:cubicBezTo>
                  <a:cubicBezTo>
                    <a:pt x="819" y="602"/>
                    <a:pt x="761" y="567"/>
                    <a:pt x="735" y="549"/>
                  </a:cubicBezTo>
                  <a:cubicBezTo>
                    <a:pt x="708" y="531"/>
                    <a:pt x="624" y="531"/>
                    <a:pt x="620" y="513"/>
                  </a:cubicBezTo>
                  <a:cubicBezTo>
                    <a:pt x="615" y="496"/>
                    <a:pt x="562" y="482"/>
                    <a:pt x="549" y="513"/>
                  </a:cubicBezTo>
                  <a:cubicBezTo>
                    <a:pt x="536" y="544"/>
                    <a:pt x="513" y="522"/>
                    <a:pt x="496" y="513"/>
                  </a:cubicBezTo>
                  <a:cubicBezTo>
                    <a:pt x="478" y="505"/>
                    <a:pt x="438" y="527"/>
                    <a:pt x="420" y="535"/>
                  </a:cubicBezTo>
                  <a:cubicBezTo>
                    <a:pt x="403" y="544"/>
                    <a:pt x="345" y="584"/>
                    <a:pt x="314" y="584"/>
                  </a:cubicBezTo>
                  <a:cubicBezTo>
                    <a:pt x="283" y="584"/>
                    <a:pt x="301" y="624"/>
                    <a:pt x="261" y="633"/>
                  </a:cubicBezTo>
                  <a:cubicBezTo>
                    <a:pt x="221" y="642"/>
                    <a:pt x="230" y="668"/>
                    <a:pt x="235" y="686"/>
                  </a:cubicBezTo>
                  <a:cubicBezTo>
                    <a:pt x="239" y="704"/>
                    <a:pt x="261" y="735"/>
                    <a:pt x="226" y="748"/>
                  </a:cubicBezTo>
                  <a:cubicBezTo>
                    <a:pt x="190" y="761"/>
                    <a:pt x="177" y="704"/>
                    <a:pt x="146" y="682"/>
                  </a:cubicBezTo>
                  <a:cubicBezTo>
                    <a:pt x="115" y="659"/>
                    <a:pt x="88" y="686"/>
                    <a:pt x="88" y="717"/>
                  </a:cubicBezTo>
                  <a:cubicBezTo>
                    <a:pt x="88" y="748"/>
                    <a:pt x="53" y="748"/>
                    <a:pt x="35" y="779"/>
                  </a:cubicBezTo>
                  <a:cubicBezTo>
                    <a:pt x="18" y="810"/>
                    <a:pt x="66" y="814"/>
                    <a:pt x="66" y="828"/>
                  </a:cubicBezTo>
                  <a:cubicBezTo>
                    <a:pt x="66" y="841"/>
                    <a:pt x="40" y="854"/>
                    <a:pt x="31" y="859"/>
                  </a:cubicBezTo>
                  <a:cubicBezTo>
                    <a:pt x="22" y="863"/>
                    <a:pt x="0" y="907"/>
                    <a:pt x="9" y="921"/>
                  </a:cubicBezTo>
                  <a:cubicBezTo>
                    <a:pt x="18" y="934"/>
                    <a:pt x="71" y="930"/>
                    <a:pt x="66" y="961"/>
                  </a:cubicBezTo>
                  <a:cubicBezTo>
                    <a:pt x="62" y="991"/>
                    <a:pt x="57" y="1022"/>
                    <a:pt x="84" y="1014"/>
                  </a:cubicBezTo>
                  <a:cubicBezTo>
                    <a:pt x="111" y="1005"/>
                    <a:pt x="137" y="1009"/>
                    <a:pt x="155" y="1009"/>
                  </a:cubicBezTo>
                  <a:cubicBezTo>
                    <a:pt x="173" y="1009"/>
                    <a:pt x="186" y="1045"/>
                    <a:pt x="217" y="1080"/>
                  </a:cubicBezTo>
                  <a:cubicBezTo>
                    <a:pt x="248" y="1115"/>
                    <a:pt x="261" y="1133"/>
                    <a:pt x="230" y="1142"/>
                  </a:cubicBezTo>
                  <a:cubicBezTo>
                    <a:pt x="199" y="1151"/>
                    <a:pt x="212" y="1169"/>
                    <a:pt x="252" y="1186"/>
                  </a:cubicBezTo>
                  <a:cubicBezTo>
                    <a:pt x="263" y="1191"/>
                    <a:pt x="274" y="1198"/>
                    <a:pt x="284" y="1206"/>
                  </a:cubicBezTo>
                  <a:cubicBezTo>
                    <a:pt x="291" y="1201"/>
                    <a:pt x="297" y="1197"/>
                    <a:pt x="302" y="1192"/>
                  </a:cubicBezTo>
                  <a:cubicBezTo>
                    <a:pt x="353" y="1148"/>
                    <a:pt x="444" y="1107"/>
                    <a:pt x="512" y="1124"/>
                  </a:cubicBezTo>
                  <a:cubicBezTo>
                    <a:pt x="580" y="1142"/>
                    <a:pt x="636" y="1113"/>
                    <a:pt x="665" y="1154"/>
                  </a:cubicBezTo>
                  <a:cubicBezTo>
                    <a:pt x="695" y="1195"/>
                    <a:pt x="665" y="1272"/>
                    <a:pt x="677" y="1301"/>
                  </a:cubicBezTo>
                  <a:cubicBezTo>
                    <a:pt x="689" y="1331"/>
                    <a:pt x="624" y="1334"/>
                    <a:pt x="580" y="1328"/>
                  </a:cubicBezTo>
                  <a:cubicBezTo>
                    <a:pt x="536" y="1322"/>
                    <a:pt x="444" y="1346"/>
                    <a:pt x="456" y="1372"/>
                  </a:cubicBezTo>
                  <a:cubicBezTo>
                    <a:pt x="468" y="1399"/>
                    <a:pt x="500" y="1461"/>
                    <a:pt x="441" y="1428"/>
                  </a:cubicBezTo>
                  <a:cubicBezTo>
                    <a:pt x="382" y="1396"/>
                    <a:pt x="358" y="1461"/>
                    <a:pt x="391" y="1461"/>
                  </a:cubicBezTo>
                  <a:cubicBezTo>
                    <a:pt x="423" y="1461"/>
                    <a:pt x="468" y="1499"/>
                    <a:pt x="468" y="1526"/>
                  </a:cubicBezTo>
                  <a:cubicBezTo>
                    <a:pt x="468" y="1552"/>
                    <a:pt x="471" y="1611"/>
                    <a:pt x="500" y="1602"/>
                  </a:cubicBezTo>
                  <a:cubicBezTo>
                    <a:pt x="530" y="1594"/>
                    <a:pt x="530" y="1647"/>
                    <a:pt x="571" y="1644"/>
                  </a:cubicBezTo>
                  <a:cubicBezTo>
                    <a:pt x="612" y="1641"/>
                    <a:pt x="651" y="1656"/>
                    <a:pt x="618" y="1694"/>
                  </a:cubicBezTo>
                  <a:cubicBezTo>
                    <a:pt x="586" y="1732"/>
                    <a:pt x="639" y="1839"/>
                    <a:pt x="651" y="1815"/>
                  </a:cubicBezTo>
                  <a:cubicBezTo>
                    <a:pt x="658" y="1800"/>
                    <a:pt x="652" y="1768"/>
                    <a:pt x="663" y="1747"/>
                  </a:cubicBezTo>
                  <a:cubicBezTo>
                    <a:pt x="640" y="1693"/>
                    <a:pt x="738" y="1693"/>
                    <a:pt x="766" y="1693"/>
                  </a:cubicBezTo>
                  <a:cubicBezTo>
                    <a:pt x="798" y="1693"/>
                    <a:pt x="853" y="1740"/>
                    <a:pt x="888" y="1788"/>
                  </a:cubicBezTo>
                  <a:cubicBezTo>
                    <a:pt x="924" y="1835"/>
                    <a:pt x="959" y="1803"/>
                    <a:pt x="959" y="1803"/>
                  </a:cubicBezTo>
                  <a:cubicBezTo>
                    <a:pt x="971" y="1362"/>
                    <a:pt x="971" y="1362"/>
                    <a:pt x="971" y="1362"/>
                  </a:cubicBezTo>
                  <a:cubicBezTo>
                    <a:pt x="1224" y="1295"/>
                    <a:pt x="1224" y="1295"/>
                    <a:pt x="1224" y="1295"/>
                  </a:cubicBezTo>
                  <a:cubicBezTo>
                    <a:pt x="1226" y="1288"/>
                    <a:pt x="1229" y="1283"/>
                    <a:pt x="1232" y="1278"/>
                  </a:cubicBezTo>
                  <a:cubicBezTo>
                    <a:pt x="1265" y="1231"/>
                    <a:pt x="1308" y="1270"/>
                    <a:pt x="1324" y="1281"/>
                  </a:cubicBezTo>
                  <a:cubicBezTo>
                    <a:pt x="1336" y="1290"/>
                    <a:pt x="1329" y="1231"/>
                    <a:pt x="1365" y="1234"/>
                  </a:cubicBezTo>
                  <a:cubicBezTo>
                    <a:pt x="1400" y="1237"/>
                    <a:pt x="1362" y="1293"/>
                    <a:pt x="1389" y="1293"/>
                  </a:cubicBezTo>
                  <a:cubicBezTo>
                    <a:pt x="1409" y="1293"/>
                    <a:pt x="1457" y="1366"/>
                    <a:pt x="1442" y="1424"/>
                  </a:cubicBezTo>
                  <a:cubicBezTo>
                    <a:pt x="1481" y="1456"/>
                    <a:pt x="1552" y="1532"/>
                    <a:pt x="1558" y="1551"/>
                  </a:cubicBezTo>
                  <a:cubicBezTo>
                    <a:pt x="1566" y="1575"/>
                    <a:pt x="1669" y="1535"/>
                    <a:pt x="1689" y="1543"/>
                  </a:cubicBezTo>
                  <a:cubicBezTo>
                    <a:pt x="1708" y="1551"/>
                    <a:pt x="1862" y="1551"/>
                    <a:pt x="1890" y="1551"/>
                  </a:cubicBezTo>
                  <a:cubicBezTo>
                    <a:pt x="1917" y="1551"/>
                    <a:pt x="1937" y="1602"/>
                    <a:pt x="1968" y="1610"/>
                  </a:cubicBezTo>
                  <a:cubicBezTo>
                    <a:pt x="2000" y="1618"/>
                    <a:pt x="1988" y="1669"/>
                    <a:pt x="1992" y="1705"/>
                  </a:cubicBezTo>
                  <a:cubicBezTo>
                    <a:pt x="1996" y="1740"/>
                    <a:pt x="2043" y="1776"/>
                    <a:pt x="2047" y="1807"/>
                  </a:cubicBezTo>
                  <a:cubicBezTo>
                    <a:pt x="2051" y="1839"/>
                    <a:pt x="2102" y="1823"/>
                    <a:pt x="2134" y="1831"/>
                  </a:cubicBezTo>
                  <a:cubicBezTo>
                    <a:pt x="2165" y="1839"/>
                    <a:pt x="2213" y="1851"/>
                    <a:pt x="2217" y="1882"/>
                  </a:cubicBezTo>
                  <a:cubicBezTo>
                    <a:pt x="2221" y="1914"/>
                    <a:pt x="2260" y="1890"/>
                    <a:pt x="2264" y="1866"/>
                  </a:cubicBezTo>
                  <a:cubicBezTo>
                    <a:pt x="2268" y="1843"/>
                    <a:pt x="2307" y="1811"/>
                    <a:pt x="2366" y="1788"/>
                  </a:cubicBezTo>
                  <a:cubicBezTo>
                    <a:pt x="2393" y="1777"/>
                    <a:pt x="2411" y="1777"/>
                    <a:pt x="2424" y="1782"/>
                  </a:cubicBezTo>
                  <a:cubicBezTo>
                    <a:pt x="2435" y="1754"/>
                    <a:pt x="2446" y="1730"/>
                    <a:pt x="2454" y="1726"/>
                  </a:cubicBezTo>
                  <a:cubicBezTo>
                    <a:pt x="2475" y="1718"/>
                    <a:pt x="2513" y="1688"/>
                    <a:pt x="2516" y="1659"/>
                  </a:cubicBezTo>
                  <a:cubicBezTo>
                    <a:pt x="2519" y="1629"/>
                    <a:pt x="2599" y="1629"/>
                    <a:pt x="2652" y="1656"/>
                  </a:cubicBezTo>
                  <a:cubicBezTo>
                    <a:pt x="2705" y="1682"/>
                    <a:pt x="2737" y="1682"/>
                    <a:pt x="2740" y="1641"/>
                  </a:cubicBezTo>
                  <a:cubicBezTo>
                    <a:pt x="2743" y="1600"/>
                    <a:pt x="2820" y="1588"/>
                    <a:pt x="2844" y="1600"/>
                  </a:cubicBezTo>
                  <a:cubicBezTo>
                    <a:pt x="2867" y="1611"/>
                    <a:pt x="2941" y="1653"/>
                    <a:pt x="2977" y="1638"/>
                  </a:cubicBezTo>
                  <a:cubicBezTo>
                    <a:pt x="3012" y="1623"/>
                    <a:pt x="3189" y="1641"/>
                    <a:pt x="3233" y="1653"/>
                  </a:cubicBezTo>
                  <a:cubicBezTo>
                    <a:pt x="3278" y="1664"/>
                    <a:pt x="3289" y="1635"/>
                    <a:pt x="3328" y="1679"/>
                  </a:cubicBezTo>
                  <a:cubicBezTo>
                    <a:pt x="3360" y="1716"/>
                    <a:pt x="3376" y="1683"/>
                    <a:pt x="3411" y="1712"/>
                  </a:cubicBezTo>
                  <a:cubicBezTo>
                    <a:pt x="3411" y="1700"/>
                    <a:pt x="3409" y="1686"/>
                    <a:pt x="3409" y="1671"/>
                  </a:cubicBezTo>
                  <a:cubicBezTo>
                    <a:pt x="3409" y="1642"/>
                    <a:pt x="3453" y="1618"/>
                    <a:pt x="3462" y="1596"/>
                  </a:cubicBezTo>
                  <a:cubicBezTo>
                    <a:pt x="3471" y="1574"/>
                    <a:pt x="3422" y="1507"/>
                    <a:pt x="3422" y="1485"/>
                  </a:cubicBezTo>
                  <a:cubicBezTo>
                    <a:pt x="3422" y="1463"/>
                    <a:pt x="3422" y="1410"/>
                    <a:pt x="3400" y="1399"/>
                  </a:cubicBezTo>
                  <a:cubicBezTo>
                    <a:pt x="3378" y="1388"/>
                    <a:pt x="3442" y="1359"/>
                    <a:pt x="3457" y="1360"/>
                  </a:cubicBezTo>
                  <a:cubicBezTo>
                    <a:pt x="3490" y="1361"/>
                    <a:pt x="3537" y="1327"/>
                    <a:pt x="3551" y="1341"/>
                  </a:cubicBezTo>
                  <a:cubicBezTo>
                    <a:pt x="3566" y="1356"/>
                    <a:pt x="3594" y="1360"/>
                    <a:pt x="3623" y="1360"/>
                  </a:cubicBezTo>
                  <a:cubicBezTo>
                    <a:pt x="3651" y="1360"/>
                    <a:pt x="3639" y="1327"/>
                    <a:pt x="3623" y="1313"/>
                  </a:cubicBezTo>
                  <a:cubicBezTo>
                    <a:pt x="3606" y="1298"/>
                    <a:pt x="3674" y="1166"/>
                    <a:pt x="3684" y="1121"/>
                  </a:cubicBezTo>
                  <a:cubicBezTo>
                    <a:pt x="3694" y="1076"/>
                    <a:pt x="3719" y="1117"/>
                    <a:pt x="3751" y="1121"/>
                  </a:cubicBezTo>
                  <a:cubicBezTo>
                    <a:pt x="3784" y="1125"/>
                    <a:pt x="3823" y="1119"/>
                    <a:pt x="3843" y="1129"/>
                  </a:cubicBezTo>
                  <a:cubicBezTo>
                    <a:pt x="3864" y="1139"/>
                    <a:pt x="3923" y="1117"/>
                    <a:pt x="3937" y="1094"/>
                  </a:cubicBezTo>
                  <a:cubicBezTo>
                    <a:pt x="3952" y="1072"/>
                    <a:pt x="3921" y="1066"/>
                    <a:pt x="3923" y="1014"/>
                  </a:cubicBezTo>
                  <a:cubicBezTo>
                    <a:pt x="3925" y="963"/>
                    <a:pt x="3956" y="939"/>
                    <a:pt x="3988" y="939"/>
                  </a:cubicBezTo>
                  <a:cubicBezTo>
                    <a:pt x="4021" y="939"/>
                    <a:pt x="4031" y="908"/>
                    <a:pt x="4031" y="884"/>
                  </a:cubicBezTo>
                  <a:cubicBezTo>
                    <a:pt x="4031" y="862"/>
                    <a:pt x="4058" y="848"/>
                    <a:pt x="4066" y="819"/>
                  </a:cubicBezTo>
                  <a:cubicBezTo>
                    <a:pt x="4055" y="808"/>
                    <a:pt x="4047" y="793"/>
                    <a:pt x="4045" y="782"/>
                  </a:cubicBezTo>
                  <a:close/>
                  <a:moveTo>
                    <a:pt x="1519" y="1215"/>
                  </a:moveTo>
                  <a:cubicBezTo>
                    <a:pt x="1507" y="1231"/>
                    <a:pt x="1390" y="1201"/>
                    <a:pt x="1381" y="1177"/>
                  </a:cubicBezTo>
                  <a:cubicBezTo>
                    <a:pt x="1370" y="1151"/>
                    <a:pt x="1544" y="1180"/>
                    <a:pt x="1519" y="1215"/>
                  </a:cubicBezTo>
                  <a:close/>
                  <a:moveTo>
                    <a:pt x="3195" y="1204"/>
                  </a:moveTo>
                  <a:cubicBezTo>
                    <a:pt x="3112" y="1204"/>
                    <a:pt x="2929" y="1163"/>
                    <a:pt x="2855" y="1242"/>
                  </a:cubicBezTo>
                  <a:cubicBezTo>
                    <a:pt x="2782" y="1322"/>
                    <a:pt x="2835" y="1363"/>
                    <a:pt x="2802" y="1369"/>
                  </a:cubicBezTo>
                  <a:cubicBezTo>
                    <a:pt x="2768" y="1376"/>
                    <a:pt x="2749" y="1248"/>
                    <a:pt x="2790" y="1207"/>
                  </a:cubicBezTo>
                  <a:cubicBezTo>
                    <a:pt x="2832" y="1166"/>
                    <a:pt x="2965" y="1148"/>
                    <a:pt x="3047" y="1169"/>
                  </a:cubicBezTo>
                  <a:cubicBezTo>
                    <a:pt x="3130" y="1189"/>
                    <a:pt x="3278" y="1151"/>
                    <a:pt x="3298" y="1157"/>
                  </a:cubicBezTo>
                  <a:cubicBezTo>
                    <a:pt x="3319" y="1163"/>
                    <a:pt x="3278" y="1204"/>
                    <a:pt x="3195" y="1204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8" name="Freeform 158"/>
            <p:cNvSpPr>
              <a:spLocks noEditPoints="1"/>
            </p:cNvSpPr>
            <p:nvPr/>
          </p:nvSpPr>
          <p:spPr bwMode="auto">
            <a:xfrm>
              <a:off x="12639326" y="3301284"/>
              <a:ext cx="8616463" cy="3307194"/>
            </a:xfrm>
            <a:custGeom>
              <a:avLst/>
              <a:gdLst>
                <a:gd name="T0" fmla="*/ 4482 w 17054"/>
                <a:gd name="T1" fmla="*/ 130 h 6542"/>
                <a:gd name="T2" fmla="*/ 7578 w 17054"/>
                <a:gd name="T3" fmla="*/ 62 h 6542"/>
                <a:gd name="T4" fmla="*/ 5960 w 17054"/>
                <a:gd name="T5" fmla="*/ 1868 h 6542"/>
                <a:gd name="T6" fmla="*/ 8227 w 17054"/>
                <a:gd name="T7" fmla="*/ 617 h 6542"/>
                <a:gd name="T8" fmla="*/ 12445 w 17054"/>
                <a:gd name="T9" fmla="*/ 1373 h 6542"/>
                <a:gd name="T10" fmla="*/ 13076 w 17054"/>
                <a:gd name="T11" fmla="*/ 1455 h 6542"/>
                <a:gd name="T12" fmla="*/ 12182 w 17054"/>
                <a:gd name="T13" fmla="*/ 5289 h 6542"/>
                <a:gd name="T14" fmla="*/ 3026 w 17054"/>
                <a:gd name="T15" fmla="*/ 278 h 6542"/>
                <a:gd name="T16" fmla="*/ 16531 w 17054"/>
                <a:gd name="T17" fmla="*/ 3002 h 6542"/>
                <a:gd name="T18" fmla="*/ 14819 w 17054"/>
                <a:gd name="T19" fmla="*/ 2512 h 6542"/>
                <a:gd name="T20" fmla="*/ 13187 w 17054"/>
                <a:gd name="T21" fmla="*/ 2198 h 6542"/>
                <a:gd name="T22" fmla="*/ 12080 w 17054"/>
                <a:gd name="T23" fmla="*/ 1861 h 6542"/>
                <a:gd name="T24" fmla="*/ 11204 w 17054"/>
                <a:gd name="T25" fmla="*/ 2081 h 6542"/>
                <a:gd name="T26" fmla="*/ 10481 w 17054"/>
                <a:gd name="T27" fmla="*/ 1722 h 6542"/>
                <a:gd name="T28" fmla="*/ 9282 w 17054"/>
                <a:gd name="T29" fmla="*/ 1691 h 6542"/>
                <a:gd name="T30" fmla="*/ 9152 w 17054"/>
                <a:gd name="T31" fmla="*/ 1464 h 6542"/>
                <a:gd name="T32" fmla="*/ 8671 w 17054"/>
                <a:gd name="T33" fmla="*/ 1039 h 6542"/>
                <a:gd name="T34" fmla="*/ 7826 w 17054"/>
                <a:gd name="T35" fmla="*/ 1191 h 6542"/>
                <a:gd name="T36" fmla="*/ 6781 w 17054"/>
                <a:gd name="T37" fmla="*/ 1418 h 6542"/>
                <a:gd name="T38" fmla="*/ 6441 w 17054"/>
                <a:gd name="T39" fmla="*/ 1705 h 6542"/>
                <a:gd name="T40" fmla="*/ 5938 w 17054"/>
                <a:gd name="T41" fmla="*/ 2203 h 6542"/>
                <a:gd name="T42" fmla="*/ 5655 w 17054"/>
                <a:gd name="T43" fmla="*/ 2534 h 6542"/>
                <a:gd name="T44" fmla="*/ 5234 w 17054"/>
                <a:gd name="T45" fmla="*/ 3021 h 6542"/>
                <a:gd name="T46" fmla="*/ 5432 w 17054"/>
                <a:gd name="T47" fmla="*/ 2645 h 6542"/>
                <a:gd name="T48" fmla="*/ 4802 w 17054"/>
                <a:gd name="T49" fmla="*/ 2329 h 6542"/>
                <a:gd name="T50" fmla="*/ 4048 w 17054"/>
                <a:gd name="T51" fmla="*/ 2432 h 6542"/>
                <a:gd name="T52" fmla="*/ 3332 w 17054"/>
                <a:gd name="T53" fmla="*/ 2615 h 6542"/>
                <a:gd name="T54" fmla="*/ 2424 w 17054"/>
                <a:gd name="T55" fmla="*/ 2657 h 6542"/>
                <a:gd name="T56" fmla="*/ 1858 w 17054"/>
                <a:gd name="T57" fmla="*/ 3260 h 6542"/>
                <a:gd name="T58" fmla="*/ 1275 w 17054"/>
                <a:gd name="T59" fmla="*/ 2897 h 6542"/>
                <a:gd name="T60" fmla="*/ 1328 w 17054"/>
                <a:gd name="T61" fmla="*/ 2482 h 6542"/>
                <a:gd name="T62" fmla="*/ 972 w 17054"/>
                <a:gd name="T63" fmla="*/ 2860 h 6542"/>
                <a:gd name="T64" fmla="*/ 869 w 17054"/>
                <a:gd name="T65" fmla="*/ 3915 h 6542"/>
                <a:gd name="T66" fmla="*/ 911 w 17054"/>
                <a:gd name="T67" fmla="*/ 4594 h 6542"/>
                <a:gd name="T68" fmla="*/ 1418 w 17054"/>
                <a:gd name="T69" fmla="*/ 5117 h 6542"/>
                <a:gd name="T70" fmla="*/ 1991 w 17054"/>
                <a:gd name="T71" fmla="*/ 5595 h 6542"/>
                <a:gd name="T72" fmla="*/ 2038 w 17054"/>
                <a:gd name="T73" fmla="*/ 6241 h 6542"/>
                <a:gd name="T74" fmla="*/ 2956 w 17054"/>
                <a:gd name="T75" fmla="*/ 5910 h 6542"/>
                <a:gd name="T76" fmla="*/ 2932 w 17054"/>
                <a:gd name="T77" fmla="*/ 5338 h 6542"/>
                <a:gd name="T78" fmla="*/ 4034 w 17054"/>
                <a:gd name="T79" fmla="*/ 5369 h 6542"/>
                <a:gd name="T80" fmla="*/ 4632 w 17054"/>
                <a:gd name="T81" fmla="*/ 4820 h 6542"/>
                <a:gd name="T82" fmla="*/ 5597 w 17054"/>
                <a:gd name="T83" fmla="*/ 4911 h 6542"/>
                <a:gd name="T84" fmla="*/ 6716 w 17054"/>
                <a:gd name="T85" fmla="*/ 5487 h 6542"/>
                <a:gd name="T86" fmla="*/ 7749 w 17054"/>
                <a:gd name="T87" fmla="*/ 5369 h 6542"/>
                <a:gd name="T88" fmla="*/ 8643 w 17054"/>
                <a:gd name="T89" fmla="*/ 5425 h 6542"/>
                <a:gd name="T90" fmla="*/ 9977 w 17054"/>
                <a:gd name="T91" fmla="*/ 5210 h 6542"/>
                <a:gd name="T92" fmla="*/ 11019 w 17054"/>
                <a:gd name="T93" fmla="*/ 5623 h 6542"/>
                <a:gd name="T94" fmla="*/ 11156 w 17054"/>
                <a:gd name="T95" fmla="*/ 6305 h 6542"/>
                <a:gd name="T96" fmla="*/ 11924 w 17054"/>
                <a:gd name="T97" fmla="*/ 4880 h 6542"/>
                <a:gd name="T98" fmla="*/ 12032 w 17054"/>
                <a:gd name="T99" fmla="*/ 4324 h 6542"/>
                <a:gd name="T100" fmla="*/ 13380 w 17054"/>
                <a:gd name="T101" fmla="*/ 4185 h 6542"/>
                <a:gd name="T102" fmla="*/ 14300 w 17054"/>
                <a:gd name="T103" fmla="*/ 3710 h 6542"/>
                <a:gd name="T104" fmla="*/ 13625 w 17054"/>
                <a:gd name="T105" fmla="*/ 5261 h 6542"/>
                <a:gd name="T106" fmla="*/ 14278 w 17054"/>
                <a:gd name="T107" fmla="*/ 4371 h 6542"/>
                <a:gd name="T108" fmla="*/ 15327 w 17054"/>
                <a:gd name="T109" fmla="*/ 3836 h 6542"/>
                <a:gd name="T110" fmla="*/ 16037 w 17054"/>
                <a:gd name="T111" fmla="*/ 3250 h 6542"/>
                <a:gd name="T112" fmla="*/ 16720 w 17054"/>
                <a:gd name="T113" fmla="*/ 3319 h 6542"/>
                <a:gd name="T114" fmla="*/ 8776 w 17054"/>
                <a:gd name="T115" fmla="*/ 4869 h 6542"/>
                <a:gd name="T116" fmla="*/ 3428 w 17054"/>
                <a:gd name="T117" fmla="*/ 292 h 6542"/>
                <a:gd name="T118" fmla="*/ 3496 w 17054"/>
                <a:gd name="T119" fmla="*/ 183 h 6542"/>
                <a:gd name="T120" fmla="*/ 3714 w 17054"/>
                <a:gd name="T121" fmla="*/ 1806 h 6542"/>
                <a:gd name="T122" fmla="*/ 3726 w 17054"/>
                <a:gd name="T123" fmla="*/ 1376 h 6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054" h="6542">
                  <a:moveTo>
                    <a:pt x="258" y="4729"/>
                  </a:moveTo>
                  <a:cubicBezTo>
                    <a:pt x="245" y="4736"/>
                    <a:pt x="209" y="4723"/>
                    <a:pt x="198" y="4707"/>
                  </a:cubicBezTo>
                  <a:cubicBezTo>
                    <a:pt x="189" y="4695"/>
                    <a:pt x="162" y="4699"/>
                    <a:pt x="138" y="4702"/>
                  </a:cubicBezTo>
                  <a:cubicBezTo>
                    <a:pt x="143" y="4705"/>
                    <a:pt x="149" y="4709"/>
                    <a:pt x="153" y="4717"/>
                  </a:cubicBezTo>
                  <a:cubicBezTo>
                    <a:pt x="167" y="4740"/>
                    <a:pt x="100" y="4743"/>
                    <a:pt x="121" y="4771"/>
                  </a:cubicBezTo>
                  <a:cubicBezTo>
                    <a:pt x="141" y="4799"/>
                    <a:pt x="74" y="4801"/>
                    <a:pt x="74" y="4771"/>
                  </a:cubicBezTo>
                  <a:cubicBezTo>
                    <a:pt x="74" y="4742"/>
                    <a:pt x="3" y="4756"/>
                    <a:pt x="6" y="4776"/>
                  </a:cubicBezTo>
                  <a:cubicBezTo>
                    <a:pt x="7" y="4783"/>
                    <a:pt x="5" y="4791"/>
                    <a:pt x="0" y="4799"/>
                  </a:cubicBezTo>
                  <a:cubicBezTo>
                    <a:pt x="19" y="4806"/>
                    <a:pt x="41" y="4814"/>
                    <a:pt x="50" y="4818"/>
                  </a:cubicBezTo>
                  <a:cubicBezTo>
                    <a:pt x="64" y="4823"/>
                    <a:pt x="241" y="4841"/>
                    <a:pt x="310" y="4829"/>
                  </a:cubicBezTo>
                  <a:cubicBezTo>
                    <a:pt x="306" y="4816"/>
                    <a:pt x="313" y="4777"/>
                    <a:pt x="313" y="4762"/>
                  </a:cubicBezTo>
                  <a:cubicBezTo>
                    <a:pt x="313" y="4745"/>
                    <a:pt x="271" y="4723"/>
                    <a:pt x="258" y="4729"/>
                  </a:cubicBezTo>
                  <a:close/>
                  <a:moveTo>
                    <a:pt x="4529" y="183"/>
                  </a:moveTo>
                  <a:cubicBezTo>
                    <a:pt x="4641" y="171"/>
                    <a:pt x="4638" y="109"/>
                    <a:pt x="4579" y="98"/>
                  </a:cubicBezTo>
                  <a:cubicBezTo>
                    <a:pt x="4520" y="86"/>
                    <a:pt x="4511" y="133"/>
                    <a:pt x="4482" y="130"/>
                  </a:cubicBezTo>
                  <a:cubicBezTo>
                    <a:pt x="4452" y="127"/>
                    <a:pt x="4341" y="149"/>
                    <a:pt x="4364" y="174"/>
                  </a:cubicBezTo>
                  <a:cubicBezTo>
                    <a:pt x="4390" y="204"/>
                    <a:pt x="4473" y="189"/>
                    <a:pt x="4529" y="183"/>
                  </a:cubicBezTo>
                  <a:close/>
                  <a:moveTo>
                    <a:pt x="5098" y="1824"/>
                  </a:moveTo>
                  <a:cubicBezTo>
                    <a:pt x="5137" y="1830"/>
                    <a:pt x="5240" y="1809"/>
                    <a:pt x="5252" y="1789"/>
                  </a:cubicBezTo>
                  <a:cubicBezTo>
                    <a:pt x="5264" y="1768"/>
                    <a:pt x="5211" y="1745"/>
                    <a:pt x="5143" y="1745"/>
                  </a:cubicBezTo>
                  <a:cubicBezTo>
                    <a:pt x="5075" y="1745"/>
                    <a:pt x="5065" y="1819"/>
                    <a:pt x="5098" y="1824"/>
                  </a:cubicBezTo>
                  <a:close/>
                  <a:moveTo>
                    <a:pt x="7280" y="316"/>
                  </a:moveTo>
                  <a:cubicBezTo>
                    <a:pt x="7336" y="340"/>
                    <a:pt x="7315" y="354"/>
                    <a:pt x="7256" y="354"/>
                  </a:cubicBezTo>
                  <a:cubicBezTo>
                    <a:pt x="7197" y="354"/>
                    <a:pt x="7146" y="374"/>
                    <a:pt x="7185" y="390"/>
                  </a:cubicBezTo>
                  <a:cubicBezTo>
                    <a:pt x="7215" y="402"/>
                    <a:pt x="7212" y="434"/>
                    <a:pt x="7274" y="449"/>
                  </a:cubicBezTo>
                  <a:cubicBezTo>
                    <a:pt x="7336" y="464"/>
                    <a:pt x="7398" y="413"/>
                    <a:pt x="7392" y="378"/>
                  </a:cubicBezTo>
                  <a:cubicBezTo>
                    <a:pt x="7386" y="343"/>
                    <a:pt x="7607" y="310"/>
                    <a:pt x="7666" y="295"/>
                  </a:cubicBezTo>
                  <a:cubicBezTo>
                    <a:pt x="7725" y="281"/>
                    <a:pt x="7628" y="219"/>
                    <a:pt x="7693" y="213"/>
                  </a:cubicBezTo>
                  <a:cubicBezTo>
                    <a:pt x="7758" y="207"/>
                    <a:pt x="7731" y="177"/>
                    <a:pt x="7652" y="165"/>
                  </a:cubicBezTo>
                  <a:cubicBezTo>
                    <a:pt x="7572" y="154"/>
                    <a:pt x="7604" y="86"/>
                    <a:pt x="7578" y="62"/>
                  </a:cubicBezTo>
                  <a:cubicBezTo>
                    <a:pt x="7551" y="39"/>
                    <a:pt x="7536" y="92"/>
                    <a:pt x="7433" y="112"/>
                  </a:cubicBezTo>
                  <a:cubicBezTo>
                    <a:pt x="7330" y="133"/>
                    <a:pt x="7280" y="160"/>
                    <a:pt x="7321" y="180"/>
                  </a:cubicBezTo>
                  <a:cubicBezTo>
                    <a:pt x="7362" y="201"/>
                    <a:pt x="7321" y="251"/>
                    <a:pt x="7277" y="248"/>
                  </a:cubicBezTo>
                  <a:cubicBezTo>
                    <a:pt x="7232" y="245"/>
                    <a:pt x="7224" y="292"/>
                    <a:pt x="7280" y="316"/>
                  </a:cubicBezTo>
                  <a:close/>
                  <a:moveTo>
                    <a:pt x="7436" y="399"/>
                  </a:moveTo>
                  <a:cubicBezTo>
                    <a:pt x="7436" y="431"/>
                    <a:pt x="7341" y="463"/>
                    <a:pt x="7368" y="487"/>
                  </a:cubicBezTo>
                  <a:cubicBezTo>
                    <a:pt x="7392" y="508"/>
                    <a:pt x="7412" y="502"/>
                    <a:pt x="7442" y="508"/>
                  </a:cubicBezTo>
                  <a:cubicBezTo>
                    <a:pt x="7472" y="514"/>
                    <a:pt x="7486" y="587"/>
                    <a:pt x="7539" y="576"/>
                  </a:cubicBezTo>
                  <a:cubicBezTo>
                    <a:pt x="7593" y="564"/>
                    <a:pt x="7737" y="635"/>
                    <a:pt x="7823" y="635"/>
                  </a:cubicBezTo>
                  <a:cubicBezTo>
                    <a:pt x="7908" y="635"/>
                    <a:pt x="7917" y="564"/>
                    <a:pt x="7891" y="561"/>
                  </a:cubicBezTo>
                  <a:cubicBezTo>
                    <a:pt x="7864" y="558"/>
                    <a:pt x="7888" y="517"/>
                    <a:pt x="7935" y="449"/>
                  </a:cubicBezTo>
                  <a:cubicBezTo>
                    <a:pt x="7982" y="381"/>
                    <a:pt x="7787" y="331"/>
                    <a:pt x="7787" y="384"/>
                  </a:cubicBezTo>
                  <a:cubicBezTo>
                    <a:pt x="7787" y="437"/>
                    <a:pt x="7731" y="372"/>
                    <a:pt x="7714" y="340"/>
                  </a:cubicBezTo>
                  <a:cubicBezTo>
                    <a:pt x="7696" y="307"/>
                    <a:pt x="7436" y="366"/>
                    <a:pt x="7436" y="399"/>
                  </a:cubicBezTo>
                  <a:close/>
                  <a:moveTo>
                    <a:pt x="5960" y="1868"/>
                  </a:moveTo>
                  <a:cubicBezTo>
                    <a:pt x="6008" y="1892"/>
                    <a:pt x="6043" y="1883"/>
                    <a:pt x="6037" y="1836"/>
                  </a:cubicBezTo>
                  <a:cubicBezTo>
                    <a:pt x="6031" y="1789"/>
                    <a:pt x="5923" y="1850"/>
                    <a:pt x="5960" y="1868"/>
                  </a:cubicBezTo>
                  <a:close/>
                  <a:moveTo>
                    <a:pt x="7203" y="106"/>
                  </a:moveTo>
                  <a:cubicBezTo>
                    <a:pt x="7215" y="62"/>
                    <a:pt x="7019" y="81"/>
                    <a:pt x="7070" y="124"/>
                  </a:cubicBezTo>
                  <a:cubicBezTo>
                    <a:pt x="7088" y="139"/>
                    <a:pt x="7191" y="151"/>
                    <a:pt x="7203" y="106"/>
                  </a:cubicBezTo>
                  <a:close/>
                  <a:moveTo>
                    <a:pt x="15889" y="2246"/>
                  </a:moveTo>
                  <a:cubicBezTo>
                    <a:pt x="15948" y="2276"/>
                    <a:pt x="15984" y="2211"/>
                    <a:pt x="16031" y="2243"/>
                  </a:cubicBezTo>
                  <a:cubicBezTo>
                    <a:pt x="16078" y="2276"/>
                    <a:pt x="16193" y="2229"/>
                    <a:pt x="16240" y="2220"/>
                  </a:cubicBezTo>
                  <a:cubicBezTo>
                    <a:pt x="16288" y="2211"/>
                    <a:pt x="16264" y="2152"/>
                    <a:pt x="16131" y="2134"/>
                  </a:cubicBezTo>
                  <a:cubicBezTo>
                    <a:pt x="15998" y="2116"/>
                    <a:pt x="15826" y="2214"/>
                    <a:pt x="15889" y="2246"/>
                  </a:cubicBezTo>
                  <a:close/>
                  <a:moveTo>
                    <a:pt x="7894" y="815"/>
                  </a:moveTo>
                  <a:cubicBezTo>
                    <a:pt x="7935" y="838"/>
                    <a:pt x="8068" y="785"/>
                    <a:pt x="8156" y="788"/>
                  </a:cubicBezTo>
                  <a:cubicBezTo>
                    <a:pt x="8245" y="791"/>
                    <a:pt x="8493" y="720"/>
                    <a:pt x="8502" y="673"/>
                  </a:cubicBezTo>
                  <a:cubicBezTo>
                    <a:pt x="8510" y="626"/>
                    <a:pt x="8410" y="629"/>
                    <a:pt x="8372" y="587"/>
                  </a:cubicBezTo>
                  <a:cubicBezTo>
                    <a:pt x="8333" y="546"/>
                    <a:pt x="8248" y="582"/>
                    <a:pt x="8227" y="617"/>
                  </a:cubicBezTo>
                  <a:cubicBezTo>
                    <a:pt x="8206" y="652"/>
                    <a:pt x="8183" y="620"/>
                    <a:pt x="8239" y="564"/>
                  </a:cubicBezTo>
                  <a:cubicBezTo>
                    <a:pt x="8295" y="508"/>
                    <a:pt x="8183" y="464"/>
                    <a:pt x="8180" y="499"/>
                  </a:cubicBezTo>
                  <a:cubicBezTo>
                    <a:pt x="8177" y="534"/>
                    <a:pt x="8074" y="505"/>
                    <a:pt x="8074" y="537"/>
                  </a:cubicBezTo>
                  <a:cubicBezTo>
                    <a:pt x="8074" y="570"/>
                    <a:pt x="8035" y="585"/>
                    <a:pt x="8038" y="617"/>
                  </a:cubicBezTo>
                  <a:cubicBezTo>
                    <a:pt x="8041" y="649"/>
                    <a:pt x="7967" y="599"/>
                    <a:pt x="7964" y="673"/>
                  </a:cubicBezTo>
                  <a:cubicBezTo>
                    <a:pt x="7962" y="747"/>
                    <a:pt x="7850" y="790"/>
                    <a:pt x="7894" y="815"/>
                  </a:cubicBezTo>
                  <a:close/>
                  <a:moveTo>
                    <a:pt x="11701" y="1423"/>
                  </a:moveTo>
                  <a:cubicBezTo>
                    <a:pt x="11742" y="1443"/>
                    <a:pt x="11757" y="1464"/>
                    <a:pt x="11781" y="1488"/>
                  </a:cubicBezTo>
                  <a:cubicBezTo>
                    <a:pt x="11804" y="1511"/>
                    <a:pt x="11893" y="1476"/>
                    <a:pt x="11928" y="1464"/>
                  </a:cubicBezTo>
                  <a:cubicBezTo>
                    <a:pt x="11964" y="1452"/>
                    <a:pt x="11967" y="1517"/>
                    <a:pt x="12023" y="1482"/>
                  </a:cubicBezTo>
                  <a:cubicBezTo>
                    <a:pt x="12079" y="1446"/>
                    <a:pt x="12135" y="1464"/>
                    <a:pt x="12200" y="1464"/>
                  </a:cubicBezTo>
                  <a:cubicBezTo>
                    <a:pt x="12265" y="1464"/>
                    <a:pt x="12188" y="1384"/>
                    <a:pt x="12191" y="1349"/>
                  </a:cubicBezTo>
                  <a:cubicBezTo>
                    <a:pt x="12194" y="1314"/>
                    <a:pt x="12268" y="1337"/>
                    <a:pt x="12244" y="1367"/>
                  </a:cubicBezTo>
                  <a:cubicBezTo>
                    <a:pt x="12221" y="1396"/>
                    <a:pt x="12280" y="1464"/>
                    <a:pt x="12374" y="1458"/>
                  </a:cubicBezTo>
                  <a:cubicBezTo>
                    <a:pt x="12468" y="1452"/>
                    <a:pt x="12398" y="1393"/>
                    <a:pt x="12445" y="1373"/>
                  </a:cubicBezTo>
                  <a:cubicBezTo>
                    <a:pt x="12492" y="1352"/>
                    <a:pt x="12486" y="1328"/>
                    <a:pt x="12418" y="1287"/>
                  </a:cubicBezTo>
                  <a:cubicBezTo>
                    <a:pt x="12350" y="1246"/>
                    <a:pt x="12262" y="1272"/>
                    <a:pt x="12203" y="1246"/>
                  </a:cubicBezTo>
                  <a:cubicBezTo>
                    <a:pt x="12140" y="1217"/>
                    <a:pt x="12064" y="1216"/>
                    <a:pt x="12061" y="1281"/>
                  </a:cubicBezTo>
                  <a:cubicBezTo>
                    <a:pt x="12058" y="1346"/>
                    <a:pt x="11934" y="1210"/>
                    <a:pt x="11869" y="1190"/>
                  </a:cubicBezTo>
                  <a:cubicBezTo>
                    <a:pt x="11804" y="1169"/>
                    <a:pt x="11603" y="1374"/>
                    <a:pt x="11701" y="1423"/>
                  </a:cubicBezTo>
                  <a:close/>
                  <a:moveTo>
                    <a:pt x="12318" y="1801"/>
                  </a:moveTo>
                  <a:cubicBezTo>
                    <a:pt x="12371" y="1789"/>
                    <a:pt x="12280" y="1691"/>
                    <a:pt x="12188" y="1677"/>
                  </a:cubicBezTo>
                  <a:cubicBezTo>
                    <a:pt x="12096" y="1662"/>
                    <a:pt x="12011" y="1737"/>
                    <a:pt x="12023" y="1753"/>
                  </a:cubicBezTo>
                  <a:cubicBezTo>
                    <a:pt x="12049" y="1792"/>
                    <a:pt x="12265" y="1812"/>
                    <a:pt x="12318" y="1801"/>
                  </a:cubicBezTo>
                  <a:close/>
                  <a:moveTo>
                    <a:pt x="12082" y="1606"/>
                  </a:moveTo>
                  <a:cubicBezTo>
                    <a:pt x="12082" y="1561"/>
                    <a:pt x="11921" y="1622"/>
                    <a:pt x="11987" y="1644"/>
                  </a:cubicBezTo>
                  <a:cubicBezTo>
                    <a:pt x="12023" y="1656"/>
                    <a:pt x="12082" y="1650"/>
                    <a:pt x="12082" y="1606"/>
                  </a:cubicBezTo>
                  <a:close/>
                  <a:moveTo>
                    <a:pt x="12595" y="1420"/>
                  </a:moveTo>
                  <a:cubicBezTo>
                    <a:pt x="12666" y="1426"/>
                    <a:pt x="12702" y="1494"/>
                    <a:pt x="12837" y="1502"/>
                  </a:cubicBezTo>
                  <a:cubicBezTo>
                    <a:pt x="12973" y="1511"/>
                    <a:pt x="13073" y="1485"/>
                    <a:pt x="13076" y="1455"/>
                  </a:cubicBezTo>
                  <a:cubicBezTo>
                    <a:pt x="13079" y="1426"/>
                    <a:pt x="12952" y="1381"/>
                    <a:pt x="12914" y="1405"/>
                  </a:cubicBezTo>
                  <a:cubicBezTo>
                    <a:pt x="12876" y="1429"/>
                    <a:pt x="12846" y="1367"/>
                    <a:pt x="12799" y="1381"/>
                  </a:cubicBezTo>
                  <a:cubicBezTo>
                    <a:pt x="12752" y="1396"/>
                    <a:pt x="12687" y="1393"/>
                    <a:pt x="12663" y="1352"/>
                  </a:cubicBezTo>
                  <a:cubicBezTo>
                    <a:pt x="12640" y="1311"/>
                    <a:pt x="12560" y="1417"/>
                    <a:pt x="12595" y="1420"/>
                  </a:cubicBezTo>
                  <a:close/>
                  <a:moveTo>
                    <a:pt x="2734" y="222"/>
                  </a:moveTo>
                  <a:cubicBezTo>
                    <a:pt x="2802" y="160"/>
                    <a:pt x="2891" y="219"/>
                    <a:pt x="2903" y="189"/>
                  </a:cubicBezTo>
                  <a:cubicBezTo>
                    <a:pt x="2914" y="160"/>
                    <a:pt x="2776" y="151"/>
                    <a:pt x="2725" y="177"/>
                  </a:cubicBezTo>
                  <a:cubicBezTo>
                    <a:pt x="2675" y="204"/>
                    <a:pt x="2558" y="183"/>
                    <a:pt x="2572" y="216"/>
                  </a:cubicBezTo>
                  <a:cubicBezTo>
                    <a:pt x="2581" y="236"/>
                    <a:pt x="2666" y="284"/>
                    <a:pt x="2734" y="222"/>
                  </a:cubicBezTo>
                  <a:close/>
                  <a:moveTo>
                    <a:pt x="12294" y="5210"/>
                  </a:moveTo>
                  <a:cubicBezTo>
                    <a:pt x="12262" y="5124"/>
                    <a:pt x="12341" y="5041"/>
                    <a:pt x="12282" y="4997"/>
                  </a:cubicBezTo>
                  <a:cubicBezTo>
                    <a:pt x="12223" y="4953"/>
                    <a:pt x="12247" y="4861"/>
                    <a:pt x="12218" y="4879"/>
                  </a:cubicBezTo>
                  <a:cubicBezTo>
                    <a:pt x="12188" y="4897"/>
                    <a:pt x="12218" y="4976"/>
                    <a:pt x="12170" y="4982"/>
                  </a:cubicBezTo>
                  <a:cubicBezTo>
                    <a:pt x="12123" y="4988"/>
                    <a:pt x="12167" y="5032"/>
                    <a:pt x="12150" y="5092"/>
                  </a:cubicBezTo>
                  <a:cubicBezTo>
                    <a:pt x="12132" y="5151"/>
                    <a:pt x="12158" y="5236"/>
                    <a:pt x="12182" y="5289"/>
                  </a:cubicBezTo>
                  <a:cubicBezTo>
                    <a:pt x="12206" y="5342"/>
                    <a:pt x="12150" y="5626"/>
                    <a:pt x="12173" y="5673"/>
                  </a:cubicBezTo>
                  <a:cubicBezTo>
                    <a:pt x="12197" y="5720"/>
                    <a:pt x="12135" y="5929"/>
                    <a:pt x="12156" y="5953"/>
                  </a:cubicBezTo>
                  <a:cubicBezTo>
                    <a:pt x="12191" y="5995"/>
                    <a:pt x="12167" y="5897"/>
                    <a:pt x="12220" y="5888"/>
                  </a:cubicBezTo>
                  <a:cubicBezTo>
                    <a:pt x="12274" y="5880"/>
                    <a:pt x="12274" y="5947"/>
                    <a:pt x="12306" y="5962"/>
                  </a:cubicBezTo>
                  <a:cubicBezTo>
                    <a:pt x="12339" y="5977"/>
                    <a:pt x="12318" y="5868"/>
                    <a:pt x="12288" y="5874"/>
                  </a:cubicBezTo>
                  <a:cubicBezTo>
                    <a:pt x="12259" y="5880"/>
                    <a:pt x="12235" y="5803"/>
                    <a:pt x="12220" y="5756"/>
                  </a:cubicBezTo>
                  <a:cubicBezTo>
                    <a:pt x="12206" y="5708"/>
                    <a:pt x="12250" y="5652"/>
                    <a:pt x="12250" y="5593"/>
                  </a:cubicBezTo>
                  <a:cubicBezTo>
                    <a:pt x="12250" y="5534"/>
                    <a:pt x="12324" y="5537"/>
                    <a:pt x="12368" y="5581"/>
                  </a:cubicBezTo>
                  <a:cubicBezTo>
                    <a:pt x="12412" y="5626"/>
                    <a:pt x="12418" y="5596"/>
                    <a:pt x="12401" y="5564"/>
                  </a:cubicBezTo>
                  <a:cubicBezTo>
                    <a:pt x="12383" y="5531"/>
                    <a:pt x="12327" y="5295"/>
                    <a:pt x="12294" y="5210"/>
                  </a:cubicBezTo>
                  <a:close/>
                  <a:moveTo>
                    <a:pt x="3012" y="195"/>
                  </a:moveTo>
                  <a:cubicBezTo>
                    <a:pt x="3053" y="225"/>
                    <a:pt x="2897" y="216"/>
                    <a:pt x="2876" y="245"/>
                  </a:cubicBezTo>
                  <a:cubicBezTo>
                    <a:pt x="2855" y="275"/>
                    <a:pt x="2764" y="264"/>
                    <a:pt x="2782" y="298"/>
                  </a:cubicBezTo>
                  <a:cubicBezTo>
                    <a:pt x="2799" y="334"/>
                    <a:pt x="2947" y="337"/>
                    <a:pt x="2947" y="307"/>
                  </a:cubicBezTo>
                  <a:cubicBezTo>
                    <a:pt x="2947" y="278"/>
                    <a:pt x="3024" y="304"/>
                    <a:pt x="3026" y="278"/>
                  </a:cubicBezTo>
                  <a:cubicBezTo>
                    <a:pt x="3029" y="251"/>
                    <a:pt x="3062" y="222"/>
                    <a:pt x="3145" y="216"/>
                  </a:cubicBezTo>
                  <a:cubicBezTo>
                    <a:pt x="3227" y="210"/>
                    <a:pt x="3227" y="180"/>
                    <a:pt x="3150" y="145"/>
                  </a:cubicBezTo>
                  <a:cubicBezTo>
                    <a:pt x="3074" y="109"/>
                    <a:pt x="2970" y="165"/>
                    <a:pt x="3012" y="195"/>
                  </a:cubicBezTo>
                  <a:close/>
                  <a:moveTo>
                    <a:pt x="2885" y="2580"/>
                  </a:moveTo>
                  <a:cubicBezTo>
                    <a:pt x="2965" y="2654"/>
                    <a:pt x="3032" y="2547"/>
                    <a:pt x="3071" y="2541"/>
                  </a:cubicBezTo>
                  <a:cubicBezTo>
                    <a:pt x="3109" y="2536"/>
                    <a:pt x="3047" y="2494"/>
                    <a:pt x="2982" y="2476"/>
                  </a:cubicBezTo>
                  <a:cubicBezTo>
                    <a:pt x="2917" y="2459"/>
                    <a:pt x="2825" y="2524"/>
                    <a:pt x="2885" y="2580"/>
                  </a:cubicBezTo>
                  <a:close/>
                  <a:moveTo>
                    <a:pt x="17024" y="3083"/>
                  </a:moveTo>
                  <a:cubicBezTo>
                    <a:pt x="16995" y="3073"/>
                    <a:pt x="16900" y="3012"/>
                    <a:pt x="16876" y="2978"/>
                  </a:cubicBezTo>
                  <a:cubicBezTo>
                    <a:pt x="16853" y="2944"/>
                    <a:pt x="16739" y="2928"/>
                    <a:pt x="16739" y="2946"/>
                  </a:cubicBezTo>
                  <a:cubicBezTo>
                    <a:pt x="16739" y="2963"/>
                    <a:pt x="16702" y="2941"/>
                    <a:pt x="16693" y="2922"/>
                  </a:cubicBezTo>
                  <a:cubicBezTo>
                    <a:pt x="16685" y="2903"/>
                    <a:pt x="16565" y="2900"/>
                    <a:pt x="16564" y="2921"/>
                  </a:cubicBezTo>
                  <a:cubicBezTo>
                    <a:pt x="16562" y="2941"/>
                    <a:pt x="16592" y="2943"/>
                    <a:pt x="16609" y="2966"/>
                  </a:cubicBezTo>
                  <a:cubicBezTo>
                    <a:pt x="16627" y="2990"/>
                    <a:pt x="16586" y="3003"/>
                    <a:pt x="16595" y="3030"/>
                  </a:cubicBezTo>
                  <a:cubicBezTo>
                    <a:pt x="16603" y="3056"/>
                    <a:pt x="16550" y="3017"/>
                    <a:pt x="16531" y="3002"/>
                  </a:cubicBezTo>
                  <a:cubicBezTo>
                    <a:pt x="16512" y="2987"/>
                    <a:pt x="16521" y="2930"/>
                    <a:pt x="16527" y="2900"/>
                  </a:cubicBezTo>
                  <a:cubicBezTo>
                    <a:pt x="16533" y="2871"/>
                    <a:pt x="16493" y="2876"/>
                    <a:pt x="16488" y="2847"/>
                  </a:cubicBezTo>
                  <a:cubicBezTo>
                    <a:pt x="16484" y="2817"/>
                    <a:pt x="16351" y="2757"/>
                    <a:pt x="16295" y="2733"/>
                  </a:cubicBezTo>
                  <a:cubicBezTo>
                    <a:pt x="16239" y="2710"/>
                    <a:pt x="16167" y="2689"/>
                    <a:pt x="16147" y="2659"/>
                  </a:cubicBezTo>
                  <a:cubicBezTo>
                    <a:pt x="16128" y="2630"/>
                    <a:pt x="16028" y="2627"/>
                    <a:pt x="15990" y="2587"/>
                  </a:cubicBezTo>
                  <a:cubicBezTo>
                    <a:pt x="15951" y="2547"/>
                    <a:pt x="15783" y="2476"/>
                    <a:pt x="15711" y="2472"/>
                  </a:cubicBezTo>
                  <a:cubicBezTo>
                    <a:pt x="15638" y="2468"/>
                    <a:pt x="15655" y="2428"/>
                    <a:pt x="15619" y="2434"/>
                  </a:cubicBezTo>
                  <a:cubicBezTo>
                    <a:pt x="15584" y="2440"/>
                    <a:pt x="15432" y="2432"/>
                    <a:pt x="15385" y="2425"/>
                  </a:cubicBezTo>
                  <a:cubicBezTo>
                    <a:pt x="15337" y="2417"/>
                    <a:pt x="15327" y="2453"/>
                    <a:pt x="15293" y="2440"/>
                  </a:cubicBezTo>
                  <a:cubicBezTo>
                    <a:pt x="15259" y="2426"/>
                    <a:pt x="15083" y="2363"/>
                    <a:pt x="15063" y="2386"/>
                  </a:cubicBezTo>
                  <a:cubicBezTo>
                    <a:pt x="15042" y="2410"/>
                    <a:pt x="15051" y="2444"/>
                    <a:pt x="15030" y="2450"/>
                  </a:cubicBezTo>
                  <a:cubicBezTo>
                    <a:pt x="15010" y="2456"/>
                    <a:pt x="15030" y="2485"/>
                    <a:pt x="15079" y="2530"/>
                  </a:cubicBezTo>
                  <a:cubicBezTo>
                    <a:pt x="15128" y="2574"/>
                    <a:pt x="15098" y="2608"/>
                    <a:pt x="15054" y="2627"/>
                  </a:cubicBezTo>
                  <a:cubicBezTo>
                    <a:pt x="15010" y="2646"/>
                    <a:pt x="14939" y="2609"/>
                    <a:pt x="14917" y="2575"/>
                  </a:cubicBezTo>
                  <a:cubicBezTo>
                    <a:pt x="14895" y="2541"/>
                    <a:pt x="14834" y="2556"/>
                    <a:pt x="14819" y="2512"/>
                  </a:cubicBezTo>
                  <a:cubicBezTo>
                    <a:pt x="14805" y="2468"/>
                    <a:pt x="14837" y="2460"/>
                    <a:pt x="14867" y="2485"/>
                  </a:cubicBezTo>
                  <a:cubicBezTo>
                    <a:pt x="14896" y="2510"/>
                    <a:pt x="14936" y="2490"/>
                    <a:pt x="14940" y="2457"/>
                  </a:cubicBezTo>
                  <a:cubicBezTo>
                    <a:pt x="14945" y="2425"/>
                    <a:pt x="14861" y="2403"/>
                    <a:pt x="14815" y="2406"/>
                  </a:cubicBezTo>
                  <a:cubicBezTo>
                    <a:pt x="14769" y="2409"/>
                    <a:pt x="14744" y="2472"/>
                    <a:pt x="14697" y="2499"/>
                  </a:cubicBezTo>
                  <a:cubicBezTo>
                    <a:pt x="14650" y="2525"/>
                    <a:pt x="14467" y="2488"/>
                    <a:pt x="14447" y="2471"/>
                  </a:cubicBezTo>
                  <a:cubicBezTo>
                    <a:pt x="14428" y="2453"/>
                    <a:pt x="14173" y="2471"/>
                    <a:pt x="14146" y="2488"/>
                  </a:cubicBezTo>
                  <a:cubicBezTo>
                    <a:pt x="14120" y="2506"/>
                    <a:pt x="14139" y="2575"/>
                    <a:pt x="14126" y="2581"/>
                  </a:cubicBezTo>
                  <a:cubicBezTo>
                    <a:pt x="14112" y="2587"/>
                    <a:pt x="14099" y="2502"/>
                    <a:pt x="14099" y="2485"/>
                  </a:cubicBezTo>
                  <a:cubicBezTo>
                    <a:pt x="14099" y="2469"/>
                    <a:pt x="14068" y="2457"/>
                    <a:pt x="14022" y="2457"/>
                  </a:cubicBezTo>
                  <a:cubicBezTo>
                    <a:pt x="13977" y="2457"/>
                    <a:pt x="13950" y="2456"/>
                    <a:pt x="13969" y="2437"/>
                  </a:cubicBezTo>
                  <a:cubicBezTo>
                    <a:pt x="13988" y="2417"/>
                    <a:pt x="13951" y="2398"/>
                    <a:pt x="13987" y="2373"/>
                  </a:cubicBezTo>
                  <a:cubicBezTo>
                    <a:pt x="14022" y="2348"/>
                    <a:pt x="13922" y="2270"/>
                    <a:pt x="13825" y="2232"/>
                  </a:cubicBezTo>
                  <a:cubicBezTo>
                    <a:pt x="13727" y="2193"/>
                    <a:pt x="13506" y="2215"/>
                    <a:pt x="13447" y="2233"/>
                  </a:cubicBezTo>
                  <a:cubicBezTo>
                    <a:pt x="13388" y="2251"/>
                    <a:pt x="13270" y="2245"/>
                    <a:pt x="13214" y="2246"/>
                  </a:cubicBezTo>
                  <a:cubicBezTo>
                    <a:pt x="13158" y="2248"/>
                    <a:pt x="13203" y="2224"/>
                    <a:pt x="13187" y="2198"/>
                  </a:cubicBezTo>
                  <a:cubicBezTo>
                    <a:pt x="13171" y="2171"/>
                    <a:pt x="13075" y="2139"/>
                    <a:pt x="13062" y="2161"/>
                  </a:cubicBezTo>
                  <a:cubicBezTo>
                    <a:pt x="13048" y="2183"/>
                    <a:pt x="13023" y="2161"/>
                    <a:pt x="13023" y="2144"/>
                  </a:cubicBezTo>
                  <a:cubicBezTo>
                    <a:pt x="13023" y="2128"/>
                    <a:pt x="12933" y="2096"/>
                    <a:pt x="12898" y="2103"/>
                  </a:cubicBezTo>
                  <a:cubicBezTo>
                    <a:pt x="12862" y="2110"/>
                    <a:pt x="12846" y="2071"/>
                    <a:pt x="12887" y="2071"/>
                  </a:cubicBezTo>
                  <a:cubicBezTo>
                    <a:pt x="12929" y="2071"/>
                    <a:pt x="13000" y="2079"/>
                    <a:pt x="12969" y="2032"/>
                  </a:cubicBezTo>
                  <a:cubicBezTo>
                    <a:pt x="12938" y="1985"/>
                    <a:pt x="12672" y="1970"/>
                    <a:pt x="12647" y="1979"/>
                  </a:cubicBezTo>
                  <a:cubicBezTo>
                    <a:pt x="12622" y="1988"/>
                    <a:pt x="12645" y="2022"/>
                    <a:pt x="12588" y="2077"/>
                  </a:cubicBezTo>
                  <a:cubicBezTo>
                    <a:pt x="12530" y="2131"/>
                    <a:pt x="12474" y="2094"/>
                    <a:pt x="12482" y="2068"/>
                  </a:cubicBezTo>
                  <a:cubicBezTo>
                    <a:pt x="12489" y="2041"/>
                    <a:pt x="12560" y="2046"/>
                    <a:pt x="12560" y="2019"/>
                  </a:cubicBezTo>
                  <a:cubicBezTo>
                    <a:pt x="12560" y="1992"/>
                    <a:pt x="12462" y="2007"/>
                    <a:pt x="12448" y="1985"/>
                  </a:cubicBezTo>
                  <a:cubicBezTo>
                    <a:pt x="12433" y="1963"/>
                    <a:pt x="12468" y="1948"/>
                    <a:pt x="12504" y="1958"/>
                  </a:cubicBezTo>
                  <a:cubicBezTo>
                    <a:pt x="12539" y="1969"/>
                    <a:pt x="12601" y="1975"/>
                    <a:pt x="12604" y="1958"/>
                  </a:cubicBezTo>
                  <a:cubicBezTo>
                    <a:pt x="12607" y="1942"/>
                    <a:pt x="12567" y="1939"/>
                    <a:pt x="12508" y="1929"/>
                  </a:cubicBezTo>
                  <a:cubicBezTo>
                    <a:pt x="12449" y="1919"/>
                    <a:pt x="12306" y="1885"/>
                    <a:pt x="12231" y="1892"/>
                  </a:cubicBezTo>
                  <a:cubicBezTo>
                    <a:pt x="12156" y="1899"/>
                    <a:pt x="12122" y="1864"/>
                    <a:pt x="12080" y="1861"/>
                  </a:cubicBezTo>
                  <a:cubicBezTo>
                    <a:pt x="12039" y="1858"/>
                    <a:pt x="12039" y="1883"/>
                    <a:pt x="12058" y="1907"/>
                  </a:cubicBezTo>
                  <a:cubicBezTo>
                    <a:pt x="12077" y="1930"/>
                    <a:pt x="12018" y="1945"/>
                    <a:pt x="11970" y="1938"/>
                  </a:cubicBezTo>
                  <a:cubicBezTo>
                    <a:pt x="11921" y="1930"/>
                    <a:pt x="11850" y="1964"/>
                    <a:pt x="11878" y="2000"/>
                  </a:cubicBezTo>
                  <a:cubicBezTo>
                    <a:pt x="11906" y="2035"/>
                    <a:pt x="11934" y="1989"/>
                    <a:pt x="11958" y="2001"/>
                  </a:cubicBezTo>
                  <a:cubicBezTo>
                    <a:pt x="11981" y="2013"/>
                    <a:pt x="11896" y="2038"/>
                    <a:pt x="11931" y="2054"/>
                  </a:cubicBezTo>
                  <a:cubicBezTo>
                    <a:pt x="11967" y="2071"/>
                    <a:pt x="11961" y="2105"/>
                    <a:pt x="11962" y="2122"/>
                  </a:cubicBezTo>
                  <a:cubicBezTo>
                    <a:pt x="11964" y="2140"/>
                    <a:pt x="11903" y="2149"/>
                    <a:pt x="11881" y="2122"/>
                  </a:cubicBezTo>
                  <a:cubicBezTo>
                    <a:pt x="11859" y="2096"/>
                    <a:pt x="11828" y="2119"/>
                    <a:pt x="11787" y="2116"/>
                  </a:cubicBezTo>
                  <a:cubicBezTo>
                    <a:pt x="11745" y="2113"/>
                    <a:pt x="11714" y="2133"/>
                    <a:pt x="11759" y="2139"/>
                  </a:cubicBezTo>
                  <a:cubicBezTo>
                    <a:pt x="11803" y="2144"/>
                    <a:pt x="11818" y="2172"/>
                    <a:pt x="11759" y="2178"/>
                  </a:cubicBezTo>
                  <a:cubicBezTo>
                    <a:pt x="11700" y="2184"/>
                    <a:pt x="11714" y="2124"/>
                    <a:pt x="11679" y="2131"/>
                  </a:cubicBezTo>
                  <a:cubicBezTo>
                    <a:pt x="11643" y="2139"/>
                    <a:pt x="11567" y="2103"/>
                    <a:pt x="11525" y="2105"/>
                  </a:cubicBezTo>
                  <a:cubicBezTo>
                    <a:pt x="11484" y="2106"/>
                    <a:pt x="11465" y="2139"/>
                    <a:pt x="11410" y="2143"/>
                  </a:cubicBezTo>
                  <a:cubicBezTo>
                    <a:pt x="11356" y="2147"/>
                    <a:pt x="11282" y="2115"/>
                    <a:pt x="11260" y="2085"/>
                  </a:cubicBezTo>
                  <a:cubicBezTo>
                    <a:pt x="11238" y="2056"/>
                    <a:pt x="11230" y="2047"/>
                    <a:pt x="11204" y="2081"/>
                  </a:cubicBezTo>
                  <a:cubicBezTo>
                    <a:pt x="11177" y="2115"/>
                    <a:pt x="11176" y="2180"/>
                    <a:pt x="11149" y="2184"/>
                  </a:cubicBezTo>
                  <a:cubicBezTo>
                    <a:pt x="11123" y="2189"/>
                    <a:pt x="11112" y="2246"/>
                    <a:pt x="11086" y="2261"/>
                  </a:cubicBezTo>
                  <a:cubicBezTo>
                    <a:pt x="11059" y="2276"/>
                    <a:pt x="11058" y="2239"/>
                    <a:pt x="11024" y="2242"/>
                  </a:cubicBezTo>
                  <a:cubicBezTo>
                    <a:pt x="10990" y="2245"/>
                    <a:pt x="10881" y="2139"/>
                    <a:pt x="10875" y="2108"/>
                  </a:cubicBezTo>
                  <a:cubicBezTo>
                    <a:pt x="10869" y="2077"/>
                    <a:pt x="10801" y="2017"/>
                    <a:pt x="10783" y="2006"/>
                  </a:cubicBezTo>
                  <a:cubicBezTo>
                    <a:pt x="10765" y="1994"/>
                    <a:pt x="10801" y="1988"/>
                    <a:pt x="10823" y="2007"/>
                  </a:cubicBezTo>
                  <a:cubicBezTo>
                    <a:pt x="10845" y="2026"/>
                    <a:pt x="10873" y="2026"/>
                    <a:pt x="10895" y="2015"/>
                  </a:cubicBezTo>
                  <a:cubicBezTo>
                    <a:pt x="10917" y="2003"/>
                    <a:pt x="10914" y="1948"/>
                    <a:pt x="10876" y="1947"/>
                  </a:cubicBezTo>
                  <a:cubicBezTo>
                    <a:pt x="10838" y="1945"/>
                    <a:pt x="10852" y="1913"/>
                    <a:pt x="10872" y="1907"/>
                  </a:cubicBezTo>
                  <a:cubicBezTo>
                    <a:pt x="10891" y="1901"/>
                    <a:pt x="10827" y="1843"/>
                    <a:pt x="10851" y="1837"/>
                  </a:cubicBezTo>
                  <a:cubicBezTo>
                    <a:pt x="10875" y="1832"/>
                    <a:pt x="10864" y="1806"/>
                    <a:pt x="10832" y="1802"/>
                  </a:cubicBezTo>
                  <a:cubicBezTo>
                    <a:pt x="10799" y="1798"/>
                    <a:pt x="10765" y="1771"/>
                    <a:pt x="10764" y="1755"/>
                  </a:cubicBezTo>
                  <a:cubicBezTo>
                    <a:pt x="10762" y="1739"/>
                    <a:pt x="10625" y="1733"/>
                    <a:pt x="10631" y="1756"/>
                  </a:cubicBezTo>
                  <a:cubicBezTo>
                    <a:pt x="10637" y="1780"/>
                    <a:pt x="10587" y="1773"/>
                    <a:pt x="10594" y="1753"/>
                  </a:cubicBezTo>
                  <a:cubicBezTo>
                    <a:pt x="10602" y="1734"/>
                    <a:pt x="10546" y="1740"/>
                    <a:pt x="10481" y="1722"/>
                  </a:cubicBezTo>
                  <a:cubicBezTo>
                    <a:pt x="10416" y="1705"/>
                    <a:pt x="10414" y="1659"/>
                    <a:pt x="10392" y="1656"/>
                  </a:cubicBezTo>
                  <a:cubicBezTo>
                    <a:pt x="10370" y="1653"/>
                    <a:pt x="10377" y="1719"/>
                    <a:pt x="10345" y="1705"/>
                  </a:cubicBezTo>
                  <a:cubicBezTo>
                    <a:pt x="10312" y="1690"/>
                    <a:pt x="10277" y="1718"/>
                    <a:pt x="10295" y="1756"/>
                  </a:cubicBezTo>
                  <a:cubicBezTo>
                    <a:pt x="10312" y="1795"/>
                    <a:pt x="10296" y="1801"/>
                    <a:pt x="10293" y="1832"/>
                  </a:cubicBezTo>
                  <a:cubicBezTo>
                    <a:pt x="10290" y="1863"/>
                    <a:pt x="10272" y="1849"/>
                    <a:pt x="10234" y="1836"/>
                  </a:cubicBezTo>
                  <a:cubicBezTo>
                    <a:pt x="10196" y="1823"/>
                    <a:pt x="10196" y="1868"/>
                    <a:pt x="10113" y="1848"/>
                  </a:cubicBezTo>
                  <a:cubicBezTo>
                    <a:pt x="10030" y="1827"/>
                    <a:pt x="9994" y="1849"/>
                    <a:pt x="9979" y="1823"/>
                  </a:cubicBezTo>
                  <a:cubicBezTo>
                    <a:pt x="9964" y="1796"/>
                    <a:pt x="9939" y="1793"/>
                    <a:pt x="9936" y="1815"/>
                  </a:cubicBezTo>
                  <a:cubicBezTo>
                    <a:pt x="9933" y="1837"/>
                    <a:pt x="9806" y="1829"/>
                    <a:pt x="9796" y="1796"/>
                  </a:cubicBezTo>
                  <a:cubicBezTo>
                    <a:pt x="9786" y="1764"/>
                    <a:pt x="9818" y="1758"/>
                    <a:pt x="9837" y="1749"/>
                  </a:cubicBezTo>
                  <a:cubicBezTo>
                    <a:pt x="9856" y="1740"/>
                    <a:pt x="9817" y="1727"/>
                    <a:pt x="9747" y="1731"/>
                  </a:cubicBezTo>
                  <a:cubicBezTo>
                    <a:pt x="9678" y="1736"/>
                    <a:pt x="9633" y="1696"/>
                    <a:pt x="9563" y="1703"/>
                  </a:cubicBezTo>
                  <a:cubicBezTo>
                    <a:pt x="9492" y="1711"/>
                    <a:pt x="9334" y="1725"/>
                    <a:pt x="9312" y="1736"/>
                  </a:cubicBezTo>
                  <a:cubicBezTo>
                    <a:pt x="9290" y="1746"/>
                    <a:pt x="9332" y="1786"/>
                    <a:pt x="9298" y="1789"/>
                  </a:cubicBezTo>
                  <a:cubicBezTo>
                    <a:pt x="9265" y="1792"/>
                    <a:pt x="9288" y="1724"/>
                    <a:pt x="9282" y="1691"/>
                  </a:cubicBezTo>
                  <a:cubicBezTo>
                    <a:pt x="9276" y="1659"/>
                    <a:pt x="9225" y="1654"/>
                    <a:pt x="9232" y="1680"/>
                  </a:cubicBezTo>
                  <a:cubicBezTo>
                    <a:pt x="9239" y="1705"/>
                    <a:pt x="9151" y="1714"/>
                    <a:pt x="9129" y="1694"/>
                  </a:cubicBezTo>
                  <a:cubicBezTo>
                    <a:pt x="9107" y="1675"/>
                    <a:pt x="9071" y="1650"/>
                    <a:pt x="9014" y="1635"/>
                  </a:cubicBezTo>
                  <a:cubicBezTo>
                    <a:pt x="8956" y="1621"/>
                    <a:pt x="8885" y="1683"/>
                    <a:pt x="8902" y="1700"/>
                  </a:cubicBezTo>
                  <a:cubicBezTo>
                    <a:pt x="8918" y="1718"/>
                    <a:pt x="8961" y="1705"/>
                    <a:pt x="8962" y="1716"/>
                  </a:cubicBezTo>
                  <a:cubicBezTo>
                    <a:pt x="8965" y="1741"/>
                    <a:pt x="8840" y="1731"/>
                    <a:pt x="8840" y="1752"/>
                  </a:cubicBezTo>
                  <a:cubicBezTo>
                    <a:pt x="8840" y="1773"/>
                    <a:pt x="8723" y="1801"/>
                    <a:pt x="8688" y="1805"/>
                  </a:cubicBezTo>
                  <a:cubicBezTo>
                    <a:pt x="8590" y="1817"/>
                    <a:pt x="8569" y="1817"/>
                    <a:pt x="8524" y="1855"/>
                  </a:cubicBezTo>
                  <a:cubicBezTo>
                    <a:pt x="8478" y="1894"/>
                    <a:pt x="8513" y="1821"/>
                    <a:pt x="8549" y="1786"/>
                  </a:cubicBezTo>
                  <a:cubicBezTo>
                    <a:pt x="8584" y="1750"/>
                    <a:pt x="8621" y="1765"/>
                    <a:pt x="8642" y="1737"/>
                  </a:cubicBezTo>
                  <a:cubicBezTo>
                    <a:pt x="8662" y="1709"/>
                    <a:pt x="8695" y="1712"/>
                    <a:pt x="8751" y="1703"/>
                  </a:cubicBezTo>
                  <a:cubicBezTo>
                    <a:pt x="8807" y="1694"/>
                    <a:pt x="8804" y="1662"/>
                    <a:pt x="8831" y="1650"/>
                  </a:cubicBezTo>
                  <a:cubicBezTo>
                    <a:pt x="8857" y="1638"/>
                    <a:pt x="8922" y="1613"/>
                    <a:pt x="8934" y="1587"/>
                  </a:cubicBezTo>
                  <a:cubicBezTo>
                    <a:pt x="8946" y="1560"/>
                    <a:pt x="9079" y="1516"/>
                    <a:pt x="9105" y="1517"/>
                  </a:cubicBezTo>
                  <a:cubicBezTo>
                    <a:pt x="9132" y="1519"/>
                    <a:pt x="9138" y="1464"/>
                    <a:pt x="9152" y="1464"/>
                  </a:cubicBezTo>
                  <a:cubicBezTo>
                    <a:pt x="9167" y="1464"/>
                    <a:pt x="9244" y="1430"/>
                    <a:pt x="9273" y="1417"/>
                  </a:cubicBezTo>
                  <a:cubicBezTo>
                    <a:pt x="9303" y="1404"/>
                    <a:pt x="9318" y="1376"/>
                    <a:pt x="9319" y="1356"/>
                  </a:cubicBezTo>
                  <a:cubicBezTo>
                    <a:pt x="9321" y="1337"/>
                    <a:pt x="9279" y="1340"/>
                    <a:pt x="9275" y="1322"/>
                  </a:cubicBezTo>
                  <a:cubicBezTo>
                    <a:pt x="9270" y="1305"/>
                    <a:pt x="9294" y="1317"/>
                    <a:pt x="9325" y="1305"/>
                  </a:cubicBezTo>
                  <a:cubicBezTo>
                    <a:pt x="9356" y="1293"/>
                    <a:pt x="9325" y="1252"/>
                    <a:pt x="9300" y="1259"/>
                  </a:cubicBezTo>
                  <a:cubicBezTo>
                    <a:pt x="9275" y="1266"/>
                    <a:pt x="9313" y="1237"/>
                    <a:pt x="9291" y="1210"/>
                  </a:cubicBezTo>
                  <a:cubicBezTo>
                    <a:pt x="9269" y="1184"/>
                    <a:pt x="9225" y="1227"/>
                    <a:pt x="9226" y="1198"/>
                  </a:cubicBezTo>
                  <a:cubicBezTo>
                    <a:pt x="9228" y="1170"/>
                    <a:pt x="9223" y="1135"/>
                    <a:pt x="9205" y="1117"/>
                  </a:cubicBezTo>
                  <a:cubicBezTo>
                    <a:pt x="9188" y="1100"/>
                    <a:pt x="9155" y="1148"/>
                    <a:pt x="9118" y="1120"/>
                  </a:cubicBezTo>
                  <a:cubicBezTo>
                    <a:pt x="9082" y="1092"/>
                    <a:pt x="8974" y="1074"/>
                    <a:pt x="8974" y="1086"/>
                  </a:cubicBezTo>
                  <a:cubicBezTo>
                    <a:pt x="8974" y="1098"/>
                    <a:pt x="8922" y="1069"/>
                    <a:pt x="8912" y="1080"/>
                  </a:cubicBezTo>
                  <a:cubicBezTo>
                    <a:pt x="8902" y="1092"/>
                    <a:pt x="8816" y="1091"/>
                    <a:pt x="8789" y="1083"/>
                  </a:cubicBezTo>
                  <a:cubicBezTo>
                    <a:pt x="8763" y="1076"/>
                    <a:pt x="8726" y="1094"/>
                    <a:pt x="8724" y="1120"/>
                  </a:cubicBezTo>
                  <a:cubicBezTo>
                    <a:pt x="8723" y="1147"/>
                    <a:pt x="8618" y="1136"/>
                    <a:pt x="8599" y="1132"/>
                  </a:cubicBezTo>
                  <a:cubicBezTo>
                    <a:pt x="8580" y="1128"/>
                    <a:pt x="8671" y="1052"/>
                    <a:pt x="8671" y="1039"/>
                  </a:cubicBezTo>
                  <a:cubicBezTo>
                    <a:pt x="8671" y="1026"/>
                    <a:pt x="8516" y="1042"/>
                    <a:pt x="8507" y="1027"/>
                  </a:cubicBezTo>
                  <a:cubicBezTo>
                    <a:pt x="8499" y="1013"/>
                    <a:pt x="8423" y="1008"/>
                    <a:pt x="8389" y="1010"/>
                  </a:cubicBezTo>
                  <a:cubicBezTo>
                    <a:pt x="8355" y="1011"/>
                    <a:pt x="8388" y="1001"/>
                    <a:pt x="8419" y="998"/>
                  </a:cubicBezTo>
                  <a:cubicBezTo>
                    <a:pt x="8450" y="995"/>
                    <a:pt x="8478" y="968"/>
                    <a:pt x="8512" y="962"/>
                  </a:cubicBezTo>
                  <a:cubicBezTo>
                    <a:pt x="8546" y="956"/>
                    <a:pt x="8538" y="945"/>
                    <a:pt x="8524" y="924"/>
                  </a:cubicBezTo>
                  <a:cubicBezTo>
                    <a:pt x="8509" y="903"/>
                    <a:pt x="8474" y="914"/>
                    <a:pt x="8440" y="903"/>
                  </a:cubicBezTo>
                  <a:cubicBezTo>
                    <a:pt x="8406" y="893"/>
                    <a:pt x="8364" y="878"/>
                    <a:pt x="8335" y="877"/>
                  </a:cubicBezTo>
                  <a:cubicBezTo>
                    <a:pt x="8305" y="875"/>
                    <a:pt x="8273" y="891"/>
                    <a:pt x="8204" y="905"/>
                  </a:cubicBezTo>
                  <a:cubicBezTo>
                    <a:pt x="8134" y="918"/>
                    <a:pt x="8128" y="971"/>
                    <a:pt x="8093" y="987"/>
                  </a:cubicBezTo>
                  <a:cubicBezTo>
                    <a:pt x="8057" y="1004"/>
                    <a:pt x="7995" y="1069"/>
                    <a:pt x="8025" y="1074"/>
                  </a:cubicBezTo>
                  <a:cubicBezTo>
                    <a:pt x="8054" y="1080"/>
                    <a:pt x="8040" y="1098"/>
                    <a:pt x="8044" y="1117"/>
                  </a:cubicBezTo>
                  <a:cubicBezTo>
                    <a:pt x="8049" y="1136"/>
                    <a:pt x="8022" y="1141"/>
                    <a:pt x="7988" y="1135"/>
                  </a:cubicBezTo>
                  <a:cubicBezTo>
                    <a:pt x="7954" y="1129"/>
                    <a:pt x="7835" y="1131"/>
                    <a:pt x="7836" y="1156"/>
                  </a:cubicBezTo>
                  <a:cubicBezTo>
                    <a:pt x="7837" y="1181"/>
                    <a:pt x="7905" y="1193"/>
                    <a:pt x="7901" y="1206"/>
                  </a:cubicBezTo>
                  <a:cubicBezTo>
                    <a:pt x="7897" y="1219"/>
                    <a:pt x="7849" y="1204"/>
                    <a:pt x="7826" y="1191"/>
                  </a:cubicBezTo>
                  <a:cubicBezTo>
                    <a:pt x="7802" y="1178"/>
                    <a:pt x="7749" y="1185"/>
                    <a:pt x="7739" y="1210"/>
                  </a:cubicBezTo>
                  <a:cubicBezTo>
                    <a:pt x="7728" y="1235"/>
                    <a:pt x="7687" y="1229"/>
                    <a:pt x="7674" y="1224"/>
                  </a:cubicBezTo>
                  <a:cubicBezTo>
                    <a:pt x="7660" y="1218"/>
                    <a:pt x="7631" y="1235"/>
                    <a:pt x="7609" y="1228"/>
                  </a:cubicBezTo>
                  <a:cubicBezTo>
                    <a:pt x="7587" y="1221"/>
                    <a:pt x="7653" y="1188"/>
                    <a:pt x="7637" y="1172"/>
                  </a:cubicBezTo>
                  <a:cubicBezTo>
                    <a:pt x="7621" y="1156"/>
                    <a:pt x="7550" y="1170"/>
                    <a:pt x="7542" y="1197"/>
                  </a:cubicBezTo>
                  <a:cubicBezTo>
                    <a:pt x="7535" y="1224"/>
                    <a:pt x="7492" y="1178"/>
                    <a:pt x="7476" y="1187"/>
                  </a:cubicBezTo>
                  <a:cubicBezTo>
                    <a:pt x="7460" y="1196"/>
                    <a:pt x="7442" y="1206"/>
                    <a:pt x="7411" y="1219"/>
                  </a:cubicBezTo>
                  <a:cubicBezTo>
                    <a:pt x="7380" y="1232"/>
                    <a:pt x="7327" y="1204"/>
                    <a:pt x="7315" y="1228"/>
                  </a:cubicBezTo>
                  <a:cubicBezTo>
                    <a:pt x="7303" y="1252"/>
                    <a:pt x="7374" y="1259"/>
                    <a:pt x="7376" y="1269"/>
                  </a:cubicBezTo>
                  <a:cubicBezTo>
                    <a:pt x="7377" y="1280"/>
                    <a:pt x="7215" y="1278"/>
                    <a:pt x="7210" y="1294"/>
                  </a:cubicBezTo>
                  <a:cubicBezTo>
                    <a:pt x="7206" y="1311"/>
                    <a:pt x="7151" y="1311"/>
                    <a:pt x="7085" y="1312"/>
                  </a:cubicBezTo>
                  <a:cubicBezTo>
                    <a:pt x="7018" y="1314"/>
                    <a:pt x="7045" y="1346"/>
                    <a:pt x="6992" y="1356"/>
                  </a:cubicBezTo>
                  <a:cubicBezTo>
                    <a:pt x="6939" y="1367"/>
                    <a:pt x="6915" y="1368"/>
                    <a:pt x="6897" y="1395"/>
                  </a:cubicBezTo>
                  <a:cubicBezTo>
                    <a:pt x="6880" y="1421"/>
                    <a:pt x="6838" y="1426"/>
                    <a:pt x="6821" y="1405"/>
                  </a:cubicBezTo>
                  <a:cubicBezTo>
                    <a:pt x="6803" y="1384"/>
                    <a:pt x="6754" y="1415"/>
                    <a:pt x="6781" y="1418"/>
                  </a:cubicBezTo>
                  <a:cubicBezTo>
                    <a:pt x="6807" y="1421"/>
                    <a:pt x="6782" y="1448"/>
                    <a:pt x="6766" y="1442"/>
                  </a:cubicBezTo>
                  <a:cubicBezTo>
                    <a:pt x="6750" y="1436"/>
                    <a:pt x="6703" y="1470"/>
                    <a:pt x="6729" y="1467"/>
                  </a:cubicBezTo>
                  <a:cubicBezTo>
                    <a:pt x="6756" y="1464"/>
                    <a:pt x="6769" y="1486"/>
                    <a:pt x="6756" y="1502"/>
                  </a:cubicBezTo>
                  <a:cubicBezTo>
                    <a:pt x="6742" y="1519"/>
                    <a:pt x="6685" y="1483"/>
                    <a:pt x="6670" y="1498"/>
                  </a:cubicBezTo>
                  <a:cubicBezTo>
                    <a:pt x="6655" y="1513"/>
                    <a:pt x="6698" y="1532"/>
                    <a:pt x="6725" y="1529"/>
                  </a:cubicBezTo>
                  <a:cubicBezTo>
                    <a:pt x="6751" y="1526"/>
                    <a:pt x="6766" y="1544"/>
                    <a:pt x="6769" y="1563"/>
                  </a:cubicBezTo>
                  <a:cubicBezTo>
                    <a:pt x="6772" y="1582"/>
                    <a:pt x="6707" y="1551"/>
                    <a:pt x="6694" y="1567"/>
                  </a:cubicBezTo>
                  <a:cubicBezTo>
                    <a:pt x="6681" y="1584"/>
                    <a:pt x="6704" y="1591"/>
                    <a:pt x="6732" y="1594"/>
                  </a:cubicBezTo>
                  <a:cubicBezTo>
                    <a:pt x="6760" y="1597"/>
                    <a:pt x="6740" y="1607"/>
                    <a:pt x="6765" y="1629"/>
                  </a:cubicBezTo>
                  <a:cubicBezTo>
                    <a:pt x="6767" y="1631"/>
                    <a:pt x="6768" y="1633"/>
                    <a:pt x="6769" y="1634"/>
                  </a:cubicBezTo>
                  <a:cubicBezTo>
                    <a:pt x="6785" y="1653"/>
                    <a:pt x="6756" y="1659"/>
                    <a:pt x="6759" y="1677"/>
                  </a:cubicBezTo>
                  <a:cubicBezTo>
                    <a:pt x="6762" y="1696"/>
                    <a:pt x="6731" y="1703"/>
                    <a:pt x="6731" y="1685"/>
                  </a:cubicBezTo>
                  <a:cubicBezTo>
                    <a:pt x="6731" y="1668"/>
                    <a:pt x="6652" y="1662"/>
                    <a:pt x="6636" y="1681"/>
                  </a:cubicBezTo>
                  <a:cubicBezTo>
                    <a:pt x="6620" y="1700"/>
                    <a:pt x="6608" y="1715"/>
                    <a:pt x="6589" y="1697"/>
                  </a:cubicBezTo>
                  <a:cubicBezTo>
                    <a:pt x="6570" y="1680"/>
                    <a:pt x="6514" y="1702"/>
                    <a:pt x="6441" y="1705"/>
                  </a:cubicBezTo>
                  <a:cubicBezTo>
                    <a:pt x="6369" y="1708"/>
                    <a:pt x="6220" y="1714"/>
                    <a:pt x="6183" y="1727"/>
                  </a:cubicBezTo>
                  <a:cubicBezTo>
                    <a:pt x="6146" y="1740"/>
                    <a:pt x="6115" y="1792"/>
                    <a:pt x="6149" y="1826"/>
                  </a:cubicBezTo>
                  <a:cubicBezTo>
                    <a:pt x="6183" y="1860"/>
                    <a:pt x="6151" y="1874"/>
                    <a:pt x="6151" y="1897"/>
                  </a:cubicBezTo>
                  <a:cubicBezTo>
                    <a:pt x="6151" y="1919"/>
                    <a:pt x="6239" y="1964"/>
                    <a:pt x="6286" y="1969"/>
                  </a:cubicBezTo>
                  <a:cubicBezTo>
                    <a:pt x="6334" y="1973"/>
                    <a:pt x="6372" y="2031"/>
                    <a:pt x="6344" y="2066"/>
                  </a:cubicBezTo>
                  <a:cubicBezTo>
                    <a:pt x="6316" y="2102"/>
                    <a:pt x="6230" y="2056"/>
                    <a:pt x="6174" y="2012"/>
                  </a:cubicBezTo>
                  <a:cubicBezTo>
                    <a:pt x="6118" y="1967"/>
                    <a:pt x="5988" y="1950"/>
                    <a:pt x="5946" y="1953"/>
                  </a:cubicBezTo>
                  <a:cubicBezTo>
                    <a:pt x="5903" y="1955"/>
                    <a:pt x="5928" y="1914"/>
                    <a:pt x="5873" y="1916"/>
                  </a:cubicBezTo>
                  <a:cubicBezTo>
                    <a:pt x="5819" y="1917"/>
                    <a:pt x="5773" y="1966"/>
                    <a:pt x="5810" y="1966"/>
                  </a:cubicBezTo>
                  <a:cubicBezTo>
                    <a:pt x="5847" y="1966"/>
                    <a:pt x="5870" y="1963"/>
                    <a:pt x="5851" y="1981"/>
                  </a:cubicBezTo>
                  <a:cubicBezTo>
                    <a:pt x="5832" y="1998"/>
                    <a:pt x="5861" y="1994"/>
                    <a:pt x="5906" y="2013"/>
                  </a:cubicBezTo>
                  <a:cubicBezTo>
                    <a:pt x="5950" y="2032"/>
                    <a:pt x="5869" y="2059"/>
                    <a:pt x="5823" y="2028"/>
                  </a:cubicBezTo>
                  <a:cubicBezTo>
                    <a:pt x="5777" y="1997"/>
                    <a:pt x="5729" y="2026"/>
                    <a:pt x="5715" y="2050"/>
                  </a:cubicBezTo>
                  <a:cubicBezTo>
                    <a:pt x="5702" y="2074"/>
                    <a:pt x="5768" y="2141"/>
                    <a:pt x="5848" y="2153"/>
                  </a:cubicBezTo>
                  <a:cubicBezTo>
                    <a:pt x="5928" y="2165"/>
                    <a:pt x="5901" y="2190"/>
                    <a:pt x="5938" y="2203"/>
                  </a:cubicBezTo>
                  <a:cubicBezTo>
                    <a:pt x="5975" y="2217"/>
                    <a:pt x="5949" y="2232"/>
                    <a:pt x="5923" y="2233"/>
                  </a:cubicBezTo>
                  <a:cubicBezTo>
                    <a:pt x="5898" y="2234"/>
                    <a:pt x="5848" y="2195"/>
                    <a:pt x="5808" y="2174"/>
                  </a:cubicBezTo>
                  <a:cubicBezTo>
                    <a:pt x="5768" y="2153"/>
                    <a:pt x="5661" y="2183"/>
                    <a:pt x="5639" y="2159"/>
                  </a:cubicBezTo>
                  <a:cubicBezTo>
                    <a:pt x="5617" y="2136"/>
                    <a:pt x="5653" y="2112"/>
                    <a:pt x="5633" y="2094"/>
                  </a:cubicBezTo>
                  <a:cubicBezTo>
                    <a:pt x="5612" y="2077"/>
                    <a:pt x="5630" y="2037"/>
                    <a:pt x="5656" y="1995"/>
                  </a:cubicBezTo>
                  <a:cubicBezTo>
                    <a:pt x="5683" y="1954"/>
                    <a:pt x="5652" y="1883"/>
                    <a:pt x="5614" y="1871"/>
                  </a:cubicBezTo>
                  <a:cubicBezTo>
                    <a:pt x="5575" y="1860"/>
                    <a:pt x="5578" y="1899"/>
                    <a:pt x="5587" y="1911"/>
                  </a:cubicBezTo>
                  <a:cubicBezTo>
                    <a:pt x="5596" y="1923"/>
                    <a:pt x="5591" y="1979"/>
                    <a:pt x="5562" y="2016"/>
                  </a:cubicBezTo>
                  <a:cubicBezTo>
                    <a:pt x="5532" y="2053"/>
                    <a:pt x="5442" y="2053"/>
                    <a:pt x="5442" y="2078"/>
                  </a:cubicBezTo>
                  <a:cubicBezTo>
                    <a:pt x="5442" y="2103"/>
                    <a:pt x="5382" y="2122"/>
                    <a:pt x="5402" y="2140"/>
                  </a:cubicBezTo>
                  <a:cubicBezTo>
                    <a:pt x="5423" y="2158"/>
                    <a:pt x="5504" y="2249"/>
                    <a:pt x="5516" y="2277"/>
                  </a:cubicBezTo>
                  <a:cubicBezTo>
                    <a:pt x="5528" y="2305"/>
                    <a:pt x="5444" y="2394"/>
                    <a:pt x="5457" y="2445"/>
                  </a:cubicBezTo>
                  <a:cubicBezTo>
                    <a:pt x="5470" y="2497"/>
                    <a:pt x="5445" y="2521"/>
                    <a:pt x="5461" y="2546"/>
                  </a:cubicBezTo>
                  <a:cubicBezTo>
                    <a:pt x="5478" y="2571"/>
                    <a:pt x="5515" y="2549"/>
                    <a:pt x="5538" y="2559"/>
                  </a:cubicBezTo>
                  <a:cubicBezTo>
                    <a:pt x="5562" y="2569"/>
                    <a:pt x="5600" y="2544"/>
                    <a:pt x="5655" y="2534"/>
                  </a:cubicBezTo>
                  <a:cubicBezTo>
                    <a:pt x="5709" y="2524"/>
                    <a:pt x="5810" y="2581"/>
                    <a:pt x="5847" y="2599"/>
                  </a:cubicBezTo>
                  <a:cubicBezTo>
                    <a:pt x="5884" y="2617"/>
                    <a:pt x="5864" y="2646"/>
                    <a:pt x="5884" y="2676"/>
                  </a:cubicBezTo>
                  <a:cubicBezTo>
                    <a:pt x="5903" y="2705"/>
                    <a:pt x="5839" y="2705"/>
                    <a:pt x="5838" y="2750"/>
                  </a:cubicBezTo>
                  <a:cubicBezTo>
                    <a:pt x="5836" y="2794"/>
                    <a:pt x="5949" y="2813"/>
                    <a:pt x="5953" y="2826"/>
                  </a:cubicBezTo>
                  <a:cubicBezTo>
                    <a:pt x="5957" y="2839"/>
                    <a:pt x="5873" y="2829"/>
                    <a:pt x="5841" y="2817"/>
                  </a:cubicBezTo>
                  <a:cubicBezTo>
                    <a:pt x="5808" y="2806"/>
                    <a:pt x="5805" y="2763"/>
                    <a:pt x="5795" y="2754"/>
                  </a:cubicBezTo>
                  <a:cubicBezTo>
                    <a:pt x="5785" y="2745"/>
                    <a:pt x="5817" y="2710"/>
                    <a:pt x="5820" y="2682"/>
                  </a:cubicBezTo>
                  <a:cubicBezTo>
                    <a:pt x="5823" y="2654"/>
                    <a:pt x="5783" y="2637"/>
                    <a:pt x="5770" y="2618"/>
                  </a:cubicBezTo>
                  <a:cubicBezTo>
                    <a:pt x="5757" y="2599"/>
                    <a:pt x="5733" y="2571"/>
                    <a:pt x="5707" y="2577"/>
                  </a:cubicBezTo>
                  <a:cubicBezTo>
                    <a:pt x="5680" y="2583"/>
                    <a:pt x="5583" y="2592"/>
                    <a:pt x="5553" y="2618"/>
                  </a:cubicBezTo>
                  <a:cubicBezTo>
                    <a:pt x="5523" y="2645"/>
                    <a:pt x="5557" y="2720"/>
                    <a:pt x="5574" y="2757"/>
                  </a:cubicBezTo>
                  <a:cubicBezTo>
                    <a:pt x="5590" y="2794"/>
                    <a:pt x="5488" y="2845"/>
                    <a:pt x="5491" y="2875"/>
                  </a:cubicBezTo>
                  <a:cubicBezTo>
                    <a:pt x="5494" y="2905"/>
                    <a:pt x="5460" y="2918"/>
                    <a:pt x="5416" y="2941"/>
                  </a:cubicBezTo>
                  <a:cubicBezTo>
                    <a:pt x="5372" y="2965"/>
                    <a:pt x="5323" y="2983"/>
                    <a:pt x="5324" y="3021"/>
                  </a:cubicBezTo>
                  <a:cubicBezTo>
                    <a:pt x="5326" y="3059"/>
                    <a:pt x="5265" y="3039"/>
                    <a:pt x="5234" y="3021"/>
                  </a:cubicBezTo>
                  <a:cubicBezTo>
                    <a:pt x="5203" y="3003"/>
                    <a:pt x="5163" y="3031"/>
                    <a:pt x="5119" y="3030"/>
                  </a:cubicBezTo>
                  <a:cubicBezTo>
                    <a:pt x="5075" y="3028"/>
                    <a:pt x="5075" y="2991"/>
                    <a:pt x="5039" y="3005"/>
                  </a:cubicBezTo>
                  <a:cubicBezTo>
                    <a:pt x="5004" y="3018"/>
                    <a:pt x="4980" y="2989"/>
                    <a:pt x="4991" y="2962"/>
                  </a:cubicBezTo>
                  <a:cubicBezTo>
                    <a:pt x="5001" y="2935"/>
                    <a:pt x="5041" y="2956"/>
                    <a:pt x="5044" y="2975"/>
                  </a:cubicBezTo>
                  <a:cubicBezTo>
                    <a:pt x="5047" y="2994"/>
                    <a:pt x="5072" y="2986"/>
                    <a:pt x="5101" y="2969"/>
                  </a:cubicBezTo>
                  <a:cubicBezTo>
                    <a:pt x="5131" y="2953"/>
                    <a:pt x="5116" y="2990"/>
                    <a:pt x="5159" y="2993"/>
                  </a:cubicBezTo>
                  <a:cubicBezTo>
                    <a:pt x="5202" y="2996"/>
                    <a:pt x="5178" y="2971"/>
                    <a:pt x="5211" y="2974"/>
                  </a:cubicBezTo>
                  <a:cubicBezTo>
                    <a:pt x="5243" y="2977"/>
                    <a:pt x="5245" y="2966"/>
                    <a:pt x="5234" y="2950"/>
                  </a:cubicBezTo>
                  <a:cubicBezTo>
                    <a:pt x="5224" y="2934"/>
                    <a:pt x="5258" y="2922"/>
                    <a:pt x="5279" y="2913"/>
                  </a:cubicBezTo>
                  <a:cubicBezTo>
                    <a:pt x="5302" y="2903"/>
                    <a:pt x="5290" y="2871"/>
                    <a:pt x="5310" y="2860"/>
                  </a:cubicBezTo>
                  <a:cubicBezTo>
                    <a:pt x="5329" y="2850"/>
                    <a:pt x="5315" y="2829"/>
                    <a:pt x="5336" y="2828"/>
                  </a:cubicBezTo>
                  <a:cubicBezTo>
                    <a:pt x="5357" y="2826"/>
                    <a:pt x="5366" y="2795"/>
                    <a:pt x="5385" y="2795"/>
                  </a:cubicBezTo>
                  <a:cubicBezTo>
                    <a:pt x="5404" y="2795"/>
                    <a:pt x="5414" y="2764"/>
                    <a:pt x="5402" y="2748"/>
                  </a:cubicBezTo>
                  <a:cubicBezTo>
                    <a:pt x="5391" y="2732"/>
                    <a:pt x="5410" y="2688"/>
                    <a:pt x="5429" y="2682"/>
                  </a:cubicBezTo>
                  <a:cubicBezTo>
                    <a:pt x="5448" y="2676"/>
                    <a:pt x="5450" y="2658"/>
                    <a:pt x="5432" y="2645"/>
                  </a:cubicBezTo>
                  <a:cubicBezTo>
                    <a:pt x="5414" y="2631"/>
                    <a:pt x="5349" y="2587"/>
                    <a:pt x="5354" y="2559"/>
                  </a:cubicBezTo>
                  <a:cubicBezTo>
                    <a:pt x="5358" y="2531"/>
                    <a:pt x="5342" y="2479"/>
                    <a:pt x="5351" y="2457"/>
                  </a:cubicBezTo>
                  <a:cubicBezTo>
                    <a:pt x="5360" y="2435"/>
                    <a:pt x="5352" y="2389"/>
                    <a:pt x="5349" y="2363"/>
                  </a:cubicBezTo>
                  <a:cubicBezTo>
                    <a:pt x="5346" y="2336"/>
                    <a:pt x="5366" y="2307"/>
                    <a:pt x="5375" y="2258"/>
                  </a:cubicBezTo>
                  <a:cubicBezTo>
                    <a:pt x="5383" y="2209"/>
                    <a:pt x="5323" y="2158"/>
                    <a:pt x="5293" y="2144"/>
                  </a:cubicBezTo>
                  <a:cubicBezTo>
                    <a:pt x="5264" y="2131"/>
                    <a:pt x="5283" y="2105"/>
                    <a:pt x="5326" y="2069"/>
                  </a:cubicBezTo>
                  <a:cubicBezTo>
                    <a:pt x="5369" y="2034"/>
                    <a:pt x="5372" y="1923"/>
                    <a:pt x="5369" y="1899"/>
                  </a:cubicBezTo>
                  <a:cubicBezTo>
                    <a:pt x="5366" y="1876"/>
                    <a:pt x="5279" y="1855"/>
                    <a:pt x="5245" y="1858"/>
                  </a:cubicBezTo>
                  <a:cubicBezTo>
                    <a:pt x="5211" y="1861"/>
                    <a:pt x="5085" y="1855"/>
                    <a:pt x="5054" y="1849"/>
                  </a:cubicBezTo>
                  <a:cubicBezTo>
                    <a:pt x="5023" y="1843"/>
                    <a:pt x="5013" y="1876"/>
                    <a:pt x="4998" y="1905"/>
                  </a:cubicBezTo>
                  <a:cubicBezTo>
                    <a:pt x="4983" y="1935"/>
                    <a:pt x="4951" y="1981"/>
                    <a:pt x="4932" y="2047"/>
                  </a:cubicBezTo>
                  <a:cubicBezTo>
                    <a:pt x="4913" y="2113"/>
                    <a:pt x="4834" y="2134"/>
                    <a:pt x="4799" y="2149"/>
                  </a:cubicBezTo>
                  <a:cubicBezTo>
                    <a:pt x="4764" y="2164"/>
                    <a:pt x="4741" y="2212"/>
                    <a:pt x="4758" y="2236"/>
                  </a:cubicBezTo>
                  <a:cubicBezTo>
                    <a:pt x="4774" y="2260"/>
                    <a:pt x="4797" y="2240"/>
                    <a:pt x="4814" y="2249"/>
                  </a:cubicBezTo>
                  <a:cubicBezTo>
                    <a:pt x="4830" y="2258"/>
                    <a:pt x="4812" y="2320"/>
                    <a:pt x="4802" y="2329"/>
                  </a:cubicBezTo>
                  <a:cubicBezTo>
                    <a:pt x="4792" y="2338"/>
                    <a:pt x="4821" y="2360"/>
                    <a:pt x="4796" y="2376"/>
                  </a:cubicBezTo>
                  <a:cubicBezTo>
                    <a:pt x="4771" y="2392"/>
                    <a:pt x="4747" y="2426"/>
                    <a:pt x="4762" y="2444"/>
                  </a:cubicBezTo>
                  <a:cubicBezTo>
                    <a:pt x="4777" y="2462"/>
                    <a:pt x="4849" y="2471"/>
                    <a:pt x="4880" y="2488"/>
                  </a:cubicBezTo>
                  <a:cubicBezTo>
                    <a:pt x="4911" y="2506"/>
                    <a:pt x="4899" y="2538"/>
                    <a:pt x="4923" y="2569"/>
                  </a:cubicBezTo>
                  <a:cubicBezTo>
                    <a:pt x="4946" y="2600"/>
                    <a:pt x="4972" y="2581"/>
                    <a:pt x="4983" y="2600"/>
                  </a:cubicBezTo>
                  <a:cubicBezTo>
                    <a:pt x="4995" y="2620"/>
                    <a:pt x="4941" y="2696"/>
                    <a:pt x="4921" y="2699"/>
                  </a:cubicBezTo>
                  <a:cubicBezTo>
                    <a:pt x="4902" y="2702"/>
                    <a:pt x="4824" y="2621"/>
                    <a:pt x="4800" y="2603"/>
                  </a:cubicBezTo>
                  <a:cubicBezTo>
                    <a:pt x="4777" y="2586"/>
                    <a:pt x="4685" y="2558"/>
                    <a:pt x="4640" y="2534"/>
                  </a:cubicBezTo>
                  <a:cubicBezTo>
                    <a:pt x="4594" y="2510"/>
                    <a:pt x="4557" y="2513"/>
                    <a:pt x="4507" y="2479"/>
                  </a:cubicBezTo>
                  <a:cubicBezTo>
                    <a:pt x="4457" y="2445"/>
                    <a:pt x="4414" y="2429"/>
                    <a:pt x="4322" y="2431"/>
                  </a:cubicBezTo>
                  <a:cubicBezTo>
                    <a:pt x="4231" y="2432"/>
                    <a:pt x="4172" y="2410"/>
                    <a:pt x="4141" y="2415"/>
                  </a:cubicBezTo>
                  <a:cubicBezTo>
                    <a:pt x="4110" y="2419"/>
                    <a:pt x="4122" y="2384"/>
                    <a:pt x="4067" y="2360"/>
                  </a:cubicBezTo>
                  <a:cubicBezTo>
                    <a:pt x="4012" y="2336"/>
                    <a:pt x="3977" y="2304"/>
                    <a:pt x="3946" y="2320"/>
                  </a:cubicBezTo>
                  <a:cubicBezTo>
                    <a:pt x="3915" y="2336"/>
                    <a:pt x="3927" y="2395"/>
                    <a:pt x="3974" y="2403"/>
                  </a:cubicBezTo>
                  <a:cubicBezTo>
                    <a:pt x="4021" y="2410"/>
                    <a:pt x="3998" y="2435"/>
                    <a:pt x="4048" y="2432"/>
                  </a:cubicBezTo>
                  <a:cubicBezTo>
                    <a:pt x="4098" y="2429"/>
                    <a:pt x="4113" y="2447"/>
                    <a:pt x="4111" y="2478"/>
                  </a:cubicBezTo>
                  <a:cubicBezTo>
                    <a:pt x="4110" y="2509"/>
                    <a:pt x="4135" y="2540"/>
                    <a:pt x="4157" y="2561"/>
                  </a:cubicBezTo>
                  <a:cubicBezTo>
                    <a:pt x="4179" y="2581"/>
                    <a:pt x="4166" y="2615"/>
                    <a:pt x="4126" y="2615"/>
                  </a:cubicBezTo>
                  <a:cubicBezTo>
                    <a:pt x="4086" y="2615"/>
                    <a:pt x="4040" y="2621"/>
                    <a:pt x="4058" y="2649"/>
                  </a:cubicBezTo>
                  <a:cubicBezTo>
                    <a:pt x="4076" y="2677"/>
                    <a:pt x="4046" y="2685"/>
                    <a:pt x="4006" y="2670"/>
                  </a:cubicBezTo>
                  <a:cubicBezTo>
                    <a:pt x="3967" y="2655"/>
                    <a:pt x="3990" y="2627"/>
                    <a:pt x="4006" y="2611"/>
                  </a:cubicBezTo>
                  <a:cubicBezTo>
                    <a:pt x="4023" y="2595"/>
                    <a:pt x="3971" y="2574"/>
                    <a:pt x="3946" y="2565"/>
                  </a:cubicBezTo>
                  <a:cubicBezTo>
                    <a:pt x="3921" y="2556"/>
                    <a:pt x="3821" y="2630"/>
                    <a:pt x="3793" y="2642"/>
                  </a:cubicBezTo>
                  <a:cubicBezTo>
                    <a:pt x="3764" y="2654"/>
                    <a:pt x="3695" y="2624"/>
                    <a:pt x="3624" y="2642"/>
                  </a:cubicBezTo>
                  <a:cubicBezTo>
                    <a:pt x="3553" y="2659"/>
                    <a:pt x="3558" y="2716"/>
                    <a:pt x="3531" y="2710"/>
                  </a:cubicBezTo>
                  <a:cubicBezTo>
                    <a:pt x="3505" y="2704"/>
                    <a:pt x="3427" y="2717"/>
                    <a:pt x="3397" y="2699"/>
                  </a:cubicBezTo>
                  <a:cubicBezTo>
                    <a:pt x="3367" y="2682"/>
                    <a:pt x="3391" y="2671"/>
                    <a:pt x="3422" y="2673"/>
                  </a:cubicBezTo>
                  <a:cubicBezTo>
                    <a:pt x="3453" y="2674"/>
                    <a:pt x="3463" y="2664"/>
                    <a:pt x="3446" y="2643"/>
                  </a:cubicBezTo>
                  <a:cubicBezTo>
                    <a:pt x="3428" y="2623"/>
                    <a:pt x="3469" y="2590"/>
                    <a:pt x="3468" y="2575"/>
                  </a:cubicBezTo>
                  <a:cubicBezTo>
                    <a:pt x="3466" y="2561"/>
                    <a:pt x="3351" y="2599"/>
                    <a:pt x="3332" y="2615"/>
                  </a:cubicBezTo>
                  <a:cubicBezTo>
                    <a:pt x="3313" y="2631"/>
                    <a:pt x="3334" y="2661"/>
                    <a:pt x="3313" y="2671"/>
                  </a:cubicBezTo>
                  <a:cubicBezTo>
                    <a:pt x="3292" y="2682"/>
                    <a:pt x="3292" y="2654"/>
                    <a:pt x="3269" y="2645"/>
                  </a:cubicBezTo>
                  <a:cubicBezTo>
                    <a:pt x="3245" y="2636"/>
                    <a:pt x="3072" y="2676"/>
                    <a:pt x="3040" y="2713"/>
                  </a:cubicBezTo>
                  <a:cubicBezTo>
                    <a:pt x="3007" y="2750"/>
                    <a:pt x="2944" y="2751"/>
                    <a:pt x="2944" y="2772"/>
                  </a:cubicBezTo>
                  <a:cubicBezTo>
                    <a:pt x="2944" y="2792"/>
                    <a:pt x="2866" y="2791"/>
                    <a:pt x="2835" y="2806"/>
                  </a:cubicBezTo>
                  <a:cubicBezTo>
                    <a:pt x="2804" y="2820"/>
                    <a:pt x="2824" y="2881"/>
                    <a:pt x="2813" y="2910"/>
                  </a:cubicBezTo>
                  <a:cubicBezTo>
                    <a:pt x="2801" y="2940"/>
                    <a:pt x="2680" y="2931"/>
                    <a:pt x="2643" y="2932"/>
                  </a:cubicBezTo>
                  <a:cubicBezTo>
                    <a:pt x="2606" y="2934"/>
                    <a:pt x="2593" y="2862"/>
                    <a:pt x="2563" y="2857"/>
                  </a:cubicBezTo>
                  <a:cubicBezTo>
                    <a:pt x="2534" y="2853"/>
                    <a:pt x="2551" y="2811"/>
                    <a:pt x="2560" y="2794"/>
                  </a:cubicBezTo>
                  <a:cubicBezTo>
                    <a:pt x="2569" y="2776"/>
                    <a:pt x="2593" y="2791"/>
                    <a:pt x="2630" y="2767"/>
                  </a:cubicBezTo>
                  <a:cubicBezTo>
                    <a:pt x="2666" y="2744"/>
                    <a:pt x="2703" y="2779"/>
                    <a:pt x="2718" y="2763"/>
                  </a:cubicBezTo>
                  <a:cubicBezTo>
                    <a:pt x="2733" y="2747"/>
                    <a:pt x="2662" y="2704"/>
                    <a:pt x="2658" y="2667"/>
                  </a:cubicBezTo>
                  <a:cubicBezTo>
                    <a:pt x="2653" y="2630"/>
                    <a:pt x="2575" y="2620"/>
                    <a:pt x="2531" y="2631"/>
                  </a:cubicBezTo>
                  <a:cubicBezTo>
                    <a:pt x="2486" y="2643"/>
                    <a:pt x="2438" y="2633"/>
                    <a:pt x="2407" y="2618"/>
                  </a:cubicBezTo>
                  <a:cubicBezTo>
                    <a:pt x="2376" y="2603"/>
                    <a:pt x="2379" y="2645"/>
                    <a:pt x="2424" y="2657"/>
                  </a:cubicBezTo>
                  <a:cubicBezTo>
                    <a:pt x="2470" y="2668"/>
                    <a:pt x="2447" y="2704"/>
                    <a:pt x="2454" y="2726"/>
                  </a:cubicBezTo>
                  <a:cubicBezTo>
                    <a:pt x="2461" y="2748"/>
                    <a:pt x="2442" y="2798"/>
                    <a:pt x="2416" y="2837"/>
                  </a:cubicBezTo>
                  <a:cubicBezTo>
                    <a:pt x="2389" y="2875"/>
                    <a:pt x="2408" y="2873"/>
                    <a:pt x="2448" y="2872"/>
                  </a:cubicBezTo>
                  <a:cubicBezTo>
                    <a:pt x="2488" y="2871"/>
                    <a:pt x="2485" y="2922"/>
                    <a:pt x="2485" y="2960"/>
                  </a:cubicBezTo>
                  <a:cubicBezTo>
                    <a:pt x="2485" y="2999"/>
                    <a:pt x="2454" y="3009"/>
                    <a:pt x="2454" y="3037"/>
                  </a:cubicBezTo>
                  <a:cubicBezTo>
                    <a:pt x="2454" y="3065"/>
                    <a:pt x="2421" y="3024"/>
                    <a:pt x="2411" y="3036"/>
                  </a:cubicBezTo>
                  <a:cubicBezTo>
                    <a:pt x="2401" y="3048"/>
                    <a:pt x="2388" y="3030"/>
                    <a:pt x="2382" y="3006"/>
                  </a:cubicBezTo>
                  <a:cubicBezTo>
                    <a:pt x="2376" y="2983"/>
                    <a:pt x="2315" y="2996"/>
                    <a:pt x="2281" y="2987"/>
                  </a:cubicBezTo>
                  <a:cubicBezTo>
                    <a:pt x="2247" y="2978"/>
                    <a:pt x="2234" y="2993"/>
                    <a:pt x="2218" y="3018"/>
                  </a:cubicBezTo>
                  <a:cubicBezTo>
                    <a:pt x="2202" y="3043"/>
                    <a:pt x="2154" y="3053"/>
                    <a:pt x="2129" y="3056"/>
                  </a:cubicBezTo>
                  <a:cubicBezTo>
                    <a:pt x="2101" y="3060"/>
                    <a:pt x="2060" y="3108"/>
                    <a:pt x="2033" y="3126"/>
                  </a:cubicBezTo>
                  <a:cubicBezTo>
                    <a:pt x="2007" y="3144"/>
                    <a:pt x="2002" y="3177"/>
                    <a:pt x="2039" y="3213"/>
                  </a:cubicBezTo>
                  <a:cubicBezTo>
                    <a:pt x="2076" y="3248"/>
                    <a:pt x="2083" y="3272"/>
                    <a:pt x="2081" y="3291"/>
                  </a:cubicBezTo>
                  <a:cubicBezTo>
                    <a:pt x="2078" y="3310"/>
                    <a:pt x="1977" y="3304"/>
                    <a:pt x="1961" y="3284"/>
                  </a:cubicBezTo>
                  <a:cubicBezTo>
                    <a:pt x="1945" y="3263"/>
                    <a:pt x="1880" y="3256"/>
                    <a:pt x="1858" y="3260"/>
                  </a:cubicBezTo>
                  <a:cubicBezTo>
                    <a:pt x="1836" y="3265"/>
                    <a:pt x="1775" y="3194"/>
                    <a:pt x="1744" y="3192"/>
                  </a:cubicBezTo>
                  <a:cubicBezTo>
                    <a:pt x="1713" y="3191"/>
                    <a:pt x="1694" y="3229"/>
                    <a:pt x="1684" y="3248"/>
                  </a:cubicBezTo>
                  <a:cubicBezTo>
                    <a:pt x="1673" y="3267"/>
                    <a:pt x="1698" y="3273"/>
                    <a:pt x="1713" y="3306"/>
                  </a:cubicBezTo>
                  <a:cubicBezTo>
                    <a:pt x="1728" y="3338"/>
                    <a:pt x="1782" y="3340"/>
                    <a:pt x="1811" y="3340"/>
                  </a:cubicBezTo>
                  <a:cubicBezTo>
                    <a:pt x="1839" y="3340"/>
                    <a:pt x="1828" y="3383"/>
                    <a:pt x="1819" y="3400"/>
                  </a:cubicBezTo>
                  <a:cubicBezTo>
                    <a:pt x="1811" y="3418"/>
                    <a:pt x="1759" y="3431"/>
                    <a:pt x="1744" y="3412"/>
                  </a:cubicBezTo>
                  <a:cubicBezTo>
                    <a:pt x="1729" y="3393"/>
                    <a:pt x="1667" y="3412"/>
                    <a:pt x="1666" y="3388"/>
                  </a:cubicBezTo>
                  <a:cubicBezTo>
                    <a:pt x="1664" y="3365"/>
                    <a:pt x="1620" y="3329"/>
                    <a:pt x="1574" y="3337"/>
                  </a:cubicBezTo>
                  <a:cubicBezTo>
                    <a:pt x="1529" y="3344"/>
                    <a:pt x="1520" y="3315"/>
                    <a:pt x="1523" y="3279"/>
                  </a:cubicBezTo>
                  <a:cubicBezTo>
                    <a:pt x="1526" y="3244"/>
                    <a:pt x="1498" y="3223"/>
                    <a:pt x="1499" y="3207"/>
                  </a:cubicBezTo>
                  <a:cubicBezTo>
                    <a:pt x="1501" y="3191"/>
                    <a:pt x="1478" y="3158"/>
                    <a:pt x="1502" y="3142"/>
                  </a:cubicBezTo>
                  <a:cubicBezTo>
                    <a:pt x="1526" y="3126"/>
                    <a:pt x="1508" y="3101"/>
                    <a:pt x="1509" y="3079"/>
                  </a:cubicBezTo>
                  <a:cubicBezTo>
                    <a:pt x="1511" y="3056"/>
                    <a:pt x="1470" y="3023"/>
                    <a:pt x="1433" y="3023"/>
                  </a:cubicBezTo>
                  <a:cubicBezTo>
                    <a:pt x="1396" y="3023"/>
                    <a:pt x="1403" y="2986"/>
                    <a:pt x="1372" y="2978"/>
                  </a:cubicBezTo>
                  <a:cubicBezTo>
                    <a:pt x="1341" y="2971"/>
                    <a:pt x="1279" y="2919"/>
                    <a:pt x="1275" y="2897"/>
                  </a:cubicBezTo>
                  <a:cubicBezTo>
                    <a:pt x="1270" y="2875"/>
                    <a:pt x="1223" y="2872"/>
                    <a:pt x="1239" y="2865"/>
                  </a:cubicBezTo>
                  <a:cubicBezTo>
                    <a:pt x="1256" y="2857"/>
                    <a:pt x="1293" y="2868"/>
                    <a:pt x="1319" y="2894"/>
                  </a:cubicBezTo>
                  <a:cubicBezTo>
                    <a:pt x="1346" y="2921"/>
                    <a:pt x="1388" y="2944"/>
                    <a:pt x="1458" y="2953"/>
                  </a:cubicBezTo>
                  <a:cubicBezTo>
                    <a:pt x="1527" y="2962"/>
                    <a:pt x="1555" y="2994"/>
                    <a:pt x="1632" y="3008"/>
                  </a:cubicBezTo>
                  <a:cubicBezTo>
                    <a:pt x="1709" y="3021"/>
                    <a:pt x="1754" y="3030"/>
                    <a:pt x="1865" y="3046"/>
                  </a:cubicBezTo>
                  <a:cubicBezTo>
                    <a:pt x="1976" y="3062"/>
                    <a:pt x="2123" y="2950"/>
                    <a:pt x="2154" y="2919"/>
                  </a:cubicBezTo>
                  <a:cubicBezTo>
                    <a:pt x="2185" y="2888"/>
                    <a:pt x="2146" y="2825"/>
                    <a:pt x="2146" y="2801"/>
                  </a:cubicBezTo>
                  <a:cubicBezTo>
                    <a:pt x="2146" y="2778"/>
                    <a:pt x="2095" y="2775"/>
                    <a:pt x="2088" y="2757"/>
                  </a:cubicBezTo>
                  <a:cubicBezTo>
                    <a:pt x="2081" y="2739"/>
                    <a:pt x="2048" y="2707"/>
                    <a:pt x="2005" y="2707"/>
                  </a:cubicBezTo>
                  <a:cubicBezTo>
                    <a:pt x="1963" y="2707"/>
                    <a:pt x="1957" y="2658"/>
                    <a:pt x="1923" y="2661"/>
                  </a:cubicBezTo>
                  <a:cubicBezTo>
                    <a:pt x="1889" y="2664"/>
                    <a:pt x="1865" y="2646"/>
                    <a:pt x="1777" y="2587"/>
                  </a:cubicBezTo>
                  <a:cubicBezTo>
                    <a:pt x="1688" y="2528"/>
                    <a:pt x="1566" y="2485"/>
                    <a:pt x="1543" y="2496"/>
                  </a:cubicBezTo>
                  <a:cubicBezTo>
                    <a:pt x="1521" y="2506"/>
                    <a:pt x="1507" y="2512"/>
                    <a:pt x="1492" y="2490"/>
                  </a:cubicBezTo>
                  <a:cubicBezTo>
                    <a:pt x="1477" y="2468"/>
                    <a:pt x="1443" y="2471"/>
                    <a:pt x="1419" y="2488"/>
                  </a:cubicBezTo>
                  <a:cubicBezTo>
                    <a:pt x="1396" y="2506"/>
                    <a:pt x="1372" y="2472"/>
                    <a:pt x="1328" y="2482"/>
                  </a:cubicBezTo>
                  <a:cubicBezTo>
                    <a:pt x="1284" y="2493"/>
                    <a:pt x="1260" y="2463"/>
                    <a:pt x="1272" y="2450"/>
                  </a:cubicBezTo>
                  <a:cubicBezTo>
                    <a:pt x="1284" y="2437"/>
                    <a:pt x="1349" y="2448"/>
                    <a:pt x="1346" y="2426"/>
                  </a:cubicBezTo>
                  <a:cubicBezTo>
                    <a:pt x="1343" y="2404"/>
                    <a:pt x="1319" y="2426"/>
                    <a:pt x="1279" y="2400"/>
                  </a:cubicBezTo>
                  <a:cubicBezTo>
                    <a:pt x="1239" y="2373"/>
                    <a:pt x="1217" y="2391"/>
                    <a:pt x="1208" y="2413"/>
                  </a:cubicBezTo>
                  <a:cubicBezTo>
                    <a:pt x="1200" y="2435"/>
                    <a:pt x="1169" y="2429"/>
                    <a:pt x="1148" y="2410"/>
                  </a:cubicBezTo>
                  <a:cubicBezTo>
                    <a:pt x="1146" y="2408"/>
                    <a:pt x="1144" y="2407"/>
                    <a:pt x="1141" y="2405"/>
                  </a:cubicBezTo>
                  <a:cubicBezTo>
                    <a:pt x="1134" y="2442"/>
                    <a:pt x="1112" y="2446"/>
                    <a:pt x="1090" y="2441"/>
                  </a:cubicBezTo>
                  <a:cubicBezTo>
                    <a:pt x="1064" y="2435"/>
                    <a:pt x="1037" y="2479"/>
                    <a:pt x="1008" y="2479"/>
                  </a:cubicBezTo>
                  <a:cubicBezTo>
                    <a:pt x="978" y="2479"/>
                    <a:pt x="946" y="2512"/>
                    <a:pt x="940" y="2538"/>
                  </a:cubicBezTo>
                  <a:cubicBezTo>
                    <a:pt x="934" y="2565"/>
                    <a:pt x="902" y="2550"/>
                    <a:pt x="902" y="2568"/>
                  </a:cubicBezTo>
                  <a:cubicBezTo>
                    <a:pt x="902" y="2586"/>
                    <a:pt x="902" y="2603"/>
                    <a:pt x="887" y="2621"/>
                  </a:cubicBezTo>
                  <a:cubicBezTo>
                    <a:pt x="872" y="2639"/>
                    <a:pt x="887" y="2648"/>
                    <a:pt x="902" y="2677"/>
                  </a:cubicBezTo>
                  <a:cubicBezTo>
                    <a:pt x="916" y="2707"/>
                    <a:pt x="949" y="2704"/>
                    <a:pt x="964" y="2713"/>
                  </a:cubicBezTo>
                  <a:cubicBezTo>
                    <a:pt x="978" y="2721"/>
                    <a:pt x="1034" y="2769"/>
                    <a:pt x="1034" y="2786"/>
                  </a:cubicBezTo>
                  <a:cubicBezTo>
                    <a:pt x="1034" y="2804"/>
                    <a:pt x="990" y="2848"/>
                    <a:pt x="972" y="2860"/>
                  </a:cubicBezTo>
                  <a:cubicBezTo>
                    <a:pt x="955" y="2872"/>
                    <a:pt x="931" y="2901"/>
                    <a:pt x="943" y="2919"/>
                  </a:cubicBezTo>
                  <a:cubicBezTo>
                    <a:pt x="955" y="2937"/>
                    <a:pt x="1005" y="3011"/>
                    <a:pt x="1037" y="3070"/>
                  </a:cubicBezTo>
                  <a:cubicBezTo>
                    <a:pt x="1070" y="3129"/>
                    <a:pt x="1026" y="3102"/>
                    <a:pt x="1005" y="3129"/>
                  </a:cubicBezTo>
                  <a:cubicBezTo>
                    <a:pt x="984" y="3155"/>
                    <a:pt x="1014" y="3188"/>
                    <a:pt x="1019" y="3206"/>
                  </a:cubicBezTo>
                  <a:cubicBezTo>
                    <a:pt x="1026" y="3223"/>
                    <a:pt x="993" y="3220"/>
                    <a:pt x="996" y="3235"/>
                  </a:cubicBezTo>
                  <a:cubicBezTo>
                    <a:pt x="999" y="3250"/>
                    <a:pt x="1043" y="3256"/>
                    <a:pt x="1046" y="3267"/>
                  </a:cubicBezTo>
                  <a:cubicBezTo>
                    <a:pt x="1049" y="3279"/>
                    <a:pt x="1017" y="3294"/>
                    <a:pt x="1031" y="3318"/>
                  </a:cubicBezTo>
                  <a:cubicBezTo>
                    <a:pt x="1046" y="3341"/>
                    <a:pt x="1082" y="3341"/>
                    <a:pt x="1084" y="3371"/>
                  </a:cubicBezTo>
                  <a:cubicBezTo>
                    <a:pt x="1087" y="3400"/>
                    <a:pt x="1019" y="3403"/>
                    <a:pt x="1023" y="3427"/>
                  </a:cubicBezTo>
                  <a:cubicBezTo>
                    <a:pt x="1026" y="3450"/>
                    <a:pt x="1111" y="3480"/>
                    <a:pt x="1149" y="3524"/>
                  </a:cubicBezTo>
                  <a:cubicBezTo>
                    <a:pt x="1188" y="3569"/>
                    <a:pt x="1185" y="3580"/>
                    <a:pt x="1176" y="3604"/>
                  </a:cubicBezTo>
                  <a:cubicBezTo>
                    <a:pt x="1158" y="3651"/>
                    <a:pt x="1052" y="3693"/>
                    <a:pt x="1028" y="3746"/>
                  </a:cubicBezTo>
                  <a:cubicBezTo>
                    <a:pt x="1005" y="3799"/>
                    <a:pt x="916" y="3828"/>
                    <a:pt x="875" y="3870"/>
                  </a:cubicBezTo>
                  <a:cubicBezTo>
                    <a:pt x="858" y="3886"/>
                    <a:pt x="841" y="3909"/>
                    <a:pt x="827" y="3930"/>
                  </a:cubicBezTo>
                  <a:cubicBezTo>
                    <a:pt x="845" y="3926"/>
                    <a:pt x="859" y="3920"/>
                    <a:pt x="869" y="3915"/>
                  </a:cubicBezTo>
                  <a:cubicBezTo>
                    <a:pt x="893" y="3903"/>
                    <a:pt x="909" y="3961"/>
                    <a:pt x="932" y="3980"/>
                  </a:cubicBezTo>
                  <a:cubicBezTo>
                    <a:pt x="956" y="3999"/>
                    <a:pt x="1003" y="3982"/>
                    <a:pt x="1019" y="3999"/>
                  </a:cubicBezTo>
                  <a:cubicBezTo>
                    <a:pt x="1036" y="4017"/>
                    <a:pt x="1006" y="4019"/>
                    <a:pt x="972" y="4013"/>
                  </a:cubicBezTo>
                  <a:cubicBezTo>
                    <a:pt x="938" y="4007"/>
                    <a:pt x="930" y="4027"/>
                    <a:pt x="876" y="4045"/>
                  </a:cubicBezTo>
                  <a:cubicBezTo>
                    <a:pt x="837" y="4058"/>
                    <a:pt x="841" y="4072"/>
                    <a:pt x="827" y="4084"/>
                  </a:cubicBezTo>
                  <a:cubicBezTo>
                    <a:pt x="851" y="4118"/>
                    <a:pt x="819" y="4123"/>
                    <a:pt x="807" y="4149"/>
                  </a:cubicBezTo>
                  <a:cubicBezTo>
                    <a:pt x="794" y="4178"/>
                    <a:pt x="776" y="4182"/>
                    <a:pt x="774" y="4200"/>
                  </a:cubicBezTo>
                  <a:cubicBezTo>
                    <a:pt x="772" y="4218"/>
                    <a:pt x="778" y="4231"/>
                    <a:pt x="780" y="4258"/>
                  </a:cubicBezTo>
                  <a:cubicBezTo>
                    <a:pt x="783" y="4284"/>
                    <a:pt x="787" y="4289"/>
                    <a:pt x="803" y="4311"/>
                  </a:cubicBezTo>
                  <a:cubicBezTo>
                    <a:pt x="818" y="4333"/>
                    <a:pt x="789" y="4333"/>
                    <a:pt x="776" y="4344"/>
                  </a:cubicBezTo>
                  <a:cubicBezTo>
                    <a:pt x="763" y="4355"/>
                    <a:pt x="772" y="4379"/>
                    <a:pt x="789" y="4397"/>
                  </a:cubicBezTo>
                  <a:cubicBezTo>
                    <a:pt x="807" y="4415"/>
                    <a:pt x="807" y="4437"/>
                    <a:pt x="800" y="4452"/>
                  </a:cubicBezTo>
                  <a:cubicBezTo>
                    <a:pt x="794" y="4468"/>
                    <a:pt x="816" y="4495"/>
                    <a:pt x="831" y="4510"/>
                  </a:cubicBezTo>
                  <a:cubicBezTo>
                    <a:pt x="847" y="4526"/>
                    <a:pt x="845" y="4568"/>
                    <a:pt x="858" y="4579"/>
                  </a:cubicBezTo>
                  <a:cubicBezTo>
                    <a:pt x="871" y="4590"/>
                    <a:pt x="887" y="4601"/>
                    <a:pt x="911" y="4594"/>
                  </a:cubicBezTo>
                  <a:cubicBezTo>
                    <a:pt x="935" y="4587"/>
                    <a:pt x="951" y="4599"/>
                    <a:pt x="962" y="4619"/>
                  </a:cubicBezTo>
                  <a:cubicBezTo>
                    <a:pt x="973" y="4638"/>
                    <a:pt x="991" y="4630"/>
                    <a:pt x="1015" y="4619"/>
                  </a:cubicBezTo>
                  <a:cubicBezTo>
                    <a:pt x="1039" y="4607"/>
                    <a:pt x="1095" y="4638"/>
                    <a:pt x="1108" y="4645"/>
                  </a:cubicBezTo>
                  <a:cubicBezTo>
                    <a:pt x="1121" y="4652"/>
                    <a:pt x="1115" y="4689"/>
                    <a:pt x="1117" y="4714"/>
                  </a:cubicBezTo>
                  <a:cubicBezTo>
                    <a:pt x="1119" y="4738"/>
                    <a:pt x="1104" y="4769"/>
                    <a:pt x="1128" y="4785"/>
                  </a:cubicBezTo>
                  <a:cubicBezTo>
                    <a:pt x="1152" y="4800"/>
                    <a:pt x="1146" y="4835"/>
                    <a:pt x="1174" y="4846"/>
                  </a:cubicBezTo>
                  <a:cubicBezTo>
                    <a:pt x="1203" y="4858"/>
                    <a:pt x="1214" y="4897"/>
                    <a:pt x="1232" y="4902"/>
                  </a:cubicBezTo>
                  <a:cubicBezTo>
                    <a:pt x="1250" y="4906"/>
                    <a:pt x="1283" y="4933"/>
                    <a:pt x="1287" y="4953"/>
                  </a:cubicBezTo>
                  <a:cubicBezTo>
                    <a:pt x="1292" y="4973"/>
                    <a:pt x="1256" y="4990"/>
                    <a:pt x="1236" y="4999"/>
                  </a:cubicBezTo>
                  <a:cubicBezTo>
                    <a:pt x="1217" y="5008"/>
                    <a:pt x="1179" y="4973"/>
                    <a:pt x="1166" y="4988"/>
                  </a:cubicBezTo>
                  <a:cubicBezTo>
                    <a:pt x="1152" y="5004"/>
                    <a:pt x="1170" y="5032"/>
                    <a:pt x="1181" y="5081"/>
                  </a:cubicBezTo>
                  <a:cubicBezTo>
                    <a:pt x="1192" y="5130"/>
                    <a:pt x="1201" y="5134"/>
                    <a:pt x="1223" y="5134"/>
                  </a:cubicBezTo>
                  <a:cubicBezTo>
                    <a:pt x="1245" y="5134"/>
                    <a:pt x="1254" y="5119"/>
                    <a:pt x="1270" y="5110"/>
                  </a:cubicBezTo>
                  <a:cubicBezTo>
                    <a:pt x="1285" y="5101"/>
                    <a:pt x="1321" y="5114"/>
                    <a:pt x="1336" y="5108"/>
                  </a:cubicBezTo>
                  <a:cubicBezTo>
                    <a:pt x="1352" y="5101"/>
                    <a:pt x="1407" y="5099"/>
                    <a:pt x="1418" y="5117"/>
                  </a:cubicBezTo>
                  <a:cubicBezTo>
                    <a:pt x="1429" y="5134"/>
                    <a:pt x="1440" y="5176"/>
                    <a:pt x="1431" y="5192"/>
                  </a:cubicBezTo>
                  <a:cubicBezTo>
                    <a:pt x="1422" y="5207"/>
                    <a:pt x="1442" y="5225"/>
                    <a:pt x="1453" y="5247"/>
                  </a:cubicBezTo>
                  <a:cubicBezTo>
                    <a:pt x="1464" y="5269"/>
                    <a:pt x="1511" y="5258"/>
                    <a:pt x="1526" y="5265"/>
                  </a:cubicBezTo>
                  <a:cubicBezTo>
                    <a:pt x="1542" y="5272"/>
                    <a:pt x="1577" y="5320"/>
                    <a:pt x="1571" y="5342"/>
                  </a:cubicBezTo>
                  <a:cubicBezTo>
                    <a:pt x="1564" y="5364"/>
                    <a:pt x="1593" y="5369"/>
                    <a:pt x="1608" y="5362"/>
                  </a:cubicBezTo>
                  <a:cubicBezTo>
                    <a:pt x="1624" y="5356"/>
                    <a:pt x="1639" y="5373"/>
                    <a:pt x="1657" y="5384"/>
                  </a:cubicBezTo>
                  <a:cubicBezTo>
                    <a:pt x="1675" y="5395"/>
                    <a:pt x="1690" y="5391"/>
                    <a:pt x="1708" y="5380"/>
                  </a:cubicBezTo>
                  <a:cubicBezTo>
                    <a:pt x="1726" y="5369"/>
                    <a:pt x="1754" y="5360"/>
                    <a:pt x="1763" y="5376"/>
                  </a:cubicBezTo>
                  <a:cubicBezTo>
                    <a:pt x="1772" y="5391"/>
                    <a:pt x="1808" y="5420"/>
                    <a:pt x="1808" y="5429"/>
                  </a:cubicBezTo>
                  <a:cubicBezTo>
                    <a:pt x="1808" y="5437"/>
                    <a:pt x="1863" y="5429"/>
                    <a:pt x="1889" y="5442"/>
                  </a:cubicBezTo>
                  <a:cubicBezTo>
                    <a:pt x="1916" y="5455"/>
                    <a:pt x="1945" y="5449"/>
                    <a:pt x="1974" y="5464"/>
                  </a:cubicBezTo>
                  <a:cubicBezTo>
                    <a:pt x="2002" y="5480"/>
                    <a:pt x="2029" y="5482"/>
                    <a:pt x="2031" y="5500"/>
                  </a:cubicBezTo>
                  <a:cubicBezTo>
                    <a:pt x="2033" y="5517"/>
                    <a:pt x="2002" y="5533"/>
                    <a:pt x="2002" y="5542"/>
                  </a:cubicBezTo>
                  <a:cubicBezTo>
                    <a:pt x="2002" y="5550"/>
                    <a:pt x="2027" y="5557"/>
                    <a:pt x="2027" y="5570"/>
                  </a:cubicBezTo>
                  <a:cubicBezTo>
                    <a:pt x="2027" y="5584"/>
                    <a:pt x="1996" y="5584"/>
                    <a:pt x="1991" y="5595"/>
                  </a:cubicBezTo>
                  <a:cubicBezTo>
                    <a:pt x="1987" y="5606"/>
                    <a:pt x="2009" y="5621"/>
                    <a:pt x="2013" y="5632"/>
                  </a:cubicBezTo>
                  <a:cubicBezTo>
                    <a:pt x="2018" y="5643"/>
                    <a:pt x="1996" y="5681"/>
                    <a:pt x="1996" y="5692"/>
                  </a:cubicBezTo>
                  <a:cubicBezTo>
                    <a:pt x="1996" y="5703"/>
                    <a:pt x="1929" y="5690"/>
                    <a:pt x="1914" y="5690"/>
                  </a:cubicBezTo>
                  <a:cubicBezTo>
                    <a:pt x="1898" y="5690"/>
                    <a:pt x="1852" y="5741"/>
                    <a:pt x="1836" y="5743"/>
                  </a:cubicBezTo>
                  <a:cubicBezTo>
                    <a:pt x="1823" y="5745"/>
                    <a:pt x="1829" y="5769"/>
                    <a:pt x="1834" y="5790"/>
                  </a:cubicBezTo>
                  <a:cubicBezTo>
                    <a:pt x="1882" y="5781"/>
                    <a:pt x="1931" y="5777"/>
                    <a:pt x="1936" y="5788"/>
                  </a:cubicBezTo>
                  <a:cubicBezTo>
                    <a:pt x="1945" y="5806"/>
                    <a:pt x="1833" y="5853"/>
                    <a:pt x="1812" y="5860"/>
                  </a:cubicBezTo>
                  <a:cubicBezTo>
                    <a:pt x="1791" y="5868"/>
                    <a:pt x="1852" y="5899"/>
                    <a:pt x="1850" y="5916"/>
                  </a:cubicBezTo>
                  <a:cubicBezTo>
                    <a:pt x="1849" y="5934"/>
                    <a:pt x="1785" y="5939"/>
                    <a:pt x="1791" y="5974"/>
                  </a:cubicBezTo>
                  <a:cubicBezTo>
                    <a:pt x="1797" y="6009"/>
                    <a:pt x="1771" y="6017"/>
                    <a:pt x="1737" y="6017"/>
                  </a:cubicBezTo>
                  <a:cubicBezTo>
                    <a:pt x="1703" y="6017"/>
                    <a:pt x="1694" y="6037"/>
                    <a:pt x="1710" y="6040"/>
                  </a:cubicBezTo>
                  <a:cubicBezTo>
                    <a:pt x="1726" y="6043"/>
                    <a:pt x="1725" y="6088"/>
                    <a:pt x="1788" y="6104"/>
                  </a:cubicBezTo>
                  <a:cubicBezTo>
                    <a:pt x="1852" y="6120"/>
                    <a:pt x="1920" y="6179"/>
                    <a:pt x="1974" y="6238"/>
                  </a:cubicBezTo>
                  <a:cubicBezTo>
                    <a:pt x="1982" y="6246"/>
                    <a:pt x="1991" y="6253"/>
                    <a:pt x="2000" y="6259"/>
                  </a:cubicBezTo>
                  <a:cubicBezTo>
                    <a:pt x="2016" y="6249"/>
                    <a:pt x="2030" y="6242"/>
                    <a:pt x="2038" y="6241"/>
                  </a:cubicBezTo>
                  <a:cubicBezTo>
                    <a:pt x="2069" y="6237"/>
                    <a:pt x="2126" y="6254"/>
                    <a:pt x="2157" y="6276"/>
                  </a:cubicBezTo>
                  <a:cubicBezTo>
                    <a:pt x="2188" y="6299"/>
                    <a:pt x="2299" y="6272"/>
                    <a:pt x="2312" y="6290"/>
                  </a:cubicBezTo>
                  <a:cubicBezTo>
                    <a:pt x="2326" y="6307"/>
                    <a:pt x="2352" y="6330"/>
                    <a:pt x="2374" y="6330"/>
                  </a:cubicBezTo>
                  <a:cubicBezTo>
                    <a:pt x="2396" y="6330"/>
                    <a:pt x="2419" y="6374"/>
                    <a:pt x="2436" y="6361"/>
                  </a:cubicBezTo>
                  <a:cubicBezTo>
                    <a:pt x="2454" y="6347"/>
                    <a:pt x="2520" y="6347"/>
                    <a:pt x="2538" y="6347"/>
                  </a:cubicBezTo>
                  <a:cubicBezTo>
                    <a:pt x="2556" y="6347"/>
                    <a:pt x="2556" y="6361"/>
                    <a:pt x="2573" y="6361"/>
                  </a:cubicBezTo>
                  <a:cubicBezTo>
                    <a:pt x="2591" y="6361"/>
                    <a:pt x="2591" y="6427"/>
                    <a:pt x="2605" y="6423"/>
                  </a:cubicBezTo>
                  <a:cubicBezTo>
                    <a:pt x="2618" y="6418"/>
                    <a:pt x="2666" y="6462"/>
                    <a:pt x="2697" y="6467"/>
                  </a:cubicBezTo>
                  <a:cubicBezTo>
                    <a:pt x="2728" y="6471"/>
                    <a:pt x="2759" y="6524"/>
                    <a:pt x="2773" y="6520"/>
                  </a:cubicBezTo>
                  <a:cubicBezTo>
                    <a:pt x="2786" y="6516"/>
                    <a:pt x="2808" y="6542"/>
                    <a:pt x="2817" y="6520"/>
                  </a:cubicBezTo>
                  <a:cubicBezTo>
                    <a:pt x="2825" y="6499"/>
                    <a:pt x="2869" y="6509"/>
                    <a:pt x="2881" y="6473"/>
                  </a:cubicBezTo>
                  <a:cubicBezTo>
                    <a:pt x="2825" y="6404"/>
                    <a:pt x="2765" y="6328"/>
                    <a:pt x="2767" y="6299"/>
                  </a:cubicBezTo>
                  <a:cubicBezTo>
                    <a:pt x="2770" y="6248"/>
                    <a:pt x="2790" y="6216"/>
                    <a:pt x="2728" y="6163"/>
                  </a:cubicBezTo>
                  <a:cubicBezTo>
                    <a:pt x="2666" y="6110"/>
                    <a:pt x="2734" y="6074"/>
                    <a:pt x="2779" y="6018"/>
                  </a:cubicBezTo>
                  <a:cubicBezTo>
                    <a:pt x="2818" y="5968"/>
                    <a:pt x="2902" y="5946"/>
                    <a:pt x="2956" y="5910"/>
                  </a:cubicBezTo>
                  <a:cubicBezTo>
                    <a:pt x="2945" y="5903"/>
                    <a:pt x="2934" y="5896"/>
                    <a:pt x="2923" y="5891"/>
                  </a:cubicBezTo>
                  <a:cubicBezTo>
                    <a:pt x="2883" y="5874"/>
                    <a:pt x="2870" y="5856"/>
                    <a:pt x="2901" y="5847"/>
                  </a:cubicBezTo>
                  <a:cubicBezTo>
                    <a:pt x="2932" y="5838"/>
                    <a:pt x="2919" y="5820"/>
                    <a:pt x="2888" y="5785"/>
                  </a:cubicBezTo>
                  <a:cubicBezTo>
                    <a:pt x="2857" y="5750"/>
                    <a:pt x="2844" y="5714"/>
                    <a:pt x="2826" y="5714"/>
                  </a:cubicBezTo>
                  <a:cubicBezTo>
                    <a:pt x="2808" y="5714"/>
                    <a:pt x="2782" y="5710"/>
                    <a:pt x="2755" y="5719"/>
                  </a:cubicBezTo>
                  <a:cubicBezTo>
                    <a:pt x="2728" y="5727"/>
                    <a:pt x="2733" y="5696"/>
                    <a:pt x="2737" y="5666"/>
                  </a:cubicBezTo>
                  <a:cubicBezTo>
                    <a:pt x="2742" y="5635"/>
                    <a:pt x="2689" y="5639"/>
                    <a:pt x="2680" y="5626"/>
                  </a:cubicBezTo>
                  <a:cubicBezTo>
                    <a:pt x="2671" y="5612"/>
                    <a:pt x="2693" y="5568"/>
                    <a:pt x="2702" y="5564"/>
                  </a:cubicBezTo>
                  <a:cubicBezTo>
                    <a:pt x="2711" y="5559"/>
                    <a:pt x="2737" y="5546"/>
                    <a:pt x="2737" y="5533"/>
                  </a:cubicBezTo>
                  <a:cubicBezTo>
                    <a:pt x="2737" y="5519"/>
                    <a:pt x="2689" y="5515"/>
                    <a:pt x="2706" y="5484"/>
                  </a:cubicBezTo>
                  <a:cubicBezTo>
                    <a:pt x="2724" y="5453"/>
                    <a:pt x="2759" y="5453"/>
                    <a:pt x="2759" y="5422"/>
                  </a:cubicBezTo>
                  <a:cubicBezTo>
                    <a:pt x="2759" y="5391"/>
                    <a:pt x="2786" y="5364"/>
                    <a:pt x="2817" y="5387"/>
                  </a:cubicBezTo>
                  <a:cubicBezTo>
                    <a:pt x="2848" y="5409"/>
                    <a:pt x="2861" y="5466"/>
                    <a:pt x="2897" y="5453"/>
                  </a:cubicBezTo>
                  <a:cubicBezTo>
                    <a:pt x="2932" y="5440"/>
                    <a:pt x="2910" y="5409"/>
                    <a:pt x="2906" y="5391"/>
                  </a:cubicBezTo>
                  <a:cubicBezTo>
                    <a:pt x="2901" y="5373"/>
                    <a:pt x="2892" y="5347"/>
                    <a:pt x="2932" y="5338"/>
                  </a:cubicBezTo>
                  <a:cubicBezTo>
                    <a:pt x="2972" y="5329"/>
                    <a:pt x="2954" y="5289"/>
                    <a:pt x="2985" y="5289"/>
                  </a:cubicBezTo>
                  <a:cubicBezTo>
                    <a:pt x="3016" y="5289"/>
                    <a:pt x="3074" y="5249"/>
                    <a:pt x="3091" y="5240"/>
                  </a:cubicBezTo>
                  <a:cubicBezTo>
                    <a:pt x="3109" y="5232"/>
                    <a:pt x="3149" y="5210"/>
                    <a:pt x="3167" y="5218"/>
                  </a:cubicBezTo>
                  <a:cubicBezTo>
                    <a:pt x="3184" y="5227"/>
                    <a:pt x="3207" y="5249"/>
                    <a:pt x="3220" y="5218"/>
                  </a:cubicBezTo>
                  <a:cubicBezTo>
                    <a:pt x="3233" y="5187"/>
                    <a:pt x="3286" y="5201"/>
                    <a:pt x="3291" y="5218"/>
                  </a:cubicBezTo>
                  <a:cubicBezTo>
                    <a:pt x="3295" y="5236"/>
                    <a:pt x="3379" y="5236"/>
                    <a:pt x="3406" y="5254"/>
                  </a:cubicBezTo>
                  <a:cubicBezTo>
                    <a:pt x="3432" y="5272"/>
                    <a:pt x="3490" y="5307"/>
                    <a:pt x="3490" y="5325"/>
                  </a:cubicBezTo>
                  <a:cubicBezTo>
                    <a:pt x="3490" y="5342"/>
                    <a:pt x="3516" y="5369"/>
                    <a:pt x="3516" y="5338"/>
                  </a:cubicBezTo>
                  <a:cubicBezTo>
                    <a:pt x="3516" y="5307"/>
                    <a:pt x="3539" y="5316"/>
                    <a:pt x="3574" y="5338"/>
                  </a:cubicBezTo>
                  <a:cubicBezTo>
                    <a:pt x="3609" y="5360"/>
                    <a:pt x="3658" y="5351"/>
                    <a:pt x="3667" y="5329"/>
                  </a:cubicBezTo>
                  <a:cubicBezTo>
                    <a:pt x="3676" y="5307"/>
                    <a:pt x="3742" y="5280"/>
                    <a:pt x="3764" y="5298"/>
                  </a:cubicBezTo>
                  <a:cubicBezTo>
                    <a:pt x="3787" y="5316"/>
                    <a:pt x="3795" y="5329"/>
                    <a:pt x="3822" y="5303"/>
                  </a:cubicBezTo>
                  <a:cubicBezTo>
                    <a:pt x="3848" y="5276"/>
                    <a:pt x="3911" y="5280"/>
                    <a:pt x="3919" y="5307"/>
                  </a:cubicBezTo>
                  <a:cubicBezTo>
                    <a:pt x="3928" y="5333"/>
                    <a:pt x="3959" y="5338"/>
                    <a:pt x="3986" y="5338"/>
                  </a:cubicBezTo>
                  <a:cubicBezTo>
                    <a:pt x="4012" y="5338"/>
                    <a:pt x="4017" y="5378"/>
                    <a:pt x="4034" y="5369"/>
                  </a:cubicBezTo>
                  <a:cubicBezTo>
                    <a:pt x="4052" y="5360"/>
                    <a:pt x="4048" y="5316"/>
                    <a:pt x="4070" y="5320"/>
                  </a:cubicBezTo>
                  <a:cubicBezTo>
                    <a:pt x="4092" y="5325"/>
                    <a:pt x="4110" y="5351"/>
                    <a:pt x="4145" y="5351"/>
                  </a:cubicBezTo>
                  <a:cubicBezTo>
                    <a:pt x="4181" y="5351"/>
                    <a:pt x="4207" y="5342"/>
                    <a:pt x="4207" y="5316"/>
                  </a:cubicBezTo>
                  <a:cubicBezTo>
                    <a:pt x="4207" y="5289"/>
                    <a:pt x="4203" y="5245"/>
                    <a:pt x="4181" y="5245"/>
                  </a:cubicBezTo>
                  <a:cubicBezTo>
                    <a:pt x="4158" y="5245"/>
                    <a:pt x="4136" y="5223"/>
                    <a:pt x="4110" y="5223"/>
                  </a:cubicBezTo>
                  <a:cubicBezTo>
                    <a:pt x="4083" y="5223"/>
                    <a:pt x="4057" y="5178"/>
                    <a:pt x="4083" y="5170"/>
                  </a:cubicBezTo>
                  <a:cubicBezTo>
                    <a:pt x="4110" y="5161"/>
                    <a:pt x="4154" y="5139"/>
                    <a:pt x="4145" y="5117"/>
                  </a:cubicBezTo>
                  <a:cubicBezTo>
                    <a:pt x="4136" y="5094"/>
                    <a:pt x="4127" y="5050"/>
                    <a:pt x="4163" y="5046"/>
                  </a:cubicBezTo>
                  <a:cubicBezTo>
                    <a:pt x="4198" y="5041"/>
                    <a:pt x="4274" y="5041"/>
                    <a:pt x="4269" y="5028"/>
                  </a:cubicBezTo>
                  <a:cubicBezTo>
                    <a:pt x="4265" y="5015"/>
                    <a:pt x="4194" y="5006"/>
                    <a:pt x="4181" y="4984"/>
                  </a:cubicBezTo>
                  <a:cubicBezTo>
                    <a:pt x="4167" y="4962"/>
                    <a:pt x="4163" y="4908"/>
                    <a:pt x="4176" y="4900"/>
                  </a:cubicBezTo>
                  <a:cubicBezTo>
                    <a:pt x="4189" y="4891"/>
                    <a:pt x="4234" y="4904"/>
                    <a:pt x="4260" y="4895"/>
                  </a:cubicBezTo>
                  <a:cubicBezTo>
                    <a:pt x="4287" y="4886"/>
                    <a:pt x="4344" y="4908"/>
                    <a:pt x="4380" y="4882"/>
                  </a:cubicBezTo>
                  <a:cubicBezTo>
                    <a:pt x="4415" y="4855"/>
                    <a:pt x="4490" y="4851"/>
                    <a:pt x="4530" y="4851"/>
                  </a:cubicBezTo>
                  <a:cubicBezTo>
                    <a:pt x="4570" y="4851"/>
                    <a:pt x="4601" y="4824"/>
                    <a:pt x="4632" y="4820"/>
                  </a:cubicBezTo>
                  <a:cubicBezTo>
                    <a:pt x="4663" y="4815"/>
                    <a:pt x="4752" y="4802"/>
                    <a:pt x="4774" y="4793"/>
                  </a:cubicBezTo>
                  <a:cubicBezTo>
                    <a:pt x="4796" y="4785"/>
                    <a:pt x="4915" y="4767"/>
                    <a:pt x="4920" y="4745"/>
                  </a:cubicBezTo>
                  <a:cubicBezTo>
                    <a:pt x="4924" y="4723"/>
                    <a:pt x="5020" y="4705"/>
                    <a:pt x="5044" y="4716"/>
                  </a:cubicBezTo>
                  <a:cubicBezTo>
                    <a:pt x="5068" y="4727"/>
                    <a:pt x="5099" y="4736"/>
                    <a:pt x="5121" y="4727"/>
                  </a:cubicBezTo>
                  <a:cubicBezTo>
                    <a:pt x="5143" y="4718"/>
                    <a:pt x="5190" y="4742"/>
                    <a:pt x="5186" y="4767"/>
                  </a:cubicBezTo>
                  <a:cubicBezTo>
                    <a:pt x="5181" y="4791"/>
                    <a:pt x="5205" y="4818"/>
                    <a:pt x="5203" y="4838"/>
                  </a:cubicBezTo>
                  <a:cubicBezTo>
                    <a:pt x="5201" y="4858"/>
                    <a:pt x="5179" y="4864"/>
                    <a:pt x="5192" y="4880"/>
                  </a:cubicBezTo>
                  <a:cubicBezTo>
                    <a:pt x="5205" y="4895"/>
                    <a:pt x="5265" y="4884"/>
                    <a:pt x="5283" y="4864"/>
                  </a:cubicBezTo>
                  <a:cubicBezTo>
                    <a:pt x="5301" y="4844"/>
                    <a:pt x="5321" y="4873"/>
                    <a:pt x="5321" y="4889"/>
                  </a:cubicBezTo>
                  <a:cubicBezTo>
                    <a:pt x="5321" y="4904"/>
                    <a:pt x="5349" y="4915"/>
                    <a:pt x="5349" y="4895"/>
                  </a:cubicBezTo>
                  <a:cubicBezTo>
                    <a:pt x="5349" y="4875"/>
                    <a:pt x="5385" y="4889"/>
                    <a:pt x="5396" y="4902"/>
                  </a:cubicBezTo>
                  <a:cubicBezTo>
                    <a:pt x="5407" y="4915"/>
                    <a:pt x="5449" y="4886"/>
                    <a:pt x="5449" y="4908"/>
                  </a:cubicBezTo>
                  <a:cubicBezTo>
                    <a:pt x="5449" y="4931"/>
                    <a:pt x="5387" y="4948"/>
                    <a:pt x="5414" y="4973"/>
                  </a:cubicBezTo>
                  <a:cubicBezTo>
                    <a:pt x="5440" y="4997"/>
                    <a:pt x="5456" y="4944"/>
                    <a:pt x="5489" y="4955"/>
                  </a:cubicBezTo>
                  <a:cubicBezTo>
                    <a:pt x="5522" y="4966"/>
                    <a:pt x="5566" y="4917"/>
                    <a:pt x="5597" y="4911"/>
                  </a:cubicBezTo>
                  <a:cubicBezTo>
                    <a:pt x="5628" y="4904"/>
                    <a:pt x="5661" y="4875"/>
                    <a:pt x="5688" y="4860"/>
                  </a:cubicBezTo>
                  <a:cubicBezTo>
                    <a:pt x="5715" y="4844"/>
                    <a:pt x="5772" y="4849"/>
                    <a:pt x="5754" y="4866"/>
                  </a:cubicBezTo>
                  <a:cubicBezTo>
                    <a:pt x="5737" y="4884"/>
                    <a:pt x="5717" y="4917"/>
                    <a:pt x="5783" y="4942"/>
                  </a:cubicBezTo>
                  <a:cubicBezTo>
                    <a:pt x="5850" y="4966"/>
                    <a:pt x="5925" y="5094"/>
                    <a:pt x="5967" y="5159"/>
                  </a:cubicBezTo>
                  <a:cubicBezTo>
                    <a:pt x="6009" y="5223"/>
                    <a:pt x="6049" y="5338"/>
                    <a:pt x="6071" y="5338"/>
                  </a:cubicBezTo>
                  <a:cubicBezTo>
                    <a:pt x="6093" y="5338"/>
                    <a:pt x="6100" y="5280"/>
                    <a:pt x="6129" y="5274"/>
                  </a:cubicBezTo>
                  <a:cubicBezTo>
                    <a:pt x="6157" y="5267"/>
                    <a:pt x="6175" y="5322"/>
                    <a:pt x="6206" y="5329"/>
                  </a:cubicBezTo>
                  <a:cubicBezTo>
                    <a:pt x="6237" y="5336"/>
                    <a:pt x="6279" y="5353"/>
                    <a:pt x="6303" y="5345"/>
                  </a:cubicBezTo>
                  <a:cubicBezTo>
                    <a:pt x="6328" y="5336"/>
                    <a:pt x="6383" y="5305"/>
                    <a:pt x="6403" y="5316"/>
                  </a:cubicBezTo>
                  <a:cubicBezTo>
                    <a:pt x="6423" y="5327"/>
                    <a:pt x="6450" y="5327"/>
                    <a:pt x="6467" y="5369"/>
                  </a:cubicBezTo>
                  <a:cubicBezTo>
                    <a:pt x="6485" y="5411"/>
                    <a:pt x="6512" y="5420"/>
                    <a:pt x="6529" y="5420"/>
                  </a:cubicBezTo>
                  <a:cubicBezTo>
                    <a:pt x="6547" y="5420"/>
                    <a:pt x="6551" y="5440"/>
                    <a:pt x="6551" y="5457"/>
                  </a:cubicBezTo>
                  <a:cubicBezTo>
                    <a:pt x="6551" y="5475"/>
                    <a:pt x="6583" y="5499"/>
                    <a:pt x="6601" y="5499"/>
                  </a:cubicBezTo>
                  <a:cubicBezTo>
                    <a:pt x="6619" y="5499"/>
                    <a:pt x="6666" y="5493"/>
                    <a:pt x="6681" y="5484"/>
                  </a:cubicBezTo>
                  <a:cubicBezTo>
                    <a:pt x="6695" y="5475"/>
                    <a:pt x="6713" y="5466"/>
                    <a:pt x="6716" y="5487"/>
                  </a:cubicBezTo>
                  <a:cubicBezTo>
                    <a:pt x="6719" y="5508"/>
                    <a:pt x="6745" y="5540"/>
                    <a:pt x="6763" y="5540"/>
                  </a:cubicBezTo>
                  <a:cubicBezTo>
                    <a:pt x="6781" y="5540"/>
                    <a:pt x="6816" y="5555"/>
                    <a:pt x="6819" y="5540"/>
                  </a:cubicBezTo>
                  <a:cubicBezTo>
                    <a:pt x="6822" y="5525"/>
                    <a:pt x="6869" y="5517"/>
                    <a:pt x="6887" y="5514"/>
                  </a:cubicBezTo>
                  <a:cubicBezTo>
                    <a:pt x="6905" y="5511"/>
                    <a:pt x="6967" y="5499"/>
                    <a:pt x="6979" y="5472"/>
                  </a:cubicBezTo>
                  <a:cubicBezTo>
                    <a:pt x="6990" y="5446"/>
                    <a:pt x="7041" y="5446"/>
                    <a:pt x="7055" y="5428"/>
                  </a:cubicBezTo>
                  <a:cubicBezTo>
                    <a:pt x="7070" y="5410"/>
                    <a:pt x="7111" y="5401"/>
                    <a:pt x="7120" y="5384"/>
                  </a:cubicBezTo>
                  <a:cubicBezTo>
                    <a:pt x="7129" y="5366"/>
                    <a:pt x="7182" y="5369"/>
                    <a:pt x="7188" y="5354"/>
                  </a:cubicBezTo>
                  <a:cubicBezTo>
                    <a:pt x="7194" y="5339"/>
                    <a:pt x="7238" y="5336"/>
                    <a:pt x="7259" y="5342"/>
                  </a:cubicBezTo>
                  <a:cubicBezTo>
                    <a:pt x="7280" y="5348"/>
                    <a:pt x="7383" y="5369"/>
                    <a:pt x="7398" y="5366"/>
                  </a:cubicBezTo>
                  <a:cubicBezTo>
                    <a:pt x="7412" y="5363"/>
                    <a:pt x="7415" y="5419"/>
                    <a:pt x="7430" y="5422"/>
                  </a:cubicBezTo>
                  <a:cubicBezTo>
                    <a:pt x="7445" y="5425"/>
                    <a:pt x="7498" y="5466"/>
                    <a:pt x="7513" y="5455"/>
                  </a:cubicBezTo>
                  <a:cubicBezTo>
                    <a:pt x="7528" y="5443"/>
                    <a:pt x="7563" y="5431"/>
                    <a:pt x="7593" y="5449"/>
                  </a:cubicBezTo>
                  <a:cubicBezTo>
                    <a:pt x="7622" y="5466"/>
                    <a:pt x="7652" y="5490"/>
                    <a:pt x="7663" y="5469"/>
                  </a:cubicBezTo>
                  <a:cubicBezTo>
                    <a:pt x="7675" y="5449"/>
                    <a:pt x="7737" y="5440"/>
                    <a:pt x="7746" y="5428"/>
                  </a:cubicBezTo>
                  <a:cubicBezTo>
                    <a:pt x="7755" y="5416"/>
                    <a:pt x="7764" y="5381"/>
                    <a:pt x="7749" y="5369"/>
                  </a:cubicBezTo>
                  <a:cubicBezTo>
                    <a:pt x="7734" y="5357"/>
                    <a:pt x="7719" y="5310"/>
                    <a:pt x="7714" y="5286"/>
                  </a:cubicBezTo>
                  <a:cubicBezTo>
                    <a:pt x="7708" y="5263"/>
                    <a:pt x="7749" y="5257"/>
                    <a:pt x="7755" y="5236"/>
                  </a:cubicBezTo>
                  <a:cubicBezTo>
                    <a:pt x="7761" y="5215"/>
                    <a:pt x="7796" y="5212"/>
                    <a:pt x="7808" y="5201"/>
                  </a:cubicBezTo>
                  <a:cubicBezTo>
                    <a:pt x="7820" y="5189"/>
                    <a:pt x="7823" y="5162"/>
                    <a:pt x="7843" y="5168"/>
                  </a:cubicBezTo>
                  <a:cubicBezTo>
                    <a:pt x="7864" y="5174"/>
                    <a:pt x="7908" y="5189"/>
                    <a:pt x="7917" y="5198"/>
                  </a:cubicBezTo>
                  <a:cubicBezTo>
                    <a:pt x="7926" y="5207"/>
                    <a:pt x="7959" y="5212"/>
                    <a:pt x="7979" y="5212"/>
                  </a:cubicBezTo>
                  <a:cubicBezTo>
                    <a:pt x="8000" y="5212"/>
                    <a:pt x="8032" y="5230"/>
                    <a:pt x="8053" y="5242"/>
                  </a:cubicBezTo>
                  <a:cubicBezTo>
                    <a:pt x="8074" y="5254"/>
                    <a:pt x="8139" y="5254"/>
                    <a:pt x="8150" y="5272"/>
                  </a:cubicBezTo>
                  <a:cubicBezTo>
                    <a:pt x="8162" y="5289"/>
                    <a:pt x="8147" y="5339"/>
                    <a:pt x="8162" y="5357"/>
                  </a:cubicBezTo>
                  <a:cubicBezTo>
                    <a:pt x="8177" y="5375"/>
                    <a:pt x="8212" y="5413"/>
                    <a:pt x="8224" y="5404"/>
                  </a:cubicBezTo>
                  <a:cubicBezTo>
                    <a:pt x="8236" y="5395"/>
                    <a:pt x="8292" y="5434"/>
                    <a:pt x="8313" y="5431"/>
                  </a:cubicBezTo>
                  <a:cubicBezTo>
                    <a:pt x="8333" y="5428"/>
                    <a:pt x="8366" y="5395"/>
                    <a:pt x="8384" y="5395"/>
                  </a:cubicBezTo>
                  <a:cubicBezTo>
                    <a:pt x="8401" y="5395"/>
                    <a:pt x="8457" y="5381"/>
                    <a:pt x="8475" y="5384"/>
                  </a:cubicBezTo>
                  <a:cubicBezTo>
                    <a:pt x="8493" y="5387"/>
                    <a:pt x="8558" y="5410"/>
                    <a:pt x="8567" y="5404"/>
                  </a:cubicBezTo>
                  <a:cubicBezTo>
                    <a:pt x="8575" y="5398"/>
                    <a:pt x="8634" y="5407"/>
                    <a:pt x="8643" y="5425"/>
                  </a:cubicBezTo>
                  <a:cubicBezTo>
                    <a:pt x="8652" y="5443"/>
                    <a:pt x="8726" y="5443"/>
                    <a:pt x="8726" y="5463"/>
                  </a:cubicBezTo>
                  <a:cubicBezTo>
                    <a:pt x="8726" y="5484"/>
                    <a:pt x="8767" y="5496"/>
                    <a:pt x="8779" y="5519"/>
                  </a:cubicBezTo>
                  <a:cubicBezTo>
                    <a:pt x="8791" y="5543"/>
                    <a:pt x="8888" y="5528"/>
                    <a:pt x="8906" y="5543"/>
                  </a:cubicBezTo>
                  <a:cubicBezTo>
                    <a:pt x="8924" y="5558"/>
                    <a:pt x="9036" y="5555"/>
                    <a:pt x="9039" y="5543"/>
                  </a:cubicBezTo>
                  <a:cubicBezTo>
                    <a:pt x="9042" y="5531"/>
                    <a:pt x="9148" y="5525"/>
                    <a:pt x="9169" y="5511"/>
                  </a:cubicBezTo>
                  <a:cubicBezTo>
                    <a:pt x="9189" y="5496"/>
                    <a:pt x="9245" y="5502"/>
                    <a:pt x="9248" y="5481"/>
                  </a:cubicBezTo>
                  <a:cubicBezTo>
                    <a:pt x="9251" y="5460"/>
                    <a:pt x="9304" y="5446"/>
                    <a:pt x="9328" y="5428"/>
                  </a:cubicBezTo>
                  <a:cubicBezTo>
                    <a:pt x="9352" y="5410"/>
                    <a:pt x="9446" y="5413"/>
                    <a:pt x="9452" y="5434"/>
                  </a:cubicBezTo>
                  <a:cubicBezTo>
                    <a:pt x="9458" y="5455"/>
                    <a:pt x="9514" y="5460"/>
                    <a:pt x="9538" y="5452"/>
                  </a:cubicBezTo>
                  <a:cubicBezTo>
                    <a:pt x="9561" y="5443"/>
                    <a:pt x="9623" y="5455"/>
                    <a:pt x="9632" y="5475"/>
                  </a:cubicBezTo>
                  <a:cubicBezTo>
                    <a:pt x="9641" y="5496"/>
                    <a:pt x="9712" y="5508"/>
                    <a:pt x="9729" y="5502"/>
                  </a:cubicBezTo>
                  <a:cubicBezTo>
                    <a:pt x="9747" y="5496"/>
                    <a:pt x="9803" y="5455"/>
                    <a:pt x="9824" y="5452"/>
                  </a:cubicBezTo>
                  <a:cubicBezTo>
                    <a:pt x="9845" y="5449"/>
                    <a:pt x="9874" y="5428"/>
                    <a:pt x="9868" y="5407"/>
                  </a:cubicBezTo>
                  <a:cubicBezTo>
                    <a:pt x="9862" y="5387"/>
                    <a:pt x="9909" y="5328"/>
                    <a:pt x="9915" y="5304"/>
                  </a:cubicBezTo>
                  <a:cubicBezTo>
                    <a:pt x="9921" y="5280"/>
                    <a:pt x="9963" y="5215"/>
                    <a:pt x="9977" y="5210"/>
                  </a:cubicBezTo>
                  <a:cubicBezTo>
                    <a:pt x="9992" y="5204"/>
                    <a:pt x="10025" y="5177"/>
                    <a:pt x="10022" y="5159"/>
                  </a:cubicBezTo>
                  <a:cubicBezTo>
                    <a:pt x="10019" y="5142"/>
                    <a:pt x="10010" y="5089"/>
                    <a:pt x="9992" y="5089"/>
                  </a:cubicBezTo>
                  <a:cubicBezTo>
                    <a:pt x="9974" y="5089"/>
                    <a:pt x="9942" y="5092"/>
                    <a:pt x="9983" y="5035"/>
                  </a:cubicBezTo>
                  <a:cubicBezTo>
                    <a:pt x="10025" y="4979"/>
                    <a:pt x="10098" y="4994"/>
                    <a:pt x="10110" y="4994"/>
                  </a:cubicBezTo>
                  <a:cubicBezTo>
                    <a:pt x="10122" y="4994"/>
                    <a:pt x="10216" y="4970"/>
                    <a:pt x="10258" y="4982"/>
                  </a:cubicBezTo>
                  <a:cubicBezTo>
                    <a:pt x="10299" y="4994"/>
                    <a:pt x="10326" y="4976"/>
                    <a:pt x="10370" y="5000"/>
                  </a:cubicBezTo>
                  <a:cubicBezTo>
                    <a:pt x="10414" y="5024"/>
                    <a:pt x="10476" y="5015"/>
                    <a:pt x="10491" y="5035"/>
                  </a:cubicBezTo>
                  <a:cubicBezTo>
                    <a:pt x="10506" y="5056"/>
                    <a:pt x="10565" y="5074"/>
                    <a:pt x="10556" y="5109"/>
                  </a:cubicBezTo>
                  <a:cubicBezTo>
                    <a:pt x="10547" y="5145"/>
                    <a:pt x="10588" y="5124"/>
                    <a:pt x="10603" y="5201"/>
                  </a:cubicBezTo>
                  <a:cubicBezTo>
                    <a:pt x="10618" y="5277"/>
                    <a:pt x="10653" y="5283"/>
                    <a:pt x="10662" y="5319"/>
                  </a:cubicBezTo>
                  <a:cubicBezTo>
                    <a:pt x="10671" y="5354"/>
                    <a:pt x="10718" y="5419"/>
                    <a:pt x="10712" y="5440"/>
                  </a:cubicBezTo>
                  <a:cubicBezTo>
                    <a:pt x="10706" y="5460"/>
                    <a:pt x="10700" y="5493"/>
                    <a:pt x="10751" y="5496"/>
                  </a:cubicBezTo>
                  <a:cubicBezTo>
                    <a:pt x="10801" y="5499"/>
                    <a:pt x="10836" y="5537"/>
                    <a:pt x="10848" y="5531"/>
                  </a:cubicBezTo>
                  <a:cubicBezTo>
                    <a:pt x="10860" y="5525"/>
                    <a:pt x="10919" y="5546"/>
                    <a:pt x="10948" y="5576"/>
                  </a:cubicBezTo>
                  <a:cubicBezTo>
                    <a:pt x="10978" y="5605"/>
                    <a:pt x="11022" y="5590"/>
                    <a:pt x="11019" y="5623"/>
                  </a:cubicBezTo>
                  <a:cubicBezTo>
                    <a:pt x="11016" y="5655"/>
                    <a:pt x="11043" y="5682"/>
                    <a:pt x="11040" y="5708"/>
                  </a:cubicBezTo>
                  <a:cubicBezTo>
                    <a:pt x="11037" y="5735"/>
                    <a:pt x="11096" y="5753"/>
                    <a:pt x="11137" y="5747"/>
                  </a:cubicBezTo>
                  <a:cubicBezTo>
                    <a:pt x="11179" y="5741"/>
                    <a:pt x="11208" y="5761"/>
                    <a:pt x="11226" y="5726"/>
                  </a:cubicBezTo>
                  <a:cubicBezTo>
                    <a:pt x="11244" y="5691"/>
                    <a:pt x="11303" y="5705"/>
                    <a:pt x="11323" y="5691"/>
                  </a:cubicBezTo>
                  <a:cubicBezTo>
                    <a:pt x="11344" y="5676"/>
                    <a:pt x="11406" y="5658"/>
                    <a:pt x="11403" y="5711"/>
                  </a:cubicBezTo>
                  <a:cubicBezTo>
                    <a:pt x="11400" y="5764"/>
                    <a:pt x="11435" y="5776"/>
                    <a:pt x="11406" y="5794"/>
                  </a:cubicBezTo>
                  <a:cubicBezTo>
                    <a:pt x="11376" y="5812"/>
                    <a:pt x="11362" y="5888"/>
                    <a:pt x="11353" y="5921"/>
                  </a:cubicBezTo>
                  <a:cubicBezTo>
                    <a:pt x="11344" y="5953"/>
                    <a:pt x="11300" y="5962"/>
                    <a:pt x="11294" y="5998"/>
                  </a:cubicBezTo>
                  <a:cubicBezTo>
                    <a:pt x="11288" y="6033"/>
                    <a:pt x="11246" y="6036"/>
                    <a:pt x="11246" y="6063"/>
                  </a:cubicBezTo>
                  <a:cubicBezTo>
                    <a:pt x="11246" y="6089"/>
                    <a:pt x="11187" y="6083"/>
                    <a:pt x="11158" y="6063"/>
                  </a:cubicBezTo>
                  <a:cubicBezTo>
                    <a:pt x="11128" y="6042"/>
                    <a:pt x="11099" y="6101"/>
                    <a:pt x="11075" y="6101"/>
                  </a:cubicBezTo>
                  <a:cubicBezTo>
                    <a:pt x="11052" y="6101"/>
                    <a:pt x="11055" y="6151"/>
                    <a:pt x="11060" y="6172"/>
                  </a:cubicBezTo>
                  <a:cubicBezTo>
                    <a:pt x="11067" y="6192"/>
                    <a:pt x="11052" y="6219"/>
                    <a:pt x="11067" y="6254"/>
                  </a:cubicBezTo>
                  <a:cubicBezTo>
                    <a:pt x="11074" y="6273"/>
                    <a:pt x="11070" y="6309"/>
                    <a:pt x="11074" y="6350"/>
                  </a:cubicBezTo>
                  <a:cubicBezTo>
                    <a:pt x="11109" y="6324"/>
                    <a:pt x="11142" y="6305"/>
                    <a:pt x="11156" y="6305"/>
                  </a:cubicBezTo>
                  <a:cubicBezTo>
                    <a:pt x="11193" y="6305"/>
                    <a:pt x="11230" y="6368"/>
                    <a:pt x="11272" y="6369"/>
                  </a:cubicBezTo>
                  <a:cubicBezTo>
                    <a:pt x="11313" y="6371"/>
                    <a:pt x="11500" y="6245"/>
                    <a:pt x="11502" y="6225"/>
                  </a:cubicBezTo>
                  <a:cubicBezTo>
                    <a:pt x="11503" y="6204"/>
                    <a:pt x="11613" y="6099"/>
                    <a:pt x="11664" y="6045"/>
                  </a:cubicBezTo>
                  <a:cubicBezTo>
                    <a:pt x="11716" y="5990"/>
                    <a:pt x="11784" y="5911"/>
                    <a:pt x="11810" y="5849"/>
                  </a:cubicBezTo>
                  <a:cubicBezTo>
                    <a:pt x="11827" y="5810"/>
                    <a:pt x="11899" y="5736"/>
                    <a:pt x="11916" y="5707"/>
                  </a:cubicBezTo>
                  <a:cubicBezTo>
                    <a:pt x="11934" y="5677"/>
                    <a:pt x="11946" y="5674"/>
                    <a:pt x="11978" y="5605"/>
                  </a:cubicBezTo>
                  <a:cubicBezTo>
                    <a:pt x="12011" y="5536"/>
                    <a:pt x="12011" y="5354"/>
                    <a:pt x="12021" y="5342"/>
                  </a:cubicBezTo>
                  <a:cubicBezTo>
                    <a:pt x="12032" y="5331"/>
                    <a:pt x="12026" y="5300"/>
                    <a:pt x="12040" y="5280"/>
                  </a:cubicBezTo>
                  <a:cubicBezTo>
                    <a:pt x="12055" y="5261"/>
                    <a:pt x="12048" y="5235"/>
                    <a:pt x="12077" y="5210"/>
                  </a:cubicBezTo>
                  <a:cubicBezTo>
                    <a:pt x="12107" y="5185"/>
                    <a:pt x="12101" y="5162"/>
                    <a:pt x="12094" y="5143"/>
                  </a:cubicBezTo>
                  <a:cubicBezTo>
                    <a:pt x="12086" y="5124"/>
                    <a:pt x="12095" y="5081"/>
                    <a:pt x="12088" y="5068"/>
                  </a:cubicBezTo>
                  <a:cubicBezTo>
                    <a:pt x="12080" y="5055"/>
                    <a:pt x="12082" y="5049"/>
                    <a:pt x="12099" y="5038"/>
                  </a:cubicBezTo>
                  <a:cubicBezTo>
                    <a:pt x="12117" y="5028"/>
                    <a:pt x="12088" y="5001"/>
                    <a:pt x="12063" y="4990"/>
                  </a:cubicBezTo>
                  <a:cubicBezTo>
                    <a:pt x="12037" y="4978"/>
                    <a:pt x="12005" y="4968"/>
                    <a:pt x="12002" y="4939"/>
                  </a:cubicBezTo>
                  <a:cubicBezTo>
                    <a:pt x="11999" y="4911"/>
                    <a:pt x="11956" y="4878"/>
                    <a:pt x="11924" y="4880"/>
                  </a:cubicBezTo>
                  <a:cubicBezTo>
                    <a:pt x="11891" y="4883"/>
                    <a:pt x="11831" y="4863"/>
                    <a:pt x="11838" y="4883"/>
                  </a:cubicBezTo>
                  <a:cubicBezTo>
                    <a:pt x="11846" y="4904"/>
                    <a:pt x="11835" y="4922"/>
                    <a:pt x="11819" y="4917"/>
                  </a:cubicBezTo>
                  <a:cubicBezTo>
                    <a:pt x="11803" y="4913"/>
                    <a:pt x="11795" y="4926"/>
                    <a:pt x="11776" y="4956"/>
                  </a:cubicBezTo>
                  <a:cubicBezTo>
                    <a:pt x="11757" y="4985"/>
                    <a:pt x="11689" y="4988"/>
                    <a:pt x="11720" y="4960"/>
                  </a:cubicBezTo>
                  <a:cubicBezTo>
                    <a:pt x="11751" y="4932"/>
                    <a:pt x="11710" y="4931"/>
                    <a:pt x="11716" y="4901"/>
                  </a:cubicBezTo>
                  <a:cubicBezTo>
                    <a:pt x="11722" y="4872"/>
                    <a:pt x="11747" y="4842"/>
                    <a:pt x="11713" y="4861"/>
                  </a:cubicBezTo>
                  <a:cubicBezTo>
                    <a:pt x="11679" y="4880"/>
                    <a:pt x="11679" y="4926"/>
                    <a:pt x="11651" y="4932"/>
                  </a:cubicBezTo>
                  <a:cubicBezTo>
                    <a:pt x="11623" y="4938"/>
                    <a:pt x="11632" y="4852"/>
                    <a:pt x="11639" y="4830"/>
                  </a:cubicBezTo>
                  <a:cubicBezTo>
                    <a:pt x="11646" y="4808"/>
                    <a:pt x="11587" y="4832"/>
                    <a:pt x="11525" y="4827"/>
                  </a:cubicBezTo>
                  <a:cubicBezTo>
                    <a:pt x="11463" y="4823"/>
                    <a:pt x="11480" y="4780"/>
                    <a:pt x="11530" y="4753"/>
                  </a:cubicBezTo>
                  <a:cubicBezTo>
                    <a:pt x="11580" y="4727"/>
                    <a:pt x="11571" y="4702"/>
                    <a:pt x="11596" y="4692"/>
                  </a:cubicBezTo>
                  <a:cubicBezTo>
                    <a:pt x="11621" y="4681"/>
                    <a:pt x="11686" y="4638"/>
                    <a:pt x="11725" y="4616"/>
                  </a:cubicBezTo>
                  <a:cubicBezTo>
                    <a:pt x="11763" y="4594"/>
                    <a:pt x="11770" y="4569"/>
                    <a:pt x="11779" y="4544"/>
                  </a:cubicBezTo>
                  <a:cubicBezTo>
                    <a:pt x="11788" y="4519"/>
                    <a:pt x="11859" y="4488"/>
                    <a:pt x="11922" y="4436"/>
                  </a:cubicBezTo>
                  <a:cubicBezTo>
                    <a:pt x="11986" y="4385"/>
                    <a:pt x="12017" y="4355"/>
                    <a:pt x="12032" y="4324"/>
                  </a:cubicBezTo>
                  <a:cubicBezTo>
                    <a:pt x="12046" y="4293"/>
                    <a:pt x="12141" y="4255"/>
                    <a:pt x="12142" y="4231"/>
                  </a:cubicBezTo>
                  <a:cubicBezTo>
                    <a:pt x="12144" y="4207"/>
                    <a:pt x="12254" y="4148"/>
                    <a:pt x="12330" y="4134"/>
                  </a:cubicBezTo>
                  <a:cubicBezTo>
                    <a:pt x="12405" y="4119"/>
                    <a:pt x="12524" y="4138"/>
                    <a:pt x="12547" y="4160"/>
                  </a:cubicBezTo>
                  <a:cubicBezTo>
                    <a:pt x="12569" y="4182"/>
                    <a:pt x="12585" y="4174"/>
                    <a:pt x="12598" y="4159"/>
                  </a:cubicBezTo>
                  <a:cubicBezTo>
                    <a:pt x="12612" y="4144"/>
                    <a:pt x="12641" y="4151"/>
                    <a:pt x="12691" y="4157"/>
                  </a:cubicBezTo>
                  <a:cubicBezTo>
                    <a:pt x="12741" y="4163"/>
                    <a:pt x="12753" y="4134"/>
                    <a:pt x="12787" y="4144"/>
                  </a:cubicBezTo>
                  <a:cubicBezTo>
                    <a:pt x="12821" y="4154"/>
                    <a:pt x="12849" y="4160"/>
                    <a:pt x="12870" y="4120"/>
                  </a:cubicBezTo>
                  <a:cubicBezTo>
                    <a:pt x="12890" y="4081"/>
                    <a:pt x="12988" y="4088"/>
                    <a:pt x="13010" y="4104"/>
                  </a:cubicBezTo>
                  <a:cubicBezTo>
                    <a:pt x="13032" y="4121"/>
                    <a:pt x="13050" y="4143"/>
                    <a:pt x="13085" y="4119"/>
                  </a:cubicBezTo>
                  <a:cubicBezTo>
                    <a:pt x="13121" y="4095"/>
                    <a:pt x="13121" y="4150"/>
                    <a:pt x="13155" y="4154"/>
                  </a:cubicBezTo>
                  <a:cubicBezTo>
                    <a:pt x="13189" y="4159"/>
                    <a:pt x="13166" y="4188"/>
                    <a:pt x="13137" y="4185"/>
                  </a:cubicBezTo>
                  <a:cubicBezTo>
                    <a:pt x="13107" y="4182"/>
                    <a:pt x="13070" y="4200"/>
                    <a:pt x="13104" y="4219"/>
                  </a:cubicBezTo>
                  <a:cubicBezTo>
                    <a:pt x="13138" y="4238"/>
                    <a:pt x="13178" y="4202"/>
                    <a:pt x="13205" y="4205"/>
                  </a:cubicBezTo>
                  <a:cubicBezTo>
                    <a:pt x="13231" y="4207"/>
                    <a:pt x="13273" y="4210"/>
                    <a:pt x="13310" y="4187"/>
                  </a:cubicBezTo>
                  <a:cubicBezTo>
                    <a:pt x="13347" y="4163"/>
                    <a:pt x="13357" y="4206"/>
                    <a:pt x="13380" y="4185"/>
                  </a:cubicBezTo>
                  <a:cubicBezTo>
                    <a:pt x="13404" y="4165"/>
                    <a:pt x="13457" y="4159"/>
                    <a:pt x="13484" y="4160"/>
                  </a:cubicBezTo>
                  <a:cubicBezTo>
                    <a:pt x="13510" y="4162"/>
                    <a:pt x="13488" y="4129"/>
                    <a:pt x="13444" y="4129"/>
                  </a:cubicBezTo>
                  <a:cubicBezTo>
                    <a:pt x="13400" y="4129"/>
                    <a:pt x="13401" y="4106"/>
                    <a:pt x="13437" y="4045"/>
                  </a:cubicBezTo>
                  <a:cubicBezTo>
                    <a:pt x="13472" y="3985"/>
                    <a:pt x="13540" y="3952"/>
                    <a:pt x="13583" y="3915"/>
                  </a:cubicBezTo>
                  <a:cubicBezTo>
                    <a:pt x="13625" y="3879"/>
                    <a:pt x="13656" y="3896"/>
                    <a:pt x="13656" y="3872"/>
                  </a:cubicBezTo>
                  <a:cubicBezTo>
                    <a:pt x="13656" y="3849"/>
                    <a:pt x="13677" y="3782"/>
                    <a:pt x="13710" y="3781"/>
                  </a:cubicBezTo>
                  <a:cubicBezTo>
                    <a:pt x="13742" y="3779"/>
                    <a:pt x="13823" y="3794"/>
                    <a:pt x="13873" y="3766"/>
                  </a:cubicBezTo>
                  <a:cubicBezTo>
                    <a:pt x="13923" y="3738"/>
                    <a:pt x="13919" y="3787"/>
                    <a:pt x="13940" y="3794"/>
                  </a:cubicBezTo>
                  <a:cubicBezTo>
                    <a:pt x="13960" y="3802"/>
                    <a:pt x="13988" y="3752"/>
                    <a:pt x="14012" y="3766"/>
                  </a:cubicBezTo>
                  <a:cubicBezTo>
                    <a:pt x="14036" y="3781"/>
                    <a:pt x="13977" y="3816"/>
                    <a:pt x="13963" y="3859"/>
                  </a:cubicBezTo>
                  <a:cubicBezTo>
                    <a:pt x="13950" y="3902"/>
                    <a:pt x="13994" y="3886"/>
                    <a:pt x="14019" y="3898"/>
                  </a:cubicBezTo>
                  <a:cubicBezTo>
                    <a:pt x="14044" y="3909"/>
                    <a:pt x="13987" y="3927"/>
                    <a:pt x="13993" y="3939"/>
                  </a:cubicBezTo>
                  <a:cubicBezTo>
                    <a:pt x="13999" y="3951"/>
                    <a:pt x="14049" y="3951"/>
                    <a:pt x="14114" y="3886"/>
                  </a:cubicBezTo>
                  <a:cubicBezTo>
                    <a:pt x="14179" y="3821"/>
                    <a:pt x="14238" y="3803"/>
                    <a:pt x="14279" y="3808"/>
                  </a:cubicBezTo>
                  <a:cubicBezTo>
                    <a:pt x="14321" y="3812"/>
                    <a:pt x="14297" y="3771"/>
                    <a:pt x="14300" y="3710"/>
                  </a:cubicBezTo>
                  <a:cubicBezTo>
                    <a:pt x="14303" y="3650"/>
                    <a:pt x="14430" y="3632"/>
                    <a:pt x="14471" y="3650"/>
                  </a:cubicBezTo>
                  <a:cubicBezTo>
                    <a:pt x="14512" y="3667"/>
                    <a:pt x="14509" y="3684"/>
                    <a:pt x="14469" y="3673"/>
                  </a:cubicBezTo>
                  <a:cubicBezTo>
                    <a:pt x="14430" y="3663"/>
                    <a:pt x="14393" y="3698"/>
                    <a:pt x="14394" y="3749"/>
                  </a:cubicBezTo>
                  <a:cubicBezTo>
                    <a:pt x="14396" y="3799"/>
                    <a:pt x="14359" y="3815"/>
                    <a:pt x="14378" y="3834"/>
                  </a:cubicBezTo>
                  <a:cubicBezTo>
                    <a:pt x="14397" y="3853"/>
                    <a:pt x="14350" y="3858"/>
                    <a:pt x="14349" y="3879"/>
                  </a:cubicBezTo>
                  <a:cubicBezTo>
                    <a:pt x="14347" y="3899"/>
                    <a:pt x="14349" y="3915"/>
                    <a:pt x="14319" y="3924"/>
                  </a:cubicBezTo>
                  <a:cubicBezTo>
                    <a:pt x="14290" y="3933"/>
                    <a:pt x="14191" y="3943"/>
                    <a:pt x="14188" y="3982"/>
                  </a:cubicBezTo>
                  <a:cubicBezTo>
                    <a:pt x="14185" y="4020"/>
                    <a:pt x="14132" y="4025"/>
                    <a:pt x="14106" y="4072"/>
                  </a:cubicBezTo>
                  <a:cubicBezTo>
                    <a:pt x="14081" y="4119"/>
                    <a:pt x="13985" y="4147"/>
                    <a:pt x="13922" y="4241"/>
                  </a:cubicBezTo>
                  <a:cubicBezTo>
                    <a:pt x="13859" y="4336"/>
                    <a:pt x="13758" y="4336"/>
                    <a:pt x="13758" y="4354"/>
                  </a:cubicBezTo>
                  <a:cubicBezTo>
                    <a:pt x="13758" y="4371"/>
                    <a:pt x="13689" y="4370"/>
                    <a:pt x="13665" y="4373"/>
                  </a:cubicBezTo>
                  <a:cubicBezTo>
                    <a:pt x="13642" y="4376"/>
                    <a:pt x="13687" y="4433"/>
                    <a:pt x="13631" y="4494"/>
                  </a:cubicBezTo>
                  <a:cubicBezTo>
                    <a:pt x="13575" y="4554"/>
                    <a:pt x="13538" y="4638"/>
                    <a:pt x="13540" y="4723"/>
                  </a:cubicBezTo>
                  <a:cubicBezTo>
                    <a:pt x="13541" y="4807"/>
                    <a:pt x="13569" y="5049"/>
                    <a:pt x="13594" y="5092"/>
                  </a:cubicBezTo>
                  <a:cubicBezTo>
                    <a:pt x="13620" y="5134"/>
                    <a:pt x="13605" y="5239"/>
                    <a:pt x="13625" y="5261"/>
                  </a:cubicBezTo>
                  <a:cubicBezTo>
                    <a:pt x="13646" y="5283"/>
                    <a:pt x="13639" y="5320"/>
                    <a:pt x="13652" y="5333"/>
                  </a:cubicBezTo>
                  <a:cubicBezTo>
                    <a:pt x="13665" y="5347"/>
                    <a:pt x="13720" y="5274"/>
                    <a:pt x="13757" y="5243"/>
                  </a:cubicBezTo>
                  <a:cubicBezTo>
                    <a:pt x="13794" y="5212"/>
                    <a:pt x="13782" y="5202"/>
                    <a:pt x="13807" y="5186"/>
                  </a:cubicBezTo>
                  <a:cubicBezTo>
                    <a:pt x="13832" y="5170"/>
                    <a:pt x="13822" y="5102"/>
                    <a:pt x="13829" y="5084"/>
                  </a:cubicBezTo>
                  <a:cubicBezTo>
                    <a:pt x="13836" y="5066"/>
                    <a:pt x="13882" y="5058"/>
                    <a:pt x="13897" y="5038"/>
                  </a:cubicBezTo>
                  <a:cubicBezTo>
                    <a:pt x="13912" y="5019"/>
                    <a:pt x="13950" y="5031"/>
                    <a:pt x="13971" y="5024"/>
                  </a:cubicBezTo>
                  <a:cubicBezTo>
                    <a:pt x="13991" y="5016"/>
                    <a:pt x="13969" y="4968"/>
                    <a:pt x="13962" y="4939"/>
                  </a:cubicBezTo>
                  <a:cubicBezTo>
                    <a:pt x="13954" y="4911"/>
                    <a:pt x="14022" y="4873"/>
                    <a:pt x="14058" y="4848"/>
                  </a:cubicBezTo>
                  <a:cubicBezTo>
                    <a:pt x="14093" y="4823"/>
                    <a:pt x="14137" y="4864"/>
                    <a:pt x="14177" y="4827"/>
                  </a:cubicBezTo>
                  <a:cubicBezTo>
                    <a:pt x="14217" y="4790"/>
                    <a:pt x="14174" y="4748"/>
                    <a:pt x="14160" y="4728"/>
                  </a:cubicBezTo>
                  <a:cubicBezTo>
                    <a:pt x="14145" y="4709"/>
                    <a:pt x="14199" y="4616"/>
                    <a:pt x="14230" y="4607"/>
                  </a:cubicBezTo>
                  <a:cubicBezTo>
                    <a:pt x="14261" y="4599"/>
                    <a:pt x="14278" y="4630"/>
                    <a:pt x="14307" y="4603"/>
                  </a:cubicBezTo>
                  <a:cubicBezTo>
                    <a:pt x="14337" y="4576"/>
                    <a:pt x="14281" y="4534"/>
                    <a:pt x="14260" y="4537"/>
                  </a:cubicBezTo>
                  <a:cubicBezTo>
                    <a:pt x="14239" y="4540"/>
                    <a:pt x="14232" y="4461"/>
                    <a:pt x="14281" y="4424"/>
                  </a:cubicBezTo>
                  <a:cubicBezTo>
                    <a:pt x="14329" y="4388"/>
                    <a:pt x="14310" y="4380"/>
                    <a:pt x="14278" y="4371"/>
                  </a:cubicBezTo>
                  <a:cubicBezTo>
                    <a:pt x="14245" y="4362"/>
                    <a:pt x="14239" y="4374"/>
                    <a:pt x="14214" y="4376"/>
                  </a:cubicBezTo>
                  <a:cubicBezTo>
                    <a:pt x="14189" y="4377"/>
                    <a:pt x="14164" y="4324"/>
                    <a:pt x="14202" y="4272"/>
                  </a:cubicBezTo>
                  <a:cubicBezTo>
                    <a:pt x="14241" y="4221"/>
                    <a:pt x="14278" y="4227"/>
                    <a:pt x="14287" y="4184"/>
                  </a:cubicBezTo>
                  <a:cubicBezTo>
                    <a:pt x="14295" y="4141"/>
                    <a:pt x="14349" y="4081"/>
                    <a:pt x="14362" y="4058"/>
                  </a:cubicBezTo>
                  <a:cubicBezTo>
                    <a:pt x="14375" y="4036"/>
                    <a:pt x="14428" y="4058"/>
                    <a:pt x="14449" y="4054"/>
                  </a:cubicBezTo>
                  <a:cubicBezTo>
                    <a:pt x="14469" y="4050"/>
                    <a:pt x="14462" y="4094"/>
                    <a:pt x="14487" y="4072"/>
                  </a:cubicBezTo>
                  <a:cubicBezTo>
                    <a:pt x="14512" y="4050"/>
                    <a:pt x="14554" y="3976"/>
                    <a:pt x="14588" y="3976"/>
                  </a:cubicBezTo>
                  <a:cubicBezTo>
                    <a:pt x="14622" y="3976"/>
                    <a:pt x="14599" y="4030"/>
                    <a:pt x="14608" y="4063"/>
                  </a:cubicBezTo>
                  <a:cubicBezTo>
                    <a:pt x="14617" y="4095"/>
                    <a:pt x="14636" y="4054"/>
                    <a:pt x="14701" y="4010"/>
                  </a:cubicBezTo>
                  <a:cubicBezTo>
                    <a:pt x="14766" y="3965"/>
                    <a:pt x="14908" y="3970"/>
                    <a:pt x="14951" y="3991"/>
                  </a:cubicBezTo>
                  <a:cubicBezTo>
                    <a:pt x="14993" y="4011"/>
                    <a:pt x="15001" y="4060"/>
                    <a:pt x="15024" y="4054"/>
                  </a:cubicBezTo>
                  <a:cubicBezTo>
                    <a:pt x="15060" y="4045"/>
                    <a:pt x="15030" y="4005"/>
                    <a:pt x="15066" y="3995"/>
                  </a:cubicBezTo>
                  <a:cubicBezTo>
                    <a:pt x="15101" y="3985"/>
                    <a:pt x="15163" y="3948"/>
                    <a:pt x="15210" y="3914"/>
                  </a:cubicBezTo>
                  <a:cubicBezTo>
                    <a:pt x="15258" y="3880"/>
                    <a:pt x="15244" y="3905"/>
                    <a:pt x="15269" y="3874"/>
                  </a:cubicBezTo>
                  <a:cubicBezTo>
                    <a:pt x="15294" y="3843"/>
                    <a:pt x="15320" y="3856"/>
                    <a:pt x="15327" y="3836"/>
                  </a:cubicBezTo>
                  <a:cubicBezTo>
                    <a:pt x="15334" y="3815"/>
                    <a:pt x="15402" y="3781"/>
                    <a:pt x="15495" y="3760"/>
                  </a:cubicBezTo>
                  <a:cubicBezTo>
                    <a:pt x="15588" y="3740"/>
                    <a:pt x="15709" y="3678"/>
                    <a:pt x="15703" y="3659"/>
                  </a:cubicBezTo>
                  <a:cubicBezTo>
                    <a:pt x="15697" y="3639"/>
                    <a:pt x="15739" y="3630"/>
                    <a:pt x="15743" y="3650"/>
                  </a:cubicBezTo>
                  <a:cubicBezTo>
                    <a:pt x="15748" y="3669"/>
                    <a:pt x="15783" y="3661"/>
                    <a:pt x="15832" y="3672"/>
                  </a:cubicBezTo>
                  <a:cubicBezTo>
                    <a:pt x="15880" y="3682"/>
                    <a:pt x="15903" y="3701"/>
                    <a:pt x="15941" y="3663"/>
                  </a:cubicBezTo>
                  <a:cubicBezTo>
                    <a:pt x="15979" y="3625"/>
                    <a:pt x="15936" y="3611"/>
                    <a:pt x="15938" y="3582"/>
                  </a:cubicBezTo>
                  <a:cubicBezTo>
                    <a:pt x="15939" y="3552"/>
                    <a:pt x="15871" y="3521"/>
                    <a:pt x="15880" y="3490"/>
                  </a:cubicBezTo>
                  <a:cubicBezTo>
                    <a:pt x="15889" y="3459"/>
                    <a:pt x="15830" y="3377"/>
                    <a:pt x="15812" y="3393"/>
                  </a:cubicBezTo>
                  <a:cubicBezTo>
                    <a:pt x="15795" y="3409"/>
                    <a:pt x="15753" y="3380"/>
                    <a:pt x="15753" y="3356"/>
                  </a:cubicBezTo>
                  <a:cubicBezTo>
                    <a:pt x="15753" y="3332"/>
                    <a:pt x="15750" y="3304"/>
                    <a:pt x="15722" y="3322"/>
                  </a:cubicBezTo>
                  <a:cubicBezTo>
                    <a:pt x="15694" y="3340"/>
                    <a:pt x="15647" y="3331"/>
                    <a:pt x="15638" y="3304"/>
                  </a:cubicBezTo>
                  <a:cubicBezTo>
                    <a:pt x="15629" y="3278"/>
                    <a:pt x="15693" y="3259"/>
                    <a:pt x="15737" y="3276"/>
                  </a:cubicBezTo>
                  <a:cubicBezTo>
                    <a:pt x="15781" y="3294"/>
                    <a:pt x="15768" y="3312"/>
                    <a:pt x="15790" y="3325"/>
                  </a:cubicBezTo>
                  <a:cubicBezTo>
                    <a:pt x="15812" y="3338"/>
                    <a:pt x="15873" y="3332"/>
                    <a:pt x="15904" y="3318"/>
                  </a:cubicBezTo>
                  <a:cubicBezTo>
                    <a:pt x="15935" y="3303"/>
                    <a:pt x="16022" y="3275"/>
                    <a:pt x="16037" y="3250"/>
                  </a:cubicBezTo>
                  <a:cubicBezTo>
                    <a:pt x="16052" y="3225"/>
                    <a:pt x="16035" y="3213"/>
                    <a:pt x="16065" y="3198"/>
                  </a:cubicBezTo>
                  <a:cubicBezTo>
                    <a:pt x="16094" y="3183"/>
                    <a:pt x="16072" y="3152"/>
                    <a:pt x="16047" y="3139"/>
                  </a:cubicBezTo>
                  <a:cubicBezTo>
                    <a:pt x="16022" y="3126"/>
                    <a:pt x="16028" y="3090"/>
                    <a:pt x="16054" y="3090"/>
                  </a:cubicBezTo>
                  <a:cubicBezTo>
                    <a:pt x="16081" y="3090"/>
                    <a:pt x="16074" y="3059"/>
                    <a:pt x="16091" y="3058"/>
                  </a:cubicBezTo>
                  <a:cubicBezTo>
                    <a:pt x="16109" y="3056"/>
                    <a:pt x="16112" y="3071"/>
                    <a:pt x="16145" y="3055"/>
                  </a:cubicBezTo>
                  <a:cubicBezTo>
                    <a:pt x="16177" y="3039"/>
                    <a:pt x="16146" y="3080"/>
                    <a:pt x="16131" y="3108"/>
                  </a:cubicBezTo>
                  <a:cubicBezTo>
                    <a:pt x="16117" y="3136"/>
                    <a:pt x="16162" y="3160"/>
                    <a:pt x="16167" y="3176"/>
                  </a:cubicBezTo>
                  <a:cubicBezTo>
                    <a:pt x="16171" y="3192"/>
                    <a:pt x="16235" y="3198"/>
                    <a:pt x="16270" y="3179"/>
                  </a:cubicBezTo>
                  <a:cubicBezTo>
                    <a:pt x="16305" y="3160"/>
                    <a:pt x="16419" y="3203"/>
                    <a:pt x="16426" y="3231"/>
                  </a:cubicBezTo>
                  <a:cubicBezTo>
                    <a:pt x="16434" y="3259"/>
                    <a:pt x="16450" y="3293"/>
                    <a:pt x="16497" y="3316"/>
                  </a:cubicBezTo>
                  <a:cubicBezTo>
                    <a:pt x="16544" y="3340"/>
                    <a:pt x="16587" y="3329"/>
                    <a:pt x="16596" y="3352"/>
                  </a:cubicBezTo>
                  <a:cubicBezTo>
                    <a:pt x="16605" y="3374"/>
                    <a:pt x="16623" y="3385"/>
                    <a:pt x="16649" y="3380"/>
                  </a:cubicBezTo>
                  <a:cubicBezTo>
                    <a:pt x="16676" y="3374"/>
                    <a:pt x="16691" y="3403"/>
                    <a:pt x="16710" y="3385"/>
                  </a:cubicBezTo>
                  <a:cubicBezTo>
                    <a:pt x="16729" y="3368"/>
                    <a:pt x="16739" y="3396"/>
                    <a:pt x="16764" y="3374"/>
                  </a:cubicBezTo>
                  <a:cubicBezTo>
                    <a:pt x="16789" y="3352"/>
                    <a:pt x="16710" y="3337"/>
                    <a:pt x="16720" y="3319"/>
                  </a:cubicBezTo>
                  <a:cubicBezTo>
                    <a:pt x="16730" y="3301"/>
                    <a:pt x="16747" y="3332"/>
                    <a:pt x="16769" y="3331"/>
                  </a:cubicBezTo>
                  <a:cubicBezTo>
                    <a:pt x="16791" y="3329"/>
                    <a:pt x="16763" y="3287"/>
                    <a:pt x="16779" y="3282"/>
                  </a:cubicBezTo>
                  <a:cubicBezTo>
                    <a:pt x="16795" y="3278"/>
                    <a:pt x="16782" y="3189"/>
                    <a:pt x="16764" y="3183"/>
                  </a:cubicBezTo>
                  <a:cubicBezTo>
                    <a:pt x="16747" y="3177"/>
                    <a:pt x="16761" y="3146"/>
                    <a:pt x="16795" y="3172"/>
                  </a:cubicBezTo>
                  <a:cubicBezTo>
                    <a:pt x="16829" y="3197"/>
                    <a:pt x="16882" y="3195"/>
                    <a:pt x="16907" y="3195"/>
                  </a:cubicBezTo>
                  <a:cubicBezTo>
                    <a:pt x="16933" y="3195"/>
                    <a:pt x="16909" y="3172"/>
                    <a:pt x="16884" y="3167"/>
                  </a:cubicBezTo>
                  <a:cubicBezTo>
                    <a:pt x="16859" y="3163"/>
                    <a:pt x="16888" y="3142"/>
                    <a:pt x="16906" y="3158"/>
                  </a:cubicBezTo>
                  <a:cubicBezTo>
                    <a:pt x="16924" y="3175"/>
                    <a:pt x="16958" y="3182"/>
                    <a:pt x="16961" y="3164"/>
                  </a:cubicBezTo>
                  <a:cubicBezTo>
                    <a:pt x="16964" y="3146"/>
                    <a:pt x="16981" y="3108"/>
                    <a:pt x="17012" y="3110"/>
                  </a:cubicBezTo>
                  <a:cubicBezTo>
                    <a:pt x="17043" y="3111"/>
                    <a:pt x="17054" y="3093"/>
                    <a:pt x="17024" y="3083"/>
                  </a:cubicBezTo>
                  <a:close/>
                  <a:moveTo>
                    <a:pt x="8794" y="5019"/>
                  </a:moveTo>
                  <a:cubicBezTo>
                    <a:pt x="8710" y="5094"/>
                    <a:pt x="8541" y="5112"/>
                    <a:pt x="8541" y="5174"/>
                  </a:cubicBezTo>
                  <a:cubicBezTo>
                    <a:pt x="8541" y="5236"/>
                    <a:pt x="8338" y="5267"/>
                    <a:pt x="8320" y="5240"/>
                  </a:cubicBezTo>
                  <a:cubicBezTo>
                    <a:pt x="8305" y="5217"/>
                    <a:pt x="8471" y="5210"/>
                    <a:pt x="8510" y="5121"/>
                  </a:cubicBezTo>
                  <a:cubicBezTo>
                    <a:pt x="8550" y="5032"/>
                    <a:pt x="8701" y="4987"/>
                    <a:pt x="8776" y="4869"/>
                  </a:cubicBezTo>
                  <a:cubicBezTo>
                    <a:pt x="8829" y="4785"/>
                    <a:pt x="8873" y="4656"/>
                    <a:pt x="8904" y="4665"/>
                  </a:cubicBezTo>
                  <a:cubicBezTo>
                    <a:pt x="8935" y="4674"/>
                    <a:pt x="8878" y="4944"/>
                    <a:pt x="8794" y="5019"/>
                  </a:cubicBezTo>
                  <a:close/>
                  <a:moveTo>
                    <a:pt x="9169" y="1553"/>
                  </a:moveTo>
                  <a:cubicBezTo>
                    <a:pt x="9157" y="1576"/>
                    <a:pt x="9093" y="1578"/>
                    <a:pt x="9110" y="1600"/>
                  </a:cubicBezTo>
                  <a:cubicBezTo>
                    <a:pt x="9139" y="1638"/>
                    <a:pt x="9287" y="1618"/>
                    <a:pt x="9290" y="1570"/>
                  </a:cubicBezTo>
                  <a:cubicBezTo>
                    <a:pt x="9293" y="1523"/>
                    <a:pt x="9180" y="1529"/>
                    <a:pt x="9169" y="1553"/>
                  </a:cubicBezTo>
                  <a:close/>
                  <a:moveTo>
                    <a:pt x="3794" y="95"/>
                  </a:moveTo>
                  <a:cubicBezTo>
                    <a:pt x="3865" y="95"/>
                    <a:pt x="3844" y="50"/>
                    <a:pt x="3891" y="56"/>
                  </a:cubicBezTo>
                  <a:cubicBezTo>
                    <a:pt x="3939" y="62"/>
                    <a:pt x="4000" y="59"/>
                    <a:pt x="3977" y="30"/>
                  </a:cubicBezTo>
                  <a:cubicBezTo>
                    <a:pt x="3953" y="0"/>
                    <a:pt x="3782" y="12"/>
                    <a:pt x="3800" y="36"/>
                  </a:cubicBezTo>
                  <a:cubicBezTo>
                    <a:pt x="3818" y="59"/>
                    <a:pt x="3661" y="50"/>
                    <a:pt x="3664" y="59"/>
                  </a:cubicBezTo>
                  <a:cubicBezTo>
                    <a:pt x="3670" y="77"/>
                    <a:pt x="3723" y="95"/>
                    <a:pt x="3794" y="95"/>
                  </a:cubicBezTo>
                  <a:close/>
                  <a:moveTo>
                    <a:pt x="3428" y="292"/>
                  </a:moveTo>
                  <a:cubicBezTo>
                    <a:pt x="3428" y="245"/>
                    <a:pt x="3274" y="297"/>
                    <a:pt x="3304" y="307"/>
                  </a:cubicBezTo>
                  <a:cubicBezTo>
                    <a:pt x="3331" y="316"/>
                    <a:pt x="3428" y="340"/>
                    <a:pt x="3428" y="292"/>
                  </a:cubicBezTo>
                  <a:close/>
                  <a:moveTo>
                    <a:pt x="3809" y="254"/>
                  </a:moveTo>
                  <a:cubicBezTo>
                    <a:pt x="3818" y="278"/>
                    <a:pt x="3794" y="281"/>
                    <a:pt x="3735" y="281"/>
                  </a:cubicBezTo>
                  <a:cubicBezTo>
                    <a:pt x="3676" y="281"/>
                    <a:pt x="3645" y="314"/>
                    <a:pt x="3676" y="340"/>
                  </a:cubicBezTo>
                  <a:cubicBezTo>
                    <a:pt x="3711" y="369"/>
                    <a:pt x="3868" y="357"/>
                    <a:pt x="3894" y="322"/>
                  </a:cubicBezTo>
                  <a:cubicBezTo>
                    <a:pt x="3921" y="286"/>
                    <a:pt x="3989" y="316"/>
                    <a:pt x="4000" y="281"/>
                  </a:cubicBezTo>
                  <a:cubicBezTo>
                    <a:pt x="4012" y="245"/>
                    <a:pt x="3800" y="230"/>
                    <a:pt x="3809" y="254"/>
                  </a:cubicBezTo>
                  <a:close/>
                  <a:moveTo>
                    <a:pt x="4313" y="198"/>
                  </a:moveTo>
                  <a:cubicBezTo>
                    <a:pt x="4334" y="171"/>
                    <a:pt x="4275" y="171"/>
                    <a:pt x="4269" y="145"/>
                  </a:cubicBezTo>
                  <a:cubicBezTo>
                    <a:pt x="4263" y="118"/>
                    <a:pt x="4098" y="112"/>
                    <a:pt x="4107" y="142"/>
                  </a:cubicBezTo>
                  <a:cubicBezTo>
                    <a:pt x="4116" y="171"/>
                    <a:pt x="3992" y="203"/>
                    <a:pt x="4030" y="233"/>
                  </a:cubicBezTo>
                  <a:cubicBezTo>
                    <a:pt x="4101" y="289"/>
                    <a:pt x="4293" y="224"/>
                    <a:pt x="4313" y="198"/>
                  </a:cubicBezTo>
                  <a:close/>
                  <a:moveTo>
                    <a:pt x="3844" y="151"/>
                  </a:moveTo>
                  <a:cubicBezTo>
                    <a:pt x="3853" y="89"/>
                    <a:pt x="3750" y="139"/>
                    <a:pt x="3673" y="106"/>
                  </a:cubicBezTo>
                  <a:cubicBezTo>
                    <a:pt x="3596" y="74"/>
                    <a:pt x="3551" y="76"/>
                    <a:pt x="3602" y="121"/>
                  </a:cubicBezTo>
                  <a:cubicBezTo>
                    <a:pt x="3626" y="142"/>
                    <a:pt x="3471" y="158"/>
                    <a:pt x="3496" y="183"/>
                  </a:cubicBezTo>
                  <a:cubicBezTo>
                    <a:pt x="3552" y="239"/>
                    <a:pt x="3835" y="213"/>
                    <a:pt x="3844" y="151"/>
                  </a:cubicBezTo>
                  <a:close/>
                  <a:moveTo>
                    <a:pt x="3404" y="1789"/>
                  </a:moveTo>
                  <a:cubicBezTo>
                    <a:pt x="3407" y="1818"/>
                    <a:pt x="3390" y="1839"/>
                    <a:pt x="3334" y="1839"/>
                  </a:cubicBezTo>
                  <a:cubicBezTo>
                    <a:pt x="3277" y="1839"/>
                    <a:pt x="3360" y="1874"/>
                    <a:pt x="3366" y="1907"/>
                  </a:cubicBezTo>
                  <a:cubicBezTo>
                    <a:pt x="3372" y="1939"/>
                    <a:pt x="3310" y="1916"/>
                    <a:pt x="3307" y="1966"/>
                  </a:cubicBezTo>
                  <a:cubicBezTo>
                    <a:pt x="3304" y="2016"/>
                    <a:pt x="3198" y="1966"/>
                    <a:pt x="3183" y="2031"/>
                  </a:cubicBezTo>
                  <a:cubicBezTo>
                    <a:pt x="3168" y="2096"/>
                    <a:pt x="3236" y="2087"/>
                    <a:pt x="3283" y="2090"/>
                  </a:cubicBezTo>
                  <a:cubicBezTo>
                    <a:pt x="3331" y="2093"/>
                    <a:pt x="3266" y="2137"/>
                    <a:pt x="3301" y="2164"/>
                  </a:cubicBezTo>
                  <a:cubicBezTo>
                    <a:pt x="3336" y="2190"/>
                    <a:pt x="3363" y="2181"/>
                    <a:pt x="3339" y="2131"/>
                  </a:cubicBezTo>
                  <a:cubicBezTo>
                    <a:pt x="3316" y="2081"/>
                    <a:pt x="3463" y="2149"/>
                    <a:pt x="3419" y="2187"/>
                  </a:cubicBezTo>
                  <a:cubicBezTo>
                    <a:pt x="3375" y="2226"/>
                    <a:pt x="3490" y="2255"/>
                    <a:pt x="3546" y="2258"/>
                  </a:cubicBezTo>
                  <a:cubicBezTo>
                    <a:pt x="3602" y="2261"/>
                    <a:pt x="3801" y="2304"/>
                    <a:pt x="3806" y="2258"/>
                  </a:cubicBezTo>
                  <a:cubicBezTo>
                    <a:pt x="3809" y="2229"/>
                    <a:pt x="3732" y="2202"/>
                    <a:pt x="3670" y="2137"/>
                  </a:cubicBezTo>
                  <a:cubicBezTo>
                    <a:pt x="3608" y="2072"/>
                    <a:pt x="3564" y="1966"/>
                    <a:pt x="3635" y="1922"/>
                  </a:cubicBezTo>
                  <a:cubicBezTo>
                    <a:pt x="3705" y="1877"/>
                    <a:pt x="3643" y="1857"/>
                    <a:pt x="3714" y="1806"/>
                  </a:cubicBezTo>
                  <a:cubicBezTo>
                    <a:pt x="3785" y="1756"/>
                    <a:pt x="3744" y="1709"/>
                    <a:pt x="3803" y="1703"/>
                  </a:cubicBezTo>
                  <a:cubicBezTo>
                    <a:pt x="3862" y="1697"/>
                    <a:pt x="3797" y="1644"/>
                    <a:pt x="3856" y="1635"/>
                  </a:cubicBezTo>
                  <a:cubicBezTo>
                    <a:pt x="3915" y="1626"/>
                    <a:pt x="3927" y="1561"/>
                    <a:pt x="3918" y="1538"/>
                  </a:cubicBezTo>
                  <a:cubicBezTo>
                    <a:pt x="3909" y="1514"/>
                    <a:pt x="3980" y="1541"/>
                    <a:pt x="4012" y="1505"/>
                  </a:cubicBezTo>
                  <a:cubicBezTo>
                    <a:pt x="4045" y="1470"/>
                    <a:pt x="4122" y="1494"/>
                    <a:pt x="4145" y="1443"/>
                  </a:cubicBezTo>
                  <a:cubicBezTo>
                    <a:pt x="4169" y="1393"/>
                    <a:pt x="4508" y="1278"/>
                    <a:pt x="4700" y="1234"/>
                  </a:cubicBezTo>
                  <a:cubicBezTo>
                    <a:pt x="4892" y="1190"/>
                    <a:pt x="5025" y="1110"/>
                    <a:pt x="4957" y="1057"/>
                  </a:cubicBezTo>
                  <a:cubicBezTo>
                    <a:pt x="4889" y="1004"/>
                    <a:pt x="4697" y="1077"/>
                    <a:pt x="4650" y="1116"/>
                  </a:cubicBezTo>
                  <a:cubicBezTo>
                    <a:pt x="4603" y="1154"/>
                    <a:pt x="4535" y="1128"/>
                    <a:pt x="4488" y="1154"/>
                  </a:cubicBezTo>
                  <a:cubicBezTo>
                    <a:pt x="4440" y="1181"/>
                    <a:pt x="4340" y="1204"/>
                    <a:pt x="4290" y="1172"/>
                  </a:cubicBezTo>
                  <a:cubicBezTo>
                    <a:pt x="4240" y="1139"/>
                    <a:pt x="4181" y="1210"/>
                    <a:pt x="4142" y="1207"/>
                  </a:cubicBezTo>
                  <a:cubicBezTo>
                    <a:pt x="4104" y="1204"/>
                    <a:pt x="4060" y="1246"/>
                    <a:pt x="4018" y="1243"/>
                  </a:cubicBezTo>
                  <a:cubicBezTo>
                    <a:pt x="3977" y="1240"/>
                    <a:pt x="3894" y="1275"/>
                    <a:pt x="3888" y="1299"/>
                  </a:cubicBezTo>
                  <a:cubicBezTo>
                    <a:pt x="3882" y="1322"/>
                    <a:pt x="3812" y="1317"/>
                    <a:pt x="3812" y="1346"/>
                  </a:cubicBezTo>
                  <a:cubicBezTo>
                    <a:pt x="3812" y="1376"/>
                    <a:pt x="3756" y="1402"/>
                    <a:pt x="3726" y="1376"/>
                  </a:cubicBezTo>
                  <a:cubicBezTo>
                    <a:pt x="3697" y="1349"/>
                    <a:pt x="3661" y="1405"/>
                    <a:pt x="3702" y="1443"/>
                  </a:cubicBezTo>
                  <a:cubicBezTo>
                    <a:pt x="3744" y="1482"/>
                    <a:pt x="3626" y="1485"/>
                    <a:pt x="3646" y="1508"/>
                  </a:cubicBezTo>
                  <a:cubicBezTo>
                    <a:pt x="3667" y="1532"/>
                    <a:pt x="3602" y="1547"/>
                    <a:pt x="3617" y="1573"/>
                  </a:cubicBezTo>
                  <a:cubicBezTo>
                    <a:pt x="3632" y="1600"/>
                    <a:pt x="3575" y="1609"/>
                    <a:pt x="3531" y="1618"/>
                  </a:cubicBezTo>
                  <a:cubicBezTo>
                    <a:pt x="3487" y="1626"/>
                    <a:pt x="3463" y="1685"/>
                    <a:pt x="3519" y="1688"/>
                  </a:cubicBezTo>
                  <a:cubicBezTo>
                    <a:pt x="3576" y="1691"/>
                    <a:pt x="3487" y="1700"/>
                    <a:pt x="3493" y="1745"/>
                  </a:cubicBezTo>
                  <a:cubicBezTo>
                    <a:pt x="3499" y="1789"/>
                    <a:pt x="3401" y="1759"/>
                    <a:pt x="3404" y="178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59" name="Freeform 160"/>
            <p:cNvSpPr>
              <a:spLocks/>
            </p:cNvSpPr>
            <p:nvPr/>
          </p:nvSpPr>
          <p:spPr bwMode="auto">
            <a:xfrm>
              <a:off x="12274093" y="8538513"/>
              <a:ext cx="924808" cy="971719"/>
            </a:xfrm>
            <a:custGeom>
              <a:avLst/>
              <a:gdLst>
                <a:gd name="T0" fmla="*/ 1631 w 1830"/>
                <a:gd name="T1" fmla="*/ 900 h 1922"/>
                <a:gd name="T2" fmla="*/ 1635 w 1830"/>
                <a:gd name="T3" fmla="*/ 833 h 1922"/>
                <a:gd name="T4" fmla="*/ 1609 w 1830"/>
                <a:gd name="T5" fmla="*/ 802 h 1922"/>
                <a:gd name="T6" fmla="*/ 1651 w 1830"/>
                <a:gd name="T7" fmla="*/ 709 h 1922"/>
                <a:gd name="T8" fmla="*/ 1680 w 1830"/>
                <a:gd name="T9" fmla="*/ 627 h 1922"/>
                <a:gd name="T10" fmla="*/ 1722 w 1830"/>
                <a:gd name="T11" fmla="*/ 470 h 1922"/>
                <a:gd name="T12" fmla="*/ 1801 w 1830"/>
                <a:gd name="T13" fmla="*/ 386 h 1922"/>
                <a:gd name="T14" fmla="*/ 1797 w 1830"/>
                <a:gd name="T15" fmla="*/ 286 h 1922"/>
                <a:gd name="T16" fmla="*/ 1807 w 1830"/>
                <a:gd name="T17" fmla="*/ 200 h 1922"/>
                <a:gd name="T18" fmla="*/ 1642 w 1830"/>
                <a:gd name="T19" fmla="*/ 115 h 1922"/>
                <a:gd name="T20" fmla="*/ 1525 w 1830"/>
                <a:gd name="T21" fmla="*/ 109 h 1922"/>
                <a:gd name="T22" fmla="*/ 1456 w 1830"/>
                <a:gd name="T23" fmla="*/ 33 h 1922"/>
                <a:gd name="T24" fmla="*/ 1384 w 1830"/>
                <a:gd name="T25" fmla="*/ 49 h 1922"/>
                <a:gd name="T26" fmla="*/ 1193 w 1830"/>
                <a:gd name="T27" fmla="*/ 49 h 1922"/>
                <a:gd name="T28" fmla="*/ 1008 w 1830"/>
                <a:gd name="T29" fmla="*/ 80 h 1922"/>
                <a:gd name="T30" fmla="*/ 787 w 1830"/>
                <a:gd name="T31" fmla="*/ 111 h 1922"/>
                <a:gd name="T32" fmla="*/ 602 w 1830"/>
                <a:gd name="T33" fmla="*/ 136 h 1922"/>
                <a:gd name="T34" fmla="*/ 587 w 1830"/>
                <a:gd name="T35" fmla="*/ 306 h 1922"/>
                <a:gd name="T36" fmla="*/ 476 w 1830"/>
                <a:gd name="T37" fmla="*/ 621 h 1922"/>
                <a:gd name="T38" fmla="*/ 384 w 1830"/>
                <a:gd name="T39" fmla="*/ 898 h 1922"/>
                <a:gd name="T40" fmla="*/ 285 w 1830"/>
                <a:gd name="T41" fmla="*/ 1028 h 1922"/>
                <a:gd name="T42" fmla="*/ 161 w 1830"/>
                <a:gd name="T43" fmla="*/ 1028 h 1922"/>
                <a:gd name="T44" fmla="*/ 0 w 1830"/>
                <a:gd name="T45" fmla="*/ 1071 h 1922"/>
                <a:gd name="T46" fmla="*/ 38 w 1830"/>
                <a:gd name="T47" fmla="*/ 1192 h 1922"/>
                <a:gd name="T48" fmla="*/ 418 w 1830"/>
                <a:gd name="T49" fmla="*/ 1161 h 1922"/>
                <a:gd name="T50" fmla="*/ 475 w 1830"/>
                <a:gd name="T51" fmla="*/ 1320 h 1922"/>
                <a:gd name="T52" fmla="*/ 675 w 1830"/>
                <a:gd name="T53" fmla="*/ 1364 h 1922"/>
                <a:gd name="T54" fmla="*/ 794 w 1830"/>
                <a:gd name="T55" fmla="*/ 1276 h 1922"/>
                <a:gd name="T56" fmla="*/ 909 w 1830"/>
                <a:gd name="T57" fmla="*/ 1311 h 1922"/>
                <a:gd name="T58" fmla="*/ 914 w 1830"/>
                <a:gd name="T59" fmla="*/ 1533 h 1922"/>
                <a:gd name="T60" fmla="*/ 962 w 1830"/>
                <a:gd name="T61" fmla="*/ 1692 h 1922"/>
                <a:gd name="T62" fmla="*/ 1104 w 1830"/>
                <a:gd name="T63" fmla="*/ 1657 h 1922"/>
                <a:gd name="T64" fmla="*/ 1157 w 1830"/>
                <a:gd name="T65" fmla="*/ 1683 h 1922"/>
                <a:gd name="T66" fmla="*/ 1246 w 1830"/>
                <a:gd name="T67" fmla="*/ 1701 h 1922"/>
                <a:gd name="T68" fmla="*/ 1361 w 1830"/>
                <a:gd name="T69" fmla="*/ 1776 h 1922"/>
                <a:gd name="T70" fmla="*/ 1441 w 1830"/>
                <a:gd name="T71" fmla="*/ 1745 h 1922"/>
                <a:gd name="T72" fmla="*/ 1569 w 1830"/>
                <a:gd name="T73" fmla="*/ 1820 h 1922"/>
                <a:gd name="T74" fmla="*/ 1680 w 1830"/>
                <a:gd name="T75" fmla="*/ 1905 h 1922"/>
                <a:gd name="T76" fmla="*/ 1684 w 1830"/>
                <a:gd name="T77" fmla="*/ 1789 h 1922"/>
                <a:gd name="T78" fmla="*/ 1551 w 1830"/>
                <a:gd name="T79" fmla="*/ 1732 h 1922"/>
                <a:gd name="T80" fmla="*/ 1578 w 1830"/>
                <a:gd name="T81" fmla="*/ 1528 h 1922"/>
                <a:gd name="T82" fmla="*/ 1618 w 1830"/>
                <a:gd name="T83" fmla="*/ 1409 h 1922"/>
                <a:gd name="T84" fmla="*/ 1741 w 1830"/>
                <a:gd name="T85" fmla="*/ 1387 h 1922"/>
                <a:gd name="T86" fmla="*/ 1675 w 1830"/>
                <a:gd name="T87" fmla="*/ 1269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30" h="1922">
                  <a:moveTo>
                    <a:pt x="1675" y="1269"/>
                  </a:moveTo>
                  <a:cubicBezTo>
                    <a:pt x="1626" y="1243"/>
                    <a:pt x="1606" y="908"/>
                    <a:pt x="1631" y="900"/>
                  </a:cubicBezTo>
                  <a:cubicBezTo>
                    <a:pt x="1634" y="898"/>
                    <a:pt x="1637" y="902"/>
                    <a:pt x="1640" y="909"/>
                  </a:cubicBezTo>
                  <a:cubicBezTo>
                    <a:pt x="1635" y="833"/>
                    <a:pt x="1635" y="833"/>
                    <a:pt x="1635" y="833"/>
                  </a:cubicBezTo>
                  <a:cubicBezTo>
                    <a:pt x="1635" y="833"/>
                    <a:pt x="1632" y="833"/>
                    <a:pt x="1629" y="831"/>
                  </a:cubicBezTo>
                  <a:cubicBezTo>
                    <a:pt x="1621" y="828"/>
                    <a:pt x="1609" y="820"/>
                    <a:pt x="1609" y="802"/>
                  </a:cubicBezTo>
                  <a:cubicBezTo>
                    <a:pt x="1609" y="776"/>
                    <a:pt x="1631" y="773"/>
                    <a:pt x="1631" y="773"/>
                  </a:cubicBezTo>
                  <a:cubicBezTo>
                    <a:pt x="1631" y="773"/>
                    <a:pt x="1626" y="718"/>
                    <a:pt x="1651" y="709"/>
                  </a:cubicBezTo>
                  <a:cubicBezTo>
                    <a:pt x="1656" y="708"/>
                    <a:pt x="1660" y="704"/>
                    <a:pt x="1663" y="700"/>
                  </a:cubicBezTo>
                  <a:cubicBezTo>
                    <a:pt x="1677" y="683"/>
                    <a:pt x="1680" y="650"/>
                    <a:pt x="1680" y="627"/>
                  </a:cubicBezTo>
                  <a:cubicBezTo>
                    <a:pt x="1680" y="599"/>
                    <a:pt x="1686" y="565"/>
                    <a:pt x="1697" y="541"/>
                  </a:cubicBezTo>
                  <a:cubicBezTo>
                    <a:pt x="1708" y="517"/>
                    <a:pt x="1704" y="483"/>
                    <a:pt x="1722" y="470"/>
                  </a:cubicBezTo>
                  <a:cubicBezTo>
                    <a:pt x="1739" y="457"/>
                    <a:pt x="1737" y="421"/>
                    <a:pt x="1759" y="415"/>
                  </a:cubicBezTo>
                  <a:cubicBezTo>
                    <a:pt x="1781" y="408"/>
                    <a:pt x="1799" y="399"/>
                    <a:pt x="1801" y="386"/>
                  </a:cubicBezTo>
                  <a:cubicBezTo>
                    <a:pt x="1804" y="373"/>
                    <a:pt x="1830" y="355"/>
                    <a:pt x="1830" y="335"/>
                  </a:cubicBezTo>
                  <a:cubicBezTo>
                    <a:pt x="1830" y="315"/>
                    <a:pt x="1797" y="311"/>
                    <a:pt x="1797" y="286"/>
                  </a:cubicBezTo>
                  <a:cubicBezTo>
                    <a:pt x="1797" y="262"/>
                    <a:pt x="1806" y="200"/>
                    <a:pt x="1806" y="200"/>
                  </a:cubicBezTo>
                  <a:cubicBezTo>
                    <a:pt x="1806" y="200"/>
                    <a:pt x="1807" y="200"/>
                    <a:pt x="1807" y="200"/>
                  </a:cubicBezTo>
                  <a:cubicBezTo>
                    <a:pt x="1759" y="156"/>
                    <a:pt x="1704" y="111"/>
                    <a:pt x="1692" y="102"/>
                  </a:cubicBezTo>
                  <a:cubicBezTo>
                    <a:pt x="1673" y="90"/>
                    <a:pt x="1642" y="115"/>
                    <a:pt x="1642" y="115"/>
                  </a:cubicBezTo>
                  <a:cubicBezTo>
                    <a:pt x="1642" y="115"/>
                    <a:pt x="1612" y="84"/>
                    <a:pt x="1587" y="109"/>
                  </a:cubicBezTo>
                  <a:cubicBezTo>
                    <a:pt x="1562" y="133"/>
                    <a:pt x="1525" y="109"/>
                    <a:pt x="1525" y="109"/>
                  </a:cubicBezTo>
                  <a:cubicBezTo>
                    <a:pt x="1525" y="109"/>
                    <a:pt x="1494" y="90"/>
                    <a:pt x="1482" y="59"/>
                  </a:cubicBezTo>
                  <a:cubicBezTo>
                    <a:pt x="1477" y="47"/>
                    <a:pt x="1468" y="39"/>
                    <a:pt x="1456" y="33"/>
                  </a:cubicBezTo>
                  <a:cubicBezTo>
                    <a:pt x="1458" y="37"/>
                    <a:pt x="1458" y="37"/>
                    <a:pt x="1458" y="37"/>
                  </a:cubicBezTo>
                  <a:cubicBezTo>
                    <a:pt x="1384" y="49"/>
                    <a:pt x="1384" y="49"/>
                    <a:pt x="1384" y="49"/>
                  </a:cubicBezTo>
                  <a:cubicBezTo>
                    <a:pt x="1384" y="49"/>
                    <a:pt x="1292" y="0"/>
                    <a:pt x="1273" y="37"/>
                  </a:cubicBezTo>
                  <a:cubicBezTo>
                    <a:pt x="1255" y="74"/>
                    <a:pt x="1236" y="49"/>
                    <a:pt x="1193" y="49"/>
                  </a:cubicBezTo>
                  <a:cubicBezTo>
                    <a:pt x="1150" y="49"/>
                    <a:pt x="1113" y="68"/>
                    <a:pt x="1088" y="80"/>
                  </a:cubicBezTo>
                  <a:cubicBezTo>
                    <a:pt x="1064" y="93"/>
                    <a:pt x="1027" y="68"/>
                    <a:pt x="1008" y="80"/>
                  </a:cubicBezTo>
                  <a:cubicBezTo>
                    <a:pt x="990" y="93"/>
                    <a:pt x="978" y="148"/>
                    <a:pt x="978" y="148"/>
                  </a:cubicBezTo>
                  <a:cubicBezTo>
                    <a:pt x="787" y="111"/>
                    <a:pt x="787" y="111"/>
                    <a:pt x="787" y="111"/>
                  </a:cubicBezTo>
                  <a:cubicBezTo>
                    <a:pt x="787" y="111"/>
                    <a:pt x="750" y="55"/>
                    <a:pt x="707" y="55"/>
                  </a:cubicBezTo>
                  <a:cubicBezTo>
                    <a:pt x="664" y="55"/>
                    <a:pt x="602" y="136"/>
                    <a:pt x="602" y="136"/>
                  </a:cubicBezTo>
                  <a:cubicBezTo>
                    <a:pt x="602" y="202"/>
                    <a:pt x="602" y="202"/>
                    <a:pt x="602" y="202"/>
                  </a:cubicBezTo>
                  <a:cubicBezTo>
                    <a:pt x="610" y="243"/>
                    <a:pt x="600" y="285"/>
                    <a:pt x="587" y="306"/>
                  </a:cubicBezTo>
                  <a:cubicBezTo>
                    <a:pt x="569" y="337"/>
                    <a:pt x="550" y="349"/>
                    <a:pt x="550" y="411"/>
                  </a:cubicBezTo>
                  <a:cubicBezTo>
                    <a:pt x="550" y="473"/>
                    <a:pt x="476" y="571"/>
                    <a:pt x="476" y="621"/>
                  </a:cubicBezTo>
                  <a:cubicBezTo>
                    <a:pt x="476" y="670"/>
                    <a:pt x="390" y="701"/>
                    <a:pt x="390" y="732"/>
                  </a:cubicBezTo>
                  <a:cubicBezTo>
                    <a:pt x="390" y="763"/>
                    <a:pt x="384" y="830"/>
                    <a:pt x="384" y="898"/>
                  </a:cubicBezTo>
                  <a:cubicBezTo>
                    <a:pt x="384" y="966"/>
                    <a:pt x="347" y="911"/>
                    <a:pt x="347" y="972"/>
                  </a:cubicBezTo>
                  <a:cubicBezTo>
                    <a:pt x="347" y="1034"/>
                    <a:pt x="316" y="997"/>
                    <a:pt x="285" y="1028"/>
                  </a:cubicBezTo>
                  <a:cubicBezTo>
                    <a:pt x="254" y="1059"/>
                    <a:pt x="242" y="1065"/>
                    <a:pt x="242" y="1034"/>
                  </a:cubicBezTo>
                  <a:cubicBezTo>
                    <a:pt x="242" y="1003"/>
                    <a:pt x="199" y="997"/>
                    <a:pt x="161" y="1028"/>
                  </a:cubicBezTo>
                  <a:cubicBezTo>
                    <a:pt x="124" y="1059"/>
                    <a:pt x="112" y="1028"/>
                    <a:pt x="94" y="1022"/>
                  </a:cubicBezTo>
                  <a:cubicBezTo>
                    <a:pt x="83" y="1018"/>
                    <a:pt x="41" y="1043"/>
                    <a:pt x="0" y="1071"/>
                  </a:cubicBezTo>
                  <a:cubicBezTo>
                    <a:pt x="19" y="1109"/>
                    <a:pt x="28" y="1148"/>
                    <a:pt x="36" y="1181"/>
                  </a:cubicBezTo>
                  <a:cubicBezTo>
                    <a:pt x="36" y="1185"/>
                    <a:pt x="37" y="1188"/>
                    <a:pt x="38" y="1192"/>
                  </a:cubicBezTo>
                  <a:cubicBezTo>
                    <a:pt x="60" y="1176"/>
                    <a:pt x="82" y="1163"/>
                    <a:pt x="95" y="1161"/>
                  </a:cubicBezTo>
                  <a:cubicBezTo>
                    <a:pt x="126" y="1156"/>
                    <a:pt x="418" y="1161"/>
                    <a:pt x="418" y="1161"/>
                  </a:cubicBezTo>
                  <a:cubicBezTo>
                    <a:pt x="418" y="1161"/>
                    <a:pt x="444" y="1205"/>
                    <a:pt x="435" y="1245"/>
                  </a:cubicBezTo>
                  <a:cubicBezTo>
                    <a:pt x="427" y="1285"/>
                    <a:pt x="453" y="1267"/>
                    <a:pt x="475" y="1320"/>
                  </a:cubicBezTo>
                  <a:cubicBezTo>
                    <a:pt x="498" y="1373"/>
                    <a:pt x="515" y="1395"/>
                    <a:pt x="559" y="1382"/>
                  </a:cubicBezTo>
                  <a:cubicBezTo>
                    <a:pt x="604" y="1369"/>
                    <a:pt x="657" y="1360"/>
                    <a:pt x="675" y="1364"/>
                  </a:cubicBezTo>
                  <a:cubicBezTo>
                    <a:pt x="692" y="1369"/>
                    <a:pt x="688" y="1289"/>
                    <a:pt x="714" y="1276"/>
                  </a:cubicBezTo>
                  <a:cubicBezTo>
                    <a:pt x="741" y="1263"/>
                    <a:pt x="794" y="1276"/>
                    <a:pt x="794" y="1276"/>
                  </a:cubicBezTo>
                  <a:cubicBezTo>
                    <a:pt x="794" y="1276"/>
                    <a:pt x="799" y="1298"/>
                    <a:pt x="843" y="1298"/>
                  </a:cubicBezTo>
                  <a:cubicBezTo>
                    <a:pt x="887" y="1298"/>
                    <a:pt x="909" y="1280"/>
                    <a:pt x="909" y="1311"/>
                  </a:cubicBezTo>
                  <a:cubicBezTo>
                    <a:pt x="909" y="1342"/>
                    <a:pt x="914" y="1378"/>
                    <a:pt x="927" y="1391"/>
                  </a:cubicBezTo>
                  <a:cubicBezTo>
                    <a:pt x="940" y="1404"/>
                    <a:pt x="892" y="1515"/>
                    <a:pt x="914" y="1533"/>
                  </a:cubicBezTo>
                  <a:cubicBezTo>
                    <a:pt x="936" y="1550"/>
                    <a:pt x="967" y="1590"/>
                    <a:pt x="962" y="1612"/>
                  </a:cubicBezTo>
                  <a:cubicBezTo>
                    <a:pt x="958" y="1634"/>
                    <a:pt x="945" y="1688"/>
                    <a:pt x="962" y="1692"/>
                  </a:cubicBezTo>
                  <a:cubicBezTo>
                    <a:pt x="980" y="1697"/>
                    <a:pt x="984" y="1665"/>
                    <a:pt x="1015" y="1665"/>
                  </a:cubicBezTo>
                  <a:cubicBezTo>
                    <a:pt x="1046" y="1665"/>
                    <a:pt x="1073" y="1670"/>
                    <a:pt x="1104" y="1657"/>
                  </a:cubicBezTo>
                  <a:cubicBezTo>
                    <a:pt x="1114" y="1652"/>
                    <a:pt x="1123" y="1654"/>
                    <a:pt x="1131" y="1658"/>
                  </a:cubicBezTo>
                  <a:cubicBezTo>
                    <a:pt x="1147" y="1665"/>
                    <a:pt x="1157" y="1683"/>
                    <a:pt x="1157" y="1683"/>
                  </a:cubicBezTo>
                  <a:cubicBezTo>
                    <a:pt x="1157" y="1683"/>
                    <a:pt x="1166" y="1714"/>
                    <a:pt x="1184" y="1705"/>
                  </a:cubicBezTo>
                  <a:cubicBezTo>
                    <a:pt x="1201" y="1697"/>
                    <a:pt x="1250" y="1683"/>
                    <a:pt x="1246" y="1701"/>
                  </a:cubicBezTo>
                  <a:cubicBezTo>
                    <a:pt x="1241" y="1719"/>
                    <a:pt x="1259" y="1758"/>
                    <a:pt x="1277" y="1750"/>
                  </a:cubicBezTo>
                  <a:cubicBezTo>
                    <a:pt x="1294" y="1741"/>
                    <a:pt x="1339" y="1776"/>
                    <a:pt x="1361" y="1776"/>
                  </a:cubicBezTo>
                  <a:cubicBezTo>
                    <a:pt x="1383" y="1776"/>
                    <a:pt x="1405" y="1776"/>
                    <a:pt x="1405" y="1763"/>
                  </a:cubicBezTo>
                  <a:cubicBezTo>
                    <a:pt x="1405" y="1750"/>
                    <a:pt x="1432" y="1727"/>
                    <a:pt x="1441" y="1745"/>
                  </a:cubicBezTo>
                  <a:cubicBezTo>
                    <a:pt x="1449" y="1763"/>
                    <a:pt x="1472" y="1803"/>
                    <a:pt x="1494" y="1803"/>
                  </a:cubicBezTo>
                  <a:cubicBezTo>
                    <a:pt x="1516" y="1803"/>
                    <a:pt x="1569" y="1803"/>
                    <a:pt x="1569" y="1820"/>
                  </a:cubicBezTo>
                  <a:cubicBezTo>
                    <a:pt x="1569" y="1838"/>
                    <a:pt x="1587" y="1887"/>
                    <a:pt x="1609" y="1905"/>
                  </a:cubicBezTo>
                  <a:cubicBezTo>
                    <a:pt x="1631" y="1922"/>
                    <a:pt x="1680" y="1905"/>
                    <a:pt x="1680" y="1905"/>
                  </a:cubicBezTo>
                  <a:cubicBezTo>
                    <a:pt x="1680" y="1905"/>
                    <a:pt x="1697" y="1891"/>
                    <a:pt x="1697" y="1860"/>
                  </a:cubicBezTo>
                  <a:cubicBezTo>
                    <a:pt x="1697" y="1829"/>
                    <a:pt x="1697" y="1789"/>
                    <a:pt x="1684" y="1789"/>
                  </a:cubicBezTo>
                  <a:cubicBezTo>
                    <a:pt x="1671" y="1789"/>
                    <a:pt x="1649" y="1820"/>
                    <a:pt x="1618" y="1812"/>
                  </a:cubicBezTo>
                  <a:cubicBezTo>
                    <a:pt x="1587" y="1803"/>
                    <a:pt x="1564" y="1741"/>
                    <a:pt x="1551" y="1732"/>
                  </a:cubicBezTo>
                  <a:cubicBezTo>
                    <a:pt x="1538" y="1723"/>
                    <a:pt x="1573" y="1665"/>
                    <a:pt x="1573" y="1639"/>
                  </a:cubicBezTo>
                  <a:cubicBezTo>
                    <a:pt x="1573" y="1612"/>
                    <a:pt x="1595" y="1537"/>
                    <a:pt x="1578" y="1528"/>
                  </a:cubicBezTo>
                  <a:cubicBezTo>
                    <a:pt x="1560" y="1519"/>
                    <a:pt x="1569" y="1493"/>
                    <a:pt x="1591" y="1475"/>
                  </a:cubicBezTo>
                  <a:cubicBezTo>
                    <a:pt x="1613" y="1457"/>
                    <a:pt x="1582" y="1409"/>
                    <a:pt x="1618" y="1409"/>
                  </a:cubicBezTo>
                  <a:cubicBezTo>
                    <a:pt x="1651" y="1409"/>
                    <a:pt x="1718" y="1412"/>
                    <a:pt x="1738" y="1391"/>
                  </a:cubicBezTo>
                  <a:cubicBezTo>
                    <a:pt x="1739" y="1389"/>
                    <a:pt x="1741" y="1388"/>
                    <a:pt x="1741" y="1387"/>
                  </a:cubicBezTo>
                  <a:cubicBezTo>
                    <a:pt x="1744" y="1382"/>
                    <a:pt x="1746" y="1376"/>
                    <a:pt x="1748" y="1371"/>
                  </a:cubicBezTo>
                  <a:cubicBezTo>
                    <a:pt x="1725" y="1334"/>
                    <a:pt x="1703" y="1284"/>
                    <a:pt x="1675" y="126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0" name="Freeform 161"/>
            <p:cNvSpPr>
              <a:spLocks/>
            </p:cNvSpPr>
            <p:nvPr/>
          </p:nvSpPr>
          <p:spPr bwMode="auto">
            <a:xfrm>
              <a:off x="13096703" y="8943954"/>
              <a:ext cx="82094" cy="105548"/>
            </a:xfrm>
            <a:custGeom>
              <a:avLst/>
              <a:gdLst>
                <a:gd name="T0" fmla="*/ 11 w 160"/>
                <a:gd name="T1" fmla="*/ 107 h 211"/>
                <a:gd name="T2" fmla="*/ 36 w 160"/>
                <a:gd name="T3" fmla="*/ 211 h 211"/>
                <a:gd name="T4" fmla="*/ 79 w 160"/>
                <a:gd name="T5" fmla="*/ 185 h 211"/>
                <a:gd name="T6" fmla="*/ 160 w 160"/>
                <a:gd name="T7" fmla="*/ 68 h 211"/>
                <a:gd name="T8" fmla="*/ 135 w 160"/>
                <a:gd name="T9" fmla="*/ 53 h 211"/>
                <a:gd name="T10" fmla="*/ 131 w 160"/>
                <a:gd name="T11" fmla="*/ 0 h 211"/>
                <a:gd name="T12" fmla="*/ 84 w 160"/>
                <a:gd name="T13" fmla="*/ 2 h 211"/>
                <a:gd name="T14" fmla="*/ 33 w 160"/>
                <a:gd name="T15" fmla="*/ 32 h 211"/>
                <a:gd name="T16" fmla="*/ 0 w 160"/>
                <a:gd name="T17" fmla="*/ 29 h 211"/>
                <a:gd name="T18" fmla="*/ 6 w 160"/>
                <a:gd name="T19" fmla="*/ 31 h 211"/>
                <a:gd name="T20" fmla="*/ 11 w 160"/>
                <a:gd name="T21" fmla="*/ 107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0" h="211">
                  <a:moveTo>
                    <a:pt x="11" y="107"/>
                  </a:moveTo>
                  <a:cubicBezTo>
                    <a:pt x="19" y="125"/>
                    <a:pt x="27" y="165"/>
                    <a:pt x="36" y="211"/>
                  </a:cubicBezTo>
                  <a:cubicBezTo>
                    <a:pt x="56" y="198"/>
                    <a:pt x="72" y="188"/>
                    <a:pt x="79" y="185"/>
                  </a:cubicBezTo>
                  <a:cubicBezTo>
                    <a:pt x="104" y="175"/>
                    <a:pt x="160" y="68"/>
                    <a:pt x="160" y="68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3"/>
                    <a:pt x="138" y="30"/>
                    <a:pt x="131" y="0"/>
                  </a:cubicBezTo>
                  <a:cubicBezTo>
                    <a:pt x="108" y="3"/>
                    <a:pt x="84" y="2"/>
                    <a:pt x="84" y="2"/>
                  </a:cubicBezTo>
                  <a:cubicBezTo>
                    <a:pt x="84" y="2"/>
                    <a:pt x="89" y="42"/>
                    <a:pt x="33" y="32"/>
                  </a:cubicBezTo>
                  <a:cubicBezTo>
                    <a:pt x="24" y="31"/>
                    <a:pt x="12" y="30"/>
                    <a:pt x="0" y="29"/>
                  </a:cubicBezTo>
                  <a:cubicBezTo>
                    <a:pt x="3" y="31"/>
                    <a:pt x="6" y="31"/>
                    <a:pt x="6" y="31"/>
                  </a:cubicBezTo>
                  <a:lnTo>
                    <a:pt x="11" y="107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1" name="Freeform 162"/>
            <p:cNvSpPr>
              <a:spLocks/>
            </p:cNvSpPr>
            <p:nvPr/>
          </p:nvSpPr>
          <p:spPr bwMode="auto">
            <a:xfrm>
              <a:off x="13148640" y="9359447"/>
              <a:ext cx="537796" cy="864494"/>
            </a:xfrm>
            <a:custGeom>
              <a:avLst/>
              <a:gdLst>
                <a:gd name="T0" fmla="*/ 1055 w 1065"/>
                <a:gd name="T1" fmla="*/ 438 h 1711"/>
                <a:gd name="T2" fmla="*/ 1030 w 1065"/>
                <a:gd name="T3" fmla="*/ 243 h 1711"/>
                <a:gd name="T4" fmla="*/ 1021 w 1065"/>
                <a:gd name="T5" fmla="*/ 4 h 1711"/>
                <a:gd name="T6" fmla="*/ 1021 w 1065"/>
                <a:gd name="T7" fmla="*/ 0 h 1711"/>
                <a:gd name="T8" fmla="*/ 915 w 1065"/>
                <a:gd name="T9" fmla="*/ 57 h 1711"/>
                <a:gd name="T10" fmla="*/ 844 w 1065"/>
                <a:gd name="T11" fmla="*/ 75 h 1711"/>
                <a:gd name="T12" fmla="*/ 785 w 1065"/>
                <a:gd name="T13" fmla="*/ 72 h 1711"/>
                <a:gd name="T14" fmla="*/ 752 w 1065"/>
                <a:gd name="T15" fmla="*/ 110 h 1711"/>
                <a:gd name="T16" fmla="*/ 693 w 1065"/>
                <a:gd name="T17" fmla="*/ 116 h 1711"/>
                <a:gd name="T18" fmla="*/ 608 w 1065"/>
                <a:gd name="T19" fmla="*/ 128 h 1711"/>
                <a:gd name="T20" fmla="*/ 575 w 1065"/>
                <a:gd name="T21" fmla="*/ 99 h 1711"/>
                <a:gd name="T22" fmla="*/ 516 w 1065"/>
                <a:gd name="T23" fmla="*/ 110 h 1711"/>
                <a:gd name="T24" fmla="*/ 460 w 1065"/>
                <a:gd name="T25" fmla="*/ 104 h 1711"/>
                <a:gd name="T26" fmla="*/ 454 w 1065"/>
                <a:gd name="T27" fmla="*/ 139 h 1711"/>
                <a:gd name="T28" fmla="*/ 497 w 1065"/>
                <a:gd name="T29" fmla="*/ 350 h 1711"/>
                <a:gd name="T30" fmla="*/ 558 w 1065"/>
                <a:gd name="T31" fmla="*/ 408 h 1711"/>
                <a:gd name="T32" fmla="*/ 561 w 1065"/>
                <a:gd name="T33" fmla="*/ 509 h 1711"/>
                <a:gd name="T34" fmla="*/ 504 w 1065"/>
                <a:gd name="T35" fmla="*/ 574 h 1711"/>
                <a:gd name="T36" fmla="*/ 496 w 1065"/>
                <a:gd name="T37" fmla="*/ 665 h 1711"/>
                <a:gd name="T38" fmla="*/ 404 w 1065"/>
                <a:gd name="T39" fmla="*/ 544 h 1711"/>
                <a:gd name="T40" fmla="*/ 425 w 1065"/>
                <a:gd name="T41" fmla="*/ 414 h 1711"/>
                <a:gd name="T42" fmla="*/ 345 w 1065"/>
                <a:gd name="T43" fmla="*/ 402 h 1711"/>
                <a:gd name="T44" fmla="*/ 277 w 1065"/>
                <a:gd name="T45" fmla="*/ 355 h 1711"/>
                <a:gd name="T46" fmla="*/ 0 w 1065"/>
                <a:gd name="T47" fmla="*/ 456 h 1711"/>
                <a:gd name="T48" fmla="*/ 20 w 1065"/>
                <a:gd name="T49" fmla="*/ 530 h 1711"/>
                <a:gd name="T50" fmla="*/ 15 w 1065"/>
                <a:gd name="T51" fmla="*/ 530 h 1711"/>
                <a:gd name="T52" fmla="*/ 29 w 1065"/>
                <a:gd name="T53" fmla="*/ 562 h 1711"/>
                <a:gd name="T54" fmla="*/ 158 w 1065"/>
                <a:gd name="T55" fmla="*/ 593 h 1711"/>
                <a:gd name="T56" fmla="*/ 273 w 1065"/>
                <a:gd name="T57" fmla="*/ 633 h 1711"/>
                <a:gd name="T58" fmla="*/ 277 w 1065"/>
                <a:gd name="T59" fmla="*/ 788 h 1711"/>
                <a:gd name="T60" fmla="*/ 251 w 1065"/>
                <a:gd name="T61" fmla="*/ 876 h 1711"/>
                <a:gd name="T62" fmla="*/ 282 w 1065"/>
                <a:gd name="T63" fmla="*/ 952 h 1711"/>
                <a:gd name="T64" fmla="*/ 228 w 1065"/>
                <a:gd name="T65" fmla="*/ 1027 h 1711"/>
                <a:gd name="T66" fmla="*/ 202 w 1065"/>
                <a:gd name="T67" fmla="*/ 1124 h 1711"/>
                <a:gd name="T68" fmla="*/ 101 w 1065"/>
                <a:gd name="T69" fmla="*/ 1225 h 1711"/>
                <a:gd name="T70" fmla="*/ 104 w 1065"/>
                <a:gd name="T71" fmla="*/ 1228 h 1711"/>
                <a:gd name="T72" fmla="*/ 166 w 1065"/>
                <a:gd name="T73" fmla="*/ 1414 h 1711"/>
                <a:gd name="T74" fmla="*/ 175 w 1065"/>
                <a:gd name="T75" fmla="*/ 1596 h 1711"/>
                <a:gd name="T76" fmla="*/ 186 w 1065"/>
                <a:gd name="T77" fmla="*/ 1711 h 1711"/>
                <a:gd name="T78" fmla="*/ 261 w 1065"/>
                <a:gd name="T79" fmla="*/ 1705 h 1711"/>
                <a:gd name="T80" fmla="*/ 265 w 1065"/>
                <a:gd name="T81" fmla="*/ 1655 h 1711"/>
                <a:gd name="T82" fmla="*/ 226 w 1065"/>
                <a:gd name="T83" fmla="*/ 1617 h 1711"/>
                <a:gd name="T84" fmla="*/ 382 w 1065"/>
                <a:gd name="T85" fmla="*/ 1502 h 1711"/>
                <a:gd name="T86" fmla="*/ 507 w 1065"/>
                <a:gd name="T87" fmla="*/ 1424 h 1711"/>
                <a:gd name="T88" fmla="*/ 518 w 1065"/>
                <a:gd name="T89" fmla="*/ 1279 h 1711"/>
                <a:gd name="T90" fmla="*/ 500 w 1065"/>
                <a:gd name="T91" fmla="*/ 1154 h 1711"/>
                <a:gd name="T92" fmla="*/ 451 w 1065"/>
                <a:gd name="T93" fmla="*/ 1027 h 1711"/>
                <a:gd name="T94" fmla="*/ 468 w 1065"/>
                <a:gd name="T95" fmla="*/ 952 h 1711"/>
                <a:gd name="T96" fmla="*/ 513 w 1065"/>
                <a:gd name="T97" fmla="*/ 898 h 1711"/>
                <a:gd name="T98" fmla="*/ 597 w 1065"/>
                <a:gd name="T99" fmla="*/ 845 h 1711"/>
                <a:gd name="T100" fmla="*/ 702 w 1065"/>
                <a:gd name="T101" fmla="*/ 730 h 1711"/>
                <a:gd name="T102" fmla="*/ 897 w 1065"/>
                <a:gd name="T103" fmla="*/ 646 h 1711"/>
                <a:gd name="T104" fmla="*/ 1055 w 1065"/>
                <a:gd name="T105" fmla="*/ 438 h 1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65" h="1711">
                  <a:moveTo>
                    <a:pt x="1055" y="438"/>
                  </a:moveTo>
                  <a:cubicBezTo>
                    <a:pt x="1045" y="411"/>
                    <a:pt x="1024" y="292"/>
                    <a:pt x="1030" y="243"/>
                  </a:cubicBezTo>
                  <a:cubicBezTo>
                    <a:pt x="1036" y="194"/>
                    <a:pt x="1021" y="66"/>
                    <a:pt x="1021" y="4"/>
                  </a:cubicBezTo>
                  <a:cubicBezTo>
                    <a:pt x="1021" y="3"/>
                    <a:pt x="1021" y="2"/>
                    <a:pt x="1021" y="0"/>
                  </a:cubicBezTo>
                  <a:cubicBezTo>
                    <a:pt x="972" y="22"/>
                    <a:pt x="919" y="48"/>
                    <a:pt x="915" y="57"/>
                  </a:cubicBezTo>
                  <a:cubicBezTo>
                    <a:pt x="906" y="75"/>
                    <a:pt x="867" y="54"/>
                    <a:pt x="844" y="75"/>
                  </a:cubicBezTo>
                  <a:cubicBezTo>
                    <a:pt x="820" y="96"/>
                    <a:pt x="806" y="78"/>
                    <a:pt x="785" y="72"/>
                  </a:cubicBezTo>
                  <a:cubicBezTo>
                    <a:pt x="764" y="66"/>
                    <a:pt x="755" y="93"/>
                    <a:pt x="752" y="110"/>
                  </a:cubicBezTo>
                  <a:cubicBezTo>
                    <a:pt x="749" y="128"/>
                    <a:pt x="708" y="119"/>
                    <a:pt x="693" y="116"/>
                  </a:cubicBezTo>
                  <a:cubicBezTo>
                    <a:pt x="679" y="113"/>
                    <a:pt x="631" y="128"/>
                    <a:pt x="608" y="128"/>
                  </a:cubicBezTo>
                  <a:cubicBezTo>
                    <a:pt x="584" y="128"/>
                    <a:pt x="602" y="107"/>
                    <a:pt x="575" y="99"/>
                  </a:cubicBezTo>
                  <a:cubicBezTo>
                    <a:pt x="549" y="90"/>
                    <a:pt x="531" y="110"/>
                    <a:pt x="516" y="110"/>
                  </a:cubicBezTo>
                  <a:cubicBezTo>
                    <a:pt x="507" y="110"/>
                    <a:pt x="480" y="107"/>
                    <a:pt x="460" y="104"/>
                  </a:cubicBezTo>
                  <a:cubicBezTo>
                    <a:pt x="459" y="118"/>
                    <a:pt x="458" y="130"/>
                    <a:pt x="454" y="139"/>
                  </a:cubicBezTo>
                  <a:cubicBezTo>
                    <a:pt x="435" y="189"/>
                    <a:pt x="494" y="302"/>
                    <a:pt x="497" y="350"/>
                  </a:cubicBezTo>
                  <a:cubicBezTo>
                    <a:pt x="519" y="369"/>
                    <a:pt x="544" y="392"/>
                    <a:pt x="558" y="408"/>
                  </a:cubicBezTo>
                  <a:cubicBezTo>
                    <a:pt x="584" y="441"/>
                    <a:pt x="558" y="438"/>
                    <a:pt x="561" y="509"/>
                  </a:cubicBezTo>
                  <a:cubicBezTo>
                    <a:pt x="563" y="580"/>
                    <a:pt x="531" y="550"/>
                    <a:pt x="504" y="574"/>
                  </a:cubicBezTo>
                  <a:cubicBezTo>
                    <a:pt x="478" y="597"/>
                    <a:pt x="501" y="650"/>
                    <a:pt x="496" y="665"/>
                  </a:cubicBezTo>
                  <a:cubicBezTo>
                    <a:pt x="490" y="680"/>
                    <a:pt x="410" y="562"/>
                    <a:pt x="404" y="544"/>
                  </a:cubicBezTo>
                  <a:cubicBezTo>
                    <a:pt x="398" y="526"/>
                    <a:pt x="434" y="456"/>
                    <a:pt x="425" y="414"/>
                  </a:cubicBezTo>
                  <a:cubicBezTo>
                    <a:pt x="416" y="373"/>
                    <a:pt x="363" y="400"/>
                    <a:pt x="345" y="402"/>
                  </a:cubicBezTo>
                  <a:cubicBezTo>
                    <a:pt x="327" y="406"/>
                    <a:pt x="286" y="355"/>
                    <a:pt x="277" y="355"/>
                  </a:cubicBezTo>
                  <a:cubicBezTo>
                    <a:pt x="268" y="355"/>
                    <a:pt x="0" y="456"/>
                    <a:pt x="0" y="456"/>
                  </a:cubicBezTo>
                  <a:cubicBezTo>
                    <a:pt x="20" y="530"/>
                    <a:pt x="20" y="530"/>
                    <a:pt x="20" y="530"/>
                  </a:cubicBezTo>
                  <a:cubicBezTo>
                    <a:pt x="15" y="530"/>
                    <a:pt x="15" y="530"/>
                    <a:pt x="15" y="530"/>
                  </a:cubicBezTo>
                  <a:cubicBezTo>
                    <a:pt x="29" y="562"/>
                    <a:pt x="29" y="562"/>
                    <a:pt x="29" y="562"/>
                  </a:cubicBezTo>
                  <a:cubicBezTo>
                    <a:pt x="29" y="562"/>
                    <a:pt x="118" y="566"/>
                    <a:pt x="158" y="593"/>
                  </a:cubicBezTo>
                  <a:cubicBezTo>
                    <a:pt x="197" y="619"/>
                    <a:pt x="259" y="624"/>
                    <a:pt x="273" y="633"/>
                  </a:cubicBezTo>
                  <a:cubicBezTo>
                    <a:pt x="286" y="642"/>
                    <a:pt x="273" y="739"/>
                    <a:pt x="277" y="788"/>
                  </a:cubicBezTo>
                  <a:cubicBezTo>
                    <a:pt x="282" y="836"/>
                    <a:pt x="224" y="850"/>
                    <a:pt x="251" y="876"/>
                  </a:cubicBezTo>
                  <a:cubicBezTo>
                    <a:pt x="277" y="903"/>
                    <a:pt x="264" y="947"/>
                    <a:pt x="282" y="952"/>
                  </a:cubicBezTo>
                  <a:cubicBezTo>
                    <a:pt x="299" y="956"/>
                    <a:pt x="251" y="1013"/>
                    <a:pt x="228" y="1027"/>
                  </a:cubicBezTo>
                  <a:cubicBezTo>
                    <a:pt x="206" y="1040"/>
                    <a:pt x="228" y="1089"/>
                    <a:pt x="202" y="1124"/>
                  </a:cubicBezTo>
                  <a:cubicBezTo>
                    <a:pt x="185" y="1147"/>
                    <a:pt x="135" y="1191"/>
                    <a:pt x="101" y="1225"/>
                  </a:cubicBezTo>
                  <a:cubicBezTo>
                    <a:pt x="102" y="1226"/>
                    <a:pt x="104" y="1227"/>
                    <a:pt x="104" y="1228"/>
                  </a:cubicBezTo>
                  <a:cubicBezTo>
                    <a:pt x="113" y="1244"/>
                    <a:pt x="140" y="1399"/>
                    <a:pt x="166" y="1414"/>
                  </a:cubicBezTo>
                  <a:cubicBezTo>
                    <a:pt x="193" y="1430"/>
                    <a:pt x="178" y="1582"/>
                    <a:pt x="175" y="1596"/>
                  </a:cubicBezTo>
                  <a:cubicBezTo>
                    <a:pt x="173" y="1609"/>
                    <a:pt x="186" y="1711"/>
                    <a:pt x="186" y="1711"/>
                  </a:cubicBezTo>
                  <a:cubicBezTo>
                    <a:pt x="186" y="1711"/>
                    <a:pt x="226" y="1705"/>
                    <a:pt x="261" y="1705"/>
                  </a:cubicBezTo>
                  <a:cubicBezTo>
                    <a:pt x="263" y="1685"/>
                    <a:pt x="265" y="1667"/>
                    <a:pt x="265" y="1655"/>
                  </a:cubicBezTo>
                  <a:cubicBezTo>
                    <a:pt x="268" y="1608"/>
                    <a:pt x="236" y="1647"/>
                    <a:pt x="226" y="1617"/>
                  </a:cubicBezTo>
                  <a:cubicBezTo>
                    <a:pt x="215" y="1588"/>
                    <a:pt x="298" y="1533"/>
                    <a:pt x="382" y="1502"/>
                  </a:cubicBezTo>
                  <a:cubicBezTo>
                    <a:pt x="466" y="1471"/>
                    <a:pt x="499" y="1453"/>
                    <a:pt x="507" y="1424"/>
                  </a:cubicBezTo>
                  <a:cubicBezTo>
                    <a:pt x="516" y="1394"/>
                    <a:pt x="506" y="1312"/>
                    <a:pt x="518" y="1279"/>
                  </a:cubicBezTo>
                  <a:cubicBezTo>
                    <a:pt x="530" y="1247"/>
                    <a:pt x="510" y="1227"/>
                    <a:pt x="500" y="1154"/>
                  </a:cubicBezTo>
                  <a:cubicBezTo>
                    <a:pt x="490" y="1080"/>
                    <a:pt x="463" y="1068"/>
                    <a:pt x="451" y="1027"/>
                  </a:cubicBezTo>
                  <a:cubicBezTo>
                    <a:pt x="439" y="985"/>
                    <a:pt x="442" y="953"/>
                    <a:pt x="468" y="952"/>
                  </a:cubicBezTo>
                  <a:cubicBezTo>
                    <a:pt x="493" y="950"/>
                    <a:pt x="493" y="938"/>
                    <a:pt x="513" y="898"/>
                  </a:cubicBezTo>
                  <a:cubicBezTo>
                    <a:pt x="534" y="859"/>
                    <a:pt x="558" y="875"/>
                    <a:pt x="597" y="845"/>
                  </a:cubicBezTo>
                  <a:cubicBezTo>
                    <a:pt x="637" y="816"/>
                    <a:pt x="639" y="779"/>
                    <a:pt x="702" y="730"/>
                  </a:cubicBezTo>
                  <a:cubicBezTo>
                    <a:pt x="766" y="681"/>
                    <a:pt x="835" y="683"/>
                    <a:pt x="897" y="646"/>
                  </a:cubicBezTo>
                  <a:cubicBezTo>
                    <a:pt x="959" y="609"/>
                    <a:pt x="1065" y="465"/>
                    <a:pt x="1055" y="438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2" name="Freeform 163"/>
            <p:cNvSpPr>
              <a:spLocks/>
            </p:cNvSpPr>
            <p:nvPr/>
          </p:nvSpPr>
          <p:spPr bwMode="auto">
            <a:xfrm>
              <a:off x="13115133" y="8868562"/>
              <a:ext cx="549524" cy="556225"/>
            </a:xfrm>
            <a:custGeom>
              <a:avLst/>
              <a:gdLst>
                <a:gd name="T0" fmla="*/ 1015 w 1086"/>
                <a:gd name="T1" fmla="*/ 882 h 1100"/>
                <a:gd name="T2" fmla="*/ 978 w 1086"/>
                <a:gd name="T3" fmla="*/ 780 h 1100"/>
                <a:gd name="T4" fmla="*/ 968 w 1086"/>
                <a:gd name="T5" fmla="*/ 697 h 1100"/>
                <a:gd name="T6" fmla="*/ 986 w 1086"/>
                <a:gd name="T7" fmla="*/ 622 h 1100"/>
                <a:gd name="T8" fmla="*/ 932 w 1086"/>
                <a:gd name="T9" fmla="*/ 538 h 1100"/>
                <a:gd name="T10" fmla="*/ 976 w 1086"/>
                <a:gd name="T11" fmla="*/ 386 h 1100"/>
                <a:gd name="T12" fmla="*/ 809 w 1086"/>
                <a:gd name="T13" fmla="*/ 267 h 1100"/>
                <a:gd name="T14" fmla="*/ 814 w 1086"/>
                <a:gd name="T15" fmla="*/ 206 h 1100"/>
                <a:gd name="T16" fmla="*/ 437 w 1086"/>
                <a:gd name="T17" fmla="*/ 6 h 1100"/>
                <a:gd name="T18" fmla="*/ 389 w 1086"/>
                <a:gd name="T19" fmla="*/ 100 h 1100"/>
                <a:gd name="T20" fmla="*/ 395 w 1086"/>
                <a:gd name="T21" fmla="*/ 161 h 1100"/>
                <a:gd name="T22" fmla="*/ 234 w 1086"/>
                <a:gd name="T23" fmla="*/ 153 h 1100"/>
                <a:gd name="T24" fmla="*/ 233 w 1086"/>
                <a:gd name="T25" fmla="*/ 0 h 1100"/>
                <a:gd name="T26" fmla="*/ 150 w 1086"/>
                <a:gd name="T27" fmla="*/ 7 h 1100"/>
                <a:gd name="T28" fmla="*/ 103 w 1086"/>
                <a:gd name="T29" fmla="*/ 19 h 1100"/>
                <a:gd name="T30" fmla="*/ 119 w 1086"/>
                <a:gd name="T31" fmla="*/ 63 h 1100"/>
                <a:gd name="T32" fmla="*/ 135 w 1086"/>
                <a:gd name="T33" fmla="*/ 129 h 1100"/>
                <a:gd name="T34" fmla="*/ 95 w 1086"/>
                <a:gd name="T35" fmla="*/ 148 h 1100"/>
                <a:gd name="T36" fmla="*/ 99 w 1086"/>
                <a:gd name="T37" fmla="*/ 201 h 1100"/>
                <a:gd name="T38" fmla="*/ 124 w 1086"/>
                <a:gd name="T39" fmla="*/ 216 h 1100"/>
                <a:gd name="T40" fmla="*/ 43 w 1086"/>
                <a:gd name="T41" fmla="*/ 333 h 1100"/>
                <a:gd name="T42" fmla="*/ 0 w 1086"/>
                <a:gd name="T43" fmla="*/ 359 h 1100"/>
                <a:gd name="T44" fmla="*/ 61 w 1086"/>
                <a:gd name="T45" fmla="*/ 549 h 1100"/>
                <a:gd name="T46" fmla="*/ 114 w 1086"/>
                <a:gd name="T47" fmla="*/ 680 h 1100"/>
                <a:gd name="T48" fmla="*/ 139 w 1086"/>
                <a:gd name="T49" fmla="*/ 759 h 1100"/>
                <a:gd name="T50" fmla="*/ 83 w 1086"/>
                <a:gd name="T51" fmla="*/ 717 h 1100"/>
                <a:gd name="T52" fmla="*/ 76 w 1086"/>
                <a:gd name="T53" fmla="*/ 733 h 1100"/>
                <a:gd name="T54" fmla="*/ 73 w 1086"/>
                <a:gd name="T55" fmla="*/ 737 h 1100"/>
                <a:gd name="T56" fmla="*/ 145 w 1086"/>
                <a:gd name="T57" fmla="*/ 778 h 1100"/>
                <a:gd name="T58" fmla="*/ 237 w 1086"/>
                <a:gd name="T59" fmla="*/ 814 h 1100"/>
                <a:gd name="T60" fmla="*/ 364 w 1086"/>
                <a:gd name="T61" fmla="*/ 870 h 1100"/>
                <a:gd name="T62" fmla="*/ 371 w 1086"/>
                <a:gd name="T63" fmla="*/ 880 h 1100"/>
                <a:gd name="T64" fmla="*/ 438 w 1086"/>
                <a:gd name="T65" fmla="*/ 880 h 1100"/>
                <a:gd name="T66" fmla="*/ 453 w 1086"/>
                <a:gd name="T67" fmla="*/ 874 h 1100"/>
                <a:gd name="T68" fmla="*/ 525 w 1086"/>
                <a:gd name="T69" fmla="*/ 1076 h 1100"/>
                <a:gd name="T70" fmla="*/ 581 w 1086"/>
                <a:gd name="T71" fmla="*/ 1082 h 1100"/>
                <a:gd name="T72" fmla="*/ 640 w 1086"/>
                <a:gd name="T73" fmla="*/ 1071 h 1100"/>
                <a:gd name="T74" fmla="*/ 673 w 1086"/>
                <a:gd name="T75" fmla="*/ 1100 h 1100"/>
                <a:gd name="T76" fmla="*/ 758 w 1086"/>
                <a:gd name="T77" fmla="*/ 1088 h 1100"/>
                <a:gd name="T78" fmla="*/ 817 w 1086"/>
                <a:gd name="T79" fmla="*/ 1082 h 1100"/>
                <a:gd name="T80" fmla="*/ 850 w 1086"/>
                <a:gd name="T81" fmla="*/ 1044 h 1100"/>
                <a:gd name="T82" fmla="*/ 909 w 1086"/>
                <a:gd name="T83" fmla="*/ 1047 h 1100"/>
                <a:gd name="T84" fmla="*/ 980 w 1086"/>
                <a:gd name="T85" fmla="*/ 1029 h 1100"/>
                <a:gd name="T86" fmla="*/ 1086 w 1086"/>
                <a:gd name="T87" fmla="*/ 972 h 1100"/>
                <a:gd name="T88" fmla="*/ 1015 w 1086"/>
                <a:gd name="T89" fmla="*/ 882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86" h="1100">
                  <a:moveTo>
                    <a:pt x="1015" y="882"/>
                  </a:moveTo>
                  <a:cubicBezTo>
                    <a:pt x="1012" y="821"/>
                    <a:pt x="977" y="821"/>
                    <a:pt x="978" y="780"/>
                  </a:cubicBezTo>
                  <a:cubicBezTo>
                    <a:pt x="980" y="739"/>
                    <a:pt x="983" y="702"/>
                    <a:pt x="968" y="697"/>
                  </a:cubicBezTo>
                  <a:cubicBezTo>
                    <a:pt x="953" y="693"/>
                    <a:pt x="962" y="657"/>
                    <a:pt x="986" y="622"/>
                  </a:cubicBezTo>
                  <a:cubicBezTo>
                    <a:pt x="1009" y="587"/>
                    <a:pt x="943" y="582"/>
                    <a:pt x="932" y="538"/>
                  </a:cubicBezTo>
                  <a:cubicBezTo>
                    <a:pt x="928" y="519"/>
                    <a:pt x="949" y="455"/>
                    <a:pt x="976" y="386"/>
                  </a:cubicBezTo>
                  <a:cubicBezTo>
                    <a:pt x="894" y="329"/>
                    <a:pt x="809" y="267"/>
                    <a:pt x="809" y="267"/>
                  </a:cubicBezTo>
                  <a:cubicBezTo>
                    <a:pt x="814" y="206"/>
                    <a:pt x="814" y="206"/>
                    <a:pt x="814" y="206"/>
                  </a:cubicBezTo>
                  <a:cubicBezTo>
                    <a:pt x="437" y="6"/>
                    <a:pt x="437" y="6"/>
                    <a:pt x="437" y="6"/>
                  </a:cubicBezTo>
                  <a:cubicBezTo>
                    <a:pt x="434" y="52"/>
                    <a:pt x="415" y="87"/>
                    <a:pt x="389" y="100"/>
                  </a:cubicBezTo>
                  <a:cubicBezTo>
                    <a:pt x="360" y="113"/>
                    <a:pt x="429" y="155"/>
                    <a:pt x="395" y="161"/>
                  </a:cubicBezTo>
                  <a:cubicBezTo>
                    <a:pt x="362" y="168"/>
                    <a:pt x="287" y="130"/>
                    <a:pt x="234" y="153"/>
                  </a:cubicBezTo>
                  <a:cubicBezTo>
                    <a:pt x="198" y="168"/>
                    <a:pt x="205" y="78"/>
                    <a:pt x="233" y="0"/>
                  </a:cubicBezTo>
                  <a:cubicBezTo>
                    <a:pt x="150" y="7"/>
                    <a:pt x="150" y="7"/>
                    <a:pt x="150" y="7"/>
                  </a:cubicBezTo>
                  <a:cubicBezTo>
                    <a:pt x="150" y="7"/>
                    <a:pt x="127" y="12"/>
                    <a:pt x="103" y="19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9" y="63"/>
                    <a:pt x="140" y="104"/>
                    <a:pt x="135" y="129"/>
                  </a:cubicBezTo>
                  <a:cubicBezTo>
                    <a:pt x="132" y="141"/>
                    <a:pt x="114" y="146"/>
                    <a:pt x="95" y="148"/>
                  </a:cubicBezTo>
                  <a:cubicBezTo>
                    <a:pt x="102" y="178"/>
                    <a:pt x="99" y="201"/>
                    <a:pt x="99" y="201"/>
                  </a:cubicBezTo>
                  <a:cubicBezTo>
                    <a:pt x="124" y="216"/>
                    <a:pt x="124" y="216"/>
                    <a:pt x="124" y="216"/>
                  </a:cubicBezTo>
                  <a:cubicBezTo>
                    <a:pt x="124" y="216"/>
                    <a:pt x="68" y="323"/>
                    <a:pt x="43" y="333"/>
                  </a:cubicBezTo>
                  <a:cubicBezTo>
                    <a:pt x="36" y="336"/>
                    <a:pt x="20" y="346"/>
                    <a:pt x="0" y="359"/>
                  </a:cubicBezTo>
                  <a:cubicBezTo>
                    <a:pt x="15" y="434"/>
                    <a:pt x="33" y="524"/>
                    <a:pt x="61" y="549"/>
                  </a:cubicBezTo>
                  <a:cubicBezTo>
                    <a:pt x="112" y="595"/>
                    <a:pt x="103" y="648"/>
                    <a:pt x="114" y="680"/>
                  </a:cubicBezTo>
                  <a:cubicBezTo>
                    <a:pt x="125" y="710"/>
                    <a:pt x="169" y="746"/>
                    <a:pt x="139" y="759"/>
                  </a:cubicBezTo>
                  <a:cubicBezTo>
                    <a:pt x="119" y="768"/>
                    <a:pt x="101" y="746"/>
                    <a:pt x="83" y="717"/>
                  </a:cubicBezTo>
                  <a:cubicBezTo>
                    <a:pt x="81" y="722"/>
                    <a:pt x="79" y="728"/>
                    <a:pt x="76" y="733"/>
                  </a:cubicBezTo>
                  <a:cubicBezTo>
                    <a:pt x="76" y="734"/>
                    <a:pt x="74" y="735"/>
                    <a:pt x="73" y="737"/>
                  </a:cubicBezTo>
                  <a:cubicBezTo>
                    <a:pt x="100" y="757"/>
                    <a:pt x="131" y="778"/>
                    <a:pt x="145" y="778"/>
                  </a:cubicBezTo>
                  <a:cubicBezTo>
                    <a:pt x="170" y="778"/>
                    <a:pt x="211" y="809"/>
                    <a:pt x="237" y="814"/>
                  </a:cubicBezTo>
                  <a:cubicBezTo>
                    <a:pt x="262" y="819"/>
                    <a:pt x="353" y="855"/>
                    <a:pt x="364" y="870"/>
                  </a:cubicBezTo>
                  <a:cubicBezTo>
                    <a:pt x="366" y="872"/>
                    <a:pt x="369" y="876"/>
                    <a:pt x="371" y="880"/>
                  </a:cubicBezTo>
                  <a:cubicBezTo>
                    <a:pt x="393" y="879"/>
                    <a:pt x="421" y="878"/>
                    <a:pt x="438" y="880"/>
                  </a:cubicBezTo>
                  <a:cubicBezTo>
                    <a:pt x="442" y="877"/>
                    <a:pt x="446" y="874"/>
                    <a:pt x="453" y="874"/>
                  </a:cubicBezTo>
                  <a:cubicBezTo>
                    <a:pt x="487" y="874"/>
                    <a:pt x="526" y="1002"/>
                    <a:pt x="525" y="1076"/>
                  </a:cubicBezTo>
                  <a:cubicBezTo>
                    <a:pt x="545" y="1079"/>
                    <a:pt x="572" y="1082"/>
                    <a:pt x="581" y="1082"/>
                  </a:cubicBezTo>
                  <a:cubicBezTo>
                    <a:pt x="596" y="1082"/>
                    <a:pt x="614" y="1062"/>
                    <a:pt x="640" y="1071"/>
                  </a:cubicBezTo>
                  <a:cubicBezTo>
                    <a:pt x="667" y="1079"/>
                    <a:pt x="649" y="1100"/>
                    <a:pt x="673" y="1100"/>
                  </a:cubicBezTo>
                  <a:cubicBezTo>
                    <a:pt x="696" y="1100"/>
                    <a:pt x="744" y="1085"/>
                    <a:pt x="758" y="1088"/>
                  </a:cubicBezTo>
                  <a:cubicBezTo>
                    <a:pt x="773" y="1091"/>
                    <a:pt x="814" y="1100"/>
                    <a:pt x="817" y="1082"/>
                  </a:cubicBezTo>
                  <a:cubicBezTo>
                    <a:pt x="820" y="1065"/>
                    <a:pt x="829" y="1038"/>
                    <a:pt x="850" y="1044"/>
                  </a:cubicBezTo>
                  <a:cubicBezTo>
                    <a:pt x="871" y="1050"/>
                    <a:pt x="885" y="1068"/>
                    <a:pt x="909" y="1047"/>
                  </a:cubicBezTo>
                  <a:cubicBezTo>
                    <a:pt x="932" y="1026"/>
                    <a:pt x="971" y="1047"/>
                    <a:pt x="980" y="1029"/>
                  </a:cubicBezTo>
                  <a:cubicBezTo>
                    <a:pt x="984" y="1020"/>
                    <a:pt x="1037" y="994"/>
                    <a:pt x="1086" y="972"/>
                  </a:cubicBezTo>
                  <a:cubicBezTo>
                    <a:pt x="1083" y="916"/>
                    <a:pt x="1018" y="941"/>
                    <a:pt x="1015" y="88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3" name="Freeform 164"/>
            <p:cNvSpPr>
              <a:spLocks/>
            </p:cNvSpPr>
            <p:nvPr/>
          </p:nvSpPr>
          <p:spPr bwMode="auto">
            <a:xfrm>
              <a:off x="13275969" y="9312537"/>
              <a:ext cx="167538" cy="390362"/>
            </a:xfrm>
            <a:custGeom>
              <a:avLst/>
              <a:gdLst>
                <a:gd name="T0" fmla="*/ 305 w 331"/>
                <a:gd name="T1" fmla="*/ 502 h 774"/>
                <a:gd name="T2" fmla="*/ 244 w 331"/>
                <a:gd name="T3" fmla="*/ 444 h 774"/>
                <a:gd name="T4" fmla="*/ 241 w 331"/>
                <a:gd name="T5" fmla="*/ 461 h 774"/>
                <a:gd name="T6" fmla="*/ 133 w 331"/>
                <a:gd name="T7" fmla="*/ 308 h 774"/>
                <a:gd name="T8" fmla="*/ 144 w 331"/>
                <a:gd name="T9" fmla="*/ 131 h 774"/>
                <a:gd name="T10" fmla="*/ 120 w 331"/>
                <a:gd name="T11" fmla="*/ 2 h 774"/>
                <a:gd name="T12" fmla="*/ 53 w 331"/>
                <a:gd name="T13" fmla="*/ 2 h 774"/>
                <a:gd name="T14" fmla="*/ 92 w 331"/>
                <a:gd name="T15" fmla="*/ 99 h 774"/>
                <a:gd name="T16" fmla="*/ 57 w 331"/>
                <a:gd name="T17" fmla="*/ 120 h 774"/>
                <a:gd name="T18" fmla="*/ 62 w 331"/>
                <a:gd name="T19" fmla="*/ 283 h 774"/>
                <a:gd name="T20" fmla="*/ 21 w 331"/>
                <a:gd name="T21" fmla="*/ 309 h 774"/>
                <a:gd name="T22" fmla="*/ 6 w 331"/>
                <a:gd name="T23" fmla="*/ 406 h 774"/>
                <a:gd name="T24" fmla="*/ 23 w 331"/>
                <a:gd name="T25" fmla="*/ 450 h 774"/>
                <a:gd name="T26" fmla="*/ 24 w 331"/>
                <a:gd name="T27" fmla="*/ 449 h 774"/>
                <a:gd name="T28" fmla="*/ 92 w 331"/>
                <a:gd name="T29" fmla="*/ 496 h 774"/>
                <a:gd name="T30" fmla="*/ 172 w 331"/>
                <a:gd name="T31" fmla="*/ 508 h 774"/>
                <a:gd name="T32" fmla="*/ 151 w 331"/>
                <a:gd name="T33" fmla="*/ 638 h 774"/>
                <a:gd name="T34" fmla="*/ 243 w 331"/>
                <a:gd name="T35" fmla="*/ 759 h 774"/>
                <a:gd name="T36" fmla="*/ 251 w 331"/>
                <a:gd name="T37" fmla="*/ 668 h 774"/>
                <a:gd name="T38" fmla="*/ 308 w 331"/>
                <a:gd name="T39" fmla="*/ 603 h 774"/>
                <a:gd name="T40" fmla="*/ 305 w 331"/>
                <a:gd name="T41" fmla="*/ 502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1" h="774">
                  <a:moveTo>
                    <a:pt x="305" y="502"/>
                  </a:moveTo>
                  <a:cubicBezTo>
                    <a:pt x="291" y="486"/>
                    <a:pt x="266" y="463"/>
                    <a:pt x="244" y="444"/>
                  </a:cubicBezTo>
                  <a:cubicBezTo>
                    <a:pt x="245" y="451"/>
                    <a:pt x="244" y="457"/>
                    <a:pt x="241" y="461"/>
                  </a:cubicBezTo>
                  <a:cubicBezTo>
                    <a:pt x="215" y="499"/>
                    <a:pt x="141" y="381"/>
                    <a:pt x="133" y="308"/>
                  </a:cubicBezTo>
                  <a:cubicBezTo>
                    <a:pt x="124" y="235"/>
                    <a:pt x="175" y="200"/>
                    <a:pt x="144" y="131"/>
                  </a:cubicBezTo>
                  <a:cubicBezTo>
                    <a:pt x="118" y="74"/>
                    <a:pt x="102" y="19"/>
                    <a:pt x="120" y="2"/>
                  </a:cubicBezTo>
                  <a:cubicBezTo>
                    <a:pt x="103" y="0"/>
                    <a:pt x="75" y="1"/>
                    <a:pt x="53" y="2"/>
                  </a:cubicBezTo>
                  <a:cubicBezTo>
                    <a:pt x="69" y="28"/>
                    <a:pt x="92" y="81"/>
                    <a:pt x="92" y="99"/>
                  </a:cubicBezTo>
                  <a:cubicBezTo>
                    <a:pt x="92" y="120"/>
                    <a:pt x="67" y="94"/>
                    <a:pt x="57" y="120"/>
                  </a:cubicBezTo>
                  <a:cubicBezTo>
                    <a:pt x="46" y="145"/>
                    <a:pt x="41" y="263"/>
                    <a:pt x="62" y="283"/>
                  </a:cubicBezTo>
                  <a:cubicBezTo>
                    <a:pt x="82" y="304"/>
                    <a:pt x="21" y="288"/>
                    <a:pt x="21" y="309"/>
                  </a:cubicBezTo>
                  <a:cubicBezTo>
                    <a:pt x="21" y="329"/>
                    <a:pt x="16" y="401"/>
                    <a:pt x="6" y="406"/>
                  </a:cubicBezTo>
                  <a:cubicBezTo>
                    <a:pt x="0" y="408"/>
                    <a:pt x="12" y="426"/>
                    <a:pt x="23" y="450"/>
                  </a:cubicBezTo>
                  <a:cubicBezTo>
                    <a:pt x="23" y="450"/>
                    <a:pt x="24" y="449"/>
                    <a:pt x="24" y="449"/>
                  </a:cubicBezTo>
                  <a:cubicBezTo>
                    <a:pt x="33" y="449"/>
                    <a:pt x="74" y="500"/>
                    <a:pt x="92" y="496"/>
                  </a:cubicBezTo>
                  <a:cubicBezTo>
                    <a:pt x="110" y="494"/>
                    <a:pt x="163" y="467"/>
                    <a:pt x="172" y="508"/>
                  </a:cubicBezTo>
                  <a:cubicBezTo>
                    <a:pt x="181" y="550"/>
                    <a:pt x="145" y="620"/>
                    <a:pt x="151" y="638"/>
                  </a:cubicBezTo>
                  <a:cubicBezTo>
                    <a:pt x="157" y="656"/>
                    <a:pt x="237" y="774"/>
                    <a:pt x="243" y="759"/>
                  </a:cubicBezTo>
                  <a:cubicBezTo>
                    <a:pt x="248" y="744"/>
                    <a:pt x="225" y="691"/>
                    <a:pt x="251" y="668"/>
                  </a:cubicBezTo>
                  <a:cubicBezTo>
                    <a:pt x="278" y="644"/>
                    <a:pt x="310" y="674"/>
                    <a:pt x="308" y="603"/>
                  </a:cubicBezTo>
                  <a:cubicBezTo>
                    <a:pt x="305" y="532"/>
                    <a:pt x="331" y="535"/>
                    <a:pt x="305" y="50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4" name="Freeform 165"/>
            <p:cNvSpPr>
              <a:spLocks/>
            </p:cNvSpPr>
            <p:nvPr/>
          </p:nvSpPr>
          <p:spPr bwMode="auto">
            <a:xfrm>
              <a:off x="19895382" y="9877139"/>
              <a:ext cx="167538" cy="130679"/>
            </a:xfrm>
            <a:custGeom>
              <a:avLst/>
              <a:gdLst>
                <a:gd name="T0" fmla="*/ 6 w 331"/>
                <a:gd name="T1" fmla="*/ 37 h 261"/>
                <a:gd name="T2" fmla="*/ 295 w 331"/>
                <a:gd name="T3" fmla="*/ 237 h 261"/>
                <a:gd name="T4" fmla="*/ 6 w 331"/>
                <a:gd name="T5" fmla="*/ 37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31" h="261">
                  <a:moveTo>
                    <a:pt x="6" y="37"/>
                  </a:moveTo>
                  <a:cubicBezTo>
                    <a:pt x="0" y="0"/>
                    <a:pt x="331" y="214"/>
                    <a:pt x="295" y="237"/>
                  </a:cubicBezTo>
                  <a:cubicBezTo>
                    <a:pt x="260" y="261"/>
                    <a:pt x="12" y="72"/>
                    <a:pt x="6" y="3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5" name="Freeform 166"/>
            <p:cNvSpPr>
              <a:spLocks/>
            </p:cNvSpPr>
            <p:nvPr/>
          </p:nvSpPr>
          <p:spPr bwMode="auto">
            <a:xfrm>
              <a:off x="15066946" y="6621881"/>
              <a:ext cx="387013" cy="261359"/>
            </a:xfrm>
            <a:custGeom>
              <a:avLst/>
              <a:gdLst>
                <a:gd name="T0" fmla="*/ 626 w 767"/>
                <a:gd name="T1" fmla="*/ 419 h 516"/>
                <a:gd name="T2" fmla="*/ 664 w 767"/>
                <a:gd name="T3" fmla="*/ 447 h 516"/>
                <a:gd name="T4" fmla="*/ 734 w 767"/>
                <a:gd name="T5" fmla="*/ 469 h 516"/>
                <a:gd name="T6" fmla="*/ 767 w 767"/>
                <a:gd name="T7" fmla="*/ 463 h 516"/>
                <a:gd name="T8" fmla="*/ 748 w 767"/>
                <a:gd name="T9" fmla="*/ 328 h 516"/>
                <a:gd name="T10" fmla="*/ 649 w 767"/>
                <a:gd name="T11" fmla="*/ 265 h 516"/>
                <a:gd name="T12" fmla="*/ 633 w 767"/>
                <a:gd name="T13" fmla="*/ 179 h 516"/>
                <a:gd name="T14" fmla="*/ 503 w 767"/>
                <a:gd name="T15" fmla="*/ 187 h 516"/>
                <a:gd name="T16" fmla="*/ 421 w 767"/>
                <a:gd name="T17" fmla="*/ 171 h 516"/>
                <a:gd name="T18" fmla="*/ 330 w 767"/>
                <a:gd name="T19" fmla="*/ 167 h 516"/>
                <a:gd name="T20" fmla="*/ 188 w 767"/>
                <a:gd name="T21" fmla="*/ 155 h 516"/>
                <a:gd name="T22" fmla="*/ 259 w 767"/>
                <a:gd name="T23" fmla="*/ 96 h 516"/>
                <a:gd name="T24" fmla="*/ 290 w 767"/>
                <a:gd name="T25" fmla="*/ 97 h 516"/>
                <a:gd name="T26" fmla="*/ 325 w 767"/>
                <a:gd name="T27" fmla="*/ 15 h 516"/>
                <a:gd name="T28" fmla="*/ 257 w 767"/>
                <a:gd name="T29" fmla="*/ 30 h 516"/>
                <a:gd name="T30" fmla="*/ 180 w 767"/>
                <a:gd name="T31" fmla="*/ 47 h 516"/>
                <a:gd name="T32" fmla="*/ 133 w 767"/>
                <a:gd name="T33" fmla="*/ 101 h 516"/>
                <a:gd name="T34" fmla="*/ 101 w 767"/>
                <a:gd name="T35" fmla="*/ 157 h 516"/>
                <a:gd name="T36" fmla="*/ 6 w 767"/>
                <a:gd name="T37" fmla="*/ 192 h 516"/>
                <a:gd name="T38" fmla="*/ 68 w 767"/>
                <a:gd name="T39" fmla="*/ 269 h 516"/>
                <a:gd name="T40" fmla="*/ 80 w 767"/>
                <a:gd name="T41" fmla="*/ 357 h 516"/>
                <a:gd name="T42" fmla="*/ 39 w 767"/>
                <a:gd name="T43" fmla="*/ 462 h 516"/>
                <a:gd name="T44" fmla="*/ 86 w 767"/>
                <a:gd name="T45" fmla="*/ 466 h 516"/>
                <a:gd name="T46" fmla="*/ 188 w 767"/>
                <a:gd name="T47" fmla="*/ 439 h 516"/>
                <a:gd name="T48" fmla="*/ 283 w 767"/>
                <a:gd name="T49" fmla="*/ 392 h 516"/>
                <a:gd name="T50" fmla="*/ 373 w 767"/>
                <a:gd name="T51" fmla="*/ 305 h 516"/>
                <a:gd name="T52" fmla="*/ 413 w 767"/>
                <a:gd name="T53" fmla="*/ 388 h 516"/>
                <a:gd name="T54" fmla="*/ 417 w 767"/>
                <a:gd name="T55" fmla="*/ 506 h 516"/>
                <a:gd name="T56" fmla="*/ 464 w 767"/>
                <a:gd name="T57" fmla="*/ 508 h 516"/>
                <a:gd name="T58" fmla="*/ 517 w 767"/>
                <a:gd name="T59" fmla="*/ 490 h 516"/>
                <a:gd name="T60" fmla="*/ 626 w 767"/>
                <a:gd name="T61" fmla="*/ 419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67" h="516">
                  <a:moveTo>
                    <a:pt x="626" y="419"/>
                  </a:moveTo>
                  <a:cubicBezTo>
                    <a:pt x="648" y="432"/>
                    <a:pt x="644" y="450"/>
                    <a:pt x="664" y="447"/>
                  </a:cubicBezTo>
                  <a:cubicBezTo>
                    <a:pt x="681" y="444"/>
                    <a:pt x="717" y="452"/>
                    <a:pt x="734" y="469"/>
                  </a:cubicBezTo>
                  <a:cubicBezTo>
                    <a:pt x="752" y="464"/>
                    <a:pt x="767" y="463"/>
                    <a:pt x="767" y="463"/>
                  </a:cubicBezTo>
                  <a:cubicBezTo>
                    <a:pt x="767" y="463"/>
                    <a:pt x="752" y="360"/>
                    <a:pt x="748" y="328"/>
                  </a:cubicBezTo>
                  <a:cubicBezTo>
                    <a:pt x="744" y="297"/>
                    <a:pt x="649" y="265"/>
                    <a:pt x="649" y="265"/>
                  </a:cubicBezTo>
                  <a:cubicBezTo>
                    <a:pt x="633" y="179"/>
                    <a:pt x="633" y="179"/>
                    <a:pt x="633" y="179"/>
                  </a:cubicBezTo>
                  <a:cubicBezTo>
                    <a:pt x="633" y="179"/>
                    <a:pt x="523" y="195"/>
                    <a:pt x="503" y="187"/>
                  </a:cubicBezTo>
                  <a:cubicBezTo>
                    <a:pt x="484" y="179"/>
                    <a:pt x="440" y="198"/>
                    <a:pt x="421" y="171"/>
                  </a:cubicBezTo>
                  <a:cubicBezTo>
                    <a:pt x="401" y="143"/>
                    <a:pt x="365" y="191"/>
                    <a:pt x="330" y="167"/>
                  </a:cubicBezTo>
                  <a:cubicBezTo>
                    <a:pt x="294" y="143"/>
                    <a:pt x="192" y="175"/>
                    <a:pt x="188" y="155"/>
                  </a:cubicBezTo>
                  <a:cubicBezTo>
                    <a:pt x="184" y="135"/>
                    <a:pt x="231" y="92"/>
                    <a:pt x="259" y="96"/>
                  </a:cubicBezTo>
                  <a:cubicBezTo>
                    <a:pt x="266" y="97"/>
                    <a:pt x="277" y="97"/>
                    <a:pt x="290" y="97"/>
                  </a:cubicBezTo>
                  <a:cubicBezTo>
                    <a:pt x="303" y="76"/>
                    <a:pt x="332" y="27"/>
                    <a:pt x="325" y="15"/>
                  </a:cubicBezTo>
                  <a:cubicBezTo>
                    <a:pt x="316" y="0"/>
                    <a:pt x="281" y="12"/>
                    <a:pt x="257" y="30"/>
                  </a:cubicBezTo>
                  <a:cubicBezTo>
                    <a:pt x="233" y="47"/>
                    <a:pt x="189" y="21"/>
                    <a:pt x="180" y="47"/>
                  </a:cubicBezTo>
                  <a:cubicBezTo>
                    <a:pt x="171" y="74"/>
                    <a:pt x="160" y="101"/>
                    <a:pt x="133" y="101"/>
                  </a:cubicBezTo>
                  <a:cubicBezTo>
                    <a:pt x="107" y="101"/>
                    <a:pt x="127" y="145"/>
                    <a:pt x="101" y="157"/>
                  </a:cubicBezTo>
                  <a:cubicBezTo>
                    <a:pt x="74" y="168"/>
                    <a:pt x="12" y="165"/>
                    <a:pt x="6" y="192"/>
                  </a:cubicBezTo>
                  <a:cubicBezTo>
                    <a:pt x="0" y="219"/>
                    <a:pt x="74" y="236"/>
                    <a:pt x="68" y="269"/>
                  </a:cubicBezTo>
                  <a:cubicBezTo>
                    <a:pt x="62" y="301"/>
                    <a:pt x="107" y="337"/>
                    <a:pt x="80" y="357"/>
                  </a:cubicBezTo>
                  <a:cubicBezTo>
                    <a:pt x="57" y="375"/>
                    <a:pt x="37" y="404"/>
                    <a:pt x="39" y="462"/>
                  </a:cubicBezTo>
                  <a:cubicBezTo>
                    <a:pt x="58" y="474"/>
                    <a:pt x="76" y="485"/>
                    <a:pt x="86" y="466"/>
                  </a:cubicBezTo>
                  <a:cubicBezTo>
                    <a:pt x="101" y="435"/>
                    <a:pt x="188" y="466"/>
                    <a:pt x="188" y="439"/>
                  </a:cubicBezTo>
                  <a:cubicBezTo>
                    <a:pt x="188" y="411"/>
                    <a:pt x="283" y="419"/>
                    <a:pt x="283" y="392"/>
                  </a:cubicBezTo>
                  <a:cubicBezTo>
                    <a:pt x="283" y="364"/>
                    <a:pt x="338" y="301"/>
                    <a:pt x="373" y="305"/>
                  </a:cubicBezTo>
                  <a:cubicBezTo>
                    <a:pt x="409" y="309"/>
                    <a:pt x="369" y="368"/>
                    <a:pt x="413" y="388"/>
                  </a:cubicBezTo>
                  <a:cubicBezTo>
                    <a:pt x="456" y="407"/>
                    <a:pt x="393" y="478"/>
                    <a:pt x="417" y="506"/>
                  </a:cubicBezTo>
                  <a:cubicBezTo>
                    <a:pt x="426" y="516"/>
                    <a:pt x="443" y="514"/>
                    <a:pt x="464" y="508"/>
                  </a:cubicBezTo>
                  <a:cubicBezTo>
                    <a:pt x="480" y="504"/>
                    <a:pt x="498" y="496"/>
                    <a:pt x="517" y="490"/>
                  </a:cubicBezTo>
                  <a:cubicBezTo>
                    <a:pt x="556" y="456"/>
                    <a:pt x="608" y="408"/>
                    <a:pt x="626" y="419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6" name="Freeform 167"/>
            <p:cNvSpPr>
              <a:spLocks/>
            </p:cNvSpPr>
            <p:nvPr/>
          </p:nvSpPr>
          <p:spPr bwMode="auto">
            <a:xfrm>
              <a:off x="7676860" y="7506480"/>
              <a:ext cx="43560" cy="92145"/>
            </a:xfrm>
            <a:custGeom>
              <a:avLst/>
              <a:gdLst>
                <a:gd name="T0" fmla="*/ 74 w 85"/>
                <a:gd name="T1" fmla="*/ 171 h 184"/>
                <a:gd name="T2" fmla="*/ 34 w 85"/>
                <a:gd name="T3" fmla="*/ 131 h 184"/>
                <a:gd name="T4" fmla="*/ 0 w 85"/>
                <a:gd name="T5" fmla="*/ 64 h 184"/>
                <a:gd name="T6" fmla="*/ 37 w 85"/>
                <a:gd name="T7" fmla="*/ 35 h 184"/>
                <a:gd name="T8" fmla="*/ 47 w 85"/>
                <a:gd name="T9" fmla="*/ 110 h 184"/>
                <a:gd name="T10" fmla="*/ 74 w 85"/>
                <a:gd name="T11" fmla="*/ 17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84">
                  <a:moveTo>
                    <a:pt x="74" y="171"/>
                  </a:moveTo>
                  <a:cubicBezTo>
                    <a:pt x="68" y="184"/>
                    <a:pt x="35" y="154"/>
                    <a:pt x="34" y="131"/>
                  </a:cubicBezTo>
                  <a:cubicBezTo>
                    <a:pt x="33" y="108"/>
                    <a:pt x="0" y="104"/>
                    <a:pt x="0" y="64"/>
                  </a:cubicBezTo>
                  <a:cubicBezTo>
                    <a:pt x="0" y="24"/>
                    <a:pt x="16" y="0"/>
                    <a:pt x="37" y="35"/>
                  </a:cubicBezTo>
                  <a:cubicBezTo>
                    <a:pt x="57" y="70"/>
                    <a:pt x="44" y="93"/>
                    <a:pt x="47" y="110"/>
                  </a:cubicBezTo>
                  <a:cubicBezTo>
                    <a:pt x="50" y="127"/>
                    <a:pt x="85" y="148"/>
                    <a:pt x="74" y="17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7" name="Freeform 168"/>
            <p:cNvSpPr>
              <a:spLocks/>
            </p:cNvSpPr>
            <p:nvPr/>
          </p:nvSpPr>
          <p:spPr bwMode="auto">
            <a:xfrm>
              <a:off x="8507846" y="8270452"/>
              <a:ext cx="60314" cy="50261"/>
            </a:xfrm>
            <a:custGeom>
              <a:avLst/>
              <a:gdLst>
                <a:gd name="T0" fmla="*/ 25 w 121"/>
                <a:gd name="T1" fmla="*/ 87 h 98"/>
                <a:gd name="T2" fmla="*/ 22 w 121"/>
                <a:gd name="T3" fmla="*/ 40 h 98"/>
                <a:gd name="T4" fmla="*/ 96 w 121"/>
                <a:gd name="T5" fmla="*/ 20 h 98"/>
                <a:gd name="T6" fmla="*/ 101 w 121"/>
                <a:gd name="T7" fmla="*/ 78 h 98"/>
                <a:gd name="T8" fmla="*/ 25 w 121"/>
                <a:gd name="T9" fmla="*/ 8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" h="98">
                  <a:moveTo>
                    <a:pt x="25" y="87"/>
                  </a:moveTo>
                  <a:cubicBezTo>
                    <a:pt x="12" y="75"/>
                    <a:pt x="45" y="50"/>
                    <a:pt x="22" y="40"/>
                  </a:cubicBezTo>
                  <a:cubicBezTo>
                    <a:pt x="0" y="30"/>
                    <a:pt x="73" y="0"/>
                    <a:pt x="96" y="20"/>
                  </a:cubicBezTo>
                  <a:cubicBezTo>
                    <a:pt x="119" y="39"/>
                    <a:pt x="121" y="69"/>
                    <a:pt x="101" y="78"/>
                  </a:cubicBezTo>
                  <a:cubicBezTo>
                    <a:pt x="80" y="86"/>
                    <a:pt x="37" y="98"/>
                    <a:pt x="25" y="8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8" name="Freeform 169"/>
            <p:cNvSpPr>
              <a:spLocks/>
            </p:cNvSpPr>
            <p:nvPr/>
          </p:nvSpPr>
          <p:spPr bwMode="auto">
            <a:xfrm>
              <a:off x="13825492" y="6595075"/>
              <a:ext cx="169214" cy="145757"/>
            </a:xfrm>
            <a:custGeom>
              <a:avLst/>
              <a:gdLst>
                <a:gd name="T0" fmla="*/ 315 w 334"/>
                <a:gd name="T1" fmla="*/ 223 h 287"/>
                <a:gd name="T2" fmla="*/ 253 w 334"/>
                <a:gd name="T3" fmla="*/ 150 h 287"/>
                <a:gd name="T4" fmla="*/ 217 w 334"/>
                <a:gd name="T5" fmla="*/ 70 h 287"/>
                <a:gd name="T6" fmla="*/ 190 w 334"/>
                <a:gd name="T7" fmla="*/ 12 h 287"/>
                <a:gd name="T8" fmla="*/ 101 w 334"/>
                <a:gd name="T9" fmla="*/ 3 h 287"/>
                <a:gd name="T10" fmla="*/ 0 w 334"/>
                <a:gd name="T11" fmla="*/ 23 h 287"/>
                <a:gd name="T12" fmla="*/ 22 w 334"/>
                <a:gd name="T13" fmla="*/ 102 h 287"/>
                <a:gd name="T14" fmla="*/ 99 w 334"/>
                <a:gd name="T15" fmla="*/ 135 h 287"/>
                <a:gd name="T16" fmla="*/ 117 w 334"/>
                <a:gd name="T17" fmla="*/ 171 h 287"/>
                <a:gd name="T18" fmla="*/ 127 w 334"/>
                <a:gd name="T19" fmla="*/ 172 h 287"/>
                <a:gd name="T20" fmla="*/ 153 w 334"/>
                <a:gd name="T21" fmla="*/ 194 h 287"/>
                <a:gd name="T22" fmla="*/ 202 w 334"/>
                <a:gd name="T23" fmla="*/ 217 h 287"/>
                <a:gd name="T24" fmla="*/ 249 w 334"/>
                <a:gd name="T25" fmla="*/ 234 h 287"/>
                <a:gd name="T26" fmla="*/ 270 w 334"/>
                <a:gd name="T27" fmla="*/ 287 h 287"/>
                <a:gd name="T28" fmla="*/ 334 w 334"/>
                <a:gd name="T29" fmla="*/ 273 h 287"/>
                <a:gd name="T30" fmla="*/ 315 w 334"/>
                <a:gd name="T31" fmla="*/ 223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4" h="287">
                  <a:moveTo>
                    <a:pt x="315" y="223"/>
                  </a:moveTo>
                  <a:cubicBezTo>
                    <a:pt x="315" y="200"/>
                    <a:pt x="253" y="179"/>
                    <a:pt x="253" y="150"/>
                  </a:cubicBezTo>
                  <a:cubicBezTo>
                    <a:pt x="253" y="120"/>
                    <a:pt x="211" y="93"/>
                    <a:pt x="217" y="70"/>
                  </a:cubicBezTo>
                  <a:cubicBezTo>
                    <a:pt x="221" y="54"/>
                    <a:pt x="200" y="31"/>
                    <a:pt x="190" y="12"/>
                  </a:cubicBezTo>
                  <a:cubicBezTo>
                    <a:pt x="163" y="6"/>
                    <a:pt x="128" y="0"/>
                    <a:pt x="101" y="3"/>
                  </a:cubicBezTo>
                  <a:cubicBezTo>
                    <a:pt x="64" y="7"/>
                    <a:pt x="37" y="18"/>
                    <a:pt x="0" y="23"/>
                  </a:cubicBezTo>
                  <a:cubicBezTo>
                    <a:pt x="20" y="53"/>
                    <a:pt x="6" y="61"/>
                    <a:pt x="22" y="102"/>
                  </a:cubicBezTo>
                  <a:cubicBezTo>
                    <a:pt x="40" y="147"/>
                    <a:pt x="84" y="123"/>
                    <a:pt x="99" y="135"/>
                  </a:cubicBezTo>
                  <a:cubicBezTo>
                    <a:pt x="105" y="139"/>
                    <a:pt x="111" y="155"/>
                    <a:pt x="117" y="171"/>
                  </a:cubicBezTo>
                  <a:cubicBezTo>
                    <a:pt x="120" y="171"/>
                    <a:pt x="123" y="171"/>
                    <a:pt x="127" y="172"/>
                  </a:cubicBezTo>
                  <a:cubicBezTo>
                    <a:pt x="143" y="175"/>
                    <a:pt x="149" y="183"/>
                    <a:pt x="153" y="194"/>
                  </a:cubicBezTo>
                  <a:cubicBezTo>
                    <a:pt x="174" y="198"/>
                    <a:pt x="192" y="212"/>
                    <a:pt x="202" y="217"/>
                  </a:cubicBezTo>
                  <a:cubicBezTo>
                    <a:pt x="215" y="222"/>
                    <a:pt x="223" y="205"/>
                    <a:pt x="249" y="234"/>
                  </a:cubicBezTo>
                  <a:cubicBezTo>
                    <a:pt x="271" y="258"/>
                    <a:pt x="273" y="265"/>
                    <a:pt x="270" y="287"/>
                  </a:cubicBezTo>
                  <a:cubicBezTo>
                    <a:pt x="293" y="287"/>
                    <a:pt x="314" y="282"/>
                    <a:pt x="334" y="273"/>
                  </a:cubicBezTo>
                  <a:cubicBezTo>
                    <a:pt x="324" y="255"/>
                    <a:pt x="315" y="235"/>
                    <a:pt x="315" y="22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69" name="Freeform 170"/>
            <p:cNvSpPr>
              <a:spLocks noEditPoints="1"/>
            </p:cNvSpPr>
            <p:nvPr/>
          </p:nvSpPr>
          <p:spPr bwMode="auto">
            <a:xfrm>
              <a:off x="13902560" y="6563244"/>
              <a:ext cx="251307" cy="206071"/>
            </a:xfrm>
            <a:custGeom>
              <a:avLst/>
              <a:gdLst>
                <a:gd name="T0" fmla="*/ 468 w 498"/>
                <a:gd name="T1" fmla="*/ 134 h 406"/>
                <a:gd name="T2" fmla="*/ 379 w 498"/>
                <a:gd name="T3" fmla="*/ 19 h 406"/>
                <a:gd name="T4" fmla="*/ 315 w 498"/>
                <a:gd name="T5" fmla="*/ 66 h 406"/>
                <a:gd name="T6" fmla="*/ 271 w 498"/>
                <a:gd name="T7" fmla="*/ 66 h 406"/>
                <a:gd name="T8" fmla="*/ 195 w 498"/>
                <a:gd name="T9" fmla="*/ 13 h 406"/>
                <a:gd name="T10" fmla="*/ 164 w 498"/>
                <a:gd name="T11" fmla="*/ 0 h 406"/>
                <a:gd name="T12" fmla="*/ 144 w 498"/>
                <a:gd name="T13" fmla="*/ 37 h 406"/>
                <a:gd name="T14" fmla="*/ 176 w 498"/>
                <a:gd name="T15" fmla="*/ 81 h 406"/>
                <a:gd name="T16" fmla="*/ 100 w 498"/>
                <a:gd name="T17" fmla="*/ 75 h 406"/>
                <a:gd name="T18" fmla="*/ 32 w 498"/>
                <a:gd name="T19" fmla="*/ 54 h 406"/>
                <a:gd name="T20" fmla="*/ 64 w 498"/>
                <a:gd name="T21" fmla="*/ 134 h 406"/>
                <a:gd name="T22" fmla="*/ 100 w 498"/>
                <a:gd name="T23" fmla="*/ 214 h 406"/>
                <a:gd name="T24" fmla="*/ 162 w 498"/>
                <a:gd name="T25" fmla="*/ 287 h 406"/>
                <a:gd name="T26" fmla="*/ 181 w 498"/>
                <a:gd name="T27" fmla="*/ 337 h 406"/>
                <a:gd name="T28" fmla="*/ 301 w 498"/>
                <a:gd name="T29" fmla="*/ 263 h 406"/>
                <a:gd name="T30" fmla="*/ 321 w 498"/>
                <a:gd name="T31" fmla="*/ 354 h 406"/>
                <a:gd name="T32" fmla="*/ 392 w 498"/>
                <a:gd name="T33" fmla="*/ 406 h 406"/>
                <a:gd name="T34" fmla="*/ 409 w 498"/>
                <a:gd name="T35" fmla="*/ 346 h 406"/>
                <a:gd name="T36" fmla="*/ 468 w 498"/>
                <a:gd name="T37" fmla="*/ 134 h 406"/>
                <a:gd name="T38" fmla="*/ 49 w 498"/>
                <a:gd name="T39" fmla="*/ 281 h 406"/>
                <a:gd name="T40" fmla="*/ 0 w 498"/>
                <a:gd name="T41" fmla="*/ 258 h 406"/>
                <a:gd name="T42" fmla="*/ 33 w 498"/>
                <a:gd name="T43" fmla="*/ 311 h 406"/>
                <a:gd name="T44" fmla="*/ 100 w 498"/>
                <a:gd name="T45" fmla="*/ 350 h 406"/>
                <a:gd name="T46" fmla="*/ 117 w 498"/>
                <a:gd name="T47" fmla="*/ 351 h 406"/>
                <a:gd name="T48" fmla="*/ 96 w 498"/>
                <a:gd name="T49" fmla="*/ 298 h 406"/>
                <a:gd name="T50" fmla="*/ 49 w 498"/>
                <a:gd name="T51" fmla="*/ 28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8" h="406">
                  <a:moveTo>
                    <a:pt x="468" y="134"/>
                  </a:moveTo>
                  <a:cubicBezTo>
                    <a:pt x="456" y="112"/>
                    <a:pt x="419" y="67"/>
                    <a:pt x="379" y="19"/>
                  </a:cubicBezTo>
                  <a:cubicBezTo>
                    <a:pt x="367" y="55"/>
                    <a:pt x="323" y="45"/>
                    <a:pt x="315" y="66"/>
                  </a:cubicBezTo>
                  <a:cubicBezTo>
                    <a:pt x="306" y="88"/>
                    <a:pt x="284" y="62"/>
                    <a:pt x="271" y="66"/>
                  </a:cubicBezTo>
                  <a:cubicBezTo>
                    <a:pt x="257" y="70"/>
                    <a:pt x="226" y="17"/>
                    <a:pt x="195" y="13"/>
                  </a:cubicBezTo>
                  <a:cubicBezTo>
                    <a:pt x="186" y="12"/>
                    <a:pt x="175" y="6"/>
                    <a:pt x="164" y="0"/>
                  </a:cubicBezTo>
                  <a:cubicBezTo>
                    <a:pt x="151" y="14"/>
                    <a:pt x="139" y="29"/>
                    <a:pt x="144" y="37"/>
                  </a:cubicBezTo>
                  <a:cubicBezTo>
                    <a:pt x="153" y="51"/>
                    <a:pt x="191" y="66"/>
                    <a:pt x="176" y="81"/>
                  </a:cubicBezTo>
                  <a:cubicBezTo>
                    <a:pt x="162" y="95"/>
                    <a:pt x="114" y="90"/>
                    <a:pt x="100" y="75"/>
                  </a:cubicBezTo>
                  <a:cubicBezTo>
                    <a:pt x="85" y="60"/>
                    <a:pt x="40" y="37"/>
                    <a:pt x="32" y="54"/>
                  </a:cubicBezTo>
                  <a:cubicBezTo>
                    <a:pt x="23" y="72"/>
                    <a:pt x="70" y="110"/>
                    <a:pt x="64" y="134"/>
                  </a:cubicBezTo>
                  <a:cubicBezTo>
                    <a:pt x="58" y="157"/>
                    <a:pt x="100" y="184"/>
                    <a:pt x="100" y="214"/>
                  </a:cubicBezTo>
                  <a:cubicBezTo>
                    <a:pt x="100" y="243"/>
                    <a:pt x="162" y="264"/>
                    <a:pt x="162" y="287"/>
                  </a:cubicBezTo>
                  <a:cubicBezTo>
                    <a:pt x="162" y="299"/>
                    <a:pt x="171" y="319"/>
                    <a:pt x="181" y="337"/>
                  </a:cubicBezTo>
                  <a:cubicBezTo>
                    <a:pt x="230" y="317"/>
                    <a:pt x="270" y="279"/>
                    <a:pt x="301" y="263"/>
                  </a:cubicBezTo>
                  <a:cubicBezTo>
                    <a:pt x="348" y="240"/>
                    <a:pt x="328" y="338"/>
                    <a:pt x="321" y="354"/>
                  </a:cubicBezTo>
                  <a:cubicBezTo>
                    <a:pt x="315" y="365"/>
                    <a:pt x="353" y="391"/>
                    <a:pt x="392" y="406"/>
                  </a:cubicBezTo>
                  <a:cubicBezTo>
                    <a:pt x="391" y="384"/>
                    <a:pt x="396" y="363"/>
                    <a:pt x="409" y="346"/>
                  </a:cubicBezTo>
                  <a:cubicBezTo>
                    <a:pt x="460" y="284"/>
                    <a:pt x="498" y="187"/>
                    <a:pt x="468" y="134"/>
                  </a:cubicBezTo>
                  <a:close/>
                  <a:moveTo>
                    <a:pt x="49" y="281"/>
                  </a:moveTo>
                  <a:cubicBezTo>
                    <a:pt x="39" y="276"/>
                    <a:pt x="21" y="262"/>
                    <a:pt x="0" y="258"/>
                  </a:cubicBezTo>
                  <a:cubicBezTo>
                    <a:pt x="6" y="275"/>
                    <a:pt x="6" y="298"/>
                    <a:pt x="33" y="311"/>
                  </a:cubicBezTo>
                  <a:cubicBezTo>
                    <a:pt x="76" y="330"/>
                    <a:pt x="13" y="338"/>
                    <a:pt x="100" y="350"/>
                  </a:cubicBezTo>
                  <a:cubicBezTo>
                    <a:pt x="106" y="351"/>
                    <a:pt x="111" y="351"/>
                    <a:pt x="117" y="351"/>
                  </a:cubicBezTo>
                  <a:cubicBezTo>
                    <a:pt x="120" y="329"/>
                    <a:pt x="118" y="322"/>
                    <a:pt x="96" y="298"/>
                  </a:cubicBezTo>
                  <a:cubicBezTo>
                    <a:pt x="70" y="269"/>
                    <a:pt x="62" y="286"/>
                    <a:pt x="49" y="281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0" name="Freeform 171"/>
            <p:cNvSpPr>
              <a:spLocks/>
            </p:cNvSpPr>
            <p:nvPr/>
          </p:nvSpPr>
          <p:spPr bwMode="auto">
            <a:xfrm>
              <a:off x="14705065" y="6774341"/>
              <a:ext cx="723763" cy="519367"/>
            </a:xfrm>
            <a:custGeom>
              <a:avLst/>
              <a:gdLst>
                <a:gd name="T0" fmla="*/ 1382 w 1434"/>
                <a:gd name="T1" fmla="*/ 146 h 1027"/>
                <a:gd name="T2" fmla="*/ 1344 w 1434"/>
                <a:gd name="T3" fmla="*/ 118 h 1027"/>
                <a:gd name="T4" fmla="*/ 1235 w 1434"/>
                <a:gd name="T5" fmla="*/ 189 h 1027"/>
                <a:gd name="T6" fmla="*/ 1183 w 1434"/>
                <a:gd name="T7" fmla="*/ 207 h 1027"/>
                <a:gd name="T8" fmla="*/ 1135 w 1434"/>
                <a:gd name="T9" fmla="*/ 205 h 1027"/>
                <a:gd name="T10" fmla="*/ 1131 w 1434"/>
                <a:gd name="T11" fmla="*/ 87 h 1027"/>
                <a:gd name="T12" fmla="*/ 1091 w 1434"/>
                <a:gd name="T13" fmla="*/ 4 h 1027"/>
                <a:gd name="T14" fmla="*/ 1001 w 1434"/>
                <a:gd name="T15" fmla="*/ 91 h 1027"/>
                <a:gd name="T16" fmla="*/ 906 w 1434"/>
                <a:gd name="T17" fmla="*/ 138 h 1027"/>
                <a:gd name="T18" fmla="*/ 804 w 1434"/>
                <a:gd name="T19" fmla="*/ 165 h 1027"/>
                <a:gd name="T20" fmla="*/ 717 w 1434"/>
                <a:gd name="T21" fmla="*/ 142 h 1027"/>
                <a:gd name="T22" fmla="*/ 634 w 1434"/>
                <a:gd name="T23" fmla="*/ 114 h 1027"/>
                <a:gd name="T24" fmla="*/ 551 w 1434"/>
                <a:gd name="T25" fmla="*/ 98 h 1027"/>
                <a:gd name="T26" fmla="*/ 473 w 1434"/>
                <a:gd name="T27" fmla="*/ 146 h 1027"/>
                <a:gd name="T28" fmla="*/ 413 w 1434"/>
                <a:gd name="T29" fmla="*/ 244 h 1027"/>
                <a:gd name="T30" fmla="*/ 272 w 1434"/>
                <a:gd name="T31" fmla="*/ 327 h 1027"/>
                <a:gd name="T32" fmla="*/ 185 w 1434"/>
                <a:gd name="T33" fmla="*/ 359 h 1027"/>
                <a:gd name="T34" fmla="*/ 114 w 1434"/>
                <a:gd name="T35" fmla="*/ 339 h 1027"/>
                <a:gd name="T36" fmla="*/ 70 w 1434"/>
                <a:gd name="T37" fmla="*/ 386 h 1027"/>
                <a:gd name="T38" fmla="*/ 31 w 1434"/>
                <a:gd name="T39" fmla="*/ 465 h 1027"/>
                <a:gd name="T40" fmla="*/ 19 w 1434"/>
                <a:gd name="T41" fmla="*/ 552 h 1027"/>
                <a:gd name="T42" fmla="*/ 19 w 1434"/>
                <a:gd name="T43" fmla="*/ 658 h 1027"/>
                <a:gd name="T44" fmla="*/ 35 w 1434"/>
                <a:gd name="T45" fmla="*/ 772 h 1027"/>
                <a:gd name="T46" fmla="*/ 134 w 1434"/>
                <a:gd name="T47" fmla="*/ 824 h 1027"/>
                <a:gd name="T48" fmla="*/ 31 w 1434"/>
                <a:gd name="T49" fmla="*/ 965 h 1027"/>
                <a:gd name="T50" fmla="*/ 51 w 1434"/>
                <a:gd name="T51" fmla="*/ 999 h 1027"/>
                <a:gd name="T52" fmla="*/ 205 w 1434"/>
                <a:gd name="T53" fmla="*/ 1016 h 1027"/>
                <a:gd name="T54" fmla="*/ 606 w 1434"/>
                <a:gd name="T55" fmla="*/ 965 h 1027"/>
                <a:gd name="T56" fmla="*/ 597 w 1434"/>
                <a:gd name="T57" fmla="*/ 865 h 1027"/>
                <a:gd name="T58" fmla="*/ 677 w 1434"/>
                <a:gd name="T59" fmla="*/ 818 h 1027"/>
                <a:gd name="T60" fmla="*/ 745 w 1434"/>
                <a:gd name="T61" fmla="*/ 800 h 1027"/>
                <a:gd name="T62" fmla="*/ 851 w 1434"/>
                <a:gd name="T63" fmla="*/ 765 h 1027"/>
                <a:gd name="T64" fmla="*/ 898 w 1434"/>
                <a:gd name="T65" fmla="*/ 720 h 1027"/>
                <a:gd name="T66" fmla="*/ 931 w 1434"/>
                <a:gd name="T67" fmla="*/ 614 h 1027"/>
                <a:gd name="T68" fmla="*/ 999 w 1434"/>
                <a:gd name="T69" fmla="*/ 573 h 1027"/>
                <a:gd name="T70" fmla="*/ 966 w 1434"/>
                <a:gd name="T71" fmla="*/ 508 h 1027"/>
                <a:gd name="T72" fmla="*/ 1078 w 1434"/>
                <a:gd name="T73" fmla="*/ 511 h 1027"/>
                <a:gd name="T74" fmla="*/ 1087 w 1434"/>
                <a:gd name="T75" fmla="*/ 431 h 1027"/>
                <a:gd name="T76" fmla="*/ 1135 w 1434"/>
                <a:gd name="T77" fmla="*/ 360 h 1027"/>
                <a:gd name="T78" fmla="*/ 1117 w 1434"/>
                <a:gd name="T79" fmla="*/ 301 h 1027"/>
                <a:gd name="T80" fmla="*/ 1132 w 1434"/>
                <a:gd name="T81" fmla="*/ 251 h 1027"/>
                <a:gd name="T82" fmla="*/ 1146 w 1434"/>
                <a:gd name="T83" fmla="*/ 245 h 1027"/>
                <a:gd name="T84" fmla="*/ 1198 w 1434"/>
                <a:gd name="T85" fmla="*/ 227 h 1027"/>
                <a:gd name="T86" fmla="*/ 1333 w 1434"/>
                <a:gd name="T87" fmla="*/ 187 h 1027"/>
                <a:gd name="T88" fmla="*/ 1434 w 1434"/>
                <a:gd name="T89" fmla="*/ 156 h 1027"/>
                <a:gd name="T90" fmla="*/ 1382 w 1434"/>
                <a:gd name="T91" fmla="*/ 146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34" h="1027">
                  <a:moveTo>
                    <a:pt x="1382" y="146"/>
                  </a:moveTo>
                  <a:cubicBezTo>
                    <a:pt x="1362" y="149"/>
                    <a:pt x="1366" y="131"/>
                    <a:pt x="1344" y="118"/>
                  </a:cubicBezTo>
                  <a:cubicBezTo>
                    <a:pt x="1327" y="107"/>
                    <a:pt x="1274" y="155"/>
                    <a:pt x="1235" y="189"/>
                  </a:cubicBezTo>
                  <a:cubicBezTo>
                    <a:pt x="1217" y="195"/>
                    <a:pt x="1199" y="202"/>
                    <a:pt x="1183" y="207"/>
                  </a:cubicBezTo>
                  <a:cubicBezTo>
                    <a:pt x="1161" y="213"/>
                    <a:pt x="1144" y="215"/>
                    <a:pt x="1135" y="205"/>
                  </a:cubicBezTo>
                  <a:cubicBezTo>
                    <a:pt x="1111" y="177"/>
                    <a:pt x="1174" y="106"/>
                    <a:pt x="1131" y="87"/>
                  </a:cubicBezTo>
                  <a:cubicBezTo>
                    <a:pt x="1087" y="67"/>
                    <a:pt x="1127" y="8"/>
                    <a:pt x="1091" y="4"/>
                  </a:cubicBezTo>
                  <a:cubicBezTo>
                    <a:pt x="1056" y="0"/>
                    <a:pt x="1001" y="63"/>
                    <a:pt x="1001" y="91"/>
                  </a:cubicBezTo>
                  <a:cubicBezTo>
                    <a:pt x="1001" y="118"/>
                    <a:pt x="906" y="110"/>
                    <a:pt x="906" y="138"/>
                  </a:cubicBezTo>
                  <a:cubicBezTo>
                    <a:pt x="906" y="165"/>
                    <a:pt x="819" y="134"/>
                    <a:pt x="804" y="165"/>
                  </a:cubicBezTo>
                  <a:cubicBezTo>
                    <a:pt x="788" y="197"/>
                    <a:pt x="744" y="142"/>
                    <a:pt x="717" y="142"/>
                  </a:cubicBezTo>
                  <a:cubicBezTo>
                    <a:pt x="689" y="142"/>
                    <a:pt x="670" y="102"/>
                    <a:pt x="634" y="114"/>
                  </a:cubicBezTo>
                  <a:cubicBezTo>
                    <a:pt x="599" y="126"/>
                    <a:pt x="579" y="102"/>
                    <a:pt x="551" y="98"/>
                  </a:cubicBezTo>
                  <a:cubicBezTo>
                    <a:pt x="524" y="95"/>
                    <a:pt x="504" y="158"/>
                    <a:pt x="473" y="146"/>
                  </a:cubicBezTo>
                  <a:cubicBezTo>
                    <a:pt x="441" y="134"/>
                    <a:pt x="425" y="205"/>
                    <a:pt x="413" y="244"/>
                  </a:cubicBezTo>
                  <a:cubicBezTo>
                    <a:pt x="402" y="284"/>
                    <a:pt x="268" y="284"/>
                    <a:pt x="272" y="327"/>
                  </a:cubicBezTo>
                  <a:cubicBezTo>
                    <a:pt x="275" y="370"/>
                    <a:pt x="193" y="386"/>
                    <a:pt x="185" y="359"/>
                  </a:cubicBezTo>
                  <a:cubicBezTo>
                    <a:pt x="177" y="331"/>
                    <a:pt x="126" y="347"/>
                    <a:pt x="114" y="339"/>
                  </a:cubicBezTo>
                  <a:cubicBezTo>
                    <a:pt x="102" y="331"/>
                    <a:pt x="67" y="347"/>
                    <a:pt x="70" y="386"/>
                  </a:cubicBezTo>
                  <a:cubicBezTo>
                    <a:pt x="74" y="426"/>
                    <a:pt x="35" y="449"/>
                    <a:pt x="31" y="465"/>
                  </a:cubicBezTo>
                  <a:cubicBezTo>
                    <a:pt x="27" y="481"/>
                    <a:pt x="4" y="528"/>
                    <a:pt x="19" y="552"/>
                  </a:cubicBezTo>
                  <a:cubicBezTo>
                    <a:pt x="35" y="575"/>
                    <a:pt x="0" y="615"/>
                    <a:pt x="19" y="658"/>
                  </a:cubicBezTo>
                  <a:cubicBezTo>
                    <a:pt x="39" y="701"/>
                    <a:pt x="27" y="757"/>
                    <a:pt x="35" y="772"/>
                  </a:cubicBezTo>
                  <a:cubicBezTo>
                    <a:pt x="43" y="788"/>
                    <a:pt x="118" y="780"/>
                    <a:pt x="134" y="824"/>
                  </a:cubicBezTo>
                  <a:cubicBezTo>
                    <a:pt x="149" y="867"/>
                    <a:pt x="35" y="942"/>
                    <a:pt x="31" y="965"/>
                  </a:cubicBezTo>
                  <a:cubicBezTo>
                    <a:pt x="29" y="975"/>
                    <a:pt x="39" y="987"/>
                    <a:pt x="51" y="999"/>
                  </a:cubicBezTo>
                  <a:cubicBezTo>
                    <a:pt x="96" y="1001"/>
                    <a:pt x="153" y="1006"/>
                    <a:pt x="205" y="1016"/>
                  </a:cubicBezTo>
                  <a:cubicBezTo>
                    <a:pt x="270" y="1027"/>
                    <a:pt x="600" y="977"/>
                    <a:pt x="606" y="965"/>
                  </a:cubicBezTo>
                  <a:cubicBezTo>
                    <a:pt x="612" y="954"/>
                    <a:pt x="594" y="880"/>
                    <a:pt x="597" y="865"/>
                  </a:cubicBezTo>
                  <a:cubicBezTo>
                    <a:pt x="600" y="850"/>
                    <a:pt x="642" y="815"/>
                    <a:pt x="677" y="818"/>
                  </a:cubicBezTo>
                  <a:cubicBezTo>
                    <a:pt x="712" y="821"/>
                    <a:pt x="745" y="827"/>
                    <a:pt x="745" y="800"/>
                  </a:cubicBezTo>
                  <a:cubicBezTo>
                    <a:pt x="745" y="774"/>
                    <a:pt x="842" y="741"/>
                    <a:pt x="851" y="765"/>
                  </a:cubicBezTo>
                  <a:cubicBezTo>
                    <a:pt x="860" y="788"/>
                    <a:pt x="895" y="779"/>
                    <a:pt x="898" y="720"/>
                  </a:cubicBezTo>
                  <a:cubicBezTo>
                    <a:pt x="901" y="661"/>
                    <a:pt x="895" y="617"/>
                    <a:pt x="931" y="614"/>
                  </a:cubicBezTo>
                  <a:cubicBezTo>
                    <a:pt x="966" y="611"/>
                    <a:pt x="1002" y="591"/>
                    <a:pt x="999" y="573"/>
                  </a:cubicBezTo>
                  <a:cubicBezTo>
                    <a:pt x="996" y="555"/>
                    <a:pt x="954" y="520"/>
                    <a:pt x="966" y="508"/>
                  </a:cubicBezTo>
                  <a:cubicBezTo>
                    <a:pt x="978" y="496"/>
                    <a:pt x="1067" y="537"/>
                    <a:pt x="1078" y="511"/>
                  </a:cubicBezTo>
                  <a:cubicBezTo>
                    <a:pt x="1090" y="484"/>
                    <a:pt x="1073" y="455"/>
                    <a:pt x="1087" y="431"/>
                  </a:cubicBezTo>
                  <a:cubicBezTo>
                    <a:pt x="1102" y="408"/>
                    <a:pt x="1137" y="384"/>
                    <a:pt x="1135" y="360"/>
                  </a:cubicBezTo>
                  <a:cubicBezTo>
                    <a:pt x="1132" y="337"/>
                    <a:pt x="1137" y="322"/>
                    <a:pt x="1117" y="301"/>
                  </a:cubicBezTo>
                  <a:cubicBezTo>
                    <a:pt x="1096" y="281"/>
                    <a:pt x="1105" y="254"/>
                    <a:pt x="1132" y="251"/>
                  </a:cubicBezTo>
                  <a:cubicBezTo>
                    <a:pt x="1136" y="251"/>
                    <a:pt x="1141" y="248"/>
                    <a:pt x="1146" y="245"/>
                  </a:cubicBezTo>
                  <a:cubicBezTo>
                    <a:pt x="1167" y="241"/>
                    <a:pt x="1184" y="237"/>
                    <a:pt x="1198" y="227"/>
                  </a:cubicBezTo>
                  <a:cubicBezTo>
                    <a:pt x="1235" y="199"/>
                    <a:pt x="1306" y="177"/>
                    <a:pt x="1333" y="187"/>
                  </a:cubicBezTo>
                  <a:cubicBezTo>
                    <a:pt x="1355" y="195"/>
                    <a:pt x="1404" y="188"/>
                    <a:pt x="1434" y="156"/>
                  </a:cubicBezTo>
                  <a:cubicBezTo>
                    <a:pt x="1416" y="148"/>
                    <a:pt x="1395" y="144"/>
                    <a:pt x="1382" y="14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1" name="Freeform 172"/>
            <p:cNvSpPr>
              <a:spLocks/>
            </p:cNvSpPr>
            <p:nvPr/>
          </p:nvSpPr>
          <p:spPr bwMode="auto">
            <a:xfrm>
              <a:off x="14730196" y="6853083"/>
              <a:ext cx="834338" cy="753920"/>
            </a:xfrm>
            <a:custGeom>
              <a:avLst/>
              <a:gdLst>
                <a:gd name="T0" fmla="*/ 1522 w 1651"/>
                <a:gd name="T1" fmla="*/ 80 h 1491"/>
                <a:gd name="T2" fmla="*/ 1401 w 1651"/>
                <a:gd name="T3" fmla="*/ 12 h 1491"/>
                <a:gd name="T4" fmla="*/ 1282 w 1651"/>
                <a:gd name="T5" fmla="*/ 31 h 1491"/>
                <a:gd name="T6" fmla="*/ 1095 w 1651"/>
                <a:gd name="T7" fmla="*/ 89 h 1491"/>
                <a:gd name="T8" fmla="*/ 1066 w 1651"/>
                <a:gd name="T9" fmla="*/ 145 h 1491"/>
                <a:gd name="T10" fmla="*/ 1036 w 1651"/>
                <a:gd name="T11" fmla="*/ 275 h 1491"/>
                <a:gd name="T12" fmla="*/ 915 w 1651"/>
                <a:gd name="T13" fmla="*/ 352 h 1491"/>
                <a:gd name="T14" fmla="*/ 880 w 1651"/>
                <a:gd name="T15" fmla="*/ 458 h 1491"/>
                <a:gd name="T16" fmla="*/ 800 w 1651"/>
                <a:gd name="T17" fmla="*/ 609 h 1491"/>
                <a:gd name="T18" fmla="*/ 626 w 1651"/>
                <a:gd name="T19" fmla="*/ 662 h 1491"/>
                <a:gd name="T20" fmla="*/ 555 w 1651"/>
                <a:gd name="T21" fmla="*/ 809 h 1491"/>
                <a:gd name="T22" fmla="*/ 0 w 1651"/>
                <a:gd name="T23" fmla="*/ 843 h 1491"/>
                <a:gd name="T24" fmla="*/ 150 w 1651"/>
                <a:gd name="T25" fmla="*/ 983 h 1491"/>
                <a:gd name="T26" fmla="*/ 221 w 1651"/>
                <a:gd name="T27" fmla="*/ 1168 h 1491"/>
                <a:gd name="T28" fmla="*/ 67 w 1651"/>
                <a:gd name="T29" fmla="*/ 1298 h 1491"/>
                <a:gd name="T30" fmla="*/ 256 w 1651"/>
                <a:gd name="T31" fmla="*/ 1310 h 1491"/>
                <a:gd name="T32" fmla="*/ 493 w 1651"/>
                <a:gd name="T33" fmla="*/ 1296 h 1491"/>
                <a:gd name="T34" fmla="*/ 619 w 1651"/>
                <a:gd name="T35" fmla="*/ 1374 h 1491"/>
                <a:gd name="T36" fmla="*/ 726 w 1651"/>
                <a:gd name="T37" fmla="*/ 1481 h 1491"/>
                <a:gd name="T38" fmla="*/ 749 w 1651"/>
                <a:gd name="T39" fmla="*/ 1483 h 1491"/>
                <a:gd name="T40" fmla="*/ 934 w 1651"/>
                <a:gd name="T41" fmla="*/ 1416 h 1491"/>
                <a:gd name="T42" fmla="*/ 973 w 1651"/>
                <a:gd name="T43" fmla="*/ 1306 h 1491"/>
                <a:gd name="T44" fmla="*/ 867 w 1651"/>
                <a:gd name="T45" fmla="*/ 1133 h 1491"/>
                <a:gd name="T46" fmla="*/ 1017 w 1651"/>
                <a:gd name="T47" fmla="*/ 1046 h 1491"/>
                <a:gd name="T48" fmla="*/ 1139 w 1651"/>
                <a:gd name="T49" fmla="*/ 967 h 1491"/>
                <a:gd name="T50" fmla="*/ 1261 w 1651"/>
                <a:gd name="T51" fmla="*/ 809 h 1491"/>
                <a:gd name="T52" fmla="*/ 1367 w 1651"/>
                <a:gd name="T53" fmla="*/ 707 h 1491"/>
                <a:gd name="T54" fmla="*/ 1438 w 1651"/>
                <a:gd name="T55" fmla="*/ 557 h 1491"/>
                <a:gd name="T56" fmla="*/ 1332 w 1651"/>
                <a:gd name="T57" fmla="*/ 419 h 1491"/>
                <a:gd name="T58" fmla="*/ 1367 w 1651"/>
                <a:gd name="T59" fmla="*/ 270 h 1491"/>
                <a:gd name="T60" fmla="*/ 1616 w 1651"/>
                <a:gd name="T61" fmla="*/ 258 h 1491"/>
                <a:gd name="T62" fmla="*/ 1573 w 1651"/>
                <a:gd name="T63" fmla="*/ 155 h 1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51" h="1491">
                  <a:moveTo>
                    <a:pt x="1573" y="155"/>
                  </a:moveTo>
                  <a:cubicBezTo>
                    <a:pt x="1527" y="133"/>
                    <a:pt x="1522" y="93"/>
                    <a:pt x="1522" y="80"/>
                  </a:cubicBezTo>
                  <a:cubicBezTo>
                    <a:pt x="1522" y="68"/>
                    <a:pt x="1470" y="36"/>
                    <a:pt x="1432" y="6"/>
                  </a:cubicBezTo>
                  <a:cubicBezTo>
                    <a:pt x="1426" y="7"/>
                    <a:pt x="1415" y="8"/>
                    <a:pt x="1401" y="12"/>
                  </a:cubicBezTo>
                  <a:cubicBezTo>
                    <a:pt x="1396" y="7"/>
                    <a:pt x="1390" y="3"/>
                    <a:pt x="1383" y="0"/>
                  </a:cubicBezTo>
                  <a:cubicBezTo>
                    <a:pt x="1353" y="32"/>
                    <a:pt x="1304" y="39"/>
                    <a:pt x="1282" y="31"/>
                  </a:cubicBezTo>
                  <a:cubicBezTo>
                    <a:pt x="1255" y="21"/>
                    <a:pt x="1184" y="43"/>
                    <a:pt x="1147" y="71"/>
                  </a:cubicBezTo>
                  <a:cubicBezTo>
                    <a:pt x="1133" y="81"/>
                    <a:pt x="1116" y="85"/>
                    <a:pt x="1095" y="89"/>
                  </a:cubicBezTo>
                  <a:cubicBezTo>
                    <a:pt x="1090" y="92"/>
                    <a:pt x="1085" y="95"/>
                    <a:pt x="1081" y="95"/>
                  </a:cubicBezTo>
                  <a:cubicBezTo>
                    <a:pt x="1054" y="98"/>
                    <a:pt x="1045" y="125"/>
                    <a:pt x="1066" y="145"/>
                  </a:cubicBezTo>
                  <a:cubicBezTo>
                    <a:pt x="1086" y="166"/>
                    <a:pt x="1081" y="181"/>
                    <a:pt x="1084" y="204"/>
                  </a:cubicBezTo>
                  <a:cubicBezTo>
                    <a:pt x="1086" y="228"/>
                    <a:pt x="1051" y="252"/>
                    <a:pt x="1036" y="275"/>
                  </a:cubicBezTo>
                  <a:cubicBezTo>
                    <a:pt x="1022" y="299"/>
                    <a:pt x="1039" y="328"/>
                    <a:pt x="1027" y="355"/>
                  </a:cubicBezTo>
                  <a:cubicBezTo>
                    <a:pt x="1016" y="381"/>
                    <a:pt x="927" y="340"/>
                    <a:pt x="915" y="352"/>
                  </a:cubicBezTo>
                  <a:cubicBezTo>
                    <a:pt x="903" y="364"/>
                    <a:pt x="945" y="399"/>
                    <a:pt x="948" y="417"/>
                  </a:cubicBezTo>
                  <a:cubicBezTo>
                    <a:pt x="951" y="435"/>
                    <a:pt x="915" y="455"/>
                    <a:pt x="880" y="458"/>
                  </a:cubicBezTo>
                  <a:cubicBezTo>
                    <a:pt x="844" y="461"/>
                    <a:pt x="850" y="505"/>
                    <a:pt x="847" y="564"/>
                  </a:cubicBezTo>
                  <a:cubicBezTo>
                    <a:pt x="844" y="623"/>
                    <a:pt x="809" y="632"/>
                    <a:pt x="800" y="609"/>
                  </a:cubicBezTo>
                  <a:cubicBezTo>
                    <a:pt x="791" y="585"/>
                    <a:pt x="694" y="618"/>
                    <a:pt x="694" y="644"/>
                  </a:cubicBezTo>
                  <a:cubicBezTo>
                    <a:pt x="694" y="671"/>
                    <a:pt x="661" y="665"/>
                    <a:pt x="626" y="662"/>
                  </a:cubicBezTo>
                  <a:cubicBezTo>
                    <a:pt x="591" y="659"/>
                    <a:pt x="549" y="694"/>
                    <a:pt x="546" y="709"/>
                  </a:cubicBezTo>
                  <a:cubicBezTo>
                    <a:pt x="543" y="724"/>
                    <a:pt x="561" y="798"/>
                    <a:pt x="555" y="809"/>
                  </a:cubicBezTo>
                  <a:cubicBezTo>
                    <a:pt x="549" y="821"/>
                    <a:pt x="219" y="871"/>
                    <a:pt x="154" y="860"/>
                  </a:cubicBezTo>
                  <a:cubicBezTo>
                    <a:pt x="102" y="850"/>
                    <a:pt x="45" y="845"/>
                    <a:pt x="0" y="843"/>
                  </a:cubicBezTo>
                  <a:cubicBezTo>
                    <a:pt x="17" y="859"/>
                    <a:pt x="40" y="878"/>
                    <a:pt x="47" y="896"/>
                  </a:cubicBezTo>
                  <a:cubicBezTo>
                    <a:pt x="60" y="931"/>
                    <a:pt x="102" y="963"/>
                    <a:pt x="150" y="983"/>
                  </a:cubicBezTo>
                  <a:cubicBezTo>
                    <a:pt x="197" y="1003"/>
                    <a:pt x="173" y="1085"/>
                    <a:pt x="197" y="1093"/>
                  </a:cubicBezTo>
                  <a:cubicBezTo>
                    <a:pt x="221" y="1101"/>
                    <a:pt x="252" y="1164"/>
                    <a:pt x="221" y="1168"/>
                  </a:cubicBezTo>
                  <a:cubicBezTo>
                    <a:pt x="189" y="1172"/>
                    <a:pt x="161" y="1180"/>
                    <a:pt x="130" y="1196"/>
                  </a:cubicBezTo>
                  <a:cubicBezTo>
                    <a:pt x="98" y="1211"/>
                    <a:pt x="63" y="1251"/>
                    <a:pt x="67" y="1298"/>
                  </a:cubicBezTo>
                  <a:cubicBezTo>
                    <a:pt x="67" y="1304"/>
                    <a:pt x="68" y="1313"/>
                    <a:pt x="69" y="1323"/>
                  </a:cubicBezTo>
                  <a:cubicBezTo>
                    <a:pt x="150" y="1325"/>
                    <a:pt x="245" y="1321"/>
                    <a:pt x="256" y="1310"/>
                  </a:cubicBezTo>
                  <a:cubicBezTo>
                    <a:pt x="272" y="1292"/>
                    <a:pt x="310" y="1283"/>
                    <a:pt x="332" y="1298"/>
                  </a:cubicBezTo>
                  <a:cubicBezTo>
                    <a:pt x="354" y="1313"/>
                    <a:pt x="453" y="1319"/>
                    <a:pt x="493" y="1296"/>
                  </a:cubicBezTo>
                  <a:cubicBezTo>
                    <a:pt x="542" y="1269"/>
                    <a:pt x="571" y="1296"/>
                    <a:pt x="573" y="1320"/>
                  </a:cubicBezTo>
                  <a:cubicBezTo>
                    <a:pt x="574" y="1344"/>
                    <a:pt x="596" y="1354"/>
                    <a:pt x="619" y="1374"/>
                  </a:cubicBezTo>
                  <a:cubicBezTo>
                    <a:pt x="641" y="1395"/>
                    <a:pt x="625" y="1419"/>
                    <a:pt x="639" y="1442"/>
                  </a:cubicBezTo>
                  <a:cubicBezTo>
                    <a:pt x="654" y="1466"/>
                    <a:pt x="683" y="1462"/>
                    <a:pt x="726" y="1481"/>
                  </a:cubicBezTo>
                  <a:cubicBezTo>
                    <a:pt x="732" y="1483"/>
                    <a:pt x="737" y="1487"/>
                    <a:pt x="742" y="1491"/>
                  </a:cubicBezTo>
                  <a:cubicBezTo>
                    <a:pt x="745" y="1488"/>
                    <a:pt x="747" y="1485"/>
                    <a:pt x="749" y="1483"/>
                  </a:cubicBezTo>
                  <a:cubicBezTo>
                    <a:pt x="772" y="1456"/>
                    <a:pt x="776" y="1408"/>
                    <a:pt x="839" y="1420"/>
                  </a:cubicBezTo>
                  <a:cubicBezTo>
                    <a:pt x="902" y="1432"/>
                    <a:pt x="898" y="1408"/>
                    <a:pt x="934" y="1416"/>
                  </a:cubicBezTo>
                  <a:cubicBezTo>
                    <a:pt x="969" y="1424"/>
                    <a:pt x="993" y="1420"/>
                    <a:pt x="1009" y="1397"/>
                  </a:cubicBezTo>
                  <a:cubicBezTo>
                    <a:pt x="1024" y="1373"/>
                    <a:pt x="993" y="1326"/>
                    <a:pt x="973" y="1306"/>
                  </a:cubicBezTo>
                  <a:cubicBezTo>
                    <a:pt x="954" y="1286"/>
                    <a:pt x="926" y="1243"/>
                    <a:pt x="930" y="1204"/>
                  </a:cubicBezTo>
                  <a:cubicBezTo>
                    <a:pt x="934" y="1164"/>
                    <a:pt x="867" y="1164"/>
                    <a:pt x="867" y="1133"/>
                  </a:cubicBezTo>
                  <a:cubicBezTo>
                    <a:pt x="867" y="1101"/>
                    <a:pt x="930" y="1050"/>
                    <a:pt x="942" y="1038"/>
                  </a:cubicBezTo>
                  <a:cubicBezTo>
                    <a:pt x="954" y="1026"/>
                    <a:pt x="1005" y="1070"/>
                    <a:pt x="1017" y="1046"/>
                  </a:cubicBezTo>
                  <a:cubicBezTo>
                    <a:pt x="1028" y="1022"/>
                    <a:pt x="1064" y="1038"/>
                    <a:pt x="1084" y="1042"/>
                  </a:cubicBezTo>
                  <a:cubicBezTo>
                    <a:pt x="1103" y="1046"/>
                    <a:pt x="1135" y="1003"/>
                    <a:pt x="1139" y="967"/>
                  </a:cubicBezTo>
                  <a:cubicBezTo>
                    <a:pt x="1143" y="932"/>
                    <a:pt x="1210" y="928"/>
                    <a:pt x="1222" y="916"/>
                  </a:cubicBezTo>
                  <a:cubicBezTo>
                    <a:pt x="1233" y="904"/>
                    <a:pt x="1253" y="825"/>
                    <a:pt x="1261" y="809"/>
                  </a:cubicBezTo>
                  <a:cubicBezTo>
                    <a:pt x="1269" y="794"/>
                    <a:pt x="1320" y="806"/>
                    <a:pt x="1320" y="762"/>
                  </a:cubicBezTo>
                  <a:cubicBezTo>
                    <a:pt x="1320" y="719"/>
                    <a:pt x="1344" y="711"/>
                    <a:pt x="1367" y="707"/>
                  </a:cubicBezTo>
                  <a:cubicBezTo>
                    <a:pt x="1391" y="703"/>
                    <a:pt x="1383" y="664"/>
                    <a:pt x="1387" y="632"/>
                  </a:cubicBezTo>
                  <a:cubicBezTo>
                    <a:pt x="1391" y="601"/>
                    <a:pt x="1407" y="565"/>
                    <a:pt x="1438" y="557"/>
                  </a:cubicBezTo>
                  <a:cubicBezTo>
                    <a:pt x="1470" y="549"/>
                    <a:pt x="1426" y="506"/>
                    <a:pt x="1391" y="514"/>
                  </a:cubicBezTo>
                  <a:cubicBezTo>
                    <a:pt x="1356" y="522"/>
                    <a:pt x="1332" y="419"/>
                    <a:pt x="1332" y="419"/>
                  </a:cubicBezTo>
                  <a:cubicBezTo>
                    <a:pt x="1332" y="419"/>
                    <a:pt x="1336" y="337"/>
                    <a:pt x="1316" y="325"/>
                  </a:cubicBezTo>
                  <a:cubicBezTo>
                    <a:pt x="1296" y="313"/>
                    <a:pt x="1324" y="270"/>
                    <a:pt x="1367" y="270"/>
                  </a:cubicBezTo>
                  <a:cubicBezTo>
                    <a:pt x="1411" y="270"/>
                    <a:pt x="1490" y="317"/>
                    <a:pt x="1517" y="297"/>
                  </a:cubicBezTo>
                  <a:cubicBezTo>
                    <a:pt x="1545" y="277"/>
                    <a:pt x="1600" y="266"/>
                    <a:pt x="1616" y="258"/>
                  </a:cubicBezTo>
                  <a:cubicBezTo>
                    <a:pt x="1628" y="252"/>
                    <a:pt x="1644" y="214"/>
                    <a:pt x="1651" y="196"/>
                  </a:cubicBezTo>
                  <a:cubicBezTo>
                    <a:pt x="1633" y="184"/>
                    <a:pt x="1603" y="169"/>
                    <a:pt x="1573" y="155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2" name="Freeform 173"/>
            <p:cNvSpPr>
              <a:spLocks noEditPoints="1"/>
            </p:cNvSpPr>
            <p:nvPr/>
          </p:nvSpPr>
          <p:spPr bwMode="auto">
            <a:xfrm>
              <a:off x="16398871" y="8531811"/>
              <a:ext cx="2322072" cy="846065"/>
            </a:xfrm>
            <a:custGeom>
              <a:avLst/>
              <a:gdLst>
                <a:gd name="T0" fmla="*/ 339 w 4595"/>
                <a:gd name="T1" fmla="*/ 709 h 1672"/>
                <a:gd name="T2" fmla="*/ 1305 w 4595"/>
                <a:gd name="T3" fmla="*/ 889 h 1672"/>
                <a:gd name="T4" fmla="*/ 195 w 4595"/>
                <a:gd name="T5" fmla="*/ 456 h 1672"/>
                <a:gd name="T6" fmla="*/ 2465 w 4595"/>
                <a:gd name="T7" fmla="*/ 1182 h 1672"/>
                <a:gd name="T8" fmla="*/ 2568 w 4595"/>
                <a:gd name="T9" fmla="*/ 943 h 1672"/>
                <a:gd name="T10" fmla="*/ 2715 w 4595"/>
                <a:gd name="T11" fmla="*/ 978 h 1672"/>
                <a:gd name="T12" fmla="*/ 2813 w 4595"/>
                <a:gd name="T13" fmla="*/ 671 h 1672"/>
                <a:gd name="T14" fmla="*/ 2816 w 4595"/>
                <a:gd name="T15" fmla="*/ 559 h 1672"/>
                <a:gd name="T16" fmla="*/ 2633 w 4595"/>
                <a:gd name="T17" fmla="*/ 470 h 1672"/>
                <a:gd name="T18" fmla="*/ 2361 w 4595"/>
                <a:gd name="T19" fmla="*/ 860 h 1672"/>
                <a:gd name="T20" fmla="*/ 1089 w 4595"/>
                <a:gd name="T21" fmla="*/ 934 h 1672"/>
                <a:gd name="T22" fmla="*/ 1051 w 4595"/>
                <a:gd name="T23" fmla="*/ 768 h 1672"/>
                <a:gd name="T24" fmla="*/ 1015 w 4595"/>
                <a:gd name="T25" fmla="*/ 842 h 1672"/>
                <a:gd name="T26" fmla="*/ 844 w 4595"/>
                <a:gd name="T27" fmla="*/ 630 h 1672"/>
                <a:gd name="T28" fmla="*/ 691 w 4595"/>
                <a:gd name="T29" fmla="*/ 444 h 1672"/>
                <a:gd name="T30" fmla="*/ 466 w 4595"/>
                <a:gd name="T31" fmla="*/ 296 h 1672"/>
                <a:gd name="T32" fmla="*/ 24 w 4595"/>
                <a:gd name="T33" fmla="*/ 39 h 1672"/>
                <a:gd name="T34" fmla="*/ 404 w 4595"/>
                <a:gd name="T35" fmla="*/ 574 h 1672"/>
                <a:gd name="T36" fmla="*/ 882 w 4595"/>
                <a:gd name="T37" fmla="*/ 1131 h 1672"/>
                <a:gd name="T38" fmla="*/ 1074 w 4595"/>
                <a:gd name="T39" fmla="*/ 1037 h 1672"/>
                <a:gd name="T40" fmla="*/ 3306 w 4595"/>
                <a:gd name="T41" fmla="*/ 464 h 1672"/>
                <a:gd name="T42" fmla="*/ 3329 w 4595"/>
                <a:gd name="T43" fmla="*/ 565 h 1672"/>
                <a:gd name="T44" fmla="*/ 3087 w 4595"/>
                <a:gd name="T45" fmla="*/ 934 h 1672"/>
                <a:gd name="T46" fmla="*/ 2456 w 4595"/>
                <a:gd name="T47" fmla="*/ 1477 h 1672"/>
                <a:gd name="T48" fmla="*/ 2854 w 4595"/>
                <a:gd name="T49" fmla="*/ 1433 h 1672"/>
                <a:gd name="T50" fmla="*/ 3427 w 4595"/>
                <a:gd name="T51" fmla="*/ 948 h 1672"/>
                <a:gd name="T52" fmla="*/ 1930 w 4595"/>
                <a:gd name="T53" fmla="*/ 1400 h 1672"/>
                <a:gd name="T54" fmla="*/ 1738 w 4595"/>
                <a:gd name="T55" fmla="*/ 1303 h 1672"/>
                <a:gd name="T56" fmla="*/ 1086 w 4595"/>
                <a:gd name="T57" fmla="*/ 1220 h 1672"/>
                <a:gd name="T58" fmla="*/ 1166 w 4595"/>
                <a:gd name="T59" fmla="*/ 1350 h 1672"/>
                <a:gd name="T60" fmla="*/ 1780 w 4595"/>
                <a:gd name="T61" fmla="*/ 1453 h 1672"/>
                <a:gd name="T62" fmla="*/ 1930 w 4595"/>
                <a:gd name="T63" fmla="*/ 1400 h 1672"/>
                <a:gd name="T64" fmla="*/ 4002 w 4595"/>
                <a:gd name="T65" fmla="*/ 940 h 1672"/>
                <a:gd name="T66" fmla="*/ 3583 w 4595"/>
                <a:gd name="T67" fmla="*/ 727 h 1672"/>
                <a:gd name="T68" fmla="*/ 3852 w 4595"/>
                <a:gd name="T69" fmla="*/ 830 h 1672"/>
                <a:gd name="T70" fmla="*/ 3698 w 4595"/>
                <a:gd name="T71" fmla="*/ 889 h 1672"/>
                <a:gd name="T72" fmla="*/ 3931 w 4595"/>
                <a:gd name="T73" fmla="*/ 1007 h 1672"/>
                <a:gd name="T74" fmla="*/ 4356 w 4595"/>
                <a:gd name="T75" fmla="*/ 1267 h 1672"/>
                <a:gd name="T76" fmla="*/ 4489 w 4595"/>
                <a:gd name="T77" fmla="*/ 1424 h 1672"/>
                <a:gd name="T78" fmla="*/ 4253 w 4595"/>
                <a:gd name="T79" fmla="*/ 757 h 1672"/>
                <a:gd name="T80" fmla="*/ 2928 w 4595"/>
                <a:gd name="T81" fmla="*/ 1547 h 1672"/>
                <a:gd name="T82" fmla="*/ 2973 w 4595"/>
                <a:gd name="T83" fmla="*/ 1570 h 1672"/>
                <a:gd name="T84" fmla="*/ 3007 w 4595"/>
                <a:gd name="T85" fmla="*/ 1538 h 1672"/>
                <a:gd name="T86" fmla="*/ 2214 w 4595"/>
                <a:gd name="T87" fmla="*/ 591 h 1672"/>
                <a:gd name="T88" fmla="*/ 2264 w 4595"/>
                <a:gd name="T89" fmla="*/ 346 h 1672"/>
                <a:gd name="T90" fmla="*/ 2252 w 4595"/>
                <a:gd name="T91" fmla="*/ 177 h 1672"/>
                <a:gd name="T92" fmla="*/ 1992 w 4595"/>
                <a:gd name="T93" fmla="*/ 314 h 1672"/>
                <a:gd name="T94" fmla="*/ 1780 w 4595"/>
                <a:gd name="T95" fmla="*/ 450 h 1672"/>
                <a:gd name="T96" fmla="*/ 1467 w 4595"/>
                <a:gd name="T97" fmla="*/ 462 h 1672"/>
                <a:gd name="T98" fmla="*/ 1361 w 4595"/>
                <a:gd name="T99" fmla="*/ 535 h 1672"/>
                <a:gd name="T100" fmla="*/ 1594 w 4595"/>
                <a:gd name="T101" fmla="*/ 907 h 1672"/>
                <a:gd name="T102" fmla="*/ 1933 w 4595"/>
                <a:gd name="T103" fmla="*/ 990 h 1672"/>
                <a:gd name="T104" fmla="*/ 2376 w 4595"/>
                <a:gd name="T105" fmla="*/ 1571 h 1672"/>
                <a:gd name="T106" fmla="*/ 2376 w 4595"/>
                <a:gd name="T107" fmla="*/ 1571 h 1672"/>
                <a:gd name="T108" fmla="*/ 2090 w 4595"/>
                <a:gd name="T109" fmla="*/ 1491 h 1672"/>
                <a:gd name="T110" fmla="*/ 2228 w 4595"/>
                <a:gd name="T111" fmla="*/ 1427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95" h="1672">
                  <a:moveTo>
                    <a:pt x="339" y="709"/>
                  </a:moveTo>
                  <a:cubicBezTo>
                    <a:pt x="334" y="724"/>
                    <a:pt x="366" y="783"/>
                    <a:pt x="387" y="766"/>
                  </a:cubicBezTo>
                  <a:cubicBezTo>
                    <a:pt x="407" y="748"/>
                    <a:pt x="358" y="663"/>
                    <a:pt x="339" y="709"/>
                  </a:cubicBezTo>
                  <a:close/>
                  <a:moveTo>
                    <a:pt x="1305" y="889"/>
                  </a:moveTo>
                  <a:cubicBezTo>
                    <a:pt x="1305" y="863"/>
                    <a:pt x="1228" y="876"/>
                    <a:pt x="1251" y="913"/>
                  </a:cubicBezTo>
                  <a:cubicBezTo>
                    <a:pt x="1275" y="951"/>
                    <a:pt x="1305" y="916"/>
                    <a:pt x="1305" y="889"/>
                  </a:cubicBezTo>
                  <a:close/>
                  <a:moveTo>
                    <a:pt x="195" y="456"/>
                  </a:moveTo>
                  <a:cubicBezTo>
                    <a:pt x="189" y="485"/>
                    <a:pt x="221" y="571"/>
                    <a:pt x="257" y="535"/>
                  </a:cubicBezTo>
                  <a:cubicBezTo>
                    <a:pt x="292" y="500"/>
                    <a:pt x="201" y="427"/>
                    <a:pt x="195" y="456"/>
                  </a:cubicBezTo>
                  <a:close/>
                  <a:moveTo>
                    <a:pt x="2423" y="960"/>
                  </a:moveTo>
                  <a:cubicBezTo>
                    <a:pt x="2467" y="963"/>
                    <a:pt x="2462" y="1028"/>
                    <a:pt x="2453" y="1067"/>
                  </a:cubicBezTo>
                  <a:cubicBezTo>
                    <a:pt x="2444" y="1105"/>
                    <a:pt x="2426" y="1196"/>
                    <a:pt x="2465" y="1182"/>
                  </a:cubicBezTo>
                  <a:cubicBezTo>
                    <a:pt x="2512" y="1164"/>
                    <a:pt x="2541" y="1105"/>
                    <a:pt x="2515" y="1084"/>
                  </a:cubicBezTo>
                  <a:cubicBezTo>
                    <a:pt x="2488" y="1064"/>
                    <a:pt x="2491" y="934"/>
                    <a:pt x="2503" y="901"/>
                  </a:cubicBezTo>
                  <a:cubicBezTo>
                    <a:pt x="2515" y="869"/>
                    <a:pt x="2594" y="892"/>
                    <a:pt x="2568" y="943"/>
                  </a:cubicBezTo>
                  <a:cubicBezTo>
                    <a:pt x="2541" y="993"/>
                    <a:pt x="2618" y="987"/>
                    <a:pt x="2618" y="1043"/>
                  </a:cubicBezTo>
                  <a:cubicBezTo>
                    <a:pt x="2618" y="1099"/>
                    <a:pt x="2662" y="1070"/>
                    <a:pt x="2709" y="1055"/>
                  </a:cubicBezTo>
                  <a:cubicBezTo>
                    <a:pt x="2757" y="1040"/>
                    <a:pt x="2748" y="1013"/>
                    <a:pt x="2715" y="978"/>
                  </a:cubicBezTo>
                  <a:cubicBezTo>
                    <a:pt x="2683" y="943"/>
                    <a:pt x="2739" y="892"/>
                    <a:pt x="2695" y="863"/>
                  </a:cubicBezTo>
                  <a:cubicBezTo>
                    <a:pt x="2650" y="833"/>
                    <a:pt x="2621" y="789"/>
                    <a:pt x="2662" y="780"/>
                  </a:cubicBezTo>
                  <a:cubicBezTo>
                    <a:pt x="2704" y="771"/>
                    <a:pt x="2828" y="701"/>
                    <a:pt x="2813" y="671"/>
                  </a:cubicBezTo>
                  <a:cubicBezTo>
                    <a:pt x="2798" y="642"/>
                    <a:pt x="2624" y="677"/>
                    <a:pt x="2609" y="730"/>
                  </a:cubicBezTo>
                  <a:cubicBezTo>
                    <a:pt x="2594" y="783"/>
                    <a:pt x="2470" y="724"/>
                    <a:pt x="2485" y="633"/>
                  </a:cubicBezTo>
                  <a:cubicBezTo>
                    <a:pt x="2500" y="541"/>
                    <a:pt x="2745" y="526"/>
                    <a:pt x="2816" y="559"/>
                  </a:cubicBezTo>
                  <a:cubicBezTo>
                    <a:pt x="2887" y="591"/>
                    <a:pt x="2963" y="506"/>
                    <a:pt x="2990" y="456"/>
                  </a:cubicBezTo>
                  <a:cubicBezTo>
                    <a:pt x="3016" y="405"/>
                    <a:pt x="2934" y="464"/>
                    <a:pt x="2884" y="497"/>
                  </a:cubicBezTo>
                  <a:cubicBezTo>
                    <a:pt x="2833" y="529"/>
                    <a:pt x="2701" y="494"/>
                    <a:pt x="2633" y="470"/>
                  </a:cubicBezTo>
                  <a:cubicBezTo>
                    <a:pt x="2565" y="447"/>
                    <a:pt x="2568" y="512"/>
                    <a:pt x="2512" y="520"/>
                  </a:cubicBezTo>
                  <a:cubicBezTo>
                    <a:pt x="2456" y="529"/>
                    <a:pt x="2467" y="653"/>
                    <a:pt x="2441" y="668"/>
                  </a:cubicBezTo>
                  <a:cubicBezTo>
                    <a:pt x="2414" y="683"/>
                    <a:pt x="2414" y="774"/>
                    <a:pt x="2361" y="860"/>
                  </a:cubicBezTo>
                  <a:cubicBezTo>
                    <a:pt x="2308" y="945"/>
                    <a:pt x="2379" y="957"/>
                    <a:pt x="2423" y="960"/>
                  </a:cubicBezTo>
                  <a:close/>
                  <a:moveTo>
                    <a:pt x="1074" y="1037"/>
                  </a:moveTo>
                  <a:cubicBezTo>
                    <a:pt x="1071" y="996"/>
                    <a:pt x="1089" y="954"/>
                    <a:pt x="1089" y="934"/>
                  </a:cubicBezTo>
                  <a:cubicBezTo>
                    <a:pt x="1089" y="913"/>
                    <a:pt x="1104" y="904"/>
                    <a:pt x="1130" y="910"/>
                  </a:cubicBezTo>
                  <a:cubicBezTo>
                    <a:pt x="1157" y="916"/>
                    <a:pt x="1154" y="854"/>
                    <a:pt x="1133" y="848"/>
                  </a:cubicBezTo>
                  <a:cubicBezTo>
                    <a:pt x="1113" y="842"/>
                    <a:pt x="1101" y="768"/>
                    <a:pt x="1051" y="768"/>
                  </a:cubicBezTo>
                  <a:cubicBezTo>
                    <a:pt x="1001" y="768"/>
                    <a:pt x="1009" y="810"/>
                    <a:pt x="1039" y="813"/>
                  </a:cubicBezTo>
                  <a:cubicBezTo>
                    <a:pt x="1069" y="816"/>
                    <a:pt x="1086" y="839"/>
                    <a:pt x="1077" y="860"/>
                  </a:cubicBezTo>
                  <a:cubicBezTo>
                    <a:pt x="1068" y="881"/>
                    <a:pt x="1057" y="839"/>
                    <a:pt x="1015" y="842"/>
                  </a:cubicBezTo>
                  <a:cubicBezTo>
                    <a:pt x="974" y="845"/>
                    <a:pt x="1001" y="792"/>
                    <a:pt x="953" y="789"/>
                  </a:cubicBezTo>
                  <a:cubicBezTo>
                    <a:pt x="906" y="786"/>
                    <a:pt x="915" y="701"/>
                    <a:pt x="865" y="701"/>
                  </a:cubicBezTo>
                  <a:cubicBezTo>
                    <a:pt x="815" y="701"/>
                    <a:pt x="812" y="659"/>
                    <a:pt x="844" y="630"/>
                  </a:cubicBezTo>
                  <a:cubicBezTo>
                    <a:pt x="877" y="600"/>
                    <a:pt x="794" y="574"/>
                    <a:pt x="794" y="538"/>
                  </a:cubicBezTo>
                  <a:cubicBezTo>
                    <a:pt x="794" y="503"/>
                    <a:pt x="741" y="524"/>
                    <a:pt x="741" y="494"/>
                  </a:cubicBezTo>
                  <a:cubicBezTo>
                    <a:pt x="741" y="464"/>
                    <a:pt x="717" y="479"/>
                    <a:pt x="691" y="444"/>
                  </a:cubicBezTo>
                  <a:cubicBezTo>
                    <a:pt x="664" y="408"/>
                    <a:pt x="652" y="441"/>
                    <a:pt x="629" y="414"/>
                  </a:cubicBezTo>
                  <a:cubicBezTo>
                    <a:pt x="605" y="388"/>
                    <a:pt x="573" y="373"/>
                    <a:pt x="552" y="382"/>
                  </a:cubicBezTo>
                  <a:cubicBezTo>
                    <a:pt x="531" y="391"/>
                    <a:pt x="484" y="343"/>
                    <a:pt x="466" y="296"/>
                  </a:cubicBezTo>
                  <a:cubicBezTo>
                    <a:pt x="452" y="259"/>
                    <a:pt x="316" y="196"/>
                    <a:pt x="298" y="146"/>
                  </a:cubicBezTo>
                  <a:cubicBezTo>
                    <a:pt x="280" y="96"/>
                    <a:pt x="233" y="75"/>
                    <a:pt x="154" y="78"/>
                  </a:cubicBezTo>
                  <a:cubicBezTo>
                    <a:pt x="74" y="81"/>
                    <a:pt x="42" y="0"/>
                    <a:pt x="24" y="39"/>
                  </a:cubicBezTo>
                  <a:cubicBezTo>
                    <a:pt x="0" y="90"/>
                    <a:pt x="109" y="202"/>
                    <a:pt x="159" y="231"/>
                  </a:cubicBezTo>
                  <a:cubicBezTo>
                    <a:pt x="210" y="261"/>
                    <a:pt x="236" y="367"/>
                    <a:pt x="295" y="373"/>
                  </a:cubicBezTo>
                  <a:cubicBezTo>
                    <a:pt x="354" y="379"/>
                    <a:pt x="360" y="565"/>
                    <a:pt x="404" y="574"/>
                  </a:cubicBezTo>
                  <a:cubicBezTo>
                    <a:pt x="449" y="583"/>
                    <a:pt x="543" y="727"/>
                    <a:pt x="558" y="804"/>
                  </a:cubicBezTo>
                  <a:cubicBezTo>
                    <a:pt x="573" y="881"/>
                    <a:pt x="670" y="919"/>
                    <a:pt x="702" y="975"/>
                  </a:cubicBezTo>
                  <a:cubicBezTo>
                    <a:pt x="735" y="1031"/>
                    <a:pt x="865" y="1108"/>
                    <a:pt x="882" y="1131"/>
                  </a:cubicBezTo>
                  <a:cubicBezTo>
                    <a:pt x="900" y="1155"/>
                    <a:pt x="918" y="1208"/>
                    <a:pt x="933" y="1182"/>
                  </a:cubicBezTo>
                  <a:cubicBezTo>
                    <a:pt x="947" y="1155"/>
                    <a:pt x="1009" y="1182"/>
                    <a:pt x="1039" y="1185"/>
                  </a:cubicBezTo>
                  <a:cubicBezTo>
                    <a:pt x="1069" y="1188"/>
                    <a:pt x="1077" y="1078"/>
                    <a:pt x="1074" y="1037"/>
                  </a:cubicBezTo>
                  <a:close/>
                  <a:moveTo>
                    <a:pt x="3329" y="565"/>
                  </a:moveTo>
                  <a:cubicBezTo>
                    <a:pt x="3394" y="571"/>
                    <a:pt x="3365" y="532"/>
                    <a:pt x="3365" y="491"/>
                  </a:cubicBezTo>
                  <a:cubicBezTo>
                    <a:pt x="3365" y="450"/>
                    <a:pt x="3306" y="485"/>
                    <a:pt x="3306" y="464"/>
                  </a:cubicBezTo>
                  <a:cubicBezTo>
                    <a:pt x="3306" y="444"/>
                    <a:pt x="3285" y="361"/>
                    <a:pt x="3238" y="426"/>
                  </a:cubicBezTo>
                  <a:cubicBezTo>
                    <a:pt x="3191" y="491"/>
                    <a:pt x="3253" y="651"/>
                    <a:pt x="3291" y="644"/>
                  </a:cubicBezTo>
                  <a:cubicBezTo>
                    <a:pt x="3323" y="639"/>
                    <a:pt x="3264" y="559"/>
                    <a:pt x="3329" y="565"/>
                  </a:cubicBezTo>
                  <a:close/>
                  <a:moveTo>
                    <a:pt x="3087" y="934"/>
                  </a:moveTo>
                  <a:cubicBezTo>
                    <a:pt x="3099" y="981"/>
                    <a:pt x="3185" y="1007"/>
                    <a:pt x="3208" y="966"/>
                  </a:cubicBezTo>
                  <a:cubicBezTo>
                    <a:pt x="3232" y="925"/>
                    <a:pt x="3074" y="879"/>
                    <a:pt x="3087" y="934"/>
                  </a:cubicBezTo>
                  <a:close/>
                  <a:moveTo>
                    <a:pt x="2854" y="1433"/>
                  </a:moveTo>
                  <a:cubicBezTo>
                    <a:pt x="2774" y="1421"/>
                    <a:pt x="2721" y="1480"/>
                    <a:pt x="2642" y="1450"/>
                  </a:cubicBezTo>
                  <a:cubicBezTo>
                    <a:pt x="2562" y="1421"/>
                    <a:pt x="2443" y="1451"/>
                    <a:pt x="2456" y="1477"/>
                  </a:cubicBezTo>
                  <a:cubicBezTo>
                    <a:pt x="2467" y="1500"/>
                    <a:pt x="2538" y="1503"/>
                    <a:pt x="2618" y="1506"/>
                  </a:cubicBezTo>
                  <a:cubicBezTo>
                    <a:pt x="2698" y="1509"/>
                    <a:pt x="2769" y="1465"/>
                    <a:pt x="2822" y="1462"/>
                  </a:cubicBezTo>
                  <a:cubicBezTo>
                    <a:pt x="2875" y="1459"/>
                    <a:pt x="2934" y="1444"/>
                    <a:pt x="2854" y="1433"/>
                  </a:cubicBezTo>
                  <a:close/>
                  <a:moveTo>
                    <a:pt x="3486" y="892"/>
                  </a:moveTo>
                  <a:cubicBezTo>
                    <a:pt x="3409" y="869"/>
                    <a:pt x="3278" y="889"/>
                    <a:pt x="3291" y="928"/>
                  </a:cubicBezTo>
                  <a:cubicBezTo>
                    <a:pt x="3303" y="963"/>
                    <a:pt x="3365" y="948"/>
                    <a:pt x="3427" y="948"/>
                  </a:cubicBezTo>
                  <a:cubicBezTo>
                    <a:pt x="3489" y="948"/>
                    <a:pt x="3521" y="993"/>
                    <a:pt x="3554" y="993"/>
                  </a:cubicBezTo>
                  <a:cubicBezTo>
                    <a:pt x="3586" y="993"/>
                    <a:pt x="3562" y="916"/>
                    <a:pt x="3486" y="892"/>
                  </a:cubicBezTo>
                  <a:close/>
                  <a:moveTo>
                    <a:pt x="1930" y="1400"/>
                  </a:moveTo>
                  <a:cubicBezTo>
                    <a:pt x="1927" y="1365"/>
                    <a:pt x="1812" y="1397"/>
                    <a:pt x="1756" y="1373"/>
                  </a:cubicBezTo>
                  <a:cubicBezTo>
                    <a:pt x="1700" y="1350"/>
                    <a:pt x="1818" y="1329"/>
                    <a:pt x="1856" y="1306"/>
                  </a:cubicBezTo>
                  <a:cubicBezTo>
                    <a:pt x="1895" y="1282"/>
                    <a:pt x="1833" y="1273"/>
                    <a:pt x="1738" y="1303"/>
                  </a:cubicBezTo>
                  <a:cubicBezTo>
                    <a:pt x="1644" y="1332"/>
                    <a:pt x="1535" y="1238"/>
                    <a:pt x="1532" y="1279"/>
                  </a:cubicBezTo>
                  <a:cubicBezTo>
                    <a:pt x="1529" y="1320"/>
                    <a:pt x="1361" y="1261"/>
                    <a:pt x="1319" y="1232"/>
                  </a:cubicBezTo>
                  <a:cubicBezTo>
                    <a:pt x="1278" y="1202"/>
                    <a:pt x="1119" y="1164"/>
                    <a:pt x="1086" y="1220"/>
                  </a:cubicBezTo>
                  <a:cubicBezTo>
                    <a:pt x="1054" y="1276"/>
                    <a:pt x="1026" y="1226"/>
                    <a:pt x="1039" y="1279"/>
                  </a:cubicBezTo>
                  <a:cubicBezTo>
                    <a:pt x="1048" y="1314"/>
                    <a:pt x="1086" y="1294"/>
                    <a:pt x="1113" y="1294"/>
                  </a:cubicBezTo>
                  <a:cubicBezTo>
                    <a:pt x="1139" y="1294"/>
                    <a:pt x="1127" y="1344"/>
                    <a:pt x="1166" y="1350"/>
                  </a:cubicBezTo>
                  <a:cubicBezTo>
                    <a:pt x="1204" y="1356"/>
                    <a:pt x="1331" y="1391"/>
                    <a:pt x="1343" y="1365"/>
                  </a:cubicBezTo>
                  <a:cubicBezTo>
                    <a:pt x="1355" y="1338"/>
                    <a:pt x="1473" y="1365"/>
                    <a:pt x="1532" y="1412"/>
                  </a:cubicBezTo>
                  <a:cubicBezTo>
                    <a:pt x="1591" y="1459"/>
                    <a:pt x="1727" y="1462"/>
                    <a:pt x="1780" y="1453"/>
                  </a:cubicBezTo>
                  <a:cubicBezTo>
                    <a:pt x="1833" y="1444"/>
                    <a:pt x="1892" y="1489"/>
                    <a:pt x="1913" y="1459"/>
                  </a:cubicBezTo>
                  <a:cubicBezTo>
                    <a:pt x="1933" y="1430"/>
                    <a:pt x="1972" y="1506"/>
                    <a:pt x="2031" y="1462"/>
                  </a:cubicBezTo>
                  <a:cubicBezTo>
                    <a:pt x="2090" y="1418"/>
                    <a:pt x="1933" y="1435"/>
                    <a:pt x="1930" y="1400"/>
                  </a:cubicBezTo>
                  <a:close/>
                  <a:moveTo>
                    <a:pt x="4253" y="757"/>
                  </a:moveTo>
                  <a:cubicBezTo>
                    <a:pt x="4209" y="760"/>
                    <a:pt x="4203" y="836"/>
                    <a:pt x="4165" y="836"/>
                  </a:cubicBezTo>
                  <a:cubicBezTo>
                    <a:pt x="4126" y="836"/>
                    <a:pt x="4073" y="916"/>
                    <a:pt x="4002" y="940"/>
                  </a:cubicBezTo>
                  <a:cubicBezTo>
                    <a:pt x="3931" y="963"/>
                    <a:pt x="3928" y="736"/>
                    <a:pt x="3896" y="692"/>
                  </a:cubicBezTo>
                  <a:cubicBezTo>
                    <a:pt x="3864" y="647"/>
                    <a:pt x="3686" y="612"/>
                    <a:pt x="3669" y="662"/>
                  </a:cubicBezTo>
                  <a:cubicBezTo>
                    <a:pt x="3651" y="712"/>
                    <a:pt x="3589" y="686"/>
                    <a:pt x="3583" y="727"/>
                  </a:cubicBezTo>
                  <a:cubicBezTo>
                    <a:pt x="3577" y="766"/>
                    <a:pt x="3598" y="754"/>
                    <a:pt x="3636" y="754"/>
                  </a:cubicBezTo>
                  <a:cubicBezTo>
                    <a:pt x="3675" y="754"/>
                    <a:pt x="3675" y="783"/>
                    <a:pt x="3692" y="822"/>
                  </a:cubicBezTo>
                  <a:cubicBezTo>
                    <a:pt x="3710" y="860"/>
                    <a:pt x="3816" y="833"/>
                    <a:pt x="3852" y="830"/>
                  </a:cubicBezTo>
                  <a:cubicBezTo>
                    <a:pt x="3887" y="827"/>
                    <a:pt x="3893" y="878"/>
                    <a:pt x="3843" y="860"/>
                  </a:cubicBezTo>
                  <a:cubicBezTo>
                    <a:pt x="3793" y="842"/>
                    <a:pt x="3793" y="884"/>
                    <a:pt x="3757" y="875"/>
                  </a:cubicBezTo>
                  <a:cubicBezTo>
                    <a:pt x="3722" y="866"/>
                    <a:pt x="3675" y="869"/>
                    <a:pt x="3698" y="889"/>
                  </a:cubicBezTo>
                  <a:cubicBezTo>
                    <a:pt x="3722" y="910"/>
                    <a:pt x="3760" y="931"/>
                    <a:pt x="3760" y="978"/>
                  </a:cubicBezTo>
                  <a:cubicBezTo>
                    <a:pt x="3760" y="1025"/>
                    <a:pt x="3828" y="1016"/>
                    <a:pt x="3828" y="978"/>
                  </a:cubicBezTo>
                  <a:cubicBezTo>
                    <a:pt x="3828" y="940"/>
                    <a:pt x="3864" y="990"/>
                    <a:pt x="3931" y="1007"/>
                  </a:cubicBezTo>
                  <a:cubicBezTo>
                    <a:pt x="3999" y="1025"/>
                    <a:pt x="3952" y="1052"/>
                    <a:pt x="4020" y="1055"/>
                  </a:cubicBezTo>
                  <a:cubicBezTo>
                    <a:pt x="4088" y="1058"/>
                    <a:pt x="4241" y="1108"/>
                    <a:pt x="4300" y="1152"/>
                  </a:cubicBezTo>
                  <a:cubicBezTo>
                    <a:pt x="4359" y="1196"/>
                    <a:pt x="4318" y="1226"/>
                    <a:pt x="4356" y="1267"/>
                  </a:cubicBezTo>
                  <a:cubicBezTo>
                    <a:pt x="4395" y="1309"/>
                    <a:pt x="4407" y="1356"/>
                    <a:pt x="4353" y="1356"/>
                  </a:cubicBezTo>
                  <a:cubicBezTo>
                    <a:pt x="4300" y="1356"/>
                    <a:pt x="4244" y="1409"/>
                    <a:pt x="4259" y="1435"/>
                  </a:cubicBezTo>
                  <a:cubicBezTo>
                    <a:pt x="4274" y="1462"/>
                    <a:pt x="4448" y="1424"/>
                    <a:pt x="4489" y="1424"/>
                  </a:cubicBezTo>
                  <a:cubicBezTo>
                    <a:pt x="4516" y="1424"/>
                    <a:pt x="4544" y="1472"/>
                    <a:pt x="4595" y="1507"/>
                  </a:cubicBezTo>
                  <a:cubicBezTo>
                    <a:pt x="4595" y="877"/>
                    <a:pt x="4595" y="877"/>
                    <a:pt x="4595" y="877"/>
                  </a:cubicBezTo>
                  <a:cubicBezTo>
                    <a:pt x="4468" y="834"/>
                    <a:pt x="4290" y="754"/>
                    <a:pt x="4253" y="757"/>
                  </a:cubicBezTo>
                  <a:close/>
                  <a:moveTo>
                    <a:pt x="2975" y="1505"/>
                  </a:moveTo>
                  <a:cubicBezTo>
                    <a:pt x="2966" y="1511"/>
                    <a:pt x="2956" y="1516"/>
                    <a:pt x="2943" y="1518"/>
                  </a:cubicBezTo>
                  <a:cubicBezTo>
                    <a:pt x="2939" y="1529"/>
                    <a:pt x="2935" y="1542"/>
                    <a:pt x="2928" y="1547"/>
                  </a:cubicBezTo>
                  <a:cubicBezTo>
                    <a:pt x="2920" y="1553"/>
                    <a:pt x="2906" y="1540"/>
                    <a:pt x="2896" y="1529"/>
                  </a:cubicBezTo>
                  <a:cubicBezTo>
                    <a:pt x="2839" y="1553"/>
                    <a:pt x="2809" y="1621"/>
                    <a:pt x="2848" y="1642"/>
                  </a:cubicBezTo>
                  <a:cubicBezTo>
                    <a:pt x="2886" y="1662"/>
                    <a:pt x="2942" y="1608"/>
                    <a:pt x="2973" y="1570"/>
                  </a:cubicBezTo>
                  <a:cubicBezTo>
                    <a:pt x="2979" y="1564"/>
                    <a:pt x="2983" y="1559"/>
                    <a:pt x="2987" y="1554"/>
                  </a:cubicBezTo>
                  <a:cubicBezTo>
                    <a:pt x="2989" y="1551"/>
                    <a:pt x="2993" y="1548"/>
                    <a:pt x="2997" y="1545"/>
                  </a:cubicBezTo>
                  <a:cubicBezTo>
                    <a:pt x="3000" y="1542"/>
                    <a:pt x="3003" y="1540"/>
                    <a:pt x="3007" y="1538"/>
                  </a:cubicBezTo>
                  <a:cubicBezTo>
                    <a:pt x="2998" y="1525"/>
                    <a:pt x="2986" y="1512"/>
                    <a:pt x="2975" y="1505"/>
                  </a:cubicBezTo>
                  <a:close/>
                  <a:moveTo>
                    <a:pt x="2155" y="745"/>
                  </a:moveTo>
                  <a:cubicBezTo>
                    <a:pt x="2208" y="712"/>
                    <a:pt x="2220" y="650"/>
                    <a:pt x="2214" y="591"/>
                  </a:cubicBezTo>
                  <a:cubicBezTo>
                    <a:pt x="2208" y="532"/>
                    <a:pt x="2343" y="529"/>
                    <a:pt x="2364" y="506"/>
                  </a:cubicBezTo>
                  <a:cubicBezTo>
                    <a:pt x="2385" y="482"/>
                    <a:pt x="2335" y="444"/>
                    <a:pt x="2296" y="426"/>
                  </a:cubicBezTo>
                  <a:cubicBezTo>
                    <a:pt x="2258" y="408"/>
                    <a:pt x="2290" y="370"/>
                    <a:pt x="2264" y="346"/>
                  </a:cubicBezTo>
                  <a:cubicBezTo>
                    <a:pt x="2237" y="323"/>
                    <a:pt x="2193" y="261"/>
                    <a:pt x="2231" y="258"/>
                  </a:cubicBezTo>
                  <a:cubicBezTo>
                    <a:pt x="2270" y="255"/>
                    <a:pt x="2205" y="202"/>
                    <a:pt x="2237" y="184"/>
                  </a:cubicBezTo>
                  <a:cubicBezTo>
                    <a:pt x="2242" y="182"/>
                    <a:pt x="2247" y="179"/>
                    <a:pt x="2252" y="177"/>
                  </a:cubicBezTo>
                  <a:cubicBezTo>
                    <a:pt x="2233" y="167"/>
                    <a:pt x="2216" y="160"/>
                    <a:pt x="2205" y="160"/>
                  </a:cubicBezTo>
                  <a:cubicBezTo>
                    <a:pt x="2158" y="160"/>
                    <a:pt x="2045" y="149"/>
                    <a:pt x="2051" y="225"/>
                  </a:cubicBezTo>
                  <a:cubicBezTo>
                    <a:pt x="2057" y="302"/>
                    <a:pt x="1986" y="273"/>
                    <a:pt x="1992" y="314"/>
                  </a:cubicBezTo>
                  <a:cubicBezTo>
                    <a:pt x="1998" y="355"/>
                    <a:pt x="1957" y="355"/>
                    <a:pt x="1963" y="408"/>
                  </a:cubicBezTo>
                  <a:cubicBezTo>
                    <a:pt x="1969" y="462"/>
                    <a:pt x="1933" y="438"/>
                    <a:pt x="1874" y="467"/>
                  </a:cubicBezTo>
                  <a:cubicBezTo>
                    <a:pt x="1815" y="497"/>
                    <a:pt x="1839" y="450"/>
                    <a:pt x="1780" y="450"/>
                  </a:cubicBezTo>
                  <a:cubicBezTo>
                    <a:pt x="1721" y="450"/>
                    <a:pt x="1715" y="479"/>
                    <a:pt x="1679" y="491"/>
                  </a:cubicBezTo>
                  <a:cubicBezTo>
                    <a:pt x="1644" y="503"/>
                    <a:pt x="1573" y="485"/>
                    <a:pt x="1550" y="503"/>
                  </a:cubicBezTo>
                  <a:cubicBezTo>
                    <a:pt x="1526" y="520"/>
                    <a:pt x="1491" y="462"/>
                    <a:pt x="1467" y="462"/>
                  </a:cubicBezTo>
                  <a:cubicBezTo>
                    <a:pt x="1455" y="462"/>
                    <a:pt x="1444" y="429"/>
                    <a:pt x="1437" y="398"/>
                  </a:cubicBezTo>
                  <a:cubicBezTo>
                    <a:pt x="1433" y="397"/>
                    <a:pt x="1429" y="396"/>
                    <a:pt x="1426" y="397"/>
                  </a:cubicBezTo>
                  <a:cubicBezTo>
                    <a:pt x="1387" y="400"/>
                    <a:pt x="1324" y="501"/>
                    <a:pt x="1361" y="535"/>
                  </a:cubicBezTo>
                  <a:cubicBezTo>
                    <a:pt x="1405" y="577"/>
                    <a:pt x="1393" y="642"/>
                    <a:pt x="1414" y="674"/>
                  </a:cubicBezTo>
                  <a:cubicBezTo>
                    <a:pt x="1434" y="706"/>
                    <a:pt x="1499" y="712"/>
                    <a:pt x="1499" y="774"/>
                  </a:cubicBezTo>
                  <a:cubicBezTo>
                    <a:pt x="1499" y="836"/>
                    <a:pt x="1555" y="934"/>
                    <a:pt x="1594" y="907"/>
                  </a:cubicBezTo>
                  <a:cubicBezTo>
                    <a:pt x="1632" y="881"/>
                    <a:pt x="1662" y="919"/>
                    <a:pt x="1674" y="945"/>
                  </a:cubicBezTo>
                  <a:cubicBezTo>
                    <a:pt x="1685" y="972"/>
                    <a:pt x="1777" y="925"/>
                    <a:pt x="1806" y="931"/>
                  </a:cubicBezTo>
                  <a:cubicBezTo>
                    <a:pt x="1836" y="937"/>
                    <a:pt x="1927" y="954"/>
                    <a:pt x="1933" y="990"/>
                  </a:cubicBezTo>
                  <a:cubicBezTo>
                    <a:pt x="1939" y="1025"/>
                    <a:pt x="2022" y="987"/>
                    <a:pt x="2078" y="966"/>
                  </a:cubicBezTo>
                  <a:cubicBezTo>
                    <a:pt x="2134" y="945"/>
                    <a:pt x="2101" y="777"/>
                    <a:pt x="2155" y="745"/>
                  </a:cubicBezTo>
                  <a:close/>
                  <a:moveTo>
                    <a:pt x="2376" y="1571"/>
                  </a:moveTo>
                  <a:cubicBezTo>
                    <a:pt x="2394" y="1598"/>
                    <a:pt x="2444" y="1598"/>
                    <a:pt x="2465" y="1616"/>
                  </a:cubicBezTo>
                  <a:cubicBezTo>
                    <a:pt x="2485" y="1633"/>
                    <a:pt x="2559" y="1672"/>
                    <a:pt x="2559" y="1621"/>
                  </a:cubicBezTo>
                  <a:cubicBezTo>
                    <a:pt x="2559" y="1571"/>
                    <a:pt x="2356" y="1542"/>
                    <a:pt x="2376" y="1571"/>
                  </a:cubicBezTo>
                  <a:close/>
                  <a:moveTo>
                    <a:pt x="2228" y="1427"/>
                  </a:moveTo>
                  <a:cubicBezTo>
                    <a:pt x="2217" y="1453"/>
                    <a:pt x="2166" y="1459"/>
                    <a:pt x="2137" y="1438"/>
                  </a:cubicBezTo>
                  <a:cubicBezTo>
                    <a:pt x="2107" y="1418"/>
                    <a:pt x="2071" y="1466"/>
                    <a:pt x="2090" y="1491"/>
                  </a:cubicBezTo>
                  <a:cubicBezTo>
                    <a:pt x="2099" y="1503"/>
                    <a:pt x="2161" y="1551"/>
                    <a:pt x="2234" y="1515"/>
                  </a:cubicBezTo>
                  <a:cubicBezTo>
                    <a:pt x="2308" y="1480"/>
                    <a:pt x="2358" y="1512"/>
                    <a:pt x="2376" y="1474"/>
                  </a:cubicBezTo>
                  <a:cubicBezTo>
                    <a:pt x="2394" y="1435"/>
                    <a:pt x="2240" y="1400"/>
                    <a:pt x="2228" y="1427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3" name="Freeform 174"/>
            <p:cNvSpPr>
              <a:spLocks noEditPoints="1"/>
            </p:cNvSpPr>
            <p:nvPr/>
          </p:nvSpPr>
          <p:spPr bwMode="auto">
            <a:xfrm>
              <a:off x="17861475" y="9248872"/>
              <a:ext cx="167538" cy="68690"/>
            </a:xfrm>
            <a:custGeom>
              <a:avLst/>
              <a:gdLst>
                <a:gd name="T0" fmla="*/ 32 w 330"/>
                <a:gd name="T1" fmla="*/ 103 h 135"/>
                <a:gd name="T2" fmla="*/ 0 w 330"/>
                <a:gd name="T3" fmla="*/ 111 h 135"/>
                <a:gd name="T4" fmla="*/ 32 w 330"/>
                <a:gd name="T5" fmla="*/ 129 h 135"/>
                <a:gd name="T6" fmla="*/ 47 w 330"/>
                <a:gd name="T7" fmla="*/ 100 h 135"/>
                <a:gd name="T8" fmla="*/ 34 w 330"/>
                <a:gd name="T9" fmla="*/ 103 h 135"/>
                <a:gd name="T10" fmla="*/ 32 w 330"/>
                <a:gd name="T11" fmla="*/ 103 h 135"/>
                <a:gd name="T12" fmla="*/ 174 w 330"/>
                <a:gd name="T13" fmla="*/ 26 h 135"/>
                <a:gd name="T14" fmla="*/ 88 w 330"/>
                <a:gd name="T15" fmla="*/ 81 h 135"/>
                <a:gd name="T16" fmla="*/ 79 w 330"/>
                <a:gd name="T17" fmla="*/ 87 h 135"/>
                <a:gd name="T18" fmla="*/ 111 w 330"/>
                <a:gd name="T19" fmla="*/ 120 h 135"/>
                <a:gd name="T20" fmla="*/ 321 w 330"/>
                <a:gd name="T21" fmla="*/ 23 h 135"/>
                <a:gd name="T22" fmla="*/ 174 w 330"/>
                <a:gd name="T23" fmla="*/ 2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0" h="135">
                  <a:moveTo>
                    <a:pt x="32" y="103"/>
                  </a:moveTo>
                  <a:cubicBezTo>
                    <a:pt x="20" y="104"/>
                    <a:pt x="10" y="107"/>
                    <a:pt x="0" y="111"/>
                  </a:cubicBezTo>
                  <a:cubicBezTo>
                    <a:pt x="10" y="122"/>
                    <a:pt x="24" y="135"/>
                    <a:pt x="32" y="129"/>
                  </a:cubicBezTo>
                  <a:cubicBezTo>
                    <a:pt x="39" y="124"/>
                    <a:pt x="43" y="111"/>
                    <a:pt x="47" y="100"/>
                  </a:cubicBezTo>
                  <a:cubicBezTo>
                    <a:pt x="43" y="101"/>
                    <a:pt x="38" y="102"/>
                    <a:pt x="34" y="103"/>
                  </a:cubicBezTo>
                  <a:cubicBezTo>
                    <a:pt x="33" y="103"/>
                    <a:pt x="33" y="103"/>
                    <a:pt x="32" y="103"/>
                  </a:cubicBezTo>
                  <a:close/>
                  <a:moveTo>
                    <a:pt x="174" y="26"/>
                  </a:moveTo>
                  <a:cubicBezTo>
                    <a:pt x="134" y="24"/>
                    <a:pt x="118" y="57"/>
                    <a:pt x="88" y="81"/>
                  </a:cubicBezTo>
                  <a:cubicBezTo>
                    <a:pt x="85" y="83"/>
                    <a:pt x="82" y="85"/>
                    <a:pt x="79" y="87"/>
                  </a:cubicBezTo>
                  <a:cubicBezTo>
                    <a:pt x="90" y="94"/>
                    <a:pt x="102" y="107"/>
                    <a:pt x="111" y="120"/>
                  </a:cubicBezTo>
                  <a:cubicBezTo>
                    <a:pt x="168" y="86"/>
                    <a:pt x="314" y="44"/>
                    <a:pt x="321" y="23"/>
                  </a:cubicBezTo>
                  <a:cubicBezTo>
                    <a:pt x="330" y="0"/>
                    <a:pt x="233" y="29"/>
                    <a:pt x="174" y="26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4" name="Freeform 175"/>
            <p:cNvSpPr>
              <a:spLocks noEditPoints="1"/>
            </p:cNvSpPr>
            <p:nvPr/>
          </p:nvSpPr>
          <p:spPr bwMode="auto">
            <a:xfrm>
              <a:off x="11999332" y="6234870"/>
              <a:ext cx="581356" cy="633292"/>
            </a:xfrm>
            <a:custGeom>
              <a:avLst/>
              <a:gdLst>
                <a:gd name="T0" fmla="*/ 799 w 1152"/>
                <a:gd name="T1" fmla="*/ 1085 h 1254"/>
                <a:gd name="T2" fmla="*/ 678 w 1152"/>
                <a:gd name="T3" fmla="*/ 1085 h 1254"/>
                <a:gd name="T4" fmla="*/ 594 w 1152"/>
                <a:gd name="T5" fmla="*/ 1125 h 1254"/>
                <a:gd name="T6" fmla="*/ 697 w 1152"/>
                <a:gd name="T7" fmla="*/ 1181 h 1254"/>
                <a:gd name="T8" fmla="*/ 811 w 1152"/>
                <a:gd name="T9" fmla="*/ 1252 h 1254"/>
                <a:gd name="T10" fmla="*/ 837 w 1152"/>
                <a:gd name="T11" fmla="*/ 1184 h 1254"/>
                <a:gd name="T12" fmla="*/ 879 w 1152"/>
                <a:gd name="T13" fmla="*/ 1091 h 1254"/>
                <a:gd name="T14" fmla="*/ 799 w 1152"/>
                <a:gd name="T15" fmla="*/ 1085 h 1254"/>
                <a:gd name="T16" fmla="*/ 228 w 1152"/>
                <a:gd name="T17" fmla="*/ 750 h 1254"/>
                <a:gd name="T18" fmla="*/ 156 w 1152"/>
                <a:gd name="T19" fmla="*/ 768 h 1254"/>
                <a:gd name="T20" fmla="*/ 192 w 1152"/>
                <a:gd name="T21" fmla="*/ 896 h 1254"/>
                <a:gd name="T22" fmla="*/ 234 w 1152"/>
                <a:gd name="T23" fmla="*/ 992 h 1254"/>
                <a:gd name="T24" fmla="*/ 303 w 1152"/>
                <a:gd name="T25" fmla="*/ 950 h 1254"/>
                <a:gd name="T26" fmla="*/ 319 w 1152"/>
                <a:gd name="T27" fmla="*/ 787 h 1254"/>
                <a:gd name="T28" fmla="*/ 228 w 1152"/>
                <a:gd name="T29" fmla="*/ 750 h 1254"/>
                <a:gd name="T30" fmla="*/ 951 w 1152"/>
                <a:gd name="T31" fmla="*/ 703 h 1254"/>
                <a:gd name="T32" fmla="*/ 877 w 1152"/>
                <a:gd name="T33" fmla="*/ 644 h 1254"/>
                <a:gd name="T34" fmla="*/ 722 w 1152"/>
                <a:gd name="T35" fmla="*/ 485 h 1254"/>
                <a:gd name="T36" fmla="*/ 582 w 1152"/>
                <a:gd name="T37" fmla="*/ 342 h 1254"/>
                <a:gd name="T38" fmla="*/ 584 w 1152"/>
                <a:gd name="T39" fmla="*/ 241 h 1254"/>
                <a:gd name="T40" fmla="*/ 628 w 1152"/>
                <a:gd name="T41" fmla="*/ 185 h 1254"/>
                <a:gd name="T42" fmla="*/ 633 w 1152"/>
                <a:gd name="T43" fmla="*/ 52 h 1254"/>
                <a:gd name="T44" fmla="*/ 582 w 1152"/>
                <a:gd name="T45" fmla="*/ 42 h 1254"/>
                <a:gd name="T46" fmla="*/ 562 w 1152"/>
                <a:gd name="T47" fmla="*/ 0 h 1254"/>
                <a:gd name="T48" fmla="*/ 482 w 1152"/>
                <a:gd name="T49" fmla="*/ 11 h 1254"/>
                <a:gd name="T50" fmla="*/ 420 w 1152"/>
                <a:gd name="T51" fmla="*/ 31 h 1254"/>
                <a:gd name="T52" fmla="*/ 408 w 1152"/>
                <a:gd name="T53" fmla="*/ 24 h 1254"/>
                <a:gd name="T54" fmla="*/ 389 w 1152"/>
                <a:gd name="T55" fmla="*/ 42 h 1254"/>
                <a:gd name="T56" fmla="*/ 374 w 1152"/>
                <a:gd name="T57" fmla="*/ 66 h 1254"/>
                <a:gd name="T58" fmla="*/ 344 w 1152"/>
                <a:gd name="T59" fmla="*/ 77 h 1254"/>
                <a:gd name="T60" fmla="*/ 297 w 1152"/>
                <a:gd name="T61" fmla="*/ 89 h 1254"/>
                <a:gd name="T62" fmla="*/ 262 w 1152"/>
                <a:gd name="T63" fmla="*/ 110 h 1254"/>
                <a:gd name="T64" fmla="*/ 235 w 1152"/>
                <a:gd name="T65" fmla="*/ 145 h 1254"/>
                <a:gd name="T66" fmla="*/ 179 w 1152"/>
                <a:gd name="T67" fmla="*/ 77 h 1254"/>
                <a:gd name="T68" fmla="*/ 129 w 1152"/>
                <a:gd name="T69" fmla="*/ 148 h 1254"/>
                <a:gd name="T70" fmla="*/ 44 w 1152"/>
                <a:gd name="T71" fmla="*/ 154 h 1254"/>
                <a:gd name="T72" fmla="*/ 55 w 1152"/>
                <a:gd name="T73" fmla="*/ 201 h 1254"/>
                <a:gd name="T74" fmla="*/ 35 w 1152"/>
                <a:gd name="T75" fmla="*/ 241 h 1254"/>
                <a:gd name="T76" fmla="*/ 15 w 1152"/>
                <a:gd name="T77" fmla="*/ 266 h 1254"/>
                <a:gd name="T78" fmla="*/ 44 w 1152"/>
                <a:gd name="T79" fmla="*/ 317 h 1254"/>
                <a:gd name="T80" fmla="*/ 66 w 1152"/>
                <a:gd name="T81" fmla="*/ 365 h 1254"/>
                <a:gd name="T82" fmla="*/ 113 w 1152"/>
                <a:gd name="T83" fmla="*/ 381 h 1254"/>
                <a:gd name="T84" fmla="*/ 102 w 1152"/>
                <a:gd name="T85" fmla="*/ 415 h 1254"/>
                <a:gd name="T86" fmla="*/ 150 w 1152"/>
                <a:gd name="T87" fmla="*/ 401 h 1254"/>
                <a:gd name="T88" fmla="*/ 219 w 1152"/>
                <a:gd name="T89" fmla="*/ 342 h 1254"/>
                <a:gd name="T90" fmla="*/ 359 w 1152"/>
                <a:gd name="T91" fmla="*/ 401 h 1254"/>
                <a:gd name="T92" fmla="*/ 390 w 1152"/>
                <a:gd name="T93" fmla="*/ 460 h 1254"/>
                <a:gd name="T94" fmla="*/ 485 w 1152"/>
                <a:gd name="T95" fmla="*/ 581 h 1254"/>
                <a:gd name="T96" fmla="*/ 620 w 1152"/>
                <a:gd name="T97" fmla="*/ 697 h 1254"/>
                <a:gd name="T98" fmla="*/ 716 w 1152"/>
                <a:gd name="T99" fmla="*/ 739 h 1254"/>
                <a:gd name="T100" fmla="*/ 803 w 1152"/>
                <a:gd name="T101" fmla="*/ 796 h 1254"/>
                <a:gd name="T102" fmla="*/ 874 w 1152"/>
                <a:gd name="T103" fmla="*/ 855 h 1254"/>
                <a:gd name="T104" fmla="*/ 907 w 1152"/>
                <a:gd name="T105" fmla="*/ 914 h 1254"/>
                <a:gd name="T106" fmla="*/ 911 w 1152"/>
                <a:gd name="T107" fmla="*/ 1022 h 1254"/>
                <a:gd name="T108" fmla="*/ 916 w 1152"/>
                <a:gd name="T109" fmla="*/ 1102 h 1254"/>
                <a:gd name="T110" fmla="*/ 966 w 1152"/>
                <a:gd name="T111" fmla="*/ 1019 h 1254"/>
                <a:gd name="T112" fmla="*/ 1023 w 1152"/>
                <a:gd name="T113" fmla="*/ 960 h 1254"/>
                <a:gd name="T114" fmla="*/ 978 w 1152"/>
                <a:gd name="T115" fmla="*/ 882 h 1254"/>
                <a:gd name="T116" fmla="*/ 1073 w 1152"/>
                <a:gd name="T117" fmla="*/ 839 h 1254"/>
                <a:gd name="T118" fmla="*/ 1149 w 1152"/>
                <a:gd name="T119" fmla="*/ 843 h 1254"/>
                <a:gd name="T120" fmla="*/ 951 w 1152"/>
                <a:gd name="T121" fmla="*/ 703 h 1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2" h="1254">
                  <a:moveTo>
                    <a:pt x="799" y="1085"/>
                  </a:moveTo>
                  <a:cubicBezTo>
                    <a:pt x="738" y="1099"/>
                    <a:pt x="713" y="1103"/>
                    <a:pt x="678" y="1085"/>
                  </a:cubicBezTo>
                  <a:cubicBezTo>
                    <a:pt x="643" y="1068"/>
                    <a:pt x="585" y="1102"/>
                    <a:pt x="594" y="1125"/>
                  </a:cubicBezTo>
                  <a:cubicBezTo>
                    <a:pt x="600" y="1142"/>
                    <a:pt x="623" y="1162"/>
                    <a:pt x="697" y="1181"/>
                  </a:cubicBezTo>
                  <a:cubicBezTo>
                    <a:pt x="771" y="1201"/>
                    <a:pt x="780" y="1251"/>
                    <a:pt x="811" y="1252"/>
                  </a:cubicBezTo>
                  <a:cubicBezTo>
                    <a:pt x="842" y="1254"/>
                    <a:pt x="845" y="1224"/>
                    <a:pt x="837" y="1184"/>
                  </a:cubicBezTo>
                  <a:cubicBezTo>
                    <a:pt x="830" y="1144"/>
                    <a:pt x="874" y="1099"/>
                    <a:pt x="879" y="1091"/>
                  </a:cubicBezTo>
                  <a:cubicBezTo>
                    <a:pt x="883" y="1084"/>
                    <a:pt x="859" y="1072"/>
                    <a:pt x="799" y="1085"/>
                  </a:cubicBezTo>
                  <a:close/>
                  <a:moveTo>
                    <a:pt x="228" y="750"/>
                  </a:moveTo>
                  <a:cubicBezTo>
                    <a:pt x="195" y="778"/>
                    <a:pt x="169" y="746"/>
                    <a:pt x="156" y="768"/>
                  </a:cubicBezTo>
                  <a:cubicBezTo>
                    <a:pt x="139" y="796"/>
                    <a:pt x="206" y="839"/>
                    <a:pt x="192" y="896"/>
                  </a:cubicBezTo>
                  <a:cubicBezTo>
                    <a:pt x="179" y="954"/>
                    <a:pt x="200" y="1026"/>
                    <a:pt x="234" y="992"/>
                  </a:cubicBezTo>
                  <a:cubicBezTo>
                    <a:pt x="268" y="959"/>
                    <a:pt x="284" y="975"/>
                    <a:pt x="303" y="950"/>
                  </a:cubicBezTo>
                  <a:cubicBezTo>
                    <a:pt x="322" y="925"/>
                    <a:pt x="306" y="832"/>
                    <a:pt x="319" y="787"/>
                  </a:cubicBezTo>
                  <a:cubicBezTo>
                    <a:pt x="333" y="743"/>
                    <a:pt x="260" y="722"/>
                    <a:pt x="228" y="750"/>
                  </a:cubicBezTo>
                  <a:close/>
                  <a:moveTo>
                    <a:pt x="951" y="703"/>
                  </a:moveTo>
                  <a:cubicBezTo>
                    <a:pt x="913" y="680"/>
                    <a:pt x="938" y="641"/>
                    <a:pt x="877" y="644"/>
                  </a:cubicBezTo>
                  <a:cubicBezTo>
                    <a:pt x="817" y="647"/>
                    <a:pt x="744" y="572"/>
                    <a:pt x="722" y="485"/>
                  </a:cubicBezTo>
                  <a:cubicBezTo>
                    <a:pt x="700" y="398"/>
                    <a:pt x="606" y="393"/>
                    <a:pt x="582" y="342"/>
                  </a:cubicBezTo>
                  <a:cubicBezTo>
                    <a:pt x="558" y="290"/>
                    <a:pt x="604" y="284"/>
                    <a:pt x="584" y="241"/>
                  </a:cubicBezTo>
                  <a:cubicBezTo>
                    <a:pt x="572" y="217"/>
                    <a:pt x="598" y="196"/>
                    <a:pt x="628" y="185"/>
                  </a:cubicBezTo>
                  <a:cubicBezTo>
                    <a:pt x="625" y="137"/>
                    <a:pt x="629" y="86"/>
                    <a:pt x="633" y="52"/>
                  </a:cubicBezTo>
                  <a:cubicBezTo>
                    <a:pt x="609" y="50"/>
                    <a:pt x="589" y="46"/>
                    <a:pt x="582" y="42"/>
                  </a:cubicBezTo>
                  <a:cubicBezTo>
                    <a:pt x="571" y="35"/>
                    <a:pt x="569" y="0"/>
                    <a:pt x="562" y="0"/>
                  </a:cubicBezTo>
                  <a:cubicBezTo>
                    <a:pt x="556" y="0"/>
                    <a:pt x="494" y="0"/>
                    <a:pt x="482" y="11"/>
                  </a:cubicBezTo>
                  <a:cubicBezTo>
                    <a:pt x="471" y="22"/>
                    <a:pt x="438" y="42"/>
                    <a:pt x="420" y="31"/>
                  </a:cubicBezTo>
                  <a:cubicBezTo>
                    <a:pt x="417" y="29"/>
                    <a:pt x="412" y="26"/>
                    <a:pt x="408" y="24"/>
                  </a:cubicBezTo>
                  <a:cubicBezTo>
                    <a:pt x="389" y="42"/>
                    <a:pt x="389" y="42"/>
                    <a:pt x="389" y="42"/>
                  </a:cubicBezTo>
                  <a:cubicBezTo>
                    <a:pt x="389" y="42"/>
                    <a:pt x="386" y="66"/>
                    <a:pt x="374" y="66"/>
                  </a:cubicBezTo>
                  <a:cubicBezTo>
                    <a:pt x="362" y="66"/>
                    <a:pt x="344" y="57"/>
                    <a:pt x="344" y="77"/>
                  </a:cubicBezTo>
                  <a:cubicBezTo>
                    <a:pt x="344" y="98"/>
                    <a:pt x="312" y="92"/>
                    <a:pt x="297" y="89"/>
                  </a:cubicBezTo>
                  <a:cubicBezTo>
                    <a:pt x="283" y="86"/>
                    <a:pt x="262" y="92"/>
                    <a:pt x="262" y="110"/>
                  </a:cubicBezTo>
                  <a:cubicBezTo>
                    <a:pt x="262" y="128"/>
                    <a:pt x="259" y="166"/>
                    <a:pt x="235" y="145"/>
                  </a:cubicBezTo>
                  <a:cubicBezTo>
                    <a:pt x="212" y="125"/>
                    <a:pt x="188" y="72"/>
                    <a:pt x="179" y="77"/>
                  </a:cubicBezTo>
                  <a:cubicBezTo>
                    <a:pt x="170" y="83"/>
                    <a:pt x="150" y="148"/>
                    <a:pt x="129" y="148"/>
                  </a:cubicBezTo>
                  <a:cubicBezTo>
                    <a:pt x="116" y="148"/>
                    <a:pt x="74" y="152"/>
                    <a:pt x="44" y="154"/>
                  </a:cubicBezTo>
                  <a:cubicBezTo>
                    <a:pt x="36" y="180"/>
                    <a:pt x="44" y="195"/>
                    <a:pt x="55" y="201"/>
                  </a:cubicBezTo>
                  <a:cubicBezTo>
                    <a:pt x="66" y="208"/>
                    <a:pt x="49" y="235"/>
                    <a:pt x="35" y="241"/>
                  </a:cubicBezTo>
                  <a:cubicBezTo>
                    <a:pt x="22" y="248"/>
                    <a:pt x="0" y="241"/>
                    <a:pt x="15" y="266"/>
                  </a:cubicBezTo>
                  <a:cubicBezTo>
                    <a:pt x="31" y="290"/>
                    <a:pt x="60" y="292"/>
                    <a:pt x="44" y="317"/>
                  </a:cubicBezTo>
                  <a:cubicBezTo>
                    <a:pt x="29" y="341"/>
                    <a:pt x="44" y="363"/>
                    <a:pt x="66" y="365"/>
                  </a:cubicBezTo>
                  <a:cubicBezTo>
                    <a:pt x="88" y="367"/>
                    <a:pt x="119" y="363"/>
                    <a:pt x="113" y="381"/>
                  </a:cubicBezTo>
                  <a:cubicBezTo>
                    <a:pt x="109" y="391"/>
                    <a:pt x="103" y="403"/>
                    <a:pt x="102" y="415"/>
                  </a:cubicBezTo>
                  <a:cubicBezTo>
                    <a:pt x="119" y="409"/>
                    <a:pt x="134" y="409"/>
                    <a:pt x="150" y="401"/>
                  </a:cubicBezTo>
                  <a:cubicBezTo>
                    <a:pt x="181" y="384"/>
                    <a:pt x="167" y="356"/>
                    <a:pt x="219" y="342"/>
                  </a:cubicBezTo>
                  <a:cubicBezTo>
                    <a:pt x="271" y="327"/>
                    <a:pt x="339" y="370"/>
                    <a:pt x="359" y="401"/>
                  </a:cubicBezTo>
                  <a:cubicBezTo>
                    <a:pt x="380" y="432"/>
                    <a:pt x="386" y="435"/>
                    <a:pt x="390" y="460"/>
                  </a:cubicBezTo>
                  <a:cubicBezTo>
                    <a:pt x="395" y="485"/>
                    <a:pt x="414" y="535"/>
                    <a:pt x="485" y="581"/>
                  </a:cubicBezTo>
                  <a:cubicBezTo>
                    <a:pt x="556" y="627"/>
                    <a:pt x="584" y="678"/>
                    <a:pt x="620" y="697"/>
                  </a:cubicBezTo>
                  <a:cubicBezTo>
                    <a:pt x="657" y="717"/>
                    <a:pt x="694" y="712"/>
                    <a:pt x="716" y="739"/>
                  </a:cubicBezTo>
                  <a:cubicBezTo>
                    <a:pt x="739" y="765"/>
                    <a:pt x="768" y="780"/>
                    <a:pt x="803" y="796"/>
                  </a:cubicBezTo>
                  <a:cubicBezTo>
                    <a:pt x="839" y="812"/>
                    <a:pt x="840" y="851"/>
                    <a:pt x="874" y="855"/>
                  </a:cubicBezTo>
                  <a:cubicBezTo>
                    <a:pt x="908" y="860"/>
                    <a:pt x="886" y="889"/>
                    <a:pt x="907" y="914"/>
                  </a:cubicBezTo>
                  <a:cubicBezTo>
                    <a:pt x="927" y="939"/>
                    <a:pt x="933" y="992"/>
                    <a:pt x="911" y="1022"/>
                  </a:cubicBezTo>
                  <a:cubicBezTo>
                    <a:pt x="889" y="1052"/>
                    <a:pt x="901" y="1102"/>
                    <a:pt x="916" y="1102"/>
                  </a:cubicBezTo>
                  <a:cubicBezTo>
                    <a:pt x="930" y="1102"/>
                    <a:pt x="961" y="1049"/>
                    <a:pt x="966" y="1019"/>
                  </a:cubicBezTo>
                  <a:cubicBezTo>
                    <a:pt x="970" y="989"/>
                    <a:pt x="1000" y="991"/>
                    <a:pt x="1023" y="960"/>
                  </a:cubicBezTo>
                  <a:cubicBezTo>
                    <a:pt x="1047" y="929"/>
                    <a:pt x="988" y="922"/>
                    <a:pt x="978" y="882"/>
                  </a:cubicBezTo>
                  <a:cubicBezTo>
                    <a:pt x="967" y="842"/>
                    <a:pt x="1022" y="806"/>
                    <a:pt x="1073" y="839"/>
                  </a:cubicBezTo>
                  <a:cubicBezTo>
                    <a:pt x="1125" y="871"/>
                    <a:pt x="1146" y="894"/>
                    <a:pt x="1149" y="843"/>
                  </a:cubicBezTo>
                  <a:cubicBezTo>
                    <a:pt x="1152" y="793"/>
                    <a:pt x="989" y="727"/>
                    <a:pt x="951" y="703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5" name="Freeform 176"/>
            <p:cNvSpPr>
              <a:spLocks/>
            </p:cNvSpPr>
            <p:nvPr/>
          </p:nvSpPr>
          <p:spPr bwMode="auto">
            <a:xfrm>
              <a:off x="12580687" y="6467747"/>
              <a:ext cx="60314" cy="80418"/>
            </a:xfrm>
            <a:custGeom>
              <a:avLst/>
              <a:gdLst>
                <a:gd name="T0" fmla="*/ 42 w 120"/>
                <a:gd name="T1" fmla="*/ 0 h 160"/>
                <a:gd name="T2" fmla="*/ 4 w 120"/>
                <a:gd name="T3" fmla="*/ 74 h 160"/>
                <a:gd name="T4" fmla="*/ 0 w 120"/>
                <a:gd name="T5" fmla="*/ 105 h 160"/>
                <a:gd name="T6" fmla="*/ 70 w 120"/>
                <a:gd name="T7" fmla="*/ 158 h 160"/>
                <a:gd name="T8" fmla="*/ 75 w 120"/>
                <a:gd name="T9" fmla="*/ 160 h 160"/>
                <a:gd name="T10" fmla="*/ 120 w 120"/>
                <a:gd name="T11" fmla="*/ 90 h 160"/>
                <a:gd name="T12" fmla="*/ 42 w 120"/>
                <a:gd name="T13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60">
                  <a:moveTo>
                    <a:pt x="42" y="0"/>
                  </a:moveTo>
                  <a:cubicBezTo>
                    <a:pt x="21" y="28"/>
                    <a:pt x="1" y="63"/>
                    <a:pt x="4" y="74"/>
                  </a:cubicBezTo>
                  <a:cubicBezTo>
                    <a:pt x="5" y="79"/>
                    <a:pt x="3" y="91"/>
                    <a:pt x="0" y="105"/>
                  </a:cubicBezTo>
                  <a:cubicBezTo>
                    <a:pt x="26" y="126"/>
                    <a:pt x="51" y="148"/>
                    <a:pt x="70" y="158"/>
                  </a:cubicBezTo>
                  <a:cubicBezTo>
                    <a:pt x="72" y="159"/>
                    <a:pt x="74" y="159"/>
                    <a:pt x="75" y="160"/>
                  </a:cubicBezTo>
                  <a:cubicBezTo>
                    <a:pt x="81" y="128"/>
                    <a:pt x="104" y="94"/>
                    <a:pt x="120" y="90"/>
                  </a:cubicBezTo>
                  <a:cubicBezTo>
                    <a:pt x="97" y="62"/>
                    <a:pt x="64" y="22"/>
                    <a:pt x="42" y="0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  <p:sp>
          <p:nvSpPr>
            <p:cNvPr id="176" name="Freeform 177"/>
            <p:cNvSpPr>
              <a:spLocks/>
            </p:cNvSpPr>
            <p:nvPr/>
          </p:nvSpPr>
          <p:spPr bwMode="auto">
            <a:xfrm>
              <a:off x="12595766" y="6288482"/>
              <a:ext cx="207747" cy="251307"/>
            </a:xfrm>
            <a:custGeom>
              <a:avLst/>
              <a:gdLst>
                <a:gd name="T0" fmla="*/ 363 w 414"/>
                <a:gd name="T1" fmla="*/ 332 h 498"/>
                <a:gd name="T2" fmla="*/ 363 w 414"/>
                <a:gd name="T3" fmla="*/ 263 h 498"/>
                <a:gd name="T4" fmla="*/ 365 w 414"/>
                <a:gd name="T5" fmla="*/ 210 h 498"/>
                <a:gd name="T6" fmla="*/ 254 w 414"/>
                <a:gd name="T7" fmla="*/ 177 h 498"/>
                <a:gd name="T8" fmla="*/ 241 w 414"/>
                <a:gd name="T9" fmla="*/ 115 h 498"/>
                <a:gd name="T10" fmla="*/ 208 w 414"/>
                <a:gd name="T11" fmla="*/ 80 h 498"/>
                <a:gd name="T12" fmla="*/ 172 w 414"/>
                <a:gd name="T13" fmla="*/ 22 h 498"/>
                <a:gd name="T14" fmla="*/ 175 w 414"/>
                <a:gd name="T15" fmla="*/ 18 h 498"/>
                <a:gd name="T16" fmla="*/ 147 w 414"/>
                <a:gd name="T17" fmla="*/ 13 h 498"/>
                <a:gd name="T18" fmla="*/ 104 w 414"/>
                <a:gd name="T19" fmla="*/ 0 h 498"/>
                <a:gd name="T20" fmla="*/ 0 w 414"/>
                <a:gd name="T21" fmla="*/ 33 h 498"/>
                <a:gd name="T22" fmla="*/ 26 w 414"/>
                <a:gd name="T23" fmla="*/ 93 h 498"/>
                <a:gd name="T24" fmla="*/ 58 w 414"/>
                <a:gd name="T25" fmla="*/ 165 h 498"/>
                <a:gd name="T26" fmla="*/ 50 w 414"/>
                <a:gd name="T27" fmla="*/ 319 h 498"/>
                <a:gd name="T28" fmla="*/ 13 w 414"/>
                <a:gd name="T29" fmla="*/ 356 h 498"/>
                <a:gd name="T30" fmla="*/ 91 w 414"/>
                <a:gd name="T31" fmla="*/ 446 h 498"/>
                <a:gd name="T32" fmla="*/ 94 w 414"/>
                <a:gd name="T33" fmla="*/ 445 h 498"/>
                <a:gd name="T34" fmla="*/ 187 w 414"/>
                <a:gd name="T35" fmla="*/ 498 h 498"/>
                <a:gd name="T36" fmla="*/ 359 w 414"/>
                <a:gd name="T37" fmla="*/ 466 h 498"/>
                <a:gd name="T38" fmla="*/ 361 w 414"/>
                <a:gd name="T39" fmla="*/ 436 h 498"/>
                <a:gd name="T40" fmla="*/ 394 w 414"/>
                <a:gd name="T41" fmla="*/ 396 h 498"/>
                <a:gd name="T42" fmla="*/ 363 w 414"/>
                <a:gd name="T43" fmla="*/ 332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14" h="498">
                  <a:moveTo>
                    <a:pt x="363" y="332"/>
                  </a:moveTo>
                  <a:cubicBezTo>
                    <a:pt x="341" y="312"/>
                    <a:pt x="343" y="277"/>
                    <a:pt x="363" y="263"/>
                  </a:cubicBezTo>
                  <a:cubicBezTo>
                    <a:pt x="383" y="250"/>
                    <a:pt x="365" y="232"/>
                    <a:pt x="365" y="210"/>
                  </a:cubicBezTo>
                  <a:cubicBezTo>
                    <a:pt x="365" y="188"/>
                    <a:pt x="270" y="182"/>
                    <a:pt x="254" y="177"/>
                  </a:cubicBezTo>
                  <a:cubicBezTo>
                    <a:pt x="239" y="173"/>
                    <a:pt x="265" y="115"/>
                    <a:pt x="241" y="115"/>
                  </a:cubicBezTo>
                  <a:cubicBezTo>
                    <a:pt x="217" y="115"/>
                    <a:pt x="208" y="97"/>
                    <a:pt x="208" y="80"/>
                  </a:cubicBezTo>
                  <a:cubicBezTo>
                    <a:pt x="208" y="62"/>
                    <a:pt x="170" y="33"/>
                    <a:pt x="172" y="22"/>
                  </a:cubicBezTo>
                  <a:cubicBezTo>
                    <a:pt x="173" y="21"/>
                    <a:pt x="174" y="19"/>
                    <a:pt x="175" y="18"/>
                  </a:cubicBezTo>
                  <a:cubicBezTo>
                    <a:pt x="161" y="16"/>
                    <a:pt x="151" y="14"/>
                    <a:pt x="147" y="13"/>
                  </a:cubicBezTo>
                  <a:cubicBezTo>
                    <a:pt x="131" y="10"/>
                    <a:pt x="104" y="0"/>
                    <a:pt x="104" y="0"/>
                  </a:cubicBezTo>
                  <a:cubicBezTo>
                    <a:pt x="104" y="0"/>
                    <a:pt x="43" y="20"/>
                    <a:pt x="0" y="33"/>
                  </a:cubicBezTo>
                  <a:cubicBezTo>
                    <a:pt x="3" y="59"/>
                    <a:pt x="10" y="87"/>
                    <a:pt x="26" y="93"/>
                  </a:cubicBezTo>
                  <a:cubicBezTo>
                    <a:pt x="58" y="105"/>
                    <a:pt x="46" y="137"/>
                    <a:pt x="58" y="165"/>
                  </a:cubicBezTo>
                  <a:cubicBezTo>
                    <a:pt x="70" y="192"/>
                    <a:pt x="66" y="319"/>
                    <a:pt x="50" y="319"/>
                  </a:cubicBezTo>
                  <a:cubicBezTo>
                    <a:pt x="43" y="319"/>
                    <a:pt x="28" y="336"/>
                    <a:pt x="13" y="356"/>
                  </a:cubicBezTo>
                  <a:cubicBezTo>
                    <a:pt x="35" y="378"/>
                    <a:pt x="68" y="418"/>
                    <a:pt x="91" y="446"/>
                  </a:cubicBezTo>
                  <a:cubicBezTo>
                    <a:pt x="92" y="446"/>
                    <a:pt x="93" y="445"/>
                    <a:pt x="94" y="445"/>
                  </a:cubicBezTo>
                  <a:cubicBezTo>
                    <a:pt x="114" y="445"/>
                    <a:pt x="187" y="498"/>
                    <a:pt x="187" y="498"/>
                  </a:cubicBezTo>
                  <a:cubicBezTo>
                    <a:pt x="187" y="498"/>
                    <a:pt x="289" y="476"/>
                    <a:pt x="359" y="466"/>
                  </a:cubicBezTo>
                  <a:cubicBezTo>
                    <a:pt x="360" y="456"/>
                    <a:pt x="362" y="444"/>
                    <a:pt x="361" y="436"/>
                  </a:cubicBezTo>
                  <a:cubicBezTo>
                    <a:pt x="358" y="423"/>
                    <a:pt x="374" y="396"/>
                    <a:pt x="394" y="396"/>
                  </a:cubicBezTo>
                  <a:cubicBezTo>
                    <a:pt x="414" y="396"/>
                    <a:pt x="385" y="352"/>
                    <a:pt x="363" y="332"/>
                  </a:cubicBez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>
                <a:latin typeface="Montserrat SemiBold" panose="00000700000000000000" pitchFamily="50" charset="0"/>
              </a:endParaRPr>
            </a:p>
          </p:txBody>
        </p:sp>
      </p:grpSp>
      <p:sp>
        <p:nvSpPr>
          <p:cNvPr id="178" name="Title 2"/>
          <p:cNvSpPr txBox="1">
            <a:spLocks/>
          </p:cNvSpPr>
          <p:nvPr/>
        </p:nvSpPr>
        <p:spPr>
          <a:xfrm>
            <a:off x="3122638" y="2689535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EUA</a:t>
            </a:r>
          </a:p>
        </p:txBody>
      </p:sp>
      <p:sp>
        <p:nvSpPr>
          <p:cNvPr id="204" name="Oval 203"/>
          <p:cNvSpPr/>
          <p:nvPr/>
        </p:nvSpPr>
        <p:spPr>
          <a:xfrm>
            <a:off x="2999066" y="2706537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05" name="Title 2"/>
          <p:cNvSpPr txBox="1">
            <a:spLocks/>
          </p:cNvSpPr>
          <p:nvPr/>
        </p:nvSpPr>
        <p:spPr>
          <a:xfrm>
            <a:off x="3855584" y="3424931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BRASIL</a:t>
            </a:r>
          </a:p>
        </p:txBody>
      </p:sp>
      <p:sp>
        <p:nvSpPr>
          <p:cNvPr id="206" name="Oval 205"/>
          <p:cNvSpPr/>
          <p:nvPr/>
        </p:nvSpPr>
        <p:spPr>
          <a:xfrm>
            <a:off x="3707249" y="3441933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07" name="Title 2"/>
          <p:cNvSpPr txBox="1">
            <a:spLocks/>
          </p:cNvSpPr>
          <p:nvPr/>
        </p:nvSpPr>
        <p:spPr>
          <a:xfrm>
            <a:off x="4895044" y="3789652"/>
            <a:ext cx="810766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ÁFRICA DO SUL</a:t>
            </a:r>
          </a:p>
        </p:txBody>
      </p:sp>
      <p:sp>
        <p:nvSpPr>
          <p:cNvPr id="208" name="Oval 207"/>
          <p:cNvSpPr/>
          <p:nvPr/>
        </p:nvSpPr>
        <p:spPr>
          <a:xfrm>
            <a:off x="4746709" y="3806654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09" name="Title 2"/>
          <p:cNvSpPr txBox="1">
            <a:spLocks/>
          </p:cNvSpPr>
          <p:nvPr/>
        </p:nvSpPr>
        <p:spPr>
          <a:xfrm>
            <a:off x="6890612" y="3768832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AUSTRÁLIA</a:t>
            </a:r>
          </a:p>
        </p:txBody>
      </p:sp>
      <p:sp>
        <p:nvSpPr>
          <p:cNvPr id="210" name="Oval 209"/>
          <p:cNvSpPr/>
          <p:nvPr/>
        </p:nvSpPr>
        <p:spPr>
          <a:xfrm>
            <a:off x="6742277" y="3785834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1" name="Title 2"/>
          <p:cNvSpPr txBox="1">
            <a:spLocks/>
          </p:cNvSpPr>
          <p:nvPr/>
        </p:nvSpPr>
        <p:spPr>
          <a:xfrm>
            <a:off x="6323576" y="2873636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China</a:t>
            </a:r>
          </a:p>
        </p:txBody>
      </p:sp>
      <p:sp>
        <p:nvSpPr>
          <p:cNvPr id="212" name="Oval 211"/>
          <p:cNvSpPr/>
          <p:nvPr/>
        </p:nvSpPr>
        <p:spPr>
          <a:xfrm>
            <a:off x="6175241" y="2890638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3" name="Title 2"/>
          <p:cNvSpPr txBox="1">
            <a:spLocks/>
          </p:cNvSpPr>
          <p:nvPr/>
        </p:nvSpPr>
        <p:spPr>
          <a:xfrm>
            <a:off x="6725503" y="2644459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JAPÃO</a:t>
            </a:r>
          </a:p>
        </p:txBody>
      </p:sp>
      <p:sp>
        <p:nvSpPr>
          <p:cNvPr id="214" name="Oval 213"/>
          <p:cNvSpPr/>
          <p:nvPr/>
        </p:nvSpPr>
        <p:spPr>
          <a:xfrm>
            <a:off x="6577168" y="2661461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5" name="Title 2"/>
          <p:cNvSpPr txBox="1">
            <a:spLocks/>
          </p:cNvSpPr>
          <p:nvPr/>
        </p:nvSpPr>
        <p:spPr>
          <a:xfrm>
            <a:off x="4875267" y="3054684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ÍNDIA</a:t>
            </a:r>
          </a:p>
        </p:txBody>
      </p:sp>
      <p:sp>
        <p:nvSpPr>
          <p:cNvPr id="216" name="Oval 215"/>
          <p:cNvSpPr/>
          <p:nvPr/>
        </p:nvSpPr>
        <p:spPr>
          <a:xfrm>
            <a:off x="5601312" y="3071686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7" name="Title 2"/>
          <p:cNvSpPr txBox="1">
            <a:spLocks/>
          </p:cNvSpPr>
          <p:nvPr/>
        </p:nvSpPr>
        <p:spPr>
          <a:xfrm>
            <a:off x="3541998" y="2609126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ESPANHA</a:t>
            </a:r>
          </a:p>
        </p:txBody>
      </p:sp>
      <p:sp>
        <p:nvSpPr>
          <p:cNvPr id="218" name="Oval 217"/>
          <p:cNvSpPr/>
          <p:nvPr/>
        </p:nvSpPr>
        <p:spPr>
          <a:xfrm>
            <a:off x="4268043" y="2626128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19" name="Title 2"/>
          <p:cNvSpPr txBox="1">
            <a:spLocks/>
          </p:cNvSpPr>
          <p:nvPr/>
        </p:nvSpPr>
        <p:spPr>
          <a:xfrm>
            <a:off x="3612000" y="2459831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FRANÇA</a:t>
            </a:r>
          </a:p>
        </p:txBody>
      </p:sp>
      <p:sp>
        <p:nvSpPr>
          <p:cNvPr id="220" name="Oval 219"/>
          <p:cNvSpPr/>
          <p:nvPr/>
        </p:nvSpPr>
        <p:spPr>
          <a:xfrm>
            <a:off x="4338045" y="2476833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  <p:sp>
        <p:nvSpPr>
          <p:cNvPr id="221" name="Title 2"/>
          <p:cNvSpPr txBox="1">
            <a:spLocks/>
          </p:cNvSpPr>
          <p:nvPr/>
        </p:nvSpPr>
        <p:spPr>
          <a:xfrm>
            <a:off x="3579018" y="2292325"/>
            <a:ext cx="669990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r"/>
            <a:r>
              <a:rPr lang="en-US" sz="8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UK</a:t>
            </a:r>
          </a:p>
        </p:txBody>
      </p:sp>
      <p:sp>
        <p:nvSpPr>
          <p:cNvPr id="222" name="Oval 221"/>
          <p:cNvSpPr/>
          <p:nvPr/>
        </p:nvSpPr>
        <p:spPr>
          <a:xfrm>
            <a:off x="4305063" y="2309327"/>
            <a:ext cx="104498" cy="104496"/>
          </a:xfrm>
          <a:prstGeom prst="ellipse">
            <a:avLst/>
          </a:prstGeom>
          <a:solidFill>
            <a:schemeClr val="bg1"/>
          </a:solidFill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844514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Duis quis porttitor augue, in sagittis ante vitae iaculis orci sollicitudin</a:t>
            </a:r>
            <a:endParaRPr lang="en-US" dirty="0"/>
          </a:p>
        </p:txBody>
      </p:sp>
      <p:sp>
        <p:nvSpPr>
          <p:cNvPr id="7" name="Freeform 16"/>
          <p:cNvSpPr>
            <a:spLocks noEditPoints="1"/>
          </p:cNvSpPr>
          <p:nvPr/>
        </p:nvSpPr>
        <p:spPr bwMode="auto">
          <a:xfrm>
            <a:off x="1114146" y="1630594"/>
            <a:ext cx="545131" cy="547119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117"/>
          <p:cNvSpPr>
            <a:spLocks noEditPoints="1"/>
          </p:cNvSpPr>
          <p:nvPr/>
        </p:nvSpPr>
        <p:spPr bwMode="auto">
          <a:xfrm>
            <a:off x="3235429" y="1636562"/>
            <a:ext cx="541151" cy="541151"/>
          </a:xfrm>
          <a:custGeom>
            <a:avLst/>
            <a:gdLst>
              <a:gd name="T0" fmla="*/ 353 w 353"/>
              <a:gd name="T1" fmla="*/ 136 h 353"/>
              <a:gd name="T2" fmla="*/ 349 w 353"/>
              <a:gd name="T3" fmla="*/ 97 h 353"/>
              <a:gd name="T4" fmla="*/ 180 w 353"/>
              <a:gd name="T5" fmla="*/ 1 h 353"/>
              <a:gd name="T6" fmla="*/ 176 w 353"/>
              <a:gd name="T7" fmla="*/ 0 h 353"/>
              <a:gd name="T8" fmla="*/ 173 w 353"/>
              <a:gd name="T9" fmla="*/ 1 h 353"/>
              <a:gd name="T10" fmla="*/ 4 w 353"/>
              <a:gd name="T11" fmla="*/ 97 h 353"/>
              <a:gd name="T12" fmla="*/ 0 w 353"/>
              <a:gd name="T13" fmla="*/ 136 h 353"/>
              <a:gd name="T14" fmla="*/ 32 w 353"/>
              <a:gd name="T15" fmla="*/ 144 h 353"/>
              <a:gd name="T16" fmla="*/ 24 w 353"/>
              <a:gd name="T17" fmla="*/ 289 h 353"/>
              <a:gd name="T18" fmla="*/ 16 w 353"/>
              <a:gd name="T19" fmla="*/ 294 h 353"/>
              <a:gd name="T20" fmla="*/ 0 w 353"/>
              <a:gd name="T21" fmla="*/ 342 h 353"/>
              <a:gd name="T22" fmla="*/ 8 w 353"/>
              <a:gd name="T23" fmla="*/ 353 h 353"/>
              <a:gd name="T24" fmla="*/ 353 w 353"/>
              <a:gd name="T25" fmla="*/ 345 h 353"/>
              <a:gd name="T26" fmla="*/ 353 w 353"/>
              <a:gd name="T27" fmla="*/ 342 h 353"/>
              <a:gd name="T28" fmla="*/ 337 w 353"/>
              <a:gd name="T29" fmla="*/ 294 h 353"/>
              <a:gd name="T30" fmla="*/ 321 w 353"/>
              <a:gd name="T31" fmla="*/ 289 h 353"/>
              <a:gd name="T32" fmla="*/ 345 w 353"/>
              <a:gd name="T33" fmla="*/ 144 h 353"/>
              <a:gd name="T34" fmla="*/ 315 w 353"/>
              <a:gd name="T35" fmla="*/ 96 h 353"/>
              <a:gd name="T36" fmla="*/ 176 w 353"/>
              <a:gd name="T37" fmla="*/ 17 h 353"/>
              <a:gd name="T38" fmla="*/ 334 w 353"/>
              <a:gd name="T39" fmla="*/ 337 h 353"/>
              <a:gd name="T40" fmla="*/ 30 w 353"/>
              <a:gd name="T41" fmla="*/ 305 h 353"/>
              <a:gd name="T42" fmla="*/ 48 w 353"/>
              <a:gd name="T43" fmla="*/ 144 h 353"/>
              <a:gd name="T44" fmla="*/ 80 w 353"/>
              <a:gd name="T45" fmla="*/ 289 h 353"/>
              <a:gd name="T46" fmla="*/ 48 w 353"/>
              <a:gd name="T47" fmla="*/ 144 h 353"/>
              <a:gd name="T48" fmla="*/ 128 w 353"/>
              <a:gd name="T49" fmla="*/ 144 h 353"/>
              <a:gd name="T50" fmla="*/ 96 w 353"/>
              <a:gd name="T51" fmla="*/ 289 h 353"/>
              <a:gd name="T52" fmla="*/ 144 w 353"/>
              <a:gd name="T53" fmla="*/ 144 h 353"/>
              <a:gd name="T54" fmla="*/ 209 w 353"/>
              <a:gd name="T55" fmla="*/ 289 h 353"/>
              <a:gd name="T56" fmla="*/ 144 w 353"/>
              <a:gd name="T57" fmla="*/ 144 h 353"/>
              <a:gd name="T58" fmla="*/ 257 w 353"/>
              <a:gd name="T59" fmla="*/ 144 h 353"/>
              <a:gd name="T60" fmla="*/ 225 w 353"/>
              <a:gd name="T61" fmla="*/ 289 h 353"/>
              <a:gd name="T62" fmla="*/ 273 w 353"/>
              <a:gd name="T63" fmla="*/ 144 h 353"/>
              <a:gd name="T64" fmla="*/ 305 w 353"/>
              <a:gd name="T65" fmla="*/ 289 h 353"/>
              <a:gd name="T66" fmla="*/ 273 w 353"/>
              <a:gd name="T67" fmla="*/ 144 h 353"/>
              <a:gd name="T68" fmla="*/ 337 w 353"/>
              <a:gd name="T69" fmla="*/ 112 h 353"/>
              <a:gd name="T70" fmla="*/ 16 w 353"/>
              <a:gd name="T71" fmla="*/ 12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345" y="144"/>
                </a:moveTo>
                <a:cubicBezTo>
                  <a:pt x="350" y="144"/>
                  <a:pt x="353" y="141"/>
                  <a:pt x="353" y="136"/>
                </a:cubicBezTo>
                <a:cubicBezTo>
                  <a:pt x="353" y="104"/>
                  <a:pt x="353" y="104"/>
                  <a:pt x="353" y="104"/>
                </a:cubicBezTo>
                <a:cubicBezTo>
                  <a:pt x="353" y="101"/>
                  <a:pt x="351" y="99"/>
                  <a:pt x="349" y="97"/>
                </a:cubicBezTo>
                <a:cubicBezTo>
                  <a:pt x="349" y="97"/>
                  <a:pt x="349" y="97"/>
                  <a:pt x="349" y="97"/>
                </a:cubicBezTo>
                <a:cubicBezTo>
                  <a:pt x="180" y="1"/>
                  <a:pt x="180" y="1"/>
                  <a:pt x="180" y="1"/>
                </a:cubicBezTo>
                <a:cubicBezTo>
                  <a:pt x="180" y="1"/>
                  <a:pt x="180" y="1"/>
                  <a:pt x="180" y="1"/>
                </a:cubicBezTo>
                <a:cubicBezTo>
                  <a:pt x="179" y="0"/>
                  <a:pt x="178" y="0"/>
                  <a:pt x="176" y="0"/>
                </a:cubicBezTo>
                <a:cubicBezTo>
                  <a:pt x="175" y="0"/>
                  <a:pt x="174" y="0"/>
                  <a:pt x="173" y="1"/>
                </a:cubicBezTo>
                <a:cubicBezTo>
                  <a:pt x="173" y="1"/>
                  <a:pt x="173" y="1"/>
                  <a:pt x="173" y="1"/>
                </a:cubicBezTo>
                <a:cubicBezTo>
                  <a:pt x="4" y="97"/>
                  <a:pt x="4" y="97"/>
                  <a:pt x="4" y="97"/>
                </a:cubicBezTo>
                <a:cubicBezTo>
                  <a:pt x="4" y="97"/>
                  <a:pt x="4" y="97"/>
                  <a:pt x="4" y="97"/>
                </a:cubicBezTo>
                <a:cubicBezTo>
                  <a:pt x="2" y="99"/>
                  <a:pt x="0" y="101"/>
                  <a:pt x="0" y="104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41"/>
                  <a:pt x="3" y="144"/>
                  <a:pt x="8" y="144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4" y="289"/>
                  <a:pt x="24" y="289"/>
                  <a:pt x="24" y="289"/>
                </a:cubicBezTo>
                <a:cubicBezTo>
                  <a:pt x="20" y="289"/>
                  <a:pt x="18" y="291"/>
                  <a:pt x="16" y="294"/>
                </a:cubicBezTo>
                <a:cubicBezTo>
                  <a:pt x="16" y="294"/>
                  <a:pt x="16" y="294"/>
                  <a:pt x="16" y="294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3"/>
                  <a:pt x="0" y="344"/>
                  <a:pt x="0" y="345"/>
                </a:cubicBezTo>
                <a:cubicBezTo>
                  <a:pt x="0" y="349"/>
                  <a:pt x="3" y="353"/>
                  <a:pt x="8" y="353"/>
                </a:cubicBezTo>
                <a:cubicBezTo>
                  <a:pt x="345" y="353"/>
                  <a:pt x="345" y="353"/>
                  <a:pt x="345" y="353"/>
                </a:cubicBezTo>
                <a:cubicBezTo>
                  <a:pt x="350" y="353"/>
                  <a:pt x="353" y="349"/>
                  <a:pt x="353" y="345"/>
                </a:cubicBezTo>
                <a:cubicBezTo>
                  <a:pt x="353" y="344"/>
                  <a:pt x="353" y="343"/>
                  <a:pt x="353" y="342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5" y="291"/>
                  <a:pt x="333" y="289"/>
                  <a:pt x="329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21" y="144"/>
                  <a:pt x="321" y="144"/>
                  <a:pt x="321" y="144"/>
                </a:cubicBezTo>
                <a:lnTo>
                  <a:pt x="345" y="144"/>
                </a:lnTo>
                <a:close/>
                <a:moveTo>
                  <a:pt x="176" y="17"/>
                </a:moveTo>
                <a:cubicBezTo>
                  <a:pt x="315" y="96"/>
                  <a:pt x="315" y="96"/>
                  <a:pt x="315" y="96"/>
                </a:cubicBezTo>
                <a:cubicBezTo>
                  <a:pt x="38" y="96"/>
                  <a:pt x="38" y="96"/>
                  <a:pt x="38" y="96"/>
                </a:cubicBezTo>
                <a:lnTo>
                  <a:pt x="176" y="17"/>
                </a:lnTo>
                <a:close/>
                <a:moveTo>
                  <a:pt x="323" y="305"/>
                </a:moveTo>
                <a:cubicBezTo>
                  <a:pt x="334" y="337"/>
                  <a:pt x="334" y="337"/>
                  <a:pt x="334" y="337"/>
                </a:cubicBezTo>
                <a:cubicBezTo>
                  <a:pt x="19" y="337"/>
                  <a:pt x="19" y="337"/>
                  <a:pt x="19" y="337"/>
                </a:cubicBezTo>
                <a:cubicBezTo>
                  <a:pt x="30" y="305"/>
                  <a:pt x="30" y="305"/>
                  <a:pt x="30" y="305"/>
                </a:cubicBezTo>
                <a:lnTo>
                  <a:pt x="323" y="305"/>
                </a:lnTo>
                <a:close/>
                <a:moveTo>
                  <a:pt x="48" y="144"/>
                </a:moveTo>
                <a:cubicBezTo>
                  <a:pt x="80" y="144"/>
                  <a:pt x="80" y="144"/>
                  <a:pt x="80" y="144"/>
                </a:cubicBezTo>
                <a:cubicBezTo>
                  <a:pt x="80" y="289"/>
                  <a:pt x="80" y="289"/>
                  <a:pt x="80" y="289"/>
                </a:cubicBezTo>
                <a:cubicBezTo>
                  <a:pt x="48" y="289"/>
                  <a:pt x="48" y="289"/>
                  <a:pt x="48" y="289"/>
                </a:cubicBezTo>
                <a:lnTo>
                  <a:pt x="48" y="144"/>
                </a:lnTo>
                <a:close/>
                <a:moveTo>
                  <a:pt x="96" y="144"/>
                </a:moveTo>
                <a:cubicBezTo>
                  <a:pt x="128" y="144"/>
                  <a:pt x="128" y="144"/>
                  <a:pt x="128" y="144"/>
                </a:cubicBezTo>
                <a:cubicBezTo>
                  <a:pt x="128" y="289"/>
                  <a:pt x="128" y="289"/>
                  <a:pt x="128" y="289"/>
                </a:cubicBezTo>
                <a:cubicBezTo>
                  <a:pt x="96" y="289"/>
                  <a:pt x="96" y="289"/>
                  <a:pt x="96" y="289"/>
                </a:cubicBezTo>
                <a:lnTo>
                  <a:pt x="96" y="144"/>
                </a:lnTo>
                <a:close/>
                <a:moveTo>
                  <a:pt x="144" y="144"/>
                </a:moveTo>
                <a:cubicBezTo>
                  <a:pt x="209" y="144"/>
                  <a:pt x="209" y="144"/>
                  <a:pt x="209" y="14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144" y="289"/>
                  <a:pt x="144" y="289"/>
                  <a:pt x="144" y="289"/>
                </a:cubicBezTo>
                <a:lnTo>
                  <a:pt x="144" y="144"/>
                </a:lnTo>
                <a:close/>
                <a:moveTo>
                  <a:pt x="225" y="144"/>
                </a:moveTo>
                <a:cubicBezTo>
                  <a:pt x="257" y="144"/>
                  <a:pt x="257" y="144"/>
                  <a:pt x="257" y="144"/>
                </a:cubicBezTo>
                <a:cubicBezTo>
                  <a:pt x="257" y="289"/>
                  <a:pt x="257" y="289"/>
                  <a:pt x="257" y="289"/>
                </a:cubicBezTo>
                <a:cubicBezTo>
                  <a:pt x="225" y="289"/>
                  <a:pt x="225" y="289"/>
                  <a:pt x="225" y="289"/>
                </a:cubicBezTo>
                <a:lnTo>
                  <a:pt x="225" y="144"/>
                </a:lnTo>
                <a:close/>
                <a:moveTo>
                  <a:pt x="273" y="144"/>
                </a:moveTo>
                <a:cubicBezTo>
                  <a:pt x="305" y="144"/>
                  <a:pt x="305" y="144"/>
                  <a:pt x="305" y="144"/>
                </a:cubicBezTo>
                <a:cubicBezTo>
                  <a:pt x="305" y="289"/>
                  <a:pt x="305" y="289"/>
                  <a:pt x="305" y="289"/>
                </a:cubicBezTo>
                <a:cubicBezTo>
                  <a:pt x="273" y="289"/>
                  <a:pt x="273" y="289"/>
                  <a:pt x="273" y="289"/>
                </a:cubicBezTo>
                <a:lnTo>
                  <a:pt x="273" y="144"/>
                </a:lnTo>
                <a:close/>
                <a:moveTo>
                  <a:pt x="16" y="112"/>
                </a:moveTo>
                <a:cubicBezTo>
                  <a:pt x="337" y="112"/>
                  <a:pt x="337" y="112"/>
                  <a:pt x="337" y="112"/>
                </a:cubicBezTo>
                <a:cubicBezTo>
                  <a:pt x="337" y="128"/>
                  <a:pt x="337" y="128"/>
                  <a:pt x="337" y="128"/>
                </a:cubicBezTo>
                <a:cubicBezTo>
                  <a:pt x="16" y="128"/>
                  <a:pt x="16" y="128"/>
                  <a:pt x="16" y="128"/>
                </a:cubicBezTo>
                <a:lnTo>
                  <a:pt x="16" y="112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14" name="Freeform 25"/>
          <p:cNvSpPr>
            <a:spLocks noEditPoints="1"/>
          </p:cNvSpPr>
          <p:nvPr/>
        </p:nvSpPr>
        <p:spPr bwMode="auto">
          <a:xfrm>
            <a:off x="5353727" y="1632584"/>
            <a:ext cx="543141" cy="545129"/>
          </a:xfrm>
          <a:custGeom>
            <a:avLst/>
            <a:gdLst>
              <a:gd name="T0" fmla="*/ 206 w 353"/>
              <a:gd name="T1" fmla="*/ 166 h 354"/>
              <a:gd name="T2" fmla="*/ 196 w 353"/>
              <a:gd name="T3" fmla="*/ 85 h 354"/>
              <a:gd name="T4" fmla="*/ 209 w 353"/>
              <a:gd name="T5" fmla="*/ 129 h 354"/>
              <a:gd name="T6" fmla="*/ 201 w 353"/>
              <a:gd name="T7" fmla="*/ 138 h 354"/>
              <a:gd name="T8" fmla="*/ 189 w 353"/>
              <a:gd name="T9" fmla="*/ 129 h 354"/>
              <a:gd name="T10" fmla="*/ 177 w 353"/>
              <a:gd name="T11" fmla="*/ 166 h 354"/>
              <a:gd name="T12" fmla="*/ 177 w 353"/>
              <a:gd name="T13" fmla="*/ 173 h 354"/>
              <a:gd name="T14" fmla="*/ 182 w 353"/>
              <a:gd name="T15" fmla="*/ 176 h 354"/>
              <a:gd name="T16" fmla="*/ 215 w 353"/>
              <a:gd name="T17" fmla="*/ 185 h 354"/>
              <a:gd name="T18" fmla="*/ 224 w 353"/>
              <a:gd name="T19" fmla="*/ 173 h 354"/>
              <a:gd name="T20" fmla="*/ 176 w 353"/>
              <a:gd name="T21" fmla="*/ 85 h 354"/>
              <a:gd name="T22" fmla="*/ 172 w 353"/>
              <a:gd name="T23" fmla="*/ 81 h 354"/>
              <a:gd name="T24" fmla="*/ 138 w 353"/>
              <a:gd name="T25" fmla="*/ 73 h 354"/>
              <a:gd name="T26" fmla="*/ 129 w 353"/>
              <a:gd name="T27" fmla="*/ 85 h 354"/>
              <a:gd name="T28" fmla="*/ 146 w 353"/>
              <a:gd name="T29" fmla="*/ 92 h 354"/>
              <a:gd name="T30" fmla="*/ 158 w 353"/>
              <a:gd name="T31" fmla="*/ 173 h 354"/>
              <a:gd name="T32" fmla="*/ 144 w 353"/>
              <a:gd name="T33" fmla="*/ 129 h 354"/>
              <a:gd name="T34" fmla="*/ 153 w 353"/>
              <a:gd name="T35" fmla="*/ 120 h 354"/>
              <a:gd name="T36" fmla="*/ 164 w 353"/>
              <a:gd name="T37" fmla="*/ 129 h 354"/>
              <a:gd name="T38" fmla="*/ 177 w 353"/>
              <a:gd name="T39" fmla="*/ 92 h 354"/>
              <a:gd name="T40" fmla="*/ 321 w 353"/>
              <a:gd name="T41" fmla="*/ 0 h 354"/>
              <a:gd name="T42" fmla="*/ 0 w 353"/>
              <a:gd name="T43" fmla="*/ 33 h 354"/>
              <a:gd name="T44" fmla="*/ 32 w 353"/>
              <a:gd name="T45" fmla="*/ 305 h 354"/>
              <a:gd name="T46" fmla="*/ 144 w 353"/>
              <a:gd name="T47" fmla="*/ 338 h 354"/>
              <a:gd name="T48" fmla="*/ 112 w 353"/>
              <a:gd name="T49" fmla="*/ 346 h 354"/>
              <a:gd name="T50" fmla="*/ 233 w 353"/>
              <a:gd name="T51" fmla="*/ 354 h 354"/>
              <a:gd name="T52" fmla="*/ 233 w 353"/>
              <a:gd name="T53" fmla="*/ 338 h 354"/>
              <a:gd name="T54" fmla="*/ 209 w 353"/>
              <a:gd name="T55" fmla="*/ 305 h 354"/>
              <a:gd name="T56" fmla="*/ 353 w 353"/>
              <a:gd name="T57" fmla="*/ 273 h 354"/>
              <a:gd name="T58" fmla="*/ 321 w 353"/>
              <a:gd name="T59" fmla="*/ 0 h 354"/>
              <a:gd name="T60" fmla="*/ 160 w 353"/>
              <a:gd name="T61" fmla="*/ 338 h 354"/>
              <a:gd name="T62" fmla="*/ 193 w 353"/>
              <a:gd name="T63" fmla="*/ 305 h 354"/>
              <a:gd name="T64" fmla="*/ 337 w 353"/>
              <a:gd name="T65" fmla="*/ 273 h 354"/>
              <a:gd name="T66" fmla="*/ 32 w 353"/>
              <a:gd name="T67" fmla="*/ 289 h 354"/>
              <a:gd name="T68" fmla="*/ 16 w 353"/>
              <a:gd name="T69" fmla="*/ 257 h 354"/>
              <a:gd name="T70" fmla="*/ 337 w 353"/>
              <a:gd name="T71" fmla="*/ 273 h 354"/>
              <a:gd name="T72" fmla="*/ 16 w 353"/>
              <a:gd name="T73" fmla="*/ 241 h 354"/>
              <a:gd name="T74" fmla="*/ 32 w 353"/>
              <a:gd name="T75" fmla="*/ 16 h 354"/>
              <a:gd name="T76" fmla="*/ 337 w 353"/>
              <a:gd name="T77" fmla="*/ 33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53" h="354">
                <a:moveTo>
                  <a:pt x="219" y="170"/>
                </a:moveTo>
                <a:cubicBezTo>
                  <a:pt x="206" y="166"/>
                  <a:pt x="206" y="166"/>
                  <a:pt x="206" y="166"/>
                </a:cubicBezTo>
                <a:cubicBezTo>
                  <a:pt x="217" y="157"/>
                  <a:pt x="225" y="144"/>
                  <a:pt x="225" y="129"/>
                </a:cubicBezTo>
                <a:cubicBezTo>
                  <a:pt x="225" y="109"/>
                  <a:pt x="213" y="92"/>
                  <a:pt x="196" y="85"/>
                </a:cubicBezTo>
                <a:cubicBezTo>
                  <a:pt x="191" y="100"/>
                  <a:pt x="191" y="100"/>
                  <a:pt x="191" y="100"/>
                </a:cubicBezTo>
                <a:cubicBezTo>
                  <a:pt x="202" y="106"/>
                  <a:pt x="209" y="116"/>
                  <a:pt x="209" y="129"/>
                </a:cubicBezTo>
                <a:cubicBezTo>
                  <a:pt x="209" y="139"/>
                  <a:pt x="204" y="148"/>
                  <a:pt x="197" y="154"/>
                </a:cubicBezTo>
                <a:cubicBezTo>
                  <a:pt x="201" y="138"/>
                  <a:pt x="201" y="138"/>
                  <a:pt x="201" y="138"/>
                </a:cubicBezTo>
                <a:cubicBezTo>
                  <a:pt x="201" y="136"/>
                  <a:pt x="201" y="134"/>
                  <a:pt x="200" y="132"/>
                </a:cubicBezTo>
                <a:cubicBezTo>
                  <a:pt x="198" y="128"/>
                  <a:pt x="193" y="126"/>
                  <a:pt x="189" y="129"/>
                </a:cubicBezTo>
                <a:cubicBezTo>
                  <a:pt x="187" y="130"/>
                  <a:pt x="186" y="132"/>
                  <a:pt x="185" y="134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6" y="168"/>
                  <a:pt x="176" y="171"/>
                  <a:pt x="177" y="173"/>
                </a:cubicBezTo>
                <a:cubicBezTo>
                  <a:pt x="178" y="174"/>
                  <a:pt x="180" y="175"/>
                  <a:pt x="182" y="176"/>
                </a:cubicBezTo>
                <a:cubicBezTo>
                  <a:pt x="182" y="176"/>
                  <a:pt x="182" y="176"/>
                  <a:pt x="182" y="176"/>
                </a:cubicBezTo>
                <a:cubicBezTo>
                  <a:pt x="182" y="176"/>
                  <a:pt x="182" y="176"/>
                  <a:pt x="183" y="176"/>
                </a:cubicBezTo>
                <a:cubicBezTo>
                  <a:pt x="215" y="185"/>
                  <a:pt x="215" y="185"/>
                  <a:pt x="215" y="185"/>
                </a:cubicBezTo>
                <a:cubicBezTo>
                  <a:pt x="217" y="186"/>
                  <a:pt x="219" y="185"/>
                  <a:pt x="221" y="184"/>
                </a:cubicBezTo>
                <a:cubicBezTo>
                  <a:pt x="225" y="182"/>
                  <a:pt x="226" y="177"/>
                  <a:pt x="224" y="173"/>
                </a:cubicBezTo>
                <a:cubicBezTo>
                  <a:pt x="223" y="171"/>
                  <a:pt x="221" y="170"/>
                  <a:pt x="219" y="170"/>
                </a:cubicBezTo>
                <a:moveTo>
                  <a:pt x="176" y="85"/>
                </a:moveTo>
                <a:cubicBezTo>
                  <a:pt x="175" y="84"/>
                  <a:pt x="173" y="83"/>
                  <a:pt x="172" y="82"/>
                </a:cubicBezTo>
                <a:cubicBezTo>
                  <a:pt x="172" y="81"/>
                  <a:pt x="172" y="81"/>
                  <a:pt x="172" y="81"/>
                </a:cubicBezTo>
                <a:cubicBezTo>
                  <a:pt x="171" y="81"/>
                  <a:pt x="171" y="81"/>
                  <a:pt x="170" y="81"/>
                </a:cubicBezTo>
                <a:cubicBezTo>
                  <a:pt x="138" y="73"/>
                  <a:pt x="138" y="73"/>
                  <a:pt x="138" y="73"/>
                </a:cubicBezTo>
                <a:cubicBezTo>
                  <a:pt x="136" y="72"/>
                  <a:pt x="134" y="73"/>
                  <a:pt x="132" y="74"/>
                </a:cubicBezTo>
                <a:cubicBezTo>
                  <a:pt x="128" y="76"/>
                  <a:pt x="127" y="81"/>
                  <a:pt x="129" y="85"/>
                </a:cubicBezTo>
                <a:cubicBezTo>
                  <a:pt x="130" y="87"/>
                  <a:pt x="132" y="88"/>
                  <a:pt x="134" y="88"/>
                </a:cubicBezTo>
                <a:cubicBezTo>
                  <a:pt x="146" y="92"/>
                  <a:pt x="146" y="92"/>
                  <a:pt x="146" y="92"/>
                </a:cubicBezTo>
                <a:cubicBezTo>
                  <a:pt x="135" y="100"/>
                  <a:pt x="128" y="114"/>
                  <a:pt x="128" y="129"/>
                </a:cubicBezTo>
                <a:cubicBezTo>
                  <a:pt x="128" y="149"/>
                  <a:pt x="141" y="166"/>
                  <a:pt x="158" y="173"/>
                </a:cubicBezTo>
                <a:cubicBezTo>
                  <a:pt x="162" y="158"/>
                  <a:pt x="162" y="158"/>
                  <a:pt x="162" y="158"/>
                </a:cubicBezTo>
                <a:cubicBezTo>
                  <a:pt x="152" y="152"/>
                  <a:pt x="144" y="141"/>
                  <a:pt x="144" y="129"/>
                </a:cubicBezTo>
                <a:cubicBezTo>
                  <a:pt x="144" y="118"/>
                  <a:pt x="149" y="109"/>
                  <a:pt x="157" y="104"/>
                </a:cubicBezTo>
                <a:cubicBezTo>
                  <a:pt x="153" y="120"/>
                  <a:pt x="153" y="120"/>
                  <a:pt x="153" y="120"/>
                </a:cubicBezTo>
                <a:cubicBezTo>
                  <a:pt x="152" y="122"/>
                  <a:pt x="152" y="124"/>
                  <a:pt x="153" y="126"/>
                </a:cubicBezTo>
                <a:cubicBezTo>
                  <a:pt x="156" y="130"/>
                  <a:pt x="160" y="132"/>
                  <a:pt x="164" y="129"/>
                </a:cubicBezTo>
                <a:cubicBezTo>
                  <a:pt x="166" y="128"/>
                  <a:pt x="168" y="126"/>
                  <a:pt x="168" y="124"/>
                </a:cubicBezTo>
                <a:cubicBezTo>
                  <a:pt x="177" y="92"/>
                  <a:pt x="177" y="92"/>
                  <a:pt x="177" y="92"/>
                </a:cubicBezTo>
                <a:cubicBezTo>
                  <a:pt x="177" y="90"/>
                  <a:pt x="177" y="87"/>
                  <a:pt x="176" y="85"/>
                </a:cubicBezTo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3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8"/>
                  <a:pt x="144" y="338"/>
                  <a:pt x="144" y="338"/>
                </a:cubicBezTo>
                <a:cubicBezTo>
                  <a:pt x="120" y="338"/>
                  <a:pt x="120" y="338"/>
                  <a:pt x="120" y="338"/>
                </a:cubicBezTo>
                <a:cubicBezTo>
                  <a:pt x="116" y="338"/>
                  <a:pt x="112" y="341"/>
                  <a:pt x="112" y="346"/>
                </a:cubicBezTo>
                <a:cubicBezTo>
                  <a:pt x="112" y="350"/>
                  <a:pt x="116" y="354"/>
                  <a:pt x="120" y="354"/>
                </a:cubicBezTo>
                <a:cubicBezTo>
                  <a:pt x="233" y="354"/>
                  <a:pt x="233" y="354"/>
                  <a:pt x="233" y="354"/>
                </a:cubicBezTo>
                <a:cubicBezTo>
                  <a:pt x="237" y="354"/>
                  <a:pt x="241" y="350"/>
                  <a:pt x="241" y="346"/>
                </a:cubicBezTo>
                <a:cubicBezTo>
                  <a:pt x="241" y="341"/>
                  <a:pt x="237" y="338"/>
                  <a:pt x="233" y="338"/>
                </a:cubicBezTo>
                <a:cubicBezTo>
                  <a:pt x="209" y="338"/>
                  <a:pt x="209" y="338"/>
                  <a:pt x="209" y="338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3"/>
                  <a:pt x="353" y="33"/>
                  <a:pt x="353" y="33"/>
                </a:cubicBezTo>
                <a:cubicBezTo>
                  <a:pt x="353" y="15"/>
                  <a:pt x="339" y="0"/>
                  <a:pt x="321" y="0"/>
                </a:cubicBezTo>
                <a:moveTo>
                  <a:pt x="193" y="338"/>
                </a:moveTo>
                <a:cubicBezTo>
                  <a:pt x="160" y="338"/>
                  <a:pt x="160" y="338"/>
                  <a:pt x="160" y="338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8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3"/>
                  <a:pt x="16" y="33"/>
                  <a:pt x="16" y="33"/>
                </a:cubicBezTo>
                <a:cubicBezTo>
                  <a:pt x="16" y="24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4"/>
                  <a:pt x="337" y="33"/>
                </a:cubicBezTo>
                <a:lnTo>
                  <a:pt x="337" y="24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17"/>
          <p:cNvSpPr>
            <a:spLocks noEditPoints="1"/>
          </p:cNvSpPr>
          <p:nvPr/>
        </p:nvSpPr>
        <p:spPr bwMode="auto">
          <a:xfrm>
            <a:off x="7501234" y="1689221"/>
            <a:ext cx="486710" cy="488492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686549" y="2862253"/>
            <a:ext cx="1400326" cy="1020997"/>
            <a:chOff x="686549" y="2862253"/>
            <a:chExt cx="1400326" cy="1020997"/>
          </a:xfrm>
        </p:grpSpPr>
        <p:sp>
          <p:nvSpPr>
            <p:cNvPr id="5" name="TextBox 4"/>
            <p:cNvSpPr txBox="1"/>
            <p:nvPr/>
          </p:nvSpPr>
          <p:spPr>
            <a:xfrm>
              <a:off x="686549" y="3099766"/>
              <a:ext cx="1400326" cy="7834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686549" y="2862253"/>
              <a:ext cx="1400326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ARKETING SOCIAL</a:t>
              </a:r>
            </a:p>
          </p:txBody>
        </p:sp>
      </p:grpSp>
      <p:cxnSp>
        <p:nvCxnSpPr>
          <p:cNvPr id="25" name="Straight Connector 24"/>
          <p:cNvCxnSpPr/>
          <p:nvPr/>
        </p:nvCxnSpPr>
        <p:spPr>
          <a:xfrm>
            <a:off x="593725" y="2549813"/>
            <a:ext cx="1585973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2805842" y="2862253"/>
            <a:ext cx="1400326" cy="1019587"/>
            <a:chOff x="2805842" y="2862253"/>
            <a:chExt cx="1400326" cy="1019587"/>
          </a:xfrm>
        </p:grpSpPr>
        <p:sp>
          <p:nvSpPr>
            <p:cNvPr id="28" name="TextBox 27"/>
            <p:cNvSpPr txBox="1"/>
            <p:nvPr/>
          </p:nvSpPr>
          <p:spPr>
            <a:xfrm>
              <a:off x="2805842" y="3099766"/>
              <a:ext cx="1400326" cy="7820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805842" y="2862253"/>
              <a:ext cx="1400326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FINANÇAS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>
          <a:xfrm>
            <a:off x="2713018" y="2549813"/>
            <a:ext cx="1585973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4925135" y="2862253"/>
            <a:ext cx="1400326" cy="1019587"/>
            <a:chOff x="4925135" y="2862253"/>
            <a:chExt cx="1400326" cy="1019587"/>
          </a:xfrm>
        </p:grpSpPr>
        <p:sp>
          <p:nvSpPr>
            <p:cNvPr id="32" name="TextBox 31"/>
            <p:cNvSpPr txBox="1"/>
            <p:nvPr/>
          </p:nvSpPr>
          <p:spPr>
            <a:xfrm>
              <a:off x="4925135" y="3099766"/>
              <a:ext cx="1400326" cy="78207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4925135" y="2862253"/>
              <a:ext cx="1400326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TIMIZAÇÃO</a:t>
              </a:r>
            </a:p>
          </p:txBody>
        </p:sp>
      </p:grpSp>
      <p:cxnSp>
        <p:nvCxnSpPr>
          <p:cNvPr id="34" name="Straight Connector 33"/>
          <p:cNvCxnSpPr/>
          <p:nvPr/>
        </p:nvCxnSpPr>
        <p:spPr>
          <a:xfrm>
            <a:off x="4832311" y="2549813"/>
            <a:ext cx="1585973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7044427" y="2862253"/>
            <a:ext cx="1400326" cy="1037732"/>
            <a:chOff x="7044427" y="2862253"/>
            <a:chExt cx="1400326" cy="1037732"/>
          </a:xfrm>
        </p:grpSpPr>
        <p:sp>
          <p:nvSpPr>
            <p:cNvPr id="36" name="TextBox 35"/>
            <p:cNvSpPr txBox="1"/>
            <p:nvPr/>
          </p:nvSpPr>
          <p:spPr>
            <a:xfrm>
              <a:off x="7044427" y="3099766"/>
              <a:ext cx="1400326" cy="80021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ni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i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ore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re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7044427" y="2862253"/>
              <a:ext cx="1400326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ESIGN GRÁFICO</a:t>
              </a:r>
            </a:p>
          </p:txBody>
        </p:sp>
      </p:grpSp>
      <p:cxnSp>
        <p:nvCxnSpPr>
          <p:cNvPr id="38" name="Straight Connector 37"/>
          <p:cNvCxnSpPr/>
          <p:nvPr/>
        </p:nvCxnSpPr>
        <p:spPr>
          <a:xfrm>
            <a:off x="6951603" y="2549813"/>
            <a:ext cx="1585973" cy="0"/>
          </a:xfrm>
          <a:prstGeom prst="line">
            <a:avLst/>
          </a:prstGeom>
          <a:ln w="12700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3709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>
                <a:solidFill>
                  <a:srgbClr val="EC0000"/>
                </a:solidFill>
              </a:rPr>
              <a:t>OFERECEM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estibulum et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 </a:t>
            </a:r>
            <a:r>
              <a:rPr lang="en-US" dirty="0" err="1"/>
              <a:t>Proi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 ac </a:t>
            </a:r>
            <a:r>
              <a:rPr lang="en-US" dirty="0" err="1"/>
              <a:t>mauris</a:t>
            </a:r>
            <a:r>
              <a:rPr lang="en-US" dirty="0"/>
              <a:t> porta semper</a:t>
            </a:r>
          </a:p>
        </p:txBody>
      </p:sp>
      <p:sp>
        <p:nvSpPr>
          <p:cNvPr id="12" name="Freeform 97"/>
          <p:cNvSpPr>
            <a:spLocks noEditPoints="1"/>
          </p:cNvSpPr>
          <p:nvPr/>
        </p:nvSpPr>
        <p:spPr bwMode="auto">
          <a:xfrm>
            <a:off x="5234475" y="3135557"/>
            <a:ext cx="422045" cy="346015"/>
          </a:xfrm>
          <a:custGeom>
            <a:avLst/>
            <a:gdLst>
              <a:gd name="T0" fmla="*/ 241 w 353"/>
              <a:gd name="T1" fmla="*/ 32 h 289"/>
              <a:gd name="T2" fmla="*/ 144 w 353"/>
              <a:gd name="T3" fmla="*/ 0 h 289"/>
              <a:gd name="T4" fmla="*/ 16 w 353"/>
              <a:gd name="T5" fmla="*/ 32 h 289"/>
              <a:gd name="T6" fmla="*/ 0 w 353"/>
              <a:gd name="T7" fmla="*/ 129 h 289"/>
              <a:gd name="T8" fmla="*/ 16 w 353"/>
              <a:gd name="T9" fmla="*/ 273 h 289"/>
              <a:gd name="T10" fmla="*/ 321 w 353"/>
              <a:gd name="T11" fmla="*/ 289 h 289"/>
              <a:gd name="T12" fmla="*/ 337 w 353"/>
              <a:gd name="T13" fmla="*/ 145 h 289"/>
              <a:gd name="T14" fmla="*/ 353 w 353"/>
              <a:gd name="T15" fmla="*/ 48 h 289"/>
              <a:gd name="T16" fmla="*/ 144 w 353"/>
              <a:gd name="T17" fmla="*/ 16 h 289"/>
              <a:gd name="T18" fmla="*/ 225 w 353"/>
              <a:gd name="T19" fmla="*/ 32 h 289"/>
              <a:gd name="T20" fmla="*/ 144 w 353"/>
              <a:gd name="T21" fmla="*/ 16 h 289"/>
              <a:gd name="T22" fmla="*/ 32 w 353"/>
              <a:gd name="T23" fmla="*/ 273 h 289"/>
              <a:gd name="T24" fmla="*/ 64 w 353"/>
              <a:gd name="T25" fmla="*/ 145 h 289"/>
              <a:gd name="T26" fmla="*/ 80 w 353"/>
              <a:gd name="T27" fmla="*/ 177 h 289"/>
              <a:gd name="T28" fmla="*/ 128 w 353"/>
              <a:gd name="T29" fmla="*/ 161 h 289"/>
              <a:gd name="T30" fmla="*/ 225 w 353"/>
              <a:gd name="T31" fmla="*/ 145 h 289"/>
              <a:gd name="T32" fmla="*/ 241 w 353"/>
              <a:gd name="T33" fmla="*/ 177 h 289"/>
              <a:gd name="T34" fmla="*/ 289 w 353"/>
              <a:gd name="T35" fmla="*/ 161 h 289"/>
              <a:gd name="T36" fmla="*/ 321 w 353"/>
              <a:gd name="T37" fmla="*/ 145 h 289"/>
              <a:gd name="T38" fmla="*/ 80 w 353"/>
              <a:gd name="T39" fmla="*/ 113 h 289"/>
              <a:gd name="T40" fmla="*/ 112 w 353"/>
              <a:gd name="T41" fmla="*/ 161 h 289"/>
              <a:gd name="T42" fmla="*/ 80 w 353"/>
              <a:gd name="T43" fmla="*/ 113 h 289"/>
              <a:gd name="T44" fmla="*/ 273 w 353"/>
              <a:gd name="T45" fmla="*/ 113 h 289"/>
              <a:gd name="T46" fmla="*/ 241 w 353"/>
              <a:gd name="T47" fmla="*/ 161 h 289"/>
              <a:gd name="T48" fmla="*/ 337 w 353"/>
              <a:gd name="T49" fmla="*/ 129 h 289"/>
              <a:gd name="T50" fmla="*/ 289 w 353"/>
              <a:gd name="T51" fmla="*/ 113 h 289"/>
              <a:gd name="T52" fmla="*/ 241 w 353"/>
              <a:gd name="T53" fmla="*/ 97 h 289"/>
              <a:gd name="T54" fmla="*/ 225 w 353"/>
              <a:gd name="T55" fmla="*/ 129 h 289"/>
              <a:gd name="T56" fmla="*/ 128 w 353"/>
              <a:gd name="T57" fmla="*/ 113 h 289"/>
              <a:gd name="T58" fmla="*/ 80 w 353"/>
              <a:gd name="T59" fmla="*/ 97 h 289"/>
              <a:gd name="T60" fmla="*/ 64 w 353"/>
              <a:gd name="T61" fmla="*/ 129 h 289"/>
              <a:gd name="T62" fmla="*/ 16 w 353"/>
              <a:gd name="T63" fmla="*/ 48 h 289"/>
              <a:gd name="T64" fmla="*/ 337 w 353"/>
              <a:gd name="T65" fmla="*/ 12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53" h="289">
                <a:moveTo>
                  <a:pt x="337" y="32"/>
                </a:moveTo>
                <a:cubicBezTo>
                  <a:pt x="241" y="32"/>
                  <a:pt x="241" y="32"/>
                  <a:pt x="241" y="32"/>
                </a:cubicBezTo>
                <a:cubicBezTo>
                  <a:pt x="241" y="15"/>
                  <a:pt x="226" y="0"/>
                  <a:pt x="209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27" y="0"/>
                  <a:pt x="112" y="15"/>
                  <a:pt x="11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40"/>
                  <a:pt x="0" y="48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38"/>
                  <a:pt x="7" y="145"/>
                  <a:pt x="16" y="145"/>
                </a:cubicBezTo>
                <a:cubicBezTo>
                  <a:pt x="16" y="273"/>
                  <a:pt x="16" y="273"/>
                  <a:pt x="16" y="273"/>
                </a:cubicBezTo>
                <a:cubicBezTo>
                  <a:pt x="16" y="282"/>
                  <a:pt x="23" y="289"/>
                  <a:pt x="32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30" y="289"/>
                  <a:pt x="337" y="282"/>
                  <a:pt x="337" y="273"/>
                </a:cubicBezTo>
                <a:cubicBezTo>
                  <a:pt x="337" y="145"/>
                  <a:pt x="337" y="145"/>
                  <a:pt x="337" y="145"/>
                </a:cubicBezTo>
                <a:cubicBezTo>
                  <a:pt x="346" y="145"/>
                  <a:pt x="353" y="138"/>
                  <a:pt x="353" y="129"/>
                </a:cubicBezTo>
                <a:cubicBezTo>
                  <a:pt x="353" y="48"/>
                  <a:pt x="353" y="48"/>
                  <a:pt x="353" y="48"/>
                </a:cubicBezTo>
                <a:cubicBezTo>
                  <a:pt x="353" y="40"/>
                  <a:pt x="346" y="32"/>
                  <a:pt x="337" y="32"/>
                </a:cubicBezTo>
                <a:moveTo>
                  <a:pt x="144" y="16"/>
                </a:moveTo>
                <a:cubicBezTo>
                  <a:pt x="209" y="16"/>
                  <a:pt x="209" y="16"/>
                  <a:pt x="209" y="16"/>
                </a:cubicBezTo>
                <a:cubicBezTo>
                  <a:pt x="217" y="16"/>
                  <a:pt x="225" y="23"/>
                  <a:pt x="22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8" y="23"/>
                  <a:pt x="136" y="16"/>
                  <a:pt x="144" y="16"/>
                </a:cubicBezTo>
                <a:moveTo>
                  <a:pt x="321" y="273"/>
                </a:moveTo>
                <a:cubicBezTo>
                  <a:pt x="32" y="273"/>
                  <a:pt x="32" y="273"/>
                  <a:pt x="32" y="273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64" y="145"/>
                  <a:pt x="64" y="145"/>
                  <a:pt x="64" y="145"/>
                </a:cubicBezTo>
                <a:cubicBezTo>
                  <a:pt x="64" y="161"/>
                  <a:pt x="64" y="161"/>
                  <a:pt x="64" y="161"/>
                </a:cubicBezTo>
                <a:cubicBezTo>
                  <a:pt x="64" y="170"/>
                  <a:pt x="71" y="177"/>
                  <a:pt x="80" y="177"/>
                </a:cubicBezTo>
                <a:cubicBezTo>
                  <a:pt x="112" y="177"/>
                  <a:pt x="112" y="177"/>
                  <a:pt x="112" y="177"/>
                </a:cubicBezTo>
                <a:cubicBezTo>
                  <a:pt x="121" y="177"/>
                  <a:pt x="128" y="170"/>
                  <a:pt x="128" y="161"/>
                </a:cubicBezTo>
                <a:cubicBezTo>
                  <a:pt x="128" y="145"/>
                  <a:pt x="128" y="145"/>
                  <a:pt x="128" y="145"/>
                </a:cubicBezTo>
                <a:cubicBezTo>
                  <a:pt x="225" y="145"/>
                  <a:pt x="225" y="145"/>
                  <a:pt x="225" y="145"/>
                </a:cubicBezTo>
                <a:cubicBezTo>
                  <a:pt x="225" y="161"/>
                  <a:pt x="225" y="161"/>
                  <a:pt x="225" y="161"/>
                </a:cubicBezTo>
                <a:cubicBezTo>
                  <a:pt x="225" y="170"/>
                  <a:pt x="232" y="177"/>
                  <a:pt x="241" y="177"/>
                </a:cubicBezTo>
                <a:cubicBezTo>
                  <a:pt x="273" y="177"/>
                  <a:pt x="273" y="177"/>
                  <a:pt x="273" y="177"/>
                </a:cubicBezTo>
                <a:cubicBezTo>
                  <a:pt x="282" y="177"/>
                  <a:pt x="289" y="170"/>
                  <a:pt x="289" y="161"/>
                </a:cubicBezTo>
                <a:cubicBezTo>
                  <a:pt x="289" y="145"/>
                  <a:pt x="289" y="145"/>
                  <a:pt x="289" y="145"/>
                </a:cubicBezTo>
                <a:cubicBezTo>
                  <a:pt x="321" y="145"/>
                  <a:pt x="321" y="145"/>
                  <a:pt x="321" y="145"/>
                </a:cubicBezTo>
                <a:lnTo>
                  <a:pt x="321" y="273"/>
                </a:lnTo>
                <a:close/>
                <a:moveTo>
                  <a:pt x="80" y="113"/>
                </a:moveTo>
                <a:cubicBezTo>
                  <a:pt x="112" y="113"/>
                  <a:pt x="112" y="113"/>
                  <a:pt x="112" y="113"/>
                </a:cubicBezTo>
                <a:cubicBezTo>
                  <a:pt x="112" y="161"/>
                  <a:pt x="112" y="161"/>
                  <a:pt x="112" y="161"/>
                </a:cubicBezTo>
                <a:cubicBezTo>
                  <a:pt x="80" y="161"/>
                  <a:pt x="80" y="161"/>
                  <a:pt x="80" y="161"/>
                </a:cubicBezTo>
                <a:lnTo>
                  <a:pt x="80" y="113"/>
                </a:lnTo>
                <a:close/>
                <a:moveTo>
                  <a:pt x="241" y="113"/>
                </a:moveTo>
                <a:cubicBezTo>
                  <a:pt x="273" y="113"/>
                  <a:pt x="273" y="113"/>
                  <a:pt x="273" y="113"/>
                </a:cubicBezTo>
                <a:cubicBezTo>
                  <a:pt x="273" y="161"/>
                  <a:pt x="273" y="161"/>
                  <a:pt x="273" y="161"/>
                </a:cubicBezTo>
                <a:cubicBezTo>
                  <a:pt x="241" y="161"/>
                  <a:pt x="241" y="161"/>
                  <a:pt x="241" y="161"/>
                </a:cubicBezTo>
                <a:lnTo>
                  <a:pt x="241" y="113"/>
                </a:lnTo>
                <a:close/>
                <a:moveTo>
                  <a:pt x="337" y="129"/>
                </a:moveTo>
                <a:cubicBezTo>
                  <a:pt x="289" y="129"/>
                  <a:pt x="289" y="129"/>
                  <a:pt x="289" y="129"/>
                </a:cubicBezTo>
                <a:cubicBezTo>
                  <a:pt x="289" y="113"/>
                  <a:pt x="289" y="113"/>
                  <a:pt x="289" y="113"/>
                </a:cubicBezTo>
                <a:cubicBezTo>
                  <a:pt x="289" y="104"/>
                  <a:pt x="282" y="97"/>
                  <a:pt x="273" y="97"/>
                </a:cubicBezTo>
                <a:cubicBezTo>
                  <a:pt x="241" y="97"/>
                  <a:pt x="241" y="97"/>
                  <a:pt x="241" y="97"/>
                </a:cubicBezTo>
                <a:cubicBezTo>
                  <a:pt x="232" y="97"/>
                  <a:pt x="225" y="104"/>
                  <a:pt x="225" y="113"/>
                </a:cubicBezTo>
                <a:cubicBezTo>
                  <a:pt x="225" y="129"/>
                  <a:pt x="225" y="129"/>
                  <a:pt x="225" y="129"/>
                </a:cubicBezTo>
                <a:cubicBezTo>
                  <a:pt x="128" y="129"/>
                  <a:pt x="128" y="129"/>
                  <a:pt x="128" y="129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28" y="104"/>
                  <a:pt x="121" y="97"/>
                  <a:pt x="112" y="97"/>
                </a:cubicBezTo>
                <a:cubicBezTo>
                  <a:pt x="80" y="97"/>
                  <a:pt x="80" y="97"/>
                  <a:pt x="80" y="97"/>
                </a:cubicBezTo>
                <a:cubicBezTo>
                  <a:pt x="71" y="97"/>
                  <a:pt x="64" y="104"/>
                  <a:pt x="64" y="113"/>
                </a:cubicBezTo>
                <a:cubicBezTo>
                  <a:pt x="64" y="129"/>
                  <a:pt x="64" y="129"/>
                  <a:pt x="64" y="129"/>
                </a:cubicBezTo>
                <a:cubicBezTo>
                  <a:pt x="16" y="129"/>
                  <a:pt x="16" y="129"/>
                  <a:pt x="16" y="129"/>
                </a:cubicBezTo>
                <a:cubicBezTo>
                  <a:pt x="16" y="48"/>
                  <a:pt x="16" y="48"/>
                  <a:pt x="16" y="48"/>
                </a:cubicBezTo>
                <a:cubicBezTo>
                  <a:pt x="337" y="48"/>
                  <a:pt x="337" y="48"/>
                  <a:pt x="337" y="48"/>
                </a:cubicBezTo>
                <a:lnTo>
                  <a:pt x="337" y="129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12"/>
          <p:cNvSpPr>
            <a:spLocks noEditPoints="1"/>
          </p:cNvSpPr>
          <p:nvPr/>
        </p:nvSpPr>
        <p:spPr bwMode="auto">
          <a:xfrm>
            <a:off x="628650" y="1543050"/>
            <a:ext cx="423597" cy="423597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5234474" y="1543050"/>
            <a:ext cx="308776" cy="423597"/>
          </a:xfrm>
          <a:custGeom>
            <a:avLst/>
            <a:gdLst>
              <a:gd name="T0" fmla="*/ 225 w 257"/>
              <a:gd name="T1" fmla="*/ 144 h 353"/>
              <a:gd name="T2" fmla="*/ 225 w 257"/>
              <a:gd name="T3" fmla="*/ 96 h 353"/>
              <a:gd name="T4" fmla="*/ 129 w 257"/>
              <a:gd name="T5" fmla="*/ 0 h 353"/>
              <a:gd name="T6" fmla="*/ 33 w 257"/>
              <a:gd name="T7" fmla="*/ 96 h 353"/>
              <a:gd name="T8" fmla="*/ 41 w 257"/>
              <a:gd name="T9" fmla="*/ 104 h 353"/>
              <a:gd name="T10" fmla="*/ 49 w 257"/>
              <a:gd name="T11" fmla="*/ 96 h 353"/>
              <a:gd name="T12" fmla="*/ 129 w 257"/>
              <a:gd name="T13" fmla="*/ 16 h 353"/>
              <a:gd name="T14" fmla="*/ 209 w 257"/>
              <a:gd name="T15" fmla="*/ 96 h 353"/>
              <a:gd name="T16" fmla="*/ 209 w 257"/>
              <a:gd name="T17" fmla="*/ 144 h 353"/>
              <a:gd name="T18" fmla="*/ 33 w 257"/>
              <a:gd name="T19" fmla="*/ 144 h 353"/>
              <a:gd name="T20" fmla="*/ 0 w 257"/>
              <a:gd name="T21" fmla="*/ 176 h 353"/>
              <a:gd name="T22" fmla="*/ 0 w 257"/>
              <a:gd name="T23" fmla="*/ 321 h 353"/>
              <a:gd name="T24" fmla="*/ 33 w 257"/>
              <a:gd name="T25" fmla="*/ 353 h 353"/>
              <a:gd name="T26" fmla="*/ 225 w 257"/>
              <a:gd name="T27" fmla="*/ 353 h 353"/>
              <a:gd name="T28" fmla="*/ 257 w 257"/>
              <a:gd name="T29" fmla="*/ 321 h 353"/>
              <a:gd name="T30" fmla="*/ 257 w 257"/>
              <a:gd name="T31" fmla="*/ 176 h 353"/>
              <a:gd name="T32" fmla="*/ 225 w 257"/>
              <a:gd name="T33" fmla="*/ 144 h 353"/>
              <a:gd name="T34" fmla="*/ 241 w 257"/>
              <a:gd name="T35" fmla="*/ 321 h 353"/>
              <a:gd name="T36" fmla="*/ 225 w 257"/>
              <a:gd name="T37" fmla="*/ 337 h 353"/>
              <a:gd name="T38" fmla="*/ 33 w 257"/>
              <a:gd name="T39" fmla="*/ 337 h 353"/>
              <a:gd name="T40" fmla="*/ 16 w 257"/>
              <a:gd name="T41" fmla="*/ 321 h 353"/>
              <a:gd name="T42" fmla="*/ 16 w 257"/>
              <a:gd name="T43" fmla="*/ 176 h 353"/>
              <a:gd name="T44" fmla="*/ 33 w 257"/>
              <a:gd name="T45" fmla="*/ 160 h 353"/>
              <a:gd name="T46" fmla="*/ 225 w 257"/>
              <a:gd name="T47" fmla="*/ 160 h 353"/>
              <a:gd name="T48" fmla="*/ 241 w 257"/>
              <a:gd name="T49" fmla="*/ 176 h 353"/>
              <a:gd name="T50" fmla="*/ 241 w 257"/>
              <a:gd name="T51" fmla="*/ 321 h 353"/>
              <a:gd name="T52" fmla="*/ 129 w 257"/>
              <a:gd name="T53" fmla="*/ 208 h 353"/>
              <a:gd name="T54" fmla="*/ 97 w 257"/>
              <a:gd name="T55" fmla="*/ 241 h 353"/>
              <a:gd name="T56" fmla="*/ 105 w 257"/>
              <a:gd name="T57" fmla="*/ 262 h 353"/>
              <a:gd name="T58" fmla="*/ 105 w 257"/>
              <a:gd name="T59" fmla="*/ 265 h 353"/>
              <a:gd name="T60" fmla="*/ 129 w 257"/>
              <a:gd name="T61" fmla="*/ 289 h 353"/>
              <a:gd name="T62" fmla="*/ 153 w 257"/>
              <a:gd name="T63" fmla="*/ 265 h 353"/>
              <a:gd name="T64" fmla="*/ 153 w 257"/>
              <a:gd name="T65" fmla="*/ 262 h 353"/>
              <a:gd name="T66" fmla="*/ 161 w 257"/>
              <a:gd name="T67" fmla="*/ 241 h 353"/>
              <a:gd name="T68" fmla="*/ 129 w 257"/>
              <a:gd name="T69" fmla="*/ 208 h 353"/>
              <a:gd name="T70" fmla="*/ 137 w 257"/>
              <a:gd name="T71" fmla="*/ 254 h 353"/>
              <a:gd name="T72" fmla="*/ 137 w 257"/>
              <a:gd name="T73" fmla="*/ 265 h 353"/>
              <a:gd name="T74" fmla="*/ 129 w 257"/>
              <a:gd name="T75" fmla="*/ 273 h 353"/>
              <a:gd name="T76" fmla="*/ 121 w 257"/>
              <a:gd name="T77" fmla="*/ 265 h 353"/>
              <a:gd name="T78" fmla="*/ 121 w 257"/>
              <a:gd name="T79" fmla="*/ 254 h 353"/>
              <a:gd name="T80" fmla="*/ 113 w 257"/>
              <a:gd name="T81" fmla="*/ 241 h 353"/>
              <a:gd name="T82" fmla="*/ 129 w 257"/>
              <a:gd name="T83" fmla="*/ 225 h 353"/>
              <a:gd name="T84" fmla="*/ 145 w 257"/>
              <a:gd name="T85" fmla="*/ 241 h 353"/>
              <a:gd name="T86" fmla="*/ 137 w 257"/>
              <a:gd name="T87" fmla="*/ 25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7" h="353">
                <a:moveTo>
                  <a:pt x="225" y="144"/>
                </a:moveTo>
                <a:cubicBezTo>
                  <a:pt x="225" y="96"/>
                  <a:pt x="225" y="96"/>
                  <a:pt x="225" y="96"/>
                </a:cubicBezTo>
                <a:cubicBezTo>
                  <a:pt x="225" y="43"/>
                  <a:pt x="182" y="0"/>
                  <a:pt x="129" y="0"/>
                </a:cubicBezTo>
                <a:cubicBezTo>
                  <a:pt x="76" y="0"/>
                  <a:pt x="33" y="43"/>
                  <a:pt x="33" y="96"/>
                </a:cubicBezTo>
                <a:cubicBezTo>
                  <a:pt x="33" y="101"/>
                  <a:pt x="36" y="104"/>
                  <a:pt x="41" y="104"/>
                </a:cubicBezTo>
                <a:cubicBezTo>
                  <a:pt x="45" y="104"/>
                  <a:pt x="49" y="101"/>
                  <a:pt x="49" y="96"/>
                </a:cubicBezTo>
                <a:cubicBezTo>
                  <a:pt x="49" y="52"/>
                  <a:pt x="84" y="16"/>
                  <a:pt x="129" y="16"/>
                </a:cubicBezTo>
                <a:cubicBezTo>
                  <a:pt x="173" y="16"/>
                  <a:pt x="209" y="52"/>
                  <a:pt x="209" y="96"/>
                </a:cubicBezTo>
                <a:cubicBezTo>
                  <a:pt x="209" y="144"/>
                  <a:pt x="209" y="144"/>
                  <a:pt x="209" y="144"/>
                </a:cubicBezTo>
                <a:cubicBezTo>
                  <a:pt x="33" y="144"/>
                  <a:pt x="33" y="144"/>
                  <a:pt x="33" y="144"/>
                </a:cubicBezTo>
                <a:cubicBezTo>
                  <a:pt x="15" y="144"/>
                  <a:pt x="0" y="159"/>
                  <a:pt x="0" y="176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3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176"/>
                  <a:pt x="257" y="176"/>
                  <a:pt x="257" y="176"/>
                </a:cubicBezTo>
                <a:cubicBezTo>
                  <a:pt x="257" y="159"/>
                  <a:pt x="243" y="144"/>
                  <a:pt x="225" y="144"/>
                </a:cubicBezTo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3" y="337"/>
                  <a:pt x="33" y="337"/>
                  <a:pt x="33" y="337"/>
                </a:cubicBezTo>
                <a:cubicBezTo>
                  <a:pt x="24" y="337"/>
                  <a:pt x="16" y="330"/>
                  <a:pt x="16" y="321"/>
                </a:cubicBezTo>
                <a:cubicBezTo>
                  <a:pt x="16" y="176"/>
                  <a:pt x="16" y="176"/>
                  <a:pt x="16" y="176"/>
                </a:cubicBezTo>
                <a:cubicBezTo>
                  <a:pt x="16" y="168"/>
                  <a:pt x="24" y="160"/>
                  <a:pt x="33" y="160"/>
                </a:cubicBezTo>
                <a:cubicBezTo>
                  <a:pt x="225" y="160"/>
                  <a:pt x="225" y="160"/>
                  <a:pt x="225" y="160"/>
                </a:cubicBezTo>
                <a:cubicBezTo>
                  <a:pt x="234" y="160"/>
                  <a:pt x="241" y="168"/>
                  <a:pt x="241" y="176"/>
                </a:cubicBezTo>
                <a:lnTo>
                  <a:pt x="241" y="321"/>
                </a:lnTo>
                <a:close/>
                <a:moveTo>
                  <a:pt x="129" y="208"/>
                </a:moveTo>
                <a:cubicBezTo>
                  <a:pt x="111" y="208"/>
                  <a:pt x="97" y="223"/>
                  <a:pt x="97" y="241"/>
                </a:cubicBezTo>
                <a:cubicBezTo>
                  <a:pt x="97" y="249"/>
                  <a:pt x="100" y="256"/>
                  <a:pt x="105" y="262"/>
                </a:cubicBezTo>
                <a:cubicBezTo>
                  <a:pt x="105" y="263"/>
                  <a:pt x="105" y="264"/>
                  <a:pt x="105" y="265"/>
                </a:cubicBezTo>
                <a:cubicBezTo>
                  <a:pt x="105" y="278"/>
                  <a:pt x="116" y="289"/>
                  <a:pt x="129" y="289"/>
                </a:cubicBezTo>
                <a:cubicBezTo>
                  <a:pt x="142" y="289"/>
                  <a:pt x="153" y="278"/>
                  <a:pt x="153" y="265"/>
                </a:cubicBezTo>
                <a:cubicBezTo>
                  <a:pt x="153" y="264"/>
                  <a:pt x="153" y="263"/>
                  <a:pt x="153" y="262"/>
                </a:cubicBezTo>
                <a:cubicBezTo>
                  <a:pt x="158" y="256"/>
                  <a:pt x="161" y="249"/>
                  <a:pt x="161" y="241"/>
                </a:cubicBezTo>
                <a:cubicBezTo>
                  <a:pt x="161" y="223"/>
                  <a:pt x="147" y="208"/>
                  <a:pt x="129" y="208"/>
                </a:cubicBezTo>
                <a:moveTo>
                  <a:pt x="137" y="254"/>
                </a:moveTo>
                <a:cubicBezTo>
                  <a:pt x="137" y="265"/>
                  <a:pt x="137" y="265"/>
                  <a:pt x="137" y="265"/>
                </a:cubicBezTo>
                <a:cubicBezTo>
                  <a:pt x="137" y="269"/>
                  <a:pt x="133" y="273"/>
                  <a:pt x="129" y="273"/>
                </a:cubicBezTo>
                <a:cubicBezTo>
                  <a:pt x="124" y="273"/>
                  <a:pt x="121" y="269"/>
                  <a:pt x="121" y="265"/>
                </a:cubicBezTo>
                <a:cubicBezTo>
                  <a:pt x="121" y="254"/>
                  <a:pt x="121" y="254"/>
                  <a:pt x="121" y="254"/>
                </a:cubicBezTo>
                <a:cubicBezTo>
                  <a:pt x="116" y="252"/>
                  <a:pt x="113" y="247"/>
                  <a:pt x="113" y="241"/>
                </a:cubicBezTo>
                <a:cubicBezTo>
                  <a:pt x="113" y="232"/>
                  <a:pt x="120" y="225"/>
                  <a:pt x="129" y="225"/>
                </a:cubicBezTo>
                <a:cubicBezTo>
                  <a:pt x="138" y="225"/>
                  <a:pt x="145" y="232"/>
                  <a:pt x="145" y="241"/>
                </a:cubicBezTo>
                <a:cubicBezTo>
                  <a:pt x="145" y="247"/>
                  <a:pt x="142" y="252"/>
                  <a:pt x="137" y="254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" name="Freeform 14"/>
          <p:cNvSpPr>
            <a:spLocks noEditPoints="1"/>
          </p:cNvSpPr>
          <p:nvPr/>
        </p:nvSpPr>
        <p:spPr bwMode="auto">
          <a:xfrm>
            <a:off x="593725" y="3095991"/>
            <a:ext cx="423597" cy="425148"/>
          </a:xfrm>
          <a:custGeom>
            <a:avLst/>
            <a:gdLst>
              <a:gd name="T0" fmla="*/ 176 w 353"/>
              <a:gd name="T1" fmla="*/ 0 h 354"/>
              <a:gd name="T2" fmla="*/ 0 w 353"/>
              <a:gd name="T3" fmla="*/ 177 h 354"/>
              <a:gd name="T4" fmla="*/ 176 w 353"/>
              <a:gd name="T5" fmla="*/ 354 h 354"/>
              <a:gd name="T6" fmla="*/ 353 w 353"/>
              <a:gd name="T7" fmla="*/ 177 h 354"/>
              <a:gd name="T8" fmla="*/ 176 w 353"/>
              <a:gd name="T9" fmla="*/ 0 h 354"/>
              <a:gd name="T10" fmla="*/ 176 w 353"/>
              <a:gd name="T11" fmla="*/ 16 h 354"/>
              <a:gd name="T12" fmla="*/ 284 w 353"/>
              <a:gd name="T13" fmla="*/ 58 h 354"/>
              <a:gd name="T14" fmla="*/ 244 w 353"/>
              <a:gd name="T15" fmla="*/ 98 h 354"/>
              <a:gd name="T16" fmla="*/ 176 w 353"/>
              <a:gd name="T17" fmla="*/ 73 h 354"/>
              <a:gd name="T18" fmla="*/ 108 w 353"/>
              <a:gd name="T19" fmla="*/ 98 h 354"/>
              <a:gd name="T20" fmla="*/ 69 w 353"/>
              <a:gd name="T21" fmla="*/ 58 h 354"/>
              <a:gd name="T22" fmla="*/ 176 w 353"/>
              <a:gd name="T23" fmla="*/ 16 h 354"/>
              <a:gd name="T24" fmla="*/ 264 w 353"/>
              <a:gd name="T25" fmla="*/ 177 h 354"/>
              <a:gd name="T26" fmla="*/ 176 w 353"/>
              <a:gd name="T27" fmla="*/ 265 h 354"/>
              <a:gd name="T28" fmla="*/ 88 w 353"/>
              <a:gd name="T29" fmla="*/ 177 h 354"/>
              <a:gd name="T30" fmla="*/ 176 w 353"/>
              <a:gd name="T31" fmla="*/ 89 h 354"/>
              <a:gd name="T32" fmla="*/ 264 w 353"/>
              <a:gd name="T33" fmla="*/ 177 h 354"/>
              <a:gd name="T34" fmla="*/ 16 w 353"/>
              <a:gd name="T35" fmla="*/ 177 h 354"/>
              <a:gd name="T36" fmla="*/ 57 w 353"/>
              <a:gd name="T37" fmla="*/ 69 h 354"/>
              <a:gd name="T38" fmla="*/ 97 w 353"/>
              <a:gd name="T39" fmla="*/ 109 h 354"/>
              <a:gd name="T40" fmla="*/ 72 w 353"/>
              <a:gd name="T41" fmla="*/ 177 h 354"/>
              <a:gd name="T42" fmla="*/ 97 w 353"/>
              <a:gd name="T43" fmla="*/ 245 h 354"/>
              <a:gd name="T44" fmla="*/ 57 w 353"/>
              <a:gd name="T45" fmla="*/ 285 h 354"/>
              <a:gd name="T46" fmla="*/ 16 w 353"/>
              <a:gd name="T47" fmla="*/ 177 h 354"/>
              <a:gd name="T48" fmla="*/ 176 w 353"/>
              <a:gd name="T49" fmla="*/ 338 h 354"/>
              <a:gd name="T50" fmla="*/ 69 w 353"/>
              <a:gd name="T51" fmla="*/ 296 h 354"/>
              <a:gd name="T52" fmla="*/ 108 w 353"/>
              <a:gd name="T53" fmla="*/ 256 h 354"/>
              <a:gd name="T54" fmla="*/ 176 w 353"/>
              <a:gd name="T55" fmla="*/ 281 h 354"/>
              <a:gd name="T56" fmla="*/ 244 w 353"/>
              <a:gd name="T57" fmla="*/ 256 h 354"/>
              <a:gd name="T58" fmla="*/ 284 w 353"/>
              <a:gd name="T59" fmla="*/ 296 h 354"/>
              <a:gd name="T60" fmla="*/ 176 w 353"/>
              <a:gd name="T61" fmla="*/ 338 h 354"/>
              <a:gd name="T62" fmla="*/ 295 w 353"/>
              <a:gd name="T63" fmla="*/ 285 h 354"/>
              <a:gd name="T64" fmla="*/ 255 w 353"/>
              <a:gd name="T65" fmla="*/ 245 h 354"/>
              <a:gd name="T66" fmla="*/ 281 w 353"/>
              <a:gd name="T67" fmla="*/ 177 h 354"/>
              <a:gd name="T68" fmla="*/ 255 w 353"/>
              <a:gd name="T69" fmla="*/ 109 h 354"/>
              <a:gd name="T70" fmla="*/ 295 w 353"/>
              <a:gd name="T71" fmla="*/ 69 h 354"/>
              <a:gd name="T72" fmla="*/ 337 w 353"/>
              <a:gd name="T73" fmla="*/ 177 h 354"/>
              <a:gd name="T74" fmla="*/ 295 w 353"/>
              <a:gd name="T75" fmla="*/ 2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4">
                <a:moveTo>
                  <a:pt x="176" y="0"/>
                </a:moveTo>
                <a:cubicBezTo>
                  <a:pt x="79" y="0"/>
                  <a:pt x="0" y="79"/>
                  <a:pt x="0" y="177"/>
                </a:cubicBezTo>
                <a:cubicBezTo>
                  <a:pt x="0" y="275"/>
                  <a:pt x="79" y="354"/>
                  <a:pt x="176" y="354"/>
                </a:cubicBezTo>
                <a:cubicBezTo>
                  <a:pt x="274" y="354"/>
                  <a:pt x="353" y="275"/>
                  <a:pt x="353" y="177"/>
                </a:cubicBezTo>
                <a:cubicBezTo>
                  <a:pt x="353" y="79"/>
                  <a:pt x="274" y="0"/>
                  <a:pt x="176" y="0"/>
                </a:cubicBezTo>
                <a:moveTo>
                  <a:pt x="176" y="16"/>
                </a:moveTo>
                <a:cubicBezTo>
                  <a:pt x="218" y="16"/>
                  <a:pt x="255" y="32"/>
                  <a:pt x="284" y="58"/>
                </a:cubicBezTo>
                <a:cubicBezTo>
                  <a:pt x="244" y="98"/>
                  <a:pt x="244" y="98"/>
                  <a:pt x="244" y="98"/>
                </a:cubicBezTo>
                <a:cubicBezTo>
                  <a:pt x="226" y="82"/>
                  <a:pt x="202" y="73"/>
                  <a:pt x="176" y="73"/>
                </a:cubicBezTo>
                <a:cubicBezTo>
                  <a:pt x="150" y="73"/>
                  <a:pt x="127" y="82"/>
                  <a:pt x="108" y="98"/>
                </a:cubicBezTo>
                <a:cubicBezTo>
                  <a:pt x="69" y="58"/>
                  <a:pt x="69" y="58"/>
                  <a:pt x="69" y="58"/>
                </a:cubicBezTo>
                <a:cubicBezTo>
                  <a:pt x="97" y="32"/>
                  <a:pt x="135" y="16"/>
                  <a:pt x="176" y="16"/>
                </a:cubicBezTo>
                <a:moveTo>
                  <a:pt x="264" y="177"/>
                </a:moveTo>
                <a:cubicBezTo>
                  <a:pt x="264" y="226"/>
                  <a:pt x="225" y="265"/>
                  <a:pt x="176" y="265"/>
                </a:cubicBezTo>
                <a:cubicBezTo>
                  <a:pt x="127" y="265"/>
                  <a:pt x="88" y="226"/>
                  <a:pt x="88" y="177"/>
                </a:cubicBezTo>
                <a:cubicBezTo>
                  <a:pt x="88" y="128"/>
                  <a:pt x="127" y="89"/>
                  <a:pt x="176" y="89"/>
                </a:cubicBezTo>
                <a:cubicBezTo>
                  <a:pt x="225" y="89"/>
                  <a:pt x="264" y="128"/>
                  <a:pt x="264" y="177"/>
                </a:cubicBezTo>
                <a:moveTo>
                  <a:pt x="16" y="177"/>
                </a:moveTo>
                <a:cubicBezTo>
                  <a:pt x="16" y="136"/>
                  <a:pt x="31" y="98"/>
                  <a:pt x="57" y="69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81" y="127"/>
                  <a:pt x="72" y="151"/>
                  <a:pt x="72" y="177"/>
                </a:cubicBezTo>
                <a:cubicBezTo>
                  <a:pt x="72" y="203"/>
                  <a:pt x="81" y="227"/>
                  <a:pt x="97" y="245"/>
                </a:cubicBezTo>
                <a:cubicBezTo>
                  <a:pt x="57" y="285"/>
                  <a:pt x="57" y="285"/>
                  <a:pt x="57" y="285"/>
                </a:cubicBezTo>
                <a:cubicBezTo>
                  <a:pt x="31" y="256"/>
                  <a:pt x="16" y="218"/>
                  <a:pt x="16" y="177"/>
                </a:cubicBezTo>
                <a:moveTo>
                  <a:pt x="176" y="338"/>
                </a:moveTo>
                <a:cubicBezTo>
                  <a:pt x="135" y="338"/>
                  <a:pt x="97" y="322"/>
                  <a:pt x="69" y="296"/>
                </a:cubicBezTo>
                <a:cubicBezTo>
                  <a:pt x="108" y="256"/>
                  <a:pt x="108" y="256"/>
                  <a:pt x="108" y="256"/>
                </a:cubicBezTo>
                <a:cubicBezTo>
                  <a:pt x="127" y="272"/>
                  <a:pt x="150" y="281"/>
                  <a:pt x="176" y="281"/>
                </a:cubicBezTo>
                <a:cubicBezTo>
                  <a:pt x="202" y="281"/>
                  <a:pt x="226" y="272"/>
                  <a:pt x="244" y="256"/>
                </a:cubicBezTo>
                <a:cubicBezTo>
                  <a:pt x="284" y="296"/>
                  <a:pt x="284" y="296"/>
                  <a:pt x="284" y="296"/>
                </a:cubicBezTo>
                <a:cubicBezTo>
                  <a:pt x="255" y="322"/>
                  <a:pt x="218" y="338"/>
                  <a:pt x="176" y="338"/>
                </a:cubicBezTo>
                <a:moveTo>
                  <a:pt x="295" y="285"/>
                </a:moveTo>
                <a:cubicBezTo>
                  <a:pt x="255" y="245"/>
                  <a:pt x="255" y="245"/>
                  <a:pt x="255" y="245"/>
                </a:cubicBezTo>
                <a:cubicBezTo>
                  <a:pt x="271" y="227"/>
                  <a:pt x="281" y="203"/>
                  <a:pt x="281" y="177"/>
                </a:cubicBezTo>
                <a:cubicBezTo>
                  <a:pt x="281" y="151"/>
                  <a:pt x="271" y="127"/>
                  <a:pt x="255" y="109"/>
                </a:cubicBezTo>
                <a:cubicBezTo>
                  <a:pt x="295" y="69"/>
                  <a:pt x="295" y="69"/>
                  <a:pt x="295" y="69"/>
                </a:cubicBezTo>
                <a:cubicBezTo>
                  <a:pt x="321" y="98"/>
                  <a:pt x="337" y="136"/>
                  <a:pt x="337" y="177"/>
                </a:cubicBezTo>
                <a:cubicBezTo>
                  <a:pt x="337" y="218"/>
                  <a:pt x="321" y="256"/>
                  <a:pt x="295" y="285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593725" y="2103293"/>
            <a:ext cx="3303102" cy="506219"/>
            <a:chOff x="593725" y="2044298"/>
            <a:chExt cx="3303102" cy="506219"/>
          </a:xfrm>
        </p:grpSpPr>
        <p:sp>
          <p:nvSpPr>
            <p:cNvPr id="18" name="TextBox 17"/>
            <p:cNvSpPr txBox="1"/>
            <p:nvPr/>
          </p:nvSpPr>
          <p:spPr>
            <a:xfrm>
              <a:off x="593725" y="2247164"/>
              <a:ext cx="3303102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93725" y="2044298"/>
              <a:ext cx="330310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ARKETING SOCIAL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93725" y="3659697"/>
            <a:ext cx="3303102" cy="506219"/>
            <a:chOff x="593725" y="3600702"/>
            <a:chExt cx="3303102" cy="506219"/>
          </a:xfrm>
        </p:grpSpPr>
        <p:sp>
          <p:nvSpPr>
            <p:cNvPr id="20" name="TextBox 19"/>
            <p:cNvSpPr txBox="1"/>
            <p:nvPr/>
          </p:nvSpPr>
          <p:spPr>
            <a:xfrm>
              <a:off x="593725" y="3803568"/>
              <a:ext cx="3303102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93725" y="3600702"/>
              <a:ext cx="330310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UPORTE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234474" y="2103293"/>
            <a:ext cx="3303102" cy="506219"/>
            <a:chOff x="5234474" y="2044298"/>
            <a:chExt cx="3303102" cy="506219"/>
          </a:xfrm>
        </p:grpSpPr>
        <p:sp>
          <p:nvSpPr>
            <p:cNvPr id="22" name="TextBox 21"/>
            <p:cNvSpPr txBox="1"/>
            <p:nvPr/>
          </p:nvSpPr>
          <p:spPr>
            <a:xfrm>
              <a:off x="5234474" y="2247164"/>
              <a:ext cx="3303102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234474" y="2044298"/>
              <a:ext cx="330310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EGURANÇA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234474" y="3659697"/>
            <a:ext cx="3303102" cy="506219"/>
            <a:chOff x="5234474" y="3600702"/>
            <a:chExt cx="3303102" cy="506219"/>
          </a:xfrm>
        </p:grpSpPr>
        <p:sp>
          <p:nvSpPr>
            <p:cNvPr id="24" name="TextBox 23"/>
            <p:cNvSpPr txBox="1"/>
            <p:nvPr/>
          </p:nvSpPr>
          <p:spPr>
            <a:xfrm>
              <a:off x="5234474" y="3803568"/>
              <a:ext cx="3303102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In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5234474" y="3600702"/>
              <a:ext cx="330310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OVOS NEGÓCI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211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AS </a:t>
            </a:r>
            <a:r>
              <a:rPr lang="en-US" dirty="0">
                <a:solidFill>
                  <a:srgbClr val="EC0000"/>
                </a:solidFill>
              </a:rPr>
              <a:t>SOLUÇÕ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Mauris</a:t>
            </a:r>
            <a:r>
              <a:rPr lang="en-US" dirty="0"/>
              <a:t> pharetra </a:t>
            </a:r>
            <a:r>
              <a:rPr lang="en-US" dirty="0" err="1"/>
              <a:t>pharetr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. </a:t>
            </a:r>
            <a:r>
              <a:rPr lang="en-US" dirty="0" err="1"/>
              <a:t>Etiam</a:t>
            </a:r>
            <a:r>
              <a:rPr lang="en-US" dirty="0"/>
              <a:t> at dolor </a:t>
            </a:r>
            <a:r>
              <a:rPr lang="en-US" dirty="0" err="1"/>
              <a:t>faucibus</a:t>
            </a:r>
            <a:r>
              <a:rPr lang="en-US" dirty="0"/>
              <a:t>.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593725" y="2914649"/>
            <a:ext cx="795337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5880029" y="1543049"/>
            <a:ext cx="0" cy="274320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3263972" y="1543049"/>
            <a:ext cx="0" cy="274320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85"/>
          <p:cNvSpPr>
            <a:spLocks noEditPoints="1"/>
          </p:cNvSpPr>
          <p:nvPr/>
        </p:nvSpPr>
        <p:spPr bwMode="auto">
          <a:xfrm>
            <a:off x="7020576" y="1578450"/>
            <a:ext cx="354227" cy="354227"/>
          </a:xfrm>
          <a:custGeom>
            <a:avLst/>
            <a:gdLst>
              <a:gd name="T0" fmla="*/ 177 w 353"/>
              <a:gd name="T1" fmla="*/ 273 h 353"/>
              <a:gd name="T2" fmla="*/ 177 w 353"/>
              <a:gd name="T3" fmla="*/ 96 h 353"/>
              <a:gd name="T4" fmla="*/ 177 w 353"/>
              <a:gd name="T5" fmla="*/ 144 h 353"/>
              <a:gd name="T6" fmla="*/ 177 w 353"/>
              <a:gd name="T7" fmla="*/ 96 h 353"/>
              <a:gd name="T8" fmla="*/ 103 w 353"/>
              <a:gd name="T9" fmla="*/ 145 h 353"/>
              <a:gd name="T10" fmla="*/ 169 w 353"/>
              <a:gd name="T11" fmla="*/ 207 h 353"/>
              <a:gd name="T12" fmla="*/ 177 w 353"/>
              <a:gd name="T13" fmla="*/ 160 h 353"/>
              <a:gd name="T14" fmla="*/ 161 w 353"/>
              <a:gd name="T15" fmla="*/ 176 h 353"/>
              <a:gd name="T16" fmla="*/ 185 w 353"/>
              <a:gd name="T17" fmla="*/ 207 h 353"/>
              <a:gd name="T18" fmla="*/ 251 w 353"/>
              <a:gd name="T19" fmla="*/ 145 h 353"/>
              <a:gd name="T20" fmla="*/ 325 w 353"/>
              <a:gd name="T21" fmla="*/ 137 h 353"/>
              <a:gd name="T22" fmla="*/ 318 w 353"/>
              <a:gd name="T23" fmla="*/ 68 h 353"/>
              <a:gd name="T24" fmla="*/ 268 w 353"/>
              <a:gd name="T25" fmla="*/ 35 h 353"/>
              <a:gd name="T26" fmla="*/ 212 w 353"/>
              <a:gd name="T27" fmla="*/ 12 h 353"/>
              <a:gd name="T28" fmla="*/ 142 w 353"/>
              <a:gd name="T29" fmla="*/ 12 h 353"/>
              <a:gd name="T30" fmla="*/ 85 w 353"/>
              <a:gd name="T31" fmla="*/ 35 h 353"/>
              <a:gd name="T32" fmla="*/ 35 w 353"/>
              <a:gd name="T33" fmla="*/ 68 h 353"/>
              <a:gd name="T34" fmla="*/ 29 w 353"/>
              <a:gd name="T35" fmla="*/ 137 h 353"/>
              <a:gd name="T36" fmla="*/ 0 w 353"/>
              <a:gd name="T37" fmla="*/ 200 h 353"/>
              <a:gd name="T38" fmla="*/ 44 w 353"/>
              <a:gd name="T39" fmla="*/ 253 h 353"/>
              <a:gd name="T40" fmla="*/ 69 w 353"/>
              <a:gd name="T41" fmla="*/ 318 h 353"/>
              <a:gd name="T42" fmla="*/ 100 w 353"/>
              <a:gd name="T43" fmla="*/ 309 h 353"/>
              <a:gd name="T44" fmla="*/ 153 w 353"/>
              <a:gd name="T45" fmla="*/ 353 h 353"/>
              <a:gd name="T46" fmla="*/ 216 w 353"/>
              <a:gd name="T47" fmla="*/ 324 h 353"/>
              <a:gd name="T48" fmla="*/ 278 w 353"/>
              <a:gd name="T49" fmla="*/ 321 h 353"/>
              <a:gd name="T50" fmla="*/ 318 w 353"/>
              <a:gd name="T51" fmla="*/ 268 h 353"/>
              <a:gd name="T52" fmla="*/ 342 w 353"/>
              <a:gd name="T53" fmla="*/ 212 h 353"/>
              <a:gd name="T54" fmla="*/ 342 w 353"/>
              <a:gd name="T55" fmla="*/ 141 h 353"/>
              <a:gd name="T56" fmla="*/ 321 w 353"/>
              <a:gd name="T57" fmla="*/ 200 h 353"/>
              <a:gd name="T58" fmla="*/ 296 w 353"/>
              <a:gd name="T59" fmla="*/ 261 h 353"/>
              <a:gd name="T60" fmla="*/ 276 w 353"/>
              <a:gd name="T61" fmla="*/ 304 h 353"/>
              <a:gd name="T62" fmla="*/ 245 w 353"/>
              <a:gd name="T63" fmla="*/ 295 h 353"/>
              <a:gd name="T64" fmla="*/ 197 w 353"/>
              <a:gd name="T65" fmla="*/ 337 h 353"/>
              <a:gd name="T66" fmla="*/ 153 w 353"/>
              <a:gd name="T67" fmla="*/ 320 h 353"/>
              <a:gd name="T68" fmla="*/ 100 w 353"/>
              <a:gd name="T69" fmla="*/ 293 h 353"/>
              <a:gd name="T70" fmla="*/ 77 w 353"/>
              <a:gd name="T71" fmla="*/ 304 h 353"/>
              <a:gd name="T72" fmla="*/ 58 w 353"/>
              <a:gd name="T73" fmla="*/ 245 h 353"/>
              <a:gd name="T74" fmla="*/ 16 w 353"/>
              <a:gd name="T75" fmla="*/ 196 h 353"/>
              <a:gd name="T76" fmla="*/ 33 w 353"/>
              <a:gd name="T77" fmla="*/ 152 h 353"/>
              <a:gd name="T78" fmla="*/ 58 w 353"/>
              <a:gd name="T79" fmla="*/ 92 h 353"/>
              <a:gd name="T80" fmla="*/ 77 w 353"/>
              <a:gd name="T81" fmla="*/ 49 h 353"/>
              <a:gd name="T82" fmla="*/ 108 w 353"/>
              <a:gd name="T83" fmla="*/ 58 h 353"/>
              <a:gd name="T84" fmla="*/ 157 w 353"/>
              <a:gd name="T85" fmla="*/ 16 h 353"/>
              <a:gd name="T86" fmla="*/ 201 w 353"/>
              <a:gd name="T87" fmla="*/ 33 h 353"/>
              <a:gd name="T88" fmla="*/ 253 w 353"/>
              <a:gd name="T89" fmla="*/ 60 h 353"/>
              <a:gd name="T90" fmla="*/ 304 w 353"/>
              <a:gd name="T91" fmla="*/ 77 h 353"/>
              <a:gd name="T92" fmla="*/ 295 w 353"/>
              <a:gd name="T93" fmla="*/ 108 h 353"/>
              <a:gd name="T94" fmla="*/ 337 w 353"/>
              <a:gd name="T95" fmla="*/ 15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3" h="353">
                <a:moveTo>
                  <a:pt x="177" y="80"/>
                </a:moveTo>
                <a:cubicBezTo>
                  <a:pt x="124" y="80"/>
                  <a:pt x="80" y="123"/>
                  <a:pt x="80" y="176"/>
                </a:cubicBezTo>
                <a:cubicBezTo>
                  <a:pt x="80" y="230"/>
                  <a:pt x="124" y="273"/>
                  <a:pt x="177" y="273"/>
                </a:cubicBezTo>
                <a:cubicBezTo>
                  <a:pt x="230" y="273"/>
                  <a:pt x="273" y="230"/>
                  <a:pt x="273" y="176"/>
                </a:cubicBezTo>
                <a:cubicBezTo>
                  <a:pt x="273" y="123"/>
                  <a:pt x="230" y="80"/>
                  <a:pt x="177" y="80"/>
                </a:cubicBezTo>
                <a:moveTo>
                  <a:pt x="177" y="96"/>
                </a:moveTo>
                <a:cubicBezTo>
                  <a:pt x="204" y="96"/>
                  <a:pt x="228" y="110"/>
                  <a:pt x="243" y="131"/>
                </a:cubicBezTo>
                <a:cubicBezTo>
                  <a:pt x="200" y="154"/>
                  <a:pt x="200" y="154"/>
                  <a:pt x="200" y="154"/>
                </a:cubicBezTo>
                <a:cubicBezTo>
                  <a:pt x="194" y="148"/>
                  <a:pt x="186" y="144"/>
                  <a:pt x="177" y="144"/>
                </a:cubicBezTo>
                <a:cubicBezTo>
                  <a:pt x="168" y="144"/>
                  <a:pt x="159" y="148"/>
                  <a:pt x="154" y="154"/>
                </a:cubicBezTo>
                <a:cubicBezTo>
                  <a:pt x="111" y="131"/>
                  <a:pt x="111" y="131"/>
                  <a:pt x="111" y="131"/>
                </a:cubicBezTo>
                <a:cubicBezTo>
                  <a:pt x="125" y="110"/>
                  <a:pt x="150" y="96"/>
                  <a:pt x="177" y="96"/>
                </a:cubicBezTo>
                <a:moveTo>
                  <a:pt x="169" y="256"/>
                </a:moveTo>
                <a:cubicBezTo>
                  <a:pt x="128" y="252"/>
                  <a:pt x="97" y="218"/>
                  <a:pt x="97" y="176"/>
                </a:cubicBezTo>
                <a:cubicBezTo>
                  <a:pt x="97" y="165"/>
                  <a:pt x="99" y="154"/>
                  <a:pt x="103" y="145"/>
                </a:cubicBezTo>
                <a:cubicBezTo>
                  <a:pt x="146" y="168"/>
                  <a:pt x="146" y="168"/>
                  <a:pt x="146" y="168"/>
                </a:cubicBezTo>
                <a:cubicBezTo>
                  <a:pt x="145" y="171"/>
                  <a:pt x="145" y="174"/>
                  <a:pt x="145" y="176"/>
                </a:cubicBezTo>
                <a:cubicBezTo>
                  <a:pt x="145" y="191"/>
                  <a:pt x="155" y="204"/>
                  <a:pt x="169" y="207"/>
                </a:cubicBezTo>
                <a:lnTo>
                  <a:pt x="169" y="256"/>
                </a:lnTo>
                <a:close/>
                <a:moveTo>
                  <a:pt x="161" y="176"/>
                </a:moveTo>
                <a:cubicBezTo>
                  <a:pt x="161" y="168"/>
                  <a:pt x="168" y="160"/>
                  <a:pt x="177" y="160"/>
                </a:cubicBezTo>
                <a:cubicBezTo>
                  <a:pt x="186" y="160"/>
                  <a:pt x="193" y="168"/>
                  <a:pt x="193" y="176"/>
                </a:cubicBezTo>
                <a:cubicBezTo>
                  <a:pt x="193" y="185"/>
                  <a:pt x="186" y="192"/>
                  <a:pt x="177" y="192"/>
                </a:cubicBezTo>
                <a:cubicBezTo>
                  <a:pt x="168" y="192"/>
                  <a:pt x="161" y="185"/>
                  <a:pt x="161" y="176"/>
                </a:cubicBezTo>
                <a:moveTo>
                  <a:pt x="257" y="176"/>
                </a:moveTo>
                <a:cubicBezTo>
                  <a:pt x="257" y="218"/>
                  <a:pt x="225" y="252"/>
                  <a:pt x="185" y="256"/>
                </a:cubicBezTo>
                <a:cubicBezTo>
                  <a:pt x="185" y="207"/>
                  <a:pt x="185" y="207"/>
                  <a:pt x="185" y="207"/>
                </a:cubicBezTo>
                <a:cubicBezTo>
                  <a:pt x="199" y="204"/>
                  <a:pt x="209" y="191"/>
                  <a:pt x="209" y="176"/>
                </a:cubicBezTo>
                <a:cubicBezTo>
                  <a:pt x="209" y="174"/>
                  <a:pt x="208" y="171"/>
                  <a:pt x="208" y="168"/>
                </a:cubicBezTo>
                <a:cubicBezTo>
                  <a:pt x="251" y="145"/>
                  <a:pt x="251" y="145"/>
                  <a:pt x="251" y="145"/>
                </a:cubicBezTo>
                <a:cubicBezTo>
                  <a:pt x="255" y="154"/>
                  <a:pt x="257" y="165"/>
                  <a:pt x="257" y="176"/>
                </a:cubicBezTo>
                <a:moveTo>
                  <a:pt x="342" y="141"/>
                </a:moveTo>
                <a:cubicBezTo>
                  <a:pt x="325" y="137"/>
                  <a:pt x="325" y="137"/>
                  <a:pt x="325" y="137"/>
                </a:cubicBezTo>
                <a:cubicBezTo>
                  <a:pt x="321" y="124"/>
                  <a:pt x="316" y="111"/>
                  <a:pt x="309" y="100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21" y="79"/>
                  <a:pt x="323" y="73"/>
                  <a:pt x="318" y="68"/>
                </a:cubicBezTo>
                <a:cubicBezTo>
                  <a:pt x="285" y="35"/>
                  <a:pt x="285" y="35"/>
                  <a:pt x="285" y="35"/>
                </a:cubicBezTo>
                <a:cubicBezTo>
                  <a:pt x="283" y="33"/>
                  <a:pt x="280" y="32"/>
                  <a:pt x="278" y="32"/>
                </a:cubicBezTo>
                <a:cubicBezTo>
                  <a:pt x="275" y="32"/>
                  <a:pt x="271" y="33"/>
                  <a:pt x="268" y="35"/>
                </a:cubicBezTo>
                <a:cubicBezTo>
                  <a:pt x="253" y="44"/>
                  <a:pt x="253" y="44"/>
                  <a:pt x="253" y="44"/>
                </a:cubicBezTo>
                <a:cubicBezTo>
                  <a:pt x="242" y="37"/>
                  <a:pt x="229" y="32"/>
                  <a:pt x="216" y="29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6"/>
                  <a:pt x="207" y="0"/>
                  <a:pt x="20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47" y="0"/>
                  <a:pt x="143" y="6"/>
                  <a:pt x="142" y="12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24" y="32"/>
                  <a:pt x="112" y="37"/>
                  <a:pt x="100" y="44"/>
                </a:cubicBezTo>
                <a:cubicBezTo>
                  <a:pt x="85" y="35"/>
                  <a:pt x="85" y="35"/>
                  <a:pt x="85" y="35"/>
                </a:cubicBezTo>
                <a:cubicBezTo>
                  <a:pt x="82" y="33"/>
                  <a:pt x="79" y="32"/>
                  <a:pt x="76" y="32"/>
                </a:cubicBezTo>
                <a:cubicBezTo>
                  <a:pt x="73" y="32"/>
                  <a:pt x="71" y="33"/>
                  <a:pt x="69" y="35"/>
                </a:cubicBezTo>
                <a:cubicBezTo>
                  <a:pt x="35" y="68"/>
                  <a:pt x="35" y="68"/>
                  <a:pt x="35" y="68"/>
                </a:cubicBezTo>
                <a:cubicBezTo>
                  <a:pt x="31" y="73"/>
                  <a:pt x="33" y="79"/>
                  <a:pt x="35" y="85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38" y="111"/>
                  <a:pt x="32" y="124"/>
                  <a:pt x="29" y="137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6" y="143"/>
                  <a:pt x="0" y="146"/>
                  <a:pt x="0" y="15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6" y="210"/>
                  <a:pt x="12" y="212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32" y="229"/>
                  <a:pt x="38" y="241"/>
                  <a:pt x="44" y="253"/>
                </a:cubicBezTo>
                <a:cubicBezTo>
                  <a:pt x="35" y="268"/>
                  <a:pt x="35" y="268"/>
                  <a:pt x="35" y="268"/>
                </a:cubicBezTo>
                <a:cubicBezTo>
                  <a:pt x="32" y="273"/>
                  <a:pt x="31" y="280"/>
                  <a:pt x="35" y="285"/>
                </a:cubicBezTo>
                <a:cubicBezTo>
                  <a:pt x="69" y="318"/>
                  <a:pt x="69" y="318"/>
                  <a:pt x="69" y="318"/>
                </a:cubicBezTo>
                <a:cubicBezTo>
                  <a:pt x="71" y="320"/>
                  <a:pt x="73" y="321"/>
                  <a:pt x="76" y="321"/>
                </a:cubicBezTo>
                <a:cubicBezTo>
                  <a:pt x="79" y="321"/>
                  <a:pt x="82" y="319"/>
                  <a:pt x="85" y="318"/>
                </a:cubicBezTo>
                <a:cubicBezTo>
                  <a:pt x="100" y="309"/>
                  <a:pt x="100" y="309"/>
                  <a:pt x="100" y="309"/>
                </a:cubicBezTo>
                <a:cubicBezTo>
                  <a:pt x="112" y="315"/>
                  <a:pt x="124" y="321"/>
                  <a:pt x="137" y="324"/>
                </a:cubicBezTo>
                <a:cubicBezTo>
                  <a:pt x="142" y="341"/>
                  <a:pt x="142" y="341"/>
                  <a:pt x="142" y="341"/>
                </a:cubicBezTo>
                <a:cubicBezTo>
                  <a:pt x="143" y="347"/>
                  <a:pt x="147" y="353"/>
                  <a:pt x="153" y="353"/>
                </a:cubicBezTo>
                <a:cubicBezTo>
                  <a:pt x="200" y="353"/>
                  <a:pt x="200" y="353"/>
                  <a:pt x="200" y="353"/>
                </a:cubicBezTo>
                <a:cubicBezTo>
                  <a:pt x="207" y="353"/>
                  <a:pt x="210" y="347"/>
                  <a:pt x="212" y="341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229" y="321"/>
                  <a:pt x="242" y="315"/>
                  <a:pt x="253" y="309"/>
                </a:cubicBezTo>
                <a:cubicBezTo>
                  <a:pt x="268" y="318"/>
                  <a:pt x="268" y="318"/>
                  <a:pt x="268" y="318"/>
                </a:cubicBezTo>
                <a:cubicBezTo>
                  <a:pt x="271" y="319"/>
                  <a:pt x="275" y="321"/>
                  <a:pt x="278" y="321"/>
                </a:cubicBezTo>
                <a:cubicBezTo>
                  <a:pt x="281" y="321"/>
                  <a:pt x="283" y="320"/>
                  <a:pt x="285" y="318"/>
                </a:cubicBezTo>
                <a:cubicBezTo>
                  <a:pt x="318" y="285"/>
                  <a:pt x="318" y="285"/>
                  <a:pt x="318" y="285"/>
                </a:cubicBezTo>
                <a:cubicBezTo>
                  <a:pt x="323" y="280"/>
                  <a:pt x="321" y="273"/>
                  <a:pt x="318" y="268"/>
                </a:cubicBezTo>
                <a:cubicBezTo>
                  <a:pt x="309" y="253"/>
                  <a:pt x="309" y="253"/>
                  <a:pt x="309" y="253"/>
                </a:cubicBezTo>
                <a:cubicBezTo>
                  <a:pt x="316" y="241"/>
                  <a:pt x="321" y="229"/>
                  <a:pt x="325" y="216"/>
                </a:cubicBezTo>
                <a:cubicBezTo>
                  <a:pt x="342" y="212"/>
                  <a:pt x="342" y="212"/>
                  <a:pt x="342" y="212"/>
                </a:cubicBezTo>
                <a:cubicBezTo>
                  <a:pt x="347" y="210"/>
                  <a:pt x="353" y="206"/>
                  <a:pt x="353" y="200"/>
                </a:cubicBezTo>
                <a:cubicBezTo>
                  <a:pt x="353" y="153"/>
                  <a:pt x="353" y="153"/>
                  <a:pt x="353" y="153"/>
                </a:cubicBezTo>
                <a:cubicBezTo>
                  <a:pt x="353" y="146"/>
                  <a:pt x="347" y="143"/>
                  <a:pt x="342" y="141"/>
                </a:cubicBezTo>
                <a:moveTo>
                  <a:pt x="337" y="196"/>
                </a:moveTo>
                <a:cubicBezTo>
                  <a:pt x="337" y="196"/>
                  <a:pt x="337" y="196"/>
                  <a:pt x="337" y="196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15" y="202"/>
                  <a:pt x="311" y="206"/>
                  <a:pt x="309" y="212"/>
                </a:cubicBezTo>
                <a:cubicBezTo>
                  <a:pt x="306" y="223"/>
                  <a:pt x="301" y="234"/>
                  <a:pt x="295" y="245"/>
                </a:cubicBezTo>
                <a:cubicBezTo>
                  <a:pt x="292" y="250"/>
                  <a:pt x="293" y="256"/>
                  <a:pt x="296" y="261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62" y="295"/>
                  <a:pt x="262" y="295"/>
                  <a:pt x="262" y="295"/>
                </a:cubicBezTo>
                <a:cubicBezTo>
                  <a:pt x="259" y="294"/>
                  <a:pt x="256" y="293"/>
                  <a:pt x="253" y="293"/>
                </a:cubicBezTo>
                <a:cubicBezTo>
                  <a:pt x="250" y="293"/>
                  <a:pt x="248" y="293"/>
                  <a:pt x="245" y="295"/>
                </a:cubicBezTo>
                <a:cubicBezTo>
                  <a:pt x="235" y="301"/>
                  <a:pt x="224" y="305"/>
                  <a:pt x="212" y="309"/>
                </a:cubicBezTo>
                <a:cubicBezTo>
                  <a:pt x="207" y="310"/>
                  <a:pt x="202" y="315"/>
                  <a:pt x="201" y="320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97" y="337"/>
                  <a:pt x="197" y="337"/>
                  <a:pt x="197" y="337"/>
                </a:cubicBezTo>
                <a:cubicBezTo>
                  <a:pt x="157" y="337"/>
                  <a:pt x="157" y="337"/>
                  <a:pt x="157" y="337"/>
                </a:cubicBezTo>
                <a:cubicBezTo>
                  <a:pt x="153" y="320"/>
                  <a:pt x="153" y="320"/>
                  <a:pt x="153" y="320"/>
                </a:cubicBezTo>
                <a:cubicBezTo>
                  <a:pt x="151" y="315"/>
                  <a:pt x="147" y="310"/>
                  <a:pt x="141" y="309"/>
                </a:cubicBezTo>
                <a:cubicBezTo>
                  <a:pt x="130" y="305"/>
                  <a:pt x="119" y="301"/>
                  <a:pt x="108" y="295"/>
                </a:cubicBezTo>
                <a:cubicBezTo>
                  <a:pt x="106" y="293"/>
                  <a:pt x="103" y="293"/>
                  <a:pt x="100" y="293"/>
                </a:cubicBezTo>
                <a:cubicBezTo>
                  <a:pt x="98" y="293"/>
                  <a:pt x="95" y="294"/>
                  <a:pt x="92" y="295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49" y="276"/>
                  <a:pt x="49" y="276"/>
                  <a:pt x="49" y="276"/>
                </a:cubicBezTo>
                <a:cubicBezTo>
                  <a:pt x="58" y="261"/>
                  <a:pt x="58" y="261"/>
                  <a:pt x="58" y="261"/>
                </a:cubicBezTo>
                <a:cubicBezTo>
                  <a:pt x="61" y="256"/>
                  <a:pt x="61" y="250"/>
                  <a:pt x="58" y="245"/>
                </a:cubicBezTo>
                <a:cubicBezTo>
                  <a:pt x="52" y="234"/>
                  <a:pt x="48" y="223"/>
                  <a:pt x="44" y="212"/>
                </a:cubicBezTo>
                <a:cubicBezTo>
                  <a:pt x="43" y="206"/>
                  <a:pt x="39" y="202"/>
                  <a:pt x="33" y="20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57"/>
                  <a:pt x="16" y="157"/>
                  <a:pt x="16" y="157"/>
                </a:cubicBezTo>
                <a:cubicBezTo>
                  <a:pt x="33" y="152"/>
                  <a:pt x="33" y="152"/>
                  <a:pt x="33" y="152"/>
                </a:cubicBezTo>
                <a:cubicBezTo>
                  <a:pt x="39" y="151"/>
                  <a:pt x="43" y="147"/>
                  <a:pt x="44" y="141"/>
                </a:cubicBezTo>
                <a:cubicBezTo>
                  <a:pt x="48" y="129"/>
                  <a:pt x="52" y="118"/>
                  <a:pt x="58" y="108"/>
                </a:cubicBezTo>
                <a:cubicBezTo>
                  <a:pt x="61" y="103"/>
                  <a:pt x="61" y="97"/>
                  <a:pt x="58" y="92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49" y="77"/>
                  <a:pt x="49" y="77"/>
                </a:cubicBezTo>
                <a:cubicBezTo>
                  <a:pt x="77" y="49"/>
                  <a:pt x="77" y="49"/>
                  <a:pt x="77" y="49"/>
                </a:cubicBezTo>
                <a:cubicBezTo>
                  <a:pt x="92" y="58"/>
                  <a:pt x="92" y="58"/>
                  <a:pt x="92" y="58"/>
                </a:cubicBezTo>
                <a:cubicBezTo>
                  <a:pt x="95" y="59"/>
                  <a:pt x="98" y="60"/>
                  <a:pt x="100" y="60"/>
                </a:cubicBezTo>
                <a:cubicBezTo>
                  <a:pt x="103" y="60"/>
                  <a:pt x="106" y="59"/>
                  <a:pt x="108" y="58"/>
                </a:cubicBezTo>
                <a:cubicBezTo>
                  <a:pt x="119" y="52"/>
                  <a:pt x="130" y="47"/>
                  <a:pt x="141" y="44"/>
                </a:cubicBezTo>
                <a:cubicBezTo>
                  <a:pt x="147" y="43"/>
                  <a:pt x="151" y="38"/>
                  <a:pt x="153" y="33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197" y="16"/>
                  <a:pt x="197" y="16"/>
                  <a:pt x="197" y="16"/>
                </a:cubicBezTo>
                <a:cubicBezTo>
                  <a:pt x="201" y="33"/>
                  <a:pt x="201" y="33"/>
                  <a:pt x="201" y="33"/>
                </a:cubicBezTo>
                <a:cubicBezTo>
                  <a:pt x="202" y="38"/>
                  <a:pt x="207" y="43"/>
                  <a:pt x="212" y="44"/>
                </a:cubicBezTo>
                <a:cubicBezTo>
                  <a:pt x="224" y="47"/>
                  <a:pt x="235" y="52"/>
                  <a:pt x="245" y="58"/>
                </a:cubicBezTo>
                <a:cubicBezTo>
                  <a:pt x="248" y="59"/>
                  <a:pt x="250" y="60"/>
                  <a:pt x="253" y="60"/>
                </a:cubicBezTo>
                <a:cubicBezTo>
                  <a:pt x="256" y="60"/>
                  <a:pt x="259" y="59"/>
                  <a:pt x="262" y="58"/>
                </a:cubicBezTo>
                <a:cubicBezTo>
                  <a:pt x="276" y="49"/>
                  <a:pt x="276" y="49"/>
                  <a:pt x="276" y="49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296" y="92"/>
                  <a:pt x="296" y="92"/>
                  <a:pt x="296" y="92"/>
                </a:cubicBezTo>
                <a:cubicBezTo>
                  <a:pt x="293" y="97"/>
                  <a:pt x="292" y="103"/>
                  <a:pt x="295" y="108"/>
                </a:cubicBezTo>
                <a:cubicBezTo>
                  <a:pt x="301" y="118"/>
                  <a:pt x="306" y="129"/>
                  <a:pt x="309" y="141"/>
                </a:cubicBezTo>
                <a:cubicBezTo>
                  <a:pt x="311" y="147"/>
                  <a:pt x="315" y="151"/>
                  <a:pt x="321" y="152"/>
                </a:cubicBezTo>
                <a:cubicBezTo>
                  <a:pt x="337" y="157"/>
                  <a:pt x="337" y="157"/>
                  <a:pt x="337" y="157"/>
                </a:cubicBezTo>
                <a:lnTo>
                  <a:pt x="337" y="196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1742498" y="1577148"/>
            <a:ext cx="257857" cy="355529"/>
          </a:xfrm>
          <a:custGeom>
            <a:avLst/>
            <a:gdLst>
              <a:gd name="T0" fmla="*/ 129 w 257"/>
              <a:gd name="T1" fmla="*/ 208 h 353"/>
              <a:gd name="T2" fmla="*/ 96 w 257"/>
              <a:gd name="T3" fmla="*/ 241 h 353"/>
              <a:gd name="T4" fmla="*/ 105 w 257"/>
              <a:gd name="T5" fmla="*/ 262 h 353"/>
              <a:gd name="T6" fmla="*/ 104 w 257"/>
              <a:gd name="T7" fmla="*/ 265 h 353"/>
              <a:gd name="T8" fmla="*/ 129 w 257"/>
              <a:gd name="T9" fmla="*/ 289 h 353"/>
              <a:gd name="T10" fmla="*/ 153 w 257"/>
              <a:gd name="T11" fmla="*/ 265 h 353"/>
              <a:gd name="T12" fmla="*/ 152 w 257"/>
              <a:gd name="T13" fmla="*/ 262 h 353"/>
              <a:gd name="T14" fmla="*/ 161 w 257"/>
              <a:gd name="T15" fmla="*/ 241 h 353"/>
              <a:gd name="T16" fmla="*/ 129 w 257"/>
              <a:gd name="T17" fmla="*/ 208 h 353"/>
              <a:gd name="T18" fmla="*/ 137 w 257"/>
              <a:gd name="T19" fmla="*/ 254 h 353"/>
              <a:gd name="T20" fmla="*/ 137 w 257"/>
              <a:gd name="T21" fmla="*/ 265 h 353"/>
              <a:gd name="T22" fmla="*/ 129 w 257"/>
              <a:gd name="T23" fmla="*/ 273 h 353"/>
              <a:gd name="T24" fmla="*/ 120 w 257"/>
              <a:gd name="T25" fmla="*/ 265 h 353"/>
              <a:gd name="T26" fmla="*/ 120 w 257"/>
              <a:gd name="T27" fmla="*/ 254 h 353"/>
              <a:gd name="T28" fmla="*/ 112 w 257"/>
              <a:gd name="T29" fmla="*/ 241 h 353"/>
              <a:gd name="T30" fmla="*/ 129 w 257"/>
              <a:gd name="T31" fmla="*/ 225 h 353"/>
              <a:gd name="T32" fmla="*/ 145 w 257"/>
              <a:gd name="T33" fmla="*/ 241 h 353"/>
              <a:gd name="T34" fmla="*/ 137 w 257"/>
              <a:gd name="T35" fmla="*/ 254 h 353"/>
              <a:gd name="T36" fmla="*/ 225 w 257"/>
              <a:gd name="T37" fmla="*/ 144 h 353"/>
              <a:gd name="T38" fmla="*/ 225 w 257"/>
              <a:gd name="T39" fmla="*/ 96 h 353"/>
              <a:gd name="T40" fmla="*/ 129 w 257"/>
              <a:gd name="T41" fmla="*/ 0 h 353"/>
              <a:gd name="T42" fmla="*/ 32 w 257"/>
              <a:gd name="T43" fmla="*/ 96 h 353"/>
              <a:gd name="T44" fmla="*/ 32 w 257"/>
              <a:gd name="T45" fmla="*/ 144 h 353"/>
              <a:gd name="T46" fmla="*/ 0 w 257"/>
              <a:gd name="T47" fmla="*/ 176 h 353"/>
              <a:gd name="T48" fmla="*/ 0 w 257"/>
              <a:gd name="T49" fmla="*/ 321 h 353"/>
              <a:gd name="T50" fmla="*/ 32 w 257"/>
              <a:gd name="T51" fmla="*/ 353 h 353"/>
              <a:gd name="T52" fmla="*/ 225 w 257"/>
              <a:gd name="T53" fmla="*/ 353 h 353"/>
              <a:gd name="T54" fmla="*/ 257 w 257"/>
              <a:gd name="T55" fmla="*/ 321 h 353"/>
              <a:gd name="T56" fmla="*/ 257 w 257"/>
              <a:gd name="T57" fmla="*/ 176 h 353"/>
              <a:gd name="T58" fmla="*/ 225 w 257"/>
              <a:gd name="T59" fmla="*/ 144 h 353"/>
              <a:gd name="T60" fmla="*/ 48 w 257"/>
              <a:gd name="T61" fmla="*/ 96 h 353"/>
              <a:gd name="T62" fmla="*/ 129 w 257"/>
              <a:gd name="T63" fmla="*/ 16 h 353"/>
              <a:gd name="T64" fmla="*/ 209 w 257"/>
              <a:gd name="T65" fmla="*/ 96 h 353"/>
              <a:gd name="T66" fmla="*/ 209 w 257"/>
              <a:gd name="T67" fmla="*/ 144 h 353"/>
              <a:gd name="T68" fmla="*/ 48 w 257"/>
              <a:gd name="T69" fmla="*/ 144 h 353"/>
              <a:gd name="T70" fmla="*/ 48 w 257"/>
              <a:gd name="T71" fmla="*/ 96 h 353"/>
              <a:gd name="T72" fmla="*/ 241 w 257"/>
              <a:gd name="T73" fmla="*/ 321 h 353"/>
              <a:gd name="T74" fmla="*/ 225 w 257"/>
              <a:gd name="T75" fmla="*/ 337 h 353"/>
              <a:gd name="T76" fmla="*/ 32 w 257"/>
              <a:gd name="T77" fmla="*/ 337 h 353"/>
              <a:gd name="T78" fmla="*/ 16 w 257"/>
              <a:gd name="T79" fmla="*/ 321 h 353"/>
              <a:gd name="T80" fmla="*/ 16 w 257"/>
              <a:gd name="T81" fmla="*/ 176 h 353"/>
              <a:gd name="T82" fmla="*/ 32 w 257"/>
              <a:gd name="T83" fmla="*/ 160 h 353"/>
              <a:gd name="T84" fmla="*/ 225 w 257"/>
              <a:gd name="T85" fmla="*/ 160 h 353"/>
              <a:gd name="T86" fmla="*/ 241 w 257"/>
              <a:gd name="T87" fmla="*/ 176 h 353"/>
              <a:gd name="T88" fmla="*/ 241 w 257"/>
              <a:gd name="T89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7" h="353">
                <a:moveTo>
                  <a:pt x="129" y="208"/>
                </a:moveTo>
                <a:cubicBezTo>
                  <a:pt x="111" y="208"/>
                  <a:pt x="96" y="223"/>
                  <a:pt x="96" y="241"/>
                </a:cubicBezTo>
                <a:cubicBezTo>
                  <a:pt x="96" y="249"/>
                  <a:pt x="100" y="256"/>
                  <a:pt x="105" y="262"/>
                </a:cubicBezTo>
                <a:cubicBezTo>
                  <a:pt x="105" y="263"/>
                  <a:pt x="104" y="264"/>
                  <a:pt x="104" y="265"/>
                </a:cubicBezTo>
                <a:cubicBezTo>
                  <a:pt x="104" y="278"/>
                  <a:pt x="115" y="289"/>
                  <a:pt x="129" y="289"/>
                </a:cubicBezTo>
                <a:cubicBezTo>
                  <a:pt x="142" y="289"/>
                  <a:pt x="153" y="278"/>
                  <a:pt x="153" y="265"/>
                </a:cubicBezTo>
                <a:cubicBezTo>
                  <a:pt x="153" y="264"/>
                  <a:pt x="152" y="263"/>
                  <a:pt x="152" y="262"/>
                </a:cubicBezTo>
                <a:cubicBezTo>
                  <a:pt x="157" y="256"/>
                  <a:pt x="161" y="249"/>
                  <a:pt x="161" y="241"/>
                </a:cubicBezTo>
                <a:cubicBezTo>
                  <a:pt x="161" y="223"/>
                  <a:pt x="146" y="208"/>
                  <a:pt x="129" y="208"/>
                </a:cubicBezTo>
                <a:moveTo>
                  <a:pt x="137" y="254"/>
                </a:moveTo>
                <a:cubicBezTo>
                  <a:pt x="137" y="265"/>
                  <a:pt x="137" y="265"/>
                  <a:pt x="137" y="265"/>
                </a:cubicBezTo>
                <a:cubicBezTo>
                  <a:pt x="137" y="269"/>
                  <a:pt x="133" y="273"/>
                  <a:pt x="129" y="273"/>
                </a:cubicBezTo>
                <a:cubicBezTo>
                  <a:pt x="124" y="273"/>
                  <a:pt x="120" y="269"/>
                  <a:pt x="120" y="265"/>
                </a:cubicBezTo>
                <a:cubicBezTo>
                  <a:pt x="120" y="254"/>
                  <a:pt x="120" y="254"/>
                  <a:pt x="120" y="254"/>
                </a:cubicBezTo>
                <a:cubicBezTo>
                  <a:pt x="116" y="252"/>
                  <a:pt x="112" y="247"/>
                  <a:pt x="112" y="241"/>
                </a:cubicBezTo>
                <a:cubicBezTo>
                  <a:pt x="112" y="232"/>
                  <a:pt x="120" y="225"/>
                  <a:pt x="129" y="225"/>
                </a:cubicBezTo>
                <a:cubicBezTo>
                  <a:pt x="137" y="225"/>
                  <a:pt x="145" y="232"/>
                  <a:pt x="145" y="241"/>
                </a:cubicBezTo>
                <a:cubicBezTo>
                  <a:pt x="145" y="247"/>
                  <a:pt x="141" y="252"/>
                  <a:pt x="137" y="254"/>
                </a:cubicBezTo>
                <a:moveTo>
                  <a:pt x="225" y="144"/>
                </a:moveTo>
                <a:cubicBezTo>
                  <a:pt x="225" y="96"/>
                  <a:pt x="225" y="96"/>
                  <a:pt x="225" y="96"/>
                </a:cubicBezTo>
                <a:cubicBezTo>
                  <a:pt x="225" y="43"/>
                  <a:pt x="182" y="0"/>
                  <a:pt x="129" y="0"/>
                </a:cubicBezTo>
                <a:cubicBezTo>
                  <a:pt x="75" y="0"/>
                  <a:pt x="32" y="43"/>
                  <a:pt x="32" y="96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14" y="144"/>
                  <a:pt x="0" y="159"/>
                  <a:pt x="0" y="176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225" y="353"/>
                  <a:pt x="225" y="353"/>
                  <a:pt x="225" y="353"/>
                </a:cubicBezTo>
                <a:cubicBezTo>
                  <a:pt x="243" y="353"/>
                  <a:pt x="257" y="339"/>
                  <a:pt x="257" y="321"/>
                </a:cubicBezTo>
                <a:cubicBezTo>
                  <a:pt x="257" y="176"/>
                  <a:pt x="257" y="176"/>
                  <a:pt x="257" y="176"/>
                </a:cubicBezTo>
                <a:cubicBezTo>
                  <a:pt x="257" y="159"/>
                  <a:pt x="243" y="144"/>
                  <a:pt x="225" y="144"/>
                </a:cubicBezTo>
                <a:moveTo>
                  <a:pt x="48" y="96"/>
                </a:moveTo>
                <a:cubicBezTo>
                  <a:pt x="48" y="52"/>
                  <a:pt x="84" y="16"/>
                  <a:pt x="129" y="16"/>
                </a:cubicBezTo>
                <a:cubicBezTo>
                  <a:pt x="173" y="16"/>
                  <a:pt x="209" y="52"/>
                  <a:pt x="209" y="96"/>
                </a:cubicBezTo>
                <a:cubicBezTo>
                  <a:pt x="209" y="144"/>
                  <a:pt x="209" y="144"/>
                  <a:pt x="209" y="144"/>
                </a:cubicBezTo>
                <a:cubicBezTo>
                  <a:pt x="48" y="144"/>
                  <a:pt x="48" y="144"/>
                  <a:pt x="48" y="144"/>
                </a:cubicBezTo>
                <a:lnTo>
                  <a:pt x="48" y="96"/>
                </a:lnTo>
                <a:close/>
                <a:moveTo>
                  <a:pt x="241" y="321"/>
                </a:moveTo>
                <a:cubicBezTo>
                  <a:pt x="241" y="330"/>
                  <a:pt x="234" y="337"/>
                  <a:pt x="225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76"/>
                  <a:pt x="16" y="176"/>
                  <a:pt x="16" y="176"/>
                </a:cubicBezTo>
                <a:cubicBezTo>
                  <a:pt x="16" y="168"/>
                  <a:pt x="23" y="160"/>
                  <a:pt x="32" y="160"/>
                </a:cubicBezTo>
                <a:cubicBezTo>
                  <a:pt x="225" y="160"/>
                  <a:pt x="225" y="160"/>
                  <a:pt x="225" y="160"/>
                </a:cubicBezTo>
                <a:cubicBezTo>
                  <a:pt x="234" y="160"/>
                  <a:pt x="241" y="168"/>
                  <a:pt x="241" y="176"/>
                </a:cubicBezTo>
                <a:lnTo>
                  <a:pt x="241" y="32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4426142" y="1577148"/>
            <a:ext cx="291716" cy="355529"/>
          </a:xfrm>
          <a:custGeom>
            <a:avLst/>
            <a:gdLst>
              <a:gd name="T0" fmla="*/ 56 w 289"/>
              <a:gd name="T1" fmla="*/ 241 h 353"/>
              <a:gd name="T2" fmla="*/ 56 w 289"/>
              <a:gd name="T3" fmla="*/ 257 h 353"/>
              <a:gd name="T4" fmla="*/ 160 w 289"/>
              <a:gd name="T5" fmla="*/ 249 h 353"/>
              <a:gd name="T6" fmla="*/ 120 w 289"/>
              <a:gd name="T7" fmla="*/ 289 h 353"/>
              <a:gd name="T8" fmla="*/ 48 w 289"/>
              <a:gd name="T9" fmla="*/ 297 h 353"/>
              <a:gd name="T10" fmla="*/ 120 w 289"/>
              <a:gd name="T11" fmla="*/ 305 h 353"/>
              <a:gd name="T12" fmla="*/ 120 w 289"/>
              <a:gd name="T13" fmla="*/ 289 h 353"/>
              <a:gd name="T14" fmla="*/ 88 w 289"/>
              <a:gd name="T15" fmla="*/ 160 h 353"/>
              <a:gd name="T16" fmla="*/ 88 w 289"/>
              <a:gd name="T17" fmla="*/ 144 h 353"/>
              <a:gd name="T18" fmla="*/ 48 w 289"/>
              <a:gd name="T19" fmla="*/ 152 h 353"/>
              <a:gd name="T20" fmla="*/ 48 w 289"/>
              <a:gd name="T21" fmla="*/ 200 h 353"/>
              <a:gd name="T22" fmla="*/ 152 w 289"/>
              <a:gd name="T23" fmla="*/ 208 h 353"/>
              <a:gd name="T24" fmla="*/ 152 w 289"/>
              <a:gd name="T25" fmla="*/ 192 h 353"/>
              <a:gd name="T26" fmla="*/ 48 w 289"/>
              <a:gd name="T27" fmla="*/ 200 h 353"/>
              <a:gd name="T28" fmla="*/ 112 w 289"/>
              <a:gd name="T29" fmla="*/ 0 h 353"/>
              <a:gd name="T30" fmla="*/ 80 w 289"/>
              <a:gd name="T31" fmla="*/ 56 h 353"/>
              <a:gd name="T32" fmla="*/ 96 w 289"/>
              <a:gd name="T33" fmla="*/ 56 h 353"/>
              <a:gd name="T34" fmla="*/ 112 w 289"/>
              <a:gd name="T35" fmla="*/ 16 h 353"/>
              <a:gd name="T36" fmla="*/ 208 w 289"/>
              <a:gd name="T37" fmla="*/ 64 h 353"/>
              <a:gd name="T38" fmla="*/ 273 w 289"/>
              <a:gd name="T39" fmla="*/ 80 h 353"/>
              <a:gd name="T40" fmla="*/ 257 w 289"/>
              <a:gd name="T41" fmla="*/ 257 h 353"/>
              <a:gd name="T42" fmla="*/ 224 w 289"/>
              <a:gd name="T43" fmla="*/ 265 h 353"/>
              <a:gd name="T44" fmla="*/ 257 w 289"/>
              <a:gd name="T45" fmla="*/ 273 h 353"/>
              <a:gd name="T46" fmla="*/ 289 w 289"/>
              <a:gd name="T47" fmla="*/ 64 h 353"/>
              <a:gd name="T48" fmla="*/ 224 w 289"/>
              <a:gd name="T49" fmla="*/ 64 h 353"/>
              <a:gd name="T50" fmla="*/ 266 w 289"/>
              <a:gd name="T51" fmla="*/ 64 h 353"/>
              <a:gd name="T52" fmla="*/ 32 w 289"/>
              <a:gd name="T53" fmla="*/ 80 h 353"/>
              <a:gd name="T54" fmla="*/ 0 w 289"/>
              <a:gd name="T55" fmla="*/ 321 h 353"/>
              <a:gd name="T56" fmla="*/ 176 w 289"/>
              <a:gd name="T57" fmla="*/ 353 h 353"/>
              <a:gd name="T58" fmla="*/ 208 w 289"/>
              <a:gd name="T59" fmla="*/ 144 h 353"/>
              <a:gd name="T60" fmla="*/ 32 w 289"/>
              <a:gd name="T61" fmla="*/ 80 h 353"/>
              <a:gd name="T62" fmla="*/ 176 w 289"/>
              <a:gd name="T63" fmla="*/ 337 h 353"/>
              <a:gd name="T64" fmla="*/ 16 w 289"/>
              <a:gd name="T65" fmla="*/ 321 h 353"/>
              <a:gd name="T66" fmla="*/ 32 w 289"/>
              <a:gd name="T67" fmla="*/ 96 h 353"/>
              <a:gd name="T68" fmla="*/ 128 w 289"/>
              <a:gd name="T69" fmla="*/ 144 h 353"/>
              <a:gd name="T70" fmla="*/ 192 w 289"/>
              <a:gd name="T71" fmla="*/ 160 h 353"/>
              <a:gd name="T72" fmla="*/ 144 w 289"/>
              <a:gd name="T73" fmla="*/ 144 h 353"/>
              <a:gd name="T74" fmla="*/ 186 w 289"/>
              <a:gd name="T75" fmla="*/ 144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89" h="353">
                <a:moveTo>
                  <a:pt x="152" y="241"/>
                </a:moveTo>
                <a:cubicBezTo>
                  <a:pt x="56" y="241"/>
                  <a:pt x="56" y="241"/>
                  <a:pt x="56" y="241"/>
                </a:cubicBezTo>
                <a:cubicBezTo>
                  <a:pt x="51" y="241"/>
                  <a:pt x="48" y="244"/>
                  <a:pt x="48" y="249"/>
                </a:cubicBezTo>
                <a:cubicBezTo>
                  <a:pt x="48" y="253"/>
                  <a:pt x="51" y="257"/>
                  <a:pt x="56" y="257"/>
                </a:cubicBezTo>
                <a:cubicBezTo>
                  <a:pt x="152" y="257"/>
                  <a:pt x="152" y="257"/>
                  <a:pt x="152" y="257"/>
                </a:cubicBezTo>
                <a:cubicBezTo>
                  <a:pt x="157" y="257"/>
                  <a:pt x="160" y="253"/>
                  <a:pt x="160" y="249"/>
                </a:cubicBezTo>
                <a:cubicBezTo>
                  <a:pt x="160" y="244"/>
                  <a:pt x="157" y="241"/>
                  <a:pt x="152" y="241"/>
                </a:cubicBezTo>
                <a:moveTo>
                  <a:pt x="120" y="289"/>
                </a:moveTo>
                <a:cubicBezTo>
                  <a:pt x="56" y="289"/>
                  <a:pt x="56" y="289"/>
                  <a:pt x="56" y="289"/>
                </a:cubicBezTo>
                <a:cubicBezTo>
                  <a:pt x="51" y="289"/>
                  <a:pt x="48" y="292"/>
                  <a:pt x="48" y="297"/>
                </a:cubicBezTo>
                <a:cubicBezTo>
                  <a:pt x="48" y="301"/>
                  <a:pt x="51" y="305"/>
                  <a:pt x="56" y="305"/>
                </a:cubicBezTo>
                <a:cubicBezTo>
                  <a:pt x="120" y="305"/>
                  <a:pt x="120" y="305"/>
                  <a:pt x="120" y="305"/>
                </a:cubicBezTo>
                <a:cubicBezTo>
                  <a:pt x="125" y="305"/>
                  <a:pt x="128" y="301"/>
                  <a:pt x="128" y="297"/>
                </a:cubicBezTo>
                <a:cubicBezTo>
                  <a:pt x="128" y="292"/>
                  <a:pt x="125" y="289"/>
                  <a:pt x="120" y="289"/>
                </a:cubicBezTo>
                <a:moveTo>
                  <a:pt x="56" y="160"/>
                </a:moveTo>
                <a:cubicBezTo>
                  <a:pt x="88" y="160"/>
                  <a:pt x="88" y="160"/>
                  <a:pt x="88" y="160"/>
                </a:cubicBezTo>
                <a:cubicBezTo>
                  <a:pt x="92" y="160"/>
                  <a:pt x="96" y="157"/>
                  <a:pt x="96" y="152"/>
                </a:cubicBezTo>
                <a:cubicBezTo>
                  <a:pt x="96" y="148"/>
                  <a:pt x="92" y="144"/>
                  <a:pt x="88" y="144"/>
                </a:cubicBezTo>
                <a:cubicBezTo>
                  <a:pt x="56" y="144"/>
                  <a:pt x="56" y="144"/>
                  <a:pt x="56" y="144"/>
                </a:cubicBezTo>
                <a:cubicBezTo>
                  <a:pt x="51" y="144"/>
                  <a:pt x="48" y="148"/>
                  <a:pt x="48" y="152"/>
                </a:cubicBezTo>
                <a:cubicBezTo>
                  <a:pt x="48" y="157"/>
                  <a:pt x="51" y="160"/>
                  <a:pt x="56" y="160"/>
                </a:cubicBezTo>
                <a:moveTo>
                  <a:pt x="48" y="200"/>
                </a:moveTo>
                <a:cubicBezTo>
                  <a:pt x="48" y="205"/>
                  <a:pt x="51" y="208"/>
                  <a:pt x="56" y="208"/>
                </a:cubicBezTo>
                <a:cubicBezTo>
                  <a:pt x="152" y="208"/>
                  <a:pt x="152" y="208"/>
                  <a:pt x="152" y="208"/>
                </a:cubicBezTo>
                <a:cubicBezTo>
                  <a:pt x="157" y="208"/>
                  <a:pt x="160" y="205"/>
                  <a:pt x="160" y="200"/>
                </a:cubicBezTo>
                <a:cubicBezTo>
                  <a:pt x="160" y="196"/>
                  <a:pt x="157" y="192"/>
                  <a:pt x="152" y="192"/>
                </a:cubicBezTo>
                <a:cubicBezTo>
                  <a:pt x="56" y="192"/>
                  <a:pt x="56" y="192"/>
                  <a:pt x="56" y="192"/>
                </a:cubicBezTo>
                <a:cubicBezTo>
                  <a:pt x="51" y="192"/>
                  <a:pt x="48" y="196"/>
                  <a:pt x="48" y="200"/>
                </a:cubicBezTo>
                <a:moveTo>
                  <a:pt x="232" y="0"/>
                </a:moveTo>
                <a:cubicBezTo>
                  <a:pt x="112" y="0"/>
                  <a:pt x="112" y="0"/>
                  <a:pt x="112" y="0"/>
                </a:cubicBezTo>
                <a:cubicBezTo>
                  <a:pt x="94" y="0"/>
                  <a:pt x="80" y="14"/>
                  <a:pt x="80" y="32"/>
                </a:cubicBezTo>
                <a:cubicBezTo>
                  <a:pt x="80" y="56"/>
                  <a:pt x="80" y="56"/>
                  <a:pt x="80" y="56"/>
                </a:cubicBezTo>
                <a:cubicBezTo>
                  <a:pt x="80" y="60"/>
                  <a:pt x="84" y="64"/>
                  <a:pt x="88" y="64"/>
                </a:cubicBezTo>
                <a:cubicBezTo>
                  <a:pt x="92" y="64"/>
                  <a:pt x="96" y="60"/>
                  <a:pt x="96" y="56"/>
                </a:cubicBezTo>
                <a:cubicBezTo>
                  <a:pt x="96" y="32"/>
                  <a:pt x="96" y="32"/>
                  <a:pt x="96" y="32"/>
                </a:cubicBezTo>
                <a:cubicBezTo>
                  <a:pt x="96" y="23"/>
                  <a:pt x="103" y="16"/>
                  <a:pt x="112" y="16"/>
                </a:cubicBezTo>
                <a:cubicBezTo>
                  <a:pt x="208" y="16"/>
                  <a:pt x="208" y="16"/>
                  <a:pt x="208" y="16"/>
                </a:cubicBezTo>
                <a:cubicBezTo>
                  <a:pt x="208" y="64"/>
                  <a:pt x="208" y="64"/>
                  <a:pt x="208" y="64"/>
                </a:cubicBezTo>
                <a:cubicBezTo>
                  <a:pt x="208" y="73"/>
                  <a:pt x="216" y="80"/>
                  <a:pt x="224" y="80"/>
                </a:cubicBezTo>
                <a:cubicBezTo>
                  <a:pt x="273" y="80"/>
                  <a:pt x="273" y="80"/>
                  <a:pt x="273" y="80"/>
                </a:cubicBezTo>
                <a:cubicBezTo>
                  <a:pt x="273" y="241"/>
                  <a:pt x="273" y="241"/>
                  <a:pt x="273" y="241"/>
                </a:cubicBezTo>
                <a:cubicBezTo>
                  <a:pt x="273" y="249"/>
                  <a:pt x="265" y="257"/>
                  <a:pt x="257" y="257"/>
                </a:cubicBezTo>
                <a:cubicBezTo>
                  <a:pt x="232" y="257"/>
                  <a:pt x="232" y="257"/>
                  <a:pt x="232" y="257"/>
                </a:cubicBezTo>
                <a:cubicBezTo>
                  <a:pt x="228" y="257"/>
                  <a:pt x="224" y="260"/>
                  <a:pt x="224" y="265"/>
                </a:cubicBezTo>
                <a:cubicBezTo>
                  <a:pt x="224" y="269"/>
                  <a:pt x="228" y="273"/>
                  <a:pt x="232" y="273"/>
                </a:cubicBezTo>
                <a:cubicBezTo>
                  <a:pt x="257" y="273"/>
                  <a:pt x="257" y="273"/>
                  <a:pt x="257" y="273"/>
                </a:cubicBezTo>
                <a:cubicBezTo>
                  <a:pt x="274" y="273"/>
                  <a:pt x="289" y="258"/>
                  <a:pt x="289" y="241"/>
                </a:cubicBezTo>
                <a:cubicBezTo>
                  <a:pt x="289" y="64"/>
                  <a:pt x="289" y="64"/>
                  <a:pt x="289" y="64"/>
                </a:cubicBezTo>
                <a:lnTo>
                  <a:pt x="232" y="0"/>
                </a:lnTo>
                <a:close/>
                <a:moveTo>
                  <a:pt x="224" y="64"/>
                </a:moveTo>
                <a:cubicBezTo>
                  <a:pt x="224" y="17"/>
                  <a:pt x="224" y="17"/>
                  <a:pt x="224" y="17"/>
                </a:cubicBezTo>
                <a:cubicBezTo>
                  <a:pt x="266" y="64"/>
                  <a:pt x="266" y="64"/>
                  <a:pt x="266" y="64"/>
                </a:cubicBezTo>
                <a:lnTo>
                  <a:pt x="224" y="64"/>
                </a:lnTo>
                <a:close/>
                <a:moveTo>
                  <a:pt x="32" y="80"/>
                </a:moveTo>
                <a:cubicBezTo>
                  <a:pt x="14" y="80"/>
                  <a:pt x="0" y="94"/>
                  <a:pt x="0" y="11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176" y="353"/>
                  <a:pt x="176" y="353"/>
                  <a:pt x="176" y="353"/>
                </a:cubicBezTo>
                <a:cubicBezTo>
                  <a:pt x="194" y="353"/>
                  <a:pt x="208" y="339"/>
                  <a:pt x="208" y="321"/>
                </a:cubicBezTo>
                <a:cubicBezTo>
                  <a:pt x="208" y="144"/>
                  <a:pt x="208" y="144"/>
                  <a:pt x="208" y="144"/>
                </a:cubicBezTo>
                <a:cubicBezTo>
                  <a:pt x="152" y="80"/>
                  <a:pt x="152" y="80"/>
                  <a:pt x="152" y="80"/>
                </a:cubicBezTo>
                <a:lnTo>
                  <a:pt x="32" y="80"/>
                </a:lnTo>
                <a:close/>
                <a:moveTo>
                  <a:pt x="192" y="321"/>
                </a:moveTo>
                <a:cubicBezTo>
                  <a:pt x="192" y="330"/>
                  <a:pt x="185" y="337"/>
                  <a:pt x="176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16" y="103"/>
                  <a:pt x="23" y="96"/>
                  <a:pt x="32" y="96"/>
                </a:cubicBezTo>
                <a:cubicBezTo>
                  <a:pt x="128" y="96"/>
                  <a:pt x="128" y="96"/>
                  <a:pt x="128" y="96"/>
                </a:cubicBezTo>
                <a:cubicBezTo>
                  <a:pt x="128" y="144"/>
                  <a:pt x="128" y="144"/>
                  <a:pt x="128" y="144"/>
                </a:cubicBezTo>
                <a:cubicBezTo>
                  <a:pt x="128" y="153"/>
                  <a:pt x="135" y="160"/>
                  <a:pt x="144" y="160"/>
                </a:cubicBezTo>
                <a:cubicBezTo>
                  <a:pt x="192" y="160"/>
                  <a:pt x="192" y="160"/>
                  <a:pt x="192" y="160"/>
                </a:cubicBezTo>
                <a:lnTo>
                  <a:pt x="192" y="321"/>
                </a:lnTo>
                <a:close/>
                <a:moveTo>
                  <a:pt x="144" y="144"/>
                </a:moveTo>
                <a:cubicBezTo>
                  <a:pt x="144" y="97"/>
                  <a:pt x="144" y="97"/>
                  <a:pt x="144" y="97"/>
                </a:cubicBezTo>
                <a:cubicBezTo>
                  <a:pt x="186" y="144"/>
                  <a:pt x="186" y="144"/>
                  <a:pt x="186" y="144"/>
                </a:cubicBezTo>
                <a:lnTo>
                  <a:pt x="144" y="144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9"/>
          <p:cNvSpPr>
            <a:spLocks noEditPoints="1"/>
          </p:cNvSpPr>
          <p:nvPr/>
        </p:nvSpPr>
        <p:spPr bwMode="auto">
          <a:xfrm>
            <a:off x="4394236" y="3148109"/>
            <a:ext cx="355529" cy="356831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Freeform 10"/>
          <p:cNvSpPr>
            <a:spLocks noEditPoints="1"/>
          </p:cNvSpPr>
          <p:nvPr/>
        </p:nvSpPr>
        <p:spPr bwMode="auto">
          <a:xfrm>
            <a:off x="1693662" y="3179365"/>
            <a:ext cx="355529" cy="325575"/>
          </a:xfrm>
          <a:custGeom>
            <a:avLst/>
            <a:gdLst>
              <a:gd name="T0" fmla="*/ 353 w 353"/>
              <a:gd name="T1" fmla="*/ 109 h 322"/>
              <a:gd name="T2" fmla="*/ 225 w 353"/>
              <a:gd name="T3" fmla="*/ 0 h 322"/>
              <a:gd name="T4" fmla="*/ 107 w 353"/>
              <a:gd name="T5" fmla="*/ 66 h 322"/>
              <a:gd name="T6" fmla="*/ 126 w 353"/>
              <a:gd name="T7" fmla="*/ 65 h 322"/>
              <a:gd name="T8" fmla="*/ 225 w 353"/>
              <a:gd name="T9" fmla="*/ 17 h 322"/>
              <a:gd name="T10" fmla="*/ 337 w 353"/>
              <a:gd name="T11" fmla="*/ 109 h 322"/>
              <a:gd name="T12" fmla="*/ 303 w 353"/>
              <a:gd name="T13" fmla="*/ 175 h 322"/>
              <a:gd name="T14" fmla="*/ 298 w 353"/>
              <a:gd name="T15" fmla="*/ 191 h 322"/>
              <a:gd name="T16" fmla="*/ 305 w 353"/>
              <a:gd name="T17" fmla="*/ 215 h 322"/>
              <a:gd name="T18" fmla="*/ 272 w 353"/>
              <a:gd name="T19" fmla="*/ 202 h 322"/>
              <a:gd name="T20" fmla="*/ 268 w 353"/>
              <a:gd name="T21" fmla="*/ 218 h 322"/>
              <a:gd name="T22" fmla="*/ 329 w 353"/>
              <a:gd name="T23" fmla="*/ 241 h 322"/>
              <a:gd name="T24" fmla="*/ 314 w 353"/>
              <a:gd name="T25" fmla="*/ 187 h 322"/>
              <a:gd name="T26" fmla="*/ 353 w 353"/>
              <a:gd name="T27" fmla="*/ 109 h 322"/>
              <a:gd name="T28" fmla="*/ 128 w 353"/>
              <a:gd name="T29" fmla="*/ 81 h 322"/>
              <a:gd name="T30" fmla="*/ 0 w 353"/>
              <a:gd name="T31" fmla="*/ 189 h 322"/>
              <a:gd name="T32" fmla="*/ 39 w 353"/>
              <a:gd name="T33" fmla="*/ 267 h 322"/>
              <a:gd name="T34" fmla="*/ 24 w 353"/>
              <a:gd name="T35" fmla="*/ 322 h 322"/>
              <a:gd name="T36" fmla="*/ 96 w 353"/>
              <a:gd name="T37" fmla="*/ 294 h 322"/>
              <a:gd name="T38" fmla="*/ 128 w 353"/>
              <a:gd name="T39" fmla="*/ 298 h 322"/>
              <a:gd name="T40" fmla="*/ 257 w 353"/>
              <a:gd name="T41" fmla="*/ 189 h 322"/>
              <a:gd name="T42" fmla="*/ 128 w 353"/>
              <a:gd name="T43" fmla="*/ 81 h 322"/>
              <a:gd name="T44" fmla="*/ 128 w 353"/>
              <a:gd name="T45" fmla="*/ 281 h 322"/>
              <a:gd name="T46" fmla="*/ 99 w 353"/>
              <a:gd name="T47" fmla="*/ 278 h 322"/>
              <a:gd name="T48" fmla="*/ 96 w 353"/>
              <a:gd name="T49" fmla="*/ 278 h 322"/>
              <a:gd name="T50" fmla="*/ 90 w 353"/>
              <a:gd name="T51" fmla="*/ 279 h 322"/>
              <a:gd name="T52" fmla="*/ 48 w 353"/>
              <a:gd name="T53" fmla="*/ 295 h 322"/>
              <a:gd name="T54" fmla="*/ 55 w 353"/>
              <a:gd name="T55" fmla="*/ 272 h 322"/>
              <a:gd name="T56" fmla="*/ 50 w 353"/>
              <a:gd name="T57" fmla="*/ 255 h 322"/>
              <a:gd name="T58" fmla="*/ 16 w 353"/>
              <a:gd name="T59" fmla="*/ 189 h 322"/>
              <a:gd name="T60" fmla="*/ 128 w 353"/>
              <a:gd name="T61" fmla="*/ 97 h 322"/>
              <a:gd name="T62" fmla="*/ 241 w 353"/>
              <a:gd name="T63" fmla="*/ 189 h 322"/>
              <a:gd name="T64" fmla="*/ 128 w 353"/>
              <a:gd name="T65" fmla="*/ 281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53" h="322">
                <a:moveTo>
                  <a:pt x="353" y="109"/>
                </a:moveTo>
                <a:cubicBezTo>
                  <a:pt x="353" y="49"/>
                  <a:pt x="296" y="0"/>
                  <a:pt x="225" y="0"/>
                </a:cubicBezTo>
                <a:cubicBezTo>
                  <a:pt x="172" y="0"/>
                  <a:pt x="126" y="28"/>
                  <a:pt x="107" y="66"/>
                </a:cubicBezTo>
                <a:cubicBezTo>
                  <a:pt x="113" y="65"/>
                  <a:pt x="119" y="65"/>
                  <a:pt x="126" y="65"/>
                </a:cubicBezTo>
                <a:cubicBezTo>
                  <a:pt x="145" y="36"/>
                  <a:pt x="182" y="17"/>
                  <a:pt x="225" y="17"/>
                </a:cubicBezTo>
                <a:cubicBezTo>
                  <a:pt x="287" y="17"/>
                  <a:pt x="337" y="58"/>
                  <a:pt x="337" y="109"/>
                </a:cubicBezTo>
                <a:cubicBezTo>
                  <a:pt x="337" y="134"/>
                  <a:pt x="325" y="157"/>
                  <a:pt x="303" y="175"/>
                </a:cubicBezTo>
                <a:cubicBezTo>
                  <a:pt x="298" y="179"/>
                  <a:pt x="296" y="185"/>
                  <a:pt x="298" y="191"/>
                </a:cubicBezTo>
                <a:cubicBezTo>
                  <a:pt x="305" y="215"/>
                  <a:pt x="305" y="215"/>
                  <a:pt x="305" y="215"/>
                </a:cubicBezTo>
                <a:cubicBezTo>
                  <a:pt x="272" y="202"/>
                  <a:pt x="272" y="202"/>
                  <a:pt x="272" y="202"/>
                </a:cubicBezTo>
                <a:cubicBezTo>
                  <a:pt x="271" y="207"/>
                  <a:pt x="270" y="213"/>
                  <a:pt x="268" y="218"/>
                </a:cubicBezTo>
                <a:cubicBezTo>
                  <a:pt x="329" y="241"/>
                  <a:pt x="329" y="241"/>
                  <a:pt x="329" y="241"/>
                </a:cubicBezTo>
                <a:cubicBezTo>
                  <a:pt x="314" y="187"/>
                  <a:pt x="314" y="187"/>
                  <a:pt x="314" y="187"/>
                </a:cubicBezTo>
                <a:cubicBezTo>
                  <a:pt x="338" y="167"/>
                  <a:pt x="353" y="140"/>
                  <a:pt x="353" y="109"/>
                </a:cubicBezTo>
                <a:moveTo>
                  <a:pt x="128" y="81"/>
                </a:moveTo>
                <a:cubicBezTo>
                  <a:pt x="57" y="81"/>
                  <a:pt x="0" y="129"/>
                  <a:pt x="0" y="189"/>
                </a:cubicBezTo>
                <a:cubicBezTo>
                  <a:pt x="0" y="220"/>
                  <a:pt x="15" y="248"/>
                  <a:pt x="39" y="267"/>
                </a:cubicBezTo>
                <a:cubicBezTo>
                  <a:pt x="24" y="322"/>
                  <a:pt x="24" y="322"/>
                  <a:pt x="24" y="322"/>
                </a:cubicBezTo>
                <a:cubicBezTo>
                  <a:pt x="96" y="294"/>
                  <a:pt x="96" y="294"/>
                  <a:pt x="96" y="294"/>
                </a:cubicBezTo>
                <a:cubicBezTo>
                  <a:pt x="106" y="296"/>
                  <a:pt x="117" y="298"/>
                  <a:pt x="128" y="298"/>
                </a:cubicBezTo>
                <a:cubicBezTo>
                  <a:pt x="199" y="298"/>
                  <a:pt x="257" y="249"/>
                  <a:pt x="257" y="189"/>
                </a:cubicBezTo>
                <a:cubicBezTo>
                  <a:pt x="257" y="129"/>
                  <a:pt x="199" y="81"/>
                  <a:pt x="128" y="81"/>
                </a:cubicBezTo>
                <a:moveTo>
                  <a:pt x="128" y="281"/>
                </a:moveTo>
                <a:cubicBezTo>
                  <a:pt x="119" y="281"/>
                  <a:pt x="109" y="280"/>
                  <a:pt x="99" y="278"/>
                </a:cubicBezTo>
                <a:cubicBezTo>
                  <a:pt x="98" y="278"/>
                  <a:pt x="97" y="278"/>
                  <a:pt x="96" y="278"/>
                </a:cubicBezTo>
                <a:cubicBezTo>
                  <a:pt x="94" y="278"/>
                  <a:pt x="92" y="278"/>
                  <a:pt x="90" y="279"/>
                </a:cubicBezTo>
                <a:cubicBezTo>
                  <a:pt x="48" y="295"/>
                  <a:pt x="48" y="295"/>
                  <a:pt x="48" y="295"/>
                </a:cubicBezTo>
                <a:cubicBezTo>
                  <a:pt x="55" y="272"/>
                  <a:pt x="55" y="272"/>
                  <a:pt x="55" y="272"/>
                </a:cubicBezTo>
                <a:cubicBezTo>
                  <a:pt x="57" y="266"/>
                  <a:pt x="55" y="259"/>
                  <a:pt x="50" y="255"/>
                </a:cubicBezTo>
                <a:cubicBezTo>
                  <a:pt x="28" y="237"/>
                  <a:pt x="16" y="214"/>
                  <a:pt x="16" y="189"/>
                </a:cubicBezTo>
                <a:cubicBezTo>
                  <a:pt x="16" y="138"/>
                  <a:pt x="66" y="97"/>
                  <a:pt x="128" y="97"/>
                </a:cubicBezTo>
                <a:cubicBezTo>
                  <a:pt x="190" y="97"/>
                  <a:pt x="241" y="138"/>
                  <a:pt x="241" y="189"/>
                </a:cubicBezTo>
                <a:cubicBezTo>
                  <a:pt x="241" y="240"/>
                  <a:pt x="190" y="281"/>
                  <a:pt x="128" y="281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7019925" y="3149411"/>
            <a:ext cx="355529" cy="355529"/>
          </a:xfrm>
          <a:custGeom>
            <a:avLst/>
            <a:gdLst>
              <a:gd name="T0" fmla="*/ 32 w 353"/>
              <a:gd name="T1" fmla="*/ 64 h 353"/>
              <a:gd name="T2" fmla="*/ 0 w 353"/>
              <a:gd name="T3" fmla="*/ 321 h 353"/>
              <a:gd name="T4" fmla="*/ 256 w 353"/>
              <a:gd name="T5" fmla="*/ 353 h 353"/>
              <a:gd name="T6" fmla="*/ 289 w 353"/>
              <a:gd name="T7" fmla="*/ 96 h 353"/>
              <a:gd name="T8" fmla="*/ 272 w 353"/>
              <a:gd name="T9" fmla="*/ 321 h 353"/>
              <a:gd name="T10" fmla="*/ 32 w 353"/>
              <a:gd name="T11" fmla="*/ 337 h 353"/>
              <a:gd name="T12" fmla="*/ 16 w 353"/>
              <a:gd name="T13" fmla="*/ 96 h 353"/>
              <a:gd name="T14" fmla="*/ 256 w 353"/>
              <a:gd name="T15" fmla="*/ 80 h 353"/>
              <a:gd name="T16" fmla="*/ 272 w 353"/>
              <a:gd name="T17" fmla="*/ 321 h 353"/>
              <a:gd name="T18" fmla="*/ 112 w 353"/>
              <a:gd name="T19" fmla="*/ 144 h 353"/>
              <a:gd name="T20" fmla="*/ 48 w 353"/>
              <a:gd name="T21" fmla="*/ 144 h 353"/>
              <a:gd name="T22" fmla="*/ 80 w 353"/>
              <a:gd name="T23" fmla="*/ 128 h 353"/>
              <a:gd name="T24" fmla="*/ 80 w 353"/>
              <a:gd name="T25" fmla="*/ 160 h 353"/>
              <a:gd name="T26" fmla="*/ 80 w 353"/>
              <a:gd name="T27" fmla="*/ 128 h 353"/>
              <a:gd name="T28" fmla="*/ 240 w 353"/>
              <a:gd name="T29" fmla="*/ 294 h 353"/>
              <a:gd name="T30" fmla="*/ 192 w 353"/>
              <a:gd name="T31" fmla="*/ 214 h 353"/>
              <a:gd name="T32" fmla="*/ 184 w 353"/>
              <a:gd name="T33" fmla="*/ 208 h 353"/>
              <a:gd name="T34" fmla="*/ 153 w 353"/>
              <a:gd name="T35" fmla="*/ 236 h 353"/>
              <a:gd name="T36" fmla="*/ 120 w 353"/>
              <a:gd name="T37" fmla="*/ 192 h 353"/>
              <a:gd name="T38" fmla="*/ 113 w 353"/>
              <a:gd name="T39" fmla="*/ 196 h 353"/>
              <a:gd name="T40" fmla="*/ 49 w 353"/>
              <a:gd name="T41" fmla="*/ 292 h 353"/>
              <a:gd name="T42" fmla="*/ 56 w 353"/>
              <a:gd name="T43" fmla="*/ 305 h 353"/>
              <a:gd name="T44" fmla="*/ 240 w 353"/>
              <a:gd name="T45" fmla="*/ 297 h 353"/>
              <a:gd name="T46" fmla="*/ 71 w 353"/>
              <a:gd name="T47" fmla="*/ 289 h 353"/>
              <a:gd name="T48" fmla="*/ 145 w 353"/>
              <a:gd name="T49" fmla="*/ 252 h 353"/>
              <a:gd name="T50" fmla="*/ 158 w 353"/>
              <a:gd name="T51" fmla="*/ 254 h 353"/>
              <a:gd name="T52" fmla="*/ 218 w 353"/>
              <a:gd name="T53" fmla="*/ 289 h 353"/>
              <a:gd name="T54" fmla="*/ 321 w 353"/>
              <a:gd name="T55" fmla="*/ 0 h 353"/>
              <a:gd name="T56" fmla="*/ 64 w 353"/>
              <a:gd name="T57" fmla="*/ 32 h 353"/>
              <a:gd name="T58" fmla="*/ 72 w 353"/>
              <a:gd name="T59" fmla="*/ 48 h 353"/>
              <a:gd name="T60" fmla="*/ 80 w 353"/>
              <a:gd name="T61" fmla="*/ 32 h 353"/>
              <a:gd name="T62" fmla="*/ 321 w 353"/>
              <a:gd name="T63" fmla="*/ 16 h 353"/>
              <a:gd name="T64" fmla="*/ 337 w 353"/>
              <a:gd name="T65" fmla="*/ 257 h 353"/>
              <a:gd name="T66" fmla="*/ 313 w 353"/>
              <a:gd name="T67" fmla="*/ 273 h 353"/>
              <a:gd name="T68" fmla="*/ 313 w 353"/>
              <a:gd name="T69" fmla="*/ 289 h 353"/>
              <a:gd name="T70" fmla="*/ 353 w 353"/>
              <a:gd name="T71" fmla="*/ 257 h 353"/>
              <a:gd name="T72" fmla="*/ 321 w 353"/>
              <a:gd name="T73" fmla="*/ 0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53" h="353">
                <a:moveTo>
                  <a:pt x="256" y="64"/>
                </a:moveTo>
                <a:cubicBezTo>
                  <a:pt x="32" y="64"/>
                  <a:pt x="32" y="64"/>
                  <a:pt x="32" y="64"/>
                </a:cubicBezTo>
                <a:cubicBezTo>
                  <a:pt x="14" y="64"/>
                  <a:pt x="0" y="78"/>
                  <a:pt x="0" y="96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256" y="353"/>
                  <a:pt x="256" y="353"/>
                  <a:pt x="256" y="353"/>
                </a:cubicBezTo>
                <a:cubicBezTo>
                  <a:pt x="274" y="353"/>
                  <a:pt x="289" y="339"/>
                  <a:pt x="289" y="321"/>
                </a:cubicBezTo>
                <a:cubicBezTo>
                  <a:pt x="289" y="96"/>
                  <a:pt x="289" y="96"/>
                  <a:pt x="289" y="96"/>
                </a:cubicBezTo>
                <a:cubicBezTo>
                  <a:pt x="289" y="78"/>
                  <a:pt x="274" y="64"/>
                  <a:pt x="256" y="64"/>
                </a:cubicBezTo>
                <a:moveTo>
                  <a:pt x="272" y="321"/>
                </a:moveTo>
                <a:cubicBezTo>
                  <a:pt x="272" y="330"/>
                  <a:pt x="265" y="337"/>
                  <a:pt x="256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96"/>
                  <a:pt x="16" y="96"/>
                  <a:pt x="16" y="96"/>
                </a:cubicBezTo>
                <a:cubicBezTo>
                  <a:pt x="16" y="87"/>
                  <a:pt x="23" y="80"/>
                  <a:pt x="32" y="80"/>
                </a:cubicBezTo>
                <a:cubicBezTo>
                  <a:pt x="256" y="80"/>
                  <a:pt x="256" y="80"/>
                  <a:pt x="256" y="80"/>
                </a:cubicBezTo>
                <a:cubicBezTo>
                  <a:pt x="265" y="80"/>
                  <a:pt x="272" y="87"/>
                  <a:pt x="272" y="96"/>
                </a:cubicBezTo>
                <a:lnTo>
                  <a:pt x="272" y="321"/>
                </a:lnTo>
                <a:close/>
                <a:moveTo>
                  <a:pt x="80" y="176"/>
                </a:moveTo>
                <a:cubicBezTo>
                  <a:pt x="98" y="176"/>
                  <a:pt x="112" y="162"/>
                  <a:pt x="112" y="144"/>
                </a:cubicBezTo>
                <a:cubicBezTo>
                  <a:pt x="112" y="127"/>
                  <a:pt x="98" y="112"/>
                  <a:pt x="80" y="112"/>
                </a:cubicBezTo>
                <a:cubicBezTo>
                  <a:pt x="62" y="112"/>
                  <a:pt x="48" y="127"/>
                  <a:pt x="48" y="144"/>
                </a:cubicBezTo>
                <a:cubicBezTo>
                  <a:pt x="48" y="162"/>
                  <a:pt x="62" y="176"/>
                  <a:pt x="80" y="176"/>
                </a:cubicBezTo>
                <a:moveTo>
                  <a:pt x="80" y="128"/>
                </a:moveTo>
                <a:cubicBezTo>
                  <a:pt x="89" y="128"/>
                  <a:pt x="96" y="135"/>
                  <a:pt x="96" y="144"/>
                </a:cubicBezTo>
                <a:cubicBezTo>
                  <a:pt x="96" y="153"/>
                  <a:pt x="89" y="160"/>
                  <a:pt x="80" y="160"/>
                </a:cubicBezTo>
                <a:cubicBezTo>
                  <a:pt x="71" y="160"/>
                  <a:pt x="64" y="153"/>
                  <a:pt x="64" y="144"/>
                </a:cubicBezTo>
                <a:cubicBezTo>
                  <a:pt x="64" y="135"/>
                  <a:pt x="71" y="128"/>
                  <a:pt x="80" y="128"/>
                </a:cubicBezTo>
                <a:moveTo>
                  <a:pt x="240" y="294"/>
                </a:moveTo>
                <a:cubicBezTo>
                  <a:pt x="240" y="294"/>
                  <a:pt x="240" y="294"/>
                  <a:pt x="240" y="294"/>
                </a:cubicBezTo>
                <a:cubicBezTo>
                  <a:pt x="240" y="294"/>
                  <a:pt x="240" y="293"/>
                  <a:pt x="239" y="293"/>
                </a:cubicBezTo>
                <a:cubicBezTo>
                  <a:pt x="192" y="214"/>
                  <a:pt x="192" y="214"/>
                  <a:pt x="192" y="214"/>
                </a:cubicBezTo>
                <a:cubicBezTo>
                  <a:pt x="192" y="214"/>
                  <a:pt x="192" y="214"/>
                  <a:pt x="192" y="214"/>
                </a:cubicBezTo>
                <a:cubicBezTo>
                  <a:pt x="190" y="211"/>
                  <a:pt x="188" y="208"/>
                  <a:pt x="184" y="208"/>
                </a:cubicBezTo>
                <a:cubicBezTo>
                  <a:pt x="182" y="208"/>
                  <a:pt x="180" y="209"/>
                  <a:pt x="179" y="211"/>
                </a:cubicBezTo>
                <a:cubicBezTo>
                  <a:pt x="153" y="236"/>
                  <a:pt x="153" y="236"/>
                  <a:pt x="153" y="236"/>
                </a:cubicBezTo>
                <a:cubicBezTo>
                  <a:pt x="127" y="197"/>
                  <a:pt x="127" y="197"/>
                  <a:pt x="127" y="197"/>
                </a:cubicBezTo>
                <a:cubicBezTo>
                  <a:pt x="126" y="194"/>
                  <a:pt x="123" y="192"/>
                  <a:pt x="120" y="192"/>
                </a:cubicBezTo>
                <a:cubicBezTo>
                  <a:pt x="117" y="192"/>
                  <a:pt x="115" y="194"/>
                  <a:pt x="113" y="196"/>
                </a:cubicBezTo>
                <a:cubicBezTo>
                  <a:pt x="113" y="196"/>
                  <a:pt x="113" y="196"/>
                  <a:pt x="113" y="196"/>
                </a:cubicBezTo>
                <a:cubicBezTo>
                  <a:pt x="49" y="292"/>
                  <a:pt x="49" y="292"/>
                  <a:pt x="49" y="292"/>
                </a:cubicBezTo>
                <a:cubicBezTo>
                  <a:pt x="49" y="292"/>
                  <a:pt x="49" y="292"/>
                  <a:pt x="49" y="292"/>
                </a:cubicBezTo>
                <a:cubicBezTo>
                  <a:pt x="48" y="294"/>
                  <a:pt x="48" y="295"/>
                  <a:pt x="48" y="297"/>
                </a:cubicBezTo>
                <a:cubicBezTo>
                  <a:pt x="48" y="301"/>
                  <a:pt x="51" y="305"/>
                  <a:pt x="56" y="305"/>
                </a:cubicBezTo>
                <a:cubicBezTo>
                  <a:pt x="232" y="305"/>
                  <a:pt x="232" y="305"/>
                  <a:pt x="232" y="305"/>
                </a:cubicBezTo>
                <a:cubicBezTo>
                  <a:pt x="237" y="305"/>
                  <a:pt x="240" y="301"/>
                  <a:pt x="240" y="297"/>
                </a:cubicBezTo>
                <a:cubicBezTo>
                  <a:pt x="240" y="296"/>
                  <a:pt x="240" y="295"/>
                  <a:pt x="240" y="294"/>
                </a:cubicBezTo>
                <a:close/>
                <a:moveTo>
                  <a:pt x="71" y="289"/>
                </a:moveTo>
                <a:cubicBezTo>
                  <a:pt x="120" y="215"/>
                  <a:pt x="120" y="215"/>
                  <a:pt x="120" y="215"/>
                </a:cubicBezTo>
                <a:cubicBezTo>
                  <a:pt x="145" y="252"/>
                  <a:pt x="145" y="252"/>
                  <a:pt x="145" y="252"/>
                </a:cubicBezTo>
                <a:cubicBezTo>
                  <a:pt x="146" y="255"/>
                  <a:pt x="149" y="257"/>
                  <a:pt x="152" y="257"/>
                </a:cubicBezTo>
                <a:cubicBezTo>
                  <a:pt x="154" y="257"/>
                  <a:pt x="156" y="256"/>
                  <a:pt x="158" y="254"/>
                </a:cubicBezTo>
                <a:cubicBezTo>
                  <a:pt x="183" y="229"/>
                  <a:pt x="183" y="229"/>
                  <a:pt x="183" y="229"/>
                </a:cubicBezTo>
                <a:cubicBezTo>
                  <a:pt x="218" y="289"/>
                  <a:pt x="218" y="289"/>
                  <a:pt x="218" y="289"/>
                </a:cubicBezTo>
                <a:lnTo>
                  <a:pt x="71" y="289"/>
                </a:lnTo>
                <a:close/>
                <a:moveTo>
                  <a:pt x="321" y="0"/>
                </a:moveTo>
                <a:cubicBezTo>
                  <a:pt x="96" y="0"/>
                  <a:pt x="96" y="0"/>
                  <a:pt x="96" y="0"/>
                </a:cubicBezTo>
                <a:cubicBezTo>
                  <a:pt x="78" y="0"/>
                  <a:pt x="64" y="14"/>
                  <a:pt x="64" y="32"/>
                </a:cubicBezTo>
                <a:cubicBezTo>
                  <a:pt x="64" y="40"/>
                  <a:pt x="64" y="40"/>
                  <a:pt x="64" y="40"/>
                </a:cubicBezTo>
                <a:cubicBezTo>
                  <a:pt x="64" y="44"/>
                  <a:pt x="67" y="48"/>
                  <a:pt x="72" y="48"/>
                </a:cubicBezTo>
                <a:cubicBezTo>
                  <a:pt x="76" y="48"/>
                  <a:pt x="80" y="44"/>
                  <a:pt x="80" y="40"/>
                </a:cubicBezTo>
                <a:cubicBezTo>
                  <a:pt x="80" y="32"/>
                  <a:pt x="80" y="32"/>
                  <a:pt x="80" y="32"/>
                </a:cubicBezTo>
                <a:cubicBezTo>
                  <a:pt x="80" y="23"/>
                  <a:pt x="87" y="16"/>
                  <a:pt x="96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cubicBezTo>
                  <a:pt x="337" y="257"/>
                  <a:pt x="337" y="257"/>
                  <a:pt x="337" y="257"/>
                </a:cubicBezTo>
                <a:cubicBezTo>
                  <a:pt x="337" y="266"/>
                  <a:pt x="330" y="273"/>
                  <a:pt x="321" y="273"/>
                </a:cubicBezTo>
                <a:cubicBezTo>
                  <a:pt x="313" y="273"/>
                  <a:pt x="313" y="273"/>
                  <a:pt x="313" y="273"/>
                </a:cubicBezTo>
                <a:cubicBezTo>
                  <a:pt x="308" y="273"/>
                  <a:pt x="305" y="276"/>
                  <a:pt x="305" y="281"/>
                </a:cubicBezTo>
                <a:cubicBezTo>
                  <a:pt x="305" y="285"/>
                  <a:pt x="308" y="289"/>
                  <a:pt x="313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38" y="289"/>
                  <a:pt x="353" y="274"/>
                  <a:pt x="353" y="257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8" y="0"/>
                  <a:pt x="321" y="0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4" name="Group 13"/>
          <p:cNvGrpSpPr/>
          <p:nvPr/>
        </p:nvGrpSpPr>
        <p:grpSpPr>
          <a:xfrm>
            <a:off x="3585541" y="2063907"/>
            <a:ext cx="1972920" cy="492949"/>
            <a:chOff x="3585541" y="2063907"/>
            <a:chExt cx="1972920" cy="492949"/>
          </a:xfrm>
        </p:grpSpPr>
        <p:sp>
          <p:nvSpPr>
            <p:cNvPr id="15" name="TextBox 14"/>
            <p:cNvSpPr txBox="1"/>
            <p:nvPr/>
          </p:nvSpPr>
          <p:spPr>
            <a:xfrm>
              <a:off x="3585541" y="2063907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OCUMENTOS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585541" y="2272547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6211230" y="2063907"/>
            <a:ext cx="1972920" cy="492949"/>
            <a:chOff x="6211230" y="2063907"/>
            <a:chExt cx="1972920" cy="492949"/>
          </a:xfrm>
        </p:grpSpPr>
        <p:sp>
          <p:nvSpPr>
            <p:cNvPr id="17" name="TextBox 16"/>
            <p:cNvSpPr txBox="1"/>
            <p:nvPr/>
          </p:nvSpPr>
          <p:spPr>
            <a:xfrm>
              <a:off x="6211230" y="2063907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SENVOLVIMENTO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211230" y="2272547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884967" y="3615253"/>
            <a:ext cx="1972920" cy="496666"/>
            <a:chOff x="884967" y="3615253"/>
            <a:chExt cx="1972920" cy="496666"/>
          </a:xfrm>
        </p:grpSpPr>
        <p:sp>
          <p:nvSpPr>
            <p:cNvPr id="19" name="TextBox 18"/>
            <p:cNvSpPr txBox="1"/>
            <p:nvPr/>
          </p:nvSpPr>
          <p:spPr>
            <a:xfrm>
              <a:off x="884967" y="3615253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DES SOCIAIS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84967" y="3827610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585541" y="3615253"/>
            <a:ext cx="1972920" cy="496666"/>
            <a:chOff x="3585541" y="3615253"/>
            <a:chExt cx="1972920" cy="496666"/>
          </a:xfrm>
        </p:grpSpPr>
        <p:sp>
          <p:nvSpPr>
            <p:cNvPr id="21" name="TextBox 20"/>
            <p:cNvSpPr txBox="1"/>
            <p:nvPr/>
          </p:nvSpPr>
          <p:spPr>
            <a:xfrm>
              <a:off x="3585541" y="3615253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DAÇÃO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585541" y="3827610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211230" y="3615253"/>
            <a:ext cx="1972920" cy="496666"/>
            <a:chOff x="6211230" y="3615253"/>
            <a:chExt cx="1972920" cy="496666"/>
          </a:xfrm>
        </p:grpSpPr>
        <p:sp>
          <p:nvSpPr>
            <p:cNvPr id="23" name="TextBox 22"/>
            <p:cNvSpPr txBox="1"/>
            <p:nvPr/>
          </p:nvSpPr>
          <p:spPr>
            <a:xfrm>
              <a:off x="6211230" y="3615253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TOGRAFIA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211230" y="3827610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84967" y="2063907"/>
            <a:ext cx="1972920" cy="492949"/>
            <a:chOff x="884967" y="2063907"/>
            <a:chExt cx="1972920" cy="492949"/>
          </a:xfrm>
        </p:grpSpPr>
        <p:sp>
          <p:nvSpPr>
            <p:cNvPr id="28" name="TextBox 27"/>
            <p:cNvSpPr txBox="1"/>
            <p:nvPr/>
          </p:nvSpPr>
          <p:spPr>
            <a:xfrm>
              <a:off x="884967" y="2063907"/>
              <a:ext cx="197292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EGURANÇA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84967" y="2272547"/>
              <a:ext cx="1972920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fr-F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nec massa sodales ligula tristique vehicula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158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BLEMAS </a:t>
            </a:r>
            <a:r>
              <a:rPr lang="en-US" dirty="0">
                <a:solidFill>
                  <a:srgbClr val="EC0000"/>
                </a:solidFill>
              </a:rPr>
              <a:t>&amp; SOLUÇÕ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Duis nec massa sodales ligula tristique vehicula. Mauris pharetra pharetra.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65867" y="1764616"/>
            <a:ext cx="3181233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dal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pendiss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vestibulum dui. In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cip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ctu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i. Na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5365867" y="1554011"/>
            <a:ext cx="318123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O PROBLEM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14363" y="1764616"/>
            <a:ext cx="3181233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dal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pendiss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vestibulum dui. In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cip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ctu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i. Na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614363" y="1554011"/>
            <a:ext cx="318123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accent1"/>
                </a:solidFill>
                <a:latin typeface="Lato" panose="020F0502020204030203" pitchFamily="34" charset="0"/>
              </a:rPr>
              <a:t>O PROBLEMA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365867" y="3675190"/>
            <a:ext cx="3181233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dal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pendiss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vestibulum dui. In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cip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ctu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i. Na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19" name="Title 2"/>
          <p:cNvSpPr txBox="1">
            <a:spLocks/>
          </p:cNvSpPr>
          <p:nvPr/>
        </p:nvSpPr>
        <p:spPr>
          <a:xfrm>
            <a:off x="5365867" y="3374444"/>
            <a:ext cx="318123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400" b="0" cap="all" spc="20" dirty="0">
                <a:solidFill>
                  <a:srgbClr val="EC0000"/>
                </a:solidFill>
                <a:latin typeface="Lato Black" panose="020F0A02020204030203" pitchFamily="34" charset="0"/>
              </a:rPr>
              <a:t>A SOLUÇÃO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14363" y="3675190"/>
            <a:ext cx="3181233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ss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dale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pendiss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vestibulum dui. In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cip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ctu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i. Na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21" name="Title 2"/>
          <p:cNvSpPr txBox="1">
            <a:spLocks/>
          </p:cNvSpPr>
          <p:nvPr/>
        </p:nvSpPr>
        <p:spPr>
          <a:xfrm>
            <a:off x="614363" y="3374444"/>
            <a:ext cx="318123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400" b="0" cap="all" spc="20" dirty="0">
                <a:solidFill>
                  <a:srgbClr val="EC0000"/>
                </a:solidFill>
                <a:latin typeface="Lato Black" panose="020F0A02020204030203" pitchFamily="34" charset="0"/>
              </a:rPr>
              <a:t>A SOLUÇÃO</a:t>
            </a:r>
          </a:p>
        </p:txBody>
      </p:sp>
      <p:sp>
        <p:nvSpPr>
          <p:cNvPr id="22" name="Freeform 38"/>
          <p:cNvSpPr>
            <a:spLocks noEditPoints="1"/>
          </p:cNvSpPr>
          <p:nvPr/>
        </p:nvSpPr>
        <p:spPr bwMode="auto">
          <a:xfrm>
            <a:off x="1989873" y="2592893"/>
            <a:ext cx="430213" cy="431800"/>
          </a:xfrm>
          <a:custGeom>
            <a:avLst/>
            <a:gdLst>
              <a:gd name="T0" fmla="*/ 0 w 351"/>
              <a:gd name="T1" fmla="*/ 193 h 353"/>
              <a:gd name="T2" fmla="*/ 20 w 351"/>
              <a:gd name="T3" fmla="*/ 221 h 353"/>
              <a:gd name="T4" fmla="*/ 20 w 351"/>
              <a:gd name="T5" fmla="*/ 133 h 353"/>
              <a:gd name="T6" fmla="*/ 0 w 351"/>
              <a:gd name="T7" fmla="*/ 161 h 353"/>
              <a:gd name="T8" fmla="*/ 20 w 351"/>
              <a:gd name="T9" fmla="*/ 133 h 353"/>
              <a:gd name="T10" fmla="*/ 35 w 351"/>
              <a:gd name="T11" fmla="*/ 283 h 353"/>
              <a:gd name="T12" fmla="*/ 31 w 351"/>
              <a:gd name="T13" fmla="*/ 249 h 353"/>
              <a:gd name="T14" fmla="*/ 90 w 351"/>
              <a:gd name="T15" fmla="*/ 40 h 353"/>
              <a:gd name="T16" fmla="*/ 56 w 351"/>
              <a:gd name="T17" fmla="*/ 47 h 353"/>
              <a:gd name="T18" fmla="*/ 90 w 351"/>
              <a:gd name="T19" fmla="*/ 40 h 353"/>
              <a:gd name="T20" fmla="*/ 34 w 351"/>
              <a:gd name="T21" fmla="*/ 71 h 353"/>
              <a:gd name="T22" fmla="*/ 31 w 351"/>
              <a:gd name="T23" fmla="*/ 105 h 353"/>
              <a:gd name="T24" fmla="*/ 57 w 351"/>
              <a:gd name="T25" fmla="*/ 307 h 353"/>
              <a:gd name="T26" fmla="*/ 91 w 351"/>
              <a:gd name="T27" fmla="*/ 314 h 353"/>
              <a:gd name="T28" fmla="*/ 57 w 351"/>
              <a:gd name="T29" fmla="*/ 307 h 353"/>
              <a:gd name="T30" fmla="*/ 239 w 351"/>
              <a:gd name="T31" fmla="*/ 12 h 353"/>
              <a:gd name="T32" fmla="*/ 260 w 351"/>
              <a:gd name="T33" fmla="*/ 40 h 353"/>
              <a:gd name="T34" fmla="*/ 205 w 351"/>
              <a:gd name="T35" fmla="*/ 18 h 353"/>
              <a:gd name="T36" fmla="*/ 175 w 351"/>
              <a:gd name="T37" fmla="*/ 0 h 353"/>
              <a:gd name="T38" fmla="*/ 174 w 351"/>
              <a:gd name="T39" fmla="*/ 0 h 353"/>
              <a:gd name="T40" fmla="*/ 205 w 351"/>
              <a:gd name="T41" fmla="*/ 18 h 353"/>
              <a:gd name="T42" fmla="*/ 142 w 351"/>
              <a:gd name="T43" fmla="*/ 3 h 353"/>
              <a:gd name="T44" fmla="*/ 116 w 351"/>
              <a:gd name="T45" fmla="*/ 27 h 353"/>
              <a:gd name="T46" fmla="*/ 284 w 351"/>
              <a:gd name="T47" fmla="*/ 295 h 353"/>
              <a:gd name="T48" fmla="*/ 316 w 351"/>
              <a:gd name="T49" fmla="*/ 283 h 353"/>
              <a:gd name="T50" fmla="*/ 284 w 351"/>
              <a:gd name="T51" fmla="*/ 295 h 353"/>
              <a:gd name="T52" fmla="*/ 333 w 351"/>
              <a:gd name="T53" fmla="*/ 255 h 353"/>
              <a:gd name="T54" fmla="*/ 330 w 351"/>
              <a:gd name="T55" fmla="*/ 220 h 353"/>
              <a:gd name="T56" fmla="*/ 345 w 351"/>
              <a:gd name="T57" fmla="*/ 128 h 353"/>
              <a:gd name="T58" fmla="*/ 319 w 351"/>
              <a:gd name="T59" fmla="*/ 105 h 353"/>
              <a:gd name="T60" fmla="*/ 345 w 351"/>
              <a:gd name="T61" fmla="*/ 128 h 353"/>
              <a:gd name="T62" fmla="*/ 335 w 351"/>
              <a:gd name="T63" fmla="*/ 162 h 353"/>
              <a:gd name="T64" fmla="*/ 335 w 351"/>
              <a:gd name="T65" fmla="*/ 191 h 353"/>
              <a:gd name="T66" fmla="*/ 351 w 351"/>
              <a:gd name="T67" fmla="*/ 177 h 353"/>
              <a:gd name="T68" fmla="*/ 112 w 351"/>
              <a:gd name="T69" fmla="*/ 341 h 353"/>
              <a:gd name="T70" fmla="*/ 146 w 351"/>
              <a:gd name="T71" fmla="*/ 335 h 353"/>
              <a:gd name="T72" fmla="*/ 112 w 351"/>
              <a:gd name="T73" fmla="*/ 341 h 353"/>
              <a:gd name="T74" fmla="*/ 316 w 351"/>
              <a:gd name="T75" fmla="*/ 70 h 353"/>
              <a:gd name="T76" fmla="*/ 284 w 351"/>
              <a:gd name="T77" fmla="*/ 58 h 353"/>
              <a:gd name="T78" fmla="*/ 181 w 351"/>
              <a:gd name="T79" fmla="*/ 271 h 353"/>
              <a:gd name="T80" fmla="*/ 248 w 351"/>
              <a:gd name="T81" fmla="*/ 201 h 353"/>
              <a:gd name="T82" fmla="*/ 234 w 351"/>
              <a:gd name="T83" fmla="*/ 195 h 353"/>
              <a:gd name="T84" fmla="*/ 184 w 351"/>
              <a:gd name="T85" fmla="*/ 88 h 353"/>
              <a:gd name="T86" fmla="*/ 167 w 351"/>
              <a:gd name="T87" fmla="*/ 88 h 353"/>
              <a:gd name="T88" fmla="*/ 117 w 351"/>
              <a:gd name="T89" fmla="*/ 195 h 353"/>
              <a:gd name="T90" fmla="*/ 103 w 351"/>
              <a:gd name="T91" fmla="*/ 201 h 353"/>
              <a:gd name="T92" fmla="*/ 170 w 351"/>
              <a:gd name="T93" fmla="*/ 271 h 353"/>
              <a:gd name="T94" fmla="*/ 181 w 351"/>
              <a:gd name="T95" fmla="*/ 271 h 353"/>
              <a:gd name="T96" fmla="*/ 176 w 351"/>
              <a:gd name="T97" fmla="*/ 353 h 353"/>
              <a:gd name="T98" fmla="*/ 205 w 351"/>
              <a:gd name="T99" fmla="*/ 335 h 353"/>
              <a:gd name="T100" fmla="*/ 234 w 351"/>
              <a:gd name="T101" fmla="*/ 327 h 353"/>
              <a:gd name="T102" fmla="*/ 268 w 351"/>
              <a:gd name="T103" fmla="*/ 326 h 353"/>
              <a:gd name="T104" fmla="*/ 234 w 351"/>
              <a:gd name="T105" fmla="*/ 32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1" h="353">
                <a:moveTo>
                  <a:pt x="15" y="192"/>
                </a:moveTo>
                <a:cubicBezTo>
                  <a:pt x="0" y="193"/>
                  <a:pt x="0" y="193"/>
                  <a:pt x="0" y="193"/>
                </a:cubicBezTo>
                <a:cubicBezTo>
                  <a:pt x="1" y="204"/>
                  <a:pt x="3" y="215"/>
                  <a:pt x="6" y="225"/>
                </a:cubicBezTo>
                <a:cubicBezTo>
                  <a:pt x="20" y="221"/>
                  <a:pt x="20" y="221"/>
                  <a:pt x="20" y="221"/>
                </a:cubicBezTo>
                <a:cubicBezTo>
                  <a:pt x="18" y="212"/>
                  <a:pt x="16" y="202"/>
                  <a:pt x="15" y="192"/>
                </a:cubicBezTo>
                <a:moveTo>
                  <a:pt x="20" y="133"/>
                </a:moveTo>
                <a:cubicBezTo>
                  <a:pt x="5" y="129"/>
                  <a:pt x="5" y="129"/>
                  <a:pt x="5" y="129"/>
                </a:cubicBezTo>
                <a:cubicBezTo>
                  <a:pt x="3" y="139"/>
                  <a:pt x="1" y="150"/>
                  <a:pt x="0" y="161"/>
                </a:cubicBezTo>
                <a:cubicBezTo>
                  <a:pt x="15" y="162"/>
                  <a:pt x="15" y="162"/>
                  <a:pt x="15" y="162"/>
                </a:cubicBezTo>
                <a:cubicBezTo>
                  <a:pt x="16" y="152"/>
                  <a:pt x="18" y="143"/>
                  <a:pt x="20" y="133"/>
                </a:cubicBezTo>
                <a:moveTo>
                  <a:pt x="18" y="256"/>
                </a:moveTo>
                <a:cubicBezTo>
                  <a:pt x="22" y="265"/>
                  <a:pt x="28" y="275"/>
                  <a:pt x="35" y="283"/>
                </a:cubicBezTo>
                <a:cubicBezTo>
                  <a:pt x="47" y="274"/>
                  <a:pt x="47" y="274"/>
                  <a:pt x="47" y="274"/>
                </a:cubicBezTo>
                <a:cubicBezTo>
                  <a:pt x="41" y="266"/>
                  <a:pt x="36" y="258"/>
                  <a:pt x="31" y="249"/>
                </a:cubicBezTo>
                <a:lnTo>
                  <a:pt x="18" y="256"/>
                </a:lnTo>
                <a:close/>
                <a:moveTo>
                  <a:pt x="90" y="40"/>
                </a:moveTo>
                <a:cubicBezTo>
                  <a:pt x="82" y="27"/>
                  <a:pt x="82" y="27"/>
                  <a:pt x="82" y="27"/>
                </a:cubicBezTo>
                <a:cubicBezTo>
                  <a:pt x="73" y="33"/>
                  <a:pt x="64" y="40"/>
                  <a:pt x="56" y="47"/>
                </a:cubicBezTo>
                <a:cubicBezTo>
                  <a:pt x="66" y="58"/>
                  <a:pt x="66" y="58"/>
                  <a:pt x="66" y="58"/>
                </a:cubicBezTo>
                <a:cubicBezTo>
                  <a:pt x="74" y="51"/>
                  <a:pt x="82" y="45"/>
                  <a:pt x="90" y="40"/>
                </a:cubicBezTo>
                <a:moveTo>
                  <a:pt x="46" y="80"/>
                </a:moveTo>
                <a:cubicBezTo>
                  <a:pt x="34" y="71"/>
                  <a:pt x="34" y="71"/>
                  <a:pt x="34" y="71"/>
                </a:cubicBezTo>
                <a:cubicBezTo>
                  <a:pt x="28" y="80"/>
                  <a:pt x="22" y="89"/>
                  <a:pt x="17" y="99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35" y="97"/>
                  <a:pt x="40" y="88"/>
                  <a:pt x="46" y="80"/>
                </a:cubicBezTo>
                <a:moveTo>
                  <a:pt x="57" y="307"/>
                </a:moveTo>
                <a:cubicBezTo>
                  <a:pt x="65" y="314"/>
                  <a:pt x="74" y="321"/>
                  <a:pt x="83" y="327"/>
                </a:cubicBezTo>
                <a:cubicBezTo>
                  <a:pt x="91" y="314"/>
                  <a:pt x="91" y="314"/>
                  <a:pt x="91" y="314"/>
                </a:cubicBezTo>
                <a:cubicBezTo>
                  <a:pt x="82" y="309"/>
                  <a:pt x="74" y="303"/>
                  <a:pt x="67" y="296"/>
                </a:cubicBezTo>
                <a:lnTo>
                  <a:pt x="57" y="307"/>
                </a:lnTo>
                <a:close/>
                <a:moveTo>
                  <a:pt x="268" y="27"/>
                </a:moveTo>
                <a:cubicBezTo>
                  <a:pt x="259" y="21"/>
                  <a:pt x="249" y="16"/>
                  <a:pt x="239" y="12"/>
                </a:cubicBezTo>
                <a:cubicBezTo>
                  <a:pt x="233" y="27"/>
                  <a:pt x="233" y="27"/>
                  <a:pt x="233" y="27"/>
                </a:cubicBezTo>
                <a:cubicBezTo>
                  <a:pt x="242" y="30"/>
                  <a:pt x="251" y="35"/>
                  <a:pt x="260" y="40"/>
                </a:cubicBezTo>
                <a:lnTo>
                  <a:pt x="268" y="27"/>
                </a:lnTo>
                <a:close/>
                <a:moveTo>
                  <a:pt x="205" y="18"/>
                </a:moveTo>
                <a:cubicBezTo>
                  <a:pt x="208" y="3"/>
                  <a:pt x="208" y="3"/>
                  <a:pt x="208" y="3"/>
                </a:cubicBezTo>
                <a:cubicBezTo>
                  <a:pt x="197" y="1"/>
                  <a:pt x="186" y="0"/>
                  <a:pt x="175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175" y="16"/>
                  <a:pt x="175" y="16"/>
                  <a:pt x="175" y="16"/>
                </a:cubicBezTo>
                <a:cubicBezTo>
                  <a:pt x="185" y="16"/>
                  <a:pt x="195" y="17"/>
                  <a:pt x="205" y="18"/>
                </a:cubicBezTo>
                <a:moveTo>
                  <a:pt x="145" y="19"/>
                </a:moveTo>
                <a:cubicBezTo>
                  <a:pt x="142" y="3"/>
                  <a:pt x="142" y="3"/>
                  <a:pt x="142" y="3"/>
                </a:cubicBezTo>
                <a:cubicBezTo>
                  <a:pt x="131" y="6"/>
                  <a:pt x="121" y="9"/>
                  <a:pt x="111" y="13"/>
                </a:cubicBezTo>
                <a:cubicBezTo>
                  <a:pt x="116" y="27"/>
                  <a:pt x="116" y="27"/>
                  <a:pt x="116" y="27"/>
                </a:cubicBezTo>
                <a:cubicBezTo>
                  <a:pt x="126" y="23"/>
                  <a:pt x="135" y="20"/>
                  <a:pt x="145" y="19"/>
                </a:cubicBezTo>
                <a:moveTo>
                  <a:pt x="284" y="295"/>
                </a:moveTo>
                <a:cubicBezTo>
                  <a:pt x="294" y="307"/>
                  <a:pt x="294" y="307"/>
                  <a:pt x="294" y="307"/>
                </a:cubicBezTo>
                <a:cubicBezTo>
                  <a:pt x="302" y="299"/>
                  <a:pt x="309" y="291"/>
                  <a:pt x="316" y="283"/>
                </a:cubicBezTo>
                <a:cubicBezTo>
                  <a:pt x="304" y="273"/>
                  <a:pt x="304" y="273"/>
                  <a:pt x="304" y="273"/>
                </a:cubicBezTo>
                <a:cubicBezTo>
                  <a:pt x="298" y="281"/>
                  <a:pt x="291" y="289"/>
                  <a:pt x="284" y="295"/>
                </a:cubicBezTo>
                <a:moveTo>
                  <a:pt x="319" y="248"/>
                </a:moveTo>
                <a:cubicBezTo>
                  <a:pt x="333" y="255"/>
                  <a:pt x="333" y="255"/>
                  <a:pt x="333" y="255"/>
                </a:cubicBezTo>
                <a:cubicBezTo>
                  <a:pt x="338" y="245"/>
                  <a:pt x="342" y="235"/>
                  <a:pt x="345" y="225"/>
                </a:cubicBezTo>
                <a:cubicBezTo>
                  <a:pt x="330" y="220"/>
                  <a:pt x="330" y="220"/>
                  <a:pt x="330" y="220"/>
                </a:cubicBezTo>
                <a:cubicBezTo>
                  <a:pt x="327" y="230"/>
                  <a:pt x="324" y="239"/>
                  <a:pt x="319" y="248"/>
                </a:cubicBezTo>
                <a:moveTo>
                  <a:pt x="345" y="128"/>
                </a:moveTo>
                <a:cubicBezTo>
                  <a:pt x="342" y="118"/>
                  <a:pt x="338" y="108"/>
                  <a:pt x="333" y="98"/>
                </a:cubicBezTo>
                <a:cubicBezTo>
                  <a:pt x="319" y="105"/>
                  <a:pt x="319" y="105"/>
                  <a:pt x="319" y="105"/>
                </a:cubicBezTo>
                <a:cubicBezTo>
                  <a:pt x="324" y="114"/>
                  <a:pt x="327" y="123"/>
                  <a:pt x="330" y="132"/>
                </a:cubicBezTo>
                <a:lnTo>
                  <a:pt x="345" y="128"/>
                </a:lnTo>
                <a:close/>
                <a:moveTo>
                  <a:pt x="351" y="160"/>
                </a:moveTo>
                <a:cubicBezTo>
                  <a:pt x="335" y="162"/>
                  <a:pt x="335" y="162"/>
                  <a:pt x="335" y="162"/>
                </a:cubicBezTo>
                <a:cubicBezTo>
                  <a:pt x="336" y="167"/>
                  <a:pt x="336" y="172"/>
                  <a:pt x="336" y="177"/>
                </a:cubicBezTo>
                <a:cubicBezTo>
                  <a:pt x="336" y="182"/>
                  <a:pt x="336" y="186"/>
                  <a:pt x="335" y="191"/>
                </a:cubicBezTo>
                <a:cubicBezTo>
                  <a:pt x="351" y="193"/>
                  <a:pt x="351" y="193"/>
                  <a:pt x="351" y="193"/>
                </a:cubicBezTo>
                <a:cubicBezTo>
                  <a:pt x="351" y="187"/>
                  <a:pt x="351" y="182"/>
                  <a:pt x="351" y="177"/>
                </a:cubicBezTo>
                <a:cubicBezTo>
                  <a:pt x="351" y="171"/>
                  <a:pt x="351" y="166"/>
                  <a:pt x="351" y="160"/>
                </a:cubicBezTo>
                <a:moveTo>
                  <a:pt x="112" y="341"/>
                </a:moveTo>
                <a:cubicBezTo>
                  <a:pt x="122" y="345"/>
                  <a:pt x="132" y="348"/>
                  <a:pt x="143" y="350"/>
                </a:cubicBezTo>
                <a:cubicBezTo>
                  <a:pt x="146" y="335"/>
                  <a:pt x="146" y="335"/>
                  <a:pt x="146" y="335"/>
                </a:cubicBezTo>
                <a:cubicBezTo>
                  <a:pt x="136" y="333"/>
                  <a:pt x="127" y="330"/>
                  <a:pt x="117" y="327"/>
                </a:cubicBezTo>
                <a:lnTo>
                  <a:pt x="112" y="341"/>
                </a:lnTo>
                <a:close/>
                <a:moveTo>
                  <a:pt x="304" y="80"/>
                </a:moveTo>
                <a:cubicBezTo>
                  <a:pt x="316" y="70"/>
                  <a:pt x="316" y="70"/>
                  <a:pt x="316" y="70"/>
                </a:cubicBezTo>
                <a:cubicBezTo>
                  <a:pt x="309" y="62"/>
                  <a:pt x="302" y="54"/>
                  <a:pt x="294" y="46"/>
                </a:cubicBezTo>
                <a:cubicBezTo>
                  <a:pt x="284" y="58"/>
                  <a:pt x="284" y="58"/>
                  <a:pt x="284" y="58"/>
                </a:cubicBezTo>
                <a:cubicBezTo>
                  <a:pt x="291" y="64"/>
                  <a:pt x="298" y="72"/>
                  <a:pt x="304" y="80"/>
                </a:cubicBezTo>
                <a:moveTo>
                  <a:pt x="181" y="271"/>
                </a:moveTo>
                <a:cubicBezTo>
                  <a:pt x="245" y="206"/>
                  <a:pt x="245" y="206"/>
                  <a:pt x="245" y="206"/>
                </a:cubicBezTo>
                <a:cubicBezTo>
                  <a:pt x="247" y="205"/>
                  <a:pt x="248" y="203"/>
                  <a:pt x="248" y="201"/>
                </a:cubicBezTo>
                <a:cubicBezTo>
                  <a:pt x="248" y="196"/>
                  <a:pt x="244" y="193"/>
                  <a:pt x="240" y="193"/>
                </a:cubicBezTo>
                <a:cubicBezTo>
                  <a:pt x="238" y="193"/>
                  <a:pt x="235" y="194"/>
                  <a:pt x="234" y="195"/>
                </a:cubicBezTo>
                <a:cubicBezTo>
                  <a:pt x="184" y="246"/>
                  <a:pt x="184" y="246"/>
                  <a:pt x="184" y="246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4" y="84"/>
                  <a:pt x="180" y="80"/>
                  <a:pt x="176" y="80"/>
                </a:cubicBezTo>
                <a:cubicBezTo>
                  <a:pt x="171" y="80"/>
                  <a:pt x="167" y="84"/>
                  <a:pt x="167" y="88"/>
                </a:cubicBezTo>
                <a:cubicBezTo>
                  <a:pt x="167" y="246"/>
                  <a:pt x="167" y="246"/>
                  <a:pt x="167" y="246"/>
                </a:cubicBezTo>
                <a:cubicBezTo>
                  <a:pt x="117" y="195"/>
                  <a:pt x="117" y="195"/>
                  <a:pt x="117" y="195"/>
                </a:cubicBezTo>
                <a:cubicBezTo>
                  <a:pt x="116" y="194"/>
                  <a:pt x="114" y="193"/>
                  <a:pt x="111" y="193"/>
                </a:cubicBezTo>
                <a:cubicBezTo>
                  <a:pt x="107" y="193"/>
                  <a:pt x="103" y="196"/>
                  <a:pt x="103" y="201"/>
                </a:cubicBezTo>
                <a:cubicBezTo>
                  <a:pt x="103" y="203"/>
                  <a:pt x="104" y="205"/>
                  <a:pt x="106" y="206"/>
                </a:cubicBezTo>
                <a:cubicBezTo>
                  <a:pt x="170" y="271"/>
                  <a:pt x="170" y="271"/>
                  <a:pt x="170" y="271"/>
                </a:cubicBezTo>
                <a:cubicBezTo>
                  <a:pt x="171" y="272"/>
                  <a:pt x="173" y="273"/>
                  <a:pt x="176" y="273"/>
                </a:cubicBezTo>
                <a:cubicBezTo>
                  <a:pt x="178" y="273"/>
                  <a:pt x="180" y="272"/>
                  <a:pt x="181" y="271"/>
                </a:cubicBezTo>
                <a:moveTo>
                  <a:pt x="176" y="338"/>
                </a:moveTo>
                <a:cubicBezTo>
                  <a:pt x="176" y="353"/>
                  <a:pt x="176" y="353"/>
                  <a:pt x="176" y="353"/>
                </a:cubicBezTo>
                <a:cubicBezTo>
                  <a:pt x="186" y="353"/>
                  <a:pt x="197" y="352"/>
                  <a:pt x="208" y="350"/>
                </a:cubicBezTo>
                <a:cubicBezTo>
                  <a:pt x="205" y="335"/>
                  <a:pt x="205" y="335"/>
                  <a:pt x="205" y="335"/>
                </a:cubicBezTo>
                <a:cubicBezTo>
                  <a:pt x="195" y="337"/>
                  <a:pt x="185" y="338"/>
                  <a:pt x="176" y="338"/>
                </a:cubicBezTo>
                <a:moveTo>
                  <a:pt x="234" y="327"/>
                </a:moveTo>
                <a:cubicBezTo>
                  <a:pt x="239" y="341"/>
                  <a:pt x="239" y="341"/>
                  <a:pt x="239" y="341"/>
                </a:cubicBezTo>
                <a:cubicBezTo>
                  <a:pt x="249" y="337"/>
                  <a:pt x="259" y="332"/>
                  <a:pt x="268" y="326"/>
                </a:cubicBezTo>
                <a:cubicBezTo>
                  <a:pt x="260" y="313"/>
                  <a:pt x="260" y="313"/>
                  <a:pt x="260" y="313"/>
                </a:cubicBezTo>
                <a:cubicBezTo>
                  <a:pt x="252" y="319"/>
                  <a:pt x="243" y="323"/>
                  <a:pt x="234" y="32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Freeform 38"/>
          <p:cNvSpPr>
            <a:spLocks noEditPoints="1"/>
          </p:cNvSpPr>
          <p:nvPr/>
        </p:nvSpPr>
        <p:spPr bwMode="auto">
          <a:xfrm>
            <a:off x="6741377" y="2592893"/>
            <a:ext cx="430213" cy="431800"/>
          </a:xfrm>
          <a:custGeom>
            <a:avLst/>
            <a:gdLst>
              <a:gd name="T0" fmla="*/ 0 w 351"/>
              <a:gd name="T1" fmla="*/ 193 h 353"/>
              <a:gd name="T2" fmla="*/ 20 w 351"/>
              <a:gd name="T3" fmla="*/ 221 h 353"/>
              <a:gd name="T4" fmla="*/ 20 w 351"/>
              <a:gd name="T5" fmla="*/ 133 h 353"/>
              <a:gd name="T6" fmla="*/ 0 w 351"/>
              <a:gd name="T7" fmla="*/ 161 h 353"/>
              <a:gd name="T8" fmla="*/ 20 w 351"/>
              <a:gd name="T9" fmla="*/ 133 h 353"/>
              <a:gd name="T10" fmla="*/ 35 w 351"/>
              <a:gd name="T11" fmla="*/ 283 h 353"/>
              <a:gd name="T12" fmla="*/ 31 w 351"/>
              <a:gd name="T13" fmla="*/ 249 h 353"/>
              <a:gd name="T14" fmla="*/ 90 w 351"/>
              <a:gd name="T15" fmla="*/ 40 h 353"/>
              <a:gd name="T16" fmla="*/ 56 w 351"/>
              <a:gd name="T17" fmla="*/ 47 h 353"/>
              <a:gd name="T18" fmla="*/ 90 w 351"/>
              <a:gd name="T19" fmla="*/ 40 h 353"/>
              <a:gd name="T20" fmla="*/ 34 w 351"/>
              <a:gd name="T21" fmla="*/ 71 h 353"/>
              <a:gd name="T22" fmla="*/ 31 w 351"/>
              <a:gd name="T23" fmla="*/ 105 h 353"/>
              <a:gd name="T24" fmla="*/ 57 w 351"/>
              <a:gd name="T25" fmla="*/ 307 h 353"/>
              <a:gd name="T26" fmla="*/ 91 w 351"/>
              <a:gd name="T27" fmla="*/ 314 h 353"/>
              <a:gd name="T28" fmla="*/ 57 w 351"/>
              <a:gd name="T29" fmla="*/ 307 h 353"/>
              <a:gd name="T30" fmla="*/ 239 w 351"/>
              <a:gd name="T31" fmla="*/ 12 h 353"/>
              <a:gd name="T32" fmla="*/ 260 w 351"/>
              <a:gd name="T33" fmla="*/ 40 h 353"/>
              <a:gd name="T34" fmla="*/ 205 w 351"/>
              <a:gd name="T35" fmla="*/ 18 h 353"/>
              <a:gd name="T36" fmla="*/ 175 w 351"/>
              <a:gd name="T37" fmla="*/ 0 h 353"/>
              <a:gd name="T38" fmla="*/ 174 w 351"/>
              <a:gd name="T39" fmla="*/ 0 h 353"/>
              <a:gd name="T40" fmla="*/ 205 w 351"/>
              <a:gd name="T41" fmla="*/ 18 h 353"/>
              <a:gd name="T42" fmla="*/ 142 w 351"/>
              <a:gd name="T43" fmla="*/ 3 h 353"/>
              <a:gd name="T44" fmla="*/ 116 w 351"/>
              <a:gd name="T45" fmla="*/ 27 h 353"/>
              <a:gd name="T46" fmla="*/ 284 w 351"/>
              <a:gd name="T47" fmla="*/ 295 h 353"/>
              <a:gd name="T48" fmla="*/ 316 w 351"/>
              <a:gd name="T49" fmla="*/ 283 h 353"/>
              <a:gd name="T50" fmla="*/ 284 w 351"/>
              <a:gd name="T51" fmla="*/ 295 h 353"/>
              <a:gd name="T52" fmla="*/ 333 w 351"/>
              <a:gd name="T53" fmla="*/ 255 h 353"/>
              <a:gd name="T54" fmla="*/ 330 w 351"/>
              <a:gd name="T55" fmla="*/ 220 h 353"/>
              <a:gd name="T56" fmla="*/ 345 w 351"/>
              <a:gd name="T57" fmla="*/ 128 h 353"/>
              <a:gd name="T58" fmla="*/ 319 w 351"/>
              <a:gd name="T59" fmla="*/ 105 h 353"/>
              <a:gd name="T60" fmla="*/ 345 w 351"/>
              <a:gd name="T61" fmla="*/ 128 h 353"/>
              <a:gd name="T62" fmla="*/ 335 w 351"/>
              <a:gd name="T63" fmla="*/ 162 h 353"/>
              <a:gd name="T64" fmla="*/ 335 w 351"/>
              <a:gd name="T65" fmla="*/ 191 h 353"/>
              <a:gd name="T66" fmla="*/ 351 w 351"/>
              <a:gd name="T67" fmla="*/ 177 h 353"/>
              <a:gd name="T68" fmla="*/ 112 w 351"/>
              <a:gd name="T69" fmla="*/ 341 h 353"/>
              <a:gd name="T70" fmla="*/ 146 w 351"/>
              <a:gd name="T71" fmla="*/ 335 h 353"/>
              <a:gd name="T72" fmla="*/ 112 w 351"/>
              <a:gd name="T73" fmla="*/ 341 h 353"/>
              <a:gd name="T74" fmla="*/ 316 w 351"/>
              <a:gd name="T75" fmla="*/ 70 h 353"/>
              <a:gd name="T76" fmla="*/ 284 w 351"/>
              <a:gd name="T77" fmla="*/ 58 h 353"/>
              <a:gd name="T78" fmla="*/ 181 w 351"/>
              <a:gd name="T79" fmla="*/ 271 h 353"/>
              <a:gd name="T80" fmla="*/ 248 w 351"/>
              <a:gd name="T81" fmla="*/ 201 h 353"/>
              <a:gd name="T82" fmla="*/ 234 w 351"/>
              <a:gd name="T83" fmla="*/ 195 h 353"/>
              <a:gd name="T84" fmla="*/ 184 w 351"/>
              <a:gd name="T85" fmla="*/ 88 h 353"/>
              <a:gd name="T86" fmla="*/ 167 w 351"/>
              <a:gd name="T87" fmla="*/ 88 h 353"/>
              <a:gd name="T88" fmla="*/ 117 w 351"/>
              <a:gd name="T89" fmla="*/ 195 h 353"/>
              <a:gd name="T90" fmla="*/ 103 w 351"/>
              <a:gd name="T91" fmla="*/ 201 h 353"/>
              <a:gd name="T92" fmla="*/ 170 w 351"/>
              <a:gd name="T93" fmla="*/ 271 h 353"/>
              <a:gd name="T94" fmla="*/ 181 w 351"/>
              <a:gd name="T95" fmla="*/ 271 h 353"/>
              <a:gd name="T96" fmla="*/ 176 w 351"/>
              <a:gd name="T97" fmla="*/ 353 h 353"/>
              <a:gd name="T98" fmla="*/ 205 w 351"/>
              <a:gd name="T99" fmla="*/ 335 h 353"/>
              <a:gd name="T100" fmla="*/ 234 w 351"/>
              <a:gd name="T101" fmla="*/ 327 h 353"/>
              <a:gd name="T102" fmla="*/ 268 w 351"/>
              <a:gd name="T103" fmla="*/ 326 h 353"/>
              <a:gd name="T104" fmla="*/ 234 w 351"/>
              <a:gd name="T105" fmla="*/ 32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51" h="353">
                <a:moveTo>
                  <a:pt x="15" y="192"/>
                </a:moveTo>
                <a:cubicBezTo>
                  <a:pt x="0" y="193"/>
                  <a:pt x="0" y="193"/>
                  <a:pt x="0" y="193"/>
                </a:cubicBezTo>
                <a:cubicBezTo>
                  <a:pt x="1" y="204"/>
                  <a:pt x="3" y="215"/>
                  <a:pt x="6" y="225"/>
                </a:cubicBezTo>
                <a:cubicBezTo>
                  <a:pt x="20" y="221"/>
                  <a:pt x="20" y="221"/>
                  <a:pt x="20" y="221"/>
                </a:cubicBezTo>
                <a:cubicBezTo>
                  <a:pt x="18" y="212"/>
                  <a:pt x="16" y="202"/>
                  <a:pt x="15" y="192"/>
                </a:cubicBezTo>
                <a:moveTo>
                  <a:pt x="20" y="133"/>
                </a:moveTo>
                <a:cubicBezTo>
                  <a:pt x="5" y="129"/>
                  <a:pt x="5" y="129"/>
                  <a:pt x="5" y="129"/>
                </a:cubicBezTo>
                <a:cubicBezTo>
                  <a:pt x="3" y="139"/>
                  <a:pt x="1" y="150"/>
                  <a:pt x="0" y="161"/>
                </a:cubicBezTo>
                <a:cubicBezTo>
                  <a:pt x="15" y="162"/>
                  <a:pt x="15" y="162"/>
                  <a:pt x="15" y="162"/>
                </a:cubicBezTo>
                <a:cubicBezTo>
                  <a:pt x="16" y="152"/>
                  <a:pt x="18" y="143"/>
                  <a:pt x="20" y="133"/>
                </a:cubicBezTo>
                <a:moveTo>
                  <a:pt x="18" y="256"/>
                </a:moveTo>
                <a:cubicBezTo>
                  <a:pt x="22" y="265"/>
                  <a:pt x="28" y="275"/>
                  <a:pt x="35" y="283"/>
                </a:cubicBezTo>
                <a:cubicBezTo>
                  <a:pt x="47" y="274"/>
                  <a:pt x="47" y="274"/>
                  <a:pt x="47" y="274"/>
                </a:cubicBezTo>
                <a:cubicBezTo>
                  <a:pt x="41" y="266"/>
                  <a:pt x="36" y="258"/>
                  <a:pt x="31" y="249"/>
                </a:cubicBezTo>
                <a:lnTo>
                  <a:pt x="18" y="256"/>
                </a:lnTo>
                <a:close/>
                <a:moveTo>
                  <a:pt x="90" y="40"/>
                </a:moveTo>
                <a:cubicBezTo>
                  <a:pt x="82" y="27"/>
                  <a:pt x="82" y="27"/>
                  <a:pt x="82" y="27"/>
                </a:cubicBezTo>
                <a:cubicBezTo>
                  <a:pt x="73" y="33"/>
                  <a:pt x="64" y="40"/>
                  <a:pt x="56" y="47"/>
                </a:cubicBezTo>
                <a:cubicBezTo>
                  <a:pt x="66" y="58"/>
                  <a:pt x="66" y="58"/>
                  <a:pt x="66" y="58"/>
                </a:cubicBezTo>
                <a:cubicBezTo>
                  <a:pt x="74" y="51"/>
                  <a:pt x="82" y="45"/>
                  <a:pt x="90" y="40"/>
                </a:cubicBezTo>
                <a:moveTo>
                  <a:pt x="46" y="80"/>
                </a:moveTo>
                <a:cubicBezTo>
                  <a:pt x="34" y="71"/>
                  <a:pt x="34" y="71"/>
                  <a:pt x="34" y="71"/>
                </a:cubicBezTo>
                <a:cubicBezTo>
                  <a:pt x="28" y="80"/>
                  <a:pt x="22" y="89"/>
                  <a:pt x="17" y="99"/>
                </a:cubicBezTo>
                <a:cubicBezTo>
                  <a:pt x="31" y="105"/>
                  <a:pt x="31" y="105"/>
                  <a:pt x="31" y="105"/>
                </a:cubicBezTo>
                <a:cubicBezTo>
                  <a:pt x="35" y="97"/>
                  <a:pt x="40" y="88"/>
                  <a:pt x="46" y="80"/>
                </a:cubicBezTo>
                <a:moveTo>
                  <a:pt x="57" y="307"/>
                </a:moveTo>
                <a:cubicBezTo>
                  <a:pt x="65" y="314"/>
                  <a:pt x="74" y="321"/>
                  <a:pt x="83" y="327"/>
                </a:cubicBezTo>
                <a:cubicBezTo>
                  <a:pt x="91" y="314"/>
                  <a:pt x="91" y="314"/>
                  <a:pt x="91" y="314"/>
                </a:cubicBezTo>
                <a:cubicBezTo>
                  <a:pt x="82" y="309"/>
                  <a:pt x="74" y="303"/>
                  <a:pt x="67" y="296"/>
                </a:cubicBezTo>
                <a:lnTo>
                  <a:pt x="57" y="307"/>
                </a:lnTo>
                <a:close/>
                <a:moveTo>
                  <a:pt x="268" y="27"/>
                </a:moveTo>
                <a:cubicBezTo>
                  <a:pt x="259" y="21"/>
                  <a:pt x="249" y="16"/>
                  <a:pt x="239" y="12"/>
                </a:cubicBezTo>
                <a:cubicBezTo>
                  <a:pt x="233" y="27"/>
                  <a:pt x="233" y="27"/>
                  <a:pt x="233" y="27"/>
                </a:cubicBezTo>
                <a:cubicBezTo>
                  <a:pt x="242" y="30"/>
                  <a:pt x="251" y="35"/>
                  <a:pt x="260" y="40"/>
                </a:cubicBezTo>
                <a:lnTo>
                  <a:pt x="268" y="27"/>
                </a:lnTo>
                <a:close/>
                <a:moveTo>
                  <a:pt x="205" y="18"/>
                </a:moveTo>
                <a:cubicBezTo>
                  <a:pt x="208" y="3"/>
                  <a:pt x="208" y="3"/>
                  <a:pt x="208" y="3"/>
                </a:cubicBezTo>
                <a:cubicBezTo>
                  <a:pt x="197" y="1"/>
                  <a:pt x="186" y="0"/>
                  <a:pt x="175" y="0"/>
                </a:cubicBezTo>
                <a:cubicBezTo>
                  <a:pt x="175" y="0"/>
                  <a:pt x="175" y="0"/>
                  <a:pt x="175" y="0"/>
                </a:cubicBezTo>
                <a:cubicBezTo>
                  <a:pt x="174" y="0"/>
                  <a:pt x="174" y="0"/>
                  <a:pt x="174" y="0"/>
                </a:cubicBezTo>
                <a:cubicBezTo>
                  <a:pt x="175" y="16"/>
                  <a:pt x="175" y="16"/>
                  <a:pt x="175" y="16"/>
                </a:cubicBezTo>
                <a:cubicBezTo>
                  <a:pt x="185" y="16"/>
                  <a:pt x="195" y="17"/>
                  <a:pt x="205" y="18"/>
                </a:cubicBezTo>
                <a:moveTo>
                  <a:pt x="145" y="19"/>
                </a:moveTo>
                <a:cubicBezTo>
                  <a:pt x="142" y="3"/>
                  <a:pt x="142" y="3"/>
                  <a:pt x="142" y="3"/>
                </a:cubicBezTo>
                <a:cubicBezTo>
                  <a:pt x="131" y="6"/>
                  <a:pt x="121" y="9"/>
                  <a:pt x="111" y="13"/>
                </a:cubicBezTo>
                <a:cubicBezTo>
                  <a:pt x="116" y="27"/>
                  <a:pt x="116" y="27"/>
                  <a:pt x="116" y="27"/>
                </a:cubicBezTo>
                <a:cubicBezTo>
                  <a:pt x="126" y="23"/>
                  <a:pt x="135" y="20"/>
                  <a:pt x="145" y="19"/>
                </a:cubicBezTo>
                <a:moveTo>
                  <a:pt x="284" y="295"/>
                </a:moveTo>
                <a:cubicBezTo>
                  <a:pt x="294" y="307"/>
                  <a:pt x="294" y="307"/>
                  <a:pt x="294" y="307"/>
                </a:cubicBezTo>
                <a:cubicBezTo>
                  <a:pt x="302" y="299"/>
                  <a:pt x="309" y="291"/>
                  <a:pt x="316" y="283"/>
                </a:cubicBezTo>
                <a:cubicBezTo>
                  <a:pt x="304" y="273"/>
                  <a:pt x="304" y="273"/>
                  <a:pt x="304" y="273"/>
                </a:cubicBezTo>
                <a:cubicBezTo>
                  <a:pt x="298" y="281"/>
                  <a:pt x="291" y="289"/>
                  <a:pt x="284" y="295"/>
                </a:cubicBezTo>
                <a:moveTo>
                  <a:pt x="319" y="248"/>
                </a:moveTo>
                <a:cubicBezTo>
                  <a:pt x="333" y="255"/>
                  <a:pt x="333" y="255"/>
                  <a:pt x="333" y="255"/>
                </a:cubicBezTo>
                <a:cubicBezTo>
                  <a:pt x="338" y="245"/>
                  <a:pt x="342" y="235"/>
                  <a:pt x="345" y="225"/>
                </a:cubicBezTo>
                <a:cubicBezTo>
                  <a:pt x="330" y="220"/>
                  <a:pt x="330" y="220"/>
                  <a:pt x="330" y="220"/>
                </a:cubicBezTo>
                <a:cubicBezTo>
                  <a:pt x="327" y="230"/>
                  <a:pt x="324" y="239"/>
                  <a:pt x="319" y="248"/>
                </a:cubicBezTo>
                <a:moveTo>
                  <a:pt x="345" y="128"/>
                </a:moveTo>
                <a:cubicBezTo>
                  <a:pt x="342" y="118"/>
                  <a:pt x="338" y="108"/>
                  <a:pt x="333" y="98"/>
                </a:cubicBezTo>
                <a:cubicBezTo>
                  <a:pt x="319" y="105"/>
                  <a:pt x="319" y="105"/>
                  <a:pt x="319" y="105"/>
                </a:cubicBezTo>
                <a:cubicBezTo>
                  <a:pt x="324" y="114"/>
                  <a:pt x="327" y="123"/>
                  <a:pt x="330" y="132"/>
                </a:cubicBezTo>
                <a:lnTo>
                  <a:pt x="345" y="128"/>
                </a:lnTo>
                <a:close/>
                <a:moveTo>
                  <a:pt x="351" y="160"/>
                </a:moveTo>
                <a:cubicBezTo>
                  <a:pt x="335" y="162"/>
                  <a:pt x="335" y="162"/>
                  <a:pt x="335" y="162"/>
                </a:cubicBezTo>
                <a:cubicBezTo>
                  <a:pt x="336" y="167"/>
                  <a:pt x="336" y="172"/>
                  <a:pt x="336" y="177"/>
                </a:cubicBezTo>
                <a:cubicBezTo>
                  <a:pt x="336" y="182"/>
                  <a:pt x="336" y="186"/>
                  <a:pt x="335" y="191"/>
                </a:cubicBezTo>
                <a:cubicBezTo>
                  <a:pt x="351" y="193"/>
                  <a:pt x="351" y="193"/>
                  <a:pt x="351" y="193"/>
                </a:cubicBezTo>
                <a:cubicBezTo>
                  <a:pt x="351" y="187"/>
                  <a:pt x="351" y="182"/>
                  <a:pt x="351" y="177"/>
                </a:cubicBezTo>
                <a:cubicBezTo>
                  <a:pt x="351" y="171"/>
                  <a:pt x="351" y="166"/>
                  <a:pt x="351" y="160"/>
                </a:cubicBezTo>
                <a:moveTo>
                  <a:pt x="112" y="341"/>
                </a:moveTo>
                <a:cubicBezTo>
                  <a:pt x="122" y="345"/>
                  <a:pt x="132" y="348"/>
                  <a:pt x="143" y="350"/>
                </a:cubicBezTo>
                <a:cubicBezTo>
                  <a:pt x="146" y="335"/>
                  <a:pt x="146" y="335"/>
                  <a:pt x="146" y="335"/>
                </a:cubicBezTo>
                <a:cubicBezTo>
                  <a:pt x="136" y="333"/>
                  <a:pt x="127" y="330"/>
                  <a:pt x="117" y="327"/>
                </a:cubicBezTo>
                <a:lnTo>
                  <a:pt x="112" y="341"/>
                </a:lnTo>
                <a:close/>
                <a:moveTo>
                  <a:pt x="304" y="80"/>
                </a:moveTo>
                <a:cubicBezTo>
                  <a:pt x="316" y="70"/>
                  <a:pt x="316" y="70"/>
                  <a:pt x="316" y="70"/>
                </a:cubicBezTo>
                <a:cubicBezTo>
                  <a:pt x="309" y="62"/>
                  <a:pt x="302" y="54"/>
                  <a:pt x="294" y="46"/>
                </a:cubicBezTo>
                <a:cubicBezTo>
                  <a:pt x="284" y="58"/>
                  <a:pt x="284" y="58"/>
                  <a:pt x="284" y="58"/>
                </a:cubicBezTo>
                <a:cubicBezTo>
                  <a:pt x="291" y="64"/>
                  <a:pt x="298" y="72"/>
                  <a:pt x="304" y="80"/>
                </a:cubicBezTo>
                <a:moveTo>
                  <a:pt x="181" y="271"/>
                </a:moveTo>
                <a:cubicBezTo>
                  <a:pt x="245" y="206"/>
                  <a:pt x="245" y="206"/>
                  <a:pt x="245" y="206"/>
                </a:cubicBezTo>
                <a:cubicBezTo>
                  <a:pt x="247" y="205"/>
                  <a:pt x="248" y="203"/>
                  <a:pt x="248" y="201"/>
                </a:cubicBezTo>
                <a:cubicBezTo>
                  <a:pt x="248" y="196"/>
                  <a:pt x="244" y="193"/>
                  <a:pt x="240" y="193"/>
                </a:cubicBezTo>
                <a:cubicBezTo>
                  <a:pt x="238" y="193"/>
                  <a:pt x="235" y="194"/>
                  <a:pt x="234" y="195"/>
                </a:cubicBezTo>
                <a:cubicBezTo>
                  <a:pt x="184" y="246"/>
                  <a:pt x="184" y="246"/>
                  <a:pt x="184" y="246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4" y="84"/>
                  <a:pt x="180" y="80"/>
                  <a:pt x="176" y="80"/>
                </a:cubicBezTo>
                <a:cubicBezTo>
                  <a:pt x="171" y="80"/>
                  <a:pt x="167" y="84"/>
                  <a:pt x="167" y="88"/>
                </a:cubicBezTo>
                <a:cubicBezTo>
                  <a:pt x="167" y="246"/>
                  <a:pt x="167" y="246"/>
                  <a:pt x="167" y="246"/>
                </a:cubicBezTo>
                <a:cubicBezTo>
                  <a:pt x="117" y="195"/>
                  <a:pt x="117" y="195"/>
                  <a:pt x="117" y="195"/>
                </a:cubicBezTo>
                <a:cubicBezTo>
                  <a:pt x="116" y="194"/>
                  <a:pt x="114" y="193"/>
                  <a:pt x="111" y="193"/>
                </a:cubicBezTo>
                <a:cubicBezTo>
                  <a:pt x="107" y="193"/>
                  <a:pt x="103" y="196"/>
                  <a:pt x="103" y="201"/>
                </a:cubicBezTo>
                <a:cubicBezTo>
                  <a:pt x="103" y="203"/>
                  <a:pt x="104" y="205"/>
                  <a:pt x="106" y="206"/>
                </a:cubicBezTo>
                <a:cubicBezTo>
                  <a:pt x="170" y="271"/>
                  <a:pt x="170" y="271"/>
                  <a:pt x="170" y="271"/>
                </a:cubicBezTo>
                <a:cubicBezTo>
                  <a:pt x="171" y="272"/>
                  <a:pt x="173" y="273"/>
                  <a:pt x="176" y="273"/>
                </a:cubicBezTo>
                <a:cubicBezTo>
                  <a:pt x="178" y="273"/>
                  <a:pt x="180" y="272"/>
                  <a:pt x="181" y="271"/>
                </a:cubicBezTo>
                <a:moveTo>
                  <a:pt x="176" y="338"/>
                </a:moveTo>
                <a:cubicBezTo>
                  <a:pt x="176" y="353"/>
                  <a:pt x="176" y="353"/>
                  <a:pt x="176" y="353"/>
                </a:cubicBezTo>
                <a:cubicBezTo>
                  <a:pt x="186" y="353"/>
                  <a:pt x="197" y="352"/>
                  <a:pt x="208" y="350"/>
                </a:cubicBezTo>
                <a:cubicBezTo>
                  <a:pt x="205" y="335"/>
                  <a:pt x="205" y="335"/>
                  <a:pt x="205" y="335"/>
                </a:cubicBezTo>
                <a:cubicBezTo>
                  <a:pt x="195" y="337"/>
                  <a:pt x="185" y="338"/>
                  <a:pt x="176" y="338"/>
                </a:cubicBezTo>
                <a:moveTo>
                  <a:pt x="234" y="327"/>
                </a:moveTo>
                <a:cubicBezTo>
                  <a:pt x="239" y="341"/>
                  <a:pt x="239" y="341"/>
                  <a:pt x="239" y="341"/>
                </a:cubicBezTo>
                <a:cubicBezTo>
                  <a:pt x="249" y="337"/>
                  <a:pt x="259" y="332"/>
                  <a:pt x="268" y="326"/>
                </a:cubicBezTo>
                <a:cubicBezTo>
                  <a:pt x="260" y="313"/>
                  <a:pt x="260" y="313"/>
                  <a:pt x="260" y="313"/>
                </a:cubicBezTo>
                <a:cubicBezTo>
                  <a:pt x="252" y="319"/>
                  <a:pt x="243" y="323"/>
                  <a:pt x="234" y="327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4572000" y="1543050"/>
            <a:ext cx="0" cy="274320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048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 err="1"/>
              <a:t>nos</a:t>
            </a:r>
            <a:r>
              <a:rPr lang="en-US" dirty="0"/>
              <a:t> </a:t>
            </a:r>
            <a:r>
              <a:rPr lang="en-US" dirty="0">
                <a:solidFill>
                  <a:srgbClr val="EC0000"/>
                </a:solidFill>
              </a:rPr>
              <a:t>move</a:t>
            </a:r>
          </a:p>
        </p:txBody>
      </p:sp>
      <p:grpSp>
        <p:nvGrpSpPr>
          <p:cNvPr id="24" name="Group 2">
            <a:extLst>
              <a:ext uri="{FF2B5EF4-FFF2-40B4-BE49-F238E27FC236}">
                <a16:creationId xmlns:a16="http://schemas.microsoft.com/office/drawing/2014/main" id="{DE9D0A69-55B0-474B-BFF1-B3CE40EE70BC}"/>
              </a:ext>
            </a:extLst>
          </p:cNvPr>
          <p:cNvGrpSpPr/>
          <p:nvPr/>
        </p:nvGrpSpPr>
        <p:grpSpPr>
          <a:xfrm>
            <a:off x="3264589" y="4044446"/>
            <a:ext cx="247286" cy="241804"/>
            <a:chOff x="3264589" y="4044446"/>
            <a:chExt cx="247286" cy="241804"/>
          </a:xfrm>
        </p:grpSpPr>
        <p:sp>
          <p:nvSpPr>
            <p:cNvPr id="25" name="Oval 4">
              <a:extLst>
                <a:ext uri="{FF2B5EF4-FFF2-40B4-BE49-F238E27FC236}">
                  <a16:creationId xmlns:a16="http://schemas.microsoft.com/office/drawing/2014/main" id="{89E1020E-F2E7-4779-90F7-DE3477FC4A1E}"/>
                </a:ext>
              </a:extLst>
            </p:cNvPr>
            <p:cNvSpPr/>
            <p:nvPr/>
          </p:nvSpPr>
          <p:spPr>
            <a:xfrm>
              <a:off x="3264589" y="4184633"/>
              <a:ext cx="101617" cy="10161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E3941EE8-9BFA-4336-BFCC-31329CEC71A4}"/>
                </a:ext>
              </a:extLst>
            </p:cNvPr>
            <p:cNvSpPr/>
            <p:nvPr/>
          </p:nvSpPr>
          <p:spPr>
            <a:xfrm>
              <a:off x="3334608" y="4044446"/>
              <a:ext cx="177267" cy="176556"/>
            </a:xfrm>
            <a:custGeom>
              <a:avLst/>
              <a:gdLst>
                <a:gd name="connsiteX0" fmla="*/ 456839 w 558474"/>
                <a:gd name="connsiteY0" fmla="*/ 0 h 556235"/>
                <a:gd name="connsiteX1" fmla="*/ 532161 w 558474"/>
                <a:gd name="connsiteY1" fmla="*/ 62146 h 556235"/>
                <a:gd name="connsiteX2" fmla="*/ 558474 w 558474"/>
                <a:gd name="connsiteY2" fmla="*/ 76428 h 556235"/>
                <a:gd name="connsiteX3" fmla="*/ 531014 w 558474"/>
                <a:gd name="connsiteY3" fmla="*/ 108942 h 556235"/>
                <a:gd name="connsiteX4" fmla="*/ 138845 w 558474"/>
                <a:gd name="connsiteY4" fmla="*/ 507892 h 556235"/>
                <a:gd name="connsiteX5" fmla="*/ 83371 w 558474"/>
                <a:gd name="connsiteY5" fmla="*/ 556235 h 556235"/>
                <a:gd name="connsiteX6" fmla="*/ 80617 w 558474"/>
                <a:gd name="connsiteY6" fmla="*/ 542596 h 556235"/>
                <a:gd name="connsiteX7" fmla="*/ 46312 w 558474"/>
                <a:gd name="connsiteY7" fmla="*/ 491715 h 556235"/>
                <a:gd name="connsiteX8" fmla="*/ 0 w 558474"/>
                <a:gd name="connsiteY8" fmla="*/ 460491 h 556235"/>
                <a:gd name="connsiteX9" fmla="*/ 52892 w 558474"/>
                <a:gd name="connsiteY9" fmla="*/ 414398 h 556235"/>
                <a:gd name="connsiteX10" fmla="*/ 436052 w 558474"/>
                <a:gd name="connsiteY10" fmla="*/ 24612 h 556235"/>
                <a:gd name="connsiteX11" fmla="*/ 456839 w 558474"/>
                <a:gd name="connsiteY11" fmla="*/ 0 h 55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8474" h="556235">
                  <a:moveTo>
                    <a:pt x="456839" y="0"/>
                  </a:moveTo>
                  <a:lnTo>
                    <a:pt x="532161" y="62146"/>
                  </a:lnTo>
                  <a:lnTo>
                    <a:pt x="558474" y="76428"/>
                  </a:lnTo>
                  <a:lnTo>
                    <a:pt x="531014" y="108942"/>
                  </a:lnTo>
                  <a:cubicBezTo>
                    <a:pt x="407062" y="248422"/>
                    <a:pt x="276158" y="381587"/>
                    <a:pt x="138845" y="507892"/>
                  </a:cubicBezTo>
                  <a:lnTo>
                    <a:pt x="83371" y="556235"/>
                  </a:lnTo>
                  <a:lnTo>
                    <a:pt x="80617" y="542596"/>
                  </a:lnTo>
                  <a:cubicBezTo>
                    <a:pt x="72517" y="523445"/>
                    <a:pt x="60796" y="506199"/>
                    <a:pt x="46312" y="491715"/>
                  </a:cubicBezTo>
                  <a:lnTo>
                    <a:pt x="0" y="460491"/>
                  </a:lnTo>
                  <a:lnTo>
                    <a:pt x="52892" y="414398"/>
                  </a:lnTo>
                  <a:cubicBezTo>
                    <a:pt x="187050" y="290994"/>
                    <a:pt x="314947" y="160889"/>
                    <a:pt x="436052" y="24612"/>
                  </a:cubicBezTo>
                  <a:lnTo>
                    <a:pt x="456839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06"/>
            </a:p>
          </p:txBody>
        </p:sp>
      </p:grpSp>
      <p:sp>
        <p:nvSpPr>
          <p:cNvPr id="27" name="Freeform 7">
            <a:extLst>
              <a:ext uri="{FF2B5EF4-FFF2-40B4-BE49-F238E27FC236}">
                <a16:creationId xmlns:a16="http://schemas.microsoft.com/office/drawing/2014/main" id="{B06D26BA-41D1-4567-BD5C-5E170804E9CF}"/>
              </a:ext>
            </a:extLst>
          </p:cNvPr>
          <p:cNvSpPr/>
          <p:nvPr/>
        </p:nvSpPr>
        <p:spPr>
          <a:xfrm>
            <a:off x="3726530" y="2130265"/>
            <a:ext cx="204682" cy="561651"/>
          </a:xfrm>
          <a:custGeom>
            <a:avLst/>
            <a:gdLst>
              <a:gd name="connsiteX0" fmla="*/ 109492 w 644844"/>
              <a:gd name="connsiteY0" fmla="*/ 0 h 1769467"/>
              <a:gd name="connsiteX1" fmla="*/ 209474 w 644844"/>
              <a:gd name="connsiteY1" fmla="*/ 208423 h 1769467"/>
              <a:gd name="connsiteX2" fmla="*/ 620200 w 644844"/>
              <a:gd name="connsiteY2" fmla="*/ 1581427 h 1769467"/>
              <a:gd name="connsiteX3" fmla="*/ 644844 w 644844"/>
              <a:gd name="connsiteY3" fmla="*/ 1765235 h 1769467"/>
              <a:gd name="connsiteX4" fmla="*/ 602066 w 644844"/>
              <a:gd name="connsiteY4" fmla="*/ 1760922 h 1769467"/>
              <a:gd name="connsiteX5" fmla="*/ 517306 w 644844"/>
              <a:gd name="connsiteY5" fmla="*/ 1769467 h 1769467"/>
              <a:gd name="connsiteX6" fmla="*/ 494826 w 644844"/>
              <a:gd name="connsiteY6" fmla="*/ 1601801 h 1769467"/>
              <a:gd name="connsiteX7" fmla="*/ 93535 w 644844"/>
              <a:gd name="connsiteY7" fmla="*/ 260336 h 1769467"/>
              <a:gd name="connsiteX8" fmla="*/ 0 w 644844"/>
              <a:gd name="connsiteY8" fmla="*/ 65352 h 1769467"/>
              <a:gd name="connsiteX9" fmla="*/ 88514 w 644844"/>
              <a:gd name="connsiteY9" fmla="*/ 17308 h 1769467"/>
              <a:gd name="connsiteX10" fmla="*/ 109492 w 644844"/>
              <a:gd name="connsiteY10" fmla="*/ 0 h 176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844" h="1769467">
                <a:moveTo>
                  <a:pt x="109492" y="0"/>
                </a:moveTo>
                <a:lnTo>
                  <a:pt x="209474" y="208423"/>
                </a:lnTo>
                <a:cubicBezTo>
                  <a:pt x="402850" y="639636"/>
                  <a:pt x="542589" y="1100134"/>
                  <a:pt x="620200" y="1581427"/>
                </a:cubicBezTo>
                <a:lnTo>
                  <a:pt x="644844" y="1765235"/>
                </a:lnTo>
                <a:lnTo>
                  <a:pt x="602066" y="1760922"/>
                </a:lnTo>
                <a:lnTo>
                  <a:pt x="517306" y="1769467"/>
                </a:lnTo>
                <a:lnTo>
                  <a:pt x="494826" y="1601801"/>
                </a:lnTo>
                <a:cubicBezTo>
                  <a:pt x="418998" y="1131564"/>
                  <a:pt x="282470" y="681644"/>
                  <a:pt x="93535" y="260336"/>
                </a:cubicBezTo>
                <a:lnTo>
                  <a:pt x="0" y="65352"/>
                </a:lnTo>
                <a:lnTo>
                  <a:pt x="88514" y="17308"/>
                </a:lnTo>
                <a:lnTo>
                  <a:pt x="109492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30" name="Freeform 8">
            <a:extLst>
              <a:ext uri="{FF2B5EF4-FFF2-40B4-BE49-F238E27FC236}">
                <a16:creationId xmlns:a16="http://schemas.microsoft.com/office/drawing/2014/main" id="{8BD00175-4552-4275-A0FD-9131F3326FA2}"/>
              </a:ext>
            </a:extLst>
          </p:cNvPr>
          <p:cNvSpPr/>
          <p:nvPr/>
        </p:nvSpPr>
        <p:spPr>
          <a:xfrm>
            <a:off x="3726530" y="3135604"/>
            <a:ext cx="204682" cy="561651"/>
          </a:xfrm>
          <a:custGeom>
            <a:avLst/>
            <a:gdLst>
              <a:gd name="connsiteX0" fmla="*/ 517306 w 644844"/>
              <a:gd name="connsiteY0" fmla="*/ 0 h 1769467"/>
              <a:gd name="connsiteX1" fmla="*/ 602066 w 644844"/>
              <a:gd name="connsiteY1" fmla="*/ 8545 h 1769467"/>
              <a:gd name="connsiteX2" fmla="*/ 644844 w 644844"/>
              <a:gd name="connsiteY2" fmla="*/ 4233 h 1769467"/>
              <a:gd name="connsiteX3" fmla="*/ 620200 w 644844"/>
              <a:gd name="connsiteY3" fmla="*/ 188040 h 1769467"/>
              <a:gd name="connsiteX4" fmla="*/ 209474 w 644844"/>
              <a:gd name="connsiteY4" fmla="*/ 1561044 h 1769467"/>
              <a:gd name="connsiteX5" fmla="*/ 109492 w 644844"/>
              <a:gd name="connsiteY5" fmla="*/ 1769467 h 1769467"/>
              <a:gd name="connsiteX6" fmla="*/ 88514 w 644844"/>
              <a:gd name="connsiteY6" fmla="*/ 1752159 h 1769467"/>
              <a:gd name="connsiteX7" fmla="*/ 0 w 644844"/>
              <a:gd name="connsiteY7" fmla="*/ 1704115 h 1769467"/>
              <a:gd name="connsiteX8" fmla="*/ 93535 w 644844"/>
              <a:gd name="connsiteY8" fmla="*/ 1509131 h 1769467"/>
              <a:gd name="connsiteX9" fmla="*/ 494826 w 644844"/>
              <a:gd name="connsiteY9" fmla="*/ 167666 h 1769467"/>
              <a:gd name="connsiteX10" fmla="*/ 517306 w 644844"/>
              <a:gd name="connsiteY10" fmla="*/ 0 h 176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44844" h="1769467">
                <a:moveTo>
                  <a:pt x="517306" y="0"/>
                </a:moveTo>
                <a:lnTo>
                  <a:pt x="602066" y="8545"/>
                </a:lnTo>
                <a:lnTo>
                  <a:pt x="644844" y="4233"/>
                </a:lnTo>
                <a:lnTo>
                  <a:pt x="620200" y="188040"/>
                </a:lnTo>
                <a:cubicBezTo>
                  <a:pt x="542589" y="669334"/>
                  <a:pt x="402850" y="1129832"/>
                  <a:pt x="209474" y="1561044"/>
                </a:cubicBezTo>
                <a:lnTo>
                  <a:pt x="109492" y="1769467"/>
                </a:lnTo>
                <a:lnTo>
                  <a:pt x="88514" y="1752159"/>
                </a:lnTo>
                <a:lnTo>
                  <a:pt x="0" y="1704115"/>
                </a:lnTo>
                <a:lnTo>
                  <a:pt x="93535" y="1509131"/>
                </a:lnTo>
                <a:cubicBezTo>
                  <a:pt x="282470" y="1087824"/>
                  <a:pt x="418998" y="637904"/>
                  <a:pt x="494826" y="167666"/>
                </a:cubicBezTo>
                <a:lnTo>
                  <a:pt x="517306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31" name="Group 1">
            <a:extLst>
              <a:ext uri="{FF2B5EF4-FFF2-40B4-BE49-F238E27FC236}">
                <a16:creationId xmlns:a16="http://schemas.microsoft.com/office/drawing/2014/main" id="{6A711B2B-2DA6-46D8-BF7D-D007A9EAAEE9}"/>
              </a:ext>
            </a:extLst>
          </p:cNvPr>
          <p:cNvGrpSpPr/>
          <p:nvPr/>
        </p:nvGrpSpPr>
        <p:grpSpPr>
          <a:xfrm>
            <a:off x="3263245" y="1540934"/>
            <a:ext cx="248630" cy="242140"/>
            <a:chOff x="3263245" y="1540934"/>
            <a:chExt cx="248630" cy="242140"/>
          </a:xfrm>
        </p:grpSpPr>
        <p:sp>
          <p:nvSpPr>
            <p:cNvPr id="32" name="Freeform 3">
              <a:extLst>
                <a:ext uri="{FF2B5EF4-FFF2-40B4-BE49-F238E27FC236}">
                  <a16:creationId xmlns:a16="http://schemas.microsoft.com/office/drawing/2014/main" id="{A166E2FA-07D8-428E-BD61-06C094919253}"/>
                </a:ext>
              </a:extLst>
            </p:cNvPr>
            <p:cNvSpPr/>
            <p:nvPr/>
          </p:nvSpPr>
          <p:spPr>
            <a:xfrm>
              <a:off x="3334608" y="1606517"/>
              <a:ext cx="177267" cy="176557"/>
            </a:xfrm>
            <a:custGeom>
              <a:avLst/>
              <a:gdLst>
                <a:gd name="connsiteX0" fmla="*/ 83371 w 558474"/>
                <a:gd name="connsiteY0" fmla="*/ 0 h 556236"/>
                <a:gd name="connsiteX1" fmla="*/ 138845 w 558474"/>
                <a:gd name="connsiteY1" fmla="*/ 48343 h 556236"/>
                <a:gd name="connsiteX2" fmla="*/ 531014 w 558474"/>
                <a:gd name="connsiteY2" fmla="*/ 447293 h 556236"/>
                <a:gd name="connsiteX3" fmla="*/ 558474 w 558474"/>
                <a:gd name="connsiteY3" fmla="*/ 479807 h 556236"/>
                <a:gd name="connsiteX4" fmla="*/ 532161 w 558474"/>
                <a:gd name="connsiteY4" fmla="*/ 494089 h 556236"/>
                <a:gd name="connsiteX5" fmla="*/ 456839 w 558474"/>
                <a:gd name="connsiteY5" fmla="*/ 556236 h 556236"/>
                <a:gd name="connsiteX6" fmla="*/ 436052 w 558474"/>
                <a:gd name="connsiteY6" fmla="*/ 531623 h 556236"/>
                <a:gd name="connsiteX7" fmla="*/ 52892 w 558474"/>
                <a:gd name="connsiteY7" fmla="*/ 141837 h 556236"/>
                <a:gd name="connsiteX8" fmla="*/ 0 w 558474"/>
                <a:gd name="connsiteY8" fmla="*/ 95745 h 556236"/>
                <a:gd name="connsiteX9" fmla="*/ 46312 w 558474"/>
                <a:gd name="connsiteY9" fmla="*/ 64521 h 556236"/>
                <a:gd name="connsiteX10" fmla="*/ 80617 w 558474"/>
                <a:gd name="connsiteY10" fmla="*/ 13640 h 556236"/>
                <a:gd name="connsiteX11" fmla="*/ 83371 w 558474"/>
                <a:gd name="connsiteY11" fmla="*/ 0 h 55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58474" h="556236">
                  <a:moveTo>
                    <a:pt x="83371" y="0"/>
                  </a:moveTo>
                  <a:lnTo>
                    <a:pt x="138845" y="48343"/>
                  </a:lnTo>
                  <a:cubicBezTo>
                    <a:pt x="276158" y="174649"/>
                    <a:pt x="407062" y="307813"/>
                    <a:pt x="531014" y="447293"/>
                  </a:cubicBezTo>
                  <a:lnTo>
                    <a:pt x="558474" y="479807"/>
                  </a:lnTo>
                  <a:lnTo>
                    <a:pt x="532161" y="494089"/>
                  </a:lnTo>
                  <a:lnTo>
                    <a:pt x="456839" y="556236"/>
                  </a:lnTo>
                  <a:lnTo>
                    <a:pt x="436052" y="531623"/>
                  </a:lnTo>
                  <a:cubicBezTo>
                    <a:pt x="314947" y="395347"/>
                    <a:pt x="187050" y="265241"/>
                    <a:pt x="52892" y="141837"/>
                  </a:cubicBezTo>
                  <a:lnTo>
                    <a:pt x="0" y="95745"/>
                  </a:lnTo>
                  <a:lnTo>
                    <a:pt x="46312" y="64521"/>
                  </a:lnTo>
                  <a:cubicBezTo>
                    <a:pt x="60796" y="50037"/>
                    <a:pt x="72517" y="32791"/>
                    <a:pt x="80617" y="13640"/>
                  </a:cubicBezTo>
                  <a:lnTo>
                    <a:pt x="8337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506"/>
            </a:p>
          </p:txBody>
        </p:sp>
        <p:sp>
          <p:nvSpPr>
            <p:cNvPr id="33" name="Oval 9">
              <a:extLst>
                <a:ext uri="{FF2B5EF4-FFF2-40B4-BE49-F238E27FC236}">
                  <a16:creationId xmlns:a16="http://schemas.microsoft.com/office/drawing/2014/main" id="{A29FB738-91EA-4192-9446-FCD7532E15A4}"/>
                </a:ext>
              </a:extLst>
            </p:cNvPr>
            <p:cNvSpPr/>
            <p:nvPr/>
          </p:nvSpPr>
          <p:spPr>
            <a:xfrm>
              <a:off x="3263245" y="1540934"/>
              <a:ext cx="101617" cy="101617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</p:grpSp>
      <p:grpSp>
        <p:nvGrpSpPr>
          <p:cNvPr id="34" name="Group 32">
            <a:extLst>
              <a:ext uri="{FF2B5EF4-FFF2-40B4-BE49-F238E27FC236}">
                <a16:creationId xmlns:a16="http://schemas.microsoft.com/office/drawing/2014/main" id="{1FF7461C-13D5-4738-8CBD-A42BB0B0A9D5}"/>
              </a:ext>
            </a:extLst>
          </p:cNvPr>
          <p:cNvGrpSpPr/>
          <p:nvPr/>
        </p:nvGrpSpPr>
        <p:grpSpPr>
          <a:xfrm>
            <a:off x="3397955" y="3623718"/>
            <a:ext cx="462238" cy="462237"/>
            <a:chOff x="3397955" y="3623718"/>
            <a:chExt cx="462238" cy="462237"/>
          </a:xfrm>
        </p:grpSpPr>
        <p:sp>
          <p:nvSpPr>
            <p:cNvPr id="37" name="Oval 12">
              <a:extLst>
                <a:ext uri="{FF2B5EF4-FFF2-40B4-BE49-F238E27FC236}">
                  <a16:creationId xmlns:a16="http://schemas.microsoft.com/office/drawing/2014/main" id="{6B1A5DFF-DA9E-4598-9FF7-E0EB15ECBB7F}"/>
                </a:ext>
              </a:extLst>
            </p:cNvPr>
            <p:cNvSpPr/>
            <p:nvPr/>
          </p:nvSpPr>
          <p:spPr>
            <a:xfrm>
              <a:off x="3397955" y="3623718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solidFill>
                <a:srgbClr val="EC1C2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F0BAF48C-882B-4226-9203-3644F66E2A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9421" y="3757911"/>
              <a:ext cx="240110" cy="240110"/>
            </a:xfrm>
            <a:custGeom>
              <a:avLst/>
              <a:gdLst>
                <a:gd name="T0" fmla="*/ 353 w 353"/>
                <a:gd name="T1" fmla="*/ 104 h 353"/>
                <a:gd name="T2" fmla="*/ 249 w 353"/>
                <a:gd name="T3" fmla="*/ 0 h 353"/>
                <a:gd name="T4" fmla="*/ 176 w 353"/>
                <a:gd name="T5" fmla="*/ 29 h 353"/>
                <a:gd name="T6" fmla="*/ 104 w 353"/>
                <a:gd name="T7" fmla="*/ 0 h 353"/>
                <a:gd name="T8" fmla="*/ 0 w 353"/>
                <a:gd name="T9" fmla="*/ 104 h 353"/>
                <a:gd name="T10" fmla="*/ 1 w 353"/>
                <a:gd name="T11" fmla="*/ 116 h 353"/>
                <a:gd name="T12" fmla="*/ 176 w 353"/>
                <a:gd name="T13" fmla="*/ 353 h 353"/>
                <a:gd name="T14" fmla="*/ 352 w 353"/>
                <a:gd name="T15" fmla="*/ 116 h 353"/>
                <a:gd name="T16" fmla="*/ 353 w 353"/>
                <a:gd name="T17" fmla="*/ 104 h 353"/>
                <a:gd name="T18" fmla="*/ 336 w 353"/>
                <a:gd name="T19" fmla="*/ 114 h 353"/>
                <a:gd name="T20" fmla="*/ 176 w 353"/>
                <a:gd name="T21" fmla="*/ 335 h 353"/>
                <a:gd name="T22" fmla="*/ 17 w 353"/>
                <a:gd name="T23" fmla="*/ 114 h 353"/>
                <a:gd name="T24" fmla="*/ 16 w 353"/>
                <a:gd name="T25" fmla="*/ 104 h 353"/>
                <a:gd name="T26" fmla="*/ 104 w 353"/>
                <a:gd name="T27" fmla="*/ 16 h 353"/>
                <a:gd name="T28" fmla="*/ 165 w 353"/>
                <a:gd name="T29" fmla="*/ 40 h 353"/>
                <a:gd name="T30" fmla="*/ 176 w 353"/>
                <a:gd name="T31" fmla="*/ 51 h 353"/>
                <a:gd name="T32" fmla="*/ 188 w 353"/>
                <a:gd name="T33" fmla="*/ 40 h 353"/>
                <a:gd name="T34" fmla="*/ 249 w 353"/>
                <a:gd name="T35" fmla="*/ 16 h 353"/>
                <a:gd name="T36" fmla="*/ 337 w 353"/>
                <a:gd name="T37" fmla="*/ 104 h 353"/>
                <a:gd name="T38" fmla="*/ 336 w 353"/>
                <a:gd name="T39" fmla="*/ 11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3" h="353">
                  <a:moveTo>
                    <a:pt x="353" y="104"/>
                  </a:moveTo>
                  <a:cubicBezTo>
                    <a:pt x="353" y="46"/>
                    <a:pt x="306" y="0"/>
                    <a:pt x="249" y="0"/>
                  </a:cubicBezTo>
                  <a:cubicBezTo>
                    <a:pt x="221" y="0"/>
                    <a:pt x="195" y="11"/>
                    <a:pt x="176" y="29"/>
                  </a:cubicBezTo>
                  <a:cubicBezTo>
                    <a:pt x="158" y="11"/>
                    <a:pt x="132" y="0"/>
                    <a:pt x="104" y="0"/>
                  </a:cubicBezTo>
                  <a:cubicBezTo>
                    <a:pt x="47" y="0"/>
                    <a:pt x="0" y="46"/>
                    <a:pt x="0" y="104"/>
                  </a:cubicBezTo>
                  <a:cubicBezTo>
                    <a:pt x="0" y="111"/>
                    <a:pt x="1" y="119"/>
                    <a:pt x="1" y="116"/>
                  </a:cubicBezTo>
                  <a:cubicBezTo>
                    <a:pt x="12" y="219"/>
                    <a:pt x="161" y="353"/>
                    <a:pt x="176" y="353"/>
                  </a:cubicBezTo>
                  <a:cubicBezTo>
                    <a:pt x="192" y="353"/>
                    <a:pt x="341" y="219"/>
                    <a:pt x="352" y="116"/>
                  </a:cubicBezTo>
                  <a:cubicBezTo>
                    <a:pt x="352" y="119"/>
                    <a:pt x="353" y="111"/>
                    <a:pt x="353" y="104"/>
                  </a:cubicBezTo>
                  <a:moveTo>
                    <a:pt x="336" y="114"/>
                  </a:moveTo>
                  <a:cubicBezTo>
                    <a:pt x="327" y="200"/>
                    <a:pt x="206" y="317"/>
                    <a:pt x="176" y="335"/>
                  </a:cubicBezTo>
                  <a:cubicBezTo>
                    <a:pt x="147" y="317"/>
                    <a:pt x="26" y="200"/>
                    <a:pt x="17" y="114"/>
                  </a:cubicBezTo>
                  <a:cubicBezTo>
                    <a:pt x="17" y="114"/>
                    <a:pt x="16" y="109"/>
                    <a:pt x="16" y="104"/>
                  </a:cubicBezTo>
                  <a:cubicBezTo>
                    <a:pt x="16" y="55"/>
                    <a:pt x="56" y="16"/>
                    <a:pt x="104" y="16"/>
                  </a:cubicBezTo>
                  <a:cubicBezTo>
                    <a:pt x="127" y="16"/>
                    <a:pt x="149" y="24"/>
                    <a:pt x="165" y="40"/>
                  </a:cubicBezTo>
                  <a:cubicBezTo>
                    <a:pt x="176" y="51"/>
                    <a:pt x="176" y="51"/>
                    <a:pt x="176" y="51"/>
                  </a:cubicBezTo>
                  <a:cubicBezTo>
                    <a:pt x="188" y="40"/>
                    <a:pt x="188" y="40"/>
                    <a:pt x="188" y="40"/>
                  </a:cubicBezTo>
                  <a:cubicBezTo>
                    <a:pt x="204" y="24"/>
                    <a:pt x="226" y="16"/>
                    <a:pt x="249" y="16"/>
                  </a:cubicBezTo>
                  <a:cubicBezTo>
                    <a:pt x="297" y="16"/>
                    <a:pt x="337" y="55"/>
                    <a:pt x="337" y="104"/>
                  </a:cubicBezTo>
                  <a:cubicBezTo>
                    <a:pt x="337" y="110"/>
                    <a:pt x="336" y="114"/>
                    <a:pt x="336" y="1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1" name="Group 30">
            <a:extLst>
              <a:ext uri="{FF2B5EF4-FFF2-40B4-BE49-F238E27FC236}">
                <a16:creationId xmlns:a16="http://schemas.microsoft.com/office/drawing/2014/main" id="{2CFF81AF-F7E0-4675-A058-D3E1F5648FC6}"/>
              </a:ext>
            </a:extLst>
          </p:cNvPr>
          <p:cNvGrpSpPr/>
          <p:nvPr/>
        </p:nvGrpSpPr>
        <p:grpSpPr>
          <a:xfrm>
            <a:off x="3397955" y="1718435"/>
            <a:ext cx="462238" cy="462237"/>
            <a:chOff x="3397955" y="1718435"/>
            <a:chExt cx="462238" cy="462237"/>
          </a:xfrm>
        </p:grpSpPr>
        <p:sp>
          <p:nvSpPr>
            <p:cNvPr id="42" name="Oval 10">
              <a:extLst>
                <a:ext uri="{FF2B5EF4-FFF2-40B4-BE49-F238E27FC236}">
                  <a16:creationId xmlns:a16="http://schemas.microsoft.com/office/drawing/2014/main" id="{E77DE0AE-54FE-4351-B3EE-5403A552050E}"/>
                </a:ext>
              </a:extLst>
            </p:cNvPr>
            <p:cNvSpPr/>
            <p:nvPr/>
          </p:nvSpPr>
          <p:spPr>
            <a:xfrm>
              <a:off x="3397955" y="1718435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4" name="Freeform 114">
              <a:extLst>
                <a:ext uri="{FF2B5EF4-FFF2-40B4-BE49-F238E27FC236}">
                  <a16:creationId xmlns:a16="http://schemas.microsoft.com/office/drawing/2014/main" id="{A849A23A-A3FD-4980-90EE-288642D273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9459" y="1873475"/>
              <a:ext cx="239229" cy="152157"/>
            </a:xfrm>
            <a:custGeom>
              <a:avLst/>
              <a:gdLst>
                <a:gd name="T0" fmla="*/ 176 w 353"/>
                <a:gd name="T1" fmla="*/ 88 h 225"/>
                <a:gd name="T2" fmla="*/ 152 w 353"/>
                <a:gd name="T3" fmla="*/ 112 h 225"/>
                <a:gd name="T4" fmla="*/ 176 w 353"/>
                <a:gd name="T5" fmla="*/ 136 h 225"/>
                <a:gd name="T6" fmla="*/ 201 w 353"/>
                <a:gd name="T7" fmla="*/ 112 h 225"/>
                <a:gd name="T8" fmla="*/ 176 w 353"/>
                <a:gd name="T9" fmla="*/ 88 h 225"/>
                <a:gd name="T10" fmla="*/ 176 w 353"/>
                <a:gd name="T11" fmla="*/ 32 h 225"/>
                <a:gd name="T12" fmla="*/ 96 w 353"/>
                <a:gd name="T13" fmla="*/ 112 h 225"/>
                <a:gd name="T14" fmla="*/ 176 w 353"/>
                <a:gd name="T15" fmla="*/ 193 h 225"/>
                <a:gd name="T16" fmla="*/ 257 w 353"/>
                <a:gd name="T17" fmla="*/ 112 h 225"/>
                <a:gd name="T18" fmla="*/ 176 w 353"/>
                <a:gd name="T19" fmla="*/ 32 h 225"/>
                <a:gd name="T20" fmla="*/ 176 w 353"/>
                <a:gd name="T21" fmla="*/ 177 h 225"/>
                <a:gd name="T22" fmla="*/ 112 w 353"/>
                <a:gd name="T23" fmla="*/ 112 h 225"/>
                <a:gd name="T24" fmla="*/ 176 w 353"/>
                <a:gd name="T25" fmla="*/ 48 h 225"/>
                <a:gd name="T26" fmla="*/ 241 w 353"/>
                <a:gd name="T27" fmla="*/ 112 h 225"/>
                <a:gd name="T28" fmla="*/ 176 w 353"/>
                <a:gd name="T29" fmla="*/ 177 h 225"/>
                <a:gd name="T30" fmla="*/ 176 w 353"/>
                <a:gd name="T31" fmla="*/ 0 h 225"/>
                <a:gd name="T32" fmla="*/ 0 w 353"/>
                <a:gd name="T33" fmla="*/ 112 h 225"/>
                <a:gd name="T34" fmla="*/ 176 w 353"/>
                <a:gd name="T35" fmla="*/ 225 h 225"/>
                <a:gd name="T36" fmla="*/ 353 w 353"/>
                <a:gd name="T37" fmla="*/ 112 h 225"/>
                <a:gd name="T38" fmla="*/ 176 w 353"/>
                <a:gd name="T39" fmla="*/ 0 h 225"/>
                <a:gd name="T40" fmla="*/ 176 w 353"/>
                <a:gd name="T41" fmla="*/ 209 h 225"/>
                <a:gd name="T42" fmla="*/ 16 w 353"/>
                <a:gd name="T43" fmla="*/ 112 h 225"/>
                <a:gd name="T44" fmla="*/ 176 w 353"/>
                <a:gd name="T45" fmla="*/ 16 h 225"/>
                <a:gd name="T46" fmla="*/ 337 w 353"/>
                <a:gd name="T47" fmla="*/ 112 h 225"/>
                <a:gd name="T48" fmla="*/ 176 w 353"/>
                <a:gd name="T49" fmla="*/ 209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53" h="225">
                  <a:moveTo>
                    <a:pt x="176" y="88"/>
                  </a:moveTo>
                  <a:cubicBezTo>
                    <a:pt x="163" y="88"/>
                    <a:pt x="152" y="99"/>
                    <a:pt x="152" y="112"/>
                  </a:cubicBezTo>
                  <a:cubicBezTo>
                    <a:pt x="152" y="126"/>
                    <a:pt x="163" y="136"/>
                    <a:pt x="176" y="136"/>
                  </a:cubicBezTo>
                  <a:cubicBezTo>
                    <a:pt x="190" y="136"/>
                    <a:pt x="201" y="126"/>
                    <a:pt x="201" y="112"/>
                  </a:cubicBezTo>
                  <a:cubicBezTo>
                    <a:pt x="201" y="99"/>
                    <a:pt x="190" y="88"/>
                    <a:pt x="176" y="88"/>
                  </a:cubicBezTo>
                  <a:moveTo>
                    <a:pt x="176" y="32"/>
                  </a:moveTo>
                  <a:cubicBezTo>
                    <a:pt x="132" y="32"/>
                    <a:pt x="96" y="68"/>
                    <a:pt x="96" y="112"/>
                  </a:cubicBezTo>
                  <a:cubicBezTo>
                    <a:pt x="96" y="157"/>
                    <a:pt x="132" y="193"/>
                    <a:pt x="176" y="193"/>
                  </a:cubicBezTo>
                  <a:cubicBezTo>
                    <a:pt x="221" y="193"/>
                    <a:pt x="257" y="157"/>
                    <a:pt x="257" y="112"/>
                  </a:cubicBezTo>
                  <a:cubicBezTo>
                    <a:pt x="257" y="68"/>
                    <a:pt x="221" y="32"/>
                    <a:pt x="176" y="32"/>
                  </a:cubicBezTo>
                  <a:moveTo>
                    <a:pt x="176" y="177"/>
                  </a:moveTo>
                  <a:cubicBezTo>
                    <a:pt x="141" y="177"/>
                    <a:pt x="112" y="148"/>
                    <a:pt x="112" y="112"/>
                  </a:cubicBezTo>
                  <a:cubicBezTo>
                    <a:pt x="112" y="77"/>
                    <a:pt x="141" y="48"/>
                    <a:pt x="176" y="48"/>
                  </a:cubicBezTo>
                  <a:cubicBezTo>
                    <a:pt x="212" y="48"/>
                    <a:pt x="241" y="77"/>
                    <a:pt x="241" y="112"/>
                  </a:cubicBezTo>
                  <a:cubicBezTo>
                    <a:pt x="241" y="148"/>
                    <a:pt x="212" y="177"/>
                    <a:pt x="176" y="177"/>
                  </a:cubicBezTo>
                  <a:moveTo>
                    <a:pt x="176" y="0"/>
                  </a:moveTo>
                  <a:cubicBezTo>
                    <a:pt x="79" y="0"/>
                    <a:pt x="0" y="80"/>
                    <a:pt x="0" y="112"/>
                  </a:cubicBezTo>
                  <a:cubicBezTo>
                    <a:pt x="0" y="144"/>
                    <a:pt x="79" y="225"/>
                    <a:pt x="176" y="225"/>
                  </a:cubicBezTo>
                  <a:cubicBezTo>
                    <a:pt x="274" y="225"/>
                    <a:pt x="353" y="144"/>
                    <a:pt x="353" y="112"/>
                  </a:cubicBezTo>
                  <a:cubicBezTo>
                    <a:pt x="353" y="80"/>
                    <a:pt x="274" y="0"/>
                    <a:pt x="176" y="0"/>
                  </a:cubicBezTo>
                  <a:moveTo>
                    <a:pt x="176" y="209"/>
                  </a:moveTo>
                  <a:cubicBezTo>
                    <a:pt x="88" y="209"/>
                    <a:pt x="16" y="140"/>
                    <a:pt x="16" y="112"/>
                  </a:cubicBezTo>
                  <a:cubicBezTo>
                    <a:pt x="16" y="85"/>
                    <a:pt x="88" y="16"/>
                    <a:pt x="176" y="16"/>
                  </a:cubicBezTo>
                  <a:cubicBezTo>
                    <a:pt x="265" y="16"/>
                    <a:pt x="337" y="85"/>
                    <a:pt x="337" y="112"/>
                  </a:cubicBezTo>
                  <a:cubicBezTo>
                    <a:pt x="337" y="140"/>
                    <a:pt x="265" y="209"/>
                    <a:pt x="176" y="20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" name="Group 31">
            <a:extLst>
              <a:ext uri="{FF2B5EF4-FFF2-40B4-BE49-F238E27FC236}">
                <a16:creationId xmlns:a16="http://schemas.microsoft.com/office/drawing/2014/main" id="{1E2F5638-C051-49F9-B93F-FBA145A4F3AD}"/>
              </a:ext>
            </a:extLst>
          </p:cNvPr>
          <p:cNvGrpSpPr/>
          <p:nvPr/>
        </p:nvGrpSpPr>
        <p:grpSpPr>
          <a:xfrm>
            <a:off x="3686514" y="2684740"/>
            <a:ext cx="462238" cy="462237"/>
            <a:chOff x="3686514" y="2684740"/>
            <a:chExt cx="462238" cy="462237"/>
          </a:xfrm>
        </p:grpSpPr>
        <p:sp>
          <p:nvSpPr>
            <p:cNvPr id="46" name="Oval 11">
              <a:extLst>
                <a:ext uri="{FF2B5EF4-FFF2-40B4-BE49-F238E27FC236}">
                  <a16:creationId xmlns:a16="http://schemas.microsoft.com/office/drawing/2014/main" id="{A10DDB32-1C45-4985-88DF-6181FF361E60}"/>
                </a:ext>
              </a:extLst>
            </p:cNvPr>
            <p:cNvSpPr/>
            <p:nvPr/>
          </p:nvSpPr>
          <p:spPr>
            <a:xfrm>
              <a:off x="3686514" y="2684740"/>
              <a:ext cx="462238" cy="46223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7" name="Freeform 54">
              <a:extLst>
                <a:ext uri="{FF2B5EF4-FFF2-40B4-BE49-F238E27FC236}">
                  <a16:creationId xmlns:a16="http://schemas.microsoft.com/office/drawing/2014/main" id="{7BDA29EC-9BC0-4984-88CA-DBAA291D44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9387" y="2798448"/>
              <a:ext cx="236493" cy="230624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sp>
        <p:nvSpPr>
          <p:cNvPr id="50" name="Title 2">
            <a:extLst>
              <a:ext uri="{FF2B5EF4-FFF2-40B4-BE49-F238E27FC236}">
                <a16:creationId xmlns:a16="http://schemas.microsoft.com/office/drawing/2014/main" id="{41C81992-B7A4-46A0-8B25-F894DAA404EB}"/>
              </a:ext>
            </a:extLst>
          </p:cNvPr>
          <p:cNvSpPr txBox="1">
            <a:spLocks/>
          </p:cNvSpPr>
          <p:nvPr/>
        </p:nvSpPr>
        <p:spPr>
          <a:xfrm>
            <a:off x="3971228" y="1392394"/>
            <a:ext cx="3526367" cy="246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6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NOSSA VISÃO</a:t>
            </a:r>
          </a:p>
        </p:txBody>
      </p:sp>
      <p:sp>
        <p:nvSpPr>
          <p:cNvPr id="53" name="Title 2">
            <a:extLst>
              <a:ext uri="{FF2B5EF4-FFF2-40B4-BE49-F238E27FC236}">
                <a16:creationId xmlns:a16="http://schemas.microsoft.com/office/drawing/2014/main" id="{E95CE625-2AC5-44C6-A9AD-3A785B069A57}"/>
              </a:ext>
            </a:extLst>
          </p:cNvPr>
          <p:cNvSpPr txBox="1">
            <a:spLocks/>
          </p:cNvSpPr>
          <p:nvPr/>
        </p:nvSpPr>
        <p:spPr>
          <a:xfrm>
            <a:off x="4360333" y="2456050"/>
            <a:ext cx="334856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6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NOSSA</a:t>
            </a:r>
            <a:r>
              <a:rPr lang="en-US" sz="10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 </a:t>
            </a:r>
            <a:r>
              <a:rPr lang="en-US" sz="1600" cap="all" spc="20" dirty="0">
                <a:solidFill>
                  <a:srgbClr val="EC0000"/>
                </a:solidFill>
                <a:latin typeface="Lato" panose="020F0502020204030203" pitchFamily="34" charset="0"/>
              </a:rPr>
              <a:t>MISSÃO</a:t>
            </a:r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907D3680-CA5E-4193-B442-A651368B3362}"/>
              </a:ext>
            </a:extLst>
          </p:cNvPr>
          <p:cNvSpPr txBox="1">
            <a:spLocks/>
          </p:cNvSpPr>
          <p:nvPr/>
        </p:nvSpPr>
        <p:spPr>
          <a:xfrm>
            <a:off x="4035880" y="3694828"/>
            <a:ext cx="3526367" cy="246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1828800">
              <a:lnSpc>
                <a:spcPct val="100000"/>
              </a:lnSpc>
              <a:spcBef>
                <a:spcPct val="0"/>
              </a:spcBef>
              <a:buNone/>
              <a:defRPr sz="1600" b="1" cap="all" spc="20" baseline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>
                <a:solidFill>
                  <a:srgbClr val="EC0000"/>
                </a:solidFill>
              </a:rPr>
              <a:t>NOSSOS VALORES</a:t>
            </a:r>
          </a:p>
        </p:txBody>
      </p:sp>
      <p:pic>
        <p:nvPicPr>
          <p:cNvPr id="57" name="Espaço Reservado para Imagem 17">
            <a:extLst>
              <a:ext uri="{FF2B5EF4-FFF2-40B4-BE49-F238E27FC236}">
                <a16:creationId xmlns:a16="http://schemas.microsoft.com/office/drawing/2014/main" id="{9F116AA1-1C49-4A24-8A9F-B13DBB10972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1543050"/>
            <a:ext cx="3152716" cy="2743200"/>
          </a:xfrm>
          <a:custGeom>
            <a:avLst/>
            <a:gdLst>
              <a:gd name="connsiteX0" fmla="*/ 0 w 9516533"/>
              <a:gd name="connsiteY0" fmla="*/ 0 h 8280400"/>
              <a:gd name="connsiteX1" fmla="*/ 5376333 w 9516533"/>
              <a:gd name="connsiteY1" fmla="*/ 0 h 8280400"/>
              <a:gd name="connsiteX2" fmla="*/ 9516533 w 9516533"/>
              <a:gd name="connsiteY2" fmla="*/ 4140200 h 8280400"/>
              <a:gd name="connsiteX3" fmla="*/ 5376333 w 9516533"/>
              <a:gd name="connsiteY3" fmla="*/ 8280400 h 8280400"/>
              <a:gd name="connsiteX4" fmla="*/ 0 w 9516533"/>
              <a:gd name="connsiteY4" fmla="*/ 8280400 h 828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6533" h="8280400">
                <a:moveTo>
                  <a:pt x="0" y="0"/>
                </a:moveTo>
                <a:lnTo>
                  <a:pt x="5376333" y="0"/>
                </a:lnTo>
                <a:cubicBezTo>
                  <a:pt x="7662902" y="0"/>
                  <a:pt x="9516533" y="1853631"/>
                  <a:pt x="9516533" y="4140200"/>
                </a:cubicBezTo>
                <a:cubicBezTo>
                  <a:pt x="9516533" y="6426769"/>
                  <a:pt x="7662902" y="8280400"/>
                  <a:pt x="5376333" y="8280400"/>
                </a:cubicBezTo>
                <a:lnTo>
                  <a:pt x="0" y="8280400"/>
                </a:lnTo>
                <a:close/>
              </a:path>
            </a:pathLst>
          </a:custGeom>
        </p:spPr>
      </p:pic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39F1DFB0-1FC5-4862-9A31-585672D0B35E}"/>
              </a:ext>
            </a:extLst>
          </p:cNvPr>
          <p:cNvSpPr txBox="1">
            <a:spLocks/>
          </p:cNvSpPr>
          <p:nvPr/>
        </p:nvSpPr>
        <p:spPr>
          <a:xfrm>
            <a:off x="3971228" y="1638614"/>
            <a:ext cx="3217238" cy="26715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Ser a melhor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lataforma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de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negócios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do mercado,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alcançando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todo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ecossistema</a:t>
            </a:r>
            <a:r>
              <a:rPr lang="en-US" sz="1000" b="1" dirty="0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de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pagamentos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F39D5AA8-F5E2-4D0B-95AF-E81E28FF0190}"/>
              </a:ext>
            </a:extLst>
          </p:cNvPr>
          <p:cNvSpPr txBox="1">
            <a:spLocks/>
          </p:cNvSpPr>
          <p:nvPr/>
        </p:nvSpPr>
        <p:spPr>
          <a:xfrm>
            <a:off x="4360333" y="2719764"/>
            <a:ext cx="3152586" cy="26715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Contribuir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para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transformar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essoas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1000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negócios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de forma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inovadora</a:t>
            </a:r>
            <a:r>
              <a:rPr lang="en-US" sz="1000" b="1" dirty="0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segura</a:t>
            </a:r>
            <a:r>
              <a:rPr lang="en-US" sz="1000" b="1" dirty="0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eficiente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ECB3CCE7-EBC9-4CB5-86A2-3C7E162513A0}"/>
              </a:ext>
            </a:extLst>
          </p:cNvPr>
          <p:cNvSpPr txBox="1">
            <a:spLocks/>
          </p:cNvSpPr>
          <p:nvPr/>
        </p:nvSpPr>
        <p:spPr>
          <a:xfrm>
            <a:off x="4035880" y="3953844"/>
            <a:ext cx="3152586" cy="26715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30000"/>
              </a:lnSpc>
            </a:pPr>
            <a:r>
              <a:rPr lang="en-US" sz="1000" b="1" dirty="0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Simples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| </a:t>
            </a:r>
            <a:r>
              <a:rPr lang="en-US" sz="1000" b="1" dirty="0" err="1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Pessoal</a:t>
            </a:r>
            <a:r>
              <a:rPr lang="en-US" sz="1000" dirty="0">
                <a:ea typeface="Open Sans Light" panose="020B0306030504020204" pitchFamily="34" charset="0"/>
                <a:cs typeface="Open Sans Light" panose="020B0306030504020204" pitchFamily="34" charset="0"/>
              </a:rPr>
              <a:t> | </a:t>
            </a:r>
            <a:r>
              <a:rPr lang="en-US" sz="1000" b="1" dirty="0">
                <a:solidFill>
                  <a:srgbClr val="EC000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Justo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DE1BE87-74D7-4395-9CD4-F7C786F2CC4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5313" y="907612"/>
            <a:ext cx="7953374" cy="141344"/>
          </a:xfrm>
        </p:spPr>
        <p:txBody>
          <a:bodyPr/>
          <a:lstStyle/>
          <a:p>
            <a:pPr>
              <a:lnSpc>
                <a:spcPct val="130000"/>
              </a:lnSpc>
            </a:pP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Conheça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direcionadore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de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marca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que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movem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nossa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decisõe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e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comportamento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corporativo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7443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numéric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estibulum et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. </a:t>
            </a:r>
            <a:r>
              <a:rPr lang="en-US" dirty="0" err="1"/>
              <a:t>Proin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justo</a:t>
            </a:r>
            <a:r>
              <a:rPr lang="en-US" dirty="0"/>
              <a:t> ac </a:t>
            </a:r>
            <a:r>
              <a:rPr lang="en-US" dirty="0" err="1"/>
              <a:t>mauris</a:t>
            </a:r>
            <a:r>
              <a:rPr lang="en-US" dirty="0"/>
              <a:t> porta semper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230351" y="1514449"/>
            <a:ext cx="7306721" cy="481393"/>
            <a:chOff x="1230351" y="1514449"/>
            <a:chExt cx="7306721" cy="481393"/>
          </a:xfrm>
        </p:grpSpPr>
        <p:sp>
          <p:nvSpPr>
            <p:cNvPr id="4" name="TextBox 3"/>
            <p:cNvSpPr txBox="1"/>
            <p:nvPr/>
          </p:nvSpPr>
          <p:spPr>
            <a:xfrm>
              <a:off x="1230351" y="1714034"/>
              <a:ext cx="7306721" cy="2818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haret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5" name="Title 2"/>
            <p:cNvSpPr txBox="1">
              <a:spLocks/>
            </p:cNvSpPr>
            <p:nvPr/>
          </p:nvSpPr>
          <p:spPr>
            <a:xfrm>
              <a:off x="1230351" y="1514449"/>
              <a:ext cx="730672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USTO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01159" y="1543050"/>
            <a:ext cx="453094" cy="453094"/>
            <a:chOff x="601159" y="1543050"/>
            <a:chExt cx="453094" cy="453094"/>
          </a:xfrm>
          <a:solidFill>
            <a:srgbClr val="EC1C24"/>
          </a:solidFill>
        </p:grpSpPr>
        <p:sp>
          <p:nvSpPr>
            <p:cNvPr id="6" name="Oval 5"/>
            <p:cNvSpPr/>
            <p:nvPr/>
          </p:nvSpPr>
          <p:spPr>
            <a:xfrm>
              <a:off x="601159" y="1543050"/>
              <a:ext cx="453094" cy="45309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47930" y="1661875"/>
              <a:ext cx="359553" cy="215444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230351" y="2277818"/>
            <a:ext cx="7306721" cy="481393"/>
            <a:chOff x="1230351" y="2277818"/>
            <a:chExt cx="7306721" cy="481393"/>
          </a:xfrm>
        </p:grpSpPr>
        <p:sp>
          <p:nvSpPr>
            <p:cNvPr id="83" name="TextBox 82"/>
            <p:cNvSpPr txBox="1"/>
            <p:nvPr/>
          </p:nvSpPr>
          <p:spPr>
            <a:xfrm>
              <a:off x="1230351" y="2477403"/>
              <a:ext cx="7306721" cy="2818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haret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84" name="Title 2"/>
            <p:cNvSpPr txBox="1">
              <a:spLocks/>
            </p:cNvSpPr>
            <p:nvPr/>
          </p:nvSpPr>
          <p:spPr>
            <a:xfrm>
              <a:off x="1230351" y="2277818"/>
              <a:ext cx="730672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JURO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01159" y="2306419"/>
            <a:ext cx="453094" cy="453094"/>
            <a:chOff x="601159" y="2306419"/>
            <a:chExt cx="453094" cy="453094"/>
          </a:xfrm>
          <a:solidFill>
            <a:srgbClr val="EC1C24"/>
          </a:solidFill>
        </p:grpSpPr>
        <p:sp>
          <p:nvSpPr>
            <p:cNvPr id="85" name="Oval 84"/>
            <p:cNvSpPr/>
            <p:nvPr/>
          </p:nvSpPr>
          <p:spPr>
            <a:xfrm>
              <a:off x="601159" y="2306419"/>
              <a:ext cx="453094" cy="45309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647930" y="2425244"/>
              <a:ext cx="359553" cy="215444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230351" y="3041187"/>
            <a:ext cx="7306721" cy="481393"/>
            <a:chOff x="1230351" y="3041187"/>
            <a:chExt cx="7306721" cy="481393"/>
          </a:xfrm>
        </p:grpSpPr>
        <p:sp>
          <p:nvSpPr>
            <p:cNvPr id="88" name="TextBox 87"/>
            <p:cNvSpPr txBox="1"/>
            <p:nvPr/>
          </p:nvSpPr>
          <p:spPr>
            <a:xfrm>
              <a:off x="1230351" y="3240772"/>
              <a:ext cx="7306721" cy="2818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haret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89" name="Title 2"/>
            <p:cNvSpPr txBox="1">
              <a:spLocks/>
            </p:cNvSpPr>
            <p:nvPr/>
          </p:nvSpPr>
          <p:spPr>
            <a:xfrm>
              <a:off x="1230351" y="3041187"/>
              <a:ext cx="730672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CEITA OPERACIONAL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01159" y="3069788"/>
            <a:ext cx="453094" cy="453094"/>
            <a:chOff x="601159" y="3069788"/>
            <a:chExt cx="453094" cy="453094"/>
          </a:xfrm>
          <a:solidFill>
            <a:srgbClr val="EC1C24"/>
          </a:solidFill>
        </p:grpSpPr>
        <p:sp>
          <p:nvSpPr>
            <p:cNvPr id="90" name="Oval 89"/>
            <p:cNvSpPr/>
            <p:nvPr/>
          </p:nvSpPr>
          <p:spPr>
            <a:xfrm>
              <a:off x="601159" y="3069788"/>
              <a:ext cx="453094" cy="45309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647930" y="3188613"/>
              <a:ext cx="359553" cy="215444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230351" y="3804555"/>
            <a:ext cx="7306721" cy="481393"/>
            <a:chOff x="1230351" y="3804555"/>
            <a:chExt cx="7306721" cy="481393"/>
          </a:xfrm>
        </p:grpSpPr>
        <p:sp>
          <p:nvSpPr>
            <p:cNvPr id="93" name="TextBox 92"/>
            <p:cNvSpPr txBox="1"/>
            <p:nvPr/>
          </p:nvSpPr>
          <p:spPr>
            <a:xfrm>
              <a:off x="1230351" y="4004140"/>
              <a:ext cx="7306721" cy="2818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orta sempe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pharetr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haretr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94" name="Title 2"/>
            <p:cNvSpPr txBox="1">
              <a:spLocks/>
            </p:cNvSpPr>
            <p:nvPr/>
          </p:nvSpPr>
          <p:spPr>
            <a:xfrm>
              <a:off x="1230351" y="3804555"/>
              <a:ext cx="730672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VESTIMENTO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01159" y="3833156"/>
            <a:ext cx="453094" cy="453094"/>
            <a:chOff x="601159" y="3833156"/>
            <a:chExt cx="453094" cy="453094"/>
          </a:xfrm>
          <a:solidFill>
            <a:srgbClr val="EC1C24"/>
          </a:solidFill>
        </p:grpSpPr>
        <p:sp>
          <p:nvSpPr>
            <p:cNvPr id="95" name="Oval 94"/>
            <p:cNvSpPr/>
            <p:nvPr/>
          </p:nvSpPr>
          <p:spPr>
            <a:xfrm>
              <a:off x="601159" y="3833156"/>
              <a:ext cx="453094" cy="45309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647930" y="3951981"/>
              <a:ext cx="359553" cy="215444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263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 QUE </a:t>
            </a:r>
            <a:r>
              <a:rPr lang="en-US" dirty="0">
                <a:solidFill>
                  <a:srgbClr val="EC0000"/>
                </a:solidFill>
              </a:rPr>
              <a:t>FAZEMOS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Duis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sodales</a:t>
            </a:r>
            <a:r>
              <a:rPr lang="en-US" dirty="0"/>
              <a:t> ligula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. </a:t>
            </a:r>
            <a:r>
              <a:rPr lang="en-US" dirty="0" err="1"/>
              <a:t>Suspendisse</a:t>
            </a:r>
            <a:r>
              <a:rPr lang="en-US" dirty="0"/>
              <a:t> sed vestibulum dui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5653082" y="3645849"/>
            <a:ext cx="2894018" cy="511285"/>
            <a:chOff x="5653082" y="3645849"/>
            <a:chExt cx="2894018" cy="511285"/>
          </a:xfrm>
        </p:grpSpPr>
        <p:sp>
          <p:nvSpPr>
            <p:cNvPr id="11" name="TextBox 10"/>
            <p:cNvSpPr txBox="1"/>
            <p:nvPr/>
          </p:nvSpPr>
          <p:spPr>
            <a:xfrm>
              <a:off x="5653082" y="3855192"/>
              <a:ext cx="2894018" cy="301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12" name="Title 2"/>
            <p:cNvSpPr txBox="1">
              <a:spLocks/>
            </p:cNvSpPr>
            <p:nvPr/>
          </p:nvSpPr>
          <p:spPr>
            <a:xfrm>
              <a:off x="5653082" y="3645849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latório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353986" y="3645849"/>
            <a:ext cx="2894018" cy="511285"/>
            <a:chOff x="1353986" y="3645849"/>
            <a:chExt cx="2894018" cy="511285"/>
          </a:xfrm>
        </p:grpSpPr>
        <p:sp>
          <p:nvSpPr>
            <p:cNvPr id="20" name="TextBox 19"/>
            <p:cNvSpPr txBox="1"/>
            <p:nvPr/>
          </p:nvSpPr>
          <p:spPr>
            <a:xfrm>
              <a:off x="1353986" y="3855192"/>
              <a:ext cx="2894018" cy="301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21" name="Title 2"/>
            <p:cNvSpPr txBox="1">
              <a:spLocks/>
            </p:cNvSpPr>
            <p:nvPr/>
          </p:nvSpPr>
          <p:spPr>
            <a:xfrm>
              <a:off x="1353986" y="3645849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mpressã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593725" y="3645849"/>
            <a:ext cx="594727" cy="594725"/>
            <a:chOff x="593725" y="3645849"/>
            <a:chExt cx="594727" cy="594725"/>
          </a:xfrm>
        </p:grpSpPr>
        <p:sp>
          <p:nvSpPr>
            <p:cNvPr id="19" name="Oval 18"/>
            <p:cNvSpPr/>
            <p:nvPr/>
          </p:nvSpPr>
          <p:spPr>
            <a:xfrm>
              <a:off x="593725" y="364584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724390" y="3816159"/>
              <a:ext cx="333396" cy="254106"/>
              <a:chOff x="7980364" y="1682751"/>
              <a:chExt cx="554038" cy="422275"/>
            </a:xfrm>
            <a:solidFill>
              <a:schemeClr val="bg1"/>
            </a:solidFill>
          </p:grpSpPr>
          <p:sp>
            <p:nvSpPr>
              <p:cNvPr id="23" name="Freeform 130"/>
              <p:cNvSpPr>
                <a:spLocks noEditPoints="1"/>
              </p:cNvSpPr>
              <p:nvPr/>
            </p:nvSpPr>
            <p:spPr bwMode="auto">
              <a:xfrm>
                <a:off x="7980364" y="1682751"/>
                <a:ext cx="554038" cy="357188"/>
              </a:xfrm>
              <a:custGeom>
                <a:avLst/>
                <a:gdLst>
                  <a:gd name="T0" fmla="*/ 533 w 556"/>
                  <a:gd name="T1" fmla="*/ 131 h 359"/>
                  <a:gd name="T2" fmla="*/ 503 w 556"/>
                  <a:gd name="T3" fmla="*/ 131 h 359"/>
                  <a:gd name="T4" fmla="*/ 503 w 556"/>
                  <a:gd name="T5" fmla="*/ 88 h 359"/>
                  <a:gd name="T6" fmla="*/ 481 w 556"/>
                  <a:gd name="T7" fmla="*/ 65 h 359"/>
                  <a:gd name="T8" fmla="*/ 455 w 556"/>
                  <a:gd name="T9" fmla="*/ 65 h 359"/>
                  <a:gd name="T10" fmla="*/ 445 w 556"/>
                  <a:gd name="T11" fmla="*/ 75 h 359"/>
                  <a:gd name="T12" fmla="*/ 455 w 556"/>
                  <a:gd name="T13" fmla="*/ 84 h 359"/>
                  <a:gd name="T14" fmla="*/ 481 w 556"/>
                  <a:gd name="T15" fmla="*/ 84 h 359"/>
                  <a:gd name="T16" fmla="*/ 485 w 556"/>
                  <a:gd name="T17" fmla="*/ 88 h 359"/>
                  <a:gd name="T18" fmla="*/ 485 w 556"/>
                  <a:gd name="T19" fmla="*/ 131 h 359"/>
                  <a:gd name="T20" fmla="*/ 438 w 556"/>
                  <a:gd name="T21" fmla="*/ 131 h 359"/>
                  <a:gd name="T22" fmla="*/ 438 w 556"/>
                  <a:gd name="T23" fmla="*/ 9 h 359"/>
                  <a:gd name="T24" fmla="*/ 428 w 556"/>
                  <a:gd name="T25" fmla="*/ 0 h 359"/>
                  <a:gd name="T26" fmla="*/ 127 w 556"/>
                  <a:gd name="T27" fmla="*/ 0 h 359"/>
                  <a:gd name="T28" fmla="*/ 118 w 556"/>
                  <a:gd name="T29" fmla="*/ 9 h 359"/>
                  <a:gd name="T30" fmla="*/ 118 w 556"/>
                  <a:gd name="T31" fmla="*/ 131 h 359"/>
                  <a:gd name="T32" fmla="*/ 71 w 556"/>
                  <a:gd name="T33" fmla="*/ 131 h 359"/>
                  <a:gd name="T34" fmla="*/ 71 w 556"/>
                  <a:gd name="T35" fmla="*/ 88 h 359"/>
                  <a:gd name="T36" fmla="*/ 75 w 556"/>
                  <a:gd name="T37" fmla="*/ 84 h 359"/>
                  <a:gd name="T38" fmla="*/ 101 w 556"/>
                  <a:gd name="T39" fmla="*/ 84 h 359"/>
                  <a:gd name="T40" fmla="*/ 110 w 556"/>
                  <a:gd name="T41" fmla="*/ 75 h 359"/>
                  <a:gd name="T42" fmla="*/ 101 w 556"/>
                  <a:gd name="T43" fmla="*/ 65 h 359"/>
                  <a:gd name="T44" fmla="*/ 75 w 556"/>
                  <a:gd name="T45" fmla="*/ 65 h 359"/>
                  <a:gd name="T46" fmla="*/ 52 w 556"/>
                  <a:gd name="T47" fmla="*/ 88 h 359"/>
                  <a:gd name="T48" fmla="*/ 52 w 556"/>
                  <a:gd name="T49" fmla="*/ 131 h 359"/>
                  <a:gd name="T50" fmla="*/ 22 w 556"/>
                  <a:gd name="T51" fmla="*/ 131 h 359"/>
                  <a:gd name="T52" fmla="*/ 0 w 556"/>
                  <a:gd name="T53" fmla="*/ 153 h 359"/>
                  <a:gd name="T54" fmla="*/ 0 w 556"/>
                  <a:gd name="T55" fmla="*/ 337 h 359"/>
                  <a:gd name="T56" fmla="*/ 22 w 556"/>
                  <a:gd name="T57" fmla="*/ 359 h 359"/>
                  <a:gd name="T58" fmla="*/ 101 w 556"/>
                  <a:gd name="T59" fmla="*/ 359 h 359"/>
                  <a:gd name="T60" fmla="*/ 110 w 556"/>
                  <a:gd name="T61" fmla="*/ 350 h 359"/>
                  <a:gd name="T62" fmla="*/ 101 w 556"/>
                  <a:gd name="T63" fmla="*/ 341 h 359"/>
                  <a:gd name="T64" fmla="*/ 22 w 556"/>
                  <a:gd name="T65" fmla="*/ 341 h 359"/>
                  <a:gd name="T66" fmla="*/ 19 w 556"/>
                  <a:gd name="T67" fmla="*/ 337 h 359"/>
                  <a:gd name="T68" fmla="*/ 19 w 556"/>
                  <a:gd name="T69" fmla="*/ 294 h 359"/>
                  <a:gd name="T70" fmla="*/ 537 w 556"/>
                  <a:gd name="T71" fmla="*/ 294 h 359"/>
                  <a:gd name="T72" fmla="*/ 537 w 556"/>
                  <a:gd name="T73" fmla="*/ 337 h 359"/>
                  <a:gd name="T74" fmla="*/ 533 w 556"/>
                  <a:gd name="T75" fmla="*/ 341 h 359"/>
                  <a:gd name="T76" fmla="*/ 455 w 556"/>
                  <a:gd name="T77" fmla="*/ 341 h 359"/>
                  <a:gd name="T78" fmla="*/ 445 w 556"/>
                  <a:gd name="T79" fmla="*/ 350 h 359"/>
                  <a:gd name="T80" fmla="*/ 455 w 556"/>
                  <a:gd name="T81" fmla="*/ 359 h 359"/>
                  <a:gd name="T82" fmla="*/ 533 w 556"/>
                  <a:gd name="T83" fmla="*/ 359 h 359"/>
                  <a:gd name="T84" fmla="*/ 556 w 556"/>
                  <a:gd name="T85" fmla="*/ 337 h 359"/>
                  <a:gd name="T86" fmla="*/ 556 w 556"/>
                  <a:gd name="T87" fmla="*/ 153 h 359"/>
                  <a:gd name="T88" fmla="*/ 533 w 556"/>
                  <a:gd name="T89" fmla="*/ 131 h 359"/>
                  <a:gd name="T90" fmla="*/ 136 w 556"/>
                  <a:gd name="T91" fmla="*/ 19 h 359"/>
                  <a:gd name="T92" fmla="*/ 419 w 556"/>
                  <a:gd name="T93" fmla="*/ 19 h 359"/>
                  <a:gd name="T94" fmla="*/ 419 w 556"/>
                  <a:gd name="T95" fmla="*/ 131 h 359"/>
                  <a:gd name="T96" fmla="*/ 136 w 556"/>
                  <a:gd name="T97" fmla="*/ 131 h 359"/>
                  <a:gd name="T98" fmla="*/ 136 w 556"/>
                  <a:gd name="T99" fmla="*/ 19 h 359"/>
                  <a:gd name="T100" fmla="*/ 19 w 556"/>
                  <a:gd name="T101" fmla="*/ 275 h 359"/>
                  <a:gd name="T102" fmla="*/ 19 w 556"/>
                  <a:gd name="T103" fmla="*/ 153 h 359"/>
                  <a:gd name="T104" fmla="*/ 22 w 556"/>
                  <a:gd name="T105" fmla="*/ 150 h 359"/>
                  <a:gd name="T106" fmla="*/ 533 w 556"/>
                  <a:gd name="T107" fmla="*/ 150 h 359"/>
                  <a:gd name="T108" fmla="*/ 537 w 556"/>
                  <a:gd name="T109" fmla="*/ 153 h 359"/>
                  <a:gd name="T110" fmla="*/ 537 w 556"/>
                  <a:gd name="T111" fmla="*/ 275 h 359"/>
                  <a:gd name="T112" fmla="*/ 19 w 556"/>
                  <a:gd name="T113" fmla="*/ 275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56" h="359">
                    <a:moveTo>
                      <a:pt x="533" y="131"/>
                    </a:moveTo>
                    <a:cubicBezTo>
                      <a:pt x="503" y="131"/>
                      <a:pt x="503" y="131"/>
                      <a:pt x="503" y="131"/>
                    </a:cubicBezTo>
                    <a:cubicBezTo>
                      <a:pt x="503" y="88"/>
                      <a:pt x="503" y="88"/>
                      <a:pt x="503" y="88"/>
                    </a:cubicBezTo>
                    <a:cubicBezTo>
                      <a:pt x="503" y="76"/>
                      <a:pt x="493" y="65"/>
                      <a:pt x="481" y="65"/>
                    </a:cubicBezTo>
                    <a:cubicBezTo>
                      <a:pt x="455" y="65"/>
                      <a:pt x="455" y="65"/>
                      <a:pt x="455" y="65"/>
                    </a:cubicBezTo>
                    <a:cubicBezTo>
                      <a:pt x="449" y="65"/>
                      <a:pt x="445" y="70"/>
                      <a:pt x="445" y="75"/>
                    </a:cubicBezTo>
                    <a:cubicBezTo>
                      <a:pt x="445" y="80"/>
                      <a:pt x="449" y="84"/>
                      <a:pt x="455" y="84"/>
                    </a:cubicBezTo>
                    <a:cubicBezTo>
                      <a:pt x="481" y="84"/>
                      <a:pt x="481" y="84"/>
                      <a:pt x="481" y="84"/>
                    </a:cubicBezTo>
                    <a:cubicBezTo>
                      <a:pt x="483" y="84"/>
                      <a:pt x="485" y="86"/>
                      <a:pt x="485" y="88"/>
                    </a:cubicBezTo>
                    <a:cubicBezTo>
                      <a:pt x="485" y="131"/>
                      <a:pt x="485" y="131"/>
                      <a:pt x="485" y="131"/>
                    </a:cubicBezTo>
                    <a:cubicBezTo>
                      <a:pt x="438" y="131"/>
                      <a:pt x="438" y="131"/>
                      <a:pt x="438" y="131"/>
                    </a:cubicBezTo>
                    <a:cubicBezTo>
                      <a:pt x="438" y="9"/>
                      <a:pt x="438" y="9"/>
                      <a:pt x="438" y="9"/>
                    </a:cubicBezTo>
                    <a:cubicBezTo>
                      <a:pt x="438" y="4"/>
                      <a:pt x="434" y="0"/>
                      <a:pt x="428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2" y="0"/>
                      <a:pt x="118" y="4"/>
                      <a:pt x="118" y="9"/>
                    </a:cubicBezTo>
                    <a:cubicBezTo>
                      <a:pt x="118" y="131"/>
                      <a:pt x="118" y="131"/>
                      <a:pt x="118" y="131"/>
                    </a:cubicBezTo>
                    <a:cubicBezTo>
                      <a:pt x="71" y="131"/>
                      <a:pt x="71" y="131"/>
                      <a:pt x="71" y="131"/>
                    </a:cubicBezTo>
                    <a:cubicBezTo>
                      <a:pt x="71" y="88"/>
                      <a:pt x="71" y="88"/>
                      <a:pt x="71" y="88"/>
                    </a:cubicBezTo>
                    <a:cubicBezTo>
                      <a:pt x="71" y="86"/>
                      <a:pt x="73" y="84"/>
                      <a:pt x="75" y="84"/>
                    </a:cubicBezTo>
                    <a:cubicBezTo>
                      <a:pt x="101" y="84"/>
                      <a:pt x="101" y="84"/>
                      <a:pt x="101" y="84"/>
                    </a:cubicBezTo>
                    <a:cubicBezTo>
                      <a:pt x="106" y="84"/>
                      <a:pt x="110" y="80"/>
                      <a:pt x="110" y="75"/>
                    </a:cubicBezTo>
                    <a:cubicBezTo>
                      <a:pt x="110" y="70"/>
                      <a:pt x="106" y="65"/>
                      <a:pt x="101" y="65"/>
                    </a:cubicBezTo>
                    <a:cubicBezTo>
                      <a:pt x="75" y="65"/>
                      <a:pt x="75" y="65"/>
                      <a:pt x="75" y="65"/>
                    </a:cubicBezTo>
                    <a:cubicBezTo>
                      <a:pt x="62" y="65"/>
                      <a:pt x="52" y="76"/>
                      <a:pt x="52" y="88"/>
                    </a:cubicBezTo>
                    <a:cubicBezTo>
                      <a:pt x="52" y="131"/>
                      <a:pt x="52" y="131"/>
                      <a:pt x="52" y="131"/>
                    </a:cubicBezTo>
                    <a:cubicBezTo>
                      <a:pt x="22" y="131"/>
                      <a:pt x="22" y="131"/>
                      <a:pt x="22" y="131"/>
                    </a:cubicBezTo>
                    <a:cubicBezTo>
                      <a:pt x="10" y="131"/>
                      <a:pt x="0" y="141"/>
                      <a:pt x="0" y="153"/>
                    </a:cubicBezTo>
                    <a:cubicBezTo>
                      <a:pt x="0" y="337"/>
                      <a:pt x="0" y="337"/>
                      <a:pt x="0" y="337"/>
                    </a:cubicBezTo>
                    <a:cubicBezTo>
                      <a:pt x="0" y="349"/>
                      <a:pt x="10" y="359"/>
                      <a:pt x="22" y="359"/>
                    </a:cubicBezTo>
                    <a:cubicBezTo>
                      <a:pt x="101" y="359"/>
                      <a:pt x="101" y="359"/>
                      <a:pt x="101" y="359"/>
                    </a:cubicBezTo>
                    <a:cubicBezTo>
                      <a:pt x="106" y="359"/>
                      <a:pt x="110" y="355"/>
                      <a:pt x="110" y="350"/>
                    </a:cubicBezTo>
                    <a:cubicBezTo>
                      <a:pt x="110" y="345"/>
                      <a:pt x="106" y="341"/>
                      <a:pt x="101" y="341"/>
                    </a:cubicBezTo>
                    <a:cubicBezTo>
                      <a:pt x="22" y="341"/>
                      <a:pt x="22" y="341"/>
                      <a:pt x="22" y="341"/>
                    </a:cubicBezTo>
                    <a:cubicBezTo>
                      <a:pt x="20" y="341"/>
                      <a:pt x="19" y="339"/>
                      <a:pt x="19" y="337"/>
                    </a:cubicBezTo>
                    <a:cubicBezTo>
                      <a:pt x="19" y="294"/>
                      <a:pt x="19" y="294"/>
                      <a:pt x="19" y="294"/>
                    </a:cubicBezTo>
                    <a:cubicBezTo>
                      <a:pt x="537" y="294"/>
                      <a:pt x="537" y="294"/>
                      <a:pt x="537" y="294"/>
                    </a:cubicBezTo>
                    <a:cubicBezTo>
                      <a:pt x="537" y="337"/>
                      <a:pt x="537" y="337"/>
                      <a:pt x="537" y="337"/>
                    </a:cubicBezTo>
                    <a:cubicBezTo>
                      <a:pt x="537" y="339"/>
                      <a:pt x="535" y="341"/>
                      <a:pt x="533" y="341"/>
                    </a:cubicBezTo>
                    <a:cubicBezTo>
                      <a:pt x="455" y="341"/>
                      <a:pt x="455" y="341"/>
                      <a:pt x="455" y="341"/>
                    </a:cubicBezTo>
                    <a:cubicBezTo>
                      <a:pt x="449" y="341"/>
                      <a:pt x="445" y="345"/>
                      <a:pt x="445" y="350"/>
                    </a:cubicBezTo>
                    <a:cubicBezTo>
                      <a:pt x="445" y="355"/>
                      <a:pt x="449" y="359"/>
                      <a:pt x="455" y="359"/>
                    </a:cubicBezTo>
                    <a:cubicBezTo>
                      <a:pt x="533" y="359"/>
                      <a:pt x="533" y="359"/>
                      <a:pt x="533" y="359"/>
                    </a:cubicBezTo>
                    <a:cubicBezTo>
                      <a:pt x="546" y="359"/>
                      <a:pt x="556" y="349"/>
                      <a:pt x="556" y="337"/>
                    </a:cubicBezTo>
                    <a:cubicBezTo>
                      <a:pt x="556" y="153"/>
                      <a:pt x="556" y="153"/>
                      <a:pt x="556" y="153"/>
                    </a:cubicBezTo>
                    <a:cubicBezTo>
                      <a:pt x="556" y="141"/>
                      <a:pt x="546" y="131"/>
                      <a:pt x="533" y="131"/>
                    </a:cubicBezTo>
                    <a:close/>
                    <a:moveTo>
                      <a:pt x="136" y="19"/>
                    </a:moveTo>
                    <a:cubicBezTo>
                      <a:pt x="419" y="19"/>
                      <a:pt x="419" y="19"/>
                      <a:pt x="419" y="19"/>
                    </a:cubicBezTo>
                    <a:cubicBezTo>
                      <a:pt x="419" y="131"/>
                      <a:pt x="419" y="131"/>
                      <a:pt x="419" y="131"/>
                    </a:cubicBezTo>
                    <a:cubicBezTo>
                      <a:pt x="136" y="131"/>
                      <a:pt x="136" y="131"/>
                      <a:pt x="136" y="131"/>
                    </a:cubicBezTo>
                    <a:lnTo>
                      <a:pt x="136" y="19"/>
                    </a:lnTo>
                    <a:close/>
                    <a:moveTo>
                      <a:pt x="19" y="275"/>
                    </a:moveTo>
                    <a:cubicBezTo>
                      <a:pt x="19" y="153"/>
                      <a:pt x="19" y="153"/>
                      <a:pt x="19" y="153"/>
                    </a:cubicBezTo>
                    <a:cubicBezTo>
                      <a:pt x="19" y="151"/>
                      <a:pt x="20" y="150"/>
                      <a:pt x="22" y="150"/>
                    </a:cubicBezTo>
                    <a:cubicBezTo>
                      <a:pt x="533" y="150"/>
                      <a:pt x="533" y="150"/>
                      <a:pt x="533" y="150"/>
                    </a:cubicBezTo>
                    <a:cubicBezTo>
                      <a:pt x="535" y="150"/>
                      <a:pt x="537" y="151"/>
                      <a:pt x="537" y="153"/>
                    </a:cubicBezTo>
                    <a:cubicBezTo>
                      <a:pt x="537" y="275"/>
                      <a:pt x="537" y="275"/>
                      <a:pt x="537" y="275"/>
                    </a:cubicBezTo>
                    <a:lnTo>
                      <a:pt x="19" y="27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4" name="Freeform 131"/>
              <p:cNvSpPr>
                <a:spLocks/>
              </p:cNvSpPr>
              <p:nvPr/>
            </p:nvSpPr>
            <p:spPr bwMode="auto">
              <a:xfrm>
                <a:off x="8097839" y="1982788"/>
                <a:ext cx="319088" cy="122238"/>
              </a:xfrm>
              <a:custGeom>
                <a:avLst/>
                <a:gdLst>
                  <a:gd name="T0" fmla="*/ 310 w 320"/>
                  <a:gd name="T1" fmla="*/ 0 h 124"/>
                  <a:gd name="T2" fmla="*/ 301 w 320"/>
                  <a:gd name="T3" fmla="*/ 10 h 124"/>
                  <a:gd name="T4" fmla="*/ 301 w 320"/>
                  <a:gd name="T5" fmla="*/ 105 h 124"/>
                  <a:gd name="T6" fmla="*/ 18 w 320"/>
                  <a:gd name="T7" fmla="*/ 105 h 124"/>
                  <a:gd name="T8" fmla="*/ 18 w 320"/>
                  <a:gd name="T9" fmla="*/ 10 h 124"/>
                  <a:gd name="T10" fmla="*/ 9 w 320"/>
                  <a:gd name="T11" fmla="*/ 0 h 124"/>
                  <a:gd name="T12" fmla="*/ 0 w 320"/>
                  <a:gd name="T13" fmla="*/ 10 h 124"/>
                  <a:gd name="T14" fmla="*/ 0 w 320"/>
                  <a:gd name="T15" fmla="*/ 114 h 124"/>
                  <a:gd name="T16" fmla="*/ 9 w 320"/>
                  <a:gd name="T17" fmla="*/ 124 h 124"/>
                  <a:gd name="T18" fmla="*/ 310 w 320"/>
                  <a:gd name="T19" fmla="*/ 124 h 124"/>
                  <a:gd name="T20" fmla="*/ 320 w 320"/>
                  <a:gd name="T21" fmla="*/ 114 h 124"/>
                  <a:gd name="T22" fmla="*/ 320 w 320"/>
                  <a:gd name="T23" fmla="*/ 10 h 124"/>
                  <a:gd name="T24" fmla="*/ 310 w 320"/>
                  <a:gd name="T25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0" h="124">
                    <a:moveTo>
                      <a:pt x="310" y="0"/>
                    </a:moveTo>
                    <a:cubicBezTo>
                      <a:pt x="305" y="0"/>
                      <a:pt x="301" y="4"/>
                      <a:pt x="301" y="10"/>
                    </a:cubicBezTo>
                    <a:cubicBezTo>
                      <a:pt x="301" y="105"/>
                      <a:pt x="301" y="105"/>
                      <a:pt x="301" y="105"/>
                    </a:cubicBezTo>
                    <a:cubicBezTo>
                      <a:pt x="18" y="105"/>
                      <a:pt x="18" y="105"/>
                      <a:pt x="18" y="105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4"/>
                      <a:pt x="14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14"/>
                      <a:pt x="0" y="114"/>
                      <a:pt x="0" y="114"/>
                    </a:cubicBezTo>
                    <a:cubicBezTo>
                      <a:pt x="0" y="120"/>
                      <a:pt x="4" y="124"/>
                      <a:pt x="9" y="124"/>
                    </a:cubicBezTo>
                    <a:cubicBezTo>
                      <a:pt x="310" y="124"/>
                      <a:pt x="310" y="124"/>
                      <a:pt x="310" y="124"/>
                    </a:cubicBezTo>
                    <a:cubicBezTo>
                      <a:pt x="316" y="124"/>
                      <a:pt x="320" y="120"/>
                      <a:pt x="320" y="114"/>
                    </a:cubicBezTo>
                    <a:cubicBezTo>
                      <a:pt x="320" y="10"/>
                      <a:pt x="320" y="10"/>
                      <a:pt x="320" y="10"/>
                    </a:cubicBezTo>
                    <a:cubicBezTo>
                      <a:pt x="320" y="4"/>
                      <a:pt x="316" y="0"/>
                      <a:pt x="3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5" name="Oval 132"/>
              <p:cNvSpPr>
                <a:spLocks noChangeArrowheads="1"/>
              </p:cNvSpPr>
              <p:nvPr/>
            </p:nvSpPr>
            <p:spPr bwMode="auto">
              <a:xfrm>
                <a:off x="8456614" y="1897063"/>
                <a:ext cx="44450" cy="4603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6" name="Oval 133"/>
              <p:cNvSpPr>
                <a:spLocks noChangeArrowheads="1"/>
              </p:cNvSpPr>
              <p:nvPr/>
            </p:nvSpPr>
            <p:spPr bwMode="auto">
              <a:xfrm>
                <a:off x="8404226" y="1897063"/>
                <a:ext cx="44450" cy="46038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50" name="Group 49"/>
          <p:cNvGrpSpPr/>
          <p:nvPr/>
        </p:nvGrpSpPr>
        <p:grpSpPr>
          <a:xfrm>
            <a:off x="4892821" y="3645849"/>
            <a:ext cx="594727" cy="594725"/>
            <a:chOff x="4892821" y="3645849"/>
            <a:chExt cx="594727" cy="594725"/>
          </a:xfrm>
        </p:grpSpPr>
        <p:sp>
          <p:nvSpPr>
            <p:cNvPr id="10" name="Oval 9"/>
            <p:cNvSpPr/>
            <p:nvPr/>
          </p:nvSpPr>
          <p:spPr>
            <a:xfrm>
              <a:off x="4892821" y="364584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7" name="Freeform 157"/>
            <p:cNvSpPr>
              <a:spLocks noEditPoints="1"/>
            </p:cNvSpPr>
            <p:nvPr/>
          </p:nvSpPr>
          <p:spPr bwMode="auto">
            <a:xfrm>
              <a:off x="5047369" y="3795189"/>
              <a:ext cx="285631" cy="255061"/>
            </a:xfrm>
            <a:custGeom>
              <a:avLst/>
              <a:gdLst>
                <a:gd name="T0" fmla="*/ 455 w 477"/>
                <a:gd name="T1" fmla="*/ 118 h 425"/>
                <a:gd name="T2" fmla="*/ 363 w 477"/>
                <a:gd name="T3" fmla="*/ 118 h 425"/>
                <a:gd name="T4" fmla="*/ 341 w 477"/>
                <a:gd name="T5" fmla="*/ 141 h 425"/>
                <a:gd name="T6" fmla="*/ 341 w 477"/>
                <a:gd name="T7" fmla="*/ 403 h 425"/>
                <a:gd name="T8" fmla="*/ 341 w 477"/>
                <a:gd name="T9" fmla="*/ 406 h 425"/>
                <a:gd name="T10" fmla="*/ 306 w 477"/>
                <a:gd name="T11" fmla="*/ 406 h 425"/>
                <a:gd name="T12" fmla="*/ 307 w 477"/>
                <a:gd name="T13" fmla="*/ 403 h 425"/>
                <a:gd name="T14" fmla="*/ 307 w 477"/>
                <a:gd name="T15" fmla="*/ 23 h 425"/>
                <a:gd name="T16" fmla="*/ 284 w 477"/>
                <a:gd name="T17" fmla="*/ 0 h 425"/>
                <a:gd name="T18" fmla="*/ 193 w 477"/>
                <a:gd name="T19" fmla="*/ 0 h 425"/>
                <a:gd name="T20" fmla="*/ 170 w 477"/>
                <a:gd name="T21" fmla="*/ 23 h 425"/>
                <a:gd name="T22" fmla="*/ 170 w 477"/>
                <a:gd name="T23" fmla="*/ 403 h 425"/>
                <a:gd name="T24" fmla="*/ 171 w 477"/>
                <a:gd name="T25" fmla="*/ 406 h 425"/>
                <a:gd name="T26" fmla="*/ 136 w 477"/>
                <a:gd name="T27" fmla="*/ 406 h 425"/>
                <a:gd name="T28" fmla="*/ 136 w 477"/>
                <a:gd name="T29" fmla="*/ 403 h 425"/>
                <a:gd name="T30" fmla="*/ 136 w 477"/>
                <a:gd name="T31" fmla="*/ 259 h 425"/>
                <a:gd name="T32" fmla="*/ 114 w 477"/>
                <a:gd name="T33" fmla="*/ 236 h 425"/>
                <a:gd name="T34" fmla="*/ 22 w 477"/>
                <a:gd name="T35" fmla="*/ 236 h 425"/>
                <a:gd name="T36" fmla="*/ 0 w 477"/>
                <a:gd name="T37" fmla="*/ 259 h 425"/>
                <a:gd name="T38" fmla="*/ 0 w 477"/>
                <a:gd name="T39" fmla="*/ 403 h 425"/>
                <a:gd name="T40" fmla="*/ 22 w 477"/>
                <a:gd name="T41" fmla="*/ 425 h 425"/>
                <a:gd name="T42" fmla="*/ 68 w 477"/>
                <a:gd name="T43" fmla="*/ 425 h 425"/>
                <a:gd name="T44" fmla="*/ 114 w 477"/>
                <a:gd name="T45" fmla="*/ 425 h 425"/>
                <a:gd name="T46" fmla="*/ 193 w 477"/>
                <a:gd name="T47" fmla="*/ 425 h 425"/>
                <a:gd name="T48" fmla="*/ 284 w 477"/>
                <a:gd name="T49" fmla="*/ 425 h 425"/>
                <a:gd name="T50" fmla="*/ 363 w 477"/>
                <a:gd name="T51" fmla="*/ 425 h 425"/>
                <a:gd name="T52" fmla="*/ 455 w 477"/>
                <a:gd name="T53" fmla="*/ 425 h 425"/>
                <a:gd name="T54" fmla="*/ 477 w 477"/>
                <a:gd name="T55" fmla="*/ 403 h 425"/>
                <a:gd name="T56" fmla="*/ 477 w 477"/>
                <a:gd name="T57" fmla="*/ 141 h 425"/>
                <a:gd name="T58" fmla="*/ 455 w 477"/>
                <a:gd name="T59" fmla="*/ 118 h 425"/>
                <a:gd name="T60" fmla="*/ 68 w 477"/>
                <a:gd name="T61" fmla="*/ 406 h 425"/>
                <a:gd name="T62" fmla="*/ 22 w 477"/>
                <a:gd name="T63" fmla="*/ 406 h 425"/>
                <a:gd name="T64" fmla="*/ 19 w 477"/>
                <a:gd name="T65" fmla="*/ 403 h 425"/>
                <a:gd name="T66" fmla="*/ 19 w 477"/>
                <a:gd name="T67" fmla="*/ 259 h 425"/>
                <a:gd name="T68" fmla="*/ 22 w 477"/>
                <a:gd name="T69" fmla="*/ 255 h 425"/>
                <a:gd name="T70" fmla="*/ 114 w 477"/>
                <a:gd name="T71" fmla="*/ 255 h 425"/>
                <a:gd name="T72" fmla="*/ 118 w 477"/>
                <a:gd name="T73" fmla="*/ 259 h 425"/>
                <a:gd name="T74" fmla="*/ 118 w 477"/>
                <a:gd name="T75" fmla="*/ 403 h 425"/>
                <a:gd name="T76" fmla="*/ 114 w 477"/>
                <a:gd name="T77" fmla="*/ 406 h 425"/>
                <a:gd name="T78" fmla="*/ 68 w 477"/>
                <a:gd name="T79" fmla="*/ 406 h 425"/>
                <a:gd name="T80" fmla="*/ 193 w 477"/>
                <a:gd name="T81" fmla="*/ 406 h 425"/>
                <a:gd name="T82" fmla="*/ 189 w 477"/>
                <a:gd name="T83" fmla="*/ 403 h 425"/>
                <a:gd name="T84" fmla="*/ 189 w 477"/>
                <a:gd name="T85" fmla="*/ 23 h 425"/>
                <a:gd name="T86" fmla="*/ 193 w 477"/>
                <a:gd name="T87" fmla="*/ 19 h 425"/>
                <a:gd name="T88" fmla="*/ 284 w 477"/>
                <a:gd name="T89" fmla="*/ 19 h 425"/>
                <a:gd name="T90" fmla="*/ 288 w 477"/>
                <a:gd name="T91" fmla="*/ 23 h 425"/>
                <a:gd name="T92" fmla="*/ 288 w 477"/>
                <a:gd name="T93" fmla="*/ 403 h 425"/>
                <a:gd name="T94" fmla="*/ 284 w 477"/>
                <a:gd name="T95" fmla="*/ 406 h 425"/>
                <a:gd name="T96" fmla="*/ 193 w 477"/>
                <a:gd name="T97" fmla="*/ 406 h 425"/>
                <a:gd name="T98" fmla="*/ 363 w 477"/>
                <a:gd name="T99" fmla="*/ 406 h 425"/>
                <a:gd name="T100" fmla="*/ 359 w 477"/>
                <a:gd name="T101" fmla="*/ 403 h 425"/>
                <a:gd name="T102" fmla="*/ 359 w 477"/>
                <a:gd name="T103" fmla="*/ 141 h 425"/>
                <a:gd name="T104" fmla="*/ 363 w 477"/>
                <a:gd name="T105" fmla="*/ 137 h 425"/>
                <a:gd name="T106" fmla="*/ 455 w 477"/>
                <a:gd name="T107" fmla="*/ 137 h 425"/>
                <a:gd name="T108" fmla="*/ 458 w 477"/>
                <a:gd name="T109" fmla="*/ 141 h 425"/>
                <a:gd name="T110" fmla="*/ 458 w 477"/>
                <a:gd name="T111" fmla="*/ 403 h 425"/>
                <a:gd name="T112" fmla="*/ 455 w 477"/>
                <a:gd name="T113" fmla="*/ 406 h 425"/>
                <a:gd name="T114" fmla="*/ 363 w 477"/>
                <a:gd name="T115" fmla="*/ 406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7" h="425">
                  <a:moveTo>
                    <a:pt x="455" y="118"/>
                  </a:moveTo>
                  <a:cubicBezTo>
                    <a:pt x="363" y="118"/>
                    <a:pt x="363" y="118"/>
                    <a:pt x="363" y="118"/>
                  </a:cubicBezTo>
                  <a:cubicBezTo>
                    <a:pt x="351" y="118"/>
                    <a:pt x="341" y="128"/>
                    <a:pt x="341" y="141"/>
                  </a:cubicBezTo>
                  <a:cubicBezTo>
                    <a:pt x="341" y="403"/>
                    <a:pt x="341" y="403"/>
                    <a:pt x="341" y="403"/>
                  </a:cubicBezTo>
                  <a:cubicBezTo>
                    <a:pt x="341" y="404"/>
                    <a:pt x="341" y="405"/>
                    <a:pt x="341" y="406"/>
                  </a:cubicBezTo>
                  <a:cubicBezTo>
                    <a:pt x="306" y="406"/>
                    <a:pt x="306" y="406"/>
                    <a:pt x="306" y="406"/>
                  </a:cubicBezTo>
                  <a:cubicBezTo>
                    <a:pt x="307" y="405"/>
                    <a:pt x="307" y="404"/>
                    <a:pt x="307" y="403"/>
                  </a:cubicBezTo>
                  <a:cubicBezTo>
                    <a:pt x="307" y="23"/>
                    <a:pt x="307" y="23"/>
                    <a:pt x="307" y="23"/>
                  </a:cubicBezTo>
                  <a:cubicBezTo>
                    <a:pt x="307" y="10"/>
                    <a:pt x="297" y="0"/>
                    <a:pt x="284" y="0"/>
                  </a:cubicBezTo>
                  <a:cubicBezTo>
                    <a:pt x="193" y="0"/>
                    <a:pt x="193" y="0"/>
                    <a:pt x="193" y="0"/>
                  </a:cubicBezTo>
                  <a:cubicBezTo>
                    <a:pt x="180" y="0"/>
                    <a:pt x="170" y="10"/>
                    <a:pt x="170" y="23"/>
                  </a:cubicBezTo>
                  <a:cubicBezTo>
                    <a:pt x="170" y="403"/>
                    <a:pt x="170" y="403"/>
                    <a:pt x="170" y="403"/>
                  </a:cubicBezTo>
                  <a:cubicBezTo>
                    <a:pt x="170" y="404"/>
                    <a:pt x="170" y="405"/>
                    <a:pt x="171" y="406"/>
                  </a:cubicBezTo>
                  <a:cubicBezTo>
                    <a:pt x="136" y="406"/>
                    <a:pt x="136" y="406"/>
                    <a:pt x="136" y="406"/>
                  </a:cubicBezTo>
                  <a:cubicBezTo>
                    <a:pt x="136" y="405"/>
                    <a:pt x="136" y="404"/>
                    <a:pt x="136" y="403"/>
                  </a:cubicBezTo>
                  <a:cubicBezTo>
                    <a:pt x="136" y="259"/>
                    <a:pt x="136" y="259"/>
                    <a:pt x="136" y="259"/>
                  </a:cubicBezTo>
                  <a:cubicBezTo>
                    <a:pt x="136" y="246"/>
                    <a:pt x="126" y="236"/>
                    <a:pt x="114" y="236"/>
                  </a:cubicBezTo>
                  <a:cubicBezTo>
                    <a:pt x="22" y="236"/>
                    <a:pt x="22" y="236"/>
                    <a:pt x="22" y="236"/>
                  </a:cubicBezTo>
                  <a:cubicBezTo>
                    <a:pt x="10" y="236"/>
                    <a:pt x="0" y="246"/>
                    <a:pt x="0" y="259"/>
                  </a:cubicBezTo>
                  <a:cubicBezTo>
                    <a:pt x="0" y="403"/>
                    <a:pt x="0" y="403"/>
                    <a:pt x="0" y="403"/>
                  </a:cubicBezTo>
                  <a:cubicBezTo>
                    <a:pt x="0" y="415"/>
                    <a:pt x="10" y="425"/>
                    <a:pt x="22" y="425"/>
                  </a:cubicBezTo>
                  <a:cubicBezTo>
                    <a:pt x="68" y="425"/>
                    <a:pt x="68" y="425"/>
                    <a:pt x="68" y="425"/>
                  </a:cubicBezTo>
                  <a:cubicBezTo>
                    <a:pt x="114" y="425"/>
                    <a:pt x="114" y="425"/>
                    <a:pt x="114" y="425"/>
                  </a:cubicBezTo>
                  <a:cubicBezTo>
                    <a:pt x="193" y="425"/>
                    <a:pt x="193" y="425"/>
                    <a:pt x="193" y="425"/>
                  </a:cubicBezTo>
                  <a:cubicBezTo>
                    <a:pt x="284" y="425"/>
                    <a:pt x="284" y="425"/>
                    <a:pt x="284" y="425"/>
                  </a:cubicBezTo>
                  <a:cubicBezTo>
                    <a:pt x="363" y="425"/>
                    <a:pt x="363" y="425"/>
                    <a:pt x="363" y="425"/>
                  </a:cubicBezTo>
                  <a:cubicBezTo>
                    <a:pt x="455" y="425"/>
                    <a:pt x="455" y="425"/>
                    <a:pt x="455" y="425"/>
                  </a:cubicBezTo>
                  <a:cubicBezTo>
                    <a:pt x="467" y="425"/>
                    <a:pt x="477" y="415"/>
                    <a:pt x="477" y="403"/>
                  </a:cubicBezTo>
                  <a:cubicBezTo>
                    <a:pt x="477" y="141"/>
                    <a:pt x="477" y="141"/>
                    <a:pt x="477" y="141"/>
                  </a:cubicBezTo>
                  <a:cubicBezTo>
                    <a:pt x="477" y="128"/>
                    <a:pt x="467" y="118"/>
                    <a:pt x="455" y="118"/>
                  </a:cubicBezTo>
                  <a:close/>
                  <a:moveTo>
                    <a:pt x="68" y="406"/>
                  </a:moveTo>
                  <a:cubicBezTo>
                    <a:pt x="22" y="406"/>
                    <a:pt x="22" y="406"/>
                    <a:pt x="22" y="406"/>
                  </a:cubicBezTo>
                  <a:cubicBezTo>
                    <a:pt x="20" y="406"/>
                    <a:pt x="19" y="405"/>
                    <a:pt x="19" y="403"/>
                  </a:cubicBezTo>
                  <a:cubicBezTo>
                    <a:pt x="19" y="259"/>
                    <a:pt x="19" y="259"/>
                    <a:pt x="19" y="259"/>
                  </a:cubicBezTo>
                  <a:cubicBezTo>
                    <a:pt x="19" y="257"/>
                    <a:pt x="20" y="255"/>
                    <a:pt x="22" y="255"/>
                  </a:cubicBezTo>
                  <a:cubicBezTo>
                    <a:pt x="114" y="255"/>
                    <a:pt x="114" y="255"/>
                    <a:pt x="114" y="255"/>
                  </a:cubicBezTo>
                  <a:cubicBezTo>
                    <a:pt x="116" y="255"/>
                    <a:pt x="118" y="257"/>
                    <a:pt x="118" y="259"/>
                  </a:cubicBezTo>
                  <a:cubicBezTo>
                    <a:pt x="118" y="403"/>
                    <a:pt x="118" y="403"/>
                    <a:pt x="118" y="403"/>
                  </a:cubicBezTo>
                  <a:cubicBezTo>
                    <a:pt x="118" y="405"/>
                    <a:pt x="116" y="406"/>
                    <a:pt x="114" y="406"/>
                  </a:cubicBezTo>
                  <a:lnTo>
                    <a:pt x="68" y="406"/>
                  </a:lnTo>
                  <a:close/>
                  <a:moveTo>
                    <a:pt x="193" y="406"/>
                  </a:moveTo>
                  <a:cubicBezTo>
                    <a:pt x="191" y="406"/>
                    <a:pt x="189" y="405"/>
                    <a:pt x="189" y="40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1"/>
                    <a:pt x="191" y="19"/>
                    <a:pt x="193" y="19"/>
                  </a:cubicBezTo>
                  <a:cubicBezTo>
                    <a:pt x="284" y="19"/>
                    <a:pt x="284" y="19"/>
                    <a:pt x="284" y="19"/>
                  </a:cubicBezTo>
                  <a:cubicBezTo>
                    <a:pt x="286" y="19"/>
                    <a:pt x="288" y="21"/>
                    <a:pt x="288" y="23"/>
                  </a:cubicBezTo>
                  <a:cubicBezTo>
                    <a:pt x="288" y="403"/>
                    <a:pt x="288" y="403"/>
                    <a:pt x="288" y="403"/>
                  </a:cubicBezTo>
                  <a:cubicBezTo>
                    <a:pt x="288" y="405"/>
                    <a:pt x="286" y="406"/>
                    <a:pt x="284" y="406"/>
                  </a:cubicBezTo>
                  <a:lnTo>
                    <a:pt x="193" y="406"/>
                  </a:lnTo>
                  <a:close/>
                  <a:moveTo>
                    <a:pt x="363" y="406"/>
                  </a:moveTo>
                  <a:cubicBezTo>
                    <a:pt x="361" y="406"/>
                    <a:pt x="359" y="405"/>
                    <a:pt x="359" y="403"/>
                  </a:cubicBezTo>
                  <a:cubicBezTo>
                    <a:pt x="359" y="141"/>
                    <a:pt x="359" y="141"/>
                    <a:pt x="359" y="141"/>
                  </a:cubicBezTo>
                  <a:cubicBezTo>
                    <a:pt x="359" y="139"/>
                    <a:pt x="361" y="137"/>
                    <a:pt x="363" y="137"/>
                  </a:cubicBezTo>
                  <a:cubicBezTo>
                    <a:pt x="455" y="137"/>
                    <a:pt x="455" y="137"/>
                    <a:pt x="455" y="137"/>
                  </a:cubicBezTo>
                  <a:cubicBezTo>
                    <a:pt x="457" y="137"/>
                    <a:pt x="458" y="139"/>
                    <a:pt x="458" y="141"/>
                  </a:cubicBezTo>
                  <a:cubicBezTo>
                    <a:pt x="458" y="403"/>
                    <a:pt x="458" y="403"/>
                    <a:pt x="458" y="403"/>
                  </a:cubicBezTo>
                  <a:cubicBezTo>
                    <a:pt x="458" y="405"/>
                    <a:pt x="457" y="406"/>
                    <a:pt x="455" y="406"/>
                  </a:cubicBezTo>
                  <a:lnTo>
                    <a:pt x="363" y="40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653082" y="2596599"/>
            <a:ext cx="2894018" cy="511285"/>
            <a:chOff x="5653082" y="2596599"/>
            <a:chExt cx="2894018" cy="511285"/>
          </a:xfrm>
        </p:grpSpPr>
        <p:sp>
          <p:nvSpPr>
            <p:cNvPr id="8" name="TextBox 7"/>
            <p:cNvSpPr txBox="1"/>
            <p:nvPr/>
          </p:nvSpPr>
          <p:spPr>
            <a:xfrm>
              <a:off x="5653082" y="2805942"/>
              <a:ext cx="2894018" cy="301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9" name="Title 2"/>
            <p:cNvSpPr txBox="1">
              <a:spLocks/>
            </p:cNvSpPr>
            <p:nvPr/>
          </p:nvSpPr>
          <p:spPr>
            <a:xfrm>
              <a:off x="5653082" y="2596599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des </a:t>
              </a:r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ociai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1353986" y="2596599"/>
            <a:ext cx="2894018" cy="511285"/>
            <a:chOff x="1353986" y="2596599"/>
            <a:chExt cx="2894018" cy="511285"/>
          </a:xfrm>
        </p:grpSpPr>
        <p:sp>
          <p:nvSpPr>
            <p:cNvPr id="17" name="TextBox 16"/>
            <p:cNvSpPr txBox="1"/>
            <p:nvPr/>
          </p:nvSpPr>
          <p:spPr>
            <a:xfrm>
              <a:off x="1353986" y="2805942"/>
              <a:ext cx="2894018" cy="301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18" name="Title 2"/>
            <p:cNvSpPr txBox="1">
              <a:spLocks/>
            </p:cNvSpPr>
            <p:nvPr/>
          </p:nvSpPr>
          <p:spPr>
            <a:xfrm>
              <a:off x="1353986" y="2596599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4892821" y="2596599"/>
            <a:ext cx="594727" cy="594725"/>
            <a:chOff x="4892821" y="2596599"/>
            <a:chExt cx="594727" cy="594725"/>
          </a:xfrm>
        </p:grpSpPr>
        <p:sp>
          <p:nvSpPr>
            <p:cNvPr id="7" name="Oval 6"/>
            <p:cNvSpPr/>
            <p:nvPr/>
          </p:nvSpPr>
          <p:spPr>
            <a:xfrm>
              <a:off x="4892821" y="259659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grpSp>
          <p:nvGrpSpPr>
            <p:cNvPr id="28" name="Group 27"/>
            <p:cNvGrpSpPr/>
            <p:nvPr/>
          </p:nvGrpSpPr>
          <p:grpSpPr>
            <a:xfrm>
              <a:off x="5022531" y="2765954"/>
              <a:ext cx="335306" cy="256016"/>
              <a:chOff x="3032125" y="2392363"/>
              <a:chExt cx="557213" cy="425450"/>
            </a:xfrm>
            <a:solidFill>
              <a:schemeClr val="bg1"/>
            </a:solidFill>
          </p:grpSpPr>
          <p:sp>
            <p:nvSpPr>
              <p:cNvPr id="29" name="Freeform 93"/>
              <p:cNvSpPr>
                <a:spLocks/>
              </p:cNvSpPr>
              <p:nvPr/>
            </p:nvSpPr>
            <p:spPr bwMode="auto">
              <a:xfrm>
                <a:off x="3346450" y="2573338"/>
                <a:ext cx="242888" cy="244475"/>
              </a:xfrm>
              <a:custGeom>
                <a:avLst/>
                <a:gdLst>
                  <a:gd name="T0" fmla="*/ 158 w 243"/>
                  <a:gd name="T1" fmla="*/ 2 h 243"/>
                  <a:gd name="T2" fmla="*/ 146 w 243"/>
                  <a:gd name="T3" fmla="*/ 8 h 243"/>
                  <a:gd name="T4" fmla="*/ 152 w 243"/>
                  <a:gd name="T5" fmla="*/ 20 h 243"/>
                  <a:gd name="T6" fmla="*/ 224 w 243"/>
                  <a:gd name="T7" fmla="*/ 96 h 243"/>
                  <a:gd name="T8" fmla="*/ 176 w 243"/>
                  <a:gd name="T9" fmla="*/ 167 h 243"/>
                  <a:gd name="T10" fmla="*/ 172 w 243"/>
                  <a:gd name="T11" fmla="*/ 174 h 243"/>
                  <a:gd name="T12" fmla="*/ 172 w 243"/>
                  <a:gd name="T13" fmla="*/ 220 h 243"/>
                  <a:gd name="T14" fmla="*/ 136 w 243"/>
                  <a:gd name="T15" fmla="*/ 194 h 243"/>
                  <a:gd name="T16" fmla="*/ 127 w 243"/>
                  <a:gd name="T17" fmla="*/ 191 h 243"/>
                  <a:gd name="T18" fmla="*/ 115 w 243"/>
                  <a:gd name="T19" fmla="*/ 194 h 243"/>
                  <a:gd name="T20" fmla="*/ 96 w 243"/>
                  <a:gd name="T21" fmla="*/ 198 h 243"/>
                  <a:gd name="T22" fmla="*/ 16 w 243"/>
                  <a:gd name="T23" fmla="*/ 173 h 243"/>
                  <a:gd name="T24" fmla="*/ 3 w 243"/>
                  <a:gd name="T25" fmla="*/ 175 h 243"/>
                  <a:gd name="T26" fmla="*/ 5 w 243"/>
                  <a:gd name="T27" fmla="*/ 189 h 243"/>
                  <a:gd name="T28" fmla="*/ 96 w 243"/>
                  <a:gd name="T29" fmla="*/ 217 h 243"/>
                  <a:gd name="T30" fmla="*/ 120 w 243"/>
                  <a:gd name="T31" fmla="*/ 212 h 243"/>
                  <a:gd name="T32" fmla="*/ 126 w 243"/>
                  <a:gd name="T33" fmla="*/ 211 h 243"/>
                  <a:gd name="T34" fmla="*/ 179 w 243"/>
                  <a:gd name="T35" fmla="*/ 243 h 243"/>
                  <a:gd name="T36" fmla="*/ 181 w 243"/>
                  <a:gd name="T37" fmla="*/ 243 h 243"/>
                  <a:gd name="T38" fmla="*/ 187 w 243"/>
                  <a:gd name="T39" fmla="*/ 241 h 243"/>
                  <a:gd name="T40" fmla="*/ 191 w 243"/>
                  <a:gd name="T41" fmla="*/ 233 h 243"/>
                  <a:gd name="T42" fmla="*/ 191 w 243"/>
                  <a:gd name="T43" fmla="*/ 179 h 243"/>
                  <a:gd name="T44" fmla="*/ 243 w 243"/>
                  <a:gd name="T45" fmla="*/ 96 h 243"/>
                  <a:gd name="T46" fmla="*/ 158 w 243"/>
                  <a:gd name="T47" fmla="*/ 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43" h="243">
                    <a:moveTo>
                      <a:pt x="158" y="2"/>
                    </a:moveTo>
                    <a:cubicBezTo>
                      <a:pt x="153" y="0"/>
                      <a:pt x="148" y="3"/>
                      <a:pt x="146" y="8"/>
                    </a:cubicBezTo>
                    <a:cubicBezTo>
                      <a:pt x="145" y="13"/>
                      <a:pt x="147" y="18"/>
                      <a:pt x="152" y="20"/>
                    </a:cubicBezTo>
                    <a:cubicBezTo>
                      <a:pt x="203" y="36"/>
                      <a:pt x="224" y="58"/>
                      <a:pt x="224" y="96"/>
                    </a:cubicBezTo>
                    <a:cubicBezTo>
                      <a:pt x="224" y="129"/>
                      <a:pt x="194" y="154"/>
                      <a:pt x="176" y="167"/>
                    </a:cubicBezTo>
                    <a:cubicBezTo>
                      <a:pt x="173" y="168"/>
                      <a:pt x="172" y="171"/>
                      <a:pt x="172" y="174"/>
                    </a:cubicBezTo>
                    <a:cubicBezTo>
                      <a:pt x="172" y="220"/>
                      <a:pt x="172" y="220"/>
                      <a:pt x="172" y="220"/>
                    </a:cubicBezTo>
                    <a:cubicBezTo>
                      <a:pt x="162" y="216"/>
                      <a:pt x="148" y="209"/>
                      <a:pt x="136" y="194"/>
                    </a:cubicBezTo>
                    <a:cubicBezTo>
                      <a:pt x="134" y="192"/>
                      <a:pt x="130" y="191"/>
                      <a:pt x="127" y="191"/>
                    </a:cubicBezTo>
                    <a:cubicBezTo>
                      <a:pt x="123" y="192"/>
                      <a:pt x="119" y="193"/>
                      <a:pt x="115" y="194"/>
                    </a:cubicBezTo>
                    <a:cubicBezTo>
                      <a:pt x="109" y="196"/>
                      <a:pt x="102" y="198"/>
                      <a:pt x="96" y="198"/>
                    </a:cubicBezTo>
                    <a:cubicBezTo>
                      <a:pt x="63" y="198"/>
                      <a:pt x="40" y="191"/>
                      <a:pt x="16" y="173"/>
                    </a:cubicBezTo>
                    <a:cubicBezTo>
                      <a:pt x="12" y="170"/>
                      <a:pt x="6" y="171"/>
                      <a:pt x="3" y="175"/>
                    </a:cubicBezTo>
                    <a:cubicBezTo>
                      <a:pt x="0" y="180"/>
                      <a:pt x="1" y="185"/>
                      <a:pt x="5" y="189"/>
                    </a:cubicBezTo>
                    <a:cubicBezTo>
                      <a:pt x="32" y="208"/>
                      <a:pt x="59" y="217"/>
                      <a:pt x="96" y="217"/>
                    </a:cubicBezTo>
                    <a:cubicBezTo>
                      <a:pt x="105" y="217"/>
                      <a:pt x="113" y="214"/>
                      <a:pt x="120" y="212"/>
                    </a:cubicBezTo>
                    <a:cubicBezTo>
                      <a:pt x="122" y="212"/>
                      <a:pt x="124" y="211"/>
                      <a:pt x="126" y="211"/>
                    </a:cubicBezTo>
                    <a:cubicBezTo>
                      <a:pt x="150" y="236"/>
                      <a:pt x="178" y="242"/>
                      <a:pt x="179" y="243"/>
                    </a:cubicBezTo>
                    <a:cubicBezTo>
                      <a:pt x="180" y="243"/>
                      <a:pt x="181" y="243"/>
                      <a:pt x="181" y="243"/>
                    </a:cubicBezTo>
                    <a:cubicBezTo>
                      <a:pt x="183" y="243"/>
                      <a:pt x="185" y="242"/>
                      <a:pt x="187" y="241"/>
                    </a:cubicBezTo>
                    <a:cubicBezTo>
                      <a:pt x="189" y="239"/>
                      <a:pt x="191" y="236"/>
                      <a:pt x="191" y="233"/>
                    </a:cubicBezTo>
                    <a:cubicBezTo>
                      <a:pt x="191" y="179"/>
                      <a:pt x="191" y="179"/>
                      <a:pt x="191" y="179"/>
                    </a:cubicBezTo>
                    <a:cubicBezTo>
                      <a:pt x="224" y="155"/>
                      <a:pt x="243" y="125"/>
                      <a:pt x="243" y="96"/>
                    </a:cubicBezTo>
                    <a:cubicBezTo>
                      <a:pt x="243" y="36"/>
                      <a:pt x="194" y="13"/>
                      <a:pt x="15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 dirty="0"/>
              </a:p>
            </p:txBody>
          </p:sp>
          <p:sp>
            <p:nvSpPr>
              <p:cNvPr id="30" name="Freeform 94"/>
              <p:cNvSpPr>
                <a:spLocks noEditPoints="1"/>
              </p:cNvSpPr>
              <p:nvPr/>
            </p:nvSpPr>
            <p:spPr bwMode="auto">
              <a:xfrm>
                <a:off x="3032125" y="2392363"/>
                <a:ext cx="438150" cy="403225"/>
              </a:xfrm>
              <a:custGeom>
                <a:avLst/>
                <a:gdLst>
                  <a:gd name="T0" fmla="*/ 438 w 438"/>
                  <a:gd name="T1" fmla="*/ 180 h 404"/>
                  <a:gd name="T2" fmla="*/ 376 w 438"/>
                  <a:gd name="T3" fmla="*/ 52 h 404"/>
                  <a:gd name="T4" fmla="*/ 221 w 438"/>
                  <a:gd name="T5" fmla="*/ 0 h 404"/>
                  <a:gd name="T6" fmla="*/ 0 w 438"/>
                  <a:gd name="T7" fmla="*/ 180 h 404"/>
                  <a:gd name="T8" fmla="*/ 79 w 438"/>
                  <a:gd name="T9" fmla="*/ 309 h 404"/>
                  <a:gd name="T10" fmla="*/ 79 w 438"/>
                  <a:gd name="T11" fmla="*/ 394 h 404"/>
                  <a:gd name="T12" fmla="*/ 83 w 438"/>
                  <a:gd name="T13" fmla="*/ 402 h 404"/>
                  <a:gd name="T14" fmla="*/ 88 w 438"/>
                  <a:gd name="T15" fmla="*/ 404 h 404"/>
                  <a:gd name="T16" fmla="*/ 92 w 438"/>
                  <a:gd name="T17" fmla="*/ 403 h 404"/>
                  <a:gd name="T18" fmla="*/ 177 w 438"/>
                  <a:gd name="T19" fmla="*/ 340 h 404"/>
                  <a:gd name="T20" fmla="*/ 228 w 438"/>
                  <a:gd name="T21" fmla="*/ 346 h 404"/>
                  <a:gd name="T22" fmla="*/ 438 w 438"/>
                  <a:gd name="T23" fmla="*/ 180 h 404"/>
                  <a:gd name="T24" fmla="*/ 228 w 438"/>
                  <a:gd name="T25" fmla="*/ 327 h 404"/>
                  <a:gd name="T26" fmla="*/ 175 w 438"/>
                  <a:gd name="T27" fmla="*/ 321 h 404"/>
                  <a:gd name="T28" fmla="*/ 166 w 438"/>
                  <a:gd name="T29" fmla="*/ 324 h 404"/>
                  <a:gd name="T30" fmla="*/ 97 w 438"/>
                  <a:gd name="T31" fmla="*/ 379 h 404"/>
                  <a:gd name="T32" fmla="*/ 97 w 438"/>
                  <a:gd name="T33" fmla="*/ 304 h 404"/>
                  <a:gd name="T34" fmla="*/ 93 w 438"/>
                  <a:gd name="T35" fmla="*/ 296 h 404"/>
                  <a:gd name="T36" fmla="*/ 19 w 438"/>
                  <a:gd name="T37" fmla="*/ 180 h 404"/>
                  <a:gd name="T38" fmla="*/ 221 w 438"/>
                  <a:gd name="T39" fmla="*/ 19 h 404"/>
                  <a:gd name="T40" fmla="*/ 419 w 438"/>
                  <a:gd name="T41" fmla="*/ 180 h 404"/>
                  <a:gd name="T42" fmla="*/ 228 w 438"/>
                  <a:gd name="T43" fmla="*/ 327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38" h="404">
                    <a:moveTo>
                      <a:pt x="438" y="180"/>
                    </a:moveTo>
                    <a:cubicBezTo>
                      <a:pt x="438" y="131"/>
                      <a:pt x="416" y="85"/>
                      <a:pt x="376" y="52"/>
                    </a:cubicBezTo>
                    <a:cubicBezTo>
                      <a:pt x="336" y="18"/>
                      <a:pt x="281" y="0"/>
                      <a:pt x="221" y="0"/>
                    </a:cubicBezTo>
                    <a:cubicBezTo>
                      <a:pt x="97" y="0"/>
                      <a:pt x="0" y="79"/>
                      <a:pt x="0" y="180"/>
                    </a:cubicBezTo>
                    <a:cubicBezTo>
                      <a:pt x="0" y="228"/>
                      <a:pt x="27" y="272"/>
                      <a:pt x="79" y="309"/>
                    </a:cubicBezTo>
                    <a:cubicBezTo>
                      <a:pt x="79" y="394"/>
                      <a:pt x="79" y="394"/>
                      <a:pt x="79" y="394"/>
                    </a:cubicBezTo>
                    <a:cubicBezTo>
                      <a:pt x="79" y="398"/>
                      <a:pt x="80" y="401"/>
                      <a:pt x="83" y="402"/>
                    </a:cubicBezTo>
                    <a:cubicBezTo>
                      <a:pt x="84" y="403"/>
                      <a:pt x="86" y="404"/>
                      <a:pt x="88" y="404"/>
                    </a:cubicBezTo>
                    <a:cubicBezTo>
                      <a:pt x="89" y="404"/>
                      <a:pt x="91" y="403"/>
                      <a:pt x="92" y="403"/>
                    </a:cubicBezTo>
                    <a:cubicBezTo>
                      <a:pt x="94" y="402"/>
                      <a:pt x="138" y="382"/>
                      <a:pt x="177" y="340"/>
                    </a:cubicBezTo>
                    <a:cubicBezTo>
                      <a:pt x="193" y="343"/>
                      <a:pt x="211" y="346"/>
                      <a:pt x="228" y="346"/>
                    </a:cubicBezTo>
                    <a:cubicBezTo>
                      <a:pt x="354" y="346"/>
                      <a:pt x="438" y="279"/>
                      <a:pt x="438" y="180"/>
                    </a:cubicBezTo>
                    <a:close/>
                    <a:moveTo>
                      <a:pt x="228" y="327"/>
                    </a:moveTo>
                    <a:cubicBezTo>
                      <a:pt x="211" y="327"/>
                      <a:pt x="192" y="324"/>
                      <a:pt x="175" y="321"/>
                    </a:cubicBezTo>
                    <a:cubicBezTo>
                      <a:pt x="172" y="320"/>
                      <a:pt x="168" y="322"/>
                      <a:pt x="166" y="324"/>
                    </a:cubicBezTo>
                    <a:cubicBezTo>
                      <a:pt x="142" y="351"/>
                      <a:pt x="114" y="370"/>
                      <a:pt x="97" y="379"/>
                    </a:cubicBezTo>
                    <a:cubicBezTo>
                      <a:pt x="97" y="304"/>
                      <a:pt x="97" y="304"/>
                      <a:pt x="97" y="304"/>
                    </a:cubicBezTo>
                    <a:cubicBezTo>
                      <a:pt x="97" y="301"/>
                      <a:pt x="96" y="298"/>
                      <a:pt x="93" y="296"/>
                    </a:cubicBezTo>
                    <a:cubicBezTo>
                      <a:pt x="59" y="273"/>
                      <a:pt x="19" y="234"/>
                      <a:pt x="19" y="180"/>
                    </a:cubicBezTo>
                    <a:cubicBezTo>
                      <a:pt x="19" y="89"/>
                      <a:pt x="108" y="19"/>
                      <a:pt x="221" y="19"/>
                    </a:cubicBezTo>
                    <a:cubicBezTo>
                      <a:pt x="334" y="19"/>
                      <a:pt x="419" y="88"/>
                      <a:pt x="419" y="180"/>
                    </a:cubicBezTo>
                    <a:cubicBezTo>
                      <a:pt x="419" y="268"/>
                      <a:pt x="342" y="327"/>
                      <a:pt x="228" y="32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1" name="Freeform 95"/>
              <p:cNvSpPr>
                <a:spLocks noEditPoints="1"/>
              </p:cNvSpPr>
              <p:nvPr/>
            </p:nvSpPr>
            <p:spPr bwMode="auto">
              <a:xfrm>
                <a:off x="3222625" y="2543175"/>
                <a:ext cx="58738" cy="58738"/>
              </a:xfrm>
              <a:custGeom>
                <a:avLst/>
                <a:gdLst>
                  <a:gd name="T0" fmla="*/ 29 w 58"/>
                  <a:gd name="T1" fmla="*/ 0 h 58"/>
                  <a:gd name="T2" fmla="*/ 0 w 58"/>
                  <a:gd name="T3" fmla="*/ 29 h 58"/>
                  <a:gd name="T4" fmla="*/ 29 w 58"/>
                  <a:gd name="T5" fmla="*/ 58 h 58"/>
                  <a:gd name="T6" fmla="*/ 58 w 58"/>
                  <a:gd name="T7" fmla="*/ 29 h 58"/>
                  <a:gd name="T8" fmla="*/ 29 w 58"/>
                  <a:gd name="T9" fmla="*/ 0 h 58"/>
                  <a:gd name="T10" fmla="*/ 29 w 58"/>
                  <a:gd name="T11" fmla="*/ 39 h 58"/>
                  <a:gd name="T12" fmla="*/ 19 w 58"/>
                  <a:gd name="T13" fmla="*/ 29 h 58"/>
                  <a:gd name="T14" fmla="*/ 29 w 58"/>
                  <a:gd name="T15" fmla="*/ 18 h 58"/>
                  <a:gd name="T16" fmla="*/ 39 w 58"/>
                  <a:gd name="T17" fmla="*/ 29 h 58"/>
                  <a:gd name="T18" fmla="*/ 29 w 58"/>
                  <a:gd name="T19" fmla="*/ 3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lose/>
                    <a:moveTo>
                      <a:pt x="29" y="39"/>
                    </a:moveTo>
                    <a:cubicBezTo>
                      <a:pt x="23" y="39"/>
                      <a:pt x="19" y="34"/>
                      <a:pt x="19" y="29"/>
                    </a:cubicBezTo>
                    <a:cubicBezTo>
                      <a:pt x="19" y="23"/>
                      <a:pt x="23" y="18"/>
                      <a:pt x="29" y="18"/>
                    </a:cubicBezTo>
                    <a:cubicBezTo>
                      <a:pt x="35" y="18"/>
                      <a:pt x="39" y="23"/>
                      <a:pt x="39" y="29"/>
                    </a:cubicBezTo>
                    <a:cubicBezTo>
                      <a:pt x="39" y="34"/>
                      <a:pt x="35" y="39"/>
                      <a:pt x="29" y="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2" name="Freeform 96"/>
              <p:cNvSpPr>
                <a:spLocks noEditPoints="1"/>
              </p:cNvSpPr>
              <p:nvPr/>
            </p:nvSpPr>
            <p:spPr bwMode="auto">
              <a:xfrm>
                <a:off x="3314700" y="2543175"/>
                <a:ext cx="58738" cy="58738"/>
              </a:xfrm>
              <a:custGeom>
                <a:avLst/>
                <a:gdLst>
                  <a:gd name="T0" fmla="*/ 29 w 58"/>
                  <a:gd name="T1" fmla="*/ 0 h 58"/>
                  <a:gd name="T2" fmla="*/ 0 w 58"/>
                  <a:gd name="T3" fmla="*/ 29 h 58"/>
                  <a:gd name="T4" fmla="*/ 29 w 58"/>
                  <a:gd name="T5" fmla="*/ 58 h 58"/>
                  <a:gd name="T6" fmla="*/ 58 w 58"/>
                  <a:gd name="T7" fmla="*/ 29 h 58"/>
                  <a:gd name="T8" fmla="*/ 29 w 58"/>
                  <a:gd name="T9" fmla="*/ 0 h 58"/>
                  <a:gd name="T10" fmla="*/ 29 w 58"/>
                  <a:gd name="T11" fmla="*/ 39 h 58"/>
                  <a:gd name="T12" fmla="*/ 18 w 58"/>
                  <a:gd name="T13" fmla="*/ 29 h 58"/>
                  <a:gd name="T14" fmla="*/ 29 w 58"/>
                  <a:gd name="T15" fmla="*/ 18 h 58"/>
                  <a:gd name="T16" fmla="*/ 39 w 58"/>
                  <a:gd name="T17" fmla="*/ 29 h 58"/>
                  <a:gd name="T18" fmla="*/ 29 w 58"/>
                  <a:gd name="T19" fmla="*/ 3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lose/>
                    <a:moveTo>
                      <a:pt x="29" y="39"/>
                    </a:moveTo>
                    <a:cubicBezTo>
                      <a:pt x="23" y="39"/>
                      <a:pt x="18" y="34"/>
                      <a:pt x="18" y="29"/>
                    </a:cubicBezTo>
                    <a:cubicBezTo>
                      <a:pt x="18" y="23"/>
                      <a:pt x="23" y="18"/>
                      <a:pt x="29" y="18"/>
                    </a:cubicBezTo>
                    <a:cubicBezTo>
                      <a:pt x="34" y="18"/>
                      <a:pt x="39" y="23"/>
                      <a:pt x="39" y="29"/>
                    </a:cubicBezTo>
                    <a:cubicBezTo>
                      <a:pt x="39" y="34"/>
                      <a:pt x="34" y="39"/>
                      <a:pt x="29" y="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3" name="Freeform 97"/>
              <p:cNvSpPr>
                <a:spLocks noEditPoints="1"/>
              </p:cNvSpPr>
              <p:nvPr/>
            </p:nvSpPr>
            <p:spPr bwMode="auto">
              <a:xfrm>
                <a:off x="3130550" y="2544763"/>
                <a:ext cx="58738" cy="57150"/>
              </a:xfrm>
              <a:custGeom>
                <a:avLst/>
                <a:gdLst>
                  <a:gd name="T0" fmla="*/ 29 w 58"/>
                  <a:gd name="T1" fmla="*/ 0 h 58"/>
                  <a:gd name="T2" fmla="*/ 0 w 58"/>
                  <a:gd name="T3" fmla="*/ 29 h 58"/>
                  <a:gd name="T4" fmla="*/ 29 w 58"/>
                  <a:gd name="T5" fmla="*/ 58 h 58"/>
                  <a:gd name="T6" fmla="*/ 58 w 58"/>
                  <a:gd name="T7" fmla="*/ 29 h 58"/>
                  <a:gd name="T8" fmla="*/ 29 w 58"/>
                  <a:gd name="T9" fmla="*/ 0 h 58"/>
                  <a:gd name="T10" fmla="*/ 29 w 58"/>
                  <a:gd name="T11" fmla="*/ 39 h 58"/>
                  <a:gd name="T12" fmla="*/ 19 w 58"/>
                  <a:gd name="T13" fmla="*/ 29 h 58"/>
                  <a:gd name="T14" fmla="*/ 29 w 58"/>
                  <a:gd name="T15" fmla="*/ 18 h 58"/>
                  <a:gd name="T16" fmla="*/ 40 w 58"/>
                  <a:gd name="T17" fmla="*/ 29 h 58"/>
                  <a:gd name="T18" fmla="*/ 29 w 58"/>
                  <a:gd name="T19" fmla="*/ 39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0"/>
                    </a:move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lose/>
                    <a:moveTo>
                      <a:pt x="29" y="39"/>
                    </a:moveTo>
                    <a:cubicBezTo>
                      <a:pt x="24" y="39"/>
                      <a:pt x="19" y="34"/>
                      <a:pt x="19" y="29"/>
                    </a:cubicBezTo>
                    <a:cubicBezTo>
                      <a:pt x="19" y="23"/>
                      <a:pt x="24" y="18"/>
                      <a:pt x="29" y="18"/>
                    </a:cubicBezTo>
                    <a:cubicBezTo>
                      <a:pt x="35" y="18"/>
                      <a:pt x="40" y="23"/>
                      <a:pt x="40" y="29"/>
                    </a:cubicBezTo>
                    <a:cubicBezTo>
                      <a:pt x="40" y="34"/>
                      <a:pt x="35" y="39"/>
                      <a:pt x="29" y="3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48" name="Group 47"/>
          <p:cNvGrpSpPr/>
          <p:nvPr/>
        </p:nvGrpSpPr>
        <p:grpSpPr>
          <a:xfrm>
            <a:off x="593725" y="2596599"/>
            <a:ext cx="594727" cy="594725"/>
            <a:chOff x="593725" y="2596599"/>
            <a:chExt cx="594727" cy="594725"/>
          </a:xfrm>
        </p:grpSpPr>
        <p:sp>
          <p:nvSpPr>
            <p:cNvPr id="16" name="Oval 15"/>
            <p:cNvSpPr/>
            <p:nvPr/>
          </p:nvSpPr>
          <p:spPr>
            <a:xfrm>
              <a:off x="593725" y="259659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759259" y="2765476"/>
              <a:ext cx="263659" cy="256972"/>
              <a:chOff x="2212975" y="1027113"/>
              <a:chExt cx="438150" cy="427038"/>
            </a:xfrm>
            <a:solidFill>
              <a:schemeClr val="bg1"/>
            </a:solidFill>
          </p:grpSpPr>
          <p:sp>
            <p:nvSpPr>
              <p:cNvPr id="39" name="Freeform 126"/>
              <p:cNvSpPr>
                <a:spLocks noEditPoints="1"/>
              </p:cNvSpPr>
              <p:nvPr/>
            </p:nvSpPr>
            <p:spPr bwMode="auto">
              <a:xfrm>
                <a:off x="2212975" y="1027113"/>
                <a:ext cx="438150" cy="427038"/>
              </a:xfrm>
              <a:custGeom>
                <a:avLst/>
                <a:gdLst>
                  <a:gd name="T0" fmla="*/ 345 w 438"/>
                  <a:gd name="T1" fmla="*/ 169 h 426"/>
                  <a:gd name="T2" fmla="*/ 424 w 438"/>
                  <a:gd name="T3" fmla="*/ 52 h 426"/>
                  <a:gd name="T4" fmla="*/ 409 w 438"/>
                  <a:gd name="T5" fmla="*/ 49 h 426"/>
                  <a:gd name="T6" fmla="*/ 360 w 438"/>
                  <a:gd name="T7" fmla="*/ 96 h 426"/>
                  <a:gd name="T8" fmla="*/ 337 w 438"/>
                  <a:gd name="T9" fmla="*/ 75 h 426"/>
                  <a:gd name="T10" fmla="*/ 383 w 438"/>
                  <a:gd name="T11" fmla="*/ 23 h 426"/>
                  <a:gd name="T12" fmla="*/ 380 w 438"/>
                  <a:gd name="T13" fmla="*/ 8 h 426"/>
                  <a:gd name="T14" fmla="*/ 288 w 438"/>
                  <a:gd name="T15" fmla="*/ 24 h 426"/>
                  <a:gd name="T16" fmla="*/ 119 w 438"/>
                  <a:gd name="T17" fmla="*/ 261 h 426"/>
                  <a:gd name="T18" fmla="*/ 31 w 438"/>
                  <a:gd name="T19" fmla="*/ 282 h 426"/>
                  <a:gd name="T20" fmla="*/ 21 w 438"/>
                  <a:gd name="T21" fmla="*/ 379 h 426"/>
                  <a:gd name="T22" fmla="*/ 75 w 438"/>
                  <a:gd name="T23" fmla="*/ 331 h 426"/>
                  <a:gd name="T24" fmla="*/ 101 w 438"/>
                  <a:gd name="T25" fmla="*/ 350 h 426"/>
                  <a:gd name="T26" fmla="*/ 55 w 438"/>
                  <a:gd name="T27" fmla="*/ 403 h 426"/>
                  <a:gd name="T28" fmla="*/ 58 w 438"/>
                  <a:gd name="T29" fmla="*/ 418 h 426"/>
                  <a:gd name="T30" fmla="*/ 93 w 438"/>
                  <a:gd name="T31" fmla="*/ 426 h 426"/>
                  <a:gd name="T32" fmla="*/ 171 w 438"/>
                  <a:gd name="T33" fmla="*/ 313 h 426"/>
                  <a:gd name="T34" fmla="*/ 137 w 438"/>
                  <a:gd name="T35" fmla="*/ 388 h 426"/>
                  <a:gd name="T36" fmla="*/ 79 w 438"/>
                  <a:gd name="T37" fmla="*/ 405 h 426"/>
                  <a:gd name="T38" fmla="*/ 115 w 438"/>
                  <a:gd name="T39" fmla="*/ 337 h 426"/>
                  <a:gd name="T40" fmla="*/ 79 w 438"/>
                  <a:gd name="T41" fmla="*/ 310 h 426"/>
                  <a:gd name="T42" fmla="*/ 27 w 438"/>
                  <a:gd name="T43" fmla="*/ 352 h 426"/>
                  <a:gd name="T44" fmla="*/ 93 w 438"/>
                  <a:gd name="T45" fmla="*/ 275 h 426"/>
                  <a:gd name="T46" fmla="*/ 128 w 438"/>
                  <a:gd name="T47" fmla="*/ 278 h 426"/>
                  <a:gd name="T48" fmla="*/ 287 w 438"/>
                  <a:gd name="T49" fmla="*/ 111 h 426"/>
                  <a:gd name="T50" fmla="*/ 345 w 438"/>
                  <a:gd name="T51" fmla="*/ 18 h 426"/>
                  <a:gd name="T52" fmla="*/ 324 w 438"/>
                  <a:gd name="T53" fmla="*/ 55 h 426"/>
                  <a:gd name="T54" fmla="*/ 344 w 438"/>
                  <a:gd name="T55" fmla="*/ 108 h 426"/>
                  <a:gd name="T56" fmla="*/ 377 w 438"/>
                  <a:gd name="T57" fmla="*/ 108 h 426"/>
                  <a:gd name="T58" fmla="*/ 394 w 438"/>
                  <a:gd name="T59" fmla="*/ 130 h 426"/>
                  <a:gd name="T60" fmla="*/ 321 w 438"/>
                  <a:gd name="T61" fmla="*/ 145 h 426"/>
                  <a:gd name="T62" fmla="*/ 154 w 438"/>
                  <a:gd name="T63" fmla="*/ 304 h 426"/>
                  <a:gd name="T64" fmla="*/ 137 w 438"/>
                  <a:gd name="T65" fmla="*/ 388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8" h="426">
                    <a:moveTo>
                      <a:pt x="320" y="165"/>
                    </a:moveTo>
                    <a:cubicBezTo>
                      <a:pt x="328" y="167"/>
                      <a:pt x="336" y="169"/>
                      <a:pt x="345" y="169"/>
                    </a:cubicBezTo>
                    <a:cubicBezTo>
                      <a:pt x="368" y="169"/>
                      <a:pt x="391" y="159"/>
                      <a:pt x="407" y="143"/>
                    </a:cubicBezTo>
                    <a:cubicBezTo>
                      <a:pt x="431" y="119"/>
                      <a:pt x="438" y="83"/>
                      <a:pt x="424" y="52"/>
                    </a:cubicBezTo>
                    <a:cubicBezTo>
                      <a:pt x="423" y="49"/>
                      <a:pt x="420" y="47"/>
                      <a:pt x="417" y="46"/>
                    </a:cubicBezTo>
                    <a:cubicBezTo>
                      <a:pt x="414" y="46"/>
                      <a:pt x="411" y="47"/>
                      <a:pt x="409" y="49"/>
                    </a:cubicBezTo>
                    <a:cubicBezTo>
                      <a:pt x="363" y="95"/>
                      <a:pt x="363" y="95"/>
                      <a:pt x="363" y="95"/>
                    </a:cubicBezTo>
                    <a:cubicBezTo>
                      <a:pt x="362" y="96"/>
                      <a:pt x="361" y="96"/>
                      <a:pt x="360" y="96"/>
                    </a:cubicBezTo>
                    <a:cubicBezTo>
                      <a:pt x="359" y="96"/>
                      <a:pt x="358" y="96"/>
                      <a:pt x="357" y="95"/>
                    </a:cubicBezTo>
                    <a:cubicBezTo>
                      <a:pt x="337" y="75"/>
                      <a:pt x="337" y="75"/>
                      <a:pt x="337" y="75"/>
                    </a:cubicBezTo>
                    <a:cubicBezTo>
                      <a:pt x="335" y="73"/>
                      <a:pt x="335" y="70"/>
                      <a:pt x="337" y="69"/>
                    </a:cubicBezTo>
                    <a:cubicBezTo>
                      <a:pt x="383" y="23"/>
                      <a:pt x="383" y="23"/>
                      <a:pt x="383" y="23"/>
                    </a:cubicBezTo>
                    <a:cubicBezTo>
                      <a:pt x="385" y="21"/>
                      <a:pt x="386" y="18"/>
                      <a:pt x="386" y="15"/>
                    </a:cubicBezTo>
                    <a:cubicBezTo>
                      <a:pt x="385" y="12"/>
                      <a:pt x="383" y="9"/>
                      <a:pt x="380" y="8"/>
                    </a:cubicBezTo>
                    <a:cubicBezTo>
                      <a:pt x="369" y="2"/>
                      <a:pt x="357" y="0"/>
                      <a:pt x="345" y="0"/>
                    </a:cubicBezTo>
                    <a:cubicBezTo>
                      <a:pt x="324" y="0"/>
                      <a:pt x="304" y="8"/>
                      <a:pt x="288" y="24"/>
                    </a:cubicBezTo>
                    <a:cubicBezTo>
                      <a:pt x="266" y="47"/>
                      <a:pt x="257" y="82"/>
                      <a:pt x="267" y="112"/>
                    </a:cubicBezTo>
                    <a:cubicBezTo>
                      <a:pt x="119" y="261"/>
                      <a:pt x="119" y="261"/>
                      <a:pt x="119" y="261"/>
                    </a:cubicBezTo>
                    <a:cubicBezTo>
                      <a:pt x="111" y="258"/>
                      <a:pt x="102" y="257"/>
                      <a:pt x="93" y="257"/>
                    </a:cubicBezTo>
                    <a:cubicBezTo>
                      <a:pt x="70" y="257"/>
                      <a:pt x="47" y="266"/>
                      <a:pt x="31" y="282"/>
                    </a:cubicBezTo>
                    <a:cubicBezTo>
                      <a:pt x="7" y="306"/>
                      <a:pt x="0" y="342"/>
                      <a:pt x="14" y="374"/>
                    </a:cubicBezTo>
                    <a:cubicBezTo>
                      <a:pt x="15" y="376"/>
                      <a:pt x="18" y="379"/>
                      <a:pt x="21" y="379"/>
                    </a:cubicBezTo>
                    <a:cubicBezTo>
                      <a:pt x="24" y="380"/>
                      <a:pt x="27" y="379"/>
                      <a:pt x="29" y="376"/>
                    </a:cubicBezTo>
                    <a:cubicBezTo>
                      <a:pt x="75" y="331"/>
                      <a:pt x="75" y="331"/>
                      <a:pt x="75" y="331"/>
                    </a:cubicBezTo>
                    <a:cubicBezTo>
                      <a:pt x="77" y="329"/>
                      <a:pt x="80" y="328"/>
                      <a:pt x="81" y="330"/>
                    </a:cubicBezTo>
                    <a:cubicBezTo>
                      <a:pt x="101" y="350"/>
                      <a:pt x="101" y="350"/>
                      <a:pt x="101" y="350"/>
                    </a:cubicBezTo>
                    <a:cubicBezTo>
                      <a:pt x="103" y="352"/>
                      <a:pt x="103" y="355"/>
                      <a:pt x="101" y="357"/>
                    </a:cubicBezTo>
                    <a:cubicBezTo>
                      <a:pt x="55" y="403"/>
                      <a:pt x="55" y="403"/>
                      <a:pt x="55" y="403"/>
                    </a:cubicBezTo>
                    <a:cubicBezTo>
                      <a:pt x="53" y="405"/>
                      <a:pt x="52" y="408"/>
                      <a:pt x="53" y="411"/>
                    </a:cubicBezTo>
                    <a:cubicBezTo>
                      <a:pt x="53" y="414"/>
                      <a:pt x="55" y="416"/>
                      <a:pt x="58" y="418"/>
                    </a:cubicBezTo>
                    <a:cubicBezTo>
                      <a:pt x="69" y="423"/>
                      <a:pt x="81" y="426"/>
                      <a:pt x="93" y="426"/>
                    </a:cubicBezTo>
                    <a:cubicBezTo>
                      <a:pt x="93" y="426"/>
                      <a:pt x="93" y="426"/>
                      <a:pt x="93" y="426"/>
                    </a:cubicBezTo>
                    <a:cubicBezTo>
                      <a:pt x="114" y="426"/>
                      <a:pt x="135" y="417"/>
                      <a:pt x="150" y="401"/>
                    </a:cubicBezTo>
                    <a:cubicBezTo>
                      <a:pt x="173" y="379"/>
                      <a:pt x="181" y="343"/>
                      <a:pt x="171" y="313"/>
                    </a:cubicBezTo>
                    <a:lnTo>
                      <a:pt x="320" y="165"/>
                    </a:lnTo>
                    <a:close/>
                    <a:moveTo>
                      <a:pt x="137" y="388"/>
                    </a:moveTo>
                    <a:cubicBezTo>
                      <a:pt x="125" y="400"/>
                      <a:pt x="109" y="407"/>
                      <a:pt x="93" y="407"/>
                    </a:cubicBezTo>
                    <a:cubicBezTo>
                      <a:pt x="88" y="407"/>
                      <a:pt x="84" y="406"/>
                      <a:pt x="79" y="405"/>
                    </a:cubicBezTo>
                    <a:cubicBezTo>
                      <a:pt x="114" y="370"/>
                      <a:pt x="114" y="370"/>
                      <a:pt x="114" y="370"/>
                    </a:cubicBezTo>
                    <a:cubicBezTo>
                      <a:pt x="123" y="361"/>
                      <a:pt x="124" y="346"/>
                      <a:pt x="115" y="337"/>
                    </a:cubicBezTo>
                    <a:cubicBezTo>
                      <a:pt x="95" y="317"/>
                      <a:pt x="95" y="317"/>
                      <a:pt x="95" y="317"/>
                    </a:cubicBezTo>
                    <a:cubicBezTo>
                      <a:pt x="91" y="312"/>
                      <a:pt x="85" y="310"/>
                      <a:pt x="79" y="310"/>
                    </a:cubicBezTo>
                    <a:cubicBezTo>
                      <a:pt x="73" y="310"/>
                      <a:pt x="66" y="313"/>
                      <a:pt x="62" y="317"/>
                    </a:cubicBezTo>
                    <a:cubicBezTo>
                      <a:pt x="27" y="352"/>
                      <a:pt x="27" y="352"/>
                      <a:pt x="27" y="352"/>
                    </a:cubicBezTo>
                    <a:cubicBezTo>
                      <a:pt x="23" y="332"/>
                      <a:pt x="29" y="311"/>
                      <a:pt x="45" y="295"/>
                    </a:cubicBezTo>
                    <a:cubicBezTo>
                      <a:pt x="57" y="283"/>
                      <a:pt x="75" y="275"/>
                      <a:pt x="93" y="275"/>
                    </a:cubicBezTo>
                    <a:cubicBezTo>
                      <a:pt x="102" y="275"/>
                      <a:pt x="110" y="277"/>
                      <a:pt x="117" y="280"/>
                    </a:cubicBezTo>
                    <a:cubicBezTo>
                      <a:pt x="121" y="282"/>
                      <a:pt x="125" y="281"/>
                      <a:pt x="128" y="278"/>
                    </a:cubicBezTo>
                    <a:cubicBezTo>
                      <a:pt x="285" y="121"/>
                      <a:pt x="285" y="121"/>
                      <a:pt x="285" y="121"/>
                    </a:cubicBezTo>
                    <a:cubicBezTo>
                      <a:pt x="287" y="118"/>
                      <a:pt x="288" y="114"/>
                      <a:pt x="287" y="111"/>
                    </a:cubicBezTo>
                    <a:cubicBezTo>
                      <a:pt x="277" y="87"/>
                      <a:pt x="283" y="56"/>
                      <a:pt x="301" y="37"/>
                    </a:cubicBezTo>
                    <a:cubicBezTo>
                      <a:pt x="313" y="25"/>
                      <a:pt x="329" y="18"/>
                      <a:pt x="345" y="18"/>
                    </a:cubicBezTo>
                    <a:cubicBezTo>
                      <a:pt x="350" y="18"/>
                      <a:pt x="355" y="19"/>
                      <a:pt x="359" y="20"/>
                    </a:cubicBezTo>
                    <a:cubicBezTo>
                      <a:pt x="324" y="55"/>
                      <a:pt x="324" y="55"/>
                      <a:pt x="324" y="55"/>
                    </a:cubicBezTo>
                    <a:cubicBezTo>
                      <a:pt x="315" y="65"/>
                      <a:pt x="315" y="79"/>
                      <a:pt x="324" y="88"/>
                    </a:cubicBezTo>
                    <a:cubicBezTo>
                      <a:pt x="344" y="108"/>
                      <a:pt x="344" y="108"/>
                      <a:pt x="344" y="108"/>
                    </a:cubicBezTo>
                    <a:cubicBezTo>
                      <a:pt x="348" y="112"/>
                      <a:pt x="354" y="115"/>
                      <a:pt x="360" y="115"/>
                    </a:cubicBezTo>
                    <a:cubicBezTo>
                      <a:pt x="366" y="115"/>
                      <a:pt x="372" y="112"/>
                      <a:pt x="377" y="108"/>
                    </a:cubicBezTo>
                    <a:cubicBezTo>
                      <a:pt x="411" y="73"/>
                      <a:pt x="411" y="73"/>
                      <a:pt x="411" y="73"/>
                    </a:cubicBezTo>
                    <a:cubicBezTo>
                      <a:pt x="415" y="93"/>
                      <a:pt x="409" y="115"/>
                      <a:pt x="394" y="130"/>
                    </a:cubicBezTo>
                    <a:cubicBezTo>
                      <a:pt x="381" y="143"/>
                      <a:pt x="363" y="150"/>
                      <a:pt x="345" y="150"/>
                    </a:cubicBezTo>
                    <a:cubicBezTo>
                      <a:pt x="337" y="150"/>
                      <a:pt x="329" y="148"/>
                      <a:pt x="321" y="145"/>
                    </a:cubicBezTo>
                    <a:cubicBezTo>
                      <a:pt x="318" y="144"/>
                      <a:pt x="314" y="144"/>
                      <a:pt x="311" y="147"/>
                    </a:cubicBezTo>
                    <a:cubicBezTo>
                      <a:pt x="154" y="304"/>
                      <a:pt x="154" y="304"/>
                      <a:pt x="154" y="304"/>
                    </a:cubicBezTo>
                    <a:cubicBezTo>
                      <a:pt x="151" y="307"/>
                      <a:pt x="150" y="311"/>
                      <a:pt x="152" y="315"/>
                    </a:cubicBezTo>
                    <a:cubicBezTo>
                      <a:pt x="162" y="339"/>
                      <a:pt x="156" y="370"/>
                      <a:pt x="137" y="38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0" name="Freeform 127"/>
              <p:cNvSpPr>
                <a:spLocks/>
              </p:cNvSpPr>
              <p:nvPr/>
            </p:nvSpPr>
            <p:spPr bwMode="auto">
              <a:xfrm>
                <a:off x="2447925" y="1257300"/>
                <a:ext cx="198438" cy="193675"/>
              </a:xfrm>
              <a:custGeom>
                <a:avLst/>
                <a:gdLst>
                  <a:gd name="T0" fmla="*/ 56 w 197"/>
                  <a:gd name="T1" fmla="*/ 3 h 194"/>
                  <a:gd name="T2" fmla="*/ 43 w 197"/>
                  <a:gd name="T3" fmla="*/ 3 h 194"/>
                  <a:gd name="T4" fmla="*/ 43 w 197"/>
                  <a:gd name="T5" fmla="*/ 16 h 194"/>
                  <a:gd name="T6" fmla="*/ 174 w 197"/>
                  <a:gd name="T7" fmla="*/ 147 h 194"/>
                  <a:gd name="T8" fmla="*/ 174 w 197"/>
                  <a:gd name="T9" fmla="*/ 154 h 194"/>
                  <a:gd name="T10" fmla="*/ 155 w 197"/>
                  <a:gd name="T11" fmla="*/ 174 h 194"/>
                  <a:gd name="T12" fmla="*/ 152 w 197"/>
                  <a:gd name="T13" fmla="*/ 175 h 194"/>
                  <a:gd name="T14" fmla="*/ 152 w 197"/>
                  <a:gd name="T15" fmla="*/ 175 h 194"/>
                  <a:gd name="T16" fmla="*/ 148 w 197"/>
                  <a:gd name="T17" fmla="*/ 174 h 194"/>
                  <a:gd name="T18" fmla="*/ 17 w 197"/>
                  <a:gd name="T19" fmla="*/ 43 h 194"/>
                  <a:gd name="T20" fmla="*/ 4 w 197"/>
                  <a:gd name="T21" fmla="*/ 43 h 194"/>
                  <a:gd name="T22" fmla="*/ 4 w 197"/>
                  <a:gd name="T23" fmla="*/ 56 h 194"/>
                  <a:gd name="T24" fmla="*/ 135 w 197"/>
                  <a:gd name="T25" fmla="*/ 187 h 194"/>
                  <a:gd name="T26" fmla="*/ 152 w 197"/>
                  <a:gd name="T27" fmla="*/ 194 h 194"/>
                  <a:gd name="T28" fmla="*/ 152 w 197"/>
                  <a:gd name="T29" fmla="*/ 194 h 194"/>
                  <a:gd name="T30" fmla="*/ 169 w 197"/>
                  <a:gd name="T31" fmla="*/ 187 h 194"/>
                  <a:gd name="T32" fmla="*/ 187 w 197"/>
                  <a:gd name="T33" fmla="*/ 167 h 194"/>
                  <a:gd name="T34" fmla="*/ 187 w 197"/>
                  <a:gd name="T35" fmla="*/ 134 h 194"/>
                  <a:gd name="T36" fmla="*/ 56 w 197"/>
                  <a:gd name="T37" fmla="*/ 3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7" h="194">
                    <a:moveTo>
                      <a:pt x="56" y="3"/>
                    </a:moveTo>
                    <a:cubicBezTo>
                      <a:pt x="53" y="0"/>
                      <a:pt x="47" y="0"/>
                      <a:pt x="43" y="3"/>
                    </a:cubicBezTo>
                    <a:cubicBezTo>
                      <a:pt x="39" y="7"/>
                      <a:pt x="39" y="13"/>
                      <a:pt x="43" y="16"/>
                    </a:cubicBezTo>
                    <a:cubicBezTo>
                      <a:pt x="174" y="147"/>
                      <a:pt x="174" y="147"/>
                      <a:pt x="174" y="147"/>
                    </a:cubicBezTo>
                    <a:cubicBezTo>
                      <a:pt x="176" y="149"/>
                      <a:pt x="176" y="152"/>
                      <a:pt x="174" y="154"/>
                    </a:cubicBezTo>
                    <a:cubicBezTo>
                      <a:pt x="155" y="174"/>
                      <a:pt x="155" y="174"/>
                      <a:pt x="155" y="174"/>
                    </a:cubicBezTo>
                    <a:cubicBezTo>
                      <a:pt x="154" y="175"/>
                      <a:pt x="153" y="175"/>
                      <a:pt x="152" y="175"/>
                    </a:cubicBezTo>
                    <a:cubicBezTo>
                      <a:pt x="152" y="175"/>
                      <a:pt x="152" y="175"/>
                      <a:pt x="152" y="175"/>
                    </a:cubicBezTo>
                    <a:cubicBezTo>
                      <a:pt x="151" y="175"/>
                      <a:pt x="149" y="175"/>
                      <a:pt x="148" y="174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3" y="39"/>
                      <a:pt x="7" y="39"/>
                      <a:pt x="4" y="43"/>
                    </a:cubicBezTo>
                    <a:cubicBezTo>
                      <a:pt x="0" y="46"/>
                      <a:pt x="0" y="52"/>
                      <a:pt x="4" y="56"/>
                    </a:cubicBezTo>
                    <a:cubicBezTo>
                      <a:pt x="135" y="187"/>
                      <a:pt x="135" y="187"/>
                      <a:pt x="135" y="187"/>
                    </a:cubicBezTo>
                    <a:cubicBezTo>
                      <a:pt x="140" y="191"/>
                      <a:pt x="146" y="194"/>
                      <a:pt x="152" y="194"/>
                    </a:cubicBezTo>
                    <a:cubicBezTo>
                      <a:pt x="152" y="194"/>
                      <a:pt x="152" y="194"/>
                      <a:pt x="152" y="194"/>
                    </a:cubicBezTo>
                    <a:cubicBezTo>
                      <a:pt x="158" y="194"/>
                      <a:pt x="164" y="191"/>
                      <a:pt x="169" y="187"/>
                    </a:cubicBezTo>
                    <a:cubicBezTo>
                      <a:pt x="187" y="167"/>
                      <a:pt x="187" y="167"/>
                      <a:pt x="187" y="167"/>
                    </a:cubicBezTo>
                    <a:cubicBezTo>
                      <a:pt x="197" y="158"/>
                      <a:pt x="197" y="143"/>
                      <a:pt x="187" y="134"/>
                    </a:cubicBezTo>
                    <a:lnTo>
                      <a:pt x="56" y="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1" name="Freeform 128"/>
              <p:cNvSpPr>
                <a:spLocks noEditPoints="1"/>
              </p:cNvSpPr>
              <p:nvPr/>
            </p:nvSpPr>
            <p:spPr bwMode="auto">
              <a:xfrm>
                <a:off x="2219325" y="1027113"/>
                <a:ext cx="177800" cy="176213"/>
              </a:xfrm>
              <a:custGeom>
                <a:avLst/>
                <a:gdLst>
                  <a:gd name="T0" fmla="*/ 43 w 178"/>
                  <a:gd name="T1" fmla="*/ 83 h 177"/>
                  <a:gd name="T2" fmla="*/ 49 w 178"/>
                  <a:gd name="T3" fmla="*/ 85 h 177"/>
                  <a:gd name="T4" fmla="*/ 56 w 178"/>
                  <a:gd name="T5" fmla="*/ 83 h 177"/>
                  <a:gd name="T6" fmla="*/ 62 w 178"/>
                  <a:gd name="T7" fmla="*/ 76 h 177"/>
                  <a:gd name="T8" fmla="*/ 161 w 178"/>
                  <a:gd name="T9" fmla="*/ 174 h 177"/>
                  <a:gd name="T10" fmla="*/ 167 w 178"/>
                  <a:gd name="T11" fmla="*/ 177 h 177"/>
                  <a:gd name="T12" fmla="*/ 174 w 178"/>
                  <a:gd name="T13" fmla="*/ 174 h 177"/>
                  <a:gd name="T14" fmla="*/ 174 w 178"/>
                  <a:gd name="T15" fmla="*/ 161 h 177"/>
                  <a:gd name="T16" fmla="*/ 76 w 178"/>
                  <a:gd name="T17" fmla="*/ 63 h 177"/>
                  <a:gd name="T18" fmla="*/ 82 w 178"/>
                  <a:gd name="T19" fmla="*/ 57 h 177"/>
                  <a:gd name="T20" fmla="*/ 82 w 178"/>
                  <a:gd name="T21" fmla="*/ 43 h 177"/>
                  <a:gd name="T22" fmla="*/ 43 w 178"/>
                  <a:gd name="T23" fmla="*/ 4 h 177"/>
                  <a:gd name="T24" fmla="*/ 30 w 178"/>
                  <a:gd name="T25" fmla="*/ 4 h 177"/>
                  <a:gd name="T26" fmla="*/ 3 w 178"/>
                  <a:gd name="T27" fmla="*/ 30 h 177"/>
                  <a:gd name="T28" fmla="*/ 3 w 178"/>
                  <a:gd name="T29" fmla="*/ 43 h 177"/>
                  <a:gd name="T30" fmla="*/ 43 w 178"/>
                  <a:gd name="T31" fmla="*/ 83 h 177"/>
                  <a:gd name="T32" fmla="*/ 36 w 178"/>
                  <a:gd name="T33" fmla="*/ 24 h 177"/>
                  <a:gd name="T34" fmla="*/ 62 w 178"/>
                  <a:gd name="T35" fmla="*/ 50 h 177"/>
                  <a:gd name="T36" fmla="*/ 49 w 178"/>
                  <a:gd name="T37" fmla="*/ 63 h 177"/>
                  <a:gd name="T38" fmla="*/ 23 w 178"/>
                  <a:gd name="T39" fmla="*/ 37 h 177"/>
                  <a:gd name="T40" fmla="*/ 36 w 178"/>
                  <a:gd name="T41" fmla="*/ 24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8" h="177">
                    <a:moveTo>
                      <a:pt x="43" y="83"/>
                    </a:moveTo>
                    <a:cubicBezTo>
                      <a:pt x="45" y="85"/>
                      <a:pt x="47" y="85"/>
                      <a:pt x="49" y="85"/>
                    </a:cubicBezTo>
                    <a:cubicBezTo>
                      <a:pt x="52" y="85"/>
                      <a:pt x="54" y="85"/>
                      <a:pt x="56" y="83"/>
                    </a:cubicBezTo>
                    <a:cubicBezTo>
                      <a:pt x="62" y="76"/>
                      <a:pt x="62" y="76"/>
                      <a:pt x="62" y="76"/>
                    </a:cubicBezTo>
                    <a:cubicBezTo>
                      <a:pt x="161" y="174"/>
                      <a:pt x="161" y="174"/>
                      <a:pt x="161" y="174"/>
                    </a:cubicBezTo>
                    <a:cubicBezTo>
                      <a:pt x="163" y="176"/>
                      <a:pt x="165" y="177"/>
                      <a:pt x="167" y="177"/>
                    </a:cubicBezTo>
                    <a:cubicBezTo>
                      <a:pt x="170" y="177"/>
                      <a:pt x="172" y="176"/>
                      <a:pt x="174" y="174"/>
                    </a:cubicBezTo>
                    <a:cubicBezTo>
                      <a:pt x="178" y="171"/>
                      <a:pt x="178" y="165"/>
                      <a:pt x="174" y="161"/>
                    </a:cubicBezTo>
                    <a:cubicBezTo>
                      <a:pt x="76" y="63"/>
                      <a:pt x="76" y="63"/>
                      <a:pt x="76" y="63"/>
                    </a:cubicBezTo>
                    <a:cubicBezTo>
                      <a:pt x="82" y="57"/>
                      <a:pt x="82" y="57"/>
                      <a:pt x="82" y="57"/>
                    </a:cubicBezTo>
                    <a:cubicBezTo>
                      <a:pt x="86" y="53"/>
                      <a:pt x="86" y="47"/>
                      <a:pt x="82" y="43"/>
                    </a:cubicBezTo>
                    <a:cubicBezTo>
                      <a:pt x="43" y="4"/>
                      <a:pt x="43" y="4"/>
                      <a:pt x="43" y="4"/>
                    </a:cubicBezTo>
                    <a:cubicBezTo>
                      <a:pt x="39" y="0"/>
                      <a:pt x="33" y="0"/>
                      <a:pt x="30" y="4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0" y="34"/>
                      <a:pt x="0" y="40"/>
                      <a:pt x="3" y="43"/>
                    </a:cubicBezTo>
                    <a:lnTo>
                      <a:pt x="43" y="83"/>
                    </a:lnTo>
                    <a:close/>
                    <a:moveTo>
                      <a:pt x="36" y="24"/>
                    </a:moveTo>
                    <a:cubicBezTo>
                      <a:pt x="62" y="50"/>
                      <a:pt x="62" y="50"/>
                      <a:pt x="62" y="50"/>
                    </a:cubicBezTo>
                    <a:cubicBezTo>
                      <a:pt x="49" y="63"/>
                      <a:pt x="49" y="63"/>
                      <a:pt x="49" y="63"/>
                    </a:cubicBezTo>
                    <a:cubicBezTo>
                      <a:pt x="23" y="37"/>
                      <a:pt x="23" y="37"/>
                      <a:pt x="23" y="37"/>
                    </a:cubicBezTo>
                    <a:lnTo>
                      <a:pt x="36" y="2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53" name="Group 52"/>
          <p:cNvGrpSpPr/>
          <p:nvPr/>
        </p:nvGrpSpPr>
        <p:grpSpPr>
          <a:xfrm>
            <a:off x="5653082" y="1543050"/>
            <a:ext cx="2894018" cy="511284"/>
            <a:chOff x="5653082" y="1543050"/>
            <a:chExt cx="2894018" cy="511284"/>
          </a:xfrm>
        </p:grpSpPr>
        <p:sp>
          <p:nvSpPr>
            <p:cNvPr id="5" name="TextBox 4"/>
            <p:cNvSpPr txBox="1"/>
            <p:nvPr/>
          </p:nvSpPr>
          <p:spPr>
            <a:xfrm>
              <a:off x="5653082" y="1752392"/>
              <a:ext cx="2894018" cy="3019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6" name="Title 2"/>
            <p:cNvSpPr txBox="1">
              <a:spLocks/>
            </p:cNvSpPr>
            <p:nvPr/>
          </p:nvSpPr>
          <p:spPr>
            <a:xfrm>
              <a:off x="5653082" y="1543050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diçã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353986" y="1543050"/>
            <a:ext cx="2894018" cy="512695"/>
            <a:chOff x="1353986" y="1543050"/>
            <a:chExt cx="2894018" cy="512695"/>
          </a:xfrm>
        </p:grpSpPr>
        <p:sp>
          <p:nvSpPr>
            <p:cNvPr id="14" name="TextBox 13"/>
            <p:cNvSpPr txBox="1"/>
            <p:nvPr/>
          </p:nvSpPr>
          <p:spPr>
            <a:xfrm>
              <a:off x="1353986" y="1752392"/>
              <a:ext cx="2894018" cy="30335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c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ss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dale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uspendiss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vestibulum dui.</a:t>
              </a:r>
            </a:p>
          </p:txBody>
        </p:sp>
        <p:sp>
          <p:nvSpPr>
            <p:cNvPr id="15" name="Title 2"/>
            <p:cNvSpPr txBox="1">
              <a:spLocks/>
            </p:cNvSpPr>
            <p:nvPr/>
          </p:nvSpPr>
          <p:spPr>
            <a:xfrm>
              <a:off x="1353986" y="1543050"/>
              <a:ext cx="289401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Design </a:t>
              </a:r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gráfic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593725" y="1547349"/>
            <a:ext cx="594727" cy="594725"/>
            <a:chOff x="593725" y="1547349"/>
            <a:chExt cx="594727" cy="594725"/>
          </a:xfrm>
        </p:grpSpPr>
        <p:sp>
          <p:nvSpPr>
            <p:cNvPr id="13" name="Oval 12"/>
            <p:cNvSpPr/>
            <p:nvPr/>
          </p:nvSpPr>
          <p:spPr>
            <a:xfrm>
              <a:off x="593725" y="154734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761647" y="1715749"/>
              <a:ext cx="258883" cy="257926"/>
              <a:chOff x="2131171" y="4166449"/>
              <a:chExt cx="759854" cy="757046"/>
            </a:xfrm>
          </p:grpSpPr>
          <p:sp>
            <p:nvSpPr>
              <p:cNvPr id="35" name="Freeform 123"/>
              <p:cNvSpPr>
                <a:spLocks/>
              </p:cNvSpPr>
              <p:nvPr/>
            </p:nvSpPr>
            <p:spPr bwMode="auto">
              <a:xfrm>
                <a:off x="2534931" y="4570207"/>
                <a:ext cx="356094" cy="353288"/>
              </a:xfrm>
              <a:custGeom>
                <a:avLst/>
                <a:gdLst>
                  <a:gd name="T0" fmla="*/ 105 w 202"/>
                  <a:gd name="T1" fmla="*/ 4 h 199"/>
                  <a:gd name="T2" fmla="*/ 92 w 202"/>
                  <a:gd name="T3" fmla="*/ 4 h 199"/>
                  <a:gd name="T4" fmla="*/ 92 w 202"/>
                  <a:gd name="T5" fmla="*/ 17 h 199"/>
                  <a:gd name="T6" fmla="*/ 180 w 202"/>
                  <a:gd name="T7" fmla="*/ 105 h 199"/>
                  <a:gd name="T8" fmla="*/ 179 w 202"/>
                  <a:gd name="T9" fmla="*/ 112 h 199"/>
                  <a:gd name="T10" fmla="*/ 113 w 202"/>
                  <a:gd name="T11" fmla="*/ 178 h 199"/>
                  <a:gd name="T12" fmla="*/ 106 w 202"/>
                  <a:gd name="T13" fmla="*/ 181 h 199"/>
                  <a:gd name="T14" fmla="*/ 106 w 202"/>
                  <a:gd name="T15" fmla="*/ 181 h 199"/>
                  <a:gd name="T16" fmla="*/ 100 w 202"/>
                  <a:gd name="T17" fmla="*/ 178 h 199"/>
                  <a:gd name="T18" fmla="*/ 87 w 202"/>
                  <a:gd name="T19" fmla="*/ 165 h 199"/>
                  <a:gd name="T20" fmla="*/ 133 w 202"/>
                  <a:gd name="T21" fmla="*/ 119 h 199"/>
                  <a:gd name="T22" fmla="*/ 133 w 202"/>
                  <a:gd name="T23" fmla="*/ 106 h 199"/>
                  <a:gd name="T24" fmla="*/ 120 w 202"/>
                  <a:gd name="T25" fmla="*/ 106 h 199"/>
                  <a:gd name="T26" fmla="*/ 74 w 202"/>
                  <a:gd name="T27" fmla="*/ 151 h 199"/>
                  <a:gd name="T28" fmla="*/ 49 w 202"/>
                  <a:gd name="T29" fmla="*/ 125 h 199"/>
                  <a:gd name="T30" fmla="*/ 68 w 202"/>
                  <a:gd name="T31" fmla="*/ 106 h 199"/>
                  <a:gd name="T32" fmla="*/ 68 w 202"/>
                  <a:gd name="T33" fmla="*/ 92 h 199"/>
                  <a:gd name="T34" fmla="*/ 54 w 202"/>
                  <a:gd name="T35" fmla="*/ 92 h 199"/>
                  <a:gd name="T36" fmla="*/ 35 w 202"/>
                  <a:gd name="T37" fmla="*/ 111 h 199"/>
                  <a:gd name="T38" fmla="*/ 17 w 202"/>
                  <a:gd name="T39" fmla="*/ 93 h 199"/>
                  <a:gd name="T40" fmla="*/ 4 w 202"/>
                  <a:gd name="T41" fmla="*/ 93 h 199"/>
                  <a:gd name="T42" fmla="*/ 4 w 202"/>
                  <a:gd name="T43" fmla="*/ 106 h 199"/>
                  <a:gd name="T44" fmla="*/ 87 w 202"/>
                  <a:gd name="T45" fmla="*/ 191 h 199"/>
                  <a:gd name="T46" fmla="*/ 87 w 202"/>
                  <a:gd name="T47" fmla="*/ 192 h 199"/>
                  <a:gd name="T48" fmla="*/ 106 w 202"/>
                  <a:gd name="T49" fmla="*/ 199 h 199"/>
                  <a:gd name="T50" fmla="*/ 106 w 202"/>
                  <a:gd name="T51" fmla="*/ 199 h 199"/>
                  <a:gd name="T52" fmla="*/ 127 w 202"/>
                  <a:gd name="T53" fmla="*/ 192 h 199"/>
                  <a:gd name="T54" fmla="*/ 192 w 202"/>
                  <a:gd name="T55" fmla="*/ 125 h 199"/>
                  <a:gd name="T56" fmla="*/ 193 w 202"/>
                  <a:gd name="T57" fmla="*/ 91 h 199"/>
                  <a:gd name="T58" fmla="*/ 105 w 202"/>
                  <a:gd name="T59" fmla="*/ 4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02" h="199">
                    <a:moveTo>
                      <a:pt x="105" y="4"/>
                    </a:moveTo>
                    <a:cubicBezTo>
                      <a:pt x="101" y="0"/>
                      <a:pt x="96" y="0"/>
                      <a:pt x="92" y="4"/>
                    </a:cubicBezTo>
                    <a:cubicBezTo>
                      <a:pt x="88" y="7"/>
                      <a:pt x="88" y="13"/>
                      <a:pt x="92" y="17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106"/>
                      <a:pt x="181" y="110"/>
                      <a:pt x="179" y="112"/>
                    </a:cubicBezTo>
                    <a:cubicBezTo>
                      <a:pt x="113" y="178"/>
                      <a:pt x="113" y="178"/>
                      <a:pt x="113" y="178"/>
                    </a:cubicBezTo>
                    <a:cubicBezTo>
                      <a:pt x="112" y="179"/>
                      <a:pt x="109" y="181"/>
                      <a:pt x="106" y="181"/>
                    </a:cubicBezTo>
                    <a:cubicBezTo>
                      <a:pt x="106" y="181"/>
                      <a:pt x="106" y="181"/>
                      <a:pt x="106" y="181"/>
                    </a:cubicBezTo>
                    <a:cubicBezTo>
                      <a:pt x="104" y="181"/>
                      <a:pt x="102" y="180"/>
                      <a:pt x="100" y="178"/>
                    </a:cubicBezTo>
                    <a:cubicBezTo>
                      <a:pt x="100" y="178"/>
                      <a:pt x="95" y="173"/>
                      <a:pt x="87" y="165"/>
                    </a:cubicBezTo>
                    <a:cubicBezTo>
                      <a:pt x="133" y="119"/>
                      <a:pt x="133" y="119"/>
                      <a:pt x="133" y="119"/>
                    </a:cubicBezTo>
                    <a:cubicBezTo>
                      <a:pt x="137" y="115"/>
                      <a:pt x="137" y="109"/>
                      <a:pt x="133" y="106"/>
                    </a:cubicBezTo>
                    <a:cubicBezTo>
                      <a:pt x="129" y="102"/>
                      <a:pt x="123" y="102"/>
                      <a:pt x="120" y="106"/>
                    </a:cubicBezTo>
                    <a:cubicBezTo>
                      <a:pt x="74" y="151"/>
                      <a:pt x="74" y="151"/>
                      <a:pt x="74" y="151"/>
                    </a:cubicBezTo>
                    <a:cubicBezTo>
                      <a:pt x="67" y="143"/>
                      <a:pt x="58" y="135"/>
                      <a:pt x="49" y="125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71" y="102"/>
                      <a:pt x="71" y="96"/>
                      <a:pt x="68" y="92"/>
                    </a:cubicBezTo>
                    <a:cubicBezTo>
                      <a:pt x="64" y="89"/>
                      <a:pt x="58" y="89"/>
                      <a:pt x="54" y="92"/>
                    </a:cubicBezTo>
                    <a:cubicBezTo>
                      <a:pt x="35" y="111"/>
                      <a:pt x="35" y="111"/>
                      <a:pt x="35" y="111"/>
                    </a:cubicBezTo>
                    <a:cubicBezTo>
                      <a:pt x="30" y="105"/>
                      <a:pt x="24" y="99"/>
                      <a:pt x="17" y="93"/>
                    </a:cubicBezTo>
                    <a:cubicBezTo>
                      <a:pt x="14" y="89"/>
                      <a:pt x="8" y="89"/>
                      <a:pt x="4" y="93"/>
                    </a:cubicBezTo>
                    <a:cubicBezTo>
                      <a:pt x="0" y="97"/>
                      <a:pt x="0" y="103"/>
                      <a:pt x="4" y="106"/>
                    </a:cubicBezTo>
                    <a:cubicBezTo>
                      <a:pt x="53" y="155"/>
                      <a:pt x="86" y="191"/>
                      <a:pt x="87" y="191"/>
                    </a:cubicBezTo>
                    <a:cubicBezTo>
                      <a:pt x="87" y="191"/>
                      <a:pt x="87" y="192"/>
                      <a:pt x="87" y="192"/>
                    </a:cubicBezTo>
                    <a:cubicBezTo>
                      <a:pt x="92" y="197"/>
                      <a:pt x="99" y="199"/>
                      <a:pt x="106" y="199"/>
                    </a:cubicBezTo>
                    <a:cubicBezTo>
                      <a:pt x="106" y="199"/>
                      <a:pt x="106" y="199"/>
                      <a:pt x="106" y="199"/>
                    </a:cubicBezTo>
                    <a:cubicBezTo>
                      <a:pt x="114" y="199"/>
                      <a:pt x="122" y="196"/>
                      <a:pt x="127" y="192"/>
                    </a:cubicBezTo>
                    <a:cubicBezTo>
                      <a:pt x="192" y="125"/>
                      <a:pt x="192" y="125"/>
                      <a:pt x="192" y="125"/>
                    </a:cubicBezTo>
                    <a:cubicBezTo>
                      <a:pt x="201" y="116"/>
                      <a:pt x="202" y="100"/>
                      <a:pt x="193" y="91"/>
                    </a:cubicBezTo>
                    <a:lnTo>
                      <a:pt x="105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6" name="Freeform 124"/>
              <p:cNvSpPr>
                <a:spLocks/>
              </p:cNvSpPr>
              <p:nvPr/>
            </p:nvSpPr>
            <p:spPr bwMode="auto">
              <a:xfrm>
                <a:off x="2131171" y="4166449"/>
                <a:ext cx="364505" cy="361701"/>
              </a:xfrm>
              <a:custGeom>
                <a:avLst/>
                <a:gdLst>
                  <a:gd name="T0" fmla="*/ 98 w 205"/>
                  <a:gd name="T1" fmla="*/ 203 h 205"/>
                  <a:gd name="T2" fmla="*/ 105 w 205"/>
                  <a:gd name="T3" fmla="*/ 205 h 205"/>
                  <a:gd name="T4" fmla="*/ 112 w 205"/>
                  <a:gd name="T5" fmla="*/ 203 h 205"/>
                  <a:gd name="T6" fmla="*/ 112 w 205"/>
                  <a:gd name="T7" fmla="*/ 189 h 205"/>
                  <a:gd name="T8" fmla="*/ 92 w 205"/>
                  <a:gd name="T9" fmla="*/ 170 h 205"/>
                  <a:gd name="T10" fmla="*/ 111 w 205"/>
                  <a:gd name="T11" fmla="*/ 151 h 205"/>
                  <a:gd name="T12" fmla="*/ 111 w 205"/>
                  <a:gd name="T13" fmla="*/ 138 h 205"/>
                  <a:gd name="T14" fmla="*/ 98 w 205"/>
                  <a:gd name="T15" fmla="*/ 138 h 205"/>
                  <a:gd name="T16" fmla="*/ 79 w 205"/>
                  <a:gd name="T17" fmla="*/ 157 h 205"/>
                  <a:gd name="T18" fmla="*/ 53 w 205"/>
                  <a:gd name="T19" fmla="*/ 131 h 205"/>
                  <a:gd name="T20" fmla="*/ 98 w 205"/>
                  <a:gd name="T21" fmla="*/ 86 h 205"/>
                  <a:gd name="T22" fmla="*/ 98 w 205"/>
                  <a:gd name="T23" fmla="*/ 72 h 205"/>
                  <a:gd name="T24" fmla="*/ 85 w 205"/>
                  <a:gd name="T25" fmla="*/ 72 h 205"/>
                  <a:gd name="T26" fmla="*/ 39 w 205"/>
                  <a:gd name="T27" fmla="*/ 118 h 205"/>
                  <a:gd name="T28" fmla="*/ 26 w 205"/>
                  <a:gd name="T29" fmla="*/ 105 h 205"/>
                  <a:gd name="T30" fmla="*/ 26 w 205"/>
                  <a:gd name="T31" fmla="*/ 92 h 205"/>
                  <a:gd name="T32" fmla="*/ 91 w 205"/>
                  <a:gd name="T33" fmla="*/ 27 h 205"/>
                  <a:gd name="T34" fmla="*/ 104 w 205"/>
                  <a:gd name="T35" fmla="*/ 27 h 205"/>
                  <a:gd name="T36" fmla="*/ 188 w 205"/>
                  <a:gd name="T37" fmla="*/ 115 h 205"/>
                  <a:gd name="T38" fmla="*/ 201 w 205"/>
                  <a:gd name="T39" fmla="*/ 115 h 205"/>
                  <a:gd name="T40" fmla="*/ 201 w 205"/>
                  <a:gd name="T41" fmla="*/ 102 h 205"/>
                  <a:gd name="T42" fmla="*/ 118 w 205"/>
                  <a:gd name="T43" fmla="*/ 14 h 205"/>
                  <a:gd name="T44" fmla="*/ 118 w 205"/>
                  <a:gd name="T45" fmla="*/ 14 h 205"/>
                  <a:gd name="T46" fmla="*/ 78 w 205"/>
                  <a:gd name="T47" fmla="*/ 14 h 205"/>
                  <a:gd name="T48" fmla="*/ 13 w 205"/>
                  <a:gd name="T49" fmla="*/ 79 h 205"/>
                  <a:gd name="T50" fmla="*/ 13 w 205"/>
                  <a:gd name="T51" fmla="*/ 119 h 205"/>
                  <a:gd name="T52" fmla="*/ 98 w 205"/>
                  <a:gd name="T53" fmla="*/ 203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05" h="205">
                    <a:moveTo>
                      <a:pt x="98" y="203"/>
                    </a:moveTo>
                    <a:cubicBezTo>
                      <a:pt x="100" y="205"/>
                      <a:pt x="103" y="205"/>
                      <a:pt x="105" y="205"/>
                    </a:cubicBezTo>
                    <a:cubicBezTo>
                      <a:pt x="108" y="205"/>
                      <a:pt x="110" y="205"/>
                      <a:pt x="112" y="203"/>
                    </a:cubicBezTo>
                    <a:cubicBezTo>
                      <a:pt x="115" y="199"/>
                      <a:pt x="115" y="193"/>
                      <a:pt x="112" y="189"/>
                    </a:cubicBezTo>
                    <a:cubicBezTo>
                      <a:pt x="105" y="183"/>
                      <a:pt x="98" y="176"/>
                      <a:pt x="92" y="170"/>
                    </a:cubicBezTo>
                    <a:cubicBezTo>
                      <a:pt x="111" y="151"/>
                      <a:pt x="111" y="151"/>
                      <a:pt x="111" y="151"/>
                    </a:cubicBezTo>
                    <a:cubicBezTo>
                      <a:pt x="115" y="148"/>
                      <a:pt x="115" y="142"/>
                      <a:pt x="111" y="138"/>
                    </a:cubicBezTo>
                    <a:cubicBezTo>
                      <a:pt x="107" y="134"/>
                      <a:pt x="102" y="134"/>
                      <a:pt x="98" y="138"/>
                    </a:cubicBezTo>
                    <a:cubicBezTo>
                      <a:pt x="79" y="157"/>
                      <a:pt x="79" y="157"/>
                      <a:pt x="79" y="157"/>
                    </a:cubicBezTo>
                    <a:cubicBezTo>
                      <a:pt x="69" y="147"/>
                      <a:pt x="60" y="138"/>
                      <a:pt x="53" y="131"/>
                    </a:cubicBezTo>
                    <a:cubicBezTo>
                      <a:pt x="98" y="86"/>
                      <a:pt x="98" y="86"/>
                      <a:pt x="98" y="86"/>
                    </a:cubicBezTo>
                    <a:cubicBezTo>
                      <a:pt x="102" y="82"/>
                      <a:pt x="102" y="76"/>
                      <a:pt x="98" y="72"/>
                    </a:cubicBezTo>
                    <a:cubicBezTo>
                      <a:pt x="94" y="69"/>
                      <a:pt x="88" y="69"/>
                      <a:pt x="85" y="72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31" y="110"/>
                      <a:pt x="26" y="105"/>
                      <a:pt x="26" y="105"/>
                    </a:cubicBezTo>
                    <a:cubicBezTo>
                      <a:pt x="26" y="105"/>
                      <a:pt x="20" y="98"/>
                      <a:pt x="26" y="92"/>
                    </a:cubicBezTo>
                    <a:cubicBezTo>
                      <a:pt x="91" y="27"/>
                      <a:pt x="91" y="27"/>
                      <a:pt x="91" y="27"/>
                    </a:cubicBezTo>
                    <a:cubicBezTo>
                      <a:pt x="96" y="23"/>
                      <a:pt x="100" y="22"/>
                      <a:pt x="104" y="27"/>
                    </a:cubicBezTo>
                    <a:cubicBezTo>
                      <a:pt x="107" y="30"/>
                      <a:pt x="140" y="67"/>
                      <a:pt x="188" y="115"/>
                    </a:cubicBezTo>
                    <a:cubicBezTo>
                      <a:pt x="192" y="119"/>
                      <a:pt x="198" y="119"/>
                      <a:pt x="201" y="115"/>
                    </a:cubicBezTo>
                    <a:cubicBezTo>
                      <a:pt x="205" y="111"/>
                      <a:pt x="205" y="105"/>
                      <a:pt x="201" y="102"/>
                    </a:cubicBezTo>
                    <a:cubicBezTo>
                      <a:pt x="151" y="52"/>
                      <a:pt x="118" y="14"/>
                      <a:pt x="118" y="14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04" y="0"/>
                      <a:pt x="88" y="4"/>
                      <a:pt x="78" y="14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0" y="91"/>
                      <a:pt x="3" y="109"/>
                      <a:pt x="13" y="119"/>
                    </a:cubicBezTo>
                    <a:cubicBezTo>
                      <a:pt x="13" y="119"/>
                      <a:pt x="49" y="153"/>
                      <a:pt x="98" y="20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7" name="Freeform 125"/>
              <p:cNvSpPr>
                <a:spLocks noEditPoints="1"/>
              </p:cNvSpPr>
              <p:nvPr/>
            </p:nvSpPr>
            <p:spPr bwMode="auto">
              <a:xfrm>
                <a:off x="2136779" y="4172057"/>
                <a:ext cx="754246" cy="751438"/>
              </a:xfrm>
              <a:custGeom>
                <a:avLst/>
                <a:gdLst>
                  <a:gd name="T0" fmla="*/ 373 w 427"/>
                  <a:gd name="T1" fmla="*/ 156 h 425"/>
                  <a:gd name="T2" fmla="*/ 420 w 427"/>
                  <a:gd name="T3" fmla="*/ 109 h 425"/>
                  <a:gd name="T4" fmla="*/ 427 w 427"/>
                  <a:gd name="T5" fmla="*/ 92 h 425"/>
                  <a:gd name="T6" fmla="*/ 420 w 427"/>
                  <a:gd name="T7" fmla="*/ 76 h 425"/>
                  <a:gd name="T8" fmla="*/ 351 w 427"/>
                  <a:gd name="T9" fmla="*/ 7 h 425"/>
                  <a:gd name="T10" fmla="*/ 335 w 427"/>
                  <a:gd name="T11" fmla="*/ 0 h 425"/>
                  <a:gd name="T12" fmla="*/ 319 w 427"/>
                  <a:gd name="T13" fmla="*/ 7 h 425"/>
                  <a:gd name="T14" fmla="*/ 270 w 427"/>
                  <a:gd name="T15" fmla="*/ 56 h 425"/>
                  <a:gd name="T16" fmla="*/ 268 w 427"/>
                  <a:gd name="T17" fmla="*/ 58 h 425"/>
                  <a:gd name="T18" fmla="*/ 45 w 427"/>
                  <a:gd name="T19" fmla="*/ 282 h 425"/>
                  <a:gd name="T20" fmla="*/ 42 w 427"/>
                  <a:gd name="T21" fmla="*/ 285 h 425"/>
                  <a:gd name="T22" fmla="*/ 1 w 427"/>
                  <a:gd name="T23" fmla="*/ 413 h 425"/>
                  <a:gd name="T24" fmla="*/ 3 w 427"/>
                  <a:gd name="T25" fmla="*/ 422 h 425"/>
                  <a:gd name="T26" fmla="*/ 10 w 427"/>
                  <a:gd name="T27" fmla="*/ 425 h 425"/>
                  <a:gd name="T28" fmla="*/ 12 w 427"/>
                  <a:gd name="T29" fmla="*/ 424 h 425"/>
                  <a:gd name="T30" fmla="*/ 143 w 427"/>
                  <a:gd name="T31" fmla="*/ 385 h 425"/>
                  <a:gd name="T32" fmla="*/ 147 w 427"/>
                  <a:gd name="T33" fmla="*/ 383 h 425"/>
                  <a:gd name="T34" fmla="*/ 371 w 427"/>
                  <a:gd name="T35" fmla="*/ 158 h 425"/>
                  <a:gd name="T36" fmla="*/ 373 w 427"/>
                  <a:gd name="T37" fmla="*/ 156 h 425"/>
                  <a:gd name="T38" fmla="*/ 332 w 427"/>
                  <a:gd name="T39" fmla="*/ 20 h 425"/>
                  <a:gd name="T40" fmla="*/ 335 w 427"/>
                  <a:gd name="T41" fmla="*/ 19 h 425"/>
                  <a:gd name="T42" fmla="*/ 338 w 427"/>
                  <a:gd name="T43" fmla="*/ 20 h 425"/>
                  <a:gd name="T44" fmla="*/ 407 w 427"/>
                  <a:gd name="T45" fmla="*/ 89 h 425"/>
                  <a:gd name="T46" fmla="*/ 408 w 427"/>
                  <a:gd name="T47" fmla="*/ 92 h 425"/>
                  <a:gd name="T48" fmla="*/ 407 w 427"/>
                  <a:gd name="T49" fmla="*/ 95 h 425"/>
                  <a:gd name="T50" fmla="*/ 365 w 427"/>
                  <a:gd name="T51" fmla="*/ 138 h 425"/>
                  <a:gd name="T52" fmla="*/ 290 w 427"/>
                  <a:gd name="T53" fmla="*/ 63 h 425"/>
                  <a:gd name="T54" fmla="*/ 332 w 427"/>
                  <a:gd name="T55" fmla="*/ 20 h 425"/>
                  <a:gd name="T56" fmla="*/ 124 w 427"/>
                  <a:gd name="T57" fmla="*/ 328 h 425"/>
                  <a:gd name="T58" fmla="*/ 98 w 427"/>
                  <a:gd name="T59" fmla="*/ 328 h 425"/>
                  <a:gd name="T60" fmla="*/ 98 w 427"/>
                  <a:gd name="T61" fmla="*/ 301 h 425"/>
                  <a:gd name="T62" fmla="*/ 299 w 427"/>
                  <a:gd name="T63" fmla="*/ 99 h 425"/>
                  <a:gd name="T64" fmla="*/ 327 w 427"/>
                  <a:gd name="T65" fmla="*/ 127 h 425"/>
                  <a:gd name="T66" fmla="*/ 124 w 427"/>
                  <a:gd name="T67" fmla="*/ 328 h 425"/>
                  <a:gd name="T68" fmla="*/ 277 w 427"/>
                  <a:gd name="T69" fmla="*/ 76 h 425"/>
                  <a:gd name="T70" fmla="*/ 286 w 427"/>
                  <a:gd name="T71" fmla="*/ 86 h 425"/>
                  <a:gd name="T72" fmla="*/ 86 w 427"/>
                  <a:gd name="T73" fmla="*/ 287 h 425"/>
                  <a:gd name="T74" fmla="*/ 70 w 427"/>
                  <a:gd name="T75" fmla="*/ 283 h 425"/>
                  <a:gd name="T76" fmla="*/ 277 w 427"/>
                  <a:gd name="T77" fmla="*/ 76 h 425"/>
                  <a:gd name="T78" fmla="*/ 57 w 427"/>
                  <a:gd name="T79" fmla="*/ 299 h 425"/>
                  <a:gd name="T80" fmla="*/ 79 w 427"/>
                  <a:gd name="T81" fmla="*/ 304 h 425"/>
                  <a:gd name="T82" fmla="*/ 79 w 427"/>
                  <a:gd name="T83" fmla="*/ 337 h 425"/>
                  <a:gd name="T84" fmla="*/ 88 w 427"/>
                  <a:gd name="T85" fmla="*/ 346 h 425"/>
                  <a:gd name="T86" fmla="*/ 121 w 427"/>
                  <a:gd name="T87" fmla="*/ 346 h 425"/>
                  <a:gd name="T88" fmla="*/ 128 w 427"/>
                  <a:gd name="T89" fmla="*/ 371 h 425"/>
                  <a:gd name="T90" fmla="*/ 24 w 427"/>
                  <a:gd name="T91" fmla="*/ 401 h 425"/>
                  <a:gd name="T92" fmla="*/ 57 w 427"/>
                  <a:gd name="T93" fmla="*/ 299 h 425"/>
                  <a:gd name="T94" fmla="*/ 144 w 427"/>
                  <a:gd name="T95" fmla="*/ 360 h 425"/>
                  <a:gd name="T96" fmla="*/ 138 w 427"/>
                  <a:gd name="T97" fmla="*/ 340 h 425"/>
                  <a:gd name="T98" fmla="*/ 341 w 427"/>
                  <a:gd name="T99" fmla="*/ 140 h 425"/>
                  <a:gd name="T100" fmla="*/ 351 w 427"/>
                  <a:gd name="T101" fmla="*/ 151 h 425"/>
                  <a:gd name="T102" fmla="*/ 144 w 427"/>
                  <a:gd name="T103" fmla="*/ 36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27" h="425">
                    <a:moveTo>
                      <a:pt x="373" y="156"/>
                    </a:moveTo>
                    <a:cubicBezTo>
                      <a:pt x="420" y="109"/>
                      <a:pt x="420" y="109"/>
                      <a:pt x="420" y="109"/>
                    </a:cubicBezTo>
                    <a:cubicBezTo>
                      <a:pt x="424" y="104"/>
                      <a:pt x="427" y="98"/>
                      <a:pt x="427" y="92"/>
                    </a:cubicBezTo>
                    <a:cubicBezTo>
                      <a:pt x="427" y="86"/>
                      <a:pt x="424" y="80"/>
                      <a:pt x="420" y="76"/>
                    </a:cubicBezTo>
                    <a:cubicBezTo>
                      <a:pt x="351" y="7"/>
                      <a:pt x="351" y="7"/>
                      <a:pt x="351" y="7"/>
                    </a:cubicBezTo>
                    <a:cubicBezTo>
                      <a:pt x="347" y="3"/>
                      <a:pt x="341" y="0"/>
                      <a:pt x="335" y="0"/>
                    </a:cubicBezTo>
                    <a:cubicBezTo>
                      <a:pt x="329" y="0"/>
                      <a:pt x="323" y="3"/>
                      <a:pt x="319" y="7"/>
                    </a:cubicBezTo>
                    <a:cubicBezTo>
                      <a:pt x="270" y="56"/>
                      <a:pt x="270" y="56"/>
                      <a:pt x="270" y="56"/>
                    </a:cubicBezTo>
                    <a:cubicBezTo>
                      <a:pt x="269" y="57"/>
                      <a:pt x="269" y="57"/>
                      <a:pt x="268" y="58"/>
                    </a:cubicBezTo>
                    <a:cubicBezTo>
                      <a:pt x="45" y="282"/>
                      <a:pt x="45" y="282"/>
                      <a:pt x="45" y="282"/>
                    </a:cubicBezTo>
                    <a:cubicBezTo>
                      <a:pt x="43" y="283"/>
                      <a:pt x="43" y="284"/>
                      <a:pt x="42" y="285"/>
                    </a:cubicBezTo>
                    <a:cubicBezTo>
                      <a:pt x="1" y="413"/>
                      <a:pt x="1" y="413"/>
                      <a:pt x="1" y="413"/>
                    </a:cubicBezTo>
                    <a:cubicBezTo>
                      <a:pt x="0" y="416"/>
                      <a:pt x="1" y="420"/>
                      <a:pt x="3" y="422"/>
                    </a:cubicBezTo>
                    <a:cubicBezTo>
                      <a:pt x="5" y="424"/>
                      <a:pt x="7" y="425"/>
                      <a:pt x="10" y="425"/>
                    </a:cubicBezTo>
                    <a:cubicBezTo>
                      <a:pt x="11" y="425"/>
                      <a:pt x="12" y="425"/>
                      <a:pt x="12" y="424"/>
                    </a:cubicBezTo>
                    <a:cubicBezTo>
                      <a:pt x="143" y="385"/>
                      <a:pt x="143" y="385"/>
                      <a:pt x="143" y="385"/>
                    </a:cubicBezTo>
                    <a:cubicBezTo>
                      <a:pt x="145" y="385"/>
                      <a:pt x="146" y="384"/>
                      <a:pt x="147" y="383"/>
                    </a:cubicBezTo>
                    <a:cubicBezTo>
                      <a:pt x="371" y="158"/>
                      <a:pt x="371" y="158"/>
                      <a:pt x="371" y="158"/>
                    </a:cubicBezTo>
                    <a:cubicBezTo>
                      <a:pt x="372" y="157"/>
                      <a:pt x="372" y="157"/>
                      <a:pt x="373" y="156"/>
                    </a:cubicBezTo>
                    <a:close/>
                    <a:moveTo>
                      <a:pt x="332" y="20"/>
                    </a:moveTo>
                    <a:cubicBezTo>
                      <a:pt x="333" y="19"/>
                      <a:pt x="334" y="19"/>
                      <a:pt x="335" y="19"/>
                    </a:cubicBezTo>
                    <a:cubicBezTo>
                      <a:pt x="336" y="19"/>
                      <a:pt x="337" y="19"/>
                      <a:pt x="338" y="20"/>
                    </a:cubicBezTo>
                    <a:cubicBezTo>
                      <a:pt x="407" y="89"/>
                      <a:pt x="407" y="89"/>
                      <a:pt x="407" y="89"/>
                    </a:cubicBezTo>
                    <a:cubicBezTo>
                      <a:pt x="408" y="90"/>
                      <a:pt x="408" y="92"/>
                      <a:pt x="408" y="92"/>
                    </a:cubicBezTo>
                    <a:cubicBezTo>
                      <a:pt x="408" y="93"/>
                      <a:pt x="408" y="94"/>
                      <a:pt x="407" y="95"/>
                    </a:cubicBezTo>
                    <a:cubicBezTo>
                      <a:pt x="365" y="138"/>
                      <a:pt x="365" y="138"/>
                      <a:pt x="365" y="138"/>
                    </a:cubicBezTo>
                    <a:cubicBezTo>
                      <a:pt x="290" y="63"/>
                      <a:pt x="290" y="63"/>
                      <a:pt x="290" y="63"/>
                    </a:cubicBezTo>
                    <a:lnTo>
                      <a:pt x="332" y="20"/>
                    </a:lnTo>
                    <a:close/>
                    <a:moveTo>
                      <a:pt x="124" y="328"/>
                    </a:moveTo>
                    <a:cubicBezTo>
                      <a:pt x="98" y="328"/>
                      <a:pt x="98" y="328"/>
                      <a:pt x="98" y="328"/>
                    </a:cubicBezTo>
                    <a:cubicBezTo>
                      <a:pt x="98" y="301"/>
                      <a:pt x="98" y="301"/>
                      <a:pt x="98" y="301"/>
                    </a:cubicBezTo>
                    <a:cubicBezTo>
                      <a:pt x="299" y="99"/>
                      <a:pt x="299" y="99"/>
                      <a:pt x="299" y="99"/>
                    </a:cubicBezTo>
                    <a:cubicBezTo>
                      <a:pt x="327" y="127"/>
                      <a:pt x="327" y="127"/>
                      <a:pt x="327" y="127"/>
                    </a:cubicBezTo>
                    <a:lnTo>
                      <a:pt x="124" y="328"/>
                    </a:lnTo>
                    <a:close/>
                    <a:moveTo>
                      <a:pt x="277" y="76"/>
                    </a:moveTo>
                    <a:cubicBezTo>
                      <a:pt x="286" y="86"/>
                      <a:pt x="286" y="86"/>
                      <a:pt x="286" y="86"/>
                    </a:cubicBezTo>
                    <a:cubicBezTo>
                      <a:pt x="86" y="287"/>
                      <a:pt x="86" y="287"/>
                      <a:pt x="86" y="287"/>
                    </a:cubicBezTo>
                    <a:cubicBezTo>
                      <a:pt x="70" y="283"/>
                      <a:pt x="70" y="283"/>
                      <a:pt x="70" y="283"/>
                    </a:cubicBezTo>
                    <a:lnTo>
                      <a:pt x="277" y="76"/>
                    </a:lnTo>
                    <a:close/>
                    <a:moveTo>
                      <a:pt x="57" y="299"/>
                    </a:moveTo>
                    <a:cubicBezTo>
                      <a:pt x="79" y="304"/>
                      <a:pt x="79" y="304"/>
                      <a:pt x="79" y="304"/>
                    </a:cubicBezTo>
                    <a:cubicBezTo>
                      <a:pt x="79" y="337"/>
                      <a:pt x="79" y="337"/>
                      <a:pt x="79" y="337"/>
                    </a:cubicBezTo>
                    <a:cubicBezTo>
                      <a:pt x="79" y="342"/>
                      <a:pt x="83" y="346"/>
                      <a:pt x="88" y="346"/>
                    </a:cubicBezTo>
                    <a:cubicBezTo>
                      <a:pt x="121" y="346"/>
                      <a:pt x="121" y="346"/>
                      <a:pt x="121" y="346"/>
                    </a:cubicBezTo>
                    <a:cubicBezTo>
                      <a:pt x="128" y="371"/>
                      <a:pt x="128" y="371"/>
                      <a:pt x="128" y="371"/>
                    </a:cubicBezTo>
                    <a:cubicBezTo>
                      <a:pt x="24" y="401"/>
                      <a:pt x="24" y="401"/>
                      <a:pt x="24" y="401"/>
                    </a:cubicBezTo>
                    <a:lnTo>
                      <a:pt x="57" y="299"/>
                    </a:lnTo>
                    <a:close/>
                    <a:moveTo>
                      <a:pt x="144" y="360"/>
                    </a:moveTo>
                    <a:cubicBezTo>
                      <a:pt x="138" y="340"/>
                      <a:pt x="138" y="340"/>
                      <a:pt x="138" y="340"/>
                    </a:cubicBezTo>
                    <a:cubicBezTo>
                      <a:pt x="341" y="140"/>
                      <a:pt x="341" y="140"/>
                      <a:pt x="341" y="140"/>
                    </a:cubicBezTo>
                    <a:cubicBezTo>
                      <a:pt x="351" y="151"/>
                      <a:pt x="351" y="151"/>
                      <a:pt x="351" y="151"/>
                    </a:cubicBezTo>
                    <a:lnTo>
                      <a:pt x="144" y="3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52" name="Group 51"/>
          <p:cNvGrpSpPr/>
          <p:nvPr/>
        </p:nvGrpSpPr>
        <p:grpSpPr>
          <a:xfrm>
            <a:off x="4892821" y="1547349"/>
            <a:ext cx="594727" cy="594725"/>
            <a:chOff x="4892821" y="1547349"/>
            <a:chExt cx="594727" cy="594725"/>
          </a:xfrm>
        </p:grpSpPr>
        <p:sp>
          <p:nvSpPr>
            <p:cNvPr id="4" name="Oval 3"/>
            <p:cNvSpPr/>
            <p:nvPr/>
          </p:nvSpPr>
          <p:spPr>
            <a:xfrm>
              <a:off x="4892821" y="1547349"/>
              <a:ext cx="594727" cy="59472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5059310" y="1717660"/>
              <a:ext cx="261748" cy="254105"/>
              <a:chOff x="5529264" y="1682751"/>
              <a:chExt cx="434975" cy="422275"/>
            </a:xfrm>
            <a:solidFill>
              <a:schemeClr val="bg1"/>
            </a:solidFill>
          </p:grpSpPr>
          <p:sp>
            <p:nvSpPr>
              <p:cNvPr id="43" name="Freeform 107"/>
              <p:cNvSpPr>
                <a:spLocks noEditPoints="1"/>
              </p:cNvSpPr>
              <p:nvPr/>
            </p:nvSpPr>
            <p:spPr bwMode="auto">
              <a:xfrm>
                <a:off x="5529264" y="1682751"/>
                <a:ext cx="382588" cy="369888"/>
              </a:xfrm>
              <a:custGeom>
                <a:avLst/>
                <a:gdLst>
                  <a:gd name="T0" fmla="*/ 385 w 385"/>
                  <a:gd name="T1" fmla="*/ 350 h 372"/>
                  <a:gd name="T2" fmla="*/ 385 w 385"/>
                  <a:gd name="T3" fmla="*/ 22 h 372"/>
                  <a:gd name="T4" fmla="*/ 363 w 385"/>
                  <a:gd name="T5" fmla="*/ 0 h 372"/>
                  <a:gd name="T6" fmla="*/ 22 w 385"/>
                  <a:gd name="T7" fmla="*/ 0 h 372"/>
                  <a:gd name="T8" fmla="*/ 0 w 385"/>
                  <a:gd name="T9" fmla="*/ 22 h 372"/>
                  <a:gd name="T10" fmla="*/ 0 w 385"/>
                  <a:gd name="T11" fmla="*/ 350 h 372"/>
                  <a:gd name="T12" fmla="*/ 22 w 385"/>
                  <a:gd name="T13" fmla="*/ 372 h 372"/>
                  <a:gd name="T14" fmla="*/ 363 w 385"/>
                  <a:gd name="T15" fmla="*/ 372 h 372"/>
                  <a:gd name="T16" fmla="*/ 385 w 385"/>
                  <a:gd name="T17" fmla="*/ 350 h 372"/>
                  <a:gd name="T18" fmla="*/ 18 w 385"/>
                  <a:gd name="T19" fmla="*/ 350 h 372"/>
                  <a:gd name="T20" fmla="*/ 18 w 385"/>
                  <a:gd name="T21" fmla="*/ 22 h 372"/>
                  <a:gd name="T22" fmla="*/ 22 w 385"/>
                  <a:gd name="T23" fmla="*/ 19 h 372"/>
                  <a:gd name="T24" fmla="*/ 363 w 385"/>
                  <a:gd name="T25" fmla="*/ 19 h 372"/>
                  <a:gd name="T26" fmla="*/ 366 w 385"/>
                  <a:gd name="T27" fmla="*/ 22 h 372"/>
                  <a:gd name="T28" fmla="*/ 366 w 385"/>
                  <a:gd name="T29" fmla="*/ 350 h 372"/>
                  <a:gd name="T30" fmla="*/ 363 w 385"/>
                  <a:gd name="T31" fmla="*/ 354 h 372"/>
                  <a:gd name="T32" fmla="*/ 22 w 385"/>
                  <a:gd name="T33" fmla="*/ 354 h 372"/>
                  <a:gd name="T34" fmla="*/ 18 w 385"/>
                  <a:gd name="T35" fmla="*/ 350 h 3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5" h="372">
                    <a:moveTo>
                      <a:pt x="385" y="350"/>
                    </a:moveTo>
                    <a:cubicBezTo>
                      <a:pt x="385" y="22"/>
                      <a:pt x="385" y="22"/>
                      <a:pt x="385" y="22"/>
                    </a:cubicBezTo>
                    <a:cubicBezTo>
                      <a:pt x="385" y="10"/>
                      <a:pt x="375" y="0"/>
                      <a:pt x="363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350"/>
                      <a:pt x="0" y="350"/>
                      <a:pt x="0" y="350"/>
                    </a:cubicBezTo>
                    <a:cubicBezTo>
                      <a:pt x="0" y="362"/>
                      <a:pt x="10" y="372"/>
                      <a:pt x="22" y="372"/>
                    </a:cubicBezTo>
                    <a:cubicBezTo>
                      <a:pt x="363" y="372"/>
                      <a:pt x="363" y="372"/>
                      <a:pt x="363" y="372"/>
                    </a:cubicBezTo>
                    <a:cubicBezTo>
                      <a:pt x="375" y="372"/>
                      <a:pt x="385" y="362"/>
                      <a:pt x="385" y="350"/>
                    </a:cubicBezTo>
                    <a:close/>
                    <a:moveTo>
                      <a:pt x="18" y="350"/>
                    </a:moveTo>
                    <a:cubicBezTo>
                      <a:pt x="18" y="22"/>
                      <a:pt x="18" y="22"/>
                      <a:pt x="18" y="22"/>
                    </a:cubicBezTo>
                    <a:cubicBezTo>
                      <a:pt x="18" y="20"/>
                      <a:pt x="20" y="19"/>
                      <a:pt x="22" y="19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65" y="19"/>
                      <a:pt x="366" y="20"/>
                      <a:pt x="366" y="22"/>
                    </a:cubicBezTo>
                    <a:cubicBezTo>
                      <a:pt x="366" y="350"/>
                      <a:pt x="366" y="350"/>
                      <a:pt x="366" y="350"/>
                    </a:cubicBezTo>
                    <a:cubicBezTo>
                      <a:pt x="366" y="352"/>
                      <a:pt x="365" y="354"/>
                      <a:pt x="363" y="354"/>
                    </a:cubicBezTo>
                    <a:cubicBezTo>
                      <a:pt x="22" y="354"/>
                      <a:pt x="22" y="354"/>
                      <a:pt x="22" y="354"/>
                    </a:cubicBezTo>
                    <a:cubicBezTo>
                      <a:pt x="20" y="354"/>
                      <a:pt x="18" y="352"/>
                      <a:pt x="18" y="35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4" name="Freeform 108"/>
              <p:cNvSpPr>
                <a:spLocks noEditPoints="1"/>
              </p:cNvSpPr>
              <p:nvPr/>
            </p:nvSpPr>
            <p:spPr bwMode="auto">
              <a:xfrm>
                <a:off x="5737226" y="1774826"/>
                <a:ext cx="57150" cy="57150"/>
              </a:xfrm>
              <a:custGeom>
                <a:avLst/>
                <a:gdLst>
                  <a:gd name="T0" fmla="*/ 29 w 58"/>
                  <a:gd name="T1" fmla="*/ 58 h 58"/>
                  <a:gd name="T2" fmla="*/ 58 w 58"/>
                  <a:gd name="T3" fmla="*/ 29 h 58"/>
                  <a:gd name="T4" fmla="*/ 29 w 58"/>
                  <a:gd name="T5" fmla="*/ 0 h 58"/>
                  <a:gd name="T6" fmla="*/ 0 w 58"/>
                  <a:gd name="T7" fmla="*/ 29 h 58"/>
                  <a:gd name="T8" fmla="*/ 29 w 58"/>
                  <a:gd name="T9" fmla="*/ 58 h 58"/>
                  <a:gd name="T10" fmla="*/ 29 w 58"/>
                  <a:gd name="T11" fmla="*/ 18 h 58"/>
                  <a:gd name="T12" fmla="*/ 40 w 58"/>
                  <a:gd name="T13" fmla="*/ 29 h 58"/>
                  <a:gd name="T14" fmla="*/ 29 w 58"/>
                  <a:gd name="T15" fmla="*/ 39 h 58"/>
                  <a:gd name="T16" fmla="*/ 19 w 58"/>
                  <a:gd name="T17" fmla="*/ 29 h 58"/>
                  <a:gd name="T18" fmla="*/ 29 w 58"/>
                  <a:gd name="T19" fmla="*/ 1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58">
                    <a:moveTo>
                      <a:pt x="29" y="58"/>
                    </a:moveTo>
                    <a:cubicBezTo>
                      <a:pt x="45" y="58"/>
                      <a:pt x="58" y="45"/>
                      <a:pt x="58" y="29"/>
                    </a:cubicBezTo>
                    <a:cubicBezTo>
                      <a:pt x="58" y="13"/>
                      <a:pt x="45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5"/>
                      <a:pt x="13" y="58"/>
                      <a:pt x="29" y="58"/>
                    </a:cubicBezTo>
                    <a:close/>
                    <a:moveTo>
                      <a:pt x="29" y="18"/>
                    </a:moveTo>
                    <a:cubicBezTo>
                      <a:pt x="35" y="18"/>
                      <a:pt x="40" y="23"/>
                      <a:pt x="40" y="29"/>
                    </a:cubicBezTo>
                    <a:cubicBezTo>
                      <a:pt x="40" y="34"/>
                      <a:pt x="35" y="39"/>
                      <a:pt x="29" y="39"/>
                    </a:cubicBezTo>
                    <a:cubicBezTo>
                      <a:pt x="24" y="39"/>
                      <a:pt x="19" y="34"/>
                      <a:pt x="19" y="29"/>
                    </a:cubicBezTo>
                    <a:cubicBezTo>
                      <a:pt x="19" y="23"/>
                      <a:pt x="24" y="18"/>
                      <a:pt x="29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5" name="Freeform 109"/>
              <p:cNvSpPr>
                <a:spLocks noEditPoints="1"/>
              </p:cNvSpPr>
              <p:nvPr/>
            </p:nvSpPr>
            <p:spPr bwMode="auto">
              <a:xfrm>
                <a:off x="5567364" y="1720851"/>
                <a:ext cx="306388" cy="266700"/>
              </a:xfrm>
              <a:custGeom>
                <a:avLst/>
                <a:gdLst>
                  <a:gd name="T0" fmla="*/ 298 w 307"/>
                  <a:gd name="T1" fmla="*/ 0 h 268"/>
                  <a:gd name="T2" fmla="*/ 9 w 307"/>
                  <a:gd name="T3" fmla="*/ 0 h 268"/>
                  <a:gd name="T4" fmla="*/ 0 w 307"/>
                  <a:gd name="T5" fmla="*/ 10 h 268"/>
                  <a:gd name="T6" fmla="*/ 0 w 307"/>
                  <a:gd name="T7" fmla="*/ 259 h 268"/>
                  <a:gd name="T8" fmla="*/ 9 w 307"/>
                  <a:gd name="T9" fmla="*/ 268 h 268"/>
                  <a:gd name="T10" fmla="*/ 298 w 307"/>
                  <a:gd name="T11" fmla="*/ 268 h 268"/>
                  <a:gd name="T12" fmla="*/ 307 w 307"/>
                  <a:gd name="T13" fmla="*/ 259 h 268"/>
                  <a:gd name="T14" fmla="*/ 307 w 307"/>
                  <a:gd name="T15" fmla="*/ 10 h 268"/>
                  <a:gd name="T16" fmla="*/ 298 w 307"/>
                  <a:gd name="T17" fmla="*/ 0 h 268"/>
                  <a:gd name="T18" fmla="*/ 288 w 307"/>
                  <a:gd name="T19" fmla="*/ 19 h 268"/>
                  <a:gd name="T20" fmla="*/ 288 w 307"/>
                  <a:gd name="T21" fmla="*/ 174 h 268"/>
                  <a:gd name="T22" fmla="*/ 279 w 307"/>
                  <a:gd name="T23" fmla="*/ 163 h 268"/>
                  <a:gd name="T24" fmla="*/ 279 w 307"/>
                  <a:gd name="T25" fmla="*/ 163 h 268"/>
                  <a:gd name="T26" fmla="*/ 261 w 307"/>
                  <a:gd name="T27" fmla="*/ 156 h 268"/>
                  <a:gd name="T28" fmla="*/ 261 w 307"/>
                  <a:gd name="T29" fmla="*/ 156 h 268"/>
                  <a:gd name="T30" fmla="*/ 244 w 307"/>
                  <a:gd name="T31" fmla="*/ 163 h 268"/>
                  <a:gd name="T32" fmla="*/ 200 w 307"/>
                  <a:gd name="T33" fmla="*/ 204 h 268"/>
                  <a:gd name="T34" fmla="*/ 108 w 307"/>
                  <a:gd name="T35" fmla="*/ 112 h 268"/>
                  <a:gd name="T36" fmla="*/ 90 w 307"/>
                  <a:gd name="T37" fmla="*/ 105 h 268"/>
                  <a:gd name="T38" fmla="*/ 72 w 307"/>
                  <a:gd name="T39" fmla="*/ 112 h 268"/>
                  <a:gd name="T40" fmla="*/ 19 w 307"/>
                  <a:gd name="T41" fmla="*/ 166 h 268"/>
                  <a:gd name="T42" fmla="*/ 19 w 307"/>
                  <a:gd name="T43" fmla="*/ 19 h 268"/>
                  <a:gd name="T44" fmla="*/ 288 w 307"/>
                  <a:gd name="T45" fmla="*/ 19 h 268"/>
                  <a:gd name="T46" fmla="*/ 19 w 307"/>
                  <a:gd name="T47" fmla="*/ 249 h 268"/>
                  <a:gd name="T48" fmla="*/ 19 w 307"/>
                  <a:gd name="T49" fmla="*/ 193 h 268"/>
                  <a:gd name="T50" fmla="*/ 19 w 307"/>
                  <a:gd name="T51" fmla="*/ 193 h 268"/>
                  <a:gd name="T52" fmla="*/ 86 w 307"/>
                  <a:gd name="T53" fmla="*/ 126 h 268"/>
                  <a:gd name="T54" fmla="*/ 94 w 307"/>
                  <a:gd name="T55" fmla="*/ 126 h 268"/>
                  <a:gd name="T56" fmla="*/ 193 w 307"/>
                  <a:gd name="T57" fmla="*/ 224 h 268"/>
                  <a:gd name="T58" fmla="*/ 200 w 307"/>
                  <a:gd name="T59" fmla="*/ 227 h 268"/>
                  <a:gd name="T60" fmla="*/ 206 w 307"/>
                  <a:gd name="T61" fmla="*/ 224 h 268"/>
                  <a:gd name="T62" fmla="*/ 257 w 307"/>
                  <a:gd name="T63" fmla="*/ 176 h 268"/>
                  <a:gd name="T64" fmla="*/ 261 w 307"/>
                  <a:gd name="T65" fmla="*/ 174 h 268"/>
                  <a:gd name="T66" fmla="*/ 261 w 307"/>
                  <a:gd name="T67" fmla="*/ 174 h 268"/>
                  <a:gd name="T68" fmla="*/ 265 w 307"/>
                  <a:gd name="T69" fmla="*/ 176 h 268"/>
                  <a:gd name="T70" fmla="*/ 288 w 307"/>
                  <a:gd name="T71" fmla="*/ 202 h 268"/>
                  <a:gd name="T72" fmla="*/ 288 w 307"/>
                  <a:gd name="T73" fmla="*/ 249 h 268"/>
                  <a:gd name="T74" fmla="*/ 19 w 307"/>
                  <a:gd name="T75" fmla="*/ 249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07" h="268">
                    <a:moveTo>
                      <a:pt x="298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264"/>
                      <a:pt x="4" y="268"/>
                      <a:pt x="9" y="268"/>
                    </a:cubicBezTo>
                    <a:cubicBezTo>
                      <a:pt x="298" y="268"/>
                      <a:pt x="298" y="268"/>
                      <a:pt x="298" y="268"/>
                    </a:cubicBezTo>
                    <a:cubicBezTo>
                      <a:pt x="303" y="268"/>
                      <a:pt x="307" y="264"/>
                      <a:pt x="307" y="259"/>
                    </a:cubicBezTo>
                    <a:cubicBezTo>
                      <a:pt x="307" y="10"/>
                      <a:pt x="307" y="10"/>
                      <a:pt x="307" y="10"/>
                    </a:cubicBezTo>
                    <a:cubicBezTo>
                      <a:pt x="307" y="4"/>
                      <a:pt x="303" y="0"/>
                      <a:pt x="298" y="0"/>
                    </a:cubicBezTo>
                    <a:close/>
                    <a:moveTo>
                      <a:pt x="288" y="19"/>
                    </a:moveTo>
                    <a:cubicBezTo>
                      <a:pt x="288" y="174"/>
                      <a:pt x="288" y="174"/>
                      <a:pt x="288" y="174"/>
                    </a:cubicBezTo>
                    <a:cubicBezTo>
                      <a:pt x="279" y="163"/>
                      <a:pt x="279" y="163"/>
                      <a:pt x="279" y="163"/>
                    </a:cubicBezTo>
                    <a:cubicBezTo>
                      <a:pt x="279" y="163"/>
                      <a:pt x="279" y="163"/>
                      <a:pt x="279" y="163"/>
                    </a:cubicBezTo>
                    <a:cubicBezTo>
                      <a:pt x="274" y="158"/>
                      <a:pt x="268" y="156"/>
                      <a:pt x="261" y="156"/>
                    </a:cubicBezTo>
                    <a:cubicBezTo>
                      <a:pt x="261" y="156"/>
                      <a:pt x="261" y="156"/>
                      <a:pt x="261" y="156"/>
                    </a:cubicBezTo>
                    <a:cubicBezTo>
                      <a:pt x="255" y="156"/>
                      <a:pt x="248" y="158"/>
                      <a:pt x="244" y="163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3" y="108"/>
                      <a:pt x="97" y="105"/>
                      <a:pt x="90" y="105"/>
                    </a:cubicBezTo>
                    <a:cubicBezTo>
                      <a:pt x="83" y="105"/>
                      <a:pt x="77" y="108"/>
                      <a:pt x="72" y="112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19" y="19"/>
                      <a:pt x="19" y="19"/>
                      <a:pt x="19" y="19"/>
                    </a:cubicBezTo>
                    <a:lnTo>
                      <a:pt x="288" y="19"/>
                    </a:lnTo>
                    <a:close/>
                    <a:moveTo>
                      <a:pt x="19" y="249"/>
                    </a:moveTo>
                    <a:cubicBezTo>
                      <a:pt x="19" y="193"/>
                      <a:pt x="19" y="193"/>
                      <a:pt x="19" y="193"/>
                    </a:cubicBezTo>
                    <a:cubicBezTo>
                      <a:pt x="19" y="193"/>
                      <a:pt x="19" y="193"/>
                      <a:pt x="19" y="193"/>
                    </a:cubicBezTo>
                    <a:cubicBezTo>
                      <a:pt x="86" y="126"/>
                      <a:pt x="86" y="126"/>
                      <a:pt x="86" y="126"/>
                    </a:cubicBezTo>
                    <a:cubicBezTo>
                      <a:pt x="88" y="123"/>
                      <a:pt x="92" y="123"/>
                      <a:pt x="94" y="126"/>
                    </a:cubicBezTo>
                    <a:cubicBezTo>
                      <a:pt x="193" y="224"/>
                      <a:pt x="193" y="224"/>
                      <a:pt x="193" y="224"/>
                    </a:cubicBezTo>
                    <a:cubicBezTo>
                      <a:pt x="195" y="226"/>
                      <a:pt x="197" y="227"/>
                      <a:pt x="200" y="227"/>
                    </a:cubicBezTo>
                    <a:cubicBezTo>
                      <a:pt x="202" y="227"/>
                      <a:pt x="204" y="226"/>
                      <a:pt x="206" y="224"/>
                    </a:cubicBezTo>
                    <a:cubicBezTo>
                      <a:pt x="257" y="176"/>
                      <a:pt x="257" y="176"/>
                      <a:pt x="257" y="176"/>
                    </a:cubicBezTo>
                    <a:cubicBezTo>
                      <a:pt x="258" y="175"/>
                      <a:pt x="260" y="174"/>
                      <a:pt x="261" y="174"/>
                    </a:cubicBezTo>
                    <a:cubicBezTo>
                      <a:pt x="261" y="174"/>
                      <a:pt x="261" y="174"/>
                      <a:pt x="261" y="174"/>
                    </a:cubicBezTo>
                    <a:cubicBezTo>
                      <a:pt x="263" y="174"/>
                      <a:pt x="264" y="175"/>
                      <a:pt x="265" y="176"/>
                    </a:cubicBezTo>
                    <a:cubicBezTo>
                      <a:pt x="288" y="202"/>
                      <a:pt x="288" y="202"/>
                      <a:pt x="288" y="202"/>
                    </a:cubicBezTo>
                    <a:cubicBezTo>
                      <a:pt x="288" y="249"/>
                      <a:pt x="288" y="249"/>
                      <a:pt x="288" y="249"/>
                    </a:cubicBezTo>
                    <a:lnTo>
                      <a:pt x="19" y="24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46" name="Freeform 110"/>
              <p:cNvSpPr>
                <a:spLocks/>
              </p:cNvSpPr>
              <p:nvPr/>
            </p:nvSpPr>
            <p:spPr bwMode="auto">
              <a:xfrm>
                <a:off x="5580064" y="1720851"/>
                <a:ext cx="384175" cy="384175"/>
              </a:xfrm>
              <a:custGeom>
                <a:avLst/>
                <a:gdLst>
                  <a:gd name="T0" fmla="*/ 363 w 386"/>
                  <a:gd name="T1" fmla="*/ 0 h 386"/>
                  <a:gd name="T2" fmla="*/ 351 w 386"/>
                  <a:gd name="T3" fmla="*/ 0 h 386"/>
                  <a:gd name="T4" fmla="*/ 342 w 386"/>
                  <a:gd name="T5" fmla="*/ 10 h 386"/>
                  <a:gd name="T6" fmla="*/ 351 w 386"/>
                  <a:gd name="T7" fmla="*/ 19 h 386"/>
                  <a:gd name="T8" fmla="*/ 363 w 386"/>
                  <a:gd name="T9" fmla="*/ 19 h 386"/>
                  <a:gd name="T10" fmla="*/ 367 w 386"/>
                  <a:gd name="T11" fmla="*/ 23 h 386"/>
                  <a:gd name="T12" fmla="*/ 367 w 386"/>
                  <a:gd name="T13" fmla="*/ 363 h 386"/>
                  <a:gd name="T14" fmla="*/ 363 w 386"/>
                  <a:gd name="T15" fmla="*/ 367 h 386"/>
                  <a:gd name="T16" fmla="*/ 22 w 386"/>
                  <a:gd name="T17" fmla="*/ 367 h 386"/>
                  <a:gd name="T18" fmla="*/ 19 w 386"/>
                  <a:gd name="T19" fmla="*/ 363 h 386"/>
                  <a:gd name="T20" fmla="*/ 19 w 386"/>
                  <a:gd name="T21" fmla="*/ 351 h 386"/>
                  <a:gd name="T22" fmla="*/ 9 w 386"/>
                  <a:gd name="T23" fmla="*/ 342 h 386"/>
                  <a:gd name="T24" fmla="*/ 0 w 386"/>
                  <a:gd name="T25" fmla="*/ 351 h 386"/>
                  <a:gd name="T26" fmla="*/ 0 w 386"/>
                  <a:gd name="T27" fmla="*/ 363 h 386"/>
                  <a:gd name="T28" fmla="*/ 22 w 386"/>
                  <a:gd name="T29" fmla="*/ 386 h 386"/>
                  <a:gd name="T30" fmla="*/ 363 w 386"/>
                  <a:gd name="T31" fmla="*/ 386 h 386"/>
                  <a:gd name="T32" fmla="*/ 386 w 386"/>
                  <a:gd name="T33" fmla="*/ 363 h 386"/>
                  <a:gd name="T34" fmla="*/ 386 w 386"/>
                  <a:gd name="T35" fmla="*/ 23 h 386"/>
                  <a:gd name="T36" fmla="*/ 363 w 386"/>
                  <a:gd name="T37" fmla="*/ 0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6" h="386">
                    <a:moveTo>
                      <a:pt x="363" y="0"/>
                    </a:moveTo>
                    <a:cubicBezTo>
                      <a:pt x="351" y="0"/>
                      <a:pt x="351" y="0"/>
                      <a:pt x="351" y="0"/>
                    </a:cubicBezTo>
                    <a:cubicBezTo>
                      <a:pt x="346" y="0"/>
                      <a:pt x="342" y="4"/>
                      <a:pt x="342" y="10"/>
                    </a:cubicBezTo>
                    <a:cubicBezTo>
                      <a:pt x="342" y="15"/>
                      <a:pt x="346" y="19"/>
                      <a:pt x="351" y="19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65" y="19"/>
                      <a:pt x="367" y="21"/>
                      <a:pt x="367" y="23"/>
                    </a:cubicBezTo>
                    <a:cubicBezTo>
                      <a:pt x="367" y="363"/>
                      <a:pt x="367" y="363"/>
                      <a:pt x="367" y="363"/>
                    </a:cubicBezTo>
                    <a:cubicBezTo>
                      <a:pt x="367" y="365"/>
                      <a:pt x="365" y="367"/>
                      <a:pt x="363" y="367"/>
                    </a:cubicBezTo>
                    <a:cubicBezTo>
                      <a:pt x="22" y="367"/>
                      <a:pt x="22" y="367"/>
                      <a:pt x="22" y="367"/>
                    </a:cubicBezTo>
                    <a:cubicBezTo>
                      <a:pt x="20" y="367"/>
                      <a:pt x="19" y="365"/>
                      <a:pt x="19" y="363"/>
                    </a:cubicBezTo>
                    <a:cubicBezTo>
                      <a:pt x="19" y="351"/>
                      <a:pt x="19" y="351"/>
                      <a:pt x="19" y="351"/>
                    </a:cubicBezTo>
                    <a:cubicBezTo>
                      <a:pt x="19" y="346"/>
                      <a:pt x="15" y="342"/>
                      <a:pt x="9" y="342"/>
                    </a:cubicBezTo>
                    <a:cubicBezTo>
                      <a:pt x="4" y="342"/>
                      <a:pt x="0" y="346"/>
                      <a:pt x="0" y="351"/>
                    </a:cubicBezTo>
                    <a:cubicBezTo>
                      <a:pt x="0" y="363"/>
                      <a:pt x="0" y="363"/>
                      <a:pt x="0" y="363"/>
                    </a:cubicBezTo>
                    <a:cubicBezTo>
                      <a:pt x="0" y="376"/>
                      <a:pt x="10" y="386"/>
                      <a:pt x="22" y="386"/>
                    </a:cubicBezTo>
                    <a:cubicBezTo>
                      <a:pt x="363" y="386"/>
                      <a:pt x="363" y="386"/>
                      <a:pt x="363" y="386"/>
                    </a:cubicBezTo>
                    <a:cubicBezTo>
                      <a:pt x="376" y="386"/>
                      <a:pt x="386" y="376"/>
                      <a:pt x="386" y="363"/>
                    </a:cubicBezTo>
                    <a:cubicBezTo>
                      <a:pt x="386" y="23"/>
                      <a:pt x="386" y="23"/>
                      <a:pt x="386" y="23"/>
                    </a:cubicBezTo>
                    <a:cubicBezTo>
                      <a:pt x="386" y="10"/>
                      <a:pt x="376" y="0"/>
                      <a:pt x="36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011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In id metus metus. Quisque cursus ligula lectus, vitae suscipit eros dictum eget.</a:t>
            </a:r>
            <a:endParaRPr lang="en-US" dirty="0"/>
          </a:p>
        </p:txBody>
      </p:sp>
      <p:grpSp>
        <p:nvGrpSpPr>
          <p:cNvPr id="10" name="Group 9"/>
          <p:cNvGrpSpPr/>
          <p:nvPr/>
        </p:nvGrpSpPr>
        <p:grpSpPr>
          <a:xfrm>
            <a:off x="3913684" y="1543050"/>
            <a:ext cx="1316632" cy="2389717"/>
            <a:chOff x="3913684" y="1543050"/>
            <a:chExt cx="1316632" cy="2389717"/>
          </a:xfrm>
        </p:grpSpPr>
        <p:sp>
          <p:nvSpPr>
            <p:cNvPr id="13" name="Teardrop 12"/>
            <p:cNvSpPr/>
            <p:nvPr/>
          </p:nvSpPr>
          <p:spPr>
            <a:xfrm flipV="1">
              <a:off x="4048999" y="1543050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4" name="Teardrop 13"/>
            <p:cNvSpPr/>
            <p:nvPr/>
          </p:nvSpPr>
          <p:spPr>
            <a:xfrm flipH="1" flipV="1">
              <a:off x="4617215" y="1543050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Teardrop 14"/>
            <p:cNvSpPr/>
            <p:nvPr/>
          </p:nvSpPr>
          <p:spPr>
            <a:xfrm flipV="1">
              <a:off x="3975191" y="2377791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6" name="Teardrop 15"/>
            <p:cNvSpPr/>
            <p:nvPr/>
          </p:nvSpPr>
          <p:spPr>
            <a:xfrm flipH="1" flipV="1">
              <a:off x="4687948" y="2377791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17" name="Straight Connector 16"/>
            <p:cNvCxnSpPr>
              <a:stCxn id="13" idx="7"/>
            </p:cNvCxnSpPr>
            <p:nvPr/>
          </p:nvCxnSpPr>
          <p:spPr>
            <a:xfrm>
              <a:off x="4532935" y="2026986"/>
              <a:ext cx="0" cy="1894897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stCxn id="14" idx="7"/>
            </p:cNvCxnSpPr>
            <p:nvPr/>
          </p:nvCxnSpPr>
          <p:spPr>
            <a:xfrm>
              <a:off x="4617215" y="2026986"/>
              <a:ext cx="0" cy="1905781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stCxn id="15" idx="7"/>
            </p:cNvCxnSpPr>
            <p:nvPr/>
          </p:nvCxnSpPr>
          <p:spPr>
            <a:xfrm flipH="1">
              <a:off x="4450640" y="2861727"/>
              <a:ext cx="8488" cy="1060156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>
              <a:stCxn id="16" idx="7"/>
            </p:cNvCxnSpPr>
            <p:nvPr/>
          </p:nvCxnSpPr>
          <p:spPr>
            <a:xfrm>
              <a:off x="4687948" y="2861727"/>
              <a:ext cx="8576" cy="107104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ardrop 20"/>
            <p:cNvSpPr/>
            <p:nvPr/>
          </p:nvSpPr>
          <p:spPr>
            <a:xfrm flipV="1">
              <a:off x="3913684" y="3212532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2" name="Teardrop 21"/>
            <p:cNvSpPr/>
            <p:nvPr/>
          </p:nvSpPr>
          <p:spPr>
            <a:xfrm flipH="1" flipV="1">
              <a:off x="4746380" y="3212532"/>
              <a:ext cx="483936" cy="483936"/>
            </a:xfrm>
            <a:prstGeom prst="teardrop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3" name="Straight Connector 22"/>
            <p:cNvCxnSpPr>
              <a:stCxn id="21" idx="7"/>
            </p:cNvCxnSpPr>
            <p:nvPr/>
          </p:nvCxnSpPr>
          <p:spPr>
            <a:xfrm>
              <a:off x="4397620" y="3696468"/>
              <a:ext cx="0" cy="225415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>
              <a:stCxn id="22" idx="7"/>
            </p:cNvCxnSpPr>
            <p:nvPr/>
          </p:nvCxnSpPr>
          <p:spPr>
            <a:xfrm>
              <a:off x="4746380" y="3696468"/>
              <a:ext cx="0" cy="225415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Freeform 9"/>
            <p:cNvSpPr>
              <a:spLocks noEditPoints="1"/>
            </p:cNvSpPr>
            <p:nvPr/>
          </p:nvSpPr>
          <p:spPr bwMode="auto">
            <a:xfrm>
              <a:off x="4876572" y="3342724"/>
              <a:ext cx="223551" cy="223550"/>
            </a:xfrm>
            <a:custGeom>
              <a:avLst/>
              <a:gdLst>
                <a:gd name="T0" fmla="*/ 337 w 353"/>
                <a:gd name="T1" fmla="*/ 160 h 353"/>
                <a:gd name="T2" fmla="*/ 353 w 353"/>
                <a:gd name="T3" fmla="*/ 160 h 353"/>
                <a:gd name="T4" fmla="*/ 185 w 353"/>
                <a:gd name="T5" fmla="*/ 8 h 353"/>
                <a:gd name="T6" fmla="*/ 193 w 353"/>
                <a:gd name="T7" fmla="*/ 96 h 353"/>
                <a:gd name="T8" fmla="*/ 265 w 353"/>
                <a:gd name="T9" fmla="*/ 168 h 353"/>
                <a:gd name="T10" fmla="*/ 193 w 353"/>
                <a:gd name="T11" fmla="*/ 80 h 353"/>
                <a:gd name="T12" fmla="*/ 193 w 353"/>
                <a:gd name="T13" fmla="*/ 96 h 353"/>
                <a:gd name="T14" fmla="*/ 209 w 353"/>
                <a:gd name="T15" fmla="*/ 160 h 353"/>
                <a:gd name="T16" fmla="*/ 177 w 353"/>
                <a:gd name="T17" fmla="*/ 160 h 353"/>
                <a:gd name="T18" fmla="*/ 353 w 353"/>
                <a:gd name="T19" fmla="*/ 280 h 353"/>
                <a:gd name="T20" fmla="*/ 342 w 353"/>
                <a:gd name="T21" fmla="*/ 260 h 353"/>
                <a:gd name="T22" fmla="*/ 257 w 353"/>
                <a:gd name="T23" fmla="*/ 200 h 353"/>
                <a:gd name="T24" fmla="*/ 223 w 353"/>
                <a:gd name="T25" fmla="*/ 224 h 353"/>
                <a:gd name="T26" fmla="*/ 212 w 353"/>
                <a:gd name="T27" fmla="*/ 230 h 353"/>
                <a:gd name="T28" fmla="*/ 198 w 353"/>
                <a:gd name="T29" fmla="*/ 223 h 353"/>
                <a:gd name="T30" fmla="*/ 130 w 353"/>
                <a:gd name="T31" fmla="*/ 155 h 353"/>
                <a:gd name="T32" fmla="*/ 129 w 353"/>
                <a:gd name="T33" fmla="*/ 129 h 353"/>
                <a:gd name="T34" fmla="*/ 148 w 353"/>
                <a:gd name="T35" fmla="*/ 110 h 353"/>
                <a:gd name="T36" fmla="*/ 146 w 353"/>
                <a:gd name="T37" fmla="*/ 79 h 353"/>
                <a:gd name="T38" fmla="*/ 89 w 353"/>
                <a:gd name="T39" fmla="*/ 7 h 353"/>
                <a:gd name="T40" fmla="*/ 0 w 353"/>
                <a:gd name="T41" fmla="*/ 84 h 353"/>
                <a:gd name="T42" fmla="*/ 8 w 353"/>
                <a:gd name="T43" fmla="*/ 120 h 353"/>
                <a:gd name="T44" fmla="*/ 233 w 353"/>
                <a:gd name="T45" fmla="*/ 345 h 353"/>
                <a:gd name="T46" fmla="*/ 353 w 353"/>
                <a:gd name="T47" fmla="*/ 281 h 353"/>
                <a:gd name="T48" fmla="*/ 269 w 353"/>
                <a:gd name="T49" fmla="*/ 337 h 353"/>
                <a:gd name="T50" fmla="*/ 237 w 353"/>
                <a:gd name="T51" fmla="*/ 329 h 353"/>
                <a:gd name="T52" fmla="*/ 23 w 353"/>
                <a:gd name="T53" fmla="*/ 113 h 353"/>
                <a:gd name="T54" fmla="*/ 72 w 353"/>
                <a:gd name="T55" fmla="*/ 16 h 353"/>
                <a:gd name="T56" fmla="*/ 79 w 353"/>
                <a:gd name="T57" fmla="*/ 19 h 353"/>
                <a:gd name="T58" fmla="*/ 133 w 353"/>
                <a:gd name="T59" fmla="*/ 89 h 353"/>
                <a:gd name="T60" fmla="*/ 137 w 353"/>
                <a:gd name="T61" fmla="*/ 96 h 353"/>
                <a:gd name="T62" fmla="*/ 118 w 353"/>
                <a:gd name="T63" fmla="*/ 118 h 353"/>
                <a:gd name="T64" fmla="*/ 107 w 353"/>
                <a:gd name="T65" fmla="*/ 141 h 353"/>
                <a:gd name="T66" fmla="*/ 117 w 353"/>
                <a:gd name="T67" fmla="*/ 164 h 353"/>
                <a:gd name="T68" fmla="*/ 189 w 353"/>
                <a:gd name="T69" fmla="*/ 237 h 353"/>
                <a:gd name="T70" fmla="*/ 234 w 353"/>
                <a:gd name="T71" fmla="*/ 236 h 353"/>
                <a:gd name="T72" fmla="*/ 253 w 353"/>
                <a:gd name="T73" fmla="*/ 217 h 353"/>
                <a:gd name="T74" fmla="*/ 263 w 353"/>
                <a:gd name="T75" fmla="*/ 219 h 353"/>
                <a:gd name="T76" fmla="*/ 332 w 353"/>
                <a:gd name="T77" fmla="*/ 273 h 353"/>
                <a:gd name="T78" fmla="*/ 335 w 353"/>
                <a:gd name="T79" fmla="*/ 275 h 353"/>
                <a:gd name="T80" fmla="*/ 337 w 353"/>
                <a:gd name="T81" fmla="*/ 28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3" h="353">
                  <a:moveTo>
                    <a:pt x="193" y="16"/>
                  </a:moveTo>
                  <a:cubicBezTo>
                    <a:pt x="273" y="16"/>
                    <a:pt x="337" y="80"/>
                    <a:pt x="337" y="160"/>
                  </a:cubicBezTo>
                  <a:cubicBezTo>
                    <a:pt x="337" y="165"/>
                    <a:pt x="341" y="168"/>
                    <a:pt x="345" y="168"/>
                  </a:cubicBezTo>
                  <a:cubicBezTo>
                    <a:pt x="350" y="168"/>
                    <a:pt x="353" y="165"/>
                    <a:pt x="353" y="160"/>
                  </a:cubicBezTo>
                  <a:cubicBezTo>
                    <a:pt x="353" y="71"/>
                    <a:pt x="282" y="0"/>
                    <a:pt x="193" y="0"/>
                  </a:cubicBezTo>
                  <a:cubicBezTo>
                    <a:pt x="188" y="0"/>
                    <a:pt x="185" y="3"/>
                    <a:pt x="185" y="8"/>
                  </a:cubicBezTo>
                  <a:cubicBezTo>
                    <a:pt x="185" y="12"/>
                    <a:pt x="188" y="16"/>
                    <a:pt x="193" y="16"/>
                  </a:cubicBezTo>
                  <a:moveTo>
                    <a:pt x="193" y="96"/>
                  </a:moveTo>
                  <a:cubicBezTo>
                    <a:pt x="228" y="96"/>
                    <a:pt x="257" y="125"/>
                    <a:pt x="257" y="160"/>
                  </a:cubicBezTo>
                  <a:cubicBezTo>
                    <a:pt x="257" y="165"/>
                    <a:pt x="261" y="168"/>
                    <a:pt x="265" y="168"/>
                  </a:cubicBezTo>
                  <a:cubicBezTo>
                    <a:pt x="270" y="168"/>
                    <a:pt x="273" y="165"/>
                    <a:pt x="273" y="160"/>
                  </a:cubicBezTo>
                  <a:cubicBezTo>
                    <a:pt x="273" y="116"/>
                    <a:pt x="237" y="80"/>
                    <a:pt x="193" y="80"/>
                  </a:cubicBezTo>
                  <a:cubicBezTo>
                    <a:pt x="188" y="80"/>
                    <a:pt x="185" y="83"/>
                    <a:pt x="185" y="88"/>
                  </a:cubicBezTo>
                  <a:cubicBezTo>
                    <a:pt x="185" y="92"/>
                    <a:pt x="188" y="96"/>
                    <a:pt x="193" y="96"/>
                  </a:cubicBezTo>
                  <a:moveTo>
                    <a:pt x="193" y="176"/>
                  </a:moveTo>
                  <a:cubicBezTo>
                    <a:pt x="202" y="176"/>
                    <a:pt x="209" y="169"/>
                    <a:pt x="209" y="160"/>
                  </a:cubicBezTo>
                  <a:cubicBezTo>
                    <a:pt x="209" y="151"/>
                    <a:pt x="202" y="144"/>
                    <a:pt x="193" y="144"/>
                  </a:cubicBezTo>
                  <a:cubicBezTo>
                    <a:pt x="184" y="144"/>
                    <a:pt x="177" y="151"/>
                    <a:pt x="177" y="160"/>
                  </a:cubicBezTo>
                  <a:cubicBezTo>
                    <a:pt x="177" y="169"/>
                    <a:pt x="184" y="176"/>
                    <a:pt x="193" y="176"/>
                  </a:cubicBezTo>
                  <a:moveTo>
                    <a:pt x="353" y="280"/>
                  </a:moveTo>
                  <a:cubicBezTo>
                    <a:pt x="353" y="274"/>
                    <a:pt x="351" y="268"/>
                    <a:pt x="346" y="263"/>
                  </a:cubicBezTo>
                  <a:cubicBezTo>
                    <a:pt x="345" y="262"/>
                    <a:pt x="343" y="261"/>
                    <a:pt x="342" y="260"/>
                  </a:cubicBezTo>
                  <a:cubicBezTo>
                    <a:pt x="274" y="207"/>
                    <a:pt x="274" y="207"/>
                    <a:pt x="274" y="207"/>
                  </a:cubicBezTo>
                  <a:cubicBezTo>
                    <a:pt x="270" y="203"/>
                    <a:pt x="264" y="200"/>
                    <a:pt x="257" y="200"/>
                  </a:cubicBezTo>
                  <a:cubicBezTo>
                    <a:pt x="251" y="200"/>
                    <a:pt x="246" y="202"/>
                    <a:pt x="242" y="205"/>
                  </a:cubicBezTo>
                  <a:cubicBezTo>
                    <a:pt x="223" y="224"/>
                    <a:pt x="223" y="224"/>
                    <a:pt x="223" y="224"/>
                  </a:cubicBezTo>
                  <a:cubicBezTo>
                    <a:pt x="223" y="224"/>
                    <a:pt x="223" y="224"/>
                    <a:pt x="223" y="224"/>
                  </a:cubicBezTo>
                  <a:cubicBezTo>
                    <a:pt x="221" y="227"/>
                    <a:pt x="216" y="230"/>
                    <a:pt x="212" y="230"/>
                  </a:cubicBezTo>
                  <a:cubicBezTo>
                    <a:pt x="206" y="230"/>
                    <a:pt x="201" y="227"/>
                    <a:pt x="198" y="223"/>
                  </a:cubicBezTo>
                  <a:cubicBezTo>
                    <a:pt x="198" y="223"/>
                    <a:pt x="198" y="223"/>
                    <a:pt x="198" y="223"/>
                  </a:cubicBezTo>
                  <a:cubicBezTo>
                    <a:pt x="172" y="204"/>
                    <a:pt x="149" y="181"/>
                    <a:pt x="130" y="155"/>
                  </a:cubicBezTo>
                  <a:cubicBezTo>
                    <a:pt x="130" y="155"/>
                    <a:pt x="130" y="155"/>
                    <a:pt x="130" y="155"/>
                  </a:cubicBezTo>
                  <a:cubicBezTo>
                    <a:pt x="126" y="152"/>
                    <a:pt x="123" y="147"/>
                    <a:pt x="123" y="141"/>
                  </a:cubicBezTo>
                  <a:cubicBezTo>
                    <a:pt x="123" y="136"/>
                    <a:pt x="125" y="132"/>
                    <a:pt x="129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148" y="110"/>
                    <a:pt x="148" y="110"/>
                    <a:pt x="148" y="110"/>
                  </a:cubicBezTo>
                  <a:cubicBezTo>
                    <a:pt x="151" y="106"/>
                    <a:pt x="153" y="101"/>
                    <a:pt x="153" y="96"/>
                  </a:cubicBezTo>
                  <a:cubicBezTo>
                    <a:pt x="153" y="89"/>
                    <a:pt x="150" y="83"/>
                    <a:pt x="146" y="79"/>
                  </a:cubicBezTo>
                  <a:cubicBezTo>
                    <a:pt x="93" y="11"/>
                    <a:pt x="93" y="11"/>
                    <a:pt x="93" y="11"/>
                  </a:cubicBezTo>
                  <a:cubicBezTo>
                    <a:pt x="92" y="9"/>
                    <a:pt x="91" y="8"/>
                    <a:pt x="89" y="7"/>
                  </a:cubicBezTo>
                  <a:cubicBezTo>
                    <a:pt x="85" y="2"/>
                    <a:pt x="79" y="0"/>
                    <a:pt x="72" y="0"/>
                  </a:cubicBezTo>
                  <a:cubicBezTo>
                    <a:pt x="40" y="0"/>
                    <a:pt x="0" y="37"/>
                    <a:pt x="0" y="84"/>
                  </a:cubicBezTo>
                  <a:cubicBezTo>
                    <a:pt x="0" y="97"/>
                    <a:pt x="3" y="109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56" y="216"/>
                    <a:pt x="137" y="297"/>
                    <a:pt x="233" y="345"/>
                  </a:cubicBezTo>
                  <a:cubicBezTo>
                    <a:pt x="233" y="345"/>
                    <a:pt x="233" y="345"/>
                    <a:pt x="233" y="345"/>
                  </a:cubicBezTo>
                  <a:cubicBezTo>
                    <a:pt x="244" y="350"/>
                    <a:pt x="256" y="353"/>
                    <a:pt x="269" y="353"/>
                  </a:cubicBezTo>
                  <a:cubicBezTo>
                    <a:pt x="316" y="353"/>
                    <a:pt x="353" y="313"/>
                    <a:pt x="353" y="281"/>
                  </a:cubicBezTo>
                  <a:cubicBezTo>
                    <a:pt x="353" y="281"/>
                    <a:pt x="353" y="280"/>
                    <a:pt x="353" y="280"/>
                  </a:cubicBezTo>
                  <a:close/>
                  <a:moveTo>
                    <a:pt x="269" y="337"/>
                  </a:moveTo>
                  <a:cubicBezTo>
                    <a:pt x="259" y="337"/>
                    <a:pt x="249" y="335"/>
                    <a:pt x="240" y="330"/>
                  </a:cubicBezTo>
                  <a:cubicBezTo>
                    <a:pt x="239" y="330"/>
                    <a:pt x="238" y="329"/>
                    <a:pt x="237" y="329"/>
                  </a:cubicBezTo>
                  <a:cubicBezTo>
                    <a:pt x="146" y="283"/>
                    <a:pt x="70" y="207"/>
                    <a:pt x="24" y="116"/>
                  </a:cubicBezTo>
                  <a:cubicBezTo>
                    <a:pt x="24" y="115"/>
                    <a:pt x="23" y="114"/>
                    <a:pt x="23" y="113"/>
                  </a:cubicBezTo>
                  <a:cubicBezTo>
                    <a:pt x="18" y="104"/>
                    <a:pt x="16" y="94"/>
                    <a:pt x="16" y="84"/>
                  </a:cubicBezTo>
                  <a:cubicBezTo>
                    <a:pt x="16" y="45"/>
                    <a:pt x="50" y="16"/>
                    <a:pt x="72" y="16"/>
                  </a:cubicBezTo>
                  <a:cubicBezTo>
                    <a:pt x="75" y="16"/>
                    <a:pt x="77" y="17"/>
                    <a:pt x="78" y="18"/>
                  </a:cubicBezTo>
                  <a:cubicBezTo>
                    <a:pt x="78" y="18"/>
                    <a:pt x="79" y="19"/>
                    <a:pt x="79" y="19"/>
                  </a:cubicBezTo>
                  <a:cubicBezTo>
                    <a:pt x="79" y="20"/>
                    <a:pt x="80" y="20"/>
                    <a:pt x="80" y="21"/>
                  </a:cubicBezTo>
                  <a:cubicBezTo>
                    <a:pt x="133" y="89"/>
                    <a:pt x="133" y="89"/>
                    <a:pt x="133" y="89"/>
                  </a:cubicBezTo>
                  <a:cubicBezTo>
                    <a:pt x="133" y="89"/>
                    <a:pt x="134" y="90"/>
                    <a:pt x="134" y="90"/>
                  </a:cubicBezTo>
                  <a:cubicBezTo>
                    <a:pt x="135" y="91"/>
                    <a:pt x="137" y="93"/>
                    <a:pt x="137" y="96"/>
                  </a:cubicBezTo>
                  <a:cubicBezTo>
                    <a:pt x="137" y="97"/>
                    <a:pt x="136" y="99"/>
                    <a:pt x="135" y="100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117" y="118"/>
                    <a:pt x="117" y="118"/>
                    <a:pt x="117" y="118"/>
                  </a:cubicBezTo>
                  <a:cubicBezTo>
                    <a:pt x="111" y="124"/>
                    <a:pt x="107" y="132"/>
                    <a:pt x="107" y="141"/>
                  </a:cubicBezTo>
                  <a:cubicBezTo>
                    <a:pt x="107" y="150"/>
                    <a:pt x="110" y="158"/>
                    <a:pt x="116" y="163"/>
                  </a:cubicBezTo>
                  <a:cubicBezTo>
                    <a:pt x="116" y="164"/>
                    <a:pt x="116" y="164"/>
                    <a:pt x="117" y="164"/>
                  </a:cubicBezTo>
                  <a:cubicBezTo>
                    <a:pt x="136" y="192"/>
                    <a:pt x="161" y="216"/>
                    <a:pt x="189" y="236"/>
                  </a:cubicBezTo>
                  <a:cubicBezTo>
                    <a:pt x="189" y="236"/>
                    <a:pt x="189" y="236"/>
                    <a:pt x="189" y="237"/>
                  </a:cubicBezTo>
                  <a:cubicBezTo>
                    <a:pt x="195" y="242"/>
                    <a:pt x="203" y="246"/>
                    <a:pt x="212" y="246"/>
                  </a:cubicBezTo>
                  <a:cubicBezTo>
                    <a:pt x="220" y="246"/>
                    <a:pt x="228" y="242"/>
                    <a:pt x="234" y="236"/>
                  </a:cubicBezTo>
                  <a:cubicBezTo>
                    <a:pt x="234" y="236"/>
                    <a:pt x="235" y="236"/>
                    <a:pt x="235" y="236"/>
                  </a:cubicBezTo>
                  <a:cubicBezTo>
                    <a:pt x="253" y="217"/>
                    <a:pt x="253" y="217"/>
                    <a:pt x="253" y="217"/>
                  </a:cubicBezTo>
                  <a:cubicBezTo>
                    <a:pt x="254" y="217"/>
                    <a:pt x="255" y="216"/>
                    <a:pt x="257" y="216"/>
                  </a:cubicBezTo>
                  <a:cubicBezTo>
                    <a:pt x="260" y="216"/>
                    <a:pt x="262" y="218"/>
                    <a:pt x="263" y="219"/>
                  </a:cubicBezTo>
                  <a:cubicBezTo>
                    <a:pt x="263" y="219"/>
                    <a:pt x="264" y="219"/>
                    <a:pt x="264" y="220"/>
                  </a:cubicBezTo>
                  <a:cubicBezTo>
                    <a:pt x="332" y="273"/>
                    <a:pt x="332" y="273"/>
                    <a:pt x="332" y="273"/>
                  </a:cubicBezTo>
                  <a:cubicBezTo>
                    <a:pt x="332" y="273"/>
                    <a:pt x="333" y="273"/>
                    <a:pt x="333" y="274"/>
                  </a:cubicBezTo>
                  <a:cubicBezTo>
                    <a:pt x="334" y="274"/>
                    <a:pt x="335" y="275"/>
                    <a:pt x="335" y="275"/>
                  </a:cubicBezTo>
                  <a:cubicBezTo>
                    <a:pt x="336" y="276"/>
                    <a:pt x="337" y="278"/>
                    <a:pt x="337" y="280"/>
                  </a:cubicBezTo>
                  <a:cubicBezTo>
                    <a:pt x="337" y="281"/>
                    <a:pt x="337" y="281"/>
                    <a:pt x="337" y="282"/>
                  </a:cubicBezTo>
                  <a:cubicBezTo>
                    <a:pt x="336" y="304"/>
                    <a:pt x="307" y="337"/>
                    <a:pt x="269" y="3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5" name="Freeform 19"/>
            <p:cNvSpPr>
              <a:spLocks noEditPoints="1"/>
            </p:cNvSpPr>
            <p:nvPr/>
          </p:nvSpPr>
          <p:spPr bwMode="auto">
            <a:xfrm>
              <a:off x="4747408" y="1713777"/>
              <a:ext cx="223551" cy="142482"/>
            </a:xfrm>
            <a:custGeom>
              <a:avLst/>
              <a:gdLst>
                <a:gd name="T0" fmla="*/ 209 w 353"/>
                <a:gd name="T1" fmla="*/ 0 h 225"/>
                <a:gd name="T2" fmla="*/ 32 w 353"/>
                <a:gd name="T3" fmla="*/ 0 h 225"/>
                <a:gd name="T4" fmla="*/ 0 w 353"/>
                <a:gd name="T5" fmla="*/ 32 h 225"/>
                <a:gd name="T6" fmla="*/ 0 w 353"/>
                <a:gd name="T7" fmla="*/ 193 h 225"/>
                <a:gd name="T8" fmla="*/ 32 w 353"/>
                <a:gd name="T9" fmla="*/ 225 h 225"/>
                <a:gd name="T10" fmla="*/ 209 w 353"/>
                <a:gd name="T11" fmla="*/ 225 h 225"/>
                <a:gd name="T12" fmla="*/ 241 w 353"/>
                <a:gd name="T13" fmla="*/ 193 h 225"/>
                <a:gd name="T14" fmla="*/ 241 w 353"/>
                <a:gd name="T15" fmla="*/ 32 h 225"/>
                <a:gd name="T16" fmla="*/ 209 w 353"/>
                <a:gd name="T17" fmla="*/ 0 h 225"/>
                <a:gd name="T18" fmla="*/ 225 w 353"/>
                <a:gd name="T19" fmla="*/ 193 h 225"/>
                <a:gd name="T20" fmla="*/ 209 w 353"/>
                <a:gd name="T21" fmla="*/ 209 h 225"/>
                <a:gd name="T22" fmla="*/ 32 w 353"/>
                <a:gd name="T23" fmla="*/ 209 h 225"/>
                <a:gd name="T24" fmla="*/ 16 w 353"/>
                <a:gd name="T25" fmla="*/ 193 h 225"/>
                <a:gd name="T26" fmla="*/ 16 w 353"/>
                <a:gd name="T27" fmla="*/ 32 h 225"/>
                <a:gd name="T28" fmla="*/ 32 w 353"/>
                <a:gd name="T29" fmla="*/ 16 h 225"/>
                <a:gd name="T30" fmla="*/ 209 w 353"/>
                <a:gd name="T31" fmla="*/ 16 h 225"/>
                <a:gd name="T32" fmla="*/ 225 w 353"/>
                <a:gd name="T33" fmla="*/ 32 h 225"/>
                <a:gd name="T34" fmla="*/ 225 w 353"/>
                <a:gd name="T35" fmla="*/ 193 h 225"/>
                <a:gd name="T36" fmla="*/ 345 w 353"/>
                <a:gd name="T37" fmla="*/ 32 h 225"/>
                <a:gd name="T38" fmla="*/ 342 w 353"/>
                <a:gd name="T39" fmla="*/ 33 h 225"/>
                <a:gd name="T40" fmla="*/ 342 w 353"/>
                <a:gd name="T41" fmla="*/ 33 h 225"/>
                <a:gd name="T42" fmla="*/ 262 w 353"/>
                <a:gd name="T43" fmla="*/ 65 h 225"/>
                <a:gd name="T44" fmla="*/ 262 w 353"/>
                <a:gd name="T45" fmla="*/ 65 h 225"/>
                <a:gd name="T46" fmla="*/ 262 w 353"/>
                <a:gd name="T47" fmla="*/ 65 h 225"/>
                <a:gd name="T48" fmla="*/ 262 w 353"/>
                <a:gd name="T49" fmla="*/ 65 h 225"/>
                <a:gd name="T50" fmla="*/ 257 w 353"/>
                <a:gd name="T51" fmla="*/ 73 h 225"/>
                <a:gd name="T52" fmla="*/ 257 w 353"/>
                <a:gd name="T53" fmla="*/ 153 h 225"/>
                <a:gd name="T54" fmla="*/ 262 w 353"/>
                <a:gd name="T55" fmla="*/ 160 h 225"/>
                <a:gd name="T56" fmla="*/ 262 w 353"/>
                <a:gd name="T57" fmla="*/ 160 h 225"/>
                <a:gd name="T58" fmla="*/ 262 w 353"/>
                <a:gd name="T59" fmla="*/ 160 h 225"/>
                <a:gd name="T60" fmla="*/ 262 w 353"/>
                <a:gd name="T61" fmla="*/ 160 h 225"/>
                <a:gd name="T62" fmla="*/ 342 w 353"/>
                <a:gd name="T63" fmla="*/ 192 h 225"/>
                <a:gd name="T64" fmla="*/ 342 w 353"/>
                <a:gd name="T65" fmla="*/ 192 h 225"/>
                <a:gd name="T66" fmla="*/ 345 w 353"/>
                <a:gd name="T67" fmla="*/ 193 h 225"/>
                <a:gd name="T68" fmla="*/ 353 w 353"/>
                <a:gd name="T69" fmla="*/ 185 h 225"/>
                <a:gd name="T70" fmla="*/ 353 w 353"/>
                <a:gd name="T71" fmla="*/ 40 h 225"/>
                <a:gd name="T72" fmla="*/ 345 w 353"/>
                <a:gd name="T73" fmla="*/ 32 h 225"/>
                <a:gd name="T74" fmla="*/ 337 w 353"/>
                <a:gd name="T75" fmla="*/ 173 h 225"/>
                <a:gd name="T76" fmla="*/ 273 w 353"/>
                <a:gd name="T77" fmla="*/ 147 h 225"/>
                <a:gd name="T78" fmla="*/ 273 w 353"/>
                <a:gd name="T79" fmla="*/ 78 h 225"/>
                <a:gd name="T80" fmla="*/ 337 w 353"/>
                <a:gd name="T81" fmla="*/ 52 h 225"/>
                <a:gd name="T82" fmla="*/ 337 w 353"/>
                <a:gd name="T83" fmla="*/ 17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3" h="225">
                  <a:moveTo>
                    <a:pt x="209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5" y="0"/>
                    <a:pt x="0" y="15"/>
                    <a:pt x="0" y="32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11"/>
                    <a:pt x="15" y="225"/>
                    <a:pt x="32" y="225"/>
                  </a:cubicBezTo>
                  <a:cubicBezTo>
                    <a:pt x="209" y="225"/>
                    <a:pt x="209" y="225"/>
                    <a:pt x="209" y="225"/>
                  </a:cubicBezTo>
                  <a:cubicBezTo>
                    <a:pt x="227" y="225"/>
                    <a:pt x="241" y="211"/>
                    <a:pt x="241" y="193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41" y="15"/>
                    <a:pt x="227" y="0"/>
                    <a:pt x="209" y="0"/>
                  </a:cubicBezTo>
                  <a:moveTo>
                    <a:pt x="225" y="193"/>
                  </a:moveTo>
                  <a:cubicBezTo>
                    <a:pt x="225" y="202"/>
                    <a:pt x="218" y="209"/>
                    <a:pt x="209" y="209"/>
                  </a:cubicBezTo>
                  <a:cubicBezTo>
                    <a:pt x="32" y="209"/>
                    <a:pt x="32" y="209"/>
                    <a:pt x="32" y="209"/>
                  </a:cubicBezTo>
                  <a:cubicBezTo>
                    <a:pt x="23" y="209"/>
                    <a:pt x="16" y="202"/>
                    <a:pt x="16" y="193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4"/>
                    <a:pt x="23" y="16"/>
                    <a:pt x="32" y="16"/>
                  </a:cubicBezTo>
                  <a:cubicBezTo>
                    <a:pt x="209" y="16"/>
                    <a:pt x="209" y="16"/>
                    <a:pt x="209" y="16"/>
                  </a:cubicBezTo>
                  <a:cubicBezTo>
                    <a:pt x="218" y="16"/>
                    <a:pt x="225" y="24"/>
                    <a:pt x="225" y="32"/>
                  </a:cubicBezTo>
                  <a:lnTo>
                    <a:pt x="225" y="193"/>
                  </a:lnTo>
                  <a:close/>
                  <a:moveTo>
                    <a:pt x="345" y="32"/>
                  </a:moveTo>
                  <a:cubicBezTo>
                    <a:pt x="344" y="32"/>
                    <a:pt x="343" y="33"/>
                    <a:pt x="342" y="33"/>
                  </a:cubicBezTo>
                  <a:cubicBezTo>
                    <a:pt x="342" y="33"/>
                    <a:pt x="342" y="33"/>
                    <a:pt x="342" y="33"/>
                  </a:cubicBezTo>
                  <a:cubicBezTo>
                    <a:pt x="262" y="65"/>
                    <a:pt x="262" y="65"/>
                    <a:pt x="262" y="65"/>
                  </a:cubicBezTo>
                  <a:cubicBezTo>
                    <a:pt x="262" y="65"/>
                    <a:pt x="262" y="65"/>
                    <a:pt x="262" y="65"/>
                  </a:cubicBezTo>
                  <a:cubicBezTo>
                    <a:pt x="262" y="65"/>
                    <a:pt x="262" y="65"/>
                    <a:pt x="262" y="65"/>
                  </a:cubicBezTo>
                  <a:cubicBezTo>
                    <a:pt x="262" y="65"/>
                    <a:pt x="262" y="65"/>
                    <a:pt x="262" y="65"/>
                  </a:cubicBezTo>
                  <a:cubicBezTo>
                    <a:pt x="259" y="67"/>
                    <a:pt x="257" y="69"/>
                    <a:pt x="257" y="73"/>
                  </a:cubicBezTo>
                  <a:cubicBezTo>
                    <a:pt x="257" y="153"/>
                    <a:pt x="257" y="153"/>
                    <a:pt x="257" y="153"/>
                  </a:cubicBezTo>
                  <a:cubicBezTo>
                    <a:pt x="257" y="156"/>
                    <a:pt x="259" y="159"/>
                    <a:pt x="262" y="160"/>
                  </a:cubicBezTo>
                  <a:cubicBezTo>
                    <a:pt x="262" y="160"/>
                    <a:pt x="262" y="160"/>
                    <a:pt x="262" y="160"/>
                  </a:cubicBezTo>
                  <a:cubicBezTo>
                    <a:pt x="262" y="160"/>
                    <a:pt x="262" y="160"/>
                    <a:pt x="262" y="160"/>
                  </a:cubicBezTo>
                  <a:cubicBezTo>
                    <a:pt x="262" y="160"/>
                    <a:pt x="262" y="160"/>
                    <a:pt x="262" y="160"/>
                  </a:cubicBezTo>
                  <a:cubicBezTo>
                    <a:pt x="342" y="192"/>
                    <a:pt x="342" y="192"/>
                    <a:pt x="342" y="192"/>
                  </a:cubicBezTo>
                  <a:cubicBezTo>
                    <a:pt x="342" y="192"/>
                    <a:pt x="342" y="192"/>
                    <a:pt x="342" y="192"/>
                  </a:cubicBezTo>
                  <a:cubicBezTo>
                    <a:pt x="343" y="193"/>
                    <a:pt x="344" y="193"/>
                    <a:pt x="345" y="193"/>
                  </a:cubicBezTo>
                  <a:cubicBezTo>
                    <a:pt x="350" y="193"/>
                    <a:pt x="353" y="189"/>
                    <a:pt x="353" y="185"/>
                  </a:cubicBezTo>
                  <a:cubicBezTo>
                    <a:pt x="353" y="40"/>
                    <a:pt x="353" y="40"/>
                    <a:pt x="353" y="40"/>
                  </a:cubicBezTo>
                  <a:cubicBezTo>
                    <a:pt x="353" y="36"/>
                    <a:pt x="350" y="32"/>
                    <a:pt x="345" y="32"/>
                  </a:cubicBezTo>
                  <a:moveTo>
                    <a:pt x="337" y="173"/>
                  </a:moveTo>
                  <a:cubicBezTo>
                    <a:pt x="273" y="147"/>
                    <a:pt x="273" y="147"/>
                    <a:pt x="273" y="147"/>
                  </a:cubicBezTo>
                  <a:cubicBezTo>
                    <a:pt x="273" y="78"/>
                    <a:pt x="273" y="78"/>
                    <a:pt x="273" y="78"/>
                  </a:cubicBezTo>
                  <a:cubicBezTo>
                    <a:pt x="337" y="52"/>
                    <a:pt x="337" y="52"/>
                    <a:pt x="337" y="52"/>
                  </a:cubicBezTo>
                  <a:lnTo>
                    <a:pt x="337" y="1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6" name="Freeform 84"/>
            <p:cNvSpPr>
              <a:spLocks noEditPoints="1"/>
            </p:cNvSpPr>
            <p:nvPr/>
          </p:nvSpPr>
          <p:spPr bwMode="auto">
            <a:xfrm>
              <a:off x="4044286" y="3343134"/>
              <a:ext cx="222732" cy="222732"/>
            </a:xfrm>
            <a:custGeom>
              <a:avLst/>
              <a:gdLst>
                <a:gd name="T0" fmla="*/ 324 w 353"/>
                <a:gd name="T1" fmla="*/ 137 h 353"/>
                <a:gd name="T2" fmla="*/ 318 w 353"/>
                <a:gd name="T3" fmla="*/ 85 h 353"/>
                <a:gd name="T4" fmla="*/ 285 w 353"/>
                <a:gd name="T5" fmla="*/ 35 h 353"/>
                <a:gd name="T6" fmla="*/ 268 w 353"/>
                <a:gd name="T7" fmla="*/ 35 h 353"/>
                <a:gd name="T8" fmla="*/ 216 w 353"/>
                <a:gd name="T9" fmla="*/ 29 h 353"/>
                <a:gd name="T10" fmla="*/ 200 w 353"/>
                <a:gd name="T11" fmla="*/ 0 h 353"/>
                <a:gd name="T12" fmla="*/ 141 w 353"/>
                <a:gd name="T13" fmla="*/ 12 h 353"/>
                <a:gd name="T14" fmla="*/ 100 w 353"/>
                <a:gd name="T15" fmla="*/ 44 h 353"/>
                <a:gd name="T16" fmla="*/ 76 w 353"/>
                <a:gd name="T17" fmla="*/ 32 h 353"/>
                <a:gd name="T18" fmla="*/ 35 w 353"/>
                <a:gd name="T19" fmla="*/ 68 h 353"/>
                <a:gd name="T20" fmla="*/ 44 w 353"/>
                <a:gd name="T21" fmla="*/ 100 h 353"/>
                <a:gd name="T22" fmla="*/ 12 w 353"/>
                <a:gd name="T23" fmla="*/ 141 h 353"/>
                <a:gd name="T24" fmla="*/ 0 w 353"/>
                <a:gd name="T25" fmla="*/ 200 h 353"/>
                <a:gd name="T26" fmla="*/ 29 w 353"/>
                <a:gd name="T27" fmla="*/ 216 h 353"/>
                <a:gd name="T28" fmla="*/ 35 w 353"/>
                <a:gd name="T29" fmla="*/ 268 h 353"/>
                <a:gd name="T30" fmla="*/ 68 w 353"/>
                <a:gd name="T31" fmla="*/ 318 h 353"/>
                <a:gd name="T32" fmla="*/ 85 w 353"/>
                <a:gd name="T33" fmla="*/ 318 h 353"/>
                <a:gd name="T34" fmla="*/ 137 w 353"/>
                <a:gd name="T35" fmla="*/ 324 h 353"/>
                <a:gd name="T36" fmla="*/ 153 w 353"/>
                <a:gd name="T37" fmla="*/ 353 h 353"/>
                <a:gd name="T38" fmla="*/ 212 w 353"/>
                <a:gd name="T39" fmla="*/ 341 h 353"/>
                <a:gd name="T40" fmla="*/ 253 w 353"/>
                <a:gd name="T41" fmla="*/ 309 h 353"/>
                <a:gd name="T42" fmla="*/ 278 w 353"/>
                <a:gd name="T43" fmla="*/ 321 h 353"/>
                <a:gd name="T44" fmla="*/ 318 w 353"/>
                <a:gd name="T45" fmla="*/ 285 h 353"/>
                <a:gd name="T46" fmla="*/ 309 w 353"/>
                <a:gd name="T47" fmla="*/ 253 h 353"/>
                <a:gd name="T48" fmla="*/ 341 w 353"/>
                <a:gd name="T49" fmla="*/ 212 h 353"/>
                <a:gd name="T50" fmla="*/ 353 w 353"/>
                <a:gd name="T51" fmla="*/ 153 h 353"/>
                <a:gd name="T52" fmla="*/ 337 w 353"/>
                <a:gd name="T53" fmla="*/ 196 h 353"/>
                <a:gd name="T54" fmla="*/ 320 w 353"/>
                <a:gd name="T55" fmla="*/ 200 h 353"/>
                <a:gd name="T56" fmla="*/ 295 w 353"/>
                <a:gd name="T57" fmla="*/ 245 h 353"/>
                <a:gd name="T58" fmla="*/ 304 w 353"/>
                <a:gd name="T59" fmla="*/ 276 h 353"/>
                <a:gd name="T60" fmla="*/ 276 w 353"/>
                <a:gd name="T61" fmla="*/ 304 h 353"/>
                <a:gd name="T62" fmla="*/ 253 w 353"/>
                <a:gd name="T63" fmla="*/ 293 h 353"/>
                <a:gd name="T64" fmla="*/ 212 w 353"/>
                <a:gd name="T65" fmla="*/ 309 h 353"/>
                <a:gd name="T66" fmla="*/ 196 w 353"/>
                <a:gd name="T67" fmla="*/ 337 h 353"/>
                <a:gd name="T68" fmla="*/ 157 w 353"/>
                <a:gd name="T69" fmla="*/ 337 h 353"/>
                <a:gd name="T70" fmla="*/ 141 w 353"/>
                <a:gd name="T71" fmla="*/ 309 h 353"/>
                <a:gd name="T72" fmla="*/ 100 w 353"/>
                <a:gd name="T73" fmla="*/ 293 h 353"/>
                <a:gd name="T74" fmla="*/ 77 w 353"/>
                <a:gd name="T75" fmla="*/ 304 h 353"/>
                <a:gd name="T76" fmla="*/ 49 w 353"/>
                <a:gd name="T77" fmla="*/ 276 h 353"/>
                <a:gd name="T78" fmla="*/ 58 w 353"/>
                <a:gd name="T79" fmla="*/ 245 h 353"/>
                <a:gd name="T80" fmla="*/ 33 w 353"/>
                <a:gd name="T81" fmla="*/ 200 h 353"/>
                <a:gd name="T82" fmla="*/ 16 w 353"/>
                <a:gd name="T83" fmla="*/ 196 h 353"/>
                <a:gd name="T84" fmla="*/ 33 w 353"/>
                <a:gd name="T85" fmla="*/ 152 h 353"/>
                <a:gd name="T86" fmla="*/ 58 w 353"/>
                <a:gd name="T87" fmla="*/ 108 h 353"/>
                <a:gd name="T88" fmla="*/ 49 w 353"/>
                <a:gd name="T89" fmla="*/ 77 h 353"/>
                <a:gd name="T90" fmla="*/ 77 w 353"/>
                <a:gd name="T91" fmla="*/ 49 h 353"/>
                <a:gd name="T92" fmla="*/ 100 w 353"/>
                <a:gd name="T93" fmla="*/ 60 h 353"/>
                <a:gd name="T94" fmla="*/ 141 w 353"/>
                <a:gd name="T95" fmla="*/ 44 h 353"/>
                <a:gd name="T96" fmla="*/ 157 w 353"/>
                <a:gd name="T97" fmla="*/ 16 h 353"/>
                <a:gd name="T98" fmla="*/ 196 w 353"/>
                <a:gd name="T99" fmla="*/ 16 h 353"/>
                <a:gd name="T100" fmla="*/ 212 w 353"/>
                <a:gd name="T101" fmla="*/ 44 h 353"/>
                <a:gd name="T102" fmla="*/ 253 w 353"/>
                <a:gd name="T103" fmla="*/ 60 h 353"/>
                <a:gd name="T104" fmla="*/ 276 w 353"/>
                <a:gd name="T105" fmla="*/ 49 h 353"/>
                <a:gd name="T106" fmla="*/ 304 w 353"/>
                <a:gd name="T107" fmla="*/ 77 h 353"/>
                <a:gd name="T108" fmla="*/ 295 w 353"/>
                <a:gd name="T109" fmla="*/ 108 h 353"/>
                <a:gd name="T110" fmla="*/ 320 w 353"/>
                <a:gd name="T111" fmla="*/ 152 h 353"/>
                <a:gd name="T112" fmla="*/ 337 w 353"/>
                <a:gd name="T113" fmla="*/ 196 h 353"/>
                <a:gd name="T114" fmla="*/ 96 w 353"/>
                <a:gd name="T115" fmla="*/ 176 h 353"/>
                <a:gd name="T116" fmla="*/ 257 w 353"/>
                <a:gd name="T117" fmla="*/ 176 h 353"/>
                <a:gd name="T118" fmla="*/ 176 w 353"/>
                <a:gd name="T119" fmla="*/ 241 h 353"/>
                <a:gd name="T120" fmla="*/ 176 w 353"/>
                <a:gd name="T121" fmla="*/ 112 h 353"/>
                <a:gd name="T122" fmla="*/ 176 w 353"/>
                <a:gd name="T123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41" y="141"/>
                  </a:moveTo>
                  <a:cubicBezTo>
                    <a:pt x="324" y="137"/>
                    <a:pt x="324" y="137"/>
                    <a:pt x="324" y="137"/>
                  </a:cubicBezTo>
                  <a:cubicBezTo>
                    <a:pt x="321" y="124"/>
                    <a:pt x="316" y="111"/>
                    <a:pt x="309" y="100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21" y="79"/>
                    <a:pt x="323" y="73"/>
                    <a:pt x="318" y="68"/>
                  </a:cubicBezTo>
                  <a:cubicBezTo>
                    <a:pt x="285" y="35"/>
                    <a:pt x="285" y="35"/>
                    <a:pt x="285" y="35"/>
                  </a:cubicBezTo>
                  <a:cubicBezTo>
                    <a:pt x="283" y="33"/>
                    <a:pt x="280" y="32"/>
                    <a:pt x="277" y="32"/>
                  </a:cubicBezTo>
                  <a:cubicBezTo>
                    <a:pt x="274" y="32"/>
                    <a:pt x="271" y="33"/>
                    <a:pt x="268" y="35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41" y="37"/>
                    <a:pt x="229" y="32"/>
                    <a:pt x="216" y="29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6"/>
                    <a:pt x="207" y="0"/>
                    <a:pt x="20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6" y="0"/>
                    <a:pt x="143" y="6"/>
                    <a:pt x="141" y="12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24" y="32"/>
                    <a:pt x="112" y="37"/>
                    <a:pt x="100" y="44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2" y="33"/>
                    <a:pt x="79" y="32"/>
                    <a:pt x="76" y="32"/>
                  </a:cubicBezTo>
                  <a:cubicBezTo>
                    <a:pt x="73" y="32"/>
                    <a:pt x="70" y="33"/>
                    <a:pt x="68" y="3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0" y="73"/>
                    <a:pt x="32" y="79"/>
                    <a:pt x="35" y="85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37" y="111"/>
                    <a:pt x="32" y="124"/>
                    <a:pt x="29" y="137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6" y="143"/>
                    <a:pt x="0" y="146"/>
                    <a:pt x="0" y="15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6"/>
                    <a:pt x="6" y="210"/>
                    <a:pt x="12" y="212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32" y="229"/>
                    <a:pt x="37" y="241"/>
                    <a:pt x="44" y="253"/>
                  </a:cubicBezTo>
                  <a:cubicBezTo>
                    <a:pt x="35" y="268"/>
                    <a:pt x="35" y="268"/>
                    <a:pt x="35" y="268"/>
                  </a:cubicBezTo>
                  <a:cubicBezTo>
                    <a:pt x="32" y="273"/>
                    <a:pt x="30" y="280"/>
                    <a:pt x="35" y="285"/>
                  </a:cubicBezTo>
                  <a:cubicBezTo>
                    <a:pt x="68" y="318"/>
                    <a:pt x="68" y="318"/>
                    <a:pt x="68" y="318"/>
                  </a:cubicBezTo>
                  <a:cubicBezTo>
                    <a:pt x="70" y="320"/>
                    <a:pt x="73" y="321"/>
                    <a:pt x="75" y="321"/>
                  </a:cubicBezTo>
                  <a:cubicBezTo>
                    <a:pt x="79" y="321"/>
                    <a:pt x="82" y="319"/>
                    <a:pt x="85" y="318"/>
                  </a:cubicBezTo>
                  <a:cubicBezTo>
                    <a:pt x="100" y="309"/>
                    <a:pt x="100" y="309"/>
                    <a:pt x="100" y="309"/>
                  </a:cubicBezTo>
                  <a:cubicBezTo>
                    <a:pt x="112" y="315"/>
                    <a:pt x="124" y="321"/>
                    <a:pt x="137" y="324"/>
                  </a:cubicBezTo>
                  <a:cubicBezTo>
                    <a:pt x="141" y="341"/>
                    <a:pt x="141" y="341"/>
                    <a:pt x="141" y="341"/>
                  </a:cubicBezTo>
                  <a:cubicBezTo>
                    <a:pt x="143" y="347"/>
                    <a:pt x="146" y="353"/>
                    <a:pt x="153" y="353"/>
                  </a:cubicBezTo>
                  <a:cubicBezTo>
                    <a:pt x="200" y="353"/>
                    <a:pt x="200" y="353"/>
                    <a:pt x="200" y="353"/>
                  </a:cubicBezTo>
                  <a:cubicBezTo>
                    <a:pt x="207" y="353"/>
                    <a:pt x="210" y="347"/>
                    <a:pt x="212" y="341"/>
                  </a:cubicBezTo>
                  <a:cubicBezTo>
                    <a:pt x="216" y="324"/>
                    <a:pt x="216" y="324"/>
                    <a:pt x="216" y="324"/>
                  </a:cubicBezTo>
                  <a:cubicBezTo>
                    <a:pt x="229" y="321"/>
                    <a:pt x="241" y="315"/>
                    <a:pt x="253" y="309"/>
                  </a:cubicBezTo>
                  <a:cubicBezTo>
                    <a:pt x="268" y="318"/>
                    <a:pt x="268" y="318"/>
                    <a:pt x="268" y="318"/>
                  </a:cubicBezTo>
                  <a:cubicBezTo>
                    <a:pt x="271" y="319"/>
                    <a:pt x="275" y="321"/>
                    <a:pt x="278" y="321"/>
                  </a:cubicBezTo>
                  <a:cubicBezTo>
                    <a:pt x="280" y="321"/>
                    <a:pt x="283" y="320"/>
                    <a:pt x="285" y="318"/>
                  </a:cubicBezTo>
                  <a:cubicBezTo>
                    <a:pt x="318" y="285"/>
                    <a:pt x="318" y="285"/>
                    <a:pt x="318" y="285"/>
                  </a:cubicBezTo>
                  <a:cubicBezTo>
                    <a:pt x="323" y="280"/>
                    <a:pt x="321" y="273"/>
                    <a:pt x="318" y="268"/>
                  </a:cubicBezTo>
                  <a:cubicBezTo>
                    <a:pt x="309" y="253"/>
                    <a:pt x="309" y="253"/>
                    <a:pt x="309" y="253"/>
                  </a:cubicBezTo>
                  <a:cubicBezTo>
                    <a:pt x="316" y="241"/>
                    <a:pt x="321" y="229"/>
                    <a:pt x="324" y="216"/>
                  </a:cubicBezTo>
                  <a:cubicBezTo>
                    <a:pt x="341" y="212"/>
                    <a:pt x="341" y="212"/>
                    <a:pt x="341" y="212"/>
                  </a:cubicBezTo>
                  <a:cubicBezTo>
                    <a:pt x="347" y="210"/>
                    <a:pt x="353" y="206"/>
                    <a:pt x="353" y="200"/>
                  </a:cubicBezTo>
                  <a:cubicBezTo>
                    <a:pt x="353" y="153"/>
                    <a:pt x="353" y="153"/>
                    <a:pt x="353" y="153"/>
                  </a:cubicBezTo>
                  <a:cubicBezTo>
                    <a:pt x="353" y="146"/>
                    <a:pt x="347" y="143"/>
                    <a:pt x="341" y="141"/>
                  </a:cubicBezTo>
                  <a:moveTo>
                    <a:pt x="337" y="196"/>
                  </a:moveTo>
                  <a:cubicBezTo>
                    <a:pt x="337" y="196"/>
                    <a:pt x="337" y="196"/>
                    <a:pt x="337" y="196"/>
                  </a:cubicBezTo>
                  <a:cubicBezTo>
                    <a:pt x="320" y="200"/>
                    <a:pt x="320" y="200"/>
                    <a:pt x="320" y="200"/>
                  </a:cubicBezTo>
                  <a:cubicBezTo>
                    <a:pt x="315" y="202"/>
                    <a:pt x="310" y="206"/>
                    <a:pt x="309" y="212"/>
                  </a:cubicBezTo>
                  <a:cubicBezTo>
                    <a:pt x="306" y="223"/>
                    <a:pt x="301" y="234"/>
                    <a:pt x="295" y="245"/>
                  </a:cubicBezTo>
                  <a:cubicBezTo>
                    <a:pt x="292" y="250"/>
                    <a:pt x="292" y="256"/>
                    <a:pt x="295" y="261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61" y="295"/>
                    <a:pt x="261" y="295"/>
                    <a:pt x="261" y="295"/>
                  </a:cubicBezTo>
                  <a:cubicBezTo>
                    <a:pt x="259" y="294"/>
                    <a:pt x="256" y="293"/>
                    <a:pt x="253" y="293"/>
                  </a:cubicBezTo>
                  <a:cubicBezTo>
                    <a:pt x="250" y="293"/>
                    <a:pt x="247" y="293"/>
                    <a:pt x="245" y="295"/>
                  </a:cubicBezTo>
                  <a:cubicBezTo>
                    <a:pt x="235" y="301"/>
                    <a:pt x="223" y="305"/>
                    <a:pt x="212" y="309"/>
                  </a:cubicBezTo>
                  <a:cubicBezTo>
                    <a:pt x="206" y="310"/>
                    <a:pt x="202" y="315"/>
                    <a:pt x="201" y="320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57" y="337"/>
                    <a:pt x="157" y="337"/>
                    <a:pt x="157" y="337"/>
                  </a:cubicBezTo>
                  <a:cubicBezTo>
                    <a:pt x="152" y="320"/>
                    <a:pt x="152" y="320"/>
                    <a:pt x="152" y="320"/>
                  </a:cubicBezTo>
                  <a:cubicBezTo>
                    <a:pt x="151" y="315"/>
                    <a:pt x="147" y="310"/>
                    <a:pt x="141" y="309"/>
                  </a:cubicBezTo>
                  <a:cubicBezTo>
                    <a:pt x="130" y="305"/>
                    <a:pt x="118" y="301"/>
                    <a:pt x="108" y="295"/>
                  </a:cubicBezTo>
                  <a:cubicBezTo>
                    <a:pt x="106" y="293"/>
                    <a:pt x="103" y="293"/>
                    <a:pt x="100" y="293"/>
                  </a:cubicBezTo>
                  <a:cubicBezTo>
                    <a:pt x="97" y="293"/>
                    <a:pt x="94" y="294"/>
                    <a:pt x="92" y="295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49" y="276"/>
                    <a:pt x="49" y="276"/>
                    <a:pt x="49" y="276"/>
                  </a:cubicBezTo>
                  <a:cubicBezTo>
                    <a:pt x="58" y="261"/>
                    <a:pt x="58" y="261"/>
                    <a:pt x="58" y="261"/>
                  </a:cubicBezTo>
                  <a:cubicBezTo>
                    <a:pt x="61" y="256"/>
                    <a:pt x="61" y="250"/>
                    <a:pt x="58" y="245"/>
                  </a:cubicBezTo>
                  <a:cubicBezTo>
                    <a:pt x="52" y="234"/>
                    <a:pt x="47" y="223"/>
                    <a:pt x="44" y="212"/>
                  </a:cubicBezTo>
                  <a:cubicBezTo>
                    <a:pt x="43" y="206"/>
                    <a:pt x="38" y="202"/>
                    <a:pt x="33" y="200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33" y="152"/>
                    <a:pt x="33" y="152"/>
                    <a:pt x="33" y="152"/>
                  </a:cubicBezTo>
                  <a:cubicBezTo>
                    <a:pt x="38" y="151"/>
                    <a:pt x="43" y="147"/>
                    <a:pt x="44" y="141"/>
                  </a:cubicBezTo>
                  <a:cubicBezTo>
                    <a:pt x="47" y="129"/>
                    <a:pt x="52" y="118"/>
                    <a:pt x="58" y="108"/>
                  </a:cubicBezTo>
                  <a:cubicBezTo>
                    <a:pt x="61" y="103"/>
                    <a:pt x="61" y="97"/>
                    <a:pt x="58" y="92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4" y="59"/>
                    <a:pt x="97" y="60"/>
                    <a:pt x="100" y="60"/>
                  </a:cubicBezTo>
                  <a:cubicBezTo>
                    <a:pt x="103" y="60"/>
                    <a:pt x="106" y="59"/>
                    <a:pt x="108" y="58"/>
                  </a:cubicBezTo>
                  <a:cubicBezTo>
                    <a:pt x="118" y="52"/>
                    <a:pt x="130" y="47"/>
                    <a:pt x="141" y="44"/>
                  </a:cubicBezTo>
                  <a:cubicBezTo>
                    <a:pt x="147" y="43"/>
                    <a:pt x="151" y="38"/>
                    <a:pt x="152" y="33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01" y="33"/>
                    <a:pt x="201" y="33"/>
                    <a:pt x="201" y="33"/>
                  </a:cubicBezTo>
                  <a:cubicBezTo>
                    <a:pt x="202" y="38"/>
                    <a:pt x="206" y="43"/>
                    <a:pt x="212" y="44"/>
                  </a:cubicBezTo>
                  <a:cubicBezTo>
                    <a:pt x="223" y="47"/>
                    <a:pt x="235" y="52"/>
                    <a:pt x="245" y="58"/>
                  </a:cubicBezTo>
                  <a:cubicBezTo>
                    <a:pt x="247" y="59"/>
                    <a:pt x="250" y="60"/>
                    <a:pt x="253" y="60"/>
                  </a:cubicBezTo>
                  <a:cubicBezTo>
                    <a:pt x="256" y="60"/>
                    <a:pt x="259" y="59"/>
                    <a:pt x="261" y="58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295" y="92"/>
                    <a:pt x="295" y="92"/>
                    <a:pt x="295" y="92"/>
                  </a:cubicBezTo>
                  <a:cubicBezTo>
                    <a:pt x="292" y="97"/>
                    <a:pt x="292" y="103"/>
                    <a:pt x="295" y="108"/>
                  </a:cubicBezTo>
                  <a:cubicBezTo>
                    <a:pt x="301" y="118"/>
                    <a:pt x="306" y="129"/>
                    <a:pt x="309" y="141"/>
                  </a:cubicBezTo>
                  <a:cubicBezTo>
                    <a:pt x="310" y="147"/>
                    <a:pt x="315" y="151"/>
                    <a:pt x="320" y="152"/>
                  </a:cubicBezTo>
                  <a:cubicBezTo>
                    <a:pt x="337" y="157"/>
                    <a:pt x="337" y="157"/>
                    <a:pt x="337" y="157"/>
                  </a:cubicBezTo>
                  <a:lnTo>
                    <a:pt x="337" y="196"/>
                  </a:lnTo>
                  <a:close/>
                  <a:moveTo>
                    <a:pt x="176" y="96"/>
                  </a:moveTo>
                  <a:cubicBezTo>
                    <a:pt x="132" y="96"/>
                    <a:pt x="96" y="132"/>
                    <a:pt x="96" y="176"/>
                  </a:cubicBezTo>
                  <a:cubicBezTo>
                    <a:pt x="96" y="221"/>
                    <a:pt x="132" y="257"/>
                    <a:pt x="176" y="257"/>
                  </a:cubicBezTo>
                  <a:cubicBezTo>
                    <a:pt x="221" y="257"/>
                    <a:pt x="257" y="221"/>
                    <a:pt x="257" y="176"/>
                  </a:cubicBezTo>
                  <a:cubicBezTo>
                    <a:pt x="257" y="132"/>
                    <a:pt x="221" y="96"/>
                    <a:pt x="176" y="96"/>
                  </a:cubicBezTo>
                  <a:moveTo>
                    <a:pt x="176" y="241"/>
                  </a:moveTo>
                  <a:cubicBezTo>
                    <a:pt x="141" y="241"/>
                    <a:pt x="112" y="212"/>
                    <a:pt x="112" y="176"/>
                  </a:cubicBezTo>
                  <a:cubicBezTo>
                    <a:pt x="112" y="141"/>
                    <a:pt x="141" y="112"/>
                    <a:pt x="176" y="112"/>
                  </a:cubicBezTo>
                  <a:cubicBezTo>
                    <a:pt x="212" y="112"/>
                    <a:pt x="241" y="141"/>
                    <a:pt x="241" y="176"/>
                  </a:cubicBezTo>
                  <a:cubicBezTo>
                    <a:pt x="241" y="212"/>
                    <a:pt x="212" y="241"/>
                    <a:pt x="176" y="2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7" name="Freeform 111"/>
            <p:cNvSpPr>
              <a:spLocks noEditPoints="1"/>
            </p:cNvSpPr>
            <p:nvPr/>
          </p:nvSpPr>
          <p:spPr bwMode="auto">
            <a:xfrm>
              <a:off x="4817322" y="2508393"/>
              <a:ext cx="225189" cy="222732"/>
            </a:xfrm>
            <a:custGeom>
              <a:avLst/>
              <a:gdLst>
                <a:gd name="T0" fmla="*/ 340 w 358"/>
                <a:gd name="T1" fmla="*/ 70 h 353"/>
                <a:gd name="T2" fmla="*/ 333 w 358"/>
                <a:gd name="T3" fmla="*/ 76 h 353"/>
                <a:gd name="T4" fmla="*/ 333 w 358"/>
                <a:gd name="T5" fmla="*/ 76 h 353"/>
                <a:gd name="T6" fmla="*/ 293 w 358"/>
                <a:gd name="T7" fmla="*/ 117 h 353"/>
                <a:gd name="T8" fmla="*/ 293 w 358"/>
                <a:gd name="T9" fmla="*/ 116 h 353"/>
                <a:gd name="T10" fmla="*/ 265 w 358"/>
                <a:gd name="T11" fmla="*/ 128 h 353"/>
                <a:gd name="T12" fmla="*/ 225 w 358"/>
                <a:gd name="T13" fmla="*/ 88 h 353"/>
                <a:gd name="T14" fmla="*/ 236 w 358"/>
                <a:gd name="T15" fmla="*/ 60 h 353"/>
                <a:gd name="T16" fmla="*/ 225 w 358"/>
                <a:gd name="T17" fmla="*/ 48 h 353"/>
                <a:gd name="T18" fmla="*/ 209 w 358"/>
                <a:gd name="T19" fmla="*/ 88 h 353"/>
                <a:gd name="T20" fmla="*/ 265 w 358"/>
                <a:gd name="T21" fmla="*/ 144 h 353"/>
                <a:gd name="T22" fmla="*/ 304 w 358"/>
                <a:gd name="T23" fmla="*/ 128 h 353"/>
                <a:gd name="T24" fmla="*/ 305 w 358"/>
                <a:gd name="T25" fmla="*/ 128 h 353"/>
                <a:gd name="T26" fmla="*/ 334 w 358"/>
                <a:gd name="T27" fmla="*/ 98 h 353"/>
                <a:gd name="T28" fmla="*/ 324 w 358"/>
                <a:gd name="T29" fmla="*/ 155 h 353"/>
                <a:gd name="T30" fmla="*/ 281 w 358"/>
                <a:gd name="T31" fmla="*/ 199 h 353"/>
                <a:gd name="T32" fmla="*/ 259 w 358"/>
                <a:gd name="T33" fmla="*/ 209 h 353"/>
                <a:gd name="T34" fmla="*/ 204 w 358"/>
                <a:gd name="T35" fmla="*/ 190 h 353"/>
                <a:gd name="T36" fmla="*/ 204 w 358"/>
                <a:gd name="T37" fmla="*/ 190 h 353"/>
                <a:gd name="T38" fmla="*/ 200 w 358"/>
                <a:gd name="T39" fmla="*/ 188 h 353"/>
                <a:gd name="T40" fmla="*/ 194 w 358"/>
                <a:gd name="T41" fmla="*/ 192 h 353"/>
                <a:gd name="T42" fmla="*/ 193 w 358"/>
                <a:gd name="T43" fmla="*/ 192 h 353"/>
                <a:gd name="T44" fmla="*/ 71 w 358"/>
                <a:gd name="T45" fmla="*/ 328 h 353"/>
                <a:gd name="T46" fmla="*/ 48 w 358"/>
                <a:gd name="T47" fmla="*/ 337 h 353"/>
                <a:gd name="T48" fmla="*/ 16 w 358"/>
                <a:gd name="T49" fmla="*/ 305 h 353"/>
                <a:gd name="T50" fmla="*/ 25 w 358"/>
                <a:gd name="T51" fmla="*/ 282 h 353"/>
                <a:gd name="T52" fmla="*/ 161 w 358"/>
                <a:gd name="T53" fmla="*/ 160 h 353"/>
                <a:gd name="T54" fmla="*/ 160 w 358"/>
                <a:gd name="T55" fmla="*/ 160 h 353"/>
                <a:gd name="T56" fmla="*/ 164 w 358"/>
                <a:gd name="T57" fmla="*/ 153 h 353"/>
                <a:gd name="T58" fmla="*/ 162 w 358"/>
                <a:gd name="T59" fmla="*/ 149 h 353"/>
                <a:gd name="T60" fmla="*/ 162 w 358"/>
                <a:gd name="T61" fmla="*/ 149 h 353"/>
                <a:gd name="T62" fmla="*/ 158 w 358"/>
                <a:gd name="T63" fmla="*/ 73 h 353"/>
                <a:gd name="T64" fmla="*/ 201 w 358"/>
                <a:gd name="T65" fmla="*/ 29 h 353"/>
                <a:gd name="T66" fmla="*/ 236 w 358"/>
                <a:gd name="T67" fmla="*/ 16 h 353"/>
                <a:gd name="T68" fmla="*/ 236 w 358"/>
                <a:gd name="T69" fmla="*/ 16 h 353"/>
                <a:gd name="T70" fmla="*/ 255 w 358"/>
                <a:gd name="T71" fmla="*/ 18 h 353"/>
                <a:gd name="T72" fmla="*/ 225 w 358"/>
                <a:gd name="T73" fmla="*/ 48 h 353"/>
                <a:gd name="T74" fmla="*/ 236 w 358"/>
                <a:gd name="T75" fmla="*/ 60 h 353"/>
                <a:gd name="T76" fmla="*/ 276 w 358"/>
                <a:gd name="T77" fmla="*/ 20 h 353"/>
                <a:gd name="T78" fmla="*/ 276 w 358"/>
                <a:gd name="T79" fmla="*/ 19 h 353"/>
                <a:gd name="T80" fmla="*/ 283 w 358"/>
                <a:gd name="T81" fmla="*/ 12 h 353"/>
                <a:gd name="T82" fmla="*/ 236 w 358"/>
                <a:gd name="T83" fmla="*/ 0 h 353"/>
                <a:gd name="T84" fmla="*/ 236 w 358"/>
                <a:gd name="T85" fmla="*/ 0 h 353"/>
                <a:gd name="T86" fmla="*/ 190 w 358"/>
                <a:gd name="T87" fmla="*/ 18 h 353"/>
                <a:gd name="T88" fmla="*/ 147 w 358"/>
                <a:gd name="T89" fmla="*/ 62 h 353"/>
                <a:gd name="T90" fmla="*/ 145 w 358"/>
                <a:gd name="T91" fmla="*/ 152 h 353"/>
                <a:gd name="T92" fmla="*/ 14 w 358"/>
                <a:gd name="T93" fmla="*/ 271 h 353"/>
                <a:gd name="T94" fmla="*/ 0 w 358"/>
                <a:gd name="T95" fmla="*/ 305 h 353"/>
                <a:gd name="T96" fmla="*/ 48 w 358"/>
                <a:gd name="T97" fmla="*/ 353 h 353"/>
                <a:gd name="T98" fmla="*/ 82 w 358"/>
                <a:gd name="T99" fmla="*/ 339 h 353"/>
                <a:gd name="T100" fmla="*/ 202 w 358"/>
                <a:gd name="T101" fmla="*/ 207 h 353"/>
                <a:gd name="T102" fmla="*/ 259 w 358"/>
                <a:gd name="T103" fmla="*/ 225 h 353"/>
                <a:gd name="T104" fmla="*/ 292 w 358"/>
                <a:gd name="T105" fmla="*/ 211 h 353"/>
                <a:gd name="T106" fmla="*/ 335 w 358"/>
                <a:gd name="T107" fmla="*/ 167 h 353"/>
                <a:gd name="T108" fmla="*/ 340 w 358"/>
                <a:gd name="T109" fmla="*/ 70 h 353"/>
                <a:gd name="T110" fmla="*/ 42 w 358"/>
                <a:gd name="T111" fmla="*/ 299 h 353"/>
                <a:gd name="T112" fmla="*/ 40 w 358"/>
                <a:gd name="T113" fmla="*/ 305 h 353"/>
                <a:gd name="T114" fmla="*/ 48 w 358"/>
                <a:gd name="T115" fmla="*/ 313 h 353"/>
                <a:gd name="T116" fmla="*/ 56 w 358"/>
                <a:gd name="T117" fmla="*/ 305 h 353"/>
                <a:gd name="T118" fmla="*/ 48 w 358"/>
                <a:gd name="T119" fmla="*/ 297 h 353"/>
                <a:gd name="T120" fmla="*/ 42 w 358"/>
                <a:gd name="T121" fmla="*/ 29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53">
                  <a:moveTo>
                    <a:pt x="340" y="70"/>
                  </a:moveTo>
                  <a:cubicBezTo>
                    <a:pt x="333" y="76"/>
                    <a:pt x="333" y="76"/>
                    <a:pt x="333" y="76"/>
                  </a:cubicBezTo>
                  <a:cubicBezTo>
                    <a:pt x="333" y="76"/>
                    <a:pt x="333" y="76"/>
                    <a:pt x="333" y="76"/>
                  </a:cubicBezTo>
                  <a:cubicBezTo>
                    <a:pt x="293" y="117"/>
                    <a:pt x="293" y="117"/>
                    <a:pt x="293" y="11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86" y="124"/>
                    <a:pt x="276" y="128"/>
                    <a:pt x="265" y="128"/>
                  </a:cubicBezTo>
                  <a:cubicBezTo>
                    <a:pt x="243" y="128"/>
                    <a:pt x="225" y="110"/>
                    <a:pt x="225" y="88"/>
                  </a:cubicBezTo>
                  <a:cubicBezTo>
                    <a:pt x="225" y="77"/>
                    <a:pt x="229" y="67"/>
                    <a:pt x="236" y="60"/>
                  </a:cubicBezTo>
                  <a:cubicBezTo>
                    <a:pt x="225" y="48"/>
                    <a:pt x="225" y="48"/>
                    <a:pt x="225" y="48"/>
                  </a:cubicBezTo>
                  <a:cubicBezTo>
                    <a:pt x="215" y="59"/>
                    <a:pt x="209" y="73"/>
                    <a:pt x="209" y="88"/>
                  </a:cubicBezTo>
                  <a:cubicBezTo>
                    <a:pt x="209" y="119"/>
                    <a:pt x="234" y="144"/>
                    <a:pt x="265" y="144"/>
                  </a:cubicBezTo>
                  <a:cubicBezTo>
                    <a:pt x="280" y="144"/>
                    <a:pt x="294" y="138"/>
                    <a:pt x="304" y="128"/>
                  </a:cubicBezTo>
                  <a:cubicBezTo>
                    <a:pt x="305" y="128"/>
                    <a:pt x="305" y="128"/>
                    <a:pt x="305" y="128"/>
                  </a:cubicBezTo>
                  <a:cubicBezTo>
                    <a:pt x="334" y="98"/>
                    <a:pt x="334" y="98"/>
                    <a:pt x="334" y="98"/>
                  </a:cubicBezTo>
                  <a:cubicBezTo>
                    <a:pt x="340" y="120"/>
                    <a:pt x="338" y="142"/>
                    <a:pt x="324" y="155"/>
                  </a:cubicBezTo>
                  <a:cubicBezTo>
                    <a:pt x="281" y="199"/>
                    <a:pt x="281" y="199"/>
                    <a:pt x="281" y="199"/>
                  </a:cubicBezTo>
                  <a:cubicBezTo>
                    <a:pt x="276" y="205"/>
                    <a:pt x="267" y="209"/>
                    <a:pt x="259" y="209"/>
                  </a:cubicBezTo>
                  <a:cubicBezTo>
                    <a:pt x="259" y="208"/>
                    <a:pt x="231" y="207"/>
                    <a:pt x="204" y="190"/>
                  </a:cubicBezTo>
                  <a:cubicBezTo>
                    <a:pt x="204" y="190"/>
                    <a:pt x="204" y="190"/>
                    <a:pt x="204" y="190"/>
                  </a:cubicBezTo>
                  <a:cubicBezTo>
                    <a:pt x="203" y="189"/>
                    <a:pt x="202" y="188"/>
                    <a:pt x="200" y="188"/>
                  </a:cubicBezTo>
                  <a:cubicBezTo>
                    <a:pt x="197" y="188"/>
                    <a:pt x="195" y="190"/>
                    <a:pt x="194" y="192"/>
                  </a:cubicBezTo>
                  <a:cubicBezTo>
                    <a:pt x="193" y="192"/>
                    <a:pt x="193" y="192"/>
                    <a:pt x="193" y="192"/>
                  </a:cubicBezTo>
                  <a:cubicBezTo>
                    <a:pt x="71" y="328"/>
                    <a:pt x="71" y="328"/>
                    <a:pt x="71" y="328"/>
                  </a:cubicBezTo>
                  <a:cubicBezTo>
                    <a:pt x="65" y="333"/>
                    <a:pt x="57" y="337"/>
                    <a:pt x="48" y="337"/>
                  </a:cubicBezTo>
                  <a:cubicBezTo>
                    <a:pt x="30" y="337"/>
                    <a:pt x="16" y="323"/>
                    <a:pt x="16" y="305"/>
                  </a:cubicBezTo>
                  <a:cubicBezTo>
                    <a:pt x="16" y="296"/>
                    <a:pt x="20" y="288"/>
                    <a:pt x="25" y="282"/>
                  </a:cubicBezTo>
                  <a:cubicBezTo>
                    <a:pt x="161" y="160"/>
                    <a:pt x="161" y="160"/>
                    <a:pt x="161" y="160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163" y="158"/>
                    <a:pt x="164" y="156"/>
                    <a:pt x="164" y="153"/>
                  </a:cubicBezTo>
                  <a:cubicBezTo>
                    <a:pt x="164" y="152"/>
                    <a:pt x="163" y="150"/>
                    <a:pt x="162" y="149"/>
                  </a:cubicBezTo>
                  <a:cubicBezTo>
                    <a:pt x="162" y="149"/>
                    <a:pt x="162" y="149"/>
                    <a:pt x="162" y="149"/>
                  </a:cubicBezTo>
                  <a:cubicBezTo>
                    <a:pt x="139" y="118"/>
                    <a:pt x="138" y="95"/>
                    <a:pt x="158" y="73"/>
                  </a:cubicBezTo>
                  <a:cubicBezTo>
                    <a:pt x="201" y="29"/>
                    <a:pt x="201" y="29"/>
                    <a:pt x="201" y="29"/>
                  </a:cubicBezTo>
                  <a:cubicBezTo>
                    <a:pt x="212" y="18"/>
                    <a:pt x="226" y="16"/>
                    <a:pt x="236" y="16"/>
                  </a:cubicBezTo>
                  <a:cubicBezTo>
                    <a:pt x="236" y="16"/>
                    <a:pt x="236" y="16"/>
                    <a:pt x="236" y="16"/>
                  </a:cubicBezTo>
                  <a:cubicBezTo>
                    <a:pt x="242" y="16"/>
                    <a:pt x="249" y="17"/>
                    <a:pt x="255" y="18"/>
                  </a:cubicBezTo>
                  <a:cubicBezTo>
                    <a:pt x="225" y="48"/>
                    <a:pt x="225" y="48"/>
                    <a:pt x="225" y="48"/>
                  </a:cubicBezTo>
                  <a:cubicBezTo>
                    <a:pt x="236" y="60"/>
                    <a:pt x="236" y="60"/>
                    <a:pt x="236" y="60"/>
                  </a:cubicBezTo>
                  <a:cubicBezTo>
                    <a:pt x="276" y="20"/>
                    <a:pt x="276" y="20"/>
                    <a:pt x="276" y="20"/>
                  </a:cubicBezTo>
                  <a:cubicBezTo>
                    <a:pt x="276" y="19"/>
                    <a:pt x="276" y="19"/>
                    <a:pt x="276" y="19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68" y="4"/>
                    <a:pt x="252" y="0"/>
                    <a:pt x="236" y="0"/>
                  </a:cubicBezTo>
                  <a:cubicBezTo>
                    <a:pt x="236" y="0"/>
                    <a:pt x="236" y="0"/>
                    <a:pt x="236" y="0"/>
                  </a:cubicBezTo>
                  <a:cubicBezTo>
                    <a:pt x="218" y="0"/>
                    <a:pt x="202" y="6"/>
                    <a:pt x="190" y="18"/>
                  </a:cubicBezTo>
                  <a:cubicBezTo>
                    <a:pt x="147" y="62"/>
                    <a:pt x="147" y="62"/>
                    <a:pt x="147" y="62"/>
                  </a:cubicBezTo>
                  <a:cubicBezTo>
                    <a:pt x="119" y="92"/>
                    <a:pt x="126" y="124"/>
                    <a:pt x="145" y="152"/>
                  </a:cubicBezTo>
                  <a:cubicBezTo>
                    <a:pt x="14" y="271"/>
                    <a:pt x="14" y="271"/>
                    <a:pt x="14" y="271"/>
                  </a:cubicBezTo>
                  <a:cubicBezTo>
                    <a:pt x="5" y="279"/>
                    <a:pt x="0" y="292"/>
                    <a:pt x="0" y="305"/>
                  </a:cubicBezTo>
                  <a:cubicBezTo>
                    <a:pt x="0" y="331"/>
                    <a:pt x="21" y="353"/>
                    <a:pt x="48" y="353"/>
                  </a:cubicBezTo>
                  <a:cubicBezTo>
                    <a:pt x="61" y="353"/>
                    <a:pt x="73" y="348"/>
                    <a:pt x="82" y="339"/>
                  </a:cubicBezTo>
                  <a:cubicBezTo>
                    <a:pt x="202" y="207"/>
                    <a:pt x="202" y="207"/>
                    <a:pt x="202" y="207"/>
                  </a:cubicBezTo>
                  <a:cubicBezTo>
                    <a:pt x="229" y="222"/>
                    <a:pt x="255" y="225"/>
                    <a:pt x="259" y="225"/>
                  </a:cubicBezTo>
                  <a:cubicBezTo>
                    <a:pt x="271" y="225"/>
                    <a:pt x="283" y="220"/>
                    <a:pt x="292" y="211"/>
                  </a:cubicBezTo>
                  <a:cubicBezTo>
                    <a:pt x="335" y="167"/>
                    <a:pt x="335" y="167"/>
                    <a:pt x="335" y="167"/>
                  </a:cubicBezTo>
                  <a:cubicBezTo>
                    <a:pt x="358" y="144"/>
                    <a:pt x="358" y="105"/>
                    <a:pt x="340" y="70"/>
                  </a:cubicBezTo>
                  <a:moveTo>
                    <a:pt x="42" y="299"/>
                  </a:moveTo>
                  <a:cubicBezTo>
                    <a:pt x="41" y="301"/>
                    <a:pt x="40" y="303"/>
                    <a:pt x="40" y="305"/>
                  </a:cubicBezTo>
                  <a:cubicBezTo>
                    <a:pt x="40" y="309"/>
                    <a:pt x="44" y="313"/>
                    <a:pt x="48" y="313"/>
                  </a:cubicBezTo>
                  <a:cubicBezTo>
                    <a:pt x="52" y="313"/>
                    <a:pt x="56" y="309"/>
                    <a:pt x="56" y="305"/>
                  </a:cubicBezTo>
                  <a:cubicBezTo>
                    <a:pt x="56" y="300"/>
                    <a:pt x="52" y="297"/>
                    <a:pt x="48" y="297"/>
                  </a:cubicBezTo>
                  <a:cubicBezTo>
                    <a:pt x="46" y="297"/>
                    <a:pt x="44" y="298"/>
                    <a:pt x="42" y="29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4179193" y="1673242"/>
              <a:ext cx="223551" cy="223550"/>
            </a:xfrm>
            <a:custGeom>
              <a:avLst/>
              <a:gdLst>
                <a:gd name="T0" fmla="*/ 351 w 353"/>
                <a:gd name="T1" fmla="*/ 171 h 353"/>
                <a:gd name="T2" fmla="*/ 289 w 353"/>
                <a:gd name="T3" fmla="*/ 109 h 353"/>
                <a:gd name="T4" fmla="*/ 289 w 353"/>
                <a:gd name="T5" fmla="*/ 24 h 353"/>
                <a:gd name="T6" fmla="*/ 281 w 353"/>
                <a:gd name="T7" fmla="*/ 16 h 353"/>
                <a:gd name="T8" fmla="*/ 233 w 353"/>
                <a:gd name="T9" fmla="*/ 16 h 353"/>
                <a:gd name="T10" fmla="*/ 225 w 353"/>
                <a:gd name="T11" fmla="*/ 24 h 353"/>
                <a:gd name="T12" fmla="*/ 225 w 353"/>
                <a:gd name="T13" fmla="*/ 45 h 353"/>
                <a:gd name="T14" fmla="*/ 182 w 353"/>
                <a:gd name="T15" fmla="*/ 2 h 353"/>
                <a:gd name="T16" fmla="*/ 177 w 353"/>
                <a:gd name="T17" fmla="*/ 0 h 353"/>
                <a:gd name="T18" fmla="*/ 171 w 353"/>
                <a:gd name="T19" fmla="*/ 2 h 353"/>
                <a:gd name="T20" fmla="*/ 2 w 353"/>
                <a:gd name="T21" fmla="*/ 171 h 353"/>
                <a:gd name="T22" fmla="*/ 0 w 353"/>
                <a:gd name="T23" fmla="*/ 176 h 353"/>
                <a:gd name="T24" fmla="*/ 8 w 353"/>
                <a:gd name="T25" fmla="*/ 184 h 353"/>
                <a:gd name="T26" fmla="*/ 14 w 353"/>
                <a:gd name="T27" fmla="*/ 182 h 353"/>
                <a:gd name="T28" fmla="*/ 48 w 353"/>
                <a:gd name="T29" fmla="*/ 148 h 353"/>
                <a:gd name="T30" fmla="*/ 48 w 353"/>
                <a:gd name="T31" fmla="*/ 345 h 353"/>
                <a:gd name="T32" fmla="*/ 56 w 353"/>
                <a:gd name="T33" fmla="*/ 353 h 353"/>
                <a:gd name="T34" fmla="*/ 297 w 353"/>
                <a:gd name="T35" fmla="*/ 353 h 353"/>
                <a:gd name="T36" fmla="*/ 305 w 353"/>
                <a:gd name="T37" fmla="*/ 345 h 353"/>
                <a:gd name="T38" fmla="*/ 305 w 353"/>
                <a:gd name="T39" fmla="*/ 148 h 353"/>
                <a:gd name="T40" fmla="*/ 339 w 353"/>
                <a:gd name="T41" fmla="*/ 182 h 353"/>
                <a:gd name="T42" fmla="*/ 345 w 353"/>
                <a:gd name="T43" fmla="*/ 184 h 353"/>
                <a:gd name="T44" fmla="*/ 353 w 353"/>
                <a:gd name="T45" fmla="*/ 176 h 353"/>
                <a:gd name="T46" fmla="*/ 351 w 353"/>
                <a:gd name="T47" fmla="*/ 171 h 353"/>
                <a:gd name="T48" fmla="*/ 241 w 353"/>
                <a:gd name="T49" fmla="*/ 32 h 353"/>
                <a:gd name="T50" fmla="*/ 273 w 353"/>
                <a:gd name="T51" fmla="*/ 32 h 353"/>
                <a:gd name="T52" fmla="*/ 273 w 353"/>
                <a:gd name="T53" fmla="*/ 93 h 353"/>
                <a:gd name="T54" fmla="*/ 241 w 353"/>
                <a:gd name="T55" fmla="*/ 61 h 353"/>
                <a:gd name="T56" fmla="*/ 241 w 353"/>
                <a:gd name="T57" fmla="*/ 32 h 353"/>
                <a:gd name="T58" fmla="*/ 128 w 353"/>
                <a:gd name="T59" fmla="*/ 337 h 353"/>
                <a:gd name="T60" fmla="*/ 64 w 353"/>
                <a:gd name="T61" fmla="*/ 337 h 353"/>
                <a:gd name="T62" fmla="*/ 64 w 353"/>
                <a:gd name="T63" fmla="*/ 321 h 353"/>
                <a:gd name="T64" fmla="*/ 128 w 353"/>
                <a:gd name="T65" fmla="*/ 321 h 353"/>
                <a:gd name="T66" fmla="*/ 128 w 353"/>
                <a:gd name="T67" fmla="*/ 337 h 353"/>
                <a:gd name="T68" fmla="*/ 209 w 353"/>
                <a:gd name="T69" fmla="*/ 337 h 353"/>
                <a:gd name="T70" fmla="*/ 144 w 353"/>
                <a:gd name="T71" fmla="*/ 337 h 353"/>
                <a:gd name="T72" fmla="*/ 144 w 353"/>
                <a:gd name="T73" fmla="*/ 208 h 353"/>
                <a:gd name="T74" fmla="*/ 209 w 353"/>
                <a:gd name="T75" fmla="*/ 208 h 353"/>
                <a:gd name="T76" fmla="*/ 209 w 353"/>
                <a:gd name="T77" fmla="*/ 337 h 353"/>
                <a:gd name="T78" fmla="*/ 289 w 353"/>
                <a:gd name="T79" fmla="*/ 337 h 353"/>
                <a:gd name="T80" fmla="*/ 225 w 353"/>
                <a:gd name="T81" fmla="*/ 337 h 353"/>
                <a:gd name="T82" fmla="*/ 225 w 353"/>
                <a:gd name="T83" fmla="*/ 321 h 353"/>
                <a:gd name="T84" fmla="*/ 289 w 353"/>
                <a:gd name="T85" fmla="*/ 321 h 353"/>
                <a:gd name="T86" fmla="*/ 289 w 353"/>
                <a:gd name="T87" fmla="*/ 337 h 353"/>
                <a:gd name="T88" fmla="*/ 289 w 353"/>
                <a:gd name="T89" fmla="*/ 305 h 353"/>
                <a:gd name="T90" fmla="*/ 225 w 353"/>
                <a:gd name="T91" fmla="*/ 305 h 353"/>
                <a:gd name="T92" fmla="*/ 225 w 353"/>
                <a:gd name="T93" fmla="*/ 200 h 353"/>
                <a:gd name="T94" fmla="*/ 217 w 353"/>
                <a:gd name="T95" fmla="*/ 192 h 353"/>
                <a:gd name="T96" fmla="*/ 136 w 353"/>
                <a:gd name="T97" fmla="*/ 192 h 353"/>
                <a:gd name="T98" fmla="*/ 128 w 353"/>
                <a:gd name="T99" fmla="*/ 200 h 353"/>
                <a:gd name="T100" fmla="*/ 128 w 353"/>
                <a:gd name="T101" fmla="*/ 305 h 353"/>
                <a:gd name="T102" fmla="*/ 64 w 353"/>
                <a:gd name="T103" fmla="*/ 305 h 353"/>
                <a:gd name="T104" fmla="*/ 64 w 353"/>
                <a:gd name="T105" fmla="*/ 132 h 353"/>
                <a:gd name="T106" fmla="*/ 177 w 353"/>
                <a:gd name="T107" fmla="*/ 19 h 353"/>
                <a:gd name="T108" fmla="*/ 289 w 353"/>
                <a:gd name="T109" fmla="*/ 132 h 353"/>
                <a:gd name="T110" fmla="*/ 289 w 353"/>
                <a:gd name="T111" fmla="*/ 305 h 353"/>
                <a:gd name="T112" fmla="*/ 185 w 353"/>
                <a:gd name="T113" fmla="*/ 289 h 353"/>
                <a:gd name="T114" fmla="*/ 193 w 353"/>
                <a:gd name="T115" fmla="*/ 281 h 353"/>
                <a:gd name="T116" fmla="*/ 185 w 353"/>
                <a:gd name="T117" fmla="*/ 273 h 353"/>
                <a:gd name="T118" fmla="*/ 177 w 353"/>
                <a:gd name="T119" fmla="*/ 281 h 353"/>
                <a:gd name="T120" fmla="*/ 185 w 353"/>
                <a:gd name="T121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53">
                  <a:moveTo>
                    <a:pt x="351" y="171"/>
                  </a:moveTo>
                  <a:cubicBezTo>
                    <a:pt x="289" y="109"/>
                    <a:pt x="289" y="109"/>
                    <a:pt x="289" y="109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85" y="16"/>
                    <a:pt x="281" y="16"/>
                  </a:cubicBezTo>
                  <a:cubicBezTo>
                    <a:pt x="233" y="16"/>
                    <a:pt x="233" y="16"/>
                    <a:pt x="233" y="16"/>
                  </a:cubicBezTo>
                  <a:cubicBezTo>
                    <a:pt x="228" y="16"/>
                    <a:pt x="225" y="19"/>
                    <a:pt x="225" y="24"/>
                  </a:cubicBezTo>
                  <a:cubicBezTo>
                    <a:pt x="225" y="45"/>
                    <a:pt x="225" y="45"/>
                    <a:pt x="225" y="45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1" y="1"/>
                    <a:pt x="179" y="0"/>
                    <a:pt x="177" y="0"/>
                  </a:cubicBezTo>
                  <a:cubicBezTo>
                    <a:pt x="174" y="0"/>
                    <a:pt x="172" y="1"/>
                    <a:pt x="171" y="2"/>
                  </a:cubicBezTo>
                  <a:cubicBezTo>
                    <a:pt x="2" y="171"/>
                    <a:pt x="2" y="171"/>
                    <a:pt x="2" y="171"/>
                  </a:cubicBezTo>
                  <a:cubicBezTo>
                    <a:pt x="1" y="172"/>
                    <a:pt x="0" y="174"/>
                    <a:pt x="0" y="176"/>
                  </a:cubicBezTo>
                  <a:cubicBezTo>
                    <a:pt x="0" y="181"/>
                    <a:pt x="3" y="184"/>
                    <a:pt x="8" y="184"/>
                  </a:cubicBezTo>
                  <a:cubicBezTo>
                    <a:pt x="10" y="184"/>
                    <a:pt x="12" y="184"/>
                    <a:pt x="14" y="18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8" y="345"/>
                    <a:pt x="48" y="345"/>
                    <a:pt x="48" y="345"/>
                  </a:cubicBezTo>
                  <a:cubicBezTo>
                    <a:pt x="48" y="349"/>
                    <a:pt x="52" y="353"/>
                    <a:pt x="56" y="353"/>
                  </a:cubicBezTo>
                  <a:cubicBezTo>
                    <a:pt x="297" y="353"/>
                    <a:pt x="297" y="353"/>
                    <a:pt x="297" y="353"/>
                  </a:cubicBezTo>
                  <a:cubicBezTo>
                    <a:pt x="301" y="353"/>
                    <a:pt x="305" y="349"/>
                    <a:pt x="305" y="345"/>
                  </a:cubicBezTo>
                  <a:cubicBezTo>
                    <a:pt x="305" y="148"/>
                    <a:pt x="305" y="148"/>
                    <a:pt x="305" y="148"/>
                  </a:cubicBezTo>
                  <a:cubicBezTo>
                    <a:pt x="339" y="182"/>
                    <a:pt x="339" y="182"/>
                    <a:pt x="339" y="182"/>
                  </a:cubicBezTo>
                  <a:cubicBezTo>
                    <a:pt x="341" y="184"/>
                    <a:pt x="343" y="184"/>
                    <a:pt x="345" y="184"/>
                  </a:cubicBezTo>
                  <a:cubicBezTo>
                    <a:pt x="350" y="184"/>
                    <a:pt x="353" y="181"/>
                    <a:pt x="353" y="176"/>
                  </a:cubicBezTo>
                  <a:cubicBezTo>
                    <a:pt x="353" y="174"/>
                    <a:pt x="352" y="172"/>
                    <a:pt x="351" y="171"/>
                  </a:cubicBezTo>
                  <a:moveTo>
                    <a:pt x="241" y="32"/>
                  </a:moveTo>
                  <a:cubicBezTo>
                    <a:pt x="273" y="32"/>
                    <a:pt x="273" y="32"/>
                    <a:pt x="273" y="32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41" y="61"/>
                    <a:pt x="241" y="61"/>
                    <a:pt x="241" y="61"/>
                  </a:cubicBezTo>
                  <a:lnTo>
                    <a:pt x="241" y="32"/>
                  </a:lnTo>
                  <a:close/>
                  <a:moveTo>
                    <a:pt x="128" y="337"/>
                  </a:moveTo>
                  <a:cubicBezTo>
                    <a:pt x="64" y="337"/>
                    <a:pt x="64" y="337"/>
                    <a:pt x="64" y="337"/>
                  </a:cubicBezTo>
                  <a:cubicBezTo>
                    <a:pt x="64" y="321"/>
                    <a:pt x="64" y="321"/>
                    <a:pt x="64" y="321"/>
                  </a:cubicBezTo>
                  <a:cubicBezTo>
                    <a:pt x="128" y="321"/>
                    <a:pt x="128" y="321"/>
                    <a:pt x="128" y="321"/>
                  </a:cubicBezTo>
                  <a:lnTo>
                    <a:pt x="128" y="337"/>
                  </a:lnTo>
                  <a:close/>
                  <a:moveTo>
                    <a:pt x="209" y="337"/>
                  </a:moveTo>
                  <a:cubicBezTo>
                    <a:pt x="144" y="337"/>
                    <a:pt x="144" y="337"/>
                    <a:pt x="144" y="337"/>
                  </a:cubicBezTo>
                  <a:cubicBezTo>
                    <a:pt x="144" y="208"/>
                    <a:pt x="144" y="208"/>
                    <a:pt x="144" y="208"/>
                  </a:cubicBezTo>
                  <a:cubicBezTo>
                    <a:pt x="209" y="208"/>
                    <a:pt x="209" y="208"/>
                    <a:pt x="209" y="208"/>
                  </a:cubicBezTo>
                  <a:lnTo>
                    <a:pt x="209" y="337"/>
                  </a:lnTo>
                  <a:close/>
                  <a:moveTo>
                    <a:pt x="289" y="337"/>
                  </a:moveTo>
                  <a:cubicBezTo>
                    <a:pt x="225" y="337"/>
                    <a:pt x="225" y="337"/>
                    <a:pt x="225" y="337"/>
                  </a:cubicBezTo>
                  <a:cubicBezTo>
                    <a:pt x="225" y="321"/>
                    <a:pt x="225" y="321"/>
                    <a:pt x="225" y="321"/>
                  </a:cubicBezTo>
                  <a:cubicBezTo>
                    <a:pt x="289" y="321"/>
                    <a:pt x="289" y="321"/>
                    <a:pt x="289" y="321"/>
                  </a:cubicBezTo>
                  <a:lnTo>
                    <a:pt x="289" y="337"/>
                  </a:lnTo>
                  <a:close/>
                  <a:moveTo>
                    <a:pt x="289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200"/>
                    <a:pt x="225" y="200"/>
                    <a:pt x="225" y="200"/>
                  </a:cubicBezTo>
                  <a:cubicBezTo>
                    <a:pt x="225" y="196"/>
                    <a:pt x="221" y="192"/>
                    <a:pt x="217" y="192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2" y="192"/>
                    <a:pt x="128" y="196"/>
                    <a:pt x="128" y="200"/>
                  </a:cubicBezTo>
                  <a:cubicBezTo>
                    <a:pt x="128" y="305"/>
                    <a:pt x="128" y="305"/>
                    <a:pt x="128" y="305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64" y="132"/>
                    <a:pt x="64" y="132"/>
                    <a:pt x="64" y="132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289" y="132"/>
                    <a:pt x="289" y="132"/>
                    <a:pt x="289" y="132"/>
                  </a:cubicBezTo>
                  <a:lnTo>
                    <a:pt x="289" y="305"/>
                  </a:lnTo>
                  <a:close/>
                  <a:moveTo>
                    <a:pt x="185" y="289"/>
                  </a:moveTo>
                  <a:cubicBezTo>
                    <a:pt x="189" y="289"/>
                    <a:pt x="193" y="285"/>
                    <a:pt x="193" y="281"/>
                  </a:cubicBezTo>
                  <a:cubicBezTo>
                    <a:pt x="193" y="276"/>
                    <a:pt x="189" y="273"/>
                    <a:pt x="185" y="273"/>
                  </a:cubicBezTo>
                  <a:cubicBezTo>
                    <a:pt x="180" y="273"/>
                    <a:pt x="177" y="276"/>
                    <a:pt x="177" y="281"/>
                  </a:cubicBezTo>
                  <a:cubicBezTo>
                    <a:pt x="177" y="285"/>
                    <a:pt x="180" y="289"/>
                    <a:pt x="185" y="2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4105384" y="2517401"/>
              <a:ext cx="223551" cy="204716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619500" y="3900116"/>
            <a:ext cx="1905000" cy="382484"/>
            <a:chOff x="3619500" y="3900116"/>
            <a:chExt cx="1905000" cy="382484"/>
          </a:xfrm>
        </p:grpSpPr>
        <p:sp>
          <p:nvSpPr>
            <p:cNvPr id="40" name="Rounded Rectangle 39"/>
            <p:cNvSpPr/>
            <p:nvPr/>
          </p:nvSpPr>
          <p:spPr>
            <a:xfrm>
              <a:off x="3619500" y="3900116"/>
              <a:ext cx="1905000" cy="38248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805238" y="3980044"/>
              <a:ext cx="1519238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ossos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erviços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490019" y="1549931"/>
            <a:ext cx="2076006" cy="468716"/>
            <a:chOff x="5490019" y="1549931"/>
            <a:chExt cx="2076006" cy="468716"/>
          </a:xfrm>
        </p:grpSpPr>
        <p:sp>
          <p:nvSpPr>
            <p:cNvPr id="44" name="TextBox 43"/>
            <p:cNvSpPr txBox="1"/>
            <p:nvPr/>
          </p:nvSpPr>
          <p:spPr>
            <a:xfrm>
              <a:off x="5490038" y="1549931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ÇÃO DE VÍDE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5490019" y="1734338"/>
              <a:ext cx="207600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61780" y="2383829"/>
            <a:ext cx="2076006" cy="468716"/>
            <a:chOff x="5561780" y="2383829"/>
            <a:chExt cx="2076006" cy="468716"/>
          </a:xfrm>
        </p:grpSpPr>
        <p:sp>
          <p:nvSpPr>
            <p:cNvPr id="49" name="TextBox 48"/>
            <p:cNvSpPr txBox="1"/>
            <p:nvPr/>
          </p:nvSpPr>
          <p:spPr>
            <a:xfrm>
              <a:off x="5561799" y="2383829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 WEB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561780" y="2568236"/>
              <a:ext cx="207600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620211" y="3218343"/>
            <a:ext cx="2076006" cy="468716"/>
            <a:chOff x="5620211" y="3218508"/>
            <a:chExt cx="2076006" cy="468716"/>
          </a:xfrm>
        </p:grpSpPr>
        <p:sp>
          <p:nvSpPr>
            <p:cNvPr id="53" name="TextBox 52"/>
            <p:cNvSpPr txBox="1"/>
            <p:nvPr/>
          </p:nvSpPr>
          <p:spPr>
            <a:xfrm>
              <a:off x="5620230" y="3218508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SUPORTE COMUNICACIONAL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620211" y="3402915"/>
              <a:ext cx="207600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568303" y="1549931"/>
            <a:ext cx="2076006" cy="467498"/>
            <a:chOff x="1568303" y="1549931"/>
            <a:chExt cx="2076006" cy="467498"/>
          </a:xfrm>
        </p:grpSpPr>
        <p:sp>
          <p:nvSpPr>
            <p:cNvPr id="59" name="TextBox 58"/>
            <p:cNvSpPr txBox="1"/>
            <p:nvPr/>
          </p:nvSpPr>
          <p:spPr>
            <a:xfrm>
              <a:off x="1568322" y="1549931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Web host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568303" y="1734338"/>
              <a:ext cx="207600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03828" y="2383829"/>
            <a:ext cx="2076006" cy="467498"/>
            <a:chOff x="1503828" y="2383829"/>
            <a:chExt cx="2076006" cy="467498"/>
          </a:xfrm>
        </p:grpSpPr>
        <p:sp>
          <p:nvSpPr>
            <p:cNvPr id="62" name="TextBox 61"/>
            <p:cNvSpPr txBox="1"/>
            <p:nvPr/>
          </p:nvSpPr>
          <p:spPr>
            <a:xfrm>
              <a:off x="1503847" y="2383829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 DE REDES SOCIAI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1503828" y="2568236"/>
              <a:ext cx="207600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442501" y="3218508"/>
            <a:ext cx="2076006" cy="467498"/>
            <a:chOff x="1442501" y="3218508"/>
            <a:chExt cx="2076006" cy="467498"/>
          </a:xfrm>
        </p:grpSpPr>
        <p:sp>
          <p:nvSpPr>
            <p:cNvPr id="65" name="TextBox 64"/>
            <p:cNvSpPr txBox="1"/>
            <p:nvPr/>
          </p:nvSpPr>
          <p:spPr>
            <a:xfrm>
              <a:off x="1442520" y="3218508"/>
              <a:ext cx="20759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NUNTENÇÃO WEB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1442501" y="3402915"/>
              <a:ext cx="2076006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et lacini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a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8031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6089649" y="1968500"/>
            <a:ext cx="2457450" cy="2317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7" name="Rectangle 26"/>
          <p:cNvSpPr/>
          <p:nvPr/>
        </p:nvSpPr>
        <p:spPr>
          <a:xfrm>
            <a:off x="3343275" y="1968500"/>
            <a:ext cx="2457450" cy="2317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8" name="Rectangle 27"/>
          <p:cNvSpPr/>
          <p:nvPr/>
        </p:nvSpPr>
        <p:spPr>
          <a:xfrm>
            <a:off x="592792" y="1968500"/>
            <a:ext cx="2457450" cy="2317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089649" y="1543050"/>
            <a:ext cx="2457450" cy="42545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4" name="TextBox 13"/>
          <p:cNvSpPr txBox="1"/>
          <p:nvPr/>
        </p:nvSpPr>
        <p:spPr>
          <a:xfrm>
            <a:off x="6480174" y="1686526"/>
            <a:ext cx="167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mínio</a:t>
            </a:r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&amp; </a:t>
            </a:r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ospedagem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6939160" y="2295516"/>
            <a:ext cx="758428" cy="592931"/>
          </a:xfrm>
          <a:custGeom>
            <a:avLst/>
            <a:gdLst>
              <a:gd name="T0" fmla="*/ 1049 w 1580"/>
              <a:gd name="T1" fmla="*/ 175 h 1236"/>
              <a:gd name="T2" fmla="*/ 1307 w 1580"/>
              <a:gd name="T3" fmla="*/ 146 h 1236"/>
              <a:gd name="T4" fmla="*/ 280 w 1580"/>
              <a:gd name="T5" fmla="*/ 234 h 1236"/>
              <a:gd name="T6" fmla="*/ 354 w 1580"/>
              <a:gd name="T7" fmla="*/ 161 h 1236"/>
              <a:gd name="T8" fmla="*/ 235 w 1580"/>
              <a:gd name="T9" fmla="*/ 161 h 1236"/>
              <a:gd name="T10" fmla="*/ 722 w 1580"/>
              <a:gd name="T11" fmla="*/ 161 h 1236"/>
              <a:gd name="T12" fmla="*/ 649 w 1580"/>
              <a:gd name="T13" fmla="*/ 87 h 1236"/>
              <a:gd name="T14" fmla="*/ 649 w 1580"/>
              <a:gd name="T15" fmla="*/ 116 h 1236"/>
              <a:gd name="T16" fmla="*/ 693 w 1580"/>
              <a:gd name="T17" fmla="*/ 161 h 1236"/>
              <a:gd name="T18" fmla="*/ 391 w 1580"/>
              <a:gd name="T19" fmla="*/ 161 h 1236"/>
              <a:gd name="T20" fmla="*/ 509 w 1580"/>
              <a:gd name="T21" fmla="*/ 161 h 1236"/>
              <a:gd name="T22" fmla="*/ 464 w 1580"/>
              <a:gd name="T23" fmla="*/ 206 h 1236"/>
              <a:gd name="T24" fmla="*/ 1049 w 1580"/>
              <a:gd name="T25" fmla="*/ 491 h 1236"/>
              <a:gd name="T26" fmla="*/ 1307 w 1580"/>
              <a:gd name="T27" fmla="*/ 520 h 1236"/>
              <a:gd name="T28" fmla="*/ 354 w 1580"/>
              <a:gd name="T29" fmla="*/ 506 h 1236"/>
              <a:gd name="T30" fmla="*/ 280 w 1580"/>
              <a:gd name="T31" fmla="*/ 432 h 1236"/>
              <a:gd name="T32" fmla="*/ 280 w 1580"/>
              <a:gd name="T33" fmla="*/ 461 h 1236"/>
              <a:gd name="T34" fmla="*/ 325 w 1580"/>
              <a:gd name="T35" fmla="*/ 506 h 1236"/>
              <a:gd name="T36" fmla="*/ 575 w 1580"/>
              <a:gd name="T37" fmla="*/ 506 h 1236"/>
              <a:gd name="T38" fmla="*/ 693 w 1580"/>
              <a:gd name="T39" fmla="*/ 506 h 1236"/>
              <a:gd name="T40" fmla="*/ 649 w 1580"/>
              <a:gd name="T41" fmla="*/ 550 h 1236"/>
              <a:gd name="T42" fmla="*/ 464 w 1580"/>
              <a:gd name="T43" fmla="*/ 579 h 1236"/>
              <a:gd name="T44" fmla="*/ 538 w 1580"/>
              <a:gd name="T45" fmla="*/ 506 h 1236"/>
              <a:gd name="T46" fmla="*/ 420 w 1580"/>
              <a:gd name="T47" fmla="*/ 506 h 1236"/>
              <a:gd name="T48" fmla="*/ 1307 w 1580"/>
              <a:gd name="T49" fmla="*/ 836 h 1236"/>
              <a:gd name="T50" fmla="*/ 1049 w 1580"/>
              <a:gd name="T51" fmla="*/ 865 h 1236"/>
              <a:gd name="T52" fmla="*/ 1307 w 1580"/>
              <a:gd name="T53" fmla="*/ 836 h 1236"/>
              <a:gd name="T54" fmla="*/ 206 w 1580"/>
              <a:gd name="T55" fmla="*/ 850 h 1236"/>
              <a:gd name="T56" fmla="*/ 325 w 1580"/>
              <a:gd name="T57" fmla="*/ 850 h 1236"/>
              <a:gd name="T58" fmla="*/ 280 w 1580"/>
              <a:gd name="T59" fmla="*/ 895 h 1236"/>
              <a:gd name="T60" fmla="*/ 649 w 1580"/>
              <a:gd name="T61" fmla="*/ 924 h 1236"/>
              <a:gd name="T62" fmla="*/ 722 w 1580"/>
              <a:gd name="T63" fmla="*/ 850 h 1236"/>
              <a:gd name="T64" fmla="*/ 604 w 1580"/>
              <a:gd name="T65" fmla="*/ 850 h 1236"/>
              <a:gd name="T66" fmla="*/ 538 w 1580"/>
              <a:gd name="T67" fmla="*/ 850 h 1236"/>
              <a:gd name="T68" fmla="*/ 464 w 1580"/>
              <a:gd name="T69" fmla="*/ 777 h 1236"/>
              <a:gd name="T70" fmla="*/ 464 w 1580"/>
              <a:gd name="T71" fmla="*/ 806 h 1236"/>
              <a:gd name="T72" fmla="*/ 509 w 1580"/>
              <a:gd name="T73" fmla="*/ 850 h 1236"/>
              <a:gd name="T74" fmla="*/ 100 w 1580"/>
              <a:gd name="T75" fmla="*/ 1236 h 1236"/>
              <a:gd name="T76" fmla="*/ 112 w 1580"/>
              <a:gd name="T77" fmla="*/ 1035 h 1236"/>
              <a:gd name="T78" fmla="*/ 130 w 1580"/>
              <a:gd name="T79" fmla="*/ 704 h 1236"/>
              <a:gd name="T80" fmla="*/ 130 w 1580"/>
              <a:gd name="T81" fmla="*/ 360 h 1236"/>
              <a:gd name="T82" fmla="*/ 179 w 1580"/>
              <a:gd name="T83" fmla="*/ 0 h 1236"/>
              <a:gd name="T84" fmla="*/ 1494 w 1580"/>
              <a:gd name="T85" fmla="*/ 281 h 1236"/>
              <a:gd name="T86" fmla="*/ 1494 w 1580"/>
              <a:gd name="T87" fmla="*/ 625 h 1236"/>
              <a:gd name="T88" fmla="*/ 1494 w 1580"/>
              <a:gd name="T89" fmla="*/ 970 h 1236"/>
              <a:gd name="T90" fmla="*/ 1580 w 1580"/>
              <a:gd name="T91" fmla="*/ 1135 h 1236"/>
              <a:gd name="T92" fmla="*/ 1465 w 1580"/>
              <a:gd name="T93" fmla="*/ 281 h 1236"/>
              <a:gd name="T94" fmla="*/ 179 w 1580"/>
              <a:gd name="T95" fmla="*/ 29 h 1236"/>
              <a:gd name="T96" fmla="*/ 179 w 1580"/>
              <a:gd name="T97" fmla="*/ 345 h 1236"/>
              <a:gd name="T98" fmla="*/ 1465 w 1580"/>
              <a:gd name="T99" fmla="*/ 625 h 1236"/>
              <a:gd name="T100" fmla="*/ 179 w 1580"/>
              <a:gd name="T101" fmla="*/ 374 h 1236"/>
              <a:gd name="T102" fmla="*/ 179 w 1580"/>
              <a:gd name="T103" fmla="*/ 690 h 1236"/>
              <a:gd name="T104" fmla="*/ 1465 w 1580"/>
              <a:gd name="T105" fmla="*/ 970 h 1236"/>
              <a:gd name="T106" fmla="*/ 179 w 1580"/>
              <a:gd name="T107" fmla="*/ 719 h 1236"/>
              <a:gd name="T108" fmla="*/ 179 w 1580"/>
              <a:gd name="T109" fmla="*/ 1035 h 1236"/>
              <a:gd name="T110" fmla="*/ 1401 w 1580"/>
              <a:gd name="T111" fmla="*/ 1064 h 1236"/>
              <a:gd name="T112" fmla="*/ 29 w 1580"/>
              <a:gd name="T113" fmla="*/ 1135 h 1236"/>
              <a:gd name="T114" fmla="*/ 1551 w 1580"/>
              <a:gd name="T115" fmla="*/ 1135 h 1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580" h="1236">
                <a:moveTo>
                  <a:pt x="1322" y="161"/>
                </a:moveTo>
                <a:cubicBezTo>
                  <a:pt x="1322" y="169"/>
                  <a:pt x="1315" y="175"/>
                  <a:pt x="1307" y="175"/>
                </a:cubicBezTo>
                <a:cubicBezTo>
                  <a:pt x="1049" y="175"/>
                  <a:pt x="1049" y="175"/>
                  <a:pt x="1049" y="175"/>
                </a:cubicBezTo>
                <a:cubicBezTo>
                  <a:pt x="1041" y="175"/>
                  <a:pt x="1034" y="169"/>
                  <a:pt x="1034" y="161"/>
                </a:cubicBezTo>
                <a:cubicBezTo>
                  <a:pt x="1034" y="153"/>
                  <a:pt x="1041" y="146"/>
                  <a:pt x="1049" y="146"/>
                </a:cubicBezTo>
                <a:cubicBezTo>
                  <a:pt x="1307" y="146"/>
                  <a:pt x="1307" y="146"/>
                  <a:pt x="1307" y="146"/>
                </a:cubicBezTo>
                <a:cubicBezTo>
                  <a:pt x="1315" y="146"/>
                  <a:pt x="1322" y="153"/>
                  <a:pt x="1322" y="161"/>
                </a:cubicBezTo>
                <a:close/>
                <a:moveTo>
                  <a:pt x="354" y="161"/>
                </a:moveTo>
                <a:cubicBezTo>
                  <a:pt x="354" y="201"/>
                  <a:pt x="321" y="234"/>
                  <a:pt x="280" y="234"/>
                </a:cubicBezTo>
                <a:cubicBezTo>
                  <a:pt x="239" y="234"/>
                  <a:pt x="206" y="201"/>
                  <a:pt x="206" y="161"/>
                </a:cubicBezTo>
                <a:cubicBezTo>
                  <a:pt x="206" y="120"/>
                  <a:pt x="239" y="87"/>
                  <a:pt x="280" y="87"/>
                </a:cubicBezTo>
                <a:cubicBezTo>
                  <a:pt x="321" y="87"/>
                  <a:pt x="354" y="120"/>
                  <a:pt x="354" y="161"/>
                </a:cubicBezTo>
                <a:close/>
                <a:moveTo>
                  <a:pt x="325" y="161"/>
                </a:moveTo>
                <a:cubicBezTo>
                  <a:pt x="325" y="136"/>
                  <a:pt x="305" y="116"/>
                  <a:pt x="280" y="116"/>
                </a:cubicBezTo>
                <a:cubicBezTo>
                  <a:pt x="255" y="116"/>
                  <a:pt x="235" y="136"/>
                  <a:pt x="235" y="161"/>
                </a:cubicBezTo>
                <a:cubicBezTo>
                  <a:pt x="235" y="185"/>
                  <a:pt x="255" y="206"/>
                  <a:pt x="280" y="206"/>
                </a:cubicBezTo>
                <a:cubicBezTo>
                  <a:pt x="305" y="206"/>
                  <a:pt x="325" y="185"/>
                  <a:pt x="325" y="161"/>
                </a:cubicBezTo>
                <a:close/>
                <a:moveTo>
                  <a:pt x="722" y="161"/>
                </a:moveTo>
                <a:cubicBezTo>
                  <a:pt x="722" y="201"/>
                  <a:pt x="689" y="234"/>
                  <a:pt x="649" y="234"/>
                </a:cubicBezTo>
                <a:cubicBezTo>
                  <a:pt x="608" y="234"/>
                  <a:pt x="575" y="201"/>
                  <a:pt x="575" y="161"/>
                </a:cubicBezTo>
                <a:cubicBezTo>
                  <a:pt x="575" y="120"/>
                  <a:pt x="608" y="87"/>
                  <a:pt x="649" y="87"/>
                </a:cubicBezTo>
                <a:cubicBezTo>
                  <a:pt x="689" y="87"/>
                  <a:pt x="722" y="120"/>
                  <a:pt x="722" y="161"/>
                </a:cubicBezTo>
                <a:close/>
                <a:moveTo>
                  <a:pt x="693" y="161"/>
                </a:moveTo>
                <a:cubicBezTo>
                  <a:pt x="693" y="136"/>
                  <a:pt x="673" y="116"/>
                  <a:pt x="649" y="116"/>
                </a:cubicBezTo>
                <a:cubicBezTo>
                  <a:pt x="624" y="116"/>
                  <a:pt x="604" y="136"/>
                  <a:pt x="604" y="161"/>
                </a:cubicBezTo>
                <a:cubicBezTo>
                  <a:pt x="604" y="185"/>
                  <a:pt x="624" y="206"/>
                  <a:pt x="649" y="206"/>
                </a:cubicBezTo>
                <a:cubicBezTo>
                  <a:pt x="673" y="206"/>
                  <a:pt x="693" y="185"/>
                  <a:pt x="693" y="161"/>
                </a:cubicBezTo>
                <a:close/>
                <a:moveTo>
                  <a:pt x="538" y="161"/>
                </a:moveTo>
                <a:cubicBezTo>
                  <a:pt x="538" y="201"/>
                  <a:pt x="505" y="234"/>
                  <a:pt x="464" y="234"/>
                </a:cubicBezTo>
                <a:cubicBezTo>
                  <a:pt x="424" y="234"/>
                  <a:pt x="391" y="201"/>
                  <a:pt x="391" y="161"/>
                </a:cubicBezTo>
                <a:cubicBezTo>
                  <a:pt x="391" y="120"/>
                  <a:pt x="424" y="87"/>
                  <a:pt x="464" y="87"/>
                </a:cubicBezTo>
                <a:cubicBezTo>
                  <a:pt x="505" y="87"/>
                  <a:pt x="538" y="120"/>
                  <a:pt x="538" y="161"/>
                </a:cubicBezTo>
                <a:close/>
                <a:moveTo>
                  <a:pt x="509" y="161"/>
                </a:moveTo>
                <a:cubicBezTo>
                  <a:pt x="509" y="136"/>
                  <a:pt x="489" y="116"/>
                  <a:pt x="464" y="116"/>
                </a:cubicBezTo>
                <a:cubicBezTo>
                  <a:pt x="440" y="116"/>
                  <a:pt x="420" y="136"/>
                  <a:pt x="420" y="161"/>
                </a:cubicBezTo>
                <a:cubicBezTo>
                  <a:pt x="420" y="185"/>
                  <a:pt x="440" y="206"/>
                  <a:pt x="464" y="206"/>
                </a:cubicBezTo>
                <a:cubicBezTo>
                  <a:pt x="489" y="206"/>
                  <a:pt x="509" y="185"/>
                  <a:pt x="509" y="161"/>
                </a:cubicBezTo>
                <a:close/>
                <a:moveTo>
                  <a:pt x="1307" y="491"/>
                </a:moveTo>
                <a:cubicBezTo>
                  <a:pt x="1049" y="491"/>
                  <a:pt x="1049" y="491"/>
                  <a:pt x="1049" y="491"/>
                </a:cubicBezTo>
                <a:cubicBezTo>
                  <a:pt x="1041" y="491"/>
                  <a:pt x="1034" y="498"/>
                  <a:pt x="1034" y="506"/>
                </a:cubicBezTo>
                <a:cubicBezTo>
                  <a:pt x="1034" y="514"/>
                  <a:pt x="1041" y="520"/>
                  <a:pt x="1049" y="520"/>
                </a:cubicBezTo>
                <a:cubicBezTo>
                  <a:pt x="1307" y="520"/>
                  <a:pt x="1307" y="520"/>
                  <a:pt x="1307" y="520"/>
                </a:cubicBezTo>
                <a:cubicBezTo>
                  <a:pt x="1315" y="520"/>
                  <a:pt x="1322" y="514"/>
                  <a:pt x="1322" y="506"/>
                </a:cubicBezTo>
                <a:cubicBezTo>
                  <a:pt x="1322" y="498"/>
                  <a:pt x="1315" y="491"/>
                  <a:pt x="1307" y="491"/>
                </a:cubicBezTo>
                <a:close/>
                <a:moveTo>
                  <a:pt x="354" y="506"/>
                </a:moveTo>
                <a:cubicBezTo>
                  <a:pt x="354" y="546"/>
                  <a:pt x="321" y="579"/>
                  <a:pt x="280" y="579"/>
                </a:cubicBezTo>
                <a:cubicBezTo>
                  <a:pt x="239" y="579"/>
                  <a:pt x="206" y="546"/>
                  <a:pt x="206" y="506"/>
                </a:cubicBezTo>
                <a:cubicBezTo>
                  <a:pt x="206" y="465"/>
                  <a:pt x="239" y="432"/>
                  <a:pt x="280" y="432"/>
                </a:cubicBezTo>
                <a:cubicBezTo>
                  <a:pt x="321" y="432"/>
                  <a:pt x="354" y="465"/>
                  <a:pt x="354" y="506"/>
                </a:cubicBezTo>
                <a:close/>
                <a:moveTo>
                  <a:pt x="325" y="506"/>
                </a:moveTo>
                <a:cubicBezTo>
                  <a:pt x="325" y="481"/>
                  <a:pt x="305" y="461"/>
                  <a:pt x="280" y="461"/>
                </a:cubicBezTo>
                <a:cubicBezTo>
                  <a:pt x="255" y="461"/>
                  <a:pt x="235" y="481"/>
                  <a:pt x="235" y="506"/>
                </a:cubicBezTo>
                <a:cubicBezTo>
                  <a:pt x="235" y="530"/>
                  <a:pt x="255" y="550"/>
                  <a:pt x="280" y="550"/>
                </a:cubicBezTo>
                <a:cubicBezTo>
                  <a:pt x="305" y="550"/>
                  <a:pt x="325" y="530"/>
                  <a:pt x="325" y="506"/>
                </a:cubicBezTo>
                <a:close/>
                <a:moveTo>
                  <a:pt x="722" y="506"/>
                </a:moveTo>
                <a:cubicBezTo>
                  <a:pt x="722" y="546"/>
                  <a:pt x="689" y="579"/>
                  <a:pt x="649" y="579"/>
                </a:cubicBezTo>
                <a:cubicBezTo>
                  <a:pt x="608" y="579"/>
                  <a:pt x="575" y="546"/>
                  <a:pt x="575" y="506"/>
                </a:cubicBezTo>
                <a:cubicBezTo>
                  <a:pt x="575" y="465"/>
                  <a:pt x="608" y="432"/>
                  <a:pt x="649" y="432"/>
                </a:cubicBezTo>
                <a:cubicBezTo>
                  <a:pt x="689" y="432"/>
                  <a:pt x="722" y="465"/>
                  <a:pt x="722" y="506"/>
                </a:cubicBezTo>
                <a:close/>
                <a:moveTo>
                  <a:pt x="693" y="506"/>
                </a:moveTo>
                <a:cubicBezTo>
                  <a:pt x="693" y="481"/>
                  <a:pt x="673" y="461"/>
                  <a:pt x="649" y="461"/>
                </a:cubicBezTo>
                <a:cubicBezTo>
                  <a:pt x="624" y="461"/>
                  <a:pt x="604" y="481"/>
                  <a:pt x="604" y="506"/>
                </a:cubicBezTo>
                <a:cubicBezTo>
                  <a:pt x="604" y="530"/>
                  <a:pt x="624" y="550"/>
                  <a:pt x="649" y="550"/>
                </a:cubicBezTo>
                <a:cubicBezTo>
                  <a:pt x="673" y="550"/>
                  <a:pt x="693" y="530"/>
                  <a:pt x="693" y="506"/>
                </a:cubicBezTo>
                <a:close/>
                <a:moveTo>
                  <a:pt x="538" y="506"/>
                </a:moveTo>
                <a:cubicBezTo>
                  <a:pt x="538" y="546"/>
                  <a:pt x="505" y="579"/>
                  <a:pt x="464" y="579"/>
                </a:cubicBezTo>
                <a:cubicBezTo>
                  <a:pt x="424" y="579"/>
                  <a:pt x="391" y="546"/>
                  <a:pt x="391" y="506"/>
                </a:cubicBezTo>
                <a:cubicBezTo>
                  <a:pt x="391" y="465"/>
                  <a:pt x="424" y="432"/>
                  <a:pt x="464" y="432"/>
                </a:cubicBezTo>
                <a:cubicBezTo>
                  <a:pt x="505" y="432"/>
                  <a:pt x="538" y="465"/>
                  <a:pt x="538" y="506"/>
                </a:cubicBezTo>
                <a:close/>
                <a:moveTo>
                  <a:pt x="509" y="506"/>
                </a:moveTo>
                <a:cubicBezTo>
                  <a:pt x="509" y="481"/>
                  <a:pt x="489" y="461"/>
                  <a:pt x="464" y="461"/>
                </a:cubicBezTo>
                <a:cubicBezTo>
                  <a:pt x="440" y="461"/>
                  <a:pt x="420" y="481"/>
                  <a:pt x="420" y="506"/>
                </a:cubicBezTo>
                <a:cubicBezTo>
                  <a:pt x="420" y="530"/>
                  <a:pt x="440" y="550"/>
                  <a:pt x="464" y="550"/>
                </a:cubicBezTo>
                <a:cubicBezTo>
                  <a:pt x="489" y="550"/>
                  <a:pt x="509" y="530"/>
                  <a:pt x="509" y="506"/>
                </a:cubicBezTo>
                <a:close/>
                <a:moveTo>
                  <a:pt x="1307" y="836"/>
                </a:moveTo>
                <a:cubicBezTo>
                  <a:pt x="1049" y="836"/>
                  <a:pt x="1049" y="836"/>
                  <a:pt x="1049" y="836"/>
                </a:cubicBezTo>
                <a:cubicBezTo>
                  <a:pt x="1041" y="836"/>
                  <a:pt x="1034" y="842"/>
                  <a:pt x="1034" y="850"/>
                </a:cubicBezTo>
                <a:cubicBezTo>
                  <a:pt x="1034" y="858"/>
                  <a:pt x="1041" y="865"/>
                  <a:pt x="1049" y="865"/>
                </a:cubicBezTo>
                <a:cubicBezTo>
                  <a:pt x="1307" y="865"/>
                  <a:pt x="1307" y="865"/>
                  <a:pt x="1307" y="865"/>
                </a:cubicBezTo>
                <a:cubicBezTo>
                  <a:pt x="1315" y="865"/>
                  <a:pt x="1322" y="858"/>
                  <a:pt x="1322" y="850"/>
                </a:cubicBezTo>
                <a:cubicBezTo>
                  <a:pt x="1322" y="842"/>
                  <a:pt x="1315" y="836"/>
                  <a:pt x="1307" y="836"/>
                </a:cubicBezTo>
                <a:close/>
                <a:moveTo>
                  <a:pt x="354" y="850"/>
                </a:moveTo>
                <a:cubicBezTo>
                  <a:pt x="354" y="891"/>
                  <a:pt x="321" y="924"/>
                  <a:pt x="280" y="924"/>
                </a:cubicBezTo>
                <a:cubicBezTo>
                  <a:pt x="239" y="924"/>
                  <a:pt x="206" y="891"/>
                  <a:pt x="206" y="850"/>
                </a:cubicBezTo>
                <a:cubicBezTo>
                  <a:pt x="206" y="810"/>
                  <a:pt x="239" y="777"/>
                  <a:pt x="280" y="777"/>
                </a:cubicBezTo>
                <a:cubicBezTo>
                  <a:pt x="321" y="777"/>
                  <a:pt x="354" y="810"/>
                  <a:pt x="354" y="850"/>
                </a:cubicBezTo>
                <a:close/>
                <a:moveTo>
                  <a:pt x="325" y="850"/>
                </a:moveTo>
                <a:cubicBezTo>
                  <a:pt x="325" y="826"/>
                  <a:pt x="305" y="806"/>
                  <a:pt x="280" y="806"/>
                </a:cubicBezTo>
                <a:cubicBezTo>
                  <a:pt x="255" y="806"/>
                  <a:pt x="235" y="826"/>
                  <a:pt x="235" y="850"/>
                </a:cubicBezTo>
                <a:cubicBezTo>
                  <a:pt x="235" y="875"/>
                  <a:pt x="255" y="895"/>
                  <a:pt x="280" y="895"/>
                </a:cubicBezTo>
                <a:cubicBezTo>
                  <a:pt x="305" y="895"/>
                  <a:pt x="325" y="875"/>
                  <a:pt x="325" y="850"/>
                </a:cubicBezTo>
                <a:close/>
                <a:moveTo>
                  <a:pt x="722" y="850"/>
                </a:moveTo>
                <a:cubicBezTo>
                  <a:pt x="722" y="891"/>
                  <a:pt x="689" y="924"/>
                  <a:pt x="649" y="924"/>
                </a:cubicBezTo>
                <a:cubicBezTo>
                  <a:pt x="608" y="924"/>
                  <a:pt x="575" y="891"/>
                  <a:pt x="575" y="850"/>
                </a:cubicBezTo>
                <a:cubicBezTo>
                  <a:pt x="575" y="810"/>
                  <a:pt x="608" y="777"/>
                  <a:pt x="649" y="777"/>
                </a:cubicBezTo>
                <a:cubicBezTo>
                  <a:pt x="689" y="777"/>
                  <a:pt x="722" y="810"/>
                  <a:pt x="722" y="850"/>
                </a:cubicBezTo>
                <a:close/>
                <a:moveTo>
                  <a:pt x="693" y="850"/>
                </a:moveTo>
                <a:cubicBezTo>
                  <a:pt x="693" y="826"/>
                  <a:pt x="673" y="806"/>
                  <a:pt x="649" y="806"/>
                </a:cubicBezTo>
                <a:cubicBezTo>
                  <a:pt x="624" y="806"/>
                  <a:pt x="604" y="826"/>
                  <a:pt x="604" y="850"/>
                </a:cubicBezTo>
                <a:cubicBezTo>
                  <a:pt x="604" y="875"/>
                  <a:pt x="624" y="895"/>
                  <a:pt x="649" y="895"/>
                </a:cubicBezTo>
                <a:cubicBezTo>
                  <a:pt x="673" y="895"/>
                  <a:pt x="693" y="875"/>
                  <a:pt x="693" y="850"/>
                </a:cubicBezTo>
                <a:close/>
                <a:moveTo>
                  <a:pt x="538" y="850"/>
                </a:moveTo>
                <a:cubicBezTo>
                  <a:pt x="538" y="891"/>
                  <a:pt x="505" y="924"/>
                  <a:pt x="464" y="924"/>
                </a:cubicBezTo>
                <a:cubicBezTo>
                  <a:pt x="424" y="924"/>
                  <a:pt x="391" y="891"/>
                  <a:pt x="391" y="850"/>
                </a:cubicBezTo>
                <a:cubicBezTo>
                  <a:pt x="391" y="810"/>
                  <a:pt x="424" y="777"/>
                  <a:pt x="464" y="777"/>
                </a:cubicBezTo>
                <a:cubicBezTo>
                  <a:pt x="505" y="777"/>
                  <a:pt x="538" y="810"/>
                  <a:pt x="538" y="850"/>
                </a:cubicBezTo>
                <a:close/>
                <a:moveTo>
                  <a:pt x="509" y="850"/>
                </a:moveTo>
                <a:cubicBezTo>
                  <a:pt x="509" y="826"/>
                  <a:pt x="489" y="806"/>
                  <a:pt x="464" y="806"/>
                </a:cubicBezTo>
                <a:cubicBezTo>
                  <a:pt x="440" y="806"/>
                  <a:pt x="420" y="826"/>
                  <a:pt x="420" y="850"/>
                </a:cubicBezTo>
                <a:cubicBezTo>
                  <a:pt x="420" y="875"/>
                  <a:pt x="440" y="895"/>
                  <a:pt x="464" y="895"/>
                </a:cubicBezTo>
                <a:cubicBezTo>
                  <a:pt x="489" y="895"/>
                  <a:pt x="509" y="875"/>
                  <a:pt x="509" y="850"/>
                </a:cubicBezTo>
                <a:close/>
                <a:moveTo>
                  <a:pt x="1580" y="1135"/>
                </a:moveTo>
                <a:cubicBezTo>
                  <a:pt x="1580" y="1191"/>
                  <a:pt x="1535" y="1236"/>
                  <a:pt x="1480" y="1236"/>
                </a:cubicBezTo>
                <a:cubicBezTo>
                  <a:pt x="100" y="1236"/>
                  <a:pt x="100" y="1236"/>
                  <a:pt x="100" y="1236"/>
                </a:cubicBezTo>
                <a:cubicBezTo>
                  <a:pt x="45" y="1236"/>
                  <a:pt x="0" y="1191"/>
                  <a:pt x="0" y="1135"/>
                </a:cubicBezTo>
                <a:cubicBezTo>
                  <a:pt x="0" y="1080"/>
                  <a:pt x="45" y="1035"/>
                  <a:pt x="100" y="1035"/>
                </a:cubicBezTo>
                <a:cubicBezTo>
                  <a:pt x="112" y="1035"/>
                  <a:pt x="112" y="1035"/>
                  <a:pt x="112" y="1035"/>
                </a:cubicBezTo>
                <a:cubicBezTo>
                  <a:pt x="96" y="1018"/>
                  <a:pt x="86" y="995"/>
                  <a:pt x="86" y="970"/>
                </a:cubicBezTo>
                <a:cubicBezTo>
                  <a:pt x="86" y="783"/>
                  <a:pt x="86" y="783"/>
                  <a:pt x="86" y="783"/>
                </a:cubicBezTo>
                <a:cubicBezTo>
                  <a:pt x="86" y="750"/>
                  <a:pt x="104" y="721"/>
                  <a:pt x="130" y="704"/>
                </a:cubicBezTo>
                <a:cubicBezTo>
                  <a:pt x="104" y="688"/>
                  <a:pt x="86" y="659"/>
                  <a:pt x="86" y="625"/>
                </a:cubicBezTo>
                <a:cubicBezTo>
                  <a:pt x="86" y="439"/>
                  <a:pt x="86" y="439"/>
                  <a:pt x="86" y="439"/>
                </a:cubicBezTo>
                <a:cubicBezTo>
                  <a:pt x="86" y="405"/>
                  <a:pt x="104" y="376"/>
                  <a:pt x="130" y="360"/>
                </a:cubicBezTo>
                <a:cubicBezTo>
                  <a:pt x="104" y="343"/>
                  <a:pt x="86" y="314"/>
                  <a:pt x="86" y="281"/>
                </a:cubicBezTo>
                <a:cubicBezTo>
                  <a:pt x="86" y="94"/>
                  <a:pt x="86" y="94"/>
                  <a:pt x="86" y="94"/>
                </a:cubicBezTo>
                <a:cubicBezTo>
                  <a:pt x="86" y="42"/>
                  <a:pt x="128" y="0"/>
                  <a:pt x="179" y="0"/>
                </a:cubicBezTo>
                <a:cubicBezTo>
                  <a:pt x="1401" y="0"/>
                  <a:pt x="1401" y="0"/>
                  <a:pt x="1401" y="0"/>
                </a:cubicBezTo>
                <a:cubicBezTo>
                  <a:pt x="1452" y="0"/>
                  <a:pt x="1494" y="42"/>
                  <a:pt x="1494" y="94"/>
                </a:cubicBezTo>
                <a:cubicBezTo>
                  <a:pt x="1494" y="281"/>
                  <a:pt x="1494" y="281"/>
                  <a:pt x="1494" y="281"/>
                </a:cubicBezTo>
                <a:cubicBezTo>
                  <a:pt x="1494" y="314"/>
                  <a:pt x="1476" y="343"/>
                  <a:pt x="1450" y="360"/>
                </a:cubicBezTo>
                <a:cubicBezTo>
                  <a:pt x="1476" y="376"/>
                  <a:pt x="1494" y="405"/>
                  <a:pt x="1494" y="439"/>
                </a:cubicBezTo>
                <a:cubicBezTo>
                  <a:pt x="1494" y="625"/>
                  <a:pt x="1494" y="625"/>
                  <a:pt x="1494" y="625"/>
                </a:cubicBezTo>
                <a:cubicBezTo>
                  <a:pt x="1494" y="659"/>
                  <a:pt x="1476" y="688"/>
                  <a:pt x="1450" y="704"/>
                </a:cubicBezTo>
                <a:cubicBezTo>
                  <a:pt x="1476" y="721"/>
                  <a:pt x="1494" y="750"/>
                  <a:pt x="1494" y="783"/>
                </a:cubicBezTo>
                <a:cubicBezTo>
                  <a:pt x="1494" y="970"/>
                  <a:pt x="1494" y="970"/>
                  <a:pt x="1494" y="970"/>
                </a:cubicBezTo>
                <a:cubicBezTo>
                  <a:pt x="1494" y="995"/>
                  <a:pt x="1484" y="1018"/>
                  <a:pt x="1468" y="1035"/>
                </a:cubicBezTo>
                <a:cubicBezTo>
                  <a:pt x="1480" y="1035"/>
                  <a:pt x="1480" y="1035"/>
                  <a:pt x="1480" y="1035"/>
                </a:cubicBezTo>
                <a:cubicBezTo>
                  <a:pt x="1535" y="1035"/>
                  <a:pt x="1580" y="1080"/>
                  <a:pt x="1580" y="1135"/>
                </a:cubicBezTo>
                <a:close/>
                <a:moveTo>
                  <a:pt x="179" y="345"/>
                </a:moveTo>
                <a:cubicBezTo>
                  <a:pt x="1401" y="345"/>
                  <a:pt x="1401" y="345"/>
                  <a:pt x="1401" y="345"/>
                </a:cubicBezTo>
                <a:cubicBezTo>
                  <a:pt x="1436" y="345"/>
                  <a:pt x="1465" y="316"/>
                  <a:pt x="1465" y="281"/>
                </a:cubicBezTo>
                <a:cubicBezTo>
                  <a:pt x="1465" y="94"/>
                  <a:pt x="1465" y="94"/>
                  <a:pt x="1465" y="94"/>
                </a:cubicBezTo>
                <a:cubicBezTo>
                  <a:pt x="1465" y="58"/>
                  <a:pt x="1436" y="29"/>
                  <a:pt x="1401" y="29"/>
                </a:cubicBezTo>
                <a:cubicBezTo>
                  <a:pt x="179" y="29"/>
                  <a:pt x="179" y="29"/>
                  <a:pt x="179" y="29"/>
                </a:cubicBezTo>
                <a:cubicBezTo>
                  <a:pt x="144" y="29"/>
                  <a:pt x="115" y="58"/>
                  <a:pt x="115" y="94"/>
                </a:cubicBezTo>
                <a:cubicBezTo>
                  <a:pt x="115" y="281"/>
                  <a:pt x="115" y="281"/>
                  <a:pt x="115" y="281"/>
                </a:cubicBezTo>
                <a:cubicBezTo>
                  <a:pt x="115" y="316"/>
                  <a:pt x="144" y="345"/>
                  <a:pt x="179" y="345"/>
                </a:cubicBezTo>
                <a:close/>
                <a:moveTo>
                  <a:pt x="179" y="690"/>
                </a:moveTo>
                <a:cubicBezTo>
                  <a:pt x="1401" y="690"/>
                  <a:pt x="1401" y="690"/>
                  <a:pt x="1401" y="690"/>
                </a:cubicBezTo>
                <a:cubicBezTo>
                  <a:pt x="1436" y="690"/>
                  <a:pt x="1465" y="661"/>
                  <a:pt x="1465" y="625"/>
                </a:cubicBezTo>
                <a:cubicBezTo>
                  <a:pt x="1465" y="439"/>
                  <a:pt x="1465" y="439"/>
                  <a:pt x="1465" y="439"/>
                </a:cubicBezTo>
                <a:cubicBezTo>
                  <a:pt x="1465" y="403"/>
                  <a:pt x="1436" y="374"/>
                  <a:pt x="1401" y="374"/>
                </a:cubicBezTo>
                <a:cubicBezTo>
                  <a:pt x="179" y="374"/>
                  <a:pt x="179" y="374"/>
                  <a:pt x="179" y="374"/>
                </a:cubicBezTo>
                <a:cubicBezTo>
                  <a:pt x="144" y="374"/>
                  <a:pt x="115" y="403"/>
                  <a:pt x="115" y="439"/>
                </a:cubicBezTo>
                <a:cubicBezTo>
                  <a:pt x="115" y="625"/>
                  <a:pt x="115" y="625"/>
                  <a:pt x="115" y="625"/>
                </a:cubicBezTo>
                <a:cubicBezTo>
                  <a:pt x="115" y="661"/>
                  <a:pt x="144" y="690"/>
                  <a:pt x="179" y="690"/>
                </a:cubicBezTo>
                <a:close/>
                <a:moveTo>
                  <a:pt x="179" y="1035"/>
                </a:moveTo>
                <a:cubicBezTo>
                  <a:pt x="1401" y="1035"/>
                  <a:pt x="1401" y="1035"/>
                  <a:pt x="1401" y="1035"/>
                </a:cubicBezTo>
                <a:cubicBezTo>
                  <a:pt x="1436" y="1035"/>
                  <a:pt x="1465" y="1006"/>
                  <a:pt x="1465" y="970"/>
                </a:cubicBezTo>
                <a:cubicBezTo>
                  <a:pt x="1465" y="783"/>
                  <a:pt x="1465" y="783"/>
                  <a:pt x="1465" y="783"/>
                </a:cubicBezTo>
                <a:cubicBezTo>
                  <a:pt x="1465" y="748"/>
                  <a:pt x="1436" y="719"/>
                  <a:pt x="1401" y="719"/>
                </a:cubicBezTo>
                <a:cubicBezTo>
                  <a:pt x="179" y="719"/>
                  <a:pt x="179" y="719"/>
                  <a:pt x="179" y="719"/>
                </a:cubicBezTo>
                <a:cubicBezTo>
                  <a:pt x="144" y="719"/>
                  <a:pt x="115" y="748"/>
                  <a:pt x="115" y="783"/>
                </a:cubicBezTo>
                <a:cubicBezTo>
                  <a:pt x="115" y="970"/>
                  <a:pt x="115" y="970"/>
                  <a:pt x="115" y="970"/>
                </a:cubicBezTo>
                <a:cubicBezTo>
                  <a:pt x="115" y="1006"/>
                  <a:pt x="144" y="1035"/>
                  <a:pt x="179" y="1035"/>
                </a:cubicBezTo>
                <a:close/>
                <a:moveTo>
                  <a:pt x="1551" y="1135"/>
                </a:moveTo>
                <a:cubicBezTo>
                  <a:pt x="1551" y="1096"/>
                  <a:pt x="1519" y="1064"/>
                  <a:pt x="1480" y="1064"/>
                </a:cubicBezTo>
                <a:cubicBezTo>
                  <a:pt x="1401" y="1064"/>
                  <a:pt x="1401" y="1064"/>
                  <a:pt x="1401" y="1064"/>
                </a:cubicBezTo>
                <a:cubicBezTo>
                  <a:pt x="179" y="1064"/>
                  <a:pt x="179" y="1064"/>
                  <a:pt x="179" y="1064"/>
                </a:cubicBezTo>
                <a:cubicBezTo>
                  <a:pt x="100" y="1064"/>
                  <a:pt x="100" y="1064"/>
                  <a:pt x="100" y="1064"/>
                </a:cubicBezTo>
                <a:cubicBezTo>
                  <a:pt x="61" y="1064"/>
                  <a:pt x="29" y="1096"/>
                  <a:pt x="29" y="1135"/>
                </a:cubicBezTo>
                <a:cubicBezTo>
                  <a:pt x="29" y="1175"/>
                  <a:pt x="61" y="1207"/>
                  <a:pt x="100" y="1207"/>
                </a:cubicBezTo>
                <a:cubicBezTo>
                  <a:pt x="1480" y="1207"/>
                  <a:pt x="1480" y="1207"/>
                  <a:pt x="1480" y="1207"/>
                </a:cubicBezTo>
                <a:cubicBezTo>
                  <a:pt x="1519" y="1207"/>
                  <a:pt x="1551" y="1175"/>
                  <a:pt x="1551" y="11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Rectangle 8"/>
          <p:cNvSpPr/>
          <p:nvPr/>
        </p:nvSpPr>
        <p:spPr>
          <a:xfrm>
            <a:off x="3343275" y="1543050"/>
            <a:ext cx="2457450" cy="42545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TextBox 9"/>
          <p:cNvSpPr txBox="1"/>
          <p:nvPr/>
        </p:nvSpPr>
        <p:spPr>
          <a:xfrm>
            <a:off x="3733800" y="1686526"/>
            <a:ext cx="16764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rketing</a:t>
            </a:r>
          </a:p>
        </p:txBody>
      </p:sp>
      <p:sp>
        <p:nvSpPr>
          <p:cNvPr id="17" name="Freeform 112"/>
          <p:cNvSpPr>
            <a:spLocks noEditPoints="1"/>
          </p:cNvSpPr>
          <p:nvPr/>
        </p:nvSpPr>
        <p:spPr bwMode="auto">
          <a:xfrm>
            <a:off x="4237199" y="2303180"/>
            <a:ext cx="660505" cy="577604"/>
          </a:xfrm>
          <a:custGeom>
            <a:avLst/>
            <a:gdLst>
              <a:gd name="T0" fmla="*/ 596 w 1591"/>
              <a:gd name="T1" fmla="*/ 323 h 1390"/>
              <a:gd name="T2" fmla="*/ 586 w 1591"/>
              <a:gd name="T3" fmla="*/ 846 h 1390"/>
              <a:gd name="T4" fmla="*/ 1180 w 1591"/>
              <a:gd name="T5" fmla="*/ 1183 h 1390"/>
              <a:gd name="T6" fmla="*/ 1199 w 1591"/>
              <a:gd name="T7" fmla="*/ 1182 h 1390"/>
              <a:gd name="T8" fmla="*/ 1208 w 1591"/>
              <a:gd name="T9" fmla="*/ 20 h 1390"/>
              <a:gd name="T10" fmla="*/ 1180 w 1591"/>
              <a:gd name="T11" fmla="*/ 3 h 1390"/>
              <a:gd name="T12" fmla="*/ 624 w 1591"/>
              <a:gd name="T13" fmla="*/ 835 h 1390"/>
              <a:gd name="T14" fmla="*/ 1171 w 1591"/>
              <a:gd name="T15" fmla="*/ 52 h 1390"/>
              <a:gd name="T16" fmla="*/ 195 w 1591"/>
              <a:gd name="T17" fmla="*/ 428 h 1390"/>
              <a:gd name="T18" fmla="*/ 544 w 1591"/>
              <a:gd name="T19" fmla="*/ 372 h 1390"/>
              <a:gd name="T20" fmla="*/ 544 w 1591"/>
              <a:gd name="T21" fmla="*/ 334 h 1390"/>
              <a:gd name="T22" fmla="*/ 168 w 1591"/>
              <a:gd name="T23" fmla="*/ 401 h 1390"/>
              <a:gd name="T24" fmla="*/ 111 w 1591"/>
              <a:gd name="T25" fmla="*/ 492 h 1390"/>
              <a:gd name="T26" fmla="*/ 0 w 1591"/>
              <a:gd name="T27" fmla="*/ 574 h 1390"/>
              <a:gd name="T28" fmla="*/ 82 w 1591"/>
              <a:gd name="T29" fmla="*/ 694 h 1390"/>
              <a:gd name="T30" fmla="*/ 112 w 1591"/>
              <a:gd name="T31" fmla="*/ 694 h 1390"/>
              <a:gd name="T32" fmla="*/ 328 w 1591"/>
              <a:gd name="T33" fmla="*/ 851 h 1390"/>
              <a:gd name="T34" fmla="*/ 563 w 1591"/>
              <a:gd name="T35" fmla="*/ 832 h 1390"/>
              <a:gd name="T36" fmla="*/ 328 w 1591"/>
              <a:gd name="T37" fmla="*/ 813 h 1390"/>
              <a:gd name="T38" fmla="*/ 139 w 1591"/>
              <a:gd name="T39" fmla="*/ 624 h 1390"/>
              <a:gd name="T40" fmla="*/ 195 w 1591"/>
              <a:gd name="T41" fmla="*/ 428 h 1390"/>
              <a:gd name="T42" fmla="*/ 38 w 1591"/>
              <a:gd name="T43" fmla="*/ 612 h 1390"/>
              <a:gd name="T44" fmla="*/ 82 w 1591"/>
              <a:gd name="T45" fmla="*/ 530 h 1390"/>
              <a:gd name="T46" fmla="*/ 101 w 1591"/>
              <a:gd name="T47" fmla="*/ 562 h 1390"/>
              <a:gd name="T48" fmla="*/ 104 w 1591"/>
              <a:gd name="T49" fmla="*/ 656 h 1390"/>
              <a:gd name="T50" fmla="*/ 1591 w 1591"/>
              <a:gd name="T51" fmla="*/ 593 h 1390"/>
              <a:gd name="T52" fmla="*/ 1498 w 1591"/>
              <a:gd name="T53" fmla="*/ 936 h 1390"/>
              <a:gd name="T54" fmla="*/ 1481 w 1591"/>
              <a:gd name="T55" fmla="*/ 909 h 1390"/>
              <a:gd name="T56" fmla="*/ 1481 w 1591"/>
              <a:gd name="T57" fmla="*/ 277 h 1390"/>
              <a:gd name="T58" fmla="*/ 1515 w 1591"/>
              <a:gd name="T59" fmla="*/ 261 h 1390"/>
              <a:gd name="T60" fmla="*/ 1406 w 1591"/>
              <a:gd name="T61" fmla="*/ 371 h 1390"/>
              <a:gd name="T62" fmla="*/ 1406 w 1591"/>
              <a:gd name="T63" fmla="*/ 815 h 1390"/>
              <a:gd name="T64" fmla="*/ 1382 w 1591"/>
              <a:gd name="T65" fmla="*/ 826 h 1390"/>
              <a:gd name="T66" fmla="*/ 1410 w 1591"/>
              <a:gd name="T67" fmla="*/ 593 h 1390"/>
              <a:gd name="T68" fmla="*/ 1382 w 1591"/>
              <a:gd name="T69" fmla="*/ 360 h 1390"/>
              <a:gd name="T70" fmla="*/ 1292 w 1591"/>
              <a:gd name="T71" fmla="*/ 489 h 1390"/>
              <a:gd name="T72" fmla="*/ 1292 w 1591"/>
              <a:gd name="T73" fmla="*/ 697 h 1390"/>
              <a:gd name="T74" fmla="*/ 1269 w 1591"/>
              <a:gd name="T75" fmla="*/ 712 h 1390"/>
              <a:gd name="T76" fmla="*/ 1266 w 1591"/>
              <a:gd name="T77" fmla="*/ 593 h 1390"/>
              <a:gd name="T78" fmla="*/ 1269 w 1591"/>
              <a:gd name="T79" fmla="*/ 474 h 1390"/>
              <a:gd name="T80" fmla="*/ 499 w 1591"/>
              <a:gd name="T81" fmla="*/ 890 h 1390"/>
              <a:gd name="T82" fmla="*/ 417 w 1591"/>
              <a:gd name="T83" fmla="*/ 1390 h 1390"/>
              <a:gd name="T84" fmla="*/ 297 w 1591"/>
              <a:gd name="T85" fmla="*/ 1307 h 1390"/>
              <a:gd name="T86" fmla="*/ 316 w 1591"/>
              <a:gd name="T87" fmla="*/ 871 h 1390"/>
              <a:gd name="T88" fmla="*/ 335 w 1591"/>
              <a:gd name="T89" fmla="*/ 1307 h 1390"/>
              <a:gd name="T90" fmla="*/ 417 w 1591"/>
              <a:gd name="T91" fmla="*/ 1352 h 1390"/>
              <a:gd name="T92" fmla="*/ 462 w 1591"/>
              <a:gd name="T93" fmla="*/ 890 h 1390"/>
              <a:gd name="T94" fmla="*/ 499 w 1591"/>
              <a:gd name="T95" fmla="*/ 8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91" h="1390">
                <a:moveTo>
                  <a:pt x="1180" y="3"/>
                </a:moveTo>
                <a:cubicBezTo>
                  <a:pt x="596" y="323"/>
                  <a:pt x="596" y="323"/>
                  <a:pt x="596" y="323"/>
                </a:cubicBezTo>
                <a:cubicBezTo>
                  <a:pt x="590" y="326"/>
                  <a:pt x="586" y="333"/>
                  <a:pt x="586" y="340"/>
                </a:cubicBezTo>
                <a:cubicBezTo>
                  <a:pt x="586" y="846"/>
                  <a:pt x="586" y="846"/>
                  <a:pt x="586" y="846"/>
                </a:cubicBezTo>
                <a:cubicBezTo>
                  <a:pt x="586" y="853"/>
                  <a:pt x="590" y="860"/>
                  <a:pt x="596" y="863"/>
                </a:cubicBezTo>
                <a:cubicBezTo>
                  <a:pt x="1180" y="1183"/>
                  <a:pt x="1180" y="1183"/>
                  <a:pt x="1180" y="1183"/>
                </a:cubicBezTo>
                <a:cubicBezTo>
                  <a:pt x="1183" y="1184"/>
                  <a:pt x="1186" y="1185"/>
                  <a:pt x="1189" y="1185"/>
                </a:cubicBezTo>
                <a:cubicBezTo>
                  <a:pt x="1193" y="1185"/>
                  <a:pt x="1196" y="1184"/>
                  <a:pt x="1199" y="1182"/>
                </a:cubicBezTo>
                <a:cubicBezTo>
                  <a:pt x="1205" y="1179"/>
                  <a:pt x="1208" y="1173"/>
                  <a:pt x="1208" y="1166"/>
                </a:cubicBezTo>
                <a:cubicBezTo>
                  <a:pt x="1208" y="20"/>
                  <a:pt x="1208" y="20"/>
                  <a:pt x="1208" y="20"/>
                </a:cubicBezTo>
                <a:cubicBezTo>
                  <a:pt x="1208" y="13"/>
                  <a:pt x="1205" y="7"/>
                  <a:pt x="1199" y="3"/>
                </a:cubicBezTo>
                <a:cubicBezTo>
                  <a:pt x="1193" y="0"/>
                  <a:pt x="1186" y="0"/>
                  <a:pt x="1180" y="3"/>
                </a:cubicBezTo>
                <a:close/>
                <a:moveTo>
                  <a:pt x="1171" y="1134"/>
                </a:moveTo>
                <a:cubicBezTo>
                  <a:pt x="624" y="835"/>
                  <a:pt x="624" y="835"/>
                  <a:pt x="624" y="835"/>
                </a:cubicBezTo>
                <a:cubicBezTo>
                  <a:pt x="624" y="351"/>
                  <a:pt x="624" y="351"/>
                  <a:pt x="624" y="351"/>
                </a:cubicBezTo>
                <a:cubicBezTo>
                  <a:pt x="1171" y="52"/>
                  <a:pt x="1171" y="52"/>
                  <a:pt x="1171" y="52"/>
                </a:cubicBezTo>
                <a:lnTo>
                  <a:pt x="1171" y="1134"/>
                </a:lnTo>
                <a:close/>
                <a:moveTo>
                  <a:pt x="195" y="428"/>
                </a:moveTo>
                <a:cubicBezTo>
                  <a:pt x="230" y="392"/>
                  <a:pt x="278" y="372"/>
                  <a:pt x="328" y="372"/>
                </a:cubicBezTo>
                <a:cubicBezTo>
                  <a:pt x="544" y="372"/>
                  <a:pt x="544" y="372"/>
                  <a:pt x="544" y="372"/>
                </a:cubicBezTo>
                <a:cubicBezTo>
                  <a:pt x="555" y="372"/>
                  <a:pt x="563" y="364"/>
                  <a:pt x="563" y="353"/>
                </a:cubicBezTo>
                <a:cubicBezTo>
                  <a:pt x="563" y="343"/>
                  <a:pt x="555" y="334"/>
                  <a:pt x="544" y="334"/>
                </a:cubicBezTo>
                <a:cubicBezTo>
                  <a:pt x="328" y="334"/>
                  <a:pt x="328" y="334"/>
                  <a:pt x="328" y="334"/>
                </a:cubicBezTo>
                <a:cubicBezTo>
                  <a:pt x="268" y="334"/>
                  <a:pt x="211" y="358"/>
                  <a:pt x="168" y="401"/>
                </a:cubicBezTo>
                <a:cubicBezTo>
                  <a:pt x="142" y="427"/>
                  <a:pt x="123" y="458"/>
                  <a:pt x="112" y="492"/>
                </a:cubicBezTo>
                <a:cubicBezTo>
                  <a:pt x="112" y="492"/>
                  <a:pt x="111" y="492"/>
                  <a:pt x="111" y="492"/>
                </a:cubicBezTo>
                <a:cubicBezTo>
                  <a:pt x="82" y="492"/>
                  <a:pt x="82" y="492"/>
                  <a:pt x="82" y="492"/>
                </a:cubicBezTo>
                <a:cubicBezTo>
                  <a:pt x="36" y="492"/>
                  <a:pt x="0" y="529"/>
                  <a:pt x="0" y="574"/>
                </a:cubicBezTo>
                <a:cubicBezTo>
                  <a:pt x="0" y="612"/>
                  <a:pt x="0" y="612"/>
                  <a:pt x="0" y="612"/>
                </a:cubicBezTo>
                <a:cubicBezTo>
                  <a:pt x="0" y="657"/>
                  <a:pt x="36" y="694"/>
                  <a:pt x="82" y="694"/>
                </a:cubicBezTo>
                <a:cubicBezTo>
                  <a:pt x="111" y="694"/>
                  <a:pt x="111" y="694"/>
                  <a:pt x="111" y="694"/>
                </a:cubicBezTo>
                <a:cubicBezTo>
                  <a:pt x="111" y="694"/>
                  <a:pt x="112" y="694"/>
                  <a:pt x="112" y="694"/>
                </a:cubicBezTo>
                <a:cubicBezTo>
                  <a:pt x="123" y="728"/>
                  <a:pt x="142" y="759"/>
                  <a:pt x="168" y="785"/>
                </a:cubicBezTo>
                <a:cubicBezTo>
                  <a:pt x="211" y="828"/>
                  <a:pt x="268" y="851"/>
                  <a:pt x="328" y="851"/>
                </a:cubicBezTo>
                <a:cubicBezTo>
                  <a:pt x="544" y="851"/>
                  <a:pt x="544" y="851"/>
                  <a:pt x="544" y="851"/>
                </a:cubicBezTo>
                <a:cubicBezTo>
                  <a:pt x="555" y="851"/>
                  <a:pt x="563" y="843"/>
                  <a:pt x="563" y="832"/>
                </a:cubicBezTo>
                <a:cubicBezTo>
                  <a:pt x="563" y="822"/>
                  <a:pt x="555" y="813"/>
                  <a:pt x="544" y="813"/>
                </a:cubicBezTo>
                <a:cubicBezTo>
                  <a:pt x="328" y="813"/>
                  <a:pt x="328" y="813"/>
                  <a:pt x="328" y="813"/>
                </a:cubicBezTo>
                <a:cubicBezTo>
                  <a:pt x="278" y="813"/>
                  <a:pt x="230" y="794"/>
                  <a:pt x="194" y="758"/>
                </a:cubicBezTo>
                <a:cubicBezTo>
                  <a:pt x="159" y="722"/>
                  <a:pt x="139" y="675"/>
                  <a:pt x="139" y="624"/>
                </a:cubicBezTo>
                <a:cubicBezTo>
                  <a:pt x="139" y="562"/>
                  <a:pt x="139" y="562"/>
                  <a:pt x="139" y="562"/>
                </a:cubicBezTo>
                <a:cubicBezTo>
                  <a:pt x="139" y="511"/>
                  <a:pt x="159" y="464"/>
                  <a:pt x="195" y="428"/>
                </a:cubicBezTo>
                <a:close/>
                <a:moveTo>
                  <a:pt x="82" y="656"/>
                </a:moveTo>
                <a:cubicBezTo>
                  <a:pt x="57" y="656"/>
                  <a:pt x="38" y="636"/>
                  <a:pt x="38" y="612"/>
                </a:cubicBezTo>
                <a:cubicBezTo>
                  <a:pt x="38" y="574"/>
                  <a:pt x="38" y="574"/>
                  <a:pt x="38" y="574"/>
                </a:cubicBezTo>
                <a:cubicBezTo>
                  <a:pt x="38" y="550"/>
                  <a:pt x="57" y="530"/>
                  <a:pt x="82" y="530"/>
                </a:cubicBezTo>
                <a:cubicBezTo>
                  <a:pt x="104" y="530"/>
                  <a:pt x="104" y="530"/>
                  <a:pt x="104" y="530"/>
                </a:cubicBezTo>
                <a:cubicBezTo>
                  <a:pt x="102" y="540"/>
                  <a:pt x="101" y="551"/>
                  <a:pt x="101" y="562"/>
                </a:cubicBezTo>
                <a:cubicBezTo>
                  <a:pt x="101" y="624"/>
                  <a:pt x="101" y="624"/>
                  <a:pt x="101" y="624"/>
                </a:cubicBezTo>
                <a:cubicBezTo>
                  <a:pt x="101" y="635"/>
                  <a:pt x="102" y="646"/>
                  <a:pt x="104" y="656"/>
                </a:cubicBezTo>
                <a:lnTo>
                  <a:pt x="82" y="656"/>
                </a:lnTo>
                <a:close/>
                <a:moveTo>
                  <a:pt x="1591" y="593"/>
                </a:moveTo>
                <a:cubicBezTo>
                  <a:pt x="1591" y="709"/>
                  <a:pt x="1565" y="821"/>
                  <a:pt x="1515" y="925"/>
                </a:cubicBezTo>
                <a:cubicBezTo>
                  <a:pt x="1511" y="932"/>
                  <a:pt x="1505" y="936"/>
                  <a:pt x="1498" y="936"/>
                </a:cubicBezTo>
                <a:cubicBezTo>
                  <a:pt x="1495" y="936"/>
                  <a:pt x="1492" y="935"/>
                  <a:pt x="1489" y="934"/>
                </a:cubicBezTo>
                <a:cubicBezTo>
                  <a:pt x="1480" y="930"/>
                  <a:pt x="1476" y="918"/>
                  <a:pt x="1481" y="909"/>
                </a:cubicBezTo>
                <a:cubicBezTo>
                  <a:pt x="1529" y="810"/>
                  <a:pt x="1553" y="704"/>
                  <a:pt x="1553" y="593"/>
                </a:cubicBezTo>
                <a:cubicBezTo>
                  <a:pt x="1553" y="482"/>
                  <a:pt x="1529" y="376"/>
                  <a:pt x="1481" y="277"/>
                </a:cubicBezTo>
                <a:cubicBezTo>
                  <a:pt x="1476" y="268"/>
                  <a:pt x="1480" y="256"/>
                  <a:pt x="1489" y="252"/>
                </a:cubicBezTo>
                <a:cubicBezTo>
                  <a:pt x="1499" y="247"/>
                  <a:pt x="1510" y="251"/>
                  <a:pt x="1515" y="261"/>
                </a:cubicBezTo>
                <a:cubicBezTo>
                  <a:pt x="1565" y="365"/>
                  <a:pt x="1591" y="476"/>
                  <a:pt x="1591" y="593"/>
                </a:cubicBezTo>
                <a:close/>
                <a:moveTo>
                  <a:pt x="1406" y="371"/>
                </a:moveTo>
                <a:cubicBezTo>
                  <a:pt x="1434" y="442"/>
                  <a:pt x="1447" y="517"/>
                  <a:pt x="1447" y="593"/>
                </a:cubicBezTo>
                <a:cubicBezTo>
                  <a:pt x="1447" y="669"/>
                  <a:pt x="1434" y="744"/>
                  <a:pt x="1406" y="815"/>
                </a:cubicBezTo>
                <a:cubicBezTo>
                  <a:pt x="1403" y="822"/>
                  <a:pt x="1396" y="827"/>
                  <a:pt x="1388" y="827"/>
                </a:cubicBezTo>
                <a:cubicBezTo>
                  <a:pt x="1386" y="827"/>
                  <a:pt x="1384" y="826"/>
                  <a:pt x="1382" y="826"/>
                </a:cubicBezTo>
                <a:cubicBezTo>
                  <a:pt x="1372" y="822"/>
                  <a:pt x="1367" y="811"/>
                  <a:pt x="1371" y="801"/>
                </a:cubicBezTo>
                <a:cubicBezTo>
                  <a:pt x="1396" y="735"/>
                  <a:pt x="1410" y="665"/>
                  <a:pt x="1410" y="593"/>
                </a:cubicBezTo>
                <a:cubicBezTo>
                  <a:pt x="1410" y="521"/>
                  <a:pt x="1396" y="451"/>
                  <a:pt x="1371" y="385"/>
                </a:cubicBezTo>
                <a:cubicBezTo>
                  <a:pt x="1367" y="375"/>
                  <a:pt x="1372" y="364"/>
                  <a:pt x="1382" y="360"/>
                </a:cubicBezTo>
                <a:cubicBezTo>
                  <a:pt x="1391" y="357"/>
                  <a:pt x="1402" y="361"/>
                  <a:pt x="1406" y="371"/>
                </a:cubicBezTo>
                <a:close/>
                <a:moveTo>
                  <a:pt x="1292" y="489"/>
                </a:moveTo>
                <a:cubicBezTo>
                  <a:pt x="1300" y="523"/>
                  <a:pt x="1304" y="558"/>
                  <a:pt x="1304" y="593"/>
                </a:cubicBezTo>
                <a:cubicBezTo>
                  <a:pt x="1304" y="628"/>
                  <a:pt x="1300" y="663"/>
                  <a:pt x="1292" y="697"/>
                </a:cubicBezTo>
                <a:cubicBezTo>
                  <a:pt x="1290" y="706"/>
                  <a:pt x="1282" y="712"/>
                  <a:pt x="1274" y="712"/>
                </a:cubicBezTo>
                <a:cubicBezTo>
                  <a:pt x="1272" y="712"/>
                  <a:pt x="1271" y="712"/>
                  <a:pt x="1269" y="712"/>
                </a:cubicBezTo>
                <a:cubicBezTo>
                  <a:pt x="1259" y="709"/>
                  <a:pt x="1253" y="699"/>
                  <a:pt x="1255" y="689"/>
                </a:cubicBezTo>
                <a:cubicBezTo>
                  <a:pt x="1262" y="658"/>
                  <a:pt x="1266" y="625"/>
                  <a:pt x="1266" y="593"/>
                </a:cubicBezTo>
                <a:cubicBezTo>
                  <a:pt x="1266" y="561"/>
                  <a:pt x="1262" y="528"/>
                  <a:pt x="1255" y="497"/>
                </a:cubicBezTo>
                <a:cubicBezTo>
                  <a:pt x="1253" y="487"/>
                  <a:pt x="1259" y="477"/>
                  <a:pt x="1269" y="474"/>
                </a:cubicBezTo>
                <a:cubicBezTo>
                  <a:pt x="1279" y="472"/>
                  <a:pt x="1290" y="478"/>
                  <a:pt x="1292" y="489"/>
                </a:cubicBezTo>
                <a:close/>
                <a:moveTo>
                  <a:pt x="499" y="890"/>
                </a:moveTo>
                <a:cubicBezTo>
                  <a:pt x="499" y="1307"/>
                  <a:pt x="499" y="1307"/>
                  <a:pt x="499" y="1307"/>
                </a:cubicBezTo>
                <a:cubicBezTo>
                  <a:pt x="499" y="1353"/>
                  <a:pt x="463" y="1390"/>
                  <a:pt x="417" y="1390"/>
                </a:cubicBezTo>
                <a:cubicBezTo>
                  <a:pt x="379" y="1390"/>
                  <a:pt x="379" y="1390"/>
                  <a:pt x="379" y="1390"/>
                </a:cubicBezTo>
                <a:cubicBezTo>
                  <a:pt x="334" y="1390"/>
                  <a:pt x="297" y="1353"/>
                  <a:pt x="297" y="1307"/>
                </a:cubicBezTo>
                <a:cubicBezTo>
                  <a:pt x="297" y="890"/>
                  <a:pt x="297" y="890"/>
                  <a:pt x="297" y="890"/>
                </a:cubicBezTo>
                <a:cubicBezTo>
                  <a:pt x="297" y="880"/>
                  <a:pt x="306" y="871"/>
                  <a:pt x="316" y="871"/>
                </a:cubicBezTo>
                <a:cubicBezTo>
                  <a:pt x="326" y="871"/>
                  <a:pt x="335" y="880"/>
                  <a:pt x="335" y="890"/>
                </a:cubicBezTo>
                <a:cubicBezTo>
                  <a:pt x="335" y="1307"/>
                  <a:pt x="335" y="1307"/>
                  <a:pt x="335" y="1307"/>
                </a:cubicBezTo>
                <a:cubicBezTo>
                  <a:pt x="335" y="1332"/>
                  <a:pt x="355" y="1352"/>
                  <a:pt x="379" y="1352"/>
                </a:cubicBezTo>
                <a:cubicBezTo>
                  <a:pt x="417" y="1352"/>
                  <a:pt x="417" y="1352"/>
                  <a:pt x="417" y="1352"/>
                </a:cubicBezTo>
                <a:cubicBezTo>
                  <a:pt x="442" y="1352"/>
                  <a:pt x="462" y="1332"/>
                  <a:pt x="462" y="1307"/>
                </a:cubicBezTo>
                <a:cubicBezTo>
                  <a:pt x="462" y="890"/>
                  <a:pt x="462" y="890"/>
                  <a:pt x="462" y="890"/>
                </a:cubicBezTo>
                <a:cubicBezTo>
                  <a:pt x="462" y="880"/>
                  <a:pt x="470" y="871"/>
                  <a:pt x="480" y="871"/>
                </a:cubicBezTo>
                <a:cubicBezTo>
                  <a:pt x="491" y="871"/>
                  <a:pt x="499" y="880"/>
                  <a:pt x="499" y="89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Rectangle 4"/>
          <p:cNvSpPr/>
          <p:nvPr/>
        </p:nvSpPr>
        <p:spPr>
          <a:xfrm>
            <a:off x="592792" y="1543050"/>
            <a:ext cx="2457450" cy="42545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TextBox 5"/>
          <p:cNvSpPr txBox="1"/>
          <p:nvPr/>
        </p:nvSpPr>
        <p:spPr>
          <a:xfrm>
            <a:off x="984816" y="1686526"/>
            <a:ext cx="17218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ign &amp; CONSTRUÇÃO</a:t>
            </a:r>
          </a:p>
        </p:txBody>
      </p:sp>
      <p:sp>
        <p:nvSpPr>
          <p:cNvPr id="18" name="Freeform 18"/>
          <p:cNvSpPr>
            <a:spLocks noEditPoints="1"/>
          </p:cNvSpPr>
          <p:nvPr/>
        </p:nvSpPr>
        <p:spPr bwMode="auto">
          <a:xfrm>
            <a:off x="1481475" y="2251940"/>
            <a:ext cx="680085" cy="680084"/>
          </a:xfrm>
          <a:custGeom>
            <a:avLst/>
            <a:gdLst>
              <a:gd name="T0" fmla="*/ 180 w 2746"/>
              <a:gd name="T1" fmla="*/ 2241 h 2746"/>
              <a:gd name="T2" fmla="*/ 952 w 2746"/>
              <a:gd name="T3" fmla="*/ 2746 h 2746"/>
              <a:gd name="T4" fmla="*/ 1583 w 2746"/>
              <a:gd name="T5" fmla="*/ 2241 h 2746"/>
              <a:gd name="T6" fmla="*/ 1853 w 2746"/>
              <a:gd name="T7" fmla="*/ 2636 h 2746"/>
              <a:gd name="T8" fmla="*/ 1794 w 2746"/>
              <a:gd name="T9" fmla="*/ 2578 h 2746"/>
              <a:gd name="T10" fmla="*/ 1526 w 2746"/>
              <a:gd name="T11" fmla="*/ 2241 h 2746"/>
              <a:gd name="T12" fmla="*/ 51 w 2746"/>
              <a:gd name="T13" fmla="*/ 2061 h 2746"/>
              <a:gd name="T14" fmla="*/ 2695 w 2746"/>
              <a:gd name="T15" fmla="*/ 2061 h 2746"/>
              <a:gd name="T16" fmla="*/ 168 w 2746"/>
              <a:gd name="T17" fmla="*/ 1904 h 2746"/>
              <a:gd name="T18" fmla="*/ 220 w 2746"/>
              <a:gd name="T19" fmla="*/ 220 h 2746"/>
              <a:gd name="T20" fmla="*/ 1373 w 2746"/>
              <a:gd name="T21" fmla="*/ 1949 h 2746"/>
              <a:gd name="T22" fmla="*/ 1373 w 2746"/>
              <a:gd name="T23" fmla="*/ 2093 h 2746"/>
              <a:gd name="T24" fmla="*/ 1217 w 2746"/>
              <a:gd name="T25" fmla="*/ 756 h 2746"/>
              <a:gd name="T26" fmla="*/ 1093 w 2746"/>
              <a:gd name="T27" fmla="*/ 1192 h 2746"/>
              <a:gd name="T28" fmla="*/ 1529 w 2746"/>
              <a:gd name="T29" fmla="*/ 1316 h 2746"/>
              <a:gd name="T30" fmla="*/ 1653 w 2746"/>
              <a:gd name="T31" fmla="*/ 880 h 2746"/>
              <a:gd name="T32" fmla="*/ 1300 w 2746"/>
              <a:gd name="T33" fmla="*/ 1295 h 2746"/>
              <a:gd name="T34" fmla="*/ 1115 w 2746"/>
              <a:gd name="T35" fmla="*/ 962 h 2746"/>
              <a:gd name="T36" fmla="*/ 1447 w 2746"/>
              <a:gd name="T37" fmla="*/ 777 h 2746"/>
              <a:gd name="T38" fmla="*/ 1632 w 2746"/>
              <a:gd name="T39" fmla="*/ 1110 h 2746"/>
              <a:gd name="T40" fmla="*/ 1813 w 2746"/>
              <a:gd name="T41" fmla="*/ 789 h 2746"/>
              <a:gd name="T42" fmla="*/ 1620 w 2746"/>
              <a:gd name="T43" fmla="*/ 596 h 2746"/>
              <a:gd name="T44" fmla="*/ 1439 w 2746"/>
              <a:gd name="T45" fmla="*/ 421 h 2746"/>
              <a:gd name="T46" fmla="*/ 1127 w 2746"/>
              <a:gd name="T47" fmla="*/ 595 h 2746"/>
              <a:gd name="T48" fmla="*/ 871 w 2746"/>
              <a:gd name="T49" fmla="*/ 697 h 2746"/>
              <a:gd name="T50" fmla="*/ 888 w 2746"/>
              <a:gd name="T51" fmla="*/ 900 h 2746"/>
              <a:gd name="T52" fmla="*/ 888 w 2746"/>
              <a:gd name="T53" fmla="*/ 1172 h 2746"/>
              <a:gd name="T54" fmla="*/ 871 w 2746"/>
              <a:gd name="T55" fmla="*/ 1375 h 2746"/>
              <a:gd name="T56" fmla="*/ 1127 w 2746"/>
              <a:gd name="T57" fmla="*/ 1477 h 2746"/>
              <a:gd name="T58" fmla="*/ 1439 w 2746"/>
              <a:gd name="T59" fmla="*/ 1651 h 2746"/>
              <a:gd name="T60" fmla="*/ 1620 w 2746"/>
              <a:gd name="T61" fmla="*/ 1476 h 2746"/>
              <a:gd name="T62" fmla="*/ 1855 w 2746"/>
              <a:gd name="T63" fmla="*/ 1325 h 2746"/>
              <a:gd name="T64" fmla="*/ 1918 w 2746"/>
              <a:gd name="T65" fmla="*/ 1172 h 2746"/>
              <a:gd name="T66" fmla="*/ 1918 w 2746"/>
              <a:gd name="T67" fmla="*/ 1121 h 2746"/>
              <a:gd name="T68" fmla="*/ 1769 w 2746"/>
              <a:gd name="T69" fmla="*/ 1257 h 2746"/>
              <a:gd name="T70" fmla="*/ 1818 w 2746"/>
              <a:gd name="T71" fmla="*/ 1388 h 2746"/>
              <a:gd name="T72" fmla="*/ 1607 w 2746"/>
              <a:gd name="T73" fmla="*/ 1424 h 2746"/>
              <a:gd name="T74" fmla="*/ 1458 w 2746"/>
              <a:gd name="T75" fmla="*/ 1581 h 2746"/>
              <a:gd name="T76" fmla="*/ 1284 w 2746"/>
              <a:gd name="T77" fmla="*/ 1480 h 2746"/>
              <a:gd name="T78" fmla="*/ 1118 w 2746"/>
              <a:gd name="T79" fmla="*/ 1411 h 2746"/>
              <a:gd name="T80" fmla="*/ 928 w 2746"/>
              <a:gd name="T81" fmla="*/ 1361 h 2746"/>
              <a:gd name="T82" fmla="*/ 937 w 2746"/>
              <a:gd name="T83" fmla="*/ 1160 h 2746"/>
              <a:gd name="T84" fmla="*/ 809 w 2746"/>
              <a:gd name="T85" fmla="*/ 971 h 2746"/>
              <a:gd name="T86" fmla="*/ 938 w 2746"/>
              <a:gd name="T87" fmla="*/ 912 h 2746"/>
              <a:gd name="T88" fmla="*/ 922 w 2746"/>
              <a:gd name="T89" fmla="*/ 697 h 2746"/>
              <a:gd name="T90" fmla="*/ 1122 w 2746"/>
              <a:gd name="T91" fmla="*/ 659 h 2746"/>
              <a:gd name="T92" fmla="*/ 1288 w 2746"/>
              <a:gd name="T93" fmla="*/ 591 h 2746"/>
              <a:gd name="T94" fmla="*/ 1458 w 2746"/>
              <a:gd name="T95" fmla="*/ 571 h 2746"/>
              <a:gd name="T96" fmla="*/ 1611 w 2746"/>
              <a:gd name="T97" fmla="*/ 650 h 2746"/>
              <a:gd name="T98" fmla="*/ 1824 w 2746"/>
              <a:gd name="T99" fmla="*/ 697 h 2746"/>
              <a:gd name="T100" fmla="*/ 1769 w 2746"/>
              <a:gd name="T101" fmla="*/ 815 h 2746"/>
              <a:gd name="T102" fmla="*/ 1937 w 2746"/>
              <a:gd name="T103" fmla="*/ 971 h 2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746" h="2746">
                <a:moveTo>
                  <a:pt x="2566" y="0"/>
                </a:moveTo>
                <a:cubicBezTo>
                  <a:pt x="180" y="0"/>
                  <a:pt x="180" y="0"/>
                  <a:pt x="180" y="0"/>
                </a:cubicBezTo>
                <a:cubicBezTo>
                  <a:pt x="81" y="0"/>
                  <a:pt x="0" y="80"/>
                  <a:pt x="0" y="180"/>
                </a:cubicBezTo>
                <a:cubicBezTo>
                  <a:pt x="0" y="2061"/>
                  <a:pt x="0" y="2061"/>
                  <a:pt x="0" y="2061"/>
                </a:cubicBezTo>
                <a:cubicBezTo>
                  <a:pt x="0" y="2160"/>
                  <a:pt x="81" y="2241"/>
                  <a:pt x="180" y="2241"/>
                </a:cubicBezTo>
                <a:cubicBezTo>
                  <a:pt x="1163" y="2241"/>
                  <a:pt x="1163" y="2241"/>
                  <a:pt x="1163" y="2241"/>
                </a:cubicBezTo>
                <a:cubicBezTo>
                  <a:pt x="1020" y="2526"/>
                  <a:pt x="1020" y="2526"/>
                  <a:pt x="1020" y="2526"/>
                </a:cubicBezTo>
                <a:cubicBezTo>
                  <a:pt x="952" y="2526"/>
                  <a:pt x="952" y="2526"/>
                  <a:pt x="952" y="2526"/>
                </a:cubicBezTo>
                <a:cubicBezTo>
                  <a:pt x="891" y="2526"/>
                  <a:pt x="842" y="2576"/>
                  <a:pt x="842" y="2636"/>
                </a:cubicBezTo>
                <a:cubicBezTo>
                  <a:pt x="842" y="2697"/>
                  <a:pt x="891" y="2746"/>
                  <a:pt x="952" y="2746"/>
                </a:cubicBezTo>
                <a:cubicBezTo>
                  <a:pt x="1794" y="2746"/>
                  <a:pt x="1794" y="2746"/>
                  <a:pt x="1794" y="2746"/>
                </a:cubicBezTo>
                <a:cubicBezTo>
                  <a:pt x="1855" y="2746"/>
                  <a:pt x="1904" y="2697"/>
                  <a:pt x="1904" y="2636"/>
                </a:cubicBezTo>
                <a:cubicBezTo>
                  <a:pt x="1904" y="2576"/>
                  <a:pt x="1855" y="2526"/>
                  <a:pt x="1794" y="2526"/>
                </a:cubicBezTo>
                <a:cubicBezTo>
                  <a:pt x="1726" y="2526"/>
                  <a:pt x="1726" y="2526"/>
                  <a:pt x="1726" y="2526"/>
                </a:cubicBezTo>
                <a:cubicBezTo>
                  <a:pt x="1583" y="2241"/>
                  <a:pt x="1583" y="2241"/>
                  <a:pt x="1583" y="2241"/>
                </a:cubicBezTo>
                <a:cubicBezTo>
                  <a:pt x="2566" y="2241"/>
                  <a:pt x="2566" y="2241"/>
                  <a:pt x="2566" y="2241"/>
                </a:cubicBezTo>
                <a:cubicBezTo>
                  <a:pt x="2665" y="2241"/>
                  <a:pt x="2746" y="2160"/>
                  <a:pt x="2746" y="2061"/>
                </a:cubicBezTo>
                <a:cubicBezTo>
                  <a:pt x="2746" y="180"/>
                  <a:pt x="2746" y="180"/>
                  <a:pt x="2746" y="180"/>
                </a:cubicBezTo>
                <a:cubicBezTo>
                  <a:pt x="2746" y="80"/>
                  <a:pt x="2665" y="0"/>
                  <a:pt x="2566" y="0"/>
                </a:cubicBezTo>
                <a:close/>
                <a:moveTo>
                  <a:pt x="1853" y="2636"/>
                </a:moveTo>
                <a:cubicBezTo>
                  <a:pt x="1853" y="2669"/>
                  <a:pt x="1826" y="2695"/>
                  <a:pt x="1794" y="2695"/>
                </a:cubicBezTo>
                <a:cubicBezTo>
                  <a:pt x="952" y="2695"/>
                  <a:pt x="952" y="2695"/>
                  <a:pt x="952" y="2695"/>
                </a:cubicBezTo>
                <a:cubicBezTo>
                  <a:pt x="920" y="2695"/>
                  <a:pt x="893" y="2669"/>
                  <a:pt x="893" y="2636"/>
                </a:cubicBezTo>
                <a:cubicBezTo>
                  <a:pt x="893" y="2604"/>
                  <a:pt x="920" y="2578"/>
                  <a:pt x="952" y="2578"/>
                </a:cubicBezTo>
                <a:cubicBezTo>
                  <a:pt x="1794" y="2578"/>
                  <a:pt x="1794" y="2578"/>
                  <a:pt x="1794" y="2578"/>
                </a:cubicBezTo>
                <a:cubicBezTo>
                  <a:pt x="1826" y="2578"/>
                  <a:pt x="1853" y="2604"/>
                  <a:pt x="1853" y="2636"/>
                </a:cubicBezTo>
                <a:close/>
                <a:moveTo>
                  <a:pt x="1668" y="2526"/>
                </a:moveTo>
                <a:cubicBezTo>
                  <a:pt x="1078" y="2526"/>
                  <a:pt x="1078" y="2526"/>
                  <a:pt x="1078" y="2526"/>
                </a:cubicBezTo>
                <a:cubicBezTo>
                  <a:pt x="1221" y="2241"/>
                  <a:pt x="1221" y="2241"/>
                  <a:pt x="1221" y="2241"/>
                </a:cubicBezTo>
                <a:cubicBezTo>
                  <a:pt x="1526" y="2241"/>
                  <a:pt x="1526" y="2241"/>
                  <a:pt x="1526" y="2241"/>
                </a:cubicBezTo>
                <a:lnTo>
                  <a:pt x="1668" y="2526"/>
                </a:lnTo>
                <a:close/>
                <a:moveTo>
                  <a:pt x="2695" y="2061"/>
                </a:moveTo>
                <a:cubicBezTo>
                  <a:pt x="2695" y="2132"/>
                  <a:pt x="2637" y="2190"/>
                  <a:pt x="2566" y="2190"/>
                </a:cubicBezTo>
                <a:cubicBezTo>
                  <a:pt x="180" y="2190"/>
                  <a:pt x="180" y="2190"/>
                  <a:pt x="180" y="2190"/>
                </a:cubicBezTo>
                <a:cubicBezTo>
                  <a:pt x="109" y="2190"/>
                  <a:pt x="51" y="2132"/>
                  <a:pt x="51" y="2061"/>
                </a:cubicBezTo>
                <a:cubicBezTo>
                  <a:pt x="51" y="180"/>
                  <a:pt x="51" y="180"/>
                  <a:pt x="51" y="180"/>
                </a:cubicBezTo>
                <a:cubicBezTo>
                  <a:pt x="51" y="109"/>
                  <a:pt x="109" y="51"/>
                  <a:pt x="180" y="51"/>
                </a:cubicBezTo>
                <a:cubicBezTo>
                  <a:pt x="2566" y="51"/>
                  <a:pt x="2566" y="51"/>
                  <a:pt x="2566" y="51"/>
                </a:cubicBezTo>
                <a:cubicBezTo>
                  <a:pt x="2637" y="51"/>
                  <a:pt x="2695" y="109"/>
                  <a:pt x="2695" y="180"/>
                </a:cubicBezTo>
                <a:lnTo>
                  <a:pt x="2695" y="2061"/>
                </a:lnTo>
                <a:close/>
                <a:moveTo>
                  <a:pt x="168" y="1904"/>
                </a:moveTo>
                <a:cubicBezTo>
                  <a:pt x="2578" y="1904"/>
                  <a:pt x="2578" y="1904"/>
                  <a:pt x="2578" y="1904"/>
                </a:cubicBezTo>
                <a:cubicBezTo>
                  <a:pt x="2578" y="168"/>
                  <a:pt x="2578" y="168"/>
                  <a:pt x="2578" y="168"/>
                </a:cubicBezTo>
                <a:cubicBezTo>
                  <a:pt x="168" y="168"/>
                  <a:pt x="168" y="168"/>
                  <a:pt x="168" y="168"/>
                </a:cubicBezTo>
                <a:lnTo>
                  <a:pt x="168" y="1904"/>
                </a:lnTo>
                <a:close/>
                <a:moveTo>
                  <a:pt x="220" y="220"/>
                </a:moveTo>
                <a:cubicBezTo>
                  <a:pt x="2527" y="220"/>
                  <a:pt x="2527" y="220"/>
                  <a:pt x="2527" y="220"/>
                </a:cubicBezTo>
                <a:cubicBezTo>
                  <a:pt x="2527" y="1853"/>
                  <a:pt x="2527" y="1853"/>
                  <a:pt x="2527" y="1853"/>
                </a:cubicBezTo>
                <a:cubicBezTo>
                  <a:pt x="220" y="1853"/>
                  <a:pt x="220" y="1853"/>
                  <a:pt x="220" y="1853"/>
                </a:cubicBezTo>
                <a:lnTo>
                  <a:pt x="220" y="220"/>
                </a:lnTo>
                <a:close/>
                <a:moveTo>
                  <a:pt x="1373" y="1949"/>
                </a:moveTo>
                <a:cubicBezTo>
                  <a:pt x="1319" y="1949"/>
                  <a:pt x="1275" y="1993"/>
                  <a:pt x="1275" y="2047"/>
                </a:cubicBezTo>
                <a:cubicBezTo>
                  <a:pt x="1275" y="2101"/>
                  <a:pt x="1319" y="2144"/>
                  <a:pt x="1373" y="2144"/>
                </a:cubicBezTo>
                <a:cubicBezTo>
                  <a:pt x="1427" y="2144"/>
                  <a:pt x="1471" y="2101"/>
                  <a:pt x="1471" y="2047"/>
                </a:cubicBezTo>
                <a:cubicBezTo>
                  <a:pt x="1471" y="1993"/>
                  <a:pt x="1427" y="1949"/>
                  <a:pt x="1373" y="1949"/>
                </a:cubicBezTo>
                <a:close/>
                <a:moveTo>
                  <a:pt x="1373" y="2093"/>
                </a:moveTo>
                <a:cubicBezTo>
                  <a:pt x="1348" y="2093"/>
                  <a:pt x="1327" y="2072"/>
                  <a:pt x="1327" y="2047"/>
                </a:cubicBezTo>
                <a:cubicBezTo>
                  <a:pt x="1327" y="2021"/>
                  <a:pt x="1348" y="2001"/>
                  <a:pt x="1373" y="2001"/>
                </a:cubicBezTo>
                <a:cubicBezTo>
                  <a:pt x="1398" y="2001"/>
                  <a:pt x="1419" y="2021"/>
                  <a:pt x="1419" y="2047"/>
                </a:cubicBezTo>
                <a:cubicBezTo>
                  <a:pt x="1419" y="2072"/>
                  <a:pt x="1398" y="2093"/>
                  <a:pt x="1373" y="2093"/>
                </a:cubicBezTo>
                <a:close/>
                <a:moveTo>
                  <a:pt x="1653" y="880"/>
                </a:moveTo>
                <a:cubicBezTo>
                  <a:pt x="1624" y="828"/>
                  <a:pt x="1581" y="785"/>
                  <a:pt x="1529" y="756"/>
                </a:cubicBezTo>
                <a:cubicBezTo>
                  <a:pt x="1507" y="744"/>
                  <a:pt x="1484" y="734"/>
                  <a:pt x="1461" y="728"/>
                </a:cubicBezTo>
                <a:cubicBezTo>
                  <a:pt x="1404" y="712"/>
                  <a:pt x="1342" y="712"/>
                  <a:pt x="1286" y="728"/>
                </a:cubicBezTo>
                <a:cubicBezTo>
                  <a:pt x="1262" y="734"/>
                  <a:pt x="1239" y="744"/>
                  <a:pt x="1217" y="756"/>
                </a:cubicBezTo>
                <a:cubicBezTo>
                  <a:pt x="1165" y="785"/>
                  <a:pt x="1122" y="828"/>
                  <a:pt x="1093" y="880"/>
                </a:cubicBezTo>
                <a:cubicBezTo>
                  <a:pt x="1081" y="902"/>
                  <a:pt x="1071" y="925"/>
                  <a:pt x="1065" y="949"/>
                </a:cubicBezTo>
                <a:cubicBezTo>
                  <a:pt x="1057" y="977"/>
                  <a:pt x="1053" y="1006"/>
                  <a:pt x="1053" y="1036"/>
                </a:cubicBezTo>
                <a:cubicBezTo>
                  <a:pt x="1053" y="1066"/>
                  <a:pt x="1057" y="1095"/>
                  <a:pt x="1065" y="1123"/>
                </a:cubicBezTo>
                <a:cubicBezTo>
                  <a:pt x="1071" y="1147"/>
                  <a:pt x="1081" y="1170"/>
                  <a:pt x="1093" y="1192"/>
                </a:cubicBezTo>
                <a:cubicBezTo>
                  <a:pt x="1122" y="1244"/>
                  <a:pt x="1165" y="1287"/>
                  <a:pt x="1217" y="1316"/>
                </a:cubicBezTo>
                <a:cubicBezTo>
                  <a:pt x="1239" y="1328"/>
                  <a:pt x="1262" y="1338"/>
                  <a:pt x="1286" y="1344"/>
                </a:cubicBezTo>
                <a:cubicBezTo>
                  <a:pt x="1314" y="1352"/>
                  <a:pt x="1343" y="1357"/>
                  <a:pt x="1373" y="1357"/>
                </a:cubicBezTo>
                <a:cubicBezTo>
                  <a:pt x="1403" y="1357"/>
                  <a:pt x="1432" y="1352"/>
                  <a:pt x="1460" y="1344"/>
                </a:cubicBezTo>
                <a:cubicBezTo>
                  <a:pt x="1484" y="1338"/>
                  <a:pt x="1507" y="1328"/>
                  <a:pt x="1529" y="1316"/>
                </a:cubicBezTo>
                <a:cubicBezTo>
                  <a:pt x="1581" y="1287"/>
                  <a:pt x="1624" y="1244"/>
                  <a:pt x="1653" y="1192"/>
                </a:cubicBezTo>
                <a:cubicBezTo>
                  <a:pt x="1665" y="1170"/>
                  <a:pt x="1675" y="1147"/>
                  <a:pt x="1681" y="1124"/>
                </a:cubicBezTo>
                <a:cubicBezTo>
                  <a:pt x="1690" y="1095"/>
                  <a:pt x="1694" y="1066"/>
                  <a:pt x="1694" y="1036"/>
                </a:cubicBezTo>
                <a:cubicBezTo>
                  <a:pt x="1694" y="1006"/>
                  <a:pt x="1690" y="977"/>
                  <a:pt x="1681" y="949"/>
                </a:cubicBezTo>
                <a:cubicBezTo>
                  <a:pt x="1675" y="925"/>
                  <a:pt x="1665" y="902"/>
                  <a:pt x="1653" y="880"/>
                </a:cubicBezTo>
                <a:close/>
                <a:moveTo>
                  <a:pt x="1632" y="1110"/>
                </a:moveTo>
                <a:cubicBezTo>
                  <a:pt x="1626" y="1129"/>
                  <a:pt x="1618" y="1149"/>
                  <a:pt x="1608" y="1167"/>
                </a:cubicBezTo>
                <a:cubicBezTo>
                  <a:pt x="1584" y="1211"/>
                  <a:pt x="1548" y="1247"/>
                  <a:pt x="1504" y="1271"/>
                </a:cubicBezTo>
                <a:cubicBezTo>
                  <a:pt x="1486" y="1281"/>
                  <a:pt x="1466" y="1289"/>
                  <a:pt x="1446" y="1295"/>
                </a:cubicBezTo>
                <a:cubicBezTo>
                  <a:pt x="1399" y="1308"/>
                  <a:pt x="1348" y="1309"/>
                  <a:pt x="1300" y="1295"/>
                </a:cubicBezTo>
                <a:cubicBezTo>
                  <a:pt x="1280" y="1289"/>
                  <a:pt x="1260" y="1281"/>
                  <a:pt x="1242" y="1271"/>
                </a:cubicBezTo>
                <a:cubicBezTo>
                  <a:pt x="1198" y="1247"/>
                  <a:pt x="1163" y="1211"/>
                  <a:pt x="1138" y="1167"/>
                </a:cubicBezTo>
                <a:cubicBezTo>
                  <a:pt x="1128" y="1149"/>
                  <a:pt x="1120" y="1129"/>
                  <a:pt x="1115" y="1109"/>
                </a:cubicBezTo>
                <a:cubicBezTo>
                  <a:pt x="1108" y="1086"/>
                  <a:pt x="1104" y="1061"/>
                  <a:pt x="1104" y="1036"/>
                </a:cubicBezTo>
                <a:cubicBezTo>
                  <a:pt x="1104" y="1011"/>
                  <a:pt x="1108" y="987"/>
                  <a:pt x="1115" y="962"/>
                </a:cubicBezTo>
                <a:cubicBezTo>
                  <a:pt x="1120" y="943"/>
                  <a:pt x="1128" y="924"/>
                  <a:pt x="1138" y="905"/>
                </a:cubicBezTo>
                <a:cubicBezTo>
                  <a:pt x="1163" y="862"/>
                  <a:pt x="1198" y="826"/>
                  <a:pt x="1242" y="801"/>
                </a:cubicBezTo>
                <a:cubicBezTo>
                  <a:pt x="1261" y="791"/>
                  <a:pt x="1280" y="783"/>
                  <a:pt x="1300" y="777"/>
                </a:cubicBezTo>
                <a:cubicBezTo>
                  <a:pt x="1324" y="771"/>
                  <a:pt x="1348" y="767"/>
                  <a:pt x="1373" y="767"/>
                </a:cubicBezTo>
                <a:cubicBezTo>
                  <a:pt x="1398" y="767"/>
                  <a:pt x="1423" y="771"/>
                  <a:pt x="1447" y="777"/>
                </a:cubicBezTo>
                <a:cubicBezTo>
                  <a:pt x="1466" y="783"/>
                  <a:pt x="1486" y="791"/>
                  <a:pt x="1504" y="801"/>
                </a:cubicBezTo>
                <a:cubicBezTo>
                  <a:pt x="1548" y="825"/>
                  <a:pt x="1584" y="861"/>
                  <a:pt x="1608" y="905"/>
                </a:cubicBezTo>
                <a:cubicBezTo>
                  <a:pt x="1618" y="923"/>
                  <a:pt x="1626" y="943"/>
                  <a:pt x="1632" y="963"/>
                </a:cubicBezTo>
                <a:cubicBezTo>
                  <a:pt x="1639" y="987"/>
                  <a:pt x="1642" y="1011"/>
                  <a:pt x="1642" y="1036"/>
                </a:cubicBezTo>
                <a:cubicBezTo>
                  <a:pt x="1642" y="1061"/>
                  <a:pt x="1639" y="1086"/>
                  <a:pt x="1632" y="1110"/>
                </a:cubicBezTo>
                <a:close/>
                <a:moveTo>
                  <a:pt x="1918" y="900"/>
                </a:moveTo>
                <a:cubicBezTo>
                  <a:pt x="1859" y="900"/>
                  <a:pt x="1859" y="900"/>
                  <a:pt x="1859" y="900"/>
                </a:cubicBezTo>
                <a:cubicBezTo>
                  <a:pt x="1859" y="899"/>
                  <a:pt x="1859" y="899"/>
                  <a:pt x="1859" y="899"/>
                </a:cubicBezTo>
                <a:cubicBezTo>
                  <a:pt x="1848" y="861"/>
                  <a:pt x="1833" y="825"/>
                  <a:pt x="1814" y="790"/>
                </a:cubicBezTo>
                <a:cubicBezTo>
                  <a:pt x="1814" y="790"/>
                  <a:pt x="1813" y="789"/>
                  <a:pt x="1813" y="789"/>
                </a:cubicBezTo>
                <a:cubicBezTo>
                  <a:pt x="1855" y="747"/>
                  <a:pt x="1855" y="747"/>
                  <a:pt x="1855" y="747"/>
                </a:cubicBezTo>
                <a:cubicBezTo>
                  <a:pt x="1882" y="720"/>
                  <a:pt x="1882" y="675"/>
                  <a:pt x="1855" y="647"/>
                </a:cubicBezTo>
                <a:cubicBezTo>
                  <a:pt x="1762" y="555"/>
                  <a:pt x="1762" y="555"/>
                  <a:pt x="1762" y="555"/>
                </a:cubicBezTo>
                <a:cubicBezTo>
                  <a:pt x="1734" y="527"/>
                  <a:pt x="1689" y="527"/>
                  <a:pt x="1662" y="555"/>
                </a:cubicBezTo>
                <a:cubicBezTo>
                  <a:pt x="1620" y="596"/>
                  <a:pt x="1620" y="596"/>
                  <a:pt x="1620" y="596"/>
                </a:cubicBezTo>
                <a:cubicBezTo>
                  <a:pt x="1620" y="596"/>
                  <a:pt x="1620" y="596"/>
                  <a:pt x="1619" y="595"/>
                </a:cubicBezTo>
                <a:cubicBezTo>
                  <a:pt x="1584" y="576"/>
                  <a:pt x="1547" y="561"/>
                  <a:pt x="1511" y="551"/>
                </a:cubicBezTo>
                <a:cubicBezTo>
                  <a:pt x="1511" y="551"/>
                  <a:pt x="1510" y="551"/>
                  <a:pt x="1510" y="550"/>
                </a:cubicBezTo>
                <a:cubicBezTo>
                  <a:pt x="1510" y="492"/>
                  <a:pt x="1510" y="492"/>
                  <a:pt x="1510" y="492"/>
                </a:cubicBezTo>
                <a:cubicBezTo>
                  <a:pt x="1510" y="453"/>
                  <a:pt x="1478" y="421"/>
                  <a:pt x="1439" y="421"/>
                </a:cubicBezTo>
                <a:cubicBezTo>
                  <a:pt x="1308" y="421"/>
                  <a:pt x="1308" y="421"/>
                  <a:pt x="1308" y="421"/>
                </a:cubicBezTo>
                <a:cubicBezTo>
                  <a:pt x="1269" y="421"/>
                  <a:pt x="1237" y="453"/>
                  <a:pt x="1237" y="492"/>
                </a:cubicBezTo>
                <a:cubicBezTo>
                  <a:pt x="1237" y="550"/>
                  <a:pt x="1237" y="550"/>
                  <a:pt x="1237" y="550"/>
                </a:cubicBezTo>
                <a:cubicBezTo>
                  <a:pt x="1237" y="551"/>
                  <a:pt x="1236" y="551"/>
                  <a:pt x="1236" y="551"/>
                </a:cubicBezTo>
                <a:cubicBezTo>
                  <a:pt x="1199" y="561"/>
                  <a:pt x="1162" y="576"/>
                  <a:pt x="1127" y="595"/>
                </a:cubicBezTo>
                <a:cubicBezTo>
                  <a:pt x="1127" y="596"/>
                  <a:pt x="1126" y="596"/>
                  <a:pt x="1126" y="596"/>
                </a:cubicBezTo>
                <a:cubicBezTo>
                  <a:pt x="1085" y="555"/>
                  <a:pt x="1085" y="555"/>
                  <a:pt x="1085" y="555"/>
                </a:cubicBezTo>
                <a:cubicBezTo>
                  <a:pt x="1058" y="528"/>
                  <a:pt x="1011" y="528"/>
                  <a:pt x="984" y="555"/>
                </a:cubicBezTo>
                <a:cubicBezTo>
                  <a:pt x="892" y="647"/>
                  <a:pt x="892" y="647"/>
                  <a:pt x="892" y="647"/>
                </a:cubicBezTo>
                <a:cubicBezTo>
                  <a:pt x="878" y="661"/>
                  <a:pt x="871" y="678"/>
                  <a:pt x="871" y="697"/>
                </a:cubicBezTo>
                <a:cubicBezTo>
                  <a:pt x="871" y="716"/>
                  <a:pt x="878" y="734"/>
                  <a:pt x="892" y="747"/>
                </a:cubicBezTo>
                <a:cubicBezTo>
                  <a:pt x="933" y="789"/>
                  <a:pt x="933" y="789"/>
                  <a:pt x="933" y="789"/>
                </a:cubicBezTo>
                <a:cubicBezTo>
                  <a:pt x="933" y="789"/>
                  <a:pt x="933" y="790"/>
                  <a:pt x="933" y="790"/>
                </a:cubicBezTo>
                <a:cubicBezTo>
                  <a:pt x="913" y="825"/>
                  <a:pt x="898" y="862"/>
                  <a:pt x="888" y="898"/>
                </a:cubicBezTo>
                <a:cubicBezTo>
                  <a:pt x="888" y="899"/>
                  <a:pt x="888" y="899"/>
                  <a:pt x="888" y="900"/>
                </a:cubicBezTo>
                <a:cubicBezTo>
                  <a:pt x="829" y="900"/>
                  <a:pt x="829" y="900"/>
                  <a:pt x="829" y="900"/>
                </a:cubicBezTo>
                <a:cubicBezTo>
                  <a:pt x="790" y="900"/>
                  <a:pt x="758" y="932"/>
                  <a:pt x="758" y="971"/>
                </a:cubicBezTo>
                <a:cubicBezTo>
                  <a:pt x="758" y="1102"/>
                  <a:pt x="758" y="1102"/>
                  <a:pt x="758" y="1102"/>
                </a:cubicBezTo>
                <a:cubicBezTo>
                  <a:pt x="758" y="1141"/>
                  <a:pt x="790" y="1172"/>
                  <a:pt x="829" y="1172"/>
                </a:cubicBezTo>
                <a:cubicBezTo>
                  <a:pt x="888" y="1172"/>
                  <a:pt x="888" y="1172"/>
                  <a:pt x="888" y="1172"/>
                </a:cubicBezTo>
                <a:cubicBezTo>
                  <a:pt x="888" y="1173"/>
                  <a:pt x="888" y="1173"/>
                  <a:pt x="888" y="1173"/>
                </a:cubicBezTo>
                <a:cubicBezTo>
                  <a:pt x="898" y="1210"/>
                  <a:pt x="913" y="1247"/>
                  <a:pt x="933" y="1282"/>
                </a:cubicBezTo>
                <a:cubicBezTo>
                  <a:pt x="933" y="1282"/>
                  <a:pt x="933" y="1283"/>
                  <a:pt x="933" y="1283"/>
                </a:cubicBezTo>
                <a:cubicBezTo>
                  <a:pt x="892" y="1325"/>
                  <a:pt x="892" y="1325"/>
                  <a:pt x="892" y="1325"/>
                </a:cubicBezTo>
                <a:cubicBezTo>
                  <a:pt x="878" y="1338"/>
                  <a:pt x="871" y="1356"/>
                  <a:pt x="871" y="1375"/>
                </a:cubicBezTo>
                <a:cubicBezTo>
                  <a:pt x="871" y="1394"/>
                  <a:pt x="878" y="1412"/>
                  <a:pt x="892" y="1425"/>
                </a:cubicBezTo>
                <a:cubicBezTo>
                  <a:pt x="984" y="1517"/>
                  <a:pt x="984" y="1517"/>
                  <a:pt x="984" y="1517"/>
                </a:cubicBezTo>
                <a:cubicBezTo>
                  <a:pt x="1011" y="1544"/>
                  <a:pt x="1058" y="1544"/>
                  <a:pt x="1085" y="1517"/>
                </a:cubicBezTo>
                <a:cubicBezTo>
                  <a:pt x="1126" y="1476"/>
                  <a:pt x="1126" y="1476"/>
                  <a:pt x="1126" y="1476"/>
                </a:cubicBezTo>
                <a:cubicBezTo>
                  <a:pt x="1126" y="1476"/>
                  <a:pt x="1127" y="1477"/>
                  <a:pt x="1127" y="1477"/>
                </a:cubicBezTo>
                <a:cubicBezTo>
                  <a:pt x="1162" y="1496"/>
                  <a:pt x="1198" y="1511"/>
                  <a:pt x="1235" y="1521"/>
                </a:cubicBezTo>
                <a:cubicBezTo>
                  <a:pt x="1236" y="1521"/>
                  <a:pt x="1236" y="1522"/>
                  <a:pt x="1237" y="1522"/>
                </a:cubicBezTo>
                <a:cubicBezTo>
                  <a:pt x="1237" y="1581"/>
                  <a:pt x="1237" y="1581"/>
                  <a:pt x="1237" y="1581"/>
                </a:cubicBezTo>
                <a:cubicBezTo>
                  <a:pt x="1237" y="1620"/>
                  <a:pt x="1269" y="1651"/>
                  <a:pt x="1308" y="1651"/>
                </a:cubicBezTo>
                <a:cubicBezTo>
                  <a:pt x="1439" y="1651"/>
                  <a:pt x="1439" y="1651"/>
                  <a:pt x="1439" y="1651"/>
                </a:cubicBezTo>
                <a:cubicBezTo>
                  <a:pt x="1478" y="1651"/>
                  <a:pt x="1510" y="1620"/>
                  <a:pt x="1510" y="1581"/>
                </a:cubicBezTo>
                <a:cubicBezTo>
                  <a:pt x="1510" y="1522"/>
                  <a:pt x="1510" y="1522"/>
                  <a:pt x="1510" y="1522"/>
                </a:cubicBezTo>
                <a:cubicBezTo>
                  <a:pt x="1510" y="1522"/>
                  <a:pt x="1510" y="1522"/>
                  <a:pt x="1511" y="1521"/>
                </a:cubicBezTo>
                <a:cubicBezTo>
                  <a:pt x="1547" y="1511"/>
                  <a:pt x="1584" y="1496"/>
                  <a:pt x="1619" y="1477"/>
                </a:cubicBezTo>
                <a:cubicBezTo>
                  <a:pt x="1620" y="1477"/>
                  <a:pt x="1620" y="1476"/>
                  <a:pt x="1620" y="1476"/>
                </a:cubicBezTo>
                <a:cubicBezTo>
                  <a:pt x="1662" y="1518"/>
                  <a:pt x="1662" y="1518"/>
                  <a:pt x="1662" y="1518"/>
                </a:cubicBezTo>
                <a:cubicBezTo>
                  <a:pt x="1690" y="1545"/>
                  <a:pt x="1734" y="1545"/>
                  <a:pt x="1762" y="1517"/>
                </a:cubicBezTo>
                <a:cubicBezTo>
                  <a:pt x="1855" y="1425"/>
                  <a:pt x="1855" y="1425"/>
                  <a:pt x="1855" y="1425"/>
                </a:cubicBezTo>
                <a:cubicBezTo>
                  <a:pt x="1868" y="1412"/>
                  <a:pt x="1875" y="1394"/>
                  <a:pt x="1875" y="1375"/>
                </a:cubicBezTo>
                <a:cubicBezTo>
                  <a:pt x="1875" y="1356"/>
                  <a:pt x="1868" y="1338"/>
                  <a:pt x="1855" y="1325"/>
                </a:cubicBezTo>
                <a:cubicBezTo>
                  <a:pt x="1813" y="1283"/>
                  <a:pt x="1813" y="1283"/>
                  <a:pt x="1813" y="1283"/>
                </a:cubicBezTo>
                <a:cubicBezTo>
                  <a:pt x="1813" y="1283"/>
                  <a:pt x="1814" y="1283"/>
                  <a:pt x="1814" y="1282"/>
                </a:cubicBezTo>
                <a:cubicBezTo>
                  <a:pt x="1833" y="1247"/>
                  <a:pt x="1848" y="1211"/>
                  <a:pt x="1858" y="1174"/>
                </a:cubicBezTo>
                <a:cubicBezTo>
                  <a:pt x="1859" y="1173"/>
                  <a:pt x="1859" y="1173"/>
                  <a:pt x="1859" y="1172"/>
                </a:cubicBezTo>
                <a:cubicBezTo>
                  <a:pt x="1918" y="1172"/>
                  <a:pt x="1918" y="1172"/>
                  <a:pt x="1918" y="1172"/>
                </a:cubicBezTo>
                <a:cubicBezTo>
                  <a:pt x="1957" y="1172"/>
                  <a:pt x="1988" y="1141"/>
                  <a:pt x="1988" y="1102"/>
                </a:cubicBezTo>
                <a:cubicBezTo>
                  <a:pt x="1988" y="971"/>
                  <a:pt x="1988" y="971"/>
                  <a:pt x="1988" y="971"/>
                </a:cubicBezTo>
                <a:cubicBezTo>
                  <a:pt x="1988" y="932"/>
                  <a:pt x="1957" y="900"/>
                  <a:pt x="1918" y="900"/>
                </a:cubicBezTo>
                <a:close/>
                <a:moveTo>
                  <a:pt x="1937" y="1102"/>
                </a:moveTo>
                <a:cubicBezTo>
                  <a:pt x="1937" y="1112"/>
                  <a:pt x="1928" y="1121"/>
                  <a:pt x="1918" y="1121"/>
                </a:cubicBezTo>
                <a:cubicBezTo>
                  <a:pt x="1839" y="1121"/>
                  <a:pt x="1839" y="1121"/>
                  <a:pt x="1839" y="1121"/>
                </a:cubicBezTo>
                <a:cubicBezTo>
                  <a:pt x="1817" y="1125"/>
                  <a:pt x="1817" y="1125"/>
                  <a:pt x="1817" y="1125"/>
                </a:cubicBezTo>
                <a:cubicBezTo>
                  <a:pt x="1813" y="1145"/>
                  <a:pt x="1813" y="1145"/>
                  <a:pt x="1813" y="1145"/>
                </a:cubicBezTo>
                <a:cubicBezTo>
                  <a:pt x="1812" y="1150"/>
                  <a:pt x="1810" y="1155"/>
                  <a:pt x="1809" y="1160"/>
                </a:cubicBezTo>
                <a:cubicBezTo>
                  <a:pt x="1800" y="1193"/>
                  <a:pt x="1786" y="1226"/>
                  <a:pt x="1769" y="1257"/>
                </a:cubicBezTo>
                <a:cubicBezTo>
                  <a:pt x="1767" y="1261"/>
                  <a:pt x="1764" y="1265"/>
                  <a:pt x="1759" y="1274"/>
                </a:cubicBezTo>
                <a:cubicBezTo>
                  <a:pt x="1748" y="1291"/>
                  <a:pt x="1748" y="1291"/>
                  <a:pt x="1748" y="1291"/>
                </a:cubicBezTo>
                <a:cubicBezTo>
                  <a:pt x="1818" y="1361"/>
                  <a:pt x="1818" y="1361"/>
                  <a:pt x="1818" y="1361"/>
                </a:cubicBezTo>
                <a:cubicBezTo>
                  <a:pt x="1822" y="1365"/>
                  <a:pt x="1824" y="1370"/>
                  <a:pt x="1824" y="1375"/>
                </a:cubicBezTo>
                <a:cubicBezTo>
                  <a:pt x="1824" y="1380"/>
                  <a:pt x="1822" y="1385"/>
                  <a:pt x="1818" y="1388"/>
                </a:cubicBezTo>
                <a:cubicBezTo>
                  <a:pt x="1725" y="1481"/>
                  <a:pt x="1725" y="1481"/>
                  <a:pt x="1725" y="1481"/>
                </a:cubicBezTo>
                <a:cubicBezTo>
                  <a:pt x="1718" y="1489"/>
                  <a:pt x="1706" y="1489"/>
                  <a:pt x="1698" y="1481"/>
                </a:cubicBezTo>
                <a:cubicBezTo>
                  <a:pt x="1642" y="1425"/>
                  <a:pt x="1642" y="1425"/>
                  <a:pt x="1642" y="1425"/>
                </a:cubicBezTo>
                <a:cubicBezTo>
                  <a:pt x="1624" y="1413"/>
                  <a:pt x="1624" y="1413"/>
                  <a:pt x="1624" y="1413"/>
                </a:cubicBezTo>
                <a:cubicBezTo>
                  <a:pt x="1607" y="1424"/>
                  <a:pt x="1607" y="1424"/>
                  <a:pt x="1607" y="1424"/>
                </a:cubicBezTo>
                <a:cubicBezTo>
                  <a:pt x="1602" y="1427"/>
                  <a:pt x="1598" y="1429"/>
                  <a:pt x="1594" y="1432"/>
                </a:cubicBezTo>
                <a:cubicBezTo>
                  <a:pt x="1563" y="1449"/>
                  <a:pt x="1530" y="1463"/>
                  <a:pt x="1497" y="1472"/>
                </a:cubicBezTo>
                <a:cubicBezTo>
                  <a:pt x="1492" y="1473"/>
                  <a:pt x="1487" y="1474"/>
                  <a:pt x="1478" y="1477"/>
                </a:cubicBezTo>
                <a:cubicBezTo>
                  <a:pt x="1458" y="1481"/>
                  <a:pt x="1458" y="1481"/>
                  <a:pt x="1458" y="1481"/>
                </a:cubicBezTo>
                <a:cubicBezTo>
                  <a:pt x="1458" y="1581"/>
                  <a:pt x="1458" y="1581"/>
                  <a:pt x="1458" y="1581"/>
                </a:cubicBezTo>
                <a:cubicBezTo>
                  <a:pt x="1458" y="1591"/>
                  <a:pt x="1449" y="1600"/>
                  <a:pt x="1439" y="1600"/>
                </a:cubicBezTo>
                <a:cubicBezTo>
                  <a:pt x="1308" y="1600"/>
                  <a:pt x="1308" y="1600"/>
                  <a:pt x="1308" y="1600"/>
                </a:cubicBezTo>
                <a:cubicBezTo>
                  <a:pt x="1297" y="1600"/>
                  <a:pt x="1288" y="1591"/>
                  <a:pt x="1288" y="1581"/>
                </a:cubicBezTo>
                <a:cubicBezTo>
                  <a:pt x="1288" y="1502"/>
                  <a:pt x="1288" y="1502"/>
                  <a:pt x="1288" y="1502"/>
                </a:cubicBezTo>
                <a:cubicBezTo>
                  <a:pt x="1284" y="1480"/>
                  <a:pt x="1284" y="1480"/>
                  <a:pt x="1284" y="1480"/>
                </a:cubicBezTo>
                <a:cubicBezTo>
                  <a:pt x="1264" y="1476"/>
                  <a:pt x="1264" y="1476"/>
                  <a:pt x="1264" y="1476"/>
                </a:cubicBezTo>
                <a:cubicBezTo>
                  <a:pt x="1260" y="1474"/>
                  <a:pt x="1255" y="1473"/>
                  <a:pt x="1249" y="1472"/>
                </a:cubicBezTo>
                <a:cubicBezTo>
                  <a:pt x="1216" y="1463"/>
                  <a:pt x="1183" y="1449"/>
                  <a:pt x="1152" y="1432"/>
                </a:cubicBezTo>
                <a:cubicBezTo>
                  <a:pt x="1148" y="1429"/>
                  <a:pt x="1144" y="1427"/>
                  <a:pt x="1135" y="1422"/>
                </a:cubicBezTo>
                <a:cubicBezTo>
                  <a:pt x="1118" y="1411"/>
                  <a:pt x="1118" y="1411"/>
                  <a:pt x="1118" y="1411"/>
                </a:cubicBezTo>
                <a:cubicBezTo>
                  <a:pt x="1048" y="1481"/>
                  <a:pt x="1048" y="1481"/>
                  <a:pt x="1048" y="1481"/>
                </a:cubicBezTo>
                <a:cubicBezTo>
                  <a:pt x="1041" y="1488"/>
                  <a:pt x="1028" y="1488"/>
                  <a:pt x="1021" y="1481"/>
                </a:cubicBezTo>
                <a:cubicBezTo>
                  <a:pt x="928" y="1388"/>
                  <a:pt x="928" y="1388"/>
                  <a:pt x="928" y="1388"/>
                </a:cubicBezTo>
                <a:cubicBezTo>
                  <a:pt x="924" y="1385"/>
                  <a:pt x="922" y="1380"/>
                  <a:pt x="922" y="1375"/>
                </a:cubicBezTo>
                <a:cubicBezTo>
                  <a:pt x="922" y="1370"/>
                  <a:pt x="924" y="1365"/>
                  <a:pt x="928" y="1361"/>
                </a:cubicBezTo>
                <a:cubicBezTo>
                  <a:pt x="984" y="1305"/>
                  <a:pt x="984" y="1305"/>
                  <a:pt x="984" y="1305"/>
                </a:cubicBezTo>
                <a:cubicBezTo>
                  <a:pt x="996" y="1287"/>
                  <a:pt x="996" y="1287"/>
                  <a:pt x="996" y="1287"/>
                </a:cubicBezTo>
                <a:cubicBezTo>
                  <a:pt x="985" y="1269"/>
                  <a:pt x="985" y="1269"/>
                  <a:pt x="985" y="1269"/>
                </a:cubicBezTo>
                <a:cubicBezTo>
                  <a:pt x="982" y="1265"/>
                  <a:pt x="980" y="1261"/>
                  <a:pt x="977" y="1257"/>
                </a:cubicBezTo>
                <a:cubicBezTo>
                  <a:pt x="960" y="1225"/>
                  <a:pt x="946" y="1193"/>
                  <a:pt x="937" y="1160"/>
                </a:cubicBezTo>
                <a:cubicBezTo>
                  <a:pt x="936" y="1155"/>
                  <a:pt x="935" y="1150"/>
                  <a:pt x="933" y="1141"/>
                </a:cubicBezTo>
                <a:cubicBezTo>
                  <a:pt x="928" y="1121"/>
                  <a:pt x="928" y="1121"/>
                  <a:pt x="928" y="1121"/>
                </a:cubicBezTo>
                <a:cubicBezTo>
                  <a:pt x="829" y="1121"/>
                  <a:pt x="829" y="1121"/>
                  <a:pt x="829" y="1121"/>
                </a:cubicBezTo>
                <a:cubicBezTo>
                  <a:pt x="818" y="1121"/>
                  <a:pt x="809" y="1112"/>
                  <a:pt x="809" y="1102"/>
                </a:cubicBezTo>
                <a:cubicBezTo>
                  <a:pt x="809" y="971"/>
                  <a:pt x="809" y="971"/>
                  <a:pt x="809" y="971"/>
                </a:cubicBezTo>
                <a:cubicBezTo>
                  <a:pt x="809" y="960"/>
                  <a:pt x="818" y="951"/>
                  <a:pt x="829" y="951"/>
                </a:cubicBezTo>
                <a:cubicBezTo>
                  <a:pt x="908" y="951"/>
                  <a:pt x="908" y="951"/>
                  <a:pt x="908" y="951"/>
                </a:cubicBezTo>
                <a:cubicBezTo>
                  <a:pt x="929" y="947"/>
                  <a:pt x="929" y="947"/>
                  <a:pt x="929" y="947"/>
                </a:cubicBezTo>
                <a:cubicBezTo>
                  <a:pt x="934" y="927"/>
                  <a:pt x="934" y="927"/>
                  <a:pt x="934" y="927"/>
                </a:cubicBezTo>
                <a:cubicBezTo>
                  <a:pt x="935" y="922"/>
                  <a:pt x="936" y="917"/>
                  <a:pt x="938" y="912"/>
                </a:cubicBezTo>
                <a:cubicBezTo>
                  <a:pt x="946" y="879"/>
                  <a:pt x="960" y="847"/>
                  <a:pt x="977" y="815"/>
                </a:cubicBezTo>
                <a:cubicBezTo>
                  <a:pt x="980" y="811"/>
                  <a:pt x="982" y="807"/>
                  <a:pt x="988" y="798"/>
                </a:cubicBezTo>
                <a:cubicBezTo>
                  <a:pt x="998" y="781"/>
                  <a:pt x="998" y="781"/>
                  <a:pt x="998" y="781"/>
                </a:cubicBezTo>
                <a:cubicBezTo>
                  <a:pt x="928" y="711"/>
                  <a:pt x="928" y="711"/>
                  <a:pt x="928" y="711"/>
                </a:cubicBezTo>
                <a:cubicBezTo>
                  <a:pt x="924" y="707"/>
                  <a:pt x="922" y="702"/>
                  <a:pt x="922" y="697"/>
                </a:cubicBezTo>
                <a:cubicBezTo>
                  <a:pt x="922" y="692"/>
                  <a:pt x="924" y="687"/>
                  <a:pt x="928" y="684"/>
                </a:cubicBezTo>
                <a:cubicBezTo>
                  <a:pt x="1021" y="591"/>
                  <a:pt x="1021" y="591"/>
                  <a:pt x="1021" y="591"/>
                </a:cubicBezTo>
                <a:cubicBezTo>
                  <a:pt x="1028" y="584"/>
                  <a:pt x="1041" y="584"/>
                  <a:pt x="1048" y="591"/>
                </a:cubicBezTo>
                <a:cubicBezTo>
                  <a:pt x="1104" y="647"/>
                  <a:pt x="1104" y="647"/>
                  <a:pt x="1104" y="647"/>
                </a:cubicBezTo>
                <a:cubicBezTo>
                  <a:pt x="1122" y="659"/>
                  <a:pt x="1122" y="659"/>
                  <a:pt x="1122" y="659"/>
                </a:cubicBezTo>
                <a:cubicBezTo>
                  <a:pt x="1140" y="648"/>
                  <a:pt x="1140" y="648"/>
                  <a:pt x="1140" y="648"/>
                </a:cubicBezTo>
                <a:cubicBezTo>
                  <a:pt x="1144" y="645"/>
                  <a:pt x="1148" y="643"/>
                  <a:pt x="1152" y="640"/>
                </a:cubicBezTo>
                <a:cubicBezTo>
                  <a:pt x="1183" y="623"/>
                  <a:pt x="1216" y="610"/>
                  <a:pt x="1250" y="600"/>
                </a:cubicBezTo>
                <a:cubicBezTo>
                  <a:pt x="1255" y="599"/>
                  <a:pt x="1260" y="598"/>
                  <a:pt x="1269" y="596"/>
                </a:cubicBezTo>
                <a:cubicBezTo>
                  <a:pt x="1288" y="591"/>
                  <a:pt x="1288" y="591"/>
                  <a:pt x="1288" y="591"/>
                </a:cubicBezTo>
                <a:cubicBezTo>
                  <a:pt x="1288" y="492"/>
                  <a:pt x="1288" y="492"/>
                  <a:pt x="1288" y="492"/>
                </a:cubicBezTo>
                <a:cubicBezTo>
                  <a:pt x="1288" y="481"/>
                  <a:pt x="1297" y="472"/>
                  <a:pt x="1308" y="472"/>
                </a:cubicBezTo>
                <a:cubicBezTo>
                  <a:pt x="1439" y="472"/>
                  <a:pt x="1439" y="472"/>
                  <a:pt x="1439" y="472"/>
                </a:cubicBezTo>
                <a:cubicBezTo>
                  <a:pt x="1449" y="472"/>
                  <a:pt x="1458" y="481"/>
                  <a:pt x="1458" y="492"/>
                </a:cubicBezTo>
                <a:cubicBezTo>
                  <a:pt x="1458" y="571"/>
                  <a:pt x="1458" y="571"/>
                  <a:pt x="1458" y="571"/>
                </a:cubicBezTo>
                <a:cubicBezTo>
                  <a:pt x="1462" y="592"/>
                  <a:pt x="1462" y="592"/>
                  <a:pt x="1462" y="592"/>
                </a:cubicBezTo>
                <a:cubicBezTo>
                  <a:pt x="1482" y="597"/>
                  <a:pt x="1482" y="597"/>
                  <a:pt x="1482" y="597"/>
                </a:cubicBezTo>
                <a:cubicBezTo>
                  <a:pt x="1487" y="598"/>
                  <a:pt x="1492" y="599"/>
                  <a:pt x="1497" y="600"/>
                </a:cubicBezTo>
                <a:cubicBezTo>
                  <a:pt x="1530" y="609"/>
                  <a:pt x="1563" y="623"/>
                  <a:pt x="1594" y="640"/>
                </a:cubicBezTo>
                <a:cubicBezTo>
                  <a:pt x="1598" y="643"/>
                  <a:pt x="1602" y="645"/>
                  <a:pt x="1611" y="650"/>
                </a:cubicBezTo>
                <a:cubicBezTo>
                  <a:pt x="1628" y="661"/>
                  <a:pt x="1628" y="661"/>
                  <a:pt x="1628" y="661"/>
                </a:cubicBezTo>
                <a:cubicBezTo>
                  <a:pt x="1698" y="591"/>
                  <a:pt x="1698" y="591"/>
                  <a:pt x="1698" y="591"/>
                </a:cubicBezTo>
                <a:cubicBezTo>
                  <a:pt x="1706" y="584"/>
                  <a:pt x="1718" y="584"/>
                  <a:pt x="1725" y="591"/>
                </a:cubicBezTo>
                <a:cubicBezTo>
                  <a:pt x="1818" y="684"/>
                  <a:pt x="1818" y="684"/>
                  <a:pt x="1818" y="684"/>
                </a:cubicBezTo>
                <a:cubicBezTo>
                  <a:pt x="1822" y="687"/>
                  <a:pt x="1824" y="692"/>
                  <a:pt x="1824" y="697"/>
                </a:cubicBezTo>
                <a:cubicBezTo>
                  <a:pt x="1824" y="703"/>
                  <a:pt x="1822" y="707"/>
                  <a:pt x="1818" y="711"/>
                </a:cubicBezTo>
                <a:cubicBezTo>
                  <a:pt x="1763" y="767"/>
                  <a:pt x="1763" y="767"/>
                  <a:pt x="1763" y="767"/>
                </a:cubicBezTo>
                <a:cubicBezTo>
                  <a:pt x="1751" y="785"/>
                  <a:pt x="1751" y="785"/>
                  <a:pt x="1751" y="785"/>
                </a:cubicBezTo>
                <a:cubicBezTo>
                  <a:pt x="1761" y="803"/>
                  <a:pt x="1761" y="803"/>
                  <a:pt x="1761" y="803"/>
                </a:cubicBezTo>
                <a:cubicBezTo>
                  <a:pt x="1764" y="807"/>
                  <a:pt x="1767" y="811"/>
                  <a:pt x="1769" y="815"/>
                </a:cubicBezTo>
                <a:cubicBezTo>
                  <a:pt x="1786" y="846"/>
                  <a:pt x="1800" y="879"/>
                  <a:pt x="1809" y="913"/>
                </a:cubicBezTo>
                <a:cubicBezTo>
                  <a:pt x="1810" y="917"/>
                  <a:pt x="1812" y="922"/>
                  <a:pt x="1814" y="932"/>
                </a:cubicBezTo>
                <a:cubicBezTo>
                  <a:pt x="1818" y="951"/>
                  <a:pt x="1818" y="951"/>
                  <a:pt x="1818" y="951"/>
                </a:cubicBezTo>
                <a:cubicBezTo>
                  <a:pt x="1918" y="951"/>
                  <a:pt x="1918" y="951"/>
                  <a:pt x="1918" y="951"/>
                </a:cubicBezTo>
                <a:cubicBezTo>
                  <a:pt x="1928" y="951"/>
                  <a:pt x="1937" y="960"/>
                  <a:pt x="1937" y="971"/>
                </a:cubicBezTo>
                <a:lnTo>
                  <a:pt x="1937" y="11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9" name="Group 18"/>
          <p:cNvGrpSpPr/>
          <p:nvPr/>
        </p:nvGrpSpPr>
        <p:grpSpPr>
          <a:xfrm>
            <a:off x="6480174" y="3157665"/>
            <a:ext cx="1676400" cy="840386"/>
            <a:chOff x="6480174" y="3157665"/>
            <a:chExt cx="1676400" cy="840386"/>
          </a:xfrm>
        </p:grpSpPr>
        <p:sp>
          <p:nvSpPr>
            <p:cNvPr id="15" name="TextBox 14"/>
            <p:cNvSpPr txBox="1"/>
            <p:nvPr/>
          </p:nvSpPr>
          <p:spPr>
            <a:xfrm>
              <a:off x="6480174" y="3374611"/>
              <a:ext cx="1676400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450"/>
                </a:spcAft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am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mentum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bero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enean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nisi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ib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diam.</a:t>
              </a:r>
              <a:endParaRPr lang="en-US" sz="800" spc="19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480174" y="3157665"/>
              <a:ext cx="16764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rvidores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oderosos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733800" y="3157665"/>
            <a:ext cx="1676400" cy="840386"/>
            <a:chOff x="3733800" y="3157665"/>
            <a:chExt cx="1676400" cy="840386"/>
          </a:xfrm>
        </p:grpSpPr>
        <p:sp>
          <p:nvSpPr>
            <p:cNvPr id="11" name="TextBox 10"/>
            <p:cNvSpPr txBox="1"/>
            <p:nvPr/>
          </p:nvSpPr>
          <p:spPr>
            <a:xfrm>
              <a:off x="3733800" y="3374611"/>
              <a:ext cx="1676400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450"/>
                </a:spcAft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am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mentum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bero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enean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nisi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ib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diam.</a:t>
              </a:r>
              <a:endParaRPr lang="en-US" sz="800" spc="19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733800" y="3157665"/>
              <a:ext cx="16764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Relatório</a:t>
              </a:r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Dado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984816" y="3157665"/>
            <a:ext cx="1721884" cy="857121"/>
            <a:chOff x="984816" y="3157665"/>
            <a:chExt cx="1721884" cy="857121"/>
          </a:xfrm>
        </p:grpSpPr>
        <p:sp>
          <p:nvSpPr>
            <p:cNvPr id="7" name="TextBox 6"/>
            <p:cNvSpPr txBox="1"/>
            <p:nvPr/>
          </p:nvSpPr>
          <p:spPr>
            <a:xfrm>
              <a:off x="984816" y="3374611"/>
              <a:ext cx="1721884" cy="6401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450"/>
                </a:spcAft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am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mentum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libero.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enean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nisi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ib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diam vitae.</a:t>
              </a:r>
              <a:endParaRPr lang="en-US" sz="800" spc="19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84816" y="3157665"/>
              <a:ext cx="172188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acote </a:t>
              </a:r>
              <a:r>
                <a:rPr lang="en-US" sz="1000" b="1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pleto</a:t>
              </a:r>
              <a:endParaRPr lang="en-US" sz="1000" b="1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261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PONTOS-CHAVE</a:t>
            </a:r>
            <a:r>
              <a:rPr lang="en-US" dirty="0"/>
              <a:t> DO PROJET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92877" y="1543050"/>
            <a:ext cx="2295525" cy="2743200"/>
            <a:chOff x="592877" y="1543050"/>
            <a:chExt cx="2295525" cy="2743200"/>
          </a:xfrm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2196877" y="1543050"/>
              <a:ext cx="134203" cy="140016"/>
            </a:xfrm>
            <a:custGeom>
              <a:avLst/>
              <a:gdLst>
                <a:gd name="T0" fmla="*/ 376 w 376"/>
                <a:gd name="T1" fmla="*/ 391 h 391"/>
                <a:gd name="T2" fmla="*/ 188 w 376"/>
                <a:gd name="T3" fmla="*/ 0 h 391"/>
                <a:gd name="T4" fmla="*/ 0 w 376"/>
                <a:gd name="T5" fmla="*/ 391 h 391"/>
                <a:gd name="T6" fmla="*/ 376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376" y="391"/>
                  </a:moveTo>
                  <a:cubicBezTo>
                    <a:pt x="376" y="175"/>
                    <a:pt x="292" y="0"/>
                    <a:pt x="188" y="0"/>
                  </a:cubicBezTo>
                  <a:cubicBezTo>
                    <a:pt x="84" y="0"/>
                    <a:pt x="0" y="175"/>
                    <a:pt x="0" y="391"/>
                  </a:cubicBezTo>
                  <a:lnTo>
                    <a:pt x="376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1150199" y="1543050"/>
              <a:ext cx="134203" cy="140016"/>
            </a:xfrm>
            <a:custGeom>
              <a:avLst/>
              <a:gdLst>
                <a:gd name="T0" fmla="*/ 0 w 376"/>
                <a:gd name="T1" fmla="*/ 391 h 391"/>
                <a:gd name="T2" fmla="*/ 188 w 376"/>
                <a:gd name="T3" fmla="*/ 0 h 391"/>
                <a:gd name="T4" fmla="*/ 376 w 376"/>
                <a:gd name="T5" fmla="*/ 391 h 391"/>
                <a:gd name="T6" fmla="*/ 0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0" y="391"/>
                  </a:moveTo>
                  <a:cubicBezTo>
                    <a:pt x="0" y="175"/>
                    <a:pt x="84" y="0"/>
                    <a:pt x="188" y="0"/>
                  </a:cubicBezTo>
                  <a:cubicBezTo>
                    <a:pt x="292" y="0"/>
                    <a:pt x="376" y="175"/>
                    <a:pt x="376" y="391"/>
                  </a:cubicBezTo>
                  <a:lnTo>
                    <a:pt x="0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92877" y="1671788"/>
              <a:ext cx="2295525" cy="261446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15713" y="1543050"/>
              <a:ext cx="1049852" cy="1085252"/>
            </a:xfrm>
            <a:custGeom>
              <a:avLst/>
              <a:gdLst>
                <a:gd name="T0" fmla="*/ 0 w 2934"/>
                <a:gd name="T1" fmla="*/ 0 h 3031"/>
                <a:gd name="T2" fmla="*/ 133 w 2934"/>
                <a:gd name="T3" fmla="*/ 115 h 3031"/>
                <a:gd name="T4" fmla="*/ 188 w 2934"/>
                <a:gd name="T5" fmla="*/ 391 h 3031"/>
                <a:gd name="T6" fmla="*/ 188 w 2934"/>
                <a:gd name="T7" fmla="*/ 2412 h 3031"/>
                <a:gd name="T8" fmla="*/ 1467 w 2934"/>
                <a:gd name="T9" fmla="*/ 3031 h 3031"/>
                <a:gd name="T10" fmla="*/ 2746 w 2934"/>
                <a:gd name="T11" fmla="*/ 2412 h 3031"/>
                <a:gd name="T12" fmla="*/ 2746 w 2934"/>
                <a:gd name="T13" fmla="*/ 391 h 3031"/>
                <a:gd name="T14" fmla="*/ 2801 w 2934"/>
                <a:gd name="T15" fmla="*/ 115 h 3031"/>
                <a:gd name="T16" fmla="*/ 2934 w 2934"/>
                <a:gd name="T17" fmla="*/ 0 h 3031"/>
                <a:gd name="T18" fmla="*/ 0 w 2934"/>
                <a:gd name="T19" fmla="*/ 0 h 3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4" h="3031">
                  <a:moveTo>
                    <a:pt x="0" y="0"/>
                  </a:moveTo>
                  <a:cubicBezTo>
                    <a:pt x="52" y="0"/>
                    <a:pt x="99" y="44"/>
                    <a:pt x="133" y="115"/>
                  </a:cubicBezTo>
                  <a:cubicBezTo>
                    <a:pt x="167" y="186"/>
                    <a:pt x="188" y="283"/>
                    <a:pt x="188" y="391"/>
                  </a:cubicBezTo>
                  <a:cubicBezTo>
                    <a:pt x="188" y="2412"/>
                    <a:pt x="188" y="2412"/>
                    <a:pt x="188" y="2412"/>
                  </a:cubicBezTo>
                  <a:cubicBezTo>
                    <a:pt x="1467" y="3031"/>
                    <a:pt x="1467" y="3031"/>
                    <a:pt x="1467" y="3031"/>
                  </a:cubicBezTo>
                  <a:cubicBezTo>
                    <a:pt x="2746" y="2412"/>
                    <a:pt x="2746" y="2412"/>
                    <a:pt x="2746" y="2412"/>
                  </a:cubicBezTo>
                  <a:cubicBezTo>
                    <a:pt x="2746" y="391"/>
                    <a:pt x="2746" y="391"/>
                    <a:pt x="2746" y="391"/>
                  </a:cubicBezTo>
                  <a:cubicBezTo>
                    <a:pt x="2746" y="283"/>
                    <a:pt x="2767" y="186"/>
                    <a:pt x="2801" y="115"/>
                  </a:cubicBezTo>
                  <a:cubicBezTo>
                    <a:pt x="2835" y="44"/>
                    <a:pt x="2882" y="0"/>
                    <a:pt x="29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364402" y="1895127"/>
              <a:ext cx="75247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364402" y="1772744"/>
              <a:ext cx="7524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40" dirty="0" err="1">
                  <a:solidFill>
                    <a:schemeClr val="bg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sso</a:t>
              </a:r>
              <a:endParaRPr lang="en-US" sz="900" b="1" cap="all" spc="40" dirty="0">
                <a:solidFill>
                  <a:schemeClr val="bg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978131" y="3134079"/>
              <a:ext cx="1589090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c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acul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urp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3" name="Title 2"/>
            <p:cNvSpPr txBox="1">
              <a:spLocks/>
            </p:cNvSpPr>
            <p:nvPr/>
          </p:nvSpPr>
          <p:spPr>
            <a:xfrm>
              <a:off x="978131" y="2910592"/>
              <a:ext cx="158909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bas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424238" y="1543050"/>
            <a:ext cx="2295525" cy="2743200"/>
            <a:chOff x="3424238" y="1543050"/>
            <a:chExt cx="2295525" cy="2743200"/>
          </a:xfrm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028238" y="1543050"/>
              <a:ext cx="134203" cy="140016"/>
            </a:xfrm>
            <a:custGeom>
              <a:avLst/>
              <a:gdLst>
                <a:gd name="T0" fmla="*/ 376 w 376"/>
                <a:gd name="T1" fmla="*/ 391 h 391"/>
                <a:gd name="T2" fmla="*/ 188 w 376"/>
                <a:gd name="T3" fmla="*/ 0 h 391"/>
                <a:gd name="T4" fmla="*/ 0 w 376"/>
                <a:gd name="T5" fmla="*/ 391 h 391"/>
                <a:gd name="T6" fmla="*/ 376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376" y="391"/>
                  </a:moveTo>
                  <a:cubicBezTo>
                    <a:pt x="376" y="175"/>
                    <a:pt x="292" y="0"/>
                    <a:pt x="188" y="0"/>
                  </a:cubicBezTo>
                  <a:cubicBezTo>
                    <a:pt x="84" y="0"/>
                    <a:pt x="0" y="175"/>
                    <a:pt x="0" y="391"/>
                  </a:cubicBezTo>
                  <a:lnTo>
                    <a:pt x="376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3981560" y="1543050"/>
              <a:ext cx="134203" cy="140016"/>
            </a:xfrm>
            <a:custGeom>
              <a:avLst/>
              <a:gdLst>
                <a:gd name="T0" fmla="*/ 0 w 376"/>
                <a:gd name="T1" fmla="*/ 391 h 391"/>
                <a:gd name="T2" fmla="*/ 188 w 376"/>
                <a:gd name="T3" fmla="*/ 0 h 391"/>
                <a:gd name="T4" fmla="*/ 376 w 376"/>
                <a:gd name="T5" fmla="*/ 391 h 391"/>
                <a:gd name="T6" fmla="*/ 0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0" y="391"/>
                  </a:moveTo>
                  <a:cubicBezTo>
                    <a:pt x="0" y="175"/>
                    <a:pt x="84" y="0"/>
                    <a:pt x="188" y="0"/>
                  </a:cubicBezTo>
                  <a:cubicBezTo>
                    <a:pt x="292" y="0"/>
                    <a:pt x="376" y="175"/>
                    <a:pt x="376" y="391"/>
                  </a:cubicBezTo>
                  <a:lnTo>
                    <a:pt x="0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424238" y="1671788"/>
              <a:ext cx="2295525" cy="261446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4047074" y="1543050"/>
              <a:ext cx="1049852" cy="1085252"/>
            </a:xfrm>
            <a:custGeom>
              <a:avLst/>
              <a:gdLst>
                <a:gd name="T0" fmla="*/ 0 w 2934"/>
                <a:gd name="T1" fmla="*/ 0 h 3031"/>
                <a:gd name="T2" fmla="*/ 133 w 2934"/>
                <a:gd name="T3" fmla="*/ 115 h 3031"/>
                <a:gd name="T4" fmla="*/ 188 w 2934"/>
                <a:gd name="T5" fmla="*/ 391 h 3031"/>
                <a:gd name="T6" fmla="*/ 188 w 2934"/>
                <a:gd name="T7" fmla="*/ 2412 h 3031"/>
                <a:gd name="T8" fmla="*/ 1467 w 2934"/>
                <a:gd name="T9" fmla="*/ 3031 h 3031"/>
                <a:gd name="T10" fmla="*/ 2746 w 2934"/>
                <a:gd name="T11" fmla="*/ 2412 h 3031"/>
                <a:gd name="T12" fmla="*/ 2746 w 2934"/>
                <a:gd name="T13" fmla="*/ 391 h 3031"/>
                <a:gd name="T14" fmla="*/ 2801 w 2934"/>
                <a:gd name="T15" fmla="*/ 115 h 3031"/>
                <a:gd name="T16" fmla="*/ 2934 w 2934"/>
                <a:gd name="T17" fmla="*/ 0 h 3031"/>
                <a:gd name="T18" fmla="*/ 0 w 2934"/>
                <a:gd name="T19" fmla="*/ 0 h 3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4" h="3031">
                  <a:moveTo>
                    <a:pt x="0" y="0"/>
                  </a:moveTo>
                  <a:cubicBezTo>
                    <a:pt x="52" y="0"/>
                    <a:pt x="99" y="44"/>
                    <a:pt x="133" y="115"/>
                  </a:cubicBezTo>
                  <a:cubicBezTo>
                    <a:pt x="167" y="186"/>
                    <a:pt x="188" y="283"/>
                    <a:pt x="188" y="391"/>
                  </a:cubicBezTo>
                  <a:cubicBezTo>
                    <a:pt x="188" y="2412"/>
                    <a:pt x="188" y="2412"/>
                    <a:pt x="188" y="2412"/>
                  </a:cubicBezTo>
                  <a:cubicBezTo>
                    <a:pt x="1467" y="3031"/>
                    <a:pt x="1467" y="3031"/>
                    <a:pt x="1467" y="3031"/>
                  </a:cubicBezTo>
                  <a:cubicBezTo>
                    <a:pt x="2746" y="2412"/>
                    <a:pt x="2746" y="2412"/>
                    <a:pt x="2746" y="2412"/>
                  </a:cubicBezTo>
                  <a:cubicBezTo>
                    <a:pt x="2746" y="391"/>
                    <a:pt x="2746" y="391"/>
                    <a:pt x="2746" y="391"/>
                  </a:cubicBezTo>
                  <a:cubicBezTo>
                    <a:pt x="2746" y="283"/>
                    <a:pt x="2767" y="186"/>
                    <a:pt x="2801" y="115"/>
                  </a:cubicBezTo>
                  <a:cubicBezTo>
                    <a:pt x="2835" y="44"/>
                    <a:pt x="2882" y="0"/>
                    <a:pt x="29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195763" y="1895127"/>
              <a:ext cx="75247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195763" y="1772744"/>
              <a:ext cx="7524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40" dirty="0" err="1">
                  <a:solidFill>
                    <a:schemeClr val="bg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sso</a:t>
              </a:r>
              <a:endParaRPr lang="en-US" sz="900" b="1" cap="all" spc="40" dirty="0">
                <a:solidFill>
                  <a:schemeClr val="bg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777455" y="3134079"/>
              <a:ext cx="1589090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c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acul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urp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5" name="Title 2"/>
            <p:cNvSpPr txBox="1">
              <a:spLocks/>
            </p:cNvSpPr>
            <p:nvPr/>
          </p:nvSpPr>
          <p:spPr>
            <a:xfrm>
              <a:off x="3777455" y="2910592"/>
              <a:ext cx="158909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resci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6251575" y="1543050"/>
            <a:ext cx="2295525" cy="2743200"/>
            <a:chOff x="6251575" y="1543050"/>
            <a:chExt cx="2295525" cy="2743200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7855575" y="1543050"/>
              <a:ext cx="134203" cy="140016"/>
            </a:xfrm>
            <a:custGeom>
              <a:avLst/>
              <a:gdLst>
                <a:gd name="T0" fmla="*/ 376 w 376"/>
                <a:gd name="T1" fmla="*/ 391 h 391"/>
                <a:gd name="T2" fmla="*/ 188 w 376"/>
                <a:gd name="T3" fmla="*/ 0 h 391"/>
                <a:gd name="T4" fmla="*/ 0 w 376"/>
                <a:gd name="T5" fmla="*/ 391 h 391"/>
                <a:gd name="T6" fmla="*/ 376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376" y="391"/>
                  </a:moveTo>
                  <a:cubicBezTo>
                    <a:pt x="376" y="175"/>
                    <a:pt x="292" y="0"/>
                    <a:pt x="188" y="0"/>
                  </a:cubicBezTo>
                  <a:cubicBezTo>
                    <a:pt x="84" y="0"/>
                    <a:pt x="0" y="175"/>
                    <a:pt x="0" y="391"/>
                  </a:cubicBezTo>
                  <a:lnTo>
                    <a:pt x="376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auto">
            <a:xfrm>
              <a:off x="6808897" y="1543050"/>
              <a:ext cx="134203" cy="140016"/>
            </a:xfrm>
            <a:custGeom>
              <a:avLst/>
              <a:gdLst>
                <a:gd name="T0" fmla="*/ 0 w 376"/>
                <a:gd name="T1" fmla="*/ 391 h 391"/>
                <a:gd name="T2" fmla="*/ 188 w 376"/>
                <a:gd name="T3" fmla="*/ 0 h 391"/>
                <a:gd name="T4" fmla="*/ 376 w 376"/>
                <a:gd name="T5" fmla="*/ 391 h 391"/>
                <a:gd name="T6" fmla="*/ 0 w 376"/>
                <a:gd name="T7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" h="391">
                  <a:moveTo>
                    <a:pt x="0" y="391"/>
                  </a:moveTo>
                  <a:cubicBezTo>
                    <a:pt x="0" y="175"/>
                    <a:pt x="84" y="0"/>
                    <a:pt x="188" y="0"/>
                  </a:cubicBezTo>
                  <a:cubicBezTo>
                    <a:pt x="292" y="0"/>
                    <a:pt x="376" y="175"/>
                    <a:pt x="376" y="391"/>
                  </a:cubicBezTo>
                  <a:lnTo>
                    <a:pt x="0" y="39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251575" y="1671788"/>
              <a:ext cx="2295525" cy="2614462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6874411" y="1543050"/>
              <a:ext cx="1049852" cy="1085252"/>
            </a:xfrm>
            <a:custGeom>
              <a:avLst/>
              <a:gdLst>
                <a:gd name="T0" fmla="*/ 0 w 2934"/>
                <a:gd name="T1" fmla="*/ 0 h 3031"/>
                <a:gd name="T2" fmla="*/ 133 w 2934"/>
                <a:gd name="T3" fmla="*/ 115 h 3031"/>
                <a:gd name="T4" fmla="*/ 188 w 2934"/>
                <a:gd name="T5" fmla="*/ 391 h 3031"/>
                <a:gd name="T6" fmla="*/ 188 w 2934"/>
                <a:gd name="T7" fmla="*/ 2412 h 3031"/>
                <a:gd name="T8" fmla="*/ 1467 w 2934"/>
                <a:gd name="T9" fmla="*/ 3031 h 3031"/>
                <a:gd name="T10" fmla="*/ 2746 w 2934"/>
                <a:gd name="T11" fmla="*/ 2412 h 3031"/>
                <a:gd name="T12" fmla="*/ 2746 w 2934"/>
                <a:gd name="T13" fmla="*/ 391 h 3031"/>
                <a:gd name="T14" fmla="*/ 2801 w 2934"/>
                <a:gd name="T15" fmla="*/ 115 h 3031"/>
                <a:gd name="T16" fmla="*/ 2934 w 2934"/>
                <a:gd name="T17" fmla="*/ 0 h 3031"/>
                <a:gd name="T18" fmla="*/ 0 w 2934"/>
                <a:gd name="T19" fmla="*/ 0 h 3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34" h="3031">
                  <a:moveTo>
                    <a:pt x="0" y="0"/>
                  </a:moveTo>
                  <a:cubicBezTo>
                    <a:pt x="52" y="0"/>
                    <a:pt x="99" y="44"/>
                    <a:pt x="133" y="115"/>
                  </a:cubicBezTo>
                  <a:cubicBezTo>
                    <a:pt x="167" y="186"/>
                    <a:pt x="188" y="283"/>
                    <a:pt x="188" y="391"/>
                  </a:cubicBezTo>
                  <a:cubicBezTo>
                    <a:pt x="188" y="2412"/>
                    <a:pt x="188" y="2412"/>
                    <a:pt x="188" y="2412"/>
                  </a:cubicBezTo>
                  <a:cubicBezTo>
                    <a:pt x="1467" y="3031"/>
                    <a:pt x="1467" y="3031"/>
                    <a:pt x="1467" y="3031"/>
                  </a:cubicBezTo>
                  <a:cubicBezTo>
                    <a:pt x="2746" y="2412"/>
                    <a:pt x="2746" y="2412"/>
                    <a:pt x="2746" y="2412"/>
                  </a:cubicBezTo>
                  <a:cubicBezTo>
                    <a:pt x="2746" y="391"/>
                    <a:pt x="2746" y="391"/>
                    <a:pt x="2746" y="391"/>
                  </a:cubicBezTo>
                  <a:cubicBezTo>
                    <a:pt x="2746" y="283"/>
                    <a:pt x="2767" y="186"/>
                    <a:pt x="2801" y="115"/>
                  </a:cubicBezTo>
                  <a:cubicBezTo>
                    <a:pt x="2835" y="44"/>
                    <a:pt x="2882" y="0"/>
                    <a:pt x="293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023100" y="1895127"/>
              <a:ext cx="75247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023100" y="1772744"/>
              <a:ext cx="75247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40" dirty="0" err="1">
                  <a:solidFill>
                    <a:schemeClr val="bg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sso</a:t>
              </a:r>
              <a:endParaRPr lang="en-US" sz="900" b="1" cap="all" spc="40" dirty="0">
                <a:solidFill>
                  <a:schemeClr val="bg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604792" y="3134079"/>
              <a:ext cx="1589090" cy="62344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onec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ro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n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mperdie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c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Ut vel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t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acul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urp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,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obortis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3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27" name="Title 2"/>
            <p:cNvSpPr txBox="1">
              <a:spLocks/>
            </p:cNvSpPr>
            <p:nvPr/>
          </p:nvSpPr>
          <p:spPr>
            <a:xfrm>
              <a:off x="6604792" y="2910592"/>
              <a:ext cx="158909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ransformaçõe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535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hart </a:t>
            </a:r>
            <a:r>
              <a:rPr lang="en-US" dirty="0" err="1">
                <a:solidFill>
                  <a:srgbClr val="EC0000"/>
                </a:solidFill>
              </a:rPr>
              <a:t>organizacional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93725" y="959101"/>
            <a:ext cx="7953374" cy="141344"/>
          </a:xfrm>
        </p:spPr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36" name="Group 35"/>
          <p:cNvGrpSpPr/>
          <p:nvPr/>
        </p:nvGrpSpPr>
        <p:grpSpPr>
          <a:xfrm>
            <a:off x="1814062" y="1887665"/>
            <a:ext cx="1144526" cy="2054254"/>
            <a:chOff x="1814062" y="1887665"/>
            <a:chExt cx="1144526" cy="2054254"/>
          </a:xfrm>
        </p:grpSpPr>
        <p:cxnSp>
          <p:nvCxnSpPr>
            <p:cNvPr id="4" name="Straight Connector 3"/>
            <p:cNvCxnSpPr>
              <a:endCxn id="15" idx="0"/>
            </p:cNvCxnSpPr>
            <p:nvPr/>
          </p:nvCxnSpPr>
          <p:spPr>
            <a:xfrm flipH="1">
              <a:off x="1938745" y="1887665"/>
              <a:ext cx="1019843" cy="10678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>
              <a:endCxn id="16" idx="0"/>
            </p:cNvCxnSpPr>
            <p:nvPr/>
          </p:nvCxnSpPr>
          <p:spPr>
            <a:xfrm flipH="1" flipV="1">
              <a:off x="1938745" y="3938289"/>
              <a:ext cx="1019843" cy="3630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>
              <a:endCxn id="7" idx="6"/>
            </p:cNvCxnSpPr>
            <p:nvPr/>
          </p:nvCxnSpPr>
          <p:spPr>
            <a:xfrm flipH="1">
              <a:off x="2440984" y="2918316"/>
              <a:ext cx="517604" cy="0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7" idx="0"/>
              <a:endCxn id="15" idx="2"/>
            </p:cNvCxnSpPr>
            <p:nvPr/>
          </p:nvCxnSpPr>
          <p:spPr>
            <a:xfrm flipV="1">
              <a:off x="1814062" y="2023026"/>
              <a:ext cx="0" cy="268367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Arc 14"/>
            <p:cNvSpPr/>
            <p:nvPr/>
          </p:nvSpPr>
          <p:spPr>
            <a:xfrm flipH="1">
              <a:off x="1814062" y="1898342"/>
              <a:ext cx="249368" cy="249368"/>
            </a:xfrm>
            <a:prstGeom prst="arc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6" name="Arc 15"/>
            <p:cNvSpPr/>
            <p:nvPr/>
          </p:nvSpPr>
          <p:spPr>
            <a:xfrm rot="10800000">
              <a:off x="1814062" y="3688920"/>
              <a:ext cx="249368" cy="249368"/>
            </a:xfrm>
            <a:prstGeom prst="arc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17" name="Straight Connector 16"/>
            <p:cNvCxnSpPr>
              <a:stCxn id="7" idx="4"/>
              <a:endCxn id="16" idx="2"/>
            </p:cNvCxnSpPr>
            <p:nvPr/>
          </p:nvCxnSpPr>
          <p:spPr>
            <a:xfrm>
              <a:off x="1814062" y="3545238"/>
              <a:ext cx="0" cy="268366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/>
          <p:cNvGrpSpPr/>
          <p:nvPr/>
        </p:nvGrpSpPr>
        <p:grpSpPr>
          <a:xfrm>
            <a:off x="4834512" y="1690648"/>
            <a:ext cx="1139870" cy="404711"/>
            <a:chOff x="4834512" y="1690648"/>
            <a:chExt cx="1139870" cy="404711"/>
          </a:xfrm>
        </p:grpSpPr>
        <p:sp>
          <p:nvSpPr>
            <p:cNvPr id="21" name="Arc 20"/>
            <p:cNvSpPr/>
            <p:nvPr/>
          </p:nvSpPr>
          <p:spPr>
            <a:xfrm flipH="1">
              <a:off x="5201070" y="1691585"/>
              <a:ext cx="403317" cy="403317"/>
            </a:xfrm>
            <a:prstGeom prst="arc">
              <a:avLst>
                <a:gd name="adj1" fmla="val 16200000"/>
                <a:gd name="adj2" fmla="val 5400479"/>
              </a:avLst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2" name="Straight Connector 21"/>
            <p:cNvCxnSpPr>
              <a:stCxn id="18" idx="3"/>
            </p:cNvCxnSpPr>
            <p:nvPr/>
          </p:nvCxnSpPr>
          <p:spPr>
            <a:xfrm>
              <a:off x="4834512" y="1893004"/>
              <a:ext cx="366558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H="1">
              <a:off x="5402727" y="1690648"/>
              <a:ext cx="571654" cy="937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 flipV="1">
              <a:off x="5402754" y="2094901"/>
              <a:ext cx="571628" cy="458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4834512" y="2715960"/>
            <a:ext cx="1139870" cy="404711"/>
            <a:chOff x="4834512" y="2715960"/>
            <a:chExt cx="1139870" cy="404711"/>
          </a:xfrm>
        </p:grpSpPr>
        <p:sp>
          <p:nvSpPr>
            <p:cNvPr id="23" name="Arc 22"/>
            <p:cNvSpPr/>
            <p:nvPr/>
          </p:nvSpPr>
          <p:spPr>
            <a:xfrm flipH="1">
              <a:off x="5201070" y="2716897"/>
              <a:ext cx="403317" cy="403317"/>
            </a:xfrm>
            <a:prstGeom prst="arc">
              <a:avLst>
                <a:gd name="adj1" fmla="val 16200000"/>
                <a:gd name="adj2" fmla="val 5400479"/>
              </a:avLst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4" name="Straight Connector 23"/>
            <p:cNvCxnSpPr>
              <a:stCxn id="19" idx="3"/>
            </p:cNvCxnSpPr>
            <p:nvPr/>
          </p:nvCxnSpPr>
          <p:spPr>
            <a:xfrm>
              <a:off x="4834512" y="2918316"/>
              <a:ext cx="366558" cy="0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5402727" y="2715960"/>
              <a:ext cx="571654" cy="937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H="1" flipV="1">
              <a:off x="5402754" y="3120213"/>
              <a:ext cx="571628" cy="458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/>
          <p:cNvGrpSpPr/>
          <p:nvPr/>
        </p:nvGrpSpPr>
        <p:grpSpPr>
          <a:xfrm>
            <a:off x="4834512" y="3736831"/>
            <a:ext cx="1139870" cy="404711"/>
            <a:chOff x="4834512" y="3736831"/>
            <a:chExt cx="1139870" cy="404711"/>
          </a:xfrm>
        </p:grpSpPr>
        <p:sp>
          <p:nvSpPr>
            <p:cNvPr id="25" name="Arc 24"/>
            <p:cNvSpPr/>
            <p:nvPr/>
          </p:nvSpPr>
          <p:spPr>
            <a:xfrm flipH="1">
              <a:off x="5201070" y="3737769"/>
              <a:ext cx="403317" cy="403317"/>
            </a:xfrm>
            <a:prstGeom prst="arc">
              <a:avLst>
                <a:gd name="adj1" fmla="val 16200000"/>
                <a:gd name="adj2" fmla="val 5400479"/>
              </a:avLst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cxnSp>
          <p:nvCxnSpPr>
            <p:cNvPr id="26" name="Straight Connector 25"/>
            <p:cNvCxnSpPr>
              <a:stCxn id="20" idx="3"/>
            </p:cNvCxnSpPr>
            <p:nvPr/>
          </p:nvCxnSpPr>
          <p:spPr>
            <a:xfrm flipV="1">
              <a:off x="4834512" y="3939188"/>
              <a:ext cx="366558" cy="458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endCxn id="25" idx="0"/>
            </p:cNvCxnSpPr>
            <p:nvPr/>
          </p:nvCxnSpPr>
          <p:spPr>
            <a:xfrm flipH="1">
              <a:off x="5402727" y="3736831"/>
              <a:ext cx="571654" cy="937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endCxn id="25" idx="2"/>
            </p:cNvCxnSpPr>
            <p:nvPr/>
          </p:nvCxnSpPr>
          <p:spPr>
            <a:xfrm flipH="1" flipV="1">
              <a:off x="5402756" y="4141084"/>
              <a:ext cx="571626" cy="458"/>
            </a:xfrm>
            <a:prstGeom prst="line">
              <a:avLst/>
            </a:prstGeom>
            <a:ln w="9525">
              <a:solidFill>
                <a:schemeClr val="accent5"/>
              </a:solidFill>
              <a:headEnd type="triangle" w="sm" len="sm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/>
          <p:cNvGrpSpPr/>
          <p:nvPr/>
        </p:nvGrpSpPr>
        <p:grpSpPr>
          <a:xfrm>
            <a:off x="1187139" y="2291393"/>
            <a:ext cx="1253845" cy="1253845"/>
            <a:chOff x="1187139" y="2291393"/>
            <a:chExt cx="1253845" cy="1253845"/>
          </a:xfrm>
        </p:grpSpPr>
        <p:sp>
          <p:nvSpPr>
            <p:cNvPr id="7" name="Oval 6"/>
            <p:cNvSpPr/>
            <p:nvPr/>
          </p:nvSpPr>
          <p:spPr>
            <a:xfrm>
              <a:off x="1187139" y="2291393"/>
              <a:ext cx="1253845" cy="125384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249497" y="2733649"/>
              <a:ext cx="1129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residente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CEO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114458" y="1729317"/>
            <a:ext cx="1720054" cy="2374016"/>
            <a:chOff x="3114458" y="1729317"/>
            <a:chExt cx="1720054" cy="2374016"/>
          </a:xfrm>
          <a:solidFill>
            <a:srgbClr val="EC1C24"/>
          </a:solidFill>
        </p:grpSpPr>
        <p:grpSp>
          <p:nvGrpSpPr>
            <p:cNvPr id="37" name="Group 36"/>
            <p:cNvGrpSpPr/>
            <p:nvPr/>
          </p:nvGrpSpPr>
          <p:grpSpPr>
            <a:xfrm>
              <a:off x="3114458" y="1729317"/>
              <a:ext cx="1720054" cy="327374"/>
              <a:chOff x="3114458" y="1729317"/>
              <a:chExt cx="1720054" cy="327374"/>
            </a:xfrm>
            <a:grpFill/>
          </p:grpSpPr>
          <p:sp>
            <p:nvSpPr>
              <p:cNvPr id="18" name="Rounded Rectangle 17"/>
              <p:cNvSpPr/>
              <p:nvPr/>
            </p:nvSpPr>
            <p:spPr>
              <a:xfrm>
                <a:off x="3114458" y="1729317"/>
                <a:ext cx="1720054" cy="327374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212385" y="1823755"/>
                <a:ext cx="1524200" cy="138499"/>
              </a:xfrm>
              <a:prstGeom prst="rect">
                <a:avLst/>
              </a:prstGeom>
              <a:solidFill>
                <a:srgbClr val="EC0000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erente</a:t>
                </a:r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</a:t>
                </a:r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geral</a:t>
                </a:r>
                <a:endPara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3114458" y="2754629"/>
              <a:ext cx="1720054" cy="327374"/>
              <a:chOff x="3114458" y="2754629"/>
              <a:chExt cx="1720054" cy="327374"/>
            </a:xfrm>
            <a:grpFill/>
          </p:grpSpPr>
          <p:sp>
            <p:nvSpPr>
              <p:cNvPr id="19" name="Rounded Rectangle 18"/>
              <p:cNvSpPr/>
              <p:nvPr/>
            </p:nvSpPr>
            <p:spPr>
              <a:xfrm>
                <a:off x="3114458" y="2754629"/>
                <a:ext cx="1720054" cy="327374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3212385" y="2849067"/>
                <a:ext cx="1524200" cy="138499"/>
              </a:xfrm>
              <a:prstGeom prst="rect">
                <a:avLst/>
              </a:prstGeom>
              <a:solidFill>
                <a:srgbClr val="EC0000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Head de </a:t>
                </a:r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.i.</a:t>
                </a:r>
                <a:endPara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3114458" y="3775959"/>
              <a:ext cx="1720054" cy="327374"/>
              <a:chOff x="3114458" y="3775959"/>
              <a:chExt cx="1720054" cy="327374"/>
            </a:xfrm>
            <a:grpFill/>
          </p:grpSpPr>
          <p:sp>
            <p:nvSpPr>
              <p:cNvPr id="20" name="Rounded Rectangle 19"/>
              <p:cNvSpPr/>
              <p:nvPr/>
            </p:nvSpPr>
            <p:spPr>
              <a:xfrm>
                <a:off x="3114458" y="3775959"/>
                <a:ext cx="1720054" cy="327374"/>
              </a:xfrm>
              <a:prstGeom prst="roundRect">
                <a:avLst>
                  <a:gd name="adj" fmla="val 5000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212385" y="3870397"/>
                <a:ext cx="1524200" cy="138499"/>
              </a:xfrm>
              <a:prstGeom prst="rect">
                <a:avLst/>
              </a:prstGeom>
              <a:solidFill>
                <a:srgbClr val="EC0000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Head de marketing</a:t>
                </a: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6119972" y="1550382"/>
            <a:ext cx="1836890" cy="685243"/>
            <a:chOff x="6119972" y="1550382"/>
            <a:chExt cx="1836890" cy="685243"/>
          </a:xfrm>
          <a:solidFill>
            <a:srgbClr val="EC1C24"/>
          </a:solidFill>
        </p:grpSpPr>
        <p:sp>
          <p:nvSpPr>
            <p:cNvPr id="8" name="Rectangle 7"/>
            <p:cNvSpPr/>
            <p:nvPr/>
          </p:nvSpPr>
          <p:spPr>
            <a:xfrm>
              <a:off x="6119972" y="1550382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6119972" y="1955093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248467" y="1615049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rente</a:t>
              </a:r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Regional de </a:t>
              </a:r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ndas</a:t>
              </a:r>
              <a:endParaRPr lang="en-US" sz="9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6248467" y="2019760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rente</a:t>
              </a:r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inanceiro</a:t>
              </a:r>
              <a:endParaRPr lang="en-US" sz="9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119972" y="2567729"/>
            <a:ext cx="1836890" cy="693208"/>
            <a:chOff x="6119972" y="2567729"/>
            <a:chExt cx="1836890" cy="693208"/>
          </a:xfrm>
          <a:solidFill>
            <a:srgbClr val="EC1C24"/>
          </a:solidFill>
        </p:grpSpPr>
        <p:sp>
          <p:nvSpPr>
            <p:cNvPr id="10" name="Rectangle 9"/>
            <p:cNvSpPr/>
            <p:nvPr/>
          </p:nvSpPr>
          <p:spPr>
            <a:xfrm>
              <a:off x="6119972" y="2567729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119972" y="2980405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248467" y="2632396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me de Web Design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6248467" y="3045072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me de </a:t>
              </a:r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esenvolvimento</a:t>
              </a:r>
              <a:endParaRPr lang="en-US" sz="9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6119972" y="3593041"/>
            <a:ext cx="1836890" cy="693209"/>
            <a:chOff x="6119972" y="3593041"/>
            <a:chExt cx="1836890" cy="693209"/>
          </a:xfrm>
          <a:solidFill>
            <a:srgbClr val="EC1C24"/>
          </a:solidFill>
        </p:grpSpPr>
        <p:sp>
          <p:nvSpPr>
            <p:cNvPr id="12" name="Rectangle 11"/>
            <p:cNvSpPr/>
            <p:nvPr/>
          </p:nvSpPr>
          <p:spPr>
            <a:xfrm>
              <a:off x="6119972" y="3593041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119972" y="4005718"/>
              <a:ext cx="1836890" cy="280532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bg1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248467" y="3657708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rente</a:t>
              </a:r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Marketing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248467" y="4070385"/>
              <a:ext cx="1579900" cy="138499"/>
            </a:xfrm>
            <a:prstGeom prst="rect">
              <a:avLst/>
            </a:prstGeom>
            <a:solidFill>
              <a:srgbClr val="EC0000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Gerente</a:t>
              </a:r>
              <a:r>
                <a:rPr lang="en-US" sz="9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 de Marketing Digita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8404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Chart</a:t>
            </a:r>
            <a:r>
              <a:rPr lang="en-US" dirty="0"/>
              <a:t> </a:t>
            </a:r>
            <a:r>
              <a:rPr lang="en-US" dirty="0" err="1"/>
              <a:t>organizacional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004630771"/>
              </p:ext>
            </p:extLst>
          </p:nvPr>
        </p:nvGraphicFramePr>
        <p:xfrm>
          <a:off x="884664" y="1543050"/>
          <a:ext cx="7374674" cy="24379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68959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CESSO DE </a:t>
            </a:r>
            <a:r>
              <a:rPr lang="en-US" dirty="0">
                <a:solidFill>
                  <a:srgbClr val="EC0000"/>
                </a:solidFill>
              </a:rPr>
              <a:t>TRABALH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835150" y="1543050"/>
            <a:ext cx="7473701" cy="2743199"/>
            <a:chOff x="835150" y="1543050"/>
            <a:chExt cx="7473701" cy="2743199"/>
          </a:xfrm>
        </p:grpSpPr>
        <p:grpSp>
          <p:nvGrpSpPr>
            <p:cNvPr id="72" name="Group 71"/>
            <p:cNvGrpSpPr/>
            <p:nvPr/>
          </p:nvGrpSpPr>
          <p:grpSpPr>
            <a:xfrm>
              <a:off x="2579449" y="3953572"/>
              <a:ext cx="1961826" cy="148534"/>
              <a:chOff x="2542486" y="3953572"/>
              <a:chExt cx="1961826" cy="148534"/>
            </a:xfrm>
          </p:grpSpPr>
          <p:sp>
            <p:nvSpPr>
              <p:cNvPr id="51" name="Freeform 50"/>
              <p:cNvSpPr/>
              <p:nvPr/>
            </p:nvSpPr>
            <p:spPr>
              <a:xfrm>
                <a:off x="2542486" y="3991496"/>
                <a:ext cx="735974" cy="72687"/>
              </a:xfrm>
              <a:custGeom>
                <a:avLst/>
                <a:gdLst>
                  <a:gd name="connsiteX0" fmla="*/ 0 w 943411"/>
                  <a:gd name="connsiteY0" fmla="*/ 0 h 105627"/>
                  <a:gd name="connsiteX1" fmla="*/ 371504 w 943411"/>
                  <a:gd name="connsiteY1" fmla="*/ 0 h 105627"/>
                  <a:gd name="connsiteX2" fmla="*/ 777960 w 943411"/>
                  <a:gd name="connsiteY2" fmla="*/ 0 h 105627"/>
                  <a:gd name="connsiteX3" fmla="*/ 943411 w 943411"/>
                  <a:gd name="connsiteY3" fmla="*/ 0 h 105627"/>
                  <a:gd name="connsiteX4" fmla="*/ 943411 w 943411"/>
                  <a:gd name="connsiteY4" fmla="*/ 105627 h 105627"/>
                  <a:gd name="connsiteX5" fmla="*/ 777960 w 943411"/>
                  <a:gd name="connsiteY5" fmla="*/ 105627 h 105627"/>
                  <a:gd name="connsiteX6" fmla="*/ 371504 w 943411"/>
                  <a:gd name="connsiteY6" fmla="*/ 105627 h 105627"/>
                  <a:gd name="connsiteX7" fmla="*/ 0 w 943411"/>
                  <a:gd name="connsiteY7" fmla="*/ 105627 h 105627"/>
                  <a:gd name="connsiteX8" fmla="*/ 53033 w 943411"/>
                  <a:gd name="connsiteY8" fmla="*/ 53033 h 105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3411" h="105627">
                    <a:moveTo>
                      <a:pt x="0" y="0"/>
                    </a:moveTo>
                    <a:lnTo>
                      <a:pt x="371504" y="0"/>
                    </a:lnTo>
                    <a:lnTo>
                      <a:pt x="777960" y="0"/>
                    </a:lnTo>
                    <a:lnTo>
                      <a:pt x="943411" y="0"/>
                    </a:lnTo>
                    <a:lnTo>
                      <a:pt x="943411" y="105627"/>
                    </a:lnTo>
                    <a:lnTo>
                      <a:pt x="777960" y="105627"/>
                    </a:lnTo>
                    <a:lnTo>
                      <a:pt x="371504" y="105627"/>
                    </a:lnTo>
                    <a:lnTo>
                      <a:pt x="0" y="105627"/>
                    </a:lnTo>
                    <a:lnTo>
                      <a:pt x="53033" y="53033"/>
                    </a:lnTo>
                    <a:close/>
                  </a:path>
                </a:pathLst>
              </a:cu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ight Arrow 51"/>
              <p:cNvSpPr/>
              <p:nvPr/>
            </p:nvSpPr>
            <p:spPr>
              <a:xfrm>
                <a:off x="3777318" y="3953572"/>
                <a:ext cx="726994" cy="148534"/>
              </a:xfrm>
              <a:prstGeom prst="rightArrow">
                <a:avLst>
                  <a:gd name="adj1" fmla="val 50000"/>
                  <a:gd name="adj2" fmla="val 48931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835150" y="1755836"/>
              <a:ext cx="14038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edid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835150" y="2942121"/>
              <a:ext cx="140386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858428" y="1755836"/>
              <a:ext cx="14038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álcul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858428" y="2942121"/>
              <a:ext cx="140386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881705" y="1755836"/>
              <a:ext cx="14038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duçã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881705" y="2942121"/>
              <a:ext cx="140386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04983" y="1755836"/>
              <a:ext cx="1403868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ntrega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904983" y="2942121"/>
              <a:ext cx="140386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900"/>
                </a:spcAft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r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ulputat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ore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trice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no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sequ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3353830" y="2210531"/>
              <a:ext cx="413064" cy="448382"/>
            </a:xfrm>
            <a:custGeom>
              <a:avLst/>
              <a:gdLst>
                <a:gd name="T0" fmla="*/ 27 w 2410"/>
                <a:gd name="T1" fmla="*/ 2622 h 2622"/>
                <a:gd name="T2" fmla="*/ 2356 w 2410"/>
                <a:gd name="T3" fmla="*/ 2568 h 2622"/>
                <a:gd name="T4" fmla="*/ 580 w 2410"/>
                <a:gd name="T5" fmla="*/ 1060 h 2622"/>
                <a:gd name="T6" fmla="*/ 580 w 2410"/>
                <a:gd name="T7" fmla="*/ 1441 h 2622"/>
                <a:gd name="T8" fmla="*/ 280 w 2410"/>
                <a:gd name="T9" fmla="*/ 1387 h 2622"/>
                <a:gd name="T10" fmla="*/ 776 w 2410"/>
                <a:gd name="T11" fmla="*/ 1060 h 2622"/>
                <a:gd name="T12" fmla="*/ 1130 w 2410"/>
                <a:gd name="T13" fmla="*/ 1414 h 2622"/>
                <a:gd name="T14" fmla="*/ 803 w 2410"/>
                <a:gd name="T15" fmla="*/ 1114 h 2622"/>
                <a:gd name="T16" fmla="*/ 2213 w 2410"/>
                <a:gd name="T17" fmla="*/ 845 h 2622"/>
                <a:gd name="T18" fmla="*/ 197 w 2410"/>
                <a:gd name="T19" fmla="*/ 845 h 2622"/>
                <a:gd name="T20" fmla="*/ 251 w 2410"/>
                <a:gd name="T21" fmla="*/ 818 h 2622"/>
                <a:gd name="T22" fmla="*/ 1272 w 2410"/>
                <a:gd name="T23" fmla="*/ 1414 h 2622"/>
                <a:gd name="T24" fmla="*/ 1626 w 2410"/>
                <a:gd name="T25" fmla="*/ 1060 h 2622"/>
                <a:gd name="T26" fmla="*/ 1599 w 2410"/>
                <a:gd name="T27" fmla="*/ 1387 h 2622"/>
                <a:gd name="T28" fmla="*/ 1821 w 2410"/>
                <a:gd name="T29" fmla="*/ 1441 h 2622"/>
                <a:gd name="T30" fmla="*/ 2121 w 2410"/>
                <a:gd name="T31" fmla="*/ 1387 h 2622"/>
                <a:gd name="T32" fmla="*/ 580 w 2410"/>
                <a:gd name="T33" fmla="*/ 1547 h 2622"/>
                <a:gd name="T34" fmla="*/ 580 w 2410"/>
                <a:gd name="T35" fmla="*/ 1928 h 2622"/>
                <a:gd name="T36" fmla="*/ 280 w 2410"/>
                <a:gd name="T37" fmla="*/ 1874 h 2622"/>
                <a:gd name="T38" fmla="*/ 776 w 2410"/>
                <a:gd name="T39" fmla="*/ 1547 h 2622"/>
                <a:gd name="T40" fmla="*/ 1130 w 2410"/>
                <a:gd name="T41" fmla="*/ 1901 h 2622"/>
                <a:gd name="T42" fmla="*/ 803 w 2410"/>
                <a:gd name="T43" fmla="*/ 1601 h 2622"/>
                <a:gd name="T44" fmla="*/ 1272 w 2410"/>
                <a:gd name="T45" fmla="*/ 1574 h 2622"/>
                <a:gd name="T46" fmla="*/ 1652 w 2410"/>
                <a:gd name="T47" fmla="*/ 1574 h 2622"/>
                <a:gd name="T48" fmla="*/ 1599 w 2410"/>
                <a:gd name="T49" fmla="*/ 1601 h 2622"/>
                <a:gd name="T50" fmla="*/ 1794 w 2410"/>
                <a:gd name="T51" fmla="*/ 1901 h 2622"/>
                <a:gd name="T52" fmla="*/ 2148 w 2410"/>
                <a:gd name="T53" fmla="*/ 1547 h 2622"/>
                <a:gd name="T54" fmla="*/ 2121 w 2410"/>
                <a:gd name="T55" fmla="*/ 1874 h 2622"/>
                <a:gd name="T56" fmla="*/ 253 w 2410"/>
                <a:gd name="T57" fmla="*/ 2414 h 2622"/>
                <a:gd name="T58" fmla="*/ 553 w 2410"/>
                <a:gd name="T59" fmla="*/ 2360 h 2622"/>
                <a:gd name="T60" fmla="*/ 1103 w 2410"/>
                <a:gd name="T61" fmla="*/ 2033 h 2622"/>
                <a:gd name="T62" fmla="*/ 1103 w 2410"/>
                <a:gd name="T63" fmla="*/ 2414 h 2622"/>
                <a:gd name="T64" fmla="*/ 803 w 2410"/>
                <a:gd name="T65" fmla="*/ 2360 h 2622"/>
                <a:gd name="T66" fmla="*/ 1299 w 2410"/>
                <a:gd name="T67" fmla="*/ 2033 h 2622"/>
                <a:gd name="T68" fmla="*/ 1652 w 2410"/>
                <a:gd name="T69" fmla="*/ 2387 h 2622"/>
                <a:gd name="T70" fmla="*/ 1325 w 2410"/>
                <a:gd name="T71" fmla="*/ 2087 h 2622"/>
                <a:gd name="T72" fmla="*/ 1794 w 2410"/>
                <a:gd name="T73" fmla="*/ 2060 h 2622"/>
                <a:gd name="T74" fmla="*/ 2175 w 2410"/>
                <a:gd name="T75" fmla="*/ 2060 h 2622"/>
                <a:gd name="T76" fmla="*/ 2121 w 2410"/>
                <a:gd name="T77" fmla="*/ 2087 h 2622"/>
                <a:gd name="T78" fmla="*/ 329 w 2410"/>
                <a:gd name="T79" fmla="*/ 747 h 2622"/>
                <a:gd name="T80" fmla="*/ 520 w 2410"/>
                <a:gd name="T81" fmla="*/ 402 h 2622"/>
                <a:gd name="T82" fmla="*/ 493 w 2410"/>
                <a:gd name="T83" fmla="*/ 720 h 2622"/>
                <a:gd name="T84" fmla="*/ 663 w 2410"/>
                <a:gd name="T85" fmla="*/ 774 h 2622"/>
                <a:gd name="T86" fmla="*/ 800 w 2410"/>
                <a:gd name="T87" fmla="*/ 720 h 2622"/>
                <a:gd name="T88" fmla="*/ 1134 w 2410"/>
                <a:gd name="T89" fmla="*/ 402 h 2622"/>
                <a:gd name="T90" fmla="*/ 1134 w 2410"/>
                <a:gd name="T91" fmla="*/ 774 h 2622"/>
                <a:gd name="T92" fmla="*/ 997 w 2410"/>
                <a:gd name="T93" fmla="*/ 720 h 2622"/>
                <a:gd name="T94" fmla="*/ 1276 w 2410"/>
                <a:gd name="T95" fmla="*/ 402 h 2622"/>
                <a:gd name="T96" fmla="*/ 1468 w 2410"/>
                <a:gd name="T97" fmla="*/ 747 h 2622"/>
                <a:gd name="T98" fmla="*/ 1303 w 2410"/>
                <a:gd name="T99" fmla="*/ 456 h 2622"/>
                <a:gd name="T100" fmla="*/ 1748 w 2410"/>
                <a:gd name="T101" fmla="*/ 774 h 2622"/>
                <a:gd name="T102" fmla="*/ 1564 w 2410"/>
                <a:gd name="T103" fmla="*/ 586 h 2622"/>
                <a:gd name="T104" fmla="*/ 2081 w 2410"/>
                <a:gd name="T105" fmla="*/ 747 h 2622"/>
                <a:gd name="T106" fmla="*/ 1872 w 2410"/>
                <a:gd name="T107" fmla="*/ 624 h 2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10" h="2622">
                  <a:moveTo>
                    <a:pt x="2383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12" y="0"/>
                    <a:pt x="0" y="12"/>
                    <a:pt x="0" y="27"/>
                  </a:cubicBezTo>
                  <a:cubicBezTo>
                    <a:pt x="0" y="2595"/>
                    <a:pt x="0" y="2595"/>
                    <a:pt x="0" y="2595"/>
                  </a:cubicBezTo>
                  <a:cubicBezTo>
                    <a:pt x="0" y="2610"/>
                    <a:pt x="12" y="2622"/>
                    <a:pt x="27" y="2622"/>
                  </a:cubicBezTo>
                  <a:cubicBezTo>
                    <a:pt x="2383" y="2622"/>
                    <a:pt x="2383" y="2622"/>
                    <a:pt x="2383" y="2622"/>
                  </a:cubicBezTo>
                  <a:cubicBezTo>
                    <a:pt x="2398" y="2622"/>
                    <a:pt x="2410" y="2610"/>
                    <a:pt x="2410" y="2595"/>
                  </a:cubicBezTo>
                  <a:cubicBezTo>
                    <a:pt x="2410" y="27"/>
                    <a:pt x="2410" y="27"/>
                    <a:pt x="2410" y="27"/>
                  </a:cubicBezTo>
                  <a:cubicBezTo>
                    <a:pt x="2410" y="12"/>
                    <a:pt x="2398" y="0"/>
                    <a:pt x="2383" y="0"/>
                  </a:cubicBezTo>
                  <a:close/>
                  <a:moveTo>
                    <a:pt x="2356" y="2568"/>
                  </a:moveTo>
                  <a:cubicBezTo>
                    <a:pt x="53" y="2568"/>
                    <a:pt x="53" y="2568"/>
                    <a:pt x="53" y="2568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2356" y="54"/>
                    <a:pt x="2356" y="54"/>
                    <a:pt x="2356" y="54"/>
                  </a:cubicBezTo>
                  <a:lnTo>
                    <a:pt x="2356" y="2568"/>
                  </a:lnTo>
                  <a:close/>
                  <a:moveTo>
                    <a:pt x="580" y="1060"/>
                  </a:moveTo>
                  <a:cubicBezTo>
                    <a:pt x="253" y="1060"/>
                    <a:pt x="253" y="1060"/>
                    <a:pt x="253" y="1060"/>
                  </a:cubicBezTo>
                  <a:cubicBezTo>
                    <a:pt x="238" y="1060"/>
                    <a:pt x="226" y="1072"/>
                    <a:pt x="226" y="1087"/>
                  </a:cubicBezTo>
                  <a:cubicBezTo>
                    <a:pt x="226" y="1414"/>
                    <a:pt x="226" y="1414"/>
                    <a:pt x="226" y="1414"/>
                  </a:cubicBezTo>
                  <a:cubicBezTo>
                    <a:pt x="226" y="1429"/>
                    <a:pt x="238" y="1441"/>
                    <a:pt x="253" y="1441"/>
                  </a:cubicBezTo>
                  <a:cubicBezTo>
                    <a:pt x="580" y="1441"/>
                    <a:pt x="580" y="1441"/>
                    <a:pt x="580" y="1441"/>
                  </a:cubicBezTo>
                  <a:cubicBezTo>
                    <a:pt x="595" y="1441"/>
                    <a:pt x="607" y="1429"/>
                    <a:pt x="607" y="1414"/>
                  </a:cubicBezTo>
                  <a:cubicBezTo>
                    <a:pt x="607" y="1087"/>
                    <a:pt x="607" y="1087"/>
                    <a:pt x="607" y="1087"/>
                  </a:cubicBezTo>
                  <a:cubicBezTo>
                    <a:pt x="607" y="1072"/>
                    <a:pt x="595" y="1060"/>
                    <a:pt x="580" y="1060"/>
                  </a:cubicBezTo>
                  <a:close/>
                  <a:moveTo>
                    <a:pt x="553" y="1387"/>
                  </a:moveTo>
                  <a:cubicBezTo>
                    <a:pt x="280" y="1387"/>
                    <a:pt x="280" y="1387"/>
                    <a:pt x="280" y="1387"/>
                  </a:cubicBezTo>
                  <a:cubicBezTo>
                    <a:pt x="280" y="1114"/>
                    <a:pt x="280" y="1114"/>
                    <a:pt x="280" y="1114"/>
                  </a:cubicBezTo>
                  <a:cubicBezTo>
                    <a:pt x="553" y="1114"/>
                    <a:pt x="553" y="1114"/>
                    <a:pt x="553" y="1114"/>
                  </a:cubicBezTo>
                  <a:lnTo>
                    <a:pt x="553" y="1387"/>
                  </a:lnTo>
                  <a:close/>
                  <a:moveTo>
                    <a:pt x="1103" y="1060"/>
                  </a:moveTo>
                  <a:cubicBezTo>
                    <a:pt x="776" y="1060"/>
                    <a:pt x="776" y="1060"/>
                    <a:pt x="776" y="1060"/>
                  </a:cubicBezTo>
                  <a:cubicBezTo>
                    <a:pt x="761" y="1060"/>
                    <a:pt x="749" y="1072"/>
                    <a:pt x="749" y="1087"/>
                  </a:cubicBezTo>
                  <a:cubicBezTo>
                    <a:pt x="749" y="1414"/>
                    <a:pt x="749" y="1414"/>
                    <a:pt x="749" y="1414"/>
                  </a:cubicBezTo>
                  <a:cubicBezTo>
                    <a:pt x="749" y="1429"/>
                    <a:pt x="761" y="1441"/>
                    <a:pt x="776" y="1441"/>
                  </a:cubicBezTo>
                  <a:cubicBezTo>
                    <a:pt x="1103" y="1441"/>
                    <a:pt x="1103" y="1441"/>
                    <a:pt x="1103" y="1441"/>
                  </a:cubicBezTo>
                  <a:cubicBezTo>
                    <a:pt x="1118" y="1441"/>
                    <a:pt x="1130" y="1429"/>
                    <a:pt x="1130" y="1414"/>
                  </a:cubicBezTo>
                  <a:cubicBezTo>
                    <a:pt x="1130" y="1087"/>
                    <a:pt x="1130" y="1087"/>
                    <a:pt x="1130" y="1087"/>
                  </a:cubicBezTo>
                  <a:cubicBezTo>
                    <a:pt x="1130" y="1072"/>
                    <a:pt x="1118" y="1060"/>
                    <a:pt x="1103" y="1060"/>
                  </a:cubicBezTo>
                  <a:close/>
                  <a:moveTo>
                    <a:pt x="1076" y="1387"/>
                  </a:moveTo>
                  <a:cubicBezTo>
                    <a:pt x="803" y="1387"/>
                    <a:pt x="803" y="1387"/>
                    <a:pt x="803" y="1387"/>
                  </a:cubicBezTo>
                  <a:cubicBezTo>
                    <a:pt x="803" y="1114"/>
                    <a:pt x="803" y="1114"/>
                    <a:pt x="803" y="1114"/>
                  </a:cubicBezTo>
                  <a:cubicBezTo>
                    <a:pt x="1076" y="1114"/>
                    <a:pt x="1076" y="1114"/>
                    <a:pt x="1076" y="1114"/>
                  </a:cubicBezTo>
                  <a:lnTo>
                    <a:pt x="1076" y="1387"/>
                  </a:lnTo>
                  <a:close/>
                  <a:moveTo>
                    <a:pt x="224" y="872"/>
                  </a:moveTo>
                  <a:cubicBezTo>
                    <a:pt x="2186" y="872"/>
                    <a:pt x="2186" y="872"/>
                    <a:pt x="2186" y="872"/>
                  </a:cubicBezTo>
                  <a:cubicBezTo>
                    <a:pt x="2201" y="872"/>
                    <a:pt x="2213" y="860"/>
                    <a:pt x="2213" y="845"/>
                  </a:cubicBezTo>
                  <a:cubicBezTo>
                    <a:pt x="2213" y="321"/>
                    <a:pt x="2213" y="321"/>
                    <a:pt x="2213" y="321"/>
                  </a:cubicBezTo>
                  <a:cubicBezTo>
                    <a:pt x="2213" y="306"/>
                    <a:pt x="2201" y="294"/>
                    <a:pt x="2186" y="294"/>
                  </a:cubicBezTo>
                  <a:cubicBezTo>
                    <a:pt x="224" y="294"/>
                    <a:pt x="224" y="294"/>
                    <a:pt x="224" y="294"/>
                  </a:cubicBezTo>
                  <a:cubicBezTo>
                    <a:pt x="209" y="294"/>
                    <a:pt x="197" y="306"/>
                    <a:pt x="197" y="321"/>
                  </a:cubicBezTo>
                  <a:cubicBezTo>
                    <a:pt x="197" y="845"/>
                    <a:pt x="197" y="845"/>
                    <a:pt x="197" y="845"/>
                  </a:cubicBezTo>
                  <a:cubicBezTo>
                    <a:pt x="197" y="860"/>
                    <a:pt x="209" y="872"/>
                    <a:pt x="224" y="872"/>
                  </a:cubicBezTo>
                  <a:close/>
                  <a:moveTo>
                    <a:pt x="251" y="347"/>
                  </a:moveTo>
                  <a:cubicBezTo>
                    <a:pt x="2159" y="347"/>
                    <a:pt x="2159" y="347"/>
                    <a:pt x="2159" y="347"/>
                  </a:cubicBezTo>
                  <a:cubicBezTo>
                    <a:pt x="2159" y="818"/>
                    <a:pt x="2159" y="818"/>
                    <a:pt x="2159" y="818"/>
                  </a:cubicBezTo>
                  <a:cubicBezTo>
                    <a:pt x="251" y="818"/>
                    <a:pt x="251" y="818"/>
                    <a:pt x="251" y="818"/>
                  </a:cubicBezTo>
                  <a:lnTo>
                    <a:pt x="251" y="347"/>
                  </a:lnTo>
                  <a:close/>
                  <a:moveTo>
                    <a:pt x="1626" y="1060"/>
                  </a:moveTo>
                  <a:cubicBezTo>
                    <a:pt x="1299" y="1060"/>
                    <a:pt x="1299" y="1060"/>
                    <a:pt x="1299" y="1060"/>
                  </a:cubicBezTo>
                  <a:cubicBezTo>
                    <a:pt x="1284" y="1060"/>
                    <a:pt x="1272" y="1072"/>
                    <a:pt x="1272" y="1087"/>
                  </a:cubicBezTo>
                  <a:cubicBezTo>
                    <a:pt x="1272" y="1414"/>
                    <a:pt x="1272" y="1414"/>
                    <a:pt x="1272" y="1414"/>
                  </a:cubicBezTo>
                  <a:cubicBezTo>
                    <a:pt x="1272" y="1429"/>
                    <a:pt x="1284" y="1441"/>
                    <a:pt x="1299" y="1441"/>
                  </a:cubicBezTo>
                  <a:cubicBezTo>
                    <a:pt x="1626" y="1441"/>
                    <a:pt x="1626" y="1441"/>
                    <a:pt x="1626" y="1441"/>
                  </a:cubicBezTo>
                  <a:cubicBezTo>
                    <a:pt x="1640" y="1441"/>
                    <a:pt x="1652" y="1429"/>
                    <a:pt x="1652" y="1414"/>
                  </a:cubicBezTo>
                  <a:cubicBezTo>
                    <a:pt x="1652" y="1087"/>
                    <a:pt x="1652" y="1087"/>
                    <a:pt x="1652" y="1087"/>
                  </a:cubicBezTo>
                  <a:cubicBezTo>
                    <a:pt x="1652" y="1072"/>
                    <a:pt x="1640" y="1060"/>
                    <a:pt x="1626" y="1060"/>
                  </a:cubicBezTo>
                  <a:close/>
                  <a:moveTo>
                    <a:pt x="1599" y="1387"/>
                  </a:moveTo>
                  <a:cubicBezTo>
                    <a:pt x="1325" y="1387"/>
                    <a:pt x="1325" y="1387"/>
                    <a:pt x="1325" y="1387"/>
                  </a:cubicBezTo>
                  <a:cubicBezTo>
                    <a:pt x="1325" y="1114"/>
                    <a:pt x="1325" y="1114"/>
                    <a:pt x="1325" y="1114"/>
                  </a:cubicBezTo>
                  <a:cubicBezTo>
                    <a:pt x="1599" y="1114"/>
                    <a:pt x="1599" y="1114"/>
                    <a:pt x="1599" y="1114"/>
                  </a:cubicBezTo>
                  <a:lnTo>
                    <a:pt x="1599" y="1387"/>
                  </a:lnTo>
                  <a:close/>
                  <a:moveTo>
                    <a:pt x="2148" y="1060"/>
                  </a:moveTo>
                  <a:cubicBezTo>
                    <a:pt x="1821" y="1060"/>
                    <a:pt x="1821" y="1060"/>
                    <a:pt x="1821" y="1060"/>
                  </a:cubicBezTo>
                  <a:cubicBezTo>
                    <a:pt x="1806" y="1060"/>
                    <a:pt x="1794" y="1072"/>
                    <a:pt x="1794" y="1087"/>
                  </a:cubicBezTo>
                  <a:cubicBezTo>
                    <a:pt x="1794" y="1414"/>
                    <a:pt x="1794" y="1414"/>
                    <a:pt x="1794" y="1414"/>
                  </a:cubicBezTo>
                  <a:cubicBezTo>
                    <a:pt x="1794" y="1429"/>
                    <a:pt x="1806" y="1441"/>
                    <a:pt x="1821" y="1441"/>
                  </a:cubicBezTo>
                  <a:cubicBezTo>
                    <a:pt x="2148" y="1441"/>
                    <a:pt x="2148" y="1441"/>
                    <a:pt x="2148" y="1441"/>
                  </a:cubicBezTo>
                  <a:cubicBezTo>
                    <a:pt x="2163" y="1441"/>
                    <a:pt x="2175" y="1429"/>
                    <a:pt x="2175" y="1414"/>
                  </a:cubicBezTo>
                  <a:cubicBezTo>
                    <a:pt x="2175" y="1087"/>
                    <a:pt x="2175" y="1087"/>
                    <a:pt x="2175" y="1087"/>
                  </a:cubicBezTo>
                  <a:cubicBezTo>
                    <a:pt x="2175" y="1072"/>
                    <a:pt x="2163" y="1060"/>
                    <a:pt x="2148" y="1060"/>
                  </a:cubicBezTo>
                  <a:close/>
                  <a:moveTo>
                    <a:pt x="2121" y="1387"/>
                  </a:moveTo>
                  <a:cubicBezTo>
                    <a:pt x="1848" y="1387"/>
                    <a:pt x="1848" y="1387"/>
                    <a:pt x="1848" y="1387"/>
                  </a:cubicBezTo>
                  <a:cubicBezTo>
                    <a:pt x="1848" y="1114"/>
                    <a:pt x="1848" y="1114"/>
                    <a:pt x="1848" y="1114"/>
                  </a:cubicBezTo>
                  <a:cubicBezTo>
                    <a:pt x="2121" y="1114"/>
                    <a:pt x="2121" y="1114"/>
                    <a:pt x="2121" y="1114"/>
                  </a:cubicBezTo>
                  <a:lnTo>
                    <a:pt x="2121" y="1387"/>
                  </a:lnTo>
                  <a:close/>
                  <a:moveTo>
                    <a:pt x="580" y="1547"/>
                  </a:moveTo>
                  <a:cubicBezTo>
                    <a:pt x="253" y="1547"/>
                    <a:pt x="253" y="1547"/>
                    <a:pt x="253" y="1547"/>
                  </a:cubicBezTo>
                  <a:cubicBezTo>
                    <a:pt x="238" y="1547"/>
                    <a:pt x="226" y="1559"/>
                    <a:pt x="226" y="1574"/>
                  </a:cubicBezTo>
                  <a:cubicBezTo>
                    <a:pt x="226" y="1901"/>
                    <a:pt x="226" y="1901"/>
                    <a:pt x="226" y="1901"/>
                  </a:cubicBezTo>
                  <a:cubicBezTo>
                    <a:pt x="226" y="1916"/>
                    <a:pt x="238" y="1928"/>
                    <a:pt x="253" y="1928"/>
                  </a:cubicBezTo>
                  <a:cubicBezTo>
                    <a:pt x="580" y="1928"/>
                    <a:pt x="580" y="1928"/>
                    <a:pt x="580" y="1928"/>
                  </a:cubicBezTo>
                  <a:cubicBezTo>
                    <a:pt x="595" y="1928"/>
                    <a:pt x="607" y="1916"/>
                    <a:pt x="607" y="1901"/>
                  </a:cubicBezTo>
                  <a:cubicBezTo>
                    <a:pt x="607" y="1574"/>
                    <a:pt x="607" y="1574"/>
                    <a:pt x="607" y="1574"/>
                  </a:cubicBezTo>
                  <a:cubicBezTo>
                    <a:pt x="607" y="1559"/>
                    <a:pt x="595" y="1547"/>
                    <a:pt x="580" y="1547"/>
                  </a:cubicBezTo>
                  <a:close/>
                  <a:moveTo>
                    <a:pt x="553" y="1874"/>
                  </a:moveTo>
                  <a:cubicBezTo>
                    <a:pt x="280" y="1874"/>
                    <a:pt x="280" y="1874"/>
                    <a:pt x="280" y="1874"/>
                  </a:cubicBezTo>
                  <a:cubicBezTo>
                    <a:pt x="280" y="1601"/>
                    <a:pt x="280" y="1601"/>
                    <a:pt x="280" y="1601"/>
                  </a:cubicBezTo>
                  <a:cubicBezTo>
                    <a:pt x="553" y="1601"/>
                    <a:pt x="553" y="1601"/>
                    <a:pt x="553" y="1601"/>
                  </a:cubicBezTo>
                  <a:lnTo>
                    <a:pt x="553" y="1874"/>
                  </a:lnTo>
                  <a:close/>
                  <a:moveTo>
                    <a:pt x="1103" y="1547"/>
                  </a:moveTo>
                  <a:cubicBezTo>
                    <a:pt x="776" y="1547"/>
                    <a:pt x="776" y="1547"/>
                    <a:pt x="776" y="1547"/>
                  </a:cubicBezTo>
                  <a:cubicBezTo>
                    <a:pt x="761" y="1547"/>
                    <a:pt x="749" y="1559"/>
                    <a:pt x="749" y="1574"/>
                  </a:cubicBezTo>
                  <a:cubicBezTo>
                    <a:pt x="749" y="1901"/>
                    <a:pt x="749" y="1901"/>
                    <a:pt x="749" y="1901"/>
                  </a:cubicBezTo>
                  <a:cubicBezTo>
                    <a:pt x="749" y="1916"/>
                    <a:pt x="761" y="1928"/>
                    <a:pt x="776" y="1928"/>
                  </a:cubicBezTo>
                  <a:cubicBezTo>
                    <a:pt x="1103" y="1928"/>
                    <a:pt x="1103" y="1928"/>
                    <a:pt x="1103" y="1928"/>
                  </a:cubicBezTo>
                  <a:cubicBezTo>
                    <a:pt x="1118" y="1928"/>
                    <a:pt x="1130" y="1916"/>
                    <a:pt x="1130" y="1901"/>
                  </a:cubicBezTo>
                  <a:cubicBezTo>
                    <a:pt x="1130" y="1574"/>
                    <a:pt x="1130" y="1574"/>
                    <a:pt x="1130" y="1574"/>
                  </a:cubicBezTo>
                  <a:cubicBezTo>
                    <a:pt x="1130" y="1559"/>
                    <a:pt x="1118" y="1547"/>
                    <a:pt x="1103" y="1547"/>
                  </a:cubicBezTo>
                  <a:close/>
                  <a:moveTo>
                    <a:pt x="1076" y="1874"/>
                  </a:moveTo>
                  <a:cubicBezTo>
                    <a:pt x="803" y="1874"/>
                    <a:pt x="803" y="1874"/>
                    <a:pt x="803" y="1874"/>
                  </a:cubicBezTo>
                  <a:cubicBezTo>
                    <a:pt x="803" y="1601"/>
                    <a:pt x="803" y="1601"/>
                    <a:pt x="803" y="1601"/>
                  </a:cubicBezTo>
                  <a:cubicBezTo>
                    <a:pt x="1076" y="1601"/>
                    <a:pt x="1076" y="1601"/>
                    <a:pt x="1076" y="1601"/>
                  </a:cubicBezTo>
                  <a:lnTo>
                    <a:pt x="1076" y="1874"/>
                  </a:lnTo>
                  <a:close/>
                  <a:moveTo>
                    <a:pt x="1626" y="1547"/>
                  </a:moveTo>
                  <a:cubicBezTo>
                    <a:pt x="1299" y="1547"/>
                    <a:pt x="1299" y="1547"/>
                    <a:pt x="1299" y="1547"/>
                  </a:cubicBezTo>
                  <a:cubicBezTo>
                    <a:pt x="1284" y="1547"/>
                    <a:pt x="1272" y="1559"/>
                    <a:pt x="1272" y="1574"/>
                  </a:cubicBezTo>
                  <a:cubicBezTo>
                    <a:pt x="1272" y="1901"/>
                    <a:pt x="1272" y="1901"/>
                    <a:pt x="1272" y="1901"/>
                  </a:cubicBezTo>
                  <a:cubicBezTo>
                    <a:pt x="1272" y="1916"/>
                    <a:pt x="1284" y="1928"/>
                    <a:pt x="1299" y="1928"/>
                  </a:cubicBezTo>
                  <a:cubicBezTo>
                    <a:pt x="1626" y="1928"/>
                    <a:pt x="1626" y="1928"/>
                    <a:pt x="1626" y="1928"/>
                  </a:cubicBezTo>
                  <a:cubicBezTo>
                    <a:pt x="1640" y="1928"/>
                    <a:pt x="1652" y="1916"/>
                    <a:pt x="1652" y="1901"/>
                  </a:cubicBezTo>
                  <a:cubicBezTo>
                    <a:pt x="1652" y="1574"/>
                    <a:pt x="1652" y="1574"/>
                    <a:pt x="1652" y="1574"/>
                  </a:cubicBezTo>
                  <a:cubicBezTo>
                    <a:pt x="1652" y="1559"/>
                    <a:pt x="1640" y="1547"/>
                    <a:pt x="1626" y="1547"/>
                  </a:cubicBezTo>
                  <a:close/>
                  <a:moveTo>
                    <a:pt x="1599" y="1874"/>
                  </a:moveTo>
                  <a:cubicBezTo>
                    <a:pt x="1325" y="1874"/>
                    <a:pt x="1325" y="1874"/>
                    <a:pt x="1325" y="1874"/>
                  </a:cubicBezTo>
                  <a:cubicBezTo>
                    <a:pt x="1325" y="1601"/>
                    <a:pt x="1325" y="1601"/>
                    <a:pt x="1325" y="1601"/>
                  </a:cubicBezTo>
                  <a:cubicBezTo>
                    <a:pt x="1599" y="1601"/>
                    <a:pt x="1599" y="1601"/>
                    <a:pt x="1599" y="1601"/>
                  </a:cubicBezTo>
                  <a:lnTo>
                    <a:pt x="1599" y="1874"/>
                  </a:lnTo>
                  <a:close/>
                  <a:moveTo>
                    <a:pt x="2148" y="1547"/>
                  </a:moveTo>
                  <a:cubicBezTo>
                    <a:pt x="1821" y="1547"/>
                    <a:pt x="1821" y="1547"/>
                    <a:pt x="1821" y="1547"/>
                  </a:cubicBezTo>
                  <a:cubicBezTo>
                    <a:pt x="1806" y="1547"/>
                    <a:pt x="1794" y="1559"/>
                    <a:pt x="1794" y="1574"/>
                  </a:cubicBezTo>
                  <a:cubicBezTo>
                    <a:pt x="1794" y="1901"/>
                    <a:pt x="1794" y="1901"/>
                    <a:pt x="1794" y="1901"/>
                  </a:cubicBezTo>
                  <a:cubicBezTo>
                    <a:pt x="1794" y="1916"/>
                    <a:pt x="1806" y="1928"/>
                    <a:pt x="1821" y="1928"/>
                  </a:cubicBezTo>
                  <a:cubicBezTo>
                    <a:pt x="2148" y="1928"/>
                    <a:pt x="2148" y="1928"/>
                    <a:pt x="2148" y="1928"/>
                  </a:cubicBezTo>
                  <a:cubicBezTo>
                    <a:pt x="2163" y="1928"/>
                    <a:pt x="2175" y="1916"/>
                    <a:pt x="2175" y="1901"/>
                  </a:cubicBezTo>
                  <a:cubicBezTo>
                    <a:pt x="2175" y="1574"/>
                    <a:pt x="2175" y="1574"/>
                    <a:pt x="2175" y="1574"/>
                  </a:cubicBezTo>
                  <a:cubicBezTo>
                    <a:pt x="2175" y="1559"/>
                    <a:pt x="2163" y="1547"/>
                    <a:pt x="2148" y="1547"/>
                  </a:cubicBezTo>
                  <a:close/>
                  <a:moveTo>
                    <a:pt x="2121" y="1874"/>
                  </a:moveTo>
                  <a:cubicBezTo>
                    <a:pt x="1848" y="1874"/>
                    <a:pt x="1848" y="1874"/>
                    <a:pt x="1848" y="1874"/>
                  </a:cubicBezTo>
                  <a:cubicBezTo>
                    <a:pt x="1848" y="1601"/>
                    <a:pt x="1848" y="1601"/>
                    <a:pt x="1848" y="1601"/>
                  </a:cubicBezTo>
                  <a:cubicBezTo>
                    <a:pt x="2121" y="1601"/>
                    <a:pt x="2121" y="1601"/>
                    <a:pt x="2121" y="1601"/>
                  </a:cubicBezTo>
                  <a:lnTo>
                    <a:pt x="2121" y="1874"/>
                  </a:lnTo>
                  <a:close/>
                  <a:moveTo>
                    <a:pt x="580" y="2033"/>
                  </a:moveTo>
                  <a:cubicBezTo>
                    <a:pt x="253" y="2033"/>
                    <a:pt x="253" y="2033"/>
                    <a:pt x="253" y="2033"/>
                  </a:cubicBezTo>
                  <a:cubicBezTo>
                    <a:pt x="238" y="2033"/>
                    <a:pt x="226" y="2045"/>
                    <a:pt x="226" y="2060"/>
                  </a:cubicBezTo>
                  <a:cubicBezTo>
                    <a:pt x="226" y="2387"/>
                    <a:pt x="226" y="2387"/>
                    <a:pt x="226" y="2387"/>
                  </a:cubicBezTo>
                  <a:cubicBezTo>
                    <a:pt x="226" y="2402"/>
                    <a:pt x="238" y="2414"/>
                    <a:pt x="253" y="2414"/>
                  </a:cubicBezTo>
                  <a:cubicBezTo>
                    <a:pt x="580" y="2414"/>
                    <a:pt x="580" y="2414"/>
                    <a:pt x="580" y="2414"/>
                  </a:cubicBezTo>
                  <a:cubicBezTo>
                    <a:pt x="595" y="2414"/>
                    <a:pt x="607" y="2402"/>
                    <a:pt x="607" y="2387"/>
                  </a:cubicBezTo>
                  <a:cubicBezTo>
                    <a:pt x="607" y="2060"/>
                    <a:pt x="607" y="2060"/>
                    <a:pt x="607" y="2060"/>
                  </a:cubicBezTo>
                  <a:cubicBezTo>
                    <a:pt x="607" y="2045"/>
                    <a:pt x="595" y="2033"/>
                    <a:pt x="580" y="2033"/>
                  </a:cubicBezTo>
                  <a:close/>
                  <a:moveTo>
                    <a:pt x="553" y="2360"/>
                  </a:moveTo>
                  <a:cubicBezTo>
                    <a:pt x="280" y="2360"/>
                    <a:pt x="280" y="2360"/>
                    <a:pt x="280" y="2360"/>
                  </a:cubicBezTo>
                  <a:cubicBezTo>
                    <a:pt x="280" y="2087"/>
                    <a:pt x="280" y="2087"/>
                    <a:pt x="280" y="2087"/>
                  </a:cubicBezTo>
                  <a:cubicBezTo>
                    <a:pt x="553" y="2087"/>
                    <a:pt x="553" y="2087"/>
                    <a:pt x="553" y="2087"/>
                  </a:cubicBezTo>
                  <a:lnTo>
                    <a:pt x="553" y="2360"/>
                  </a:lnTo>
                  <a:close/>
                  <a:moveTo>
                    <a:pt x="1103" y="2033"/>
                  </a:moveTo>
                  <a:cubicBezTo>
                    <a:pt x="776" y="2033"/>
                    <a:pt x="776" y="2033"/>
                    <a:pt x="776" y="2033"/>
                  </a:cubicBezTo>
                  <a:cubicBezTo>
                    <a:pt x="761" y="2033"/>
                    <a:pt x="749" y="2045"/>
                    <a:pt x="749" y="2060"/>
                  </a:cubicBezTo>
                  <a:cubicBezTo>
                    <a:pt x="749" y="2387"/>
                    <a:pt x="749" y="2387"/>
                    <a:pt x="749" y="2387"/>
                  </a:cubicBezTo>
                  <a:cubicBezTo>
                    <a:pt x="749" y="2402"/>
                    <a:pt x="761" y="2414"/>
                    <a:pt x="776" y="2414"/>
                  </a:cubicBezTo>
                  <a:cubicBezTo>
                    <a:pt x="1103" y="2414"/>
                    <a:pt x="1103" y="2414"/>
                    <a:pt x="1103" y="2414"/>
                  </a:cubicBezTo>
                  <a:cubicBezTo>
                    <a:pt x="1118" y="2414"/>
                    <a:pt x="1130" y="2402"/>
                    <a:pt x="1130" y="2387"/>
                  </a:cubicBezTo>
                  <a:cubicBezTo>
                    <a:pt x="1130" y="2060"/>
                    <a:pt x="1130" y="2060"/>
                    <a:pt x="1130" y="2060"/>
                  </a:cubicBezTo>
                  <a:cubicBezTo>
                    <a:pt x="1130" y="2045"/>
                    <a:pt x="1118" y="2033"/>
                    <a:pt x="1103" y="2033"/>
                  </a:cubicBezTo>
                  <a:close/>
                  <a:moveTo>
                    <a:pt x="1076" y="2360"/>
                  </a:moveTo>
                  <a:cubicBezTo>
                    <a:pt x="803" y="2360"/>
                    <a:pt x="803" y="2360"/>
                    <a:pt x="803" y="2360"/>
                  </a:cubicBezTo>
                  <a:cubicBezTo>
                    <a:pt x="803" y="2087"/>
                    <a:pt x="803" y="2087"/>
                    <a:pt x="803" y="2087"/>
                  </a:cubicBezTo>
                  <a:cubicBezTo>
                    <a:pt x="1076" y="2087"/>
                    <a:pt x="1076" y="2087"/>
                    <a:pt x="1076" y="2087"/>
                  </a:cubicBezTo>
                  <a:lnTo>
                    <a:pt x="1076" y="2360"/>
                  </a:lnTo>
                  <a:close/>
                  <a:moveTo>
                    <a:pt x="1626" y="2033"/>
                  </a:moveTo>
                  <a:cubicBezTo>
                    <a:pt x="1299" y="2033"/>
                    <a:pt x="1299" y="2033"/>
                    <a:pt x="1299" y="2033"/>
                  </a:cubicBezTo>
                  <a:cubicBezTo>
                    <a:pt x="1284" y="2033"/>
                    <a:pt x="1272" y="2045"/>
                    <a:pt x="1272" y="2060"/>
                  </a:cubicBezTo>
                  <a:cubicBezTo>
                    <a:pt x="1272" y="2387"/>
                    <a:pt x="1272" y="2387"/>
                    <a:pt x="1272" y="2387"/>
                  </a:cubicBezTo>
                  <a:cubicBezTo>
                    <a:pt x="1272" y="2402"/>
                    <a:pt x="1284" y="2414"/>
                    <a:pt x="1299" y="2414"/>
                  </a:cubicBezTo>
                  <a:cubicBezTo>
                    <a:pt x="1626" y="2414"/>
                    <a:pt x="1626" y="2414"/>
                    <a:pt x="1626" y="2414"/>
                  </a:cubicBezTo>
                  <a:cubicBezTo>
                    <a:pt x="1640" y="2414"/>
                    <a:pt x="1652" y="2402"/>
                    <a:pt x="1652" y="2387"/>
                  </a:cubicBezTo>
                  <a:cubicBezTo>
                    <a:pt x="1652" y="2060"/>
                    <a:pt x="1652" y="2060"/>
                    <a:pt x="1652" y="2060"/>
                  </a:cubicBezTo>
                  <a:cubicBezTo>
                    <a:pt x="1652" y="2045"/>
                    <a:pt x="1640" y="2033"/>
                    <a:pt x="1626" y="2033"/>
                  </a:cubicBezTo>
                  <a:close/>
                  <a:moveTo>
                    <a:pt x="1599" y="2360"/>
                  </a:moveTo>
                  <a:cubicBezTo>
                    <a:pt x="1325" y="2360"/>
                    <a:pt x="1325" y="2360"/>
                    <a:pt x="1325" y="2360"/>
                  </a:cubicBezTo>
                  <a:cubicBezTo>
                    <a:pt x="1325" y="2087"/>
                    <a:pt x="1325" y="2087"/>
                    <a:pt x="1325" y="2087"/>
                  </a:cubicBezTo>
                  <a:cubicBezTo>
                    <a:pt x="1599" y="2087"/>
                    <a:pt x="1599" y="2087"/>
                    <a:pt x="1599" y="2087"/>
                  </a:cubicBezTo>
                  <a:lnTo>
                    <a:pt x="1599" y="2360"/>
                  </a:lnTo>
                  <a:close/>
                  <a:moveTo>
                    <a:pt x="2148" y="2033"/>
                  </a:moveTo>
                  <a:cubicBezTo>
                    <a:pt x="1821" y="2033"/>
                    <a:pt x="1821" y="2033"/>
                    <a:pt x="1821" y="2033"/>
                  </a:cubicBezTo>
                  <a:cubicBezTo>
                    <a:pt x="1806" y="2033"/>
                    <a:pt x="1794" y="2045"/>
                    <a:pt x="1794" y="2060"/>
                  </a:cubicBezTo>
                  <a:cubicBezTo>
                    <a:pt x="1794" y="2387"/>
                    <a:pt x="1794" y="2387"/>
                    <a:pt x="1794" y="2387"/>
                  </a:cubicBezTo>
                  <a:cubicBezTo>
                    <a:pt x="1794" y="2402"/>
                    <a:pt x="1806" y="2414"/>
                    <a:pt x="1821" y="2414"/>
                  </a:cubicBezTo>
                  <a:cubicBezTo>
                    <a:pt x="2148" y="2414"/>
                    <a:pt x="2148" y="2414"/>
                    <a:pt x="2148" y="2414"/>
                  </a:cubicBezTo>
                  <a:cubicBezTo>
                    <a:pt x="2163" y="2414"/>
                    <a:pt x="2175" y="2402"/>
                    <a:pt x="2175" y="2387"/>
                  </a:cubicBezTo>
                  <a:cubicBezTo>
                    <a:pt x="2175" y="2060"/>
                    <a:pt x="2175" y="2060"/>
                    <a:pt x="2175" y="2060"/>
                  </a:cubicBezTo>
                  <a:cubicBezTo>
                    <a:pt x="2175" y="2045"/>
                    <a:pt x="2163" y="2033"/>
                    <a:pt x="2148" y="2033"/>
                  </a:cubicBezTo>
                  <a:close/>
                  <a:moveTo>
                    <a:pt x="2121" y="2360"/>
                  </a:moveTo>
                  <a:cubicBezTo>
                    <a:pt x="1848" y="2360"/>
                    <a:pt x="1848" y="2360"/>
                    <a:pt x="1848" y="2360"/>
                  </a:cubicBezTo>
                  <a:cubicBezTo>
                    <a:pt x="1848" y="2087"/>
                    <a:pt x="1848" y="2087"/>
                    <a:pt x="1848" y="2087"/>
                  </a:cubicBezTo>
                  <a:cubicBezTo>
                    <a:pt x="2121" y="2087"/>
                    <a:pt x="2121" y="2087"/>
                    <a:pt x="2121" y="2087"/>
                  </a:cubicBezTo>
                  <a:lnTo>
                    <a:pt x="2121" y="2360"/>
                  </a:lnTo>
                  <a:close/>
                  <a:moveTo>
                    <a:pt x="520" y="402"/>
                  </a:moveTo>
                  <a:cubicBezTo>
                    <a:pt x="356" y="402"/>
                    <a:pt x="356" y="402"/>
                    <a:pt x="356" y="402"/>
                  </a:cubicBezTo>
                  <a:cubicBezTo>
                    <a:pt x="341" y="402"/>
                    <a:pt x="329" y="414"/>
                    <a:pt x="329" y="429"/>
                  </a:cubicBezTo>
                  <a:cubicBezTo>
                    <a:pt x="329" y="747"/>
                    <a:pt x="329" y="747"/>
                    <a:pt x="329" y="747"/>
                  </a:cubicBezTo>
                  <a:cubicBezTo>
                    <a:pt x="329" y="762"/>
                    <a:pt x="341" y="774"/>
                    <a:pt x="356" y="774"/>
                  </a:cubicBezTo>
                  <a:cubicBezTo>
                    <a:pt x="520" y="774"/>
                    <a:pt x="520" y="774"/>
                    <a:pt x="520" y="774"/>
                  </a:cubicBezTo>
                  <a:cubicBezTo>
                    <a:pt x="535" y="774"/>
                    <a:pt x="547" y="762"/>
                    <a:pt x="547" y="747"/>
                  </a:cubicBezTo>
                  <a:cubicBezTo>
                    <a:pt x="547" y="429"/>
                    <a:pt x="547" y="429"/>
                    <a:pt x="547" y="429"/>
                  </a:cubicBezTo>
                  <a:cubicBezTo>
                    <a:pt x="547" y="414"/>
                    <a:pt x="535" y="402"/>
                    <a:pt x="520" y="402"/>
                  </a:cubicBezTo>
                  <a:close/>
                  <a:moveTo>
                    <a:pt x="493" y="720"/>
                  </a:moveTo>
                  <a:cubicBezTo>
                    <a:pt x="383" y="720"/>
                    <a:pt x="383" y="720"/>
                    <a:pt x="383" y="720"/>
                  </a:cubicBezTo>
                  <a:cubicBezTo>
                    <a:pt x="383" y="456"/>
                    <a:pt x="383" y="456"/>
                    <a:pt x="383" y="456"/>
                  </a:cubicBezTo>
                  <a:cubicBezTo>
                    <a:pt x="493" y="456"/>
                    <a:pt x="493" y="456"/>
                    <a:pt x="493" y="456"/>
                  </a:cubicBezTo>
                  <a:lnTo>
                    <a:pt x="493" y="720"/>
                  </a:lnTo>
                  <a:close/>
                  <a:moveTo>
                    <a:pt x="827" y="402"/>
                  </a:moveTo>
                  <a:cubicBezTo>
                    <a:pt x="663" y="402"/>
                    <a:pt x="663" y="402"/>
                    <a:pt x="663" y="402"/>
                  </a:cubicBezTo>
                  <a:cubicBezTo>
                    <a:pt x="648" y="402"/>
                    <a:pt x="636" y="414"/>
                    <a:pt x="636" y="429"/>
                  </a:cubicBezTo>
                  <a:cubicBezTo>
                    <a:pt x="636" y="747"/>
                    <a:pt x="636" y="747"/>
                    <a:pt x="636" y="747"/>
                  </a:cubicBezTo>
                  <a:cubicBezTo>
                    <a:pt x="636" y="762"/>
                    <a:pt x="648" y="774"/>
                    <a:pt x="663" y="774"/>
                  </a:cubicBezTo>
                  <a:cubicBezTo>
                    <a:pt x="827" y="774"/>
                    <a:pt x="827" y="774"/>
                    <a:pt x="827" y="774"/>
                  </a:cubicBezTo>
                  <a:cubicBezTo>
                    <a:pt x="842" y="774"/>
                    <a:pt x="854" y="762"/>
                    <a:pt x="854" y="747"/>
                  </a:cubicBezTo>
                  <a:cubicBezTo>
                    <a:pt x="854" y="429"/>
                    <a:pt x="854" y="429"/>
                    <a:pt x="854" y="429"/>
                  </a:cubicBezTo>
                  <a:cubicBezTo>
                    <a:pt x="854" y="414"/>
                    <a:pt x="842" y="402"/>
                    <a:pt x="827" y="402"/>
                  </a:cubicBezTo>
                  <a:close/>
                  <a:moveTo>
                    <a:pt x="800" y="720"/>
                  </a:moveTo>
                  <a:cubicBezTo>
                    <a:pt x="690" y="720"/>
                    <a:pt x="690" y="720"/>
                    <a:pt x="690" y="720"/>
                  </a:cubicBezTo>
                  <a:cubicBezTo>
                    <a:pt x="690" y="456"/>
                    <a:pt x="690" y="456"/>
                    <a:pt x="690" y="456"/>
                  </a:cubicBezTo>
                  <a:cubicBezTo>
                    <a:pt x="800" y="456"/>
                    <a:pt x="800" y="456"/>
                    <a:pt x="800" y="456"/>
                  </a:cubicBezTo>
                  <a:lnTo>
                    <a:pt x="800" y="720"/>
                  </a:lnTo>
                  <a:close/>
                  <a:moveTo>
                    <a:pt x="1134" y="402"/>
                  </a:moveTo>
                  <a:cubicBezTo>
                    <a:pt x="970" y="402"/>
                    <a:pt x="970" y="402"/>
                    <a:pt x="970" y="402"/>
                  </a:cubicBezTo>
                  <a:cubicBezTo>
                    <a:pt x="955" y="402"/>
                    <a:pt x="943" y="414"/>
                    <a:pt x="943" y="429"/>
                  </a:cubicBezTo>
                  <a:cubicBezTo>
                    <a:pt x="943" y="747"/>
                    <a:pt x="943" y="747"/>
                    <a:pt x="943" y="747"/>
                  </a:cubicBezTo>
                  <a:cubicBezTo>
                    <a:pt x="943" y="762"/>
                    <a:pt x="955" y="774"/>
                    <a:pt x="970" y="774"/>
                  </a:cubicBezTo>
                  <a:cubicBezTo>
                    <a:pt x="1134" y="774"/>
                    <a:pt x="1134" y="774"/>
                    <a:pt x="1134" y="774"/>
                  </a:cubicBezTo>
                  <a:cubicBezTo>
                    <a:pt x="1149" y="774"/>
                    <a:pt x="1161" y="762"/>
                    <a:pt x="1161" y="747"/>
                  </a:cubicBezTo>
                  <a:cubicBezTo>
                    <a:pt x="1161" y="429"/>
                    <a:pt x="1161" y="429"/>
                    <a:pt x="1161" y="429"/>
                  </a:cubicBezTo>
                  <a:cubicBezTo>
                    <a:pt x="1161" y="414"/>
                    <a:pt x="1149" y="402"/>
                    <a:pt x="1134" y="402"/>
                  </a:cubicBezTo>
                  <a:close/>
                  <a:moveTo>
                    <a:pt x="1107" y="720"/>
                  </a:moveTo>
                  <a:cubicBezTo>
                    <a:pt x="997" y="720"/>
                    <a:pt x="997" y="720"/>
                    <a:pt x="997" y="720"/>
                  </a:cubicBezTo>
                  <a:cubicBezTo>
                    <a:pt x="997" y="456"/>
                    <a:pt x="997" y="456"/>
                    <a:pt x="997" y="456"/>
                  </a:cubicBezTo>
                  <a:cubicBezTo>
                    <a:pt x="1107" y="456"/>
                    <a:pt x="1107" y="456"/>
                    <a:pt x="1107" y="456"/>
                  </a:cubicBezTo>
                  <a:lnTo>
                    <a:pt x="1107" y="720"/>
                  </a:lnTo>
                  <a:close/>
                  <a:moveTo>
                    <a:pt x="1441" y="402"/>
                  </a:moveTo>
                  <a:cubicBezTo>
                    <a:pt x="1276" y="402"/>
                    <a:pt x="1276" y="402"/>
                    <a:pt x="1276" y="402"/>
                  </a:cubicBezTo>
                  <a:cubicBezTo>
                    <a:pt x="1262" y="402"/>
                    <a:pt x="1250" y="414"/>
                    <a:pt x="1250" y="429"/>
                  </a:cubicBezTo>
                  <a:cubicBezTo>
                    <a:pt x="1250" y="747"/>
                    <a:pt x="1250" y="747"/>
                    <a:pt x="1250" y="747"/>
                  </a:cubicBezTo>
                  <a:cubicBezTo>
                    <a:pt x="1250" y="762"/>
                    <a:pt x="1262" y="774"/>
                    <a:pt x="1276" y="774"/>
                  </a:cubicBezTo>
                  <a:cubicBezTo>
                    <a:pt x="1441" y="774"/>
                    <a:pt x="1441" y="774"/>
                    <a:pt x="1441" y="774"/>
                  </a:cubicBezTo>
                  <a:cubicBezTo>
                    <a:pt x="1456" y="774"/>
                    <a:pt x="1468" y="762"/>
                    <a:pt x="1468" y="747"/>
                  </a:cubicBezTo>
                  <a:cubicBezTo>
                    <a:pt x="1468" y="429"/>
                    <a:pt x="1468" y="429"/>
                    <a:pt x="1468" y="429"/>
                  </a:cubicBezTo>
                  <a:cubicBezTo>
                    <a:pt x="1468" y="414"/>
                    <a:pt x="1456" y="402"/>
                    <a:pt x="1441" y="402"/>
                  </a:cubicBezTo>
                  <a:close/>
                  <a:moveTo>
                    <a:pt x="1414" y="720"/>
                  </a:moveTo>
                  <a:cubicBezTo>
                    <a:pt x="1303" y="720"/>
                    <a:pt x="1303" y="720"/>
                    <a:pt x="1303" y="720"/>
                  </a:cubicBezTo>
                  <a:cubicBezTo>
                    <a:pt x="1303" y="456"/>
                    <a:pt x="1303" y="456"/>
                    <a:pt x="1303" y="456"/>
                  </a:cubicBezTo>
                  <a:cubicBezTo>
                    <a:pt x="1414" y="456"/>
                    <a:pt x="1414" y="456"/>
                    <a:pt x="1414" y="456"/>
                  </a:cubicBezTo>
                  <a:lnTo>
                    <a:pt x="1414" y="720"/>
                  </a:lnTo>
                  <a:close/>
                  <a:moveTo>
                    <a:pt x="1775" y="429"/>
                  </a:moveTo>
                  <a:cubicBezTo>
                    <a:pt x="1775" y="747"/>
                    <a:pt x="1775" y="747"/>
                    <a:pt x="1775" y="747"/>
                  </a:cubicBezTo>
                  <a:cubicBezTo>
                    <a:pt x="1775" y="762"/>
                    <a:pt x="1762" y="774"/>
                    <a:pt x="1748" y="774"/>
                  </a:cubicBezTo>
                  <a:cubicBezTo>
                    <a:pt x="1733" y="774"/>
                    <a:pt x="1721" y="762"/>
                    <a:pt x="1721" y="747"/>
                  </a:cubicBezTo>
                  <a:cubicBezTo>
                    <a:pt x="1721" y="497"/>
                    <a:pt x="1721" y="497"/>
                    <a:pt x="1721" y="497"/>
                  </a:cubicBezTo>
                  <a:cubicBezTo>
                    <a:pt x="1603" y="623"/>
                    <a:pt x="1603" y="623"/>
                    <a:pt x="1603" y="623"/>
                  </a:cubicBezTo>
                  <a:cubicBezTo>
                    <a:pt x="1593" y="634"/>
                    <a:pt x="1576" y="634"/>
                    <a:pt x="1565" y="624"/>
                  </a:cubicBezTo>
                  <a:cubicBezTo>
                    <a:pt x="1554" y="614"/>
                    <a:pt x="1553" y="597"/>
                    <a:pt x="1564" y="586"/>
                  </a:cubicBezTo>
                  <a:cubicBezTo>
                    <a:pt x="1728" y="411"/>
                    <a:pt x="1728" y="411"/>
                    <a:pt x="1728" y="411"/>
                  </a:cubicBezTo>
                  <a:cubicBezTo>
                    <a:pt x="1736" y="403"/>
                    <a:pt x="1747" y="400"/>
                    <a:pt x="1758" y="404"/>
                  </a:cubicBezTo>
                  <a:cubicBezTo>
                    <a:pt x="1768" y="408"/>
                    <a:pt x="1775" y="418"/>
                    <a:pt x="1775" y="429"/>
                  </a:cubicBezTo>
                  <a:close/>
                  <a:moveTo>
                    <a:pt x="2081" y="429"/>
                  </a:moveTo>
                  <a:cubicBezTo>
                    <a:pt x="2081" y="747"/>
                    <a:pt x="2081" y="747"/>
                    <a:pt x="2081" y="747"/>
                  </a:cubicBezTo>
                  <a:cubicBezTo>
                    <a:pt x="2081" y="762"/>
                    <a:pt x="2069" y="774"/>
                    <a:pt x="2054" y="774"/>
                  </a:cubicBezTo>
                  <a:cubicBezTo>
                    <a:pt x="2040" y="774"/>
                    <a:pt x="2027" y="762"/>
                    <a:pt x="2027" y="747"/>
                  </a:cubicBezTo>
                  <a:cubicBezTo>
                    <a:pt x="2027" y="497"/>
                    <a:pt x="2027" y="497"/>
                    <a:pt x="2027" y="497"/>
                  </a:cubicBezTo>
                  <a:cubicBezTo>
                    <a:pt x="1910" y="623"/>
                    <a:pt x="1910" y="623"/>
                    <a:pt x="1910" y="623"/>
                  </a:cubicBezTo>
                  <a:cubicBezTo>
                    <a:pt x="1900" y="634"/>
                    <a:pt x="1882" y="634"/>
                    <a:pt x="1872" y="624"/>
                  </a:cubicBezTo>
                  <a:cubicBezTo>
                    <a:pt x="1861" y="614"/>
                    <a:pt x="1860" y="597"/>
                    <a:pt x="1870" y="586"/>
                  </a:cubicBezTo>
                  <a:cubicBezTo>
                    <a:pt x="2035" y="411"/>
                    <a:pt x="2035" y="411"/>
                    <a:pt x="2035" y="411"/>
                  </a:cubicBezTo>
                  <a:cubicBezTo>
                    <a:pt x="2042" y="403"/>
                    <a:pt x="2054" y="400"/>
                    <a:pt x="2064" y="404"/>
                  </a:cubicBezTo>
                  <a:cubicBezTo>
                    <a:pt x="2075" y="408"/>
                    <a:pt x="2081" y="418"/>
                    <a:pt x="2081" y="429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1306008" y="2212900"/>
              <a:ext cx="462152" cy="446013"/>
            </a:xfrm>
            <a:custGeom>
              <a:avLst/>
              <a:gdLst>
                <a:gd name="T0" fmla="*/ 2623 w 2627"/>
                <a:gd name="T1" fmla="*/ 662 h 2539"/>
                <a:gd name="T2" fmla="*/ 1957 w 2627"/>
                <a:gd name="T3" fmla="*/ 9 h 2539"/>
                <a:gd name="T4" fmla="*/ 1941 w 2627"/>
                <a:gd name="T5" fmla="*/ 0 h 2539"/>
                <a:gd name="T6" fmla="*/ 800 w 2627"/>
                <a:gd name="T7" fmla="*/ 0 h 2539"/>
                <a:gd name="T8" fmla="*/ 738 w 2627"/>
                <a:gd name="T9" fmla="*/ 554 h 2539"/>
                <a:gd name="T10" fmla="*/ 800 w 2627"/>
                <a:gd name="T11" fmla="*/ 64 h 2539"/>
                <a:gd name="T12" fmla="*/ 1935 w 2627"/>
                <a:gd name="T13" fmla="*/ 709 h 2539"/>
                <a:gd name="T14" fmla="*/ 2533 w 2627"/>
                <a:gd name="T15" fmla="*/ 2475 h 2539"/>
                <a:gd name="T16" fmla="*/ 770 w 2627"/>
                <a:gd name="T17" fmla="*/ 1290 h 2539"/>
                <a:gd name="T18" fmla="*/ 706 w 2627"/>
                <a:gd name="T19" fmla="*/ 2447 h 2539"/>
                <a:gd name="T20" fmla="*/ 2627 w 2627"/>
                <a:gd name="T21" fmla="*/ 2447 h 2539"/>
                <a:gd name="T22" fmla="*/ 1967 w 2627"/>
                <a:gd name="T23" fmla="*/ 108 h 2539"/>
                <a:gd name="T24" fmla="*/ 1967 w 2627"/>
                <a:gd name="T25" fmla="*/ 645 h 2539"/>
                <a:gd name="T26" fmla="*/ 1001 w 2627"/>
                <a:gd name="T27" fmla="*/ 2057 h 2539"/>
                <a:gd name="T28" fmla="*/ 1636 w 2627"/>
                <a:gd name="T29" fmla="*/ 2121 h 2539"/>
                <a:gd name="T30" fmla="*/ 2364 w 2627"/>
                <a:gd name="T31" fmla="*/ 2089 h 2539"/>
                <a:gd name="T32" fmla="*/ 1959 w 2627"/>
                <a:gd name="T33" fmla="*/ 2089 h 2539"/>
                <a:gd name="T34" fmla="*/ 2364 w 2627"/>
                <a:gd name="T35" fmla="*/ 2089 h 2539"/>
                <a:gd name="T36" fmla="*/ 1276 w 2627"/>
                <a:gd name="T37" fmla="*/ 1816 h 2539"/>
                <a:gd name="T38" fmla="*/ 969 w 2627"/>
                <a:gd name="T39" fmla="*/ 1816 h 2539"/>
                <a:gd name="T40" fmla="*/ 2332 w 2627"/>
                <a:gd name="T41" fmla="*/ 1848 h 2539"/>
                <a:gd name="T42" fmla="*/ 1847 w 2627"/>
                <a:gd name="T43" fmla="*/ 1784 h 2539"/>
                <a:gd name="T44" fmla="*/ 1043 w 2627"/>
                <a:gd name="T45" fmla="*/ 1543 h 2539"/>
                <a:gd name="T46" fmla="*/ 959 w 2627"/>
                <a:gd name="T47" fmla="*/ 1543 h 2539"/>
                <a:gd name="T48" fmla="*/ 1043 w 2627"/>
                <a:gd name="T49" fmla="*/ 1543 h 2539"/>
                <a:gd name="T50" fmla="*/ 1713 w 2627"/>
                <a:gd name="T51" fmla="*/ 1575 h 2539"/>
                <a:gd name="T52" fmla="*/ 2332 w 2627"/>
                <a:gd name="T53" fmla="*/ 1510 h 2539"/>
                <a:gd name="T54" fmla="*/ 2332 w 2627"/>
                <a:gd name="T55" fmla="*/ 1302 h 2539"/>
                <a:gd name="T56" fmla="*/ 1440 w 2627"/>
                <a:gd name="T57" fmla="*/ 1237 h 2539"/>
                <a:gd name="T58" fmla="*/ 2364 w 2627"/>
                <a:gd name="T59" fmla="*/ 996 h 2539"/>
                <a:gd name="T60" fmla="*/ 1176 w 2627"/>
                <a:gd name="T61" fmla="*/ 996 h 2539"/>
                <a:gd name="T62" fmla="*/ 2364 w 2627"/>
                <a:gd name="T63" fmla="*/ 996 h 2539"/>
                <a:gd name="T64" fmla="*/ 1780 w 2627"/>
                <a:gd name="T65" fmla="*/ 691 h 2539"/>
                <a:gd name="T66" fmla="*/ 1001 w 2627"/>
                <a:gd name="T67" fmla="*/ 755 h 2539"/>
                <a:gd name="T68" fmla="*/ 1001 w 2627"/>
                <a:gd name="T69" fmla="*/ 417 h 2539"/>
                <a:gd name="T70" fmla="*/ 1749 w 2627"/>
                <a:gd name="T71" fmla="*/ 482 h 2539"/>
                <a:gd name="T72" fmla="*/ 1384 w 2627"/>
                <a:gd name="T73" fmla="*/ 1871 h 2539"/>
                <a:gd name="T74" fmla="*/ 1866 w 2627"/>
                <a:gd name="T75" fmla="*/ 2138 h 2539"/>
                <a:gd name="T76" fmla="*/ 1911 w 2627"/>
                <a:gd name="T77" fmla="*/ 2096 h 2539"/>
                <a:gd name="T78" fmla="*/ 1671 w 2627"/>
                <a:gd name="T79" fmla="*/ 1600 h 2539"/>
                <a:gd name="T80" fmla="*/ 250 w 2627"/>
                <a:gd name="T81" fmla="*/ 145 h 2539"/>
                <a:gd name="T82" fmla="*/ 9 w 2627"/>
                <a:gd name="T83" fmla="*/ 417 h 2539"/>
                <a:gd name="T84" fmla="*/ 305 w 2627"/>
                <a:gd name="T85" fmla="*/ 636 h 2539"/>
                <a:gd name="T86" fmla="*/ 353 w 2627"/>
                <a:gd name="T87" fmla="*/ 686 h 2539"/>
                <a:gd name="T88" fmla="*/ 1484 w 2627"/>
                <a:gd name="T89" fmla="*/ 1642 h 2539"/>
                <a:gd name="T90" fmla="*/ 1589 w 2627"/>
                <a:gd name="T91" fmla="*/ 1607 h 2539"/>
                <a:gd name="T92" fmla="*/ 1448 w 2627"/>
                <a:gd name="T93" fmla="*/ 1834 h 2539"/>
                <a:gd name="T94" fmla="*/ 1773 w 2627"/>
                <a:gd name="T95" fmla="*/ 1958 h 2539"/>
                <a:gd name="T96" fmla="*/ 1396 w 2627"/>
                <a:gd name="T97" fmla="*/ 1789 h 2539"/>
                <a:gd name="T98" fmla="*/ 1796 w 2627"/>
                <a:gd name="T99" fmla="*/ 2026 h 2539"/>
                <a:gd name="T100" fmla="*/ 1796 w 2627"/>
                <a:gd name="T101" fmla="*/ 2026 h 2539"/>
                <a:gd name="T102" fmla="*/ 261 w 2627"/>
                <a:gd name="T103" fmla="*/ 589 h 2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27" h="2539">
                  <a:moveTo>
                    <a:pt x="2626" y="670"/>
                  </a:moveTo>
                  <a:cubicBezTo>
                    <a:pt x="2626" y="670"/>
                    <a:pt x="2626" y="670"/>
                    <a:pt x="2626" y="670"/>
                  </a:cubicBezTo>
                  <a:cubicBezTo>
                    <a:pt x="2625" y="667"/>
                    <a:pt x="2624" y="665"/>
                    <a:pt x="2623" y="662"/>
                  </a:cubicBezTo>
                  <a:cubicBezTo>
                    <a:pt x="2623" y="662"/>
                    <a:pt x="2623" y="661"/>
                    <a:pt x="2622" y="661"/>
                  </a:cubicBezTo>
                  <a:cubicBezTo>
                    <a:pt x="2621" y="658"/>
                    <a:pt x="2619" y="656"/>
                    <a:pt x="2617" y="654"/>
                  </a:cubicBezTo>
                  <a:cubicBezTo>
                    <a:pt x="1957" y="9"/>
                    <a:pt x="1957" y="9"/>
                    <a:pt x="1957" y="9"/>
                  </a:cubicBezTo>
                  <a:cubicBezTo>
                    <a:pt x="1955" y="7"/>
                    <a:pt x="1953" y="5"/>
                    <a:pt x="1951" y="4"/>
                  </a:cubicBezTo>
                  <a:cubicBezTo>
                    <a:pt x="1950" y="3"/>
                    <a:pt x="1949" y="3"/>
                    <a:pt x="1949" y="3"/>
                  </a:cubicBezTo>
                  <a:cubicBezTo>
                    <a:pt x="1946" y="2"/>
                    <a:pt x="1944" y="1"/>
                    <a:pt x="1941" y="0"/>
                  </a:cubicBezTo>
                  <a:cubicBezTo>
                    <a:pt x="1941" y="0"/>
                    <a:pt x="1941" y="0"/>
                    <a:pt x="1941" y="0"/>
                  </a:cubicBezTo>
                  <a:cubicBezTo>
                    <a:pt x="1939" y="0"/>
                    <a:pt x="1937" y="0"/>
                    <a:pt x="1935" y="0"/>
                  </a:cubicBezTo>
                  <a:cubicBezTo>
                    <a:pt x="800" y="0"/>
                    <a:pt x="800" y="0"/>
                    <a:pt x="800" y="0"/>
                  </a:cubicBezTo>
                  <a:cubicBezTo>
                    <a:pt x="748" y="0"/>
                    <a:pt x="706" y="41"/>
                    <a:pt x="706" y="92"/>
                  </a:cubicBezTo>
                  <a:cubicBezTo>
                    <a:pt x="706" y="522"/>
                    <a:pt x="706" y="522"/>
                    <a:pt x="706" y="522"/>
                  </a:cubicBezTo>
                  <a:cubicBezTo>
                    <a:pt x="706" y="540"/>
                    <a:pt x="720" y="554"/>
                    <a:pt x="738" y="554"/>
                  </a:cubicBezTo>
                  <a:cubicBezTo>
                    <a:pt x="756" y="554"/>
                    <a:pt x="770" y="540"/>
                    <a:pt x="770" y="522"/>
                  </a:cubicBezTo>
                  <a:cubicBezTo>
                    <a:pt x="770" y="92"/>
                    <a:pt x="770" y="92"/>
                    <a:pt x="770" y="92"/>
                  </a:cubicBezTo>
                  <a:cubicBezTo>
                    <a:pt x="770" y="76"/>
                    <a:pt x="784" y="64"/>
                    <a:pt x="800" y="64"/>
                  </a:cubicBezTo>
                  <a:cubicBezTo>
                    <a:pt x="1903" y="64"/>
                    <a:pt x="1903" y="64"/>
                    <a:pt x="1903" y="64"/>
                  </a:cubicBezTo>
                  <a:cubicBezTo>
                    <a:pt x="1903" y="677"/>
                    <a:pt x="1903" y="677"/>
                    <a:pt x="1903" y="677"/>
                  </a:cubicBezTo>
                  <a:cubicBezTo>
                    <a:pt x="1903" y="695"/>
                    <a:pt x="1917" y="709"/>
                    <a:pt x="1935" y="709"/>
                  </a:cubicBezTo>
                  <a:cubicBezTo>
                    <a:pt x="2562" y="709"/>
                    <a:pt x="2562" y="709"/>
                    <a:pt x="2562" y="709"/>
                  </a:cubicBezTo>
                  <a:cubicBezTo>
                    <a:pt x="2562" y="2447"/>
                    <a:pt x="2562" y="2447"/>
                    <a:pt x="2562" y="2447"/>
                  </a:cubicBezTo>
                  <a:cubicBezTo>
                    <a:pt x="2562" y="2462"/>
                    <a:pt x="2549" y="2475"/>
                    <a:pt x="2533" y="2475"/>
                  </a:cubicBezTo>
                  <a:cubicBezTo>
                    <a:pt x="800" y="2475"/>
                    <a:pt x="800" y="2475"/>
                    <a:pt x="800" y="2475"/>
                  </a:cubicBezTo>
                  <a:cubicBezTo>
                    <a:pt x="784" y="2475"/>
                    <a:pt x="770" y="2462"/>
                    <a:pt x="770" y="2447"/>
                  </a:cubicBezTo>
                  <a:cubicBezTo>
                    <a:pt x="770" y="1290"/>
                    <a:pt x="770" y="1290"/>
                    <a:pt x="770" y="1290"/>
                  </a:cubicBezTo>
                  <a:cubicBezTo>
                    <a:pt x="770" y="1273"/>
                    <a:pt x="756" y="1258"/>
                    <a:pt x="738" y="1258"/>
                  </a:cubicBezTo>
                  <a:cubicBezTo>
                    <a:pt x="720" y="1258"/>
                    <a:pt x="706" y="1273"/>
                    <a:pt x="706" y="1290"/>
                  </a:cubicBezTo>
                  <a:cubicBezTo>
                    <a:pt x="706" y="2447"/>
                    <a:pt x="706" y="2447"/>
                    <a:pt x="706" y="2447"/>
                  </a:cubicBezTo>
                  <a:cubicBezTo>
                    <a:pt x="706" y="2498"/>
                    <a:pt x="748" y="2539"/>
                    <a:pt x="800" y="2539"/>
                  </a:cubicBezTo>
                  <a:cubicBezTo>
                    <a:pt x="2533" y="2539"/>
                    <a:pt x="2533" y="2539"/>
                    <a:pt x="2533" y="2539"/>
                  </a:cubicBezTo>
                  <a:cubicBezTo>
                    <a:pt x="2585" y="2539"/>
                    <a:pt x="2627" y="2498"/>
                    <a:pt x="2627" y="2447"/>
                  </a:cubicBezTo>
                  <a:cubicBezTo>
                    <a:pt x="2627" y="677"/>
                    <a:pt x="2627" y="677"/>
                    <a:pt x="2627" y="677"/>
                  </a:cubicBezTo>
                  <a:cubicBezTo>
                    <a:pt x="2627" y="675"/>
                    <a:pt x="2627" y="672"/>
                    <a:pt x="2626" y="670"/>
                  </a:cubicBezTo>
                  <a:close/>
                  <a:moveTo>
                    <a:pt x="1967" y="108"/>
                  </a:moveTo>
                  <a:cubicBezTo>
                    <a:pt x="2127" y="265"/>
                    <a:pt x="2127" y="265"/>
                    <a:pt x="2127" y="265"/>
                  </a:cubicBezTo>
                  <a:cubicBezTo>
                    <a:pt x="2515" y="645"/>
                    <a:pt x="2515" y="645"/>
                    <a:pt x="2515" y="645"/>
                  </a:cubicBezTo>
                  <a:cubicBezTo>
                    <a:pt x="1967" y="645"/>
                    <a:pt x="1967" y="645"/>
                    <a:pt x="1967" y="645"/>
                  </a:cubicBezTo>
                  <a:lnTo>
                    <a:pt x="1967" y="108"/>
                  </a:lnTo>
                  <a:close/>
                  <a:moveTo>
                    <a:pt x="969" y="2089"/>
                  </a:moveTo>
                  <a:cubicBezTo>
                    <a:pt x="969" y="2071"/>
                    <a:pt x="983" y="2057"/>
                    <a:pt x="1001" y="2057"/>
                  </a:cubicBezTo>
                  <a:cubicBezTo>
                    <a:pt x="1636" y="2057"/>
                    <a:pt x="1636" y="2057"/>
                    <a:pt x="1636" y="2057"/>
                  </a:cubicBezTo>
                  <a:cubicBezTo>
                    <a:pt x="1654" y="2057"/>
                    <a:pt x="1668" y="2071"/>
                    <a:pt x="1668" y="2089"/>
                  </a:cubicBezTo>
                  <a:cubicBezTo>
                    <a:pt x="1668" y="2107"/>
                    <a:pt x="1654" y="2121"/>
                    <a:pt x="1636" y="2121"/>
                  </a:cubicBezTo>
                  <a:cubicBezTo>
                    <a:pt x="1001" y="2121"/>
                    <a:pt x="1001" y="2121"/>
                    <a:pt x="1001" y="2121"/>
                  </a:cubicBezTo>
                  <a:cubicBezTo>
                    <a:pt x="983" y="2121"/>
                    <a:pt x="969" y="2107"/>
                    <a:pt x="969" y="2089"/>
                  </a:cubicBezTo>
                  <a:close/>
                  <a:moveTo>
                    <a:pt x="2364" y="2089"/>
                  </a:moveTo>
                  <a:cubicBezTo>
                    <a:pt x="2364" y="2107"/>
                    <a:pt x="2349" y="2121"/>
                    <a:pt x="2332" y="2121"/>
                  </a:cubicBezTo>
                  <a:cubicBezTo>
                    <a:pt x="1992" y="2121"/>
                    <a:pt x="1992" y="2121"/>
                    <a:pt x="1992" y="2121"/>
                  </a:cubicBezTo>
                  <a:cubicBezTo>
                    <a:pt x="1974" y="2121"/>
                    <a:pt x="1959" y="2107"/>
                    <a:pt x="1959" y="2089"/>
                  </a:cubicBezTo>
                  <a:cubicBezTo>
                    <a:pt x="1959" y="2071"/>
                    <a:pt x="1974" y="2057"/>
                    <a:pt x="1992" y="2057"/>
                  </a:cubicBezTo>
                  <a:cubicBezTo>
                    <a:pt x="2332" y="2057"/>
                    <a:pt x="2332" y="2057"/>
                    <a:pt x="2332" y="2057"/>
                  </a:cubicBezTo>
                  <a:cubicBezTo>
                    <a:pt x="2349" y="2057"/>
                    <a:pt x="2364" y="2071"/>
                    <a:pt x="2364" y="2089"/>
                  </a:cubicBezTo>
                  <a:close/>
                  <a:moveTo>
                    <a:pt x="1001" y="1784"/>
                  </a:moveTo>
                  <a:cubicBezTo>
                    <a:pt x="1244" y="1784"/>
                    <a:pt x="1244" y="1784"/>
                    <a:pt x="1244" y="1784"/>
                  </a:cubicBezTo>
                  <a:cubicBezTo>
                    <a:pt x="1262" y="1784"/>
                    <a:pt x="1276" y="1798"/>
                    <a:pt x="1276" y="1816"/>
                  </a:cubicBezTo>
                  <a:cubicBezTo>
                    <a:pt x="1276" y="1834"/>
                    <a:pt x="1262" y="1848"/>
                    <a:pt x="1244" y="1848"/>
                  </a:cubicBezTo>
                  <a:cubicBezTo>
                    <a:pt x="1001" y="1848"/>
                    <a:pt x="1001" y="1848"/>
                    <a:pt x="1001" y="1848"/>
                  </a:cubicBezTo>
                  <a:cubicBezTo>
                    <a:pt x="983" y="1848"/>
                    <a:pt x="969" y="1834"/>
                    <a:pt x="969" y="1816"/>
                  </a:cubicBezTo>
                  <a:cubicBezTo>
                    <a:pt x="969" y="1798"/>
                    <a:pt x="983" y="1784"/>
                    <a:pt x="1001" y="1784"/>
                  </a:cubicBezTo>
                  <a:close/>
                  <a:moveTo>
                    <a:pt x="2364" y="1816"/>
                  </a:moveTo>
                  <a:cubicBezTo>
                    <a:pt x="2364" y="1834"/>
                    <a:pt x="2349" y="1848"/>
                    <a:pt x="2332" y="1848"/>
                  </a:cubicBezTo>
                  <a:cubicBezTo>
                    <a:pt x="1847" y="1848"/>
                    <a:pt x="1847" y="1848"/>
                    <a:pt x="1847" y="1848"/>
                  </a:cubicBezTo>
                  <a:cubicBezTo>
                    <a:pt x="1829" y="1848"/>
                    <a:pt x="1815" y="1834"/>
                    <a:pt x="1815" y="1816"/>
                  </a:cubicBezTo>
                  <a:cubicBezTo>
                    <a:pt x="1815" y="1798"/>
                    <a:pt x="1829" y="1784"/>
                    <a:pt x="1847" y="1784"/>
                  </a:cubicBezTo>
                  <a:cubicBezTo>
                    <a:pt x="2332" y="1784"/>
                    <a:pt x="2332" y="1784"/>
                    <a:pt x="2332" y="1784"/>
                  </a:cubicBezTo>
                  <a:cubicBezTo>
                    <a:pt x="2349" y="1784"/>
                    <a:pt x="2364" y="1798"/>
                    <a:pt x="2364" y="1816"/>
                  </a:cubicBezTo>
                  <a:close/>
                  <a:moveTo>
                    <a:pt x="1043" y="1543"/>
                  </a:moveTo>
                  <a:cubicBezTo>
                    <a:pt x="1043" y="1560"/>
                    <a:pt x="1029" y="1575"/>
                    <a:pt x="1011" y="1575"/>
                  </a:cubicBezTo>
                  <a:cubicBezTo>
                    <a:pt x="992" y="1575"/>
                    <a:pt x="992" y="1575"/>
                    <a:pt x="992" y="1575"/>
                  </a:cubicBezTo>
                  <a:cubicBezTo>
                    <a:pt x="974" y="1575"/>
                    <a:pt x="959" y="1560"/>
                    <a:pt x="959" y="1543"/>
                  </a:cubicBezTo>
                  <a:cubicBezTo>
                    <a:pt x="959" y="1525"/>
                    <a:pt x="974" y="1510"/>
                    <a:pt x="992" y="1510"/>
                  </a:cubicBezTo>
                  <a:cubicBezTo>
                    <a:pt x="1011" y="1510"/>
                    <a:pt x="1011" y="1510"/>
                    <a:pt x="1011" y="1510"/>
                  </a:cubicBezTo>
                  <a:cubicBezTo>
                    <a:pt x="1029" y="1510"/>
                    <a:pt x="1043" y="1525"/>
                    <a:pt x="1043" y="1543"/>
                  </a:cubicBezTo>
                  <a:close/>
                  <a:moveTo>
                    <a:pt x="2364" y="1543"/>
                  </a:moveTo>
                  <a:cubicBezTo>
                    <a:pt x="2364" y="1560"/>
                    <a:pt x="2349" y="1575"/>
                    <a:pt x="2332" y="1575"/>
                  </a:cubicBezTo>
                  <a:cubicBezTo>
                    <a:pt x="1713" y="1575"/>
                    <a:pt x="1713" y="1575"/>
                    <a:pt x="1713" y="1575"/>
                  </a:cubicBezTo>
                  <a:cubicBezTo>
                    <a:pt x="1695" y="1575"/>
                    <a:pt x="1681" y="1560"/>
                    <a:pt x="1681" y="1543"/>
                  </a:cubicBezTo>
                  <a:cubicBezTo>
                    <a:pt x="1681" y="1525"/>
                    <a:pt x="1695" y="1510"/>
                    <a:pt x="1713" y="1510"/>
                  </a:cubicBezTo>
                  <a:cubicBezTo>
                    <a:pt x="2332" y="1510"/>
                    <a:pt x="2332" y="1510"/>
                    <a:pt x="2332" y="1510"/>
                  </a:cubicBezTo>
                  <a:cubicBezTo>
                    <a:pt x="2349" y="1510"/>
                    <a:pt x="2364" y="1525"/>
                    <a:pt x="2364" y="1543"/>
                  </a:cubicBezTo>
                  <a:close/>
                  <a:moveTo>
                    <a:pt x="2364" y="1269"/>
                  </a:moveTo>
                  <a:cubicBezTo>
                    <a:pt x="2364" y="1287"/>
                    <a:pt x="2349" y="1302"/>
                    <a:pt x="2332" y="1302"/>
                  </a:cubicBezTo>
                  <a:cubicBezTo>
                    <a:pt x="1440" y="1302"/>
                    <a:pt x="1440" y="1302"/>
                    <a:pt x="1440" y="1302"/>
                  </a:cubicBezTo>
                  <a:cubicBezTo>
                    <a:pt x="1422" y="1302"/>
                    <a:pt x="1408" y="1287"/>
                    <a:pt x="1408" y="1269"/>
                  </a:cubicBezTo>
                  <a:cubicBezTo>
                    <a:pt x="1408" y="1252"/>
                    <a:pt x="1422" y="1237"/>
                    <a:pt x="1440" y="1237"/>
                  </a:cubicBezTo>
                  <a:cubicBezTo>
                    <a:pt x="2332" y="1237"/>
                    <a:pt x="2332" y="1237"/>
                    <a:pt x="2332" y="1237"/>
                  </a:cubicBezTo>
                  <a:cubicBezTo>
                    <a:pt x="2349" y="1237"/>
                    <a:pt x="2364" y="1252"/>
                    <a:pt x="2364" y="1269"/>
                  </a:cubicBezTo>
                  <a:close/>
                  <a:moveTo>
                    <a:pt x="2364" y="996"/>
                  </a:moveTo>
                  <a:cubicBezTo>
                    <a:pt x="2364" y="1014"/>
                    <a:pt x="2349" y="1028"/>
                    <a:pt x="2332" y="1028"/>
                  </a:cubicBezTo>
                  <a:cubicBezTo>
                    <a:pt x="1208" y="1028"/>
                    <a:pt x="1208" y="1028"/>
                    <a:pt x="1208" y="1028"/>
                  </a:cubicBezTo>
                  <a:cubicBezTo>
                    <a:pt x="1190" y="1028"/>
                    <a:pt x="1176" y="1014"/>
                    <a:pt x="1176" y="996"/>
                  </a:cubicBezTo>
                  <a:cubicBezTo>
                    <a:pt x="1176" y="978"/>
                    <a:pt x="1190" y="964"/>
                    <a:pt x="1208" y="964"/>
                  </a:cubicBezTo>
                  <a:cubicBezTo>
                    <a:pt x="2332" y="964"/>
                    <a:pt x="2332" y="964"/>
                    <a:pt x="2332" y="964"/>
                  </a:cubicBezTo>
                  <a:cubicBezTo>
                    <a:pt x="2349" y="964"/>
                    <a:pt x="2364" y="978"/>
                    <a:pt x="2364" y="996"/>
                  </a:cubicBezTo>
                  <a:close/>
                  <a:moveTo>
                    <a:pt x="969" y="723"/>
                  </a:moveTo>
                  <a:cubicBezTo>
                    <a:pt x="969" y="705"/>
                    <a:pt x="983" y="691"/>
                    <a:pt x="1001" y="691"/>
                  </a:cubicBezTo>
                  <a:cubicBezTo>
                    <a:pt x="1780" y="691"/>
                    <a:pt x="1780" y="691"/>
                    <a:pt x="1780" y="691"/>
                  </a:cubicBezTo>
                  <a:cubicBezTo>
                    <a:pt x="1798" y="691"/>
                    <a:pt x="1812" y="705"/>
                    <a:pt x="1812" y="723"/>
                  </a:cubicBezTo>
                  <a:cubicBezTo>
                    <a:pt x="1812" y="741"/>
                    <a:pt x="1798" y="755"/>
                    <a:pt x="1780" y="755"/>
                  </a:cubicBezTo>
                  <a:cubicBezTo>
                    <a:pt x="1001" y="755"/>
                    <a:pt x="1001" y="755"/>
                    <a:pt x="1001" y="755"/>
                  </a:cubicBezTo>
                  <a:cubicBezTo>
                    <a:pt x="983" y="755"/>
                    <a:pt x="969" y="741"/>
                    <a:pt x="969" y="723"/>
                  </a:cubicBezTo>
                  <a:close/>
                  <a:moveTo>
                    <a:pt x="969" y="449"/>
                  </a:moveTo>
                  <a:cubicBezTo>
                    <a:pt x="969" y="432"/>
                    <a:pt x="983" y="417"/>
                    <a:pt x="1001" y="417"/>
                  </a:cubicBezTo>
                  <a:cubicBezTo>
                    <a:pt x="1749" y="417"/>
                    <a:pt x="1749" y="417"/>
                    <a:pt x="1749" y="417"/>
                  </a:cubicBezTo>
                  <a:cubicBezTo>
                    <a:pt x="1767" y="417"/>
                    <a:pt x="1781" y="432"/>
                    <a:pt x="1781" y="449"/>
                  </a:cubicBezTo>
                  <a:cubicBezTo>
                    <a:pt x="1781" y="467"/>
                    <a:pt x="1767" y="482"/>
                    <a:pt x="1749" y="482"/>
                  </a:cubicBezTo>
                  <a:cubicBezTo>
                    <a:pt x="1001" y="482"/>
                    <a:pt x="1001" y="482"/>
                    <a:pt x="1001" y="482"/>
                  </a:cubicBezTo>
                  <a:cubicBezTo>
                    <a:pt x="983" y="482"/>
                    <a:pt x="969" y="467"/>
                    <a:pt x="969" y="449"/>
                  </a:cubicBezTo>
                  <a:close/>
                  <a:moveTo>
                    <a:pt x="1384" y="1871"/>
                  </a:moveTo>
                  <a:cubicBezTo>
                    <a:pt x="1386" y="1873"/>
                    <a:pt x="1389" y="1875"/>
                    <a:pt x="1391" y="1876"/>
                  </a:cubicBezTo>
                  <a:cubicBezTo>
                    <a:pt x="1392" y="1876"/>
                    <a:pt x="1392" y="1876"/>
                    <a:pt x="1392" y="1877"/>
                  </a:cubicBezTo>
                  <a:cubicBezTo>
                    <a:pt x="1866" y="2138"/>
                    <a:pt x="1866" y="2138"/>
                    <a:pt x="1866" y="2138"/>
                  </a:cubicBezTo>
                  <a:cubicBezTo>
                    <a:pt x="1871" y="2140"/>
                    <a:pt x="1876" y="2142"/>
                    <a:pt x="1882" y="2142"/>
                  </a:cubicBezTo>
                  <a:cubicBezTo>
                    <a:pt x="1890" y="2142"/>
                    <a:pt x="1898" y="2139"/>
                    <a:pt x="1904" y="2133"/>
                  </a:cubicBezTo>
                  <a:cubicBezTo>
                    <a:pt x="1914" y="2123"/>
                    <a:pt x="1917" y="2108"/>
                    <a:pt x="1911" y="2096"/>
                  </a:cubicBezTo>
                  <a:cubicBezTo>
                    <a:pt x="1676" y="1608"/>
                    <a:pt x="1676" y="1608"/>
                    <a:pt x="1676" y="1608"/>
                  </a:cubicBezTo>
                  <a:cubicBezTo>
                    <a:pt x="1676" y="1607"/>
                    <a:pt x="1676" y="1607"/>
                    <a:pt x="1676" y="1607"/>
                  </a:cubicBezTo>
                  <a:cubicBezTo>
                    <a:pt x="1674" y="1604"/>
                    <a:pt x="1673" y="1602"/>
                    <a:pt x="1671" y="1600"/>
                  </a:cubicBezTo>
                  <a:cubicBezTo>
                    <a:pt x="1671" y="1600"/>
                    <a:pt x="1671" y="1599"/>
                    <a:pt x="1671" y="1599"/>
                  </a:cubicBezTo>
                  <a:cubicBezTo>
                    <a:pt x="296" y="146"/>
                    <a:pt x="296" y="146"/>
                    <a:pt x="296" y="146"/>
                  </a:cubicBezTo>
                  <a:cubicBezTo>
                    <a:pt x="284" y="133"/>
                    <a:pt x="263" y="132"/>
                    <a:pt x="250" y="145"/>
                  </a:cubicBezTo>
                  <a:cubicBezTo>
                    <a:pt x="11" y="371"/>
                    <a:pt x="11" y="371"/>
                    <a:pt x="11" y="371"/>
                  </a:cubicBezTo>
                  <a:cubicBezTo>
                    <a:pt x="4" y="377"/>
                    <a:pt x="1" y="385"/>
                    <a:pt x="1" y="394"/>
                  </a:cubicBezTo>
                  <a:cubicBezTo>
                    <a:pt x="0" y="402"/>
                    <a:pt x="3" y="411"/>
                    <a:pt x="9" y="417"/>
                  </a:cubicBezTo>
                  <a:cubicBezTo>
                    <a:pt x="1384" y="1870"/>
                    <a:pt x="1384" y="1870"/>
                    <a:pt x="1384" y="1870"/>
                  </a:cubicBezTo>
                  <a:cubicBezTo>
                    <a:pt x="1384" y="1871"/>
                    <a:pt x="1384" y="1871"/>
                    <a:pt x="1384" y="1871"/>
                  </a:cubicBezTo>
                  <a:close/>
                  <a:moveTo>
                    <a:pt x="305" y="636"/>
                  </a:moveTo>
                  <a:cubicBezTo>
                    <a:pt x="498" y="453"/>
                    <a:pt x="498" y="453"/>
                    <a:pt x="498" y="453"/>
                  </a:cubicBezTo>
                  <a:cubicBezTo>
                    <a:pt x="546" y="504"/>
                    <a:pt x="546" y="504"/>
                    <a:pt x="546" y="504"/>
                  </a:cubicBezTo>
                  <a:cubicBezTo>
                    <a:pt x="353" y="686"/>
                    <a:pt x="353" y="686"/>
                    <a:pt x="353" y="686"/>
                  </a:cubicBezTo>
                  <a:lnTo>
                    <a:pt x="305" y="636"/>
                  </a:lnTo>
                  <a:close/>
                  <a:moveTo>
                    <a:pt x="1589" y="1607"/>
                  </a:moveTo>
                  <a:cubicBezTo>
                    <a:pt x="1484" y="1642"/>
                    <a:pt x="1484" y="1642"/>
                    <a:pt x="1484" y="1642"/>
                  </a:cubicBezTo>
                  <a:cubicBezTo>
                    <a:pt x="517" y="620"/>
                    <a:pt x="517" y="620"/>
                    <a:pt x="517" y="620"/>
                  </a:cubicBezTo>
                  <a:cubicBezTo>
                    <a:pt x="590" y="551"/>
                    <a:pt x="590" y="551"/>
                    <a:pt x="590" y="551"/>
                  </a:cubicBezTo>
                  <a:lnTo>
                    <a:pt x="1589" y="1607"/>
                  </a:lnTo>
                  <a:close/>
                  <a:moveTo>
                    <a:pt x="1773" y="1958"/>
                  </a:moveTo>
                  <a:cubicBezTo>
                    <a:pt x="1737" y="1993"/>
                    <a:pt x="1737" y="1993"/>
                    <a:pt x="1737" y="1993"/>
                  </a:cubicBezTo>
                  <a:cubicBezTo>
                    <a:pt x="1448" y="1834"/>
                    <a:pt x="1448" y="1834"/>
                    <a:pt x="1448" y="1834"/>
                  </a:cubicBezTo>
                  <a:cubicBezTo>
                    <a:pt x="1499" y="1705"/>
                    <a:pt x="1499" y="1705"/>
                    <a:pt x="1499" y="1705"/>
                  </a:cubicBezTo>
                  <a:cubicBezTo>
                    <a:pt x="1631" y="1661"/>
                    <a:pt x="1631" y="1661"/>
                    <a:pt x="1631" y="1661"/>
                  </a:cubicBezTo>
                  <a:lnTo>
                    <a:pt x="1773" y="1958"/>
                  </a:lnTo>
                  <a:close/>
                  <a:moveTo>
                    <a:pt x="470" y="664"/>
                  </a:moveTo>
                  <a:cubicBezTo>
                    <a:pt x="1437" y="1686"/>
                    <a:pt x="1437" y="1686"/>
                    <a:pt x="1437" y="1686"/>
                  </a:cubicBezTo>
                  <a:cubicBezTo>
                    <a:pt x="1396" y="1789"/>
                    <a:pt x="1396" y="1789"/>
                    <a:pt x="1396" y="1789"/>
                  </a:cubicBezTo>
                  <a:cubicBezTo>
                    <a:pt x="397" y="733"/>
                    <a:pt x="397" y="733"/>
                    <a:pt x="397" y="733"/>
                  </a:cubicBezTo>
                  <a:lnTo>
                    <a:pt x="470" y="664"/>
                  </a:lnTo>
                  <a:close/>
                  <a:moveTo>
                    <a:pt x="1796" y="2026"/>
                  </a:moveTo>
                  <a:cubicBezTo>
                    <a:pt x="1803" y="2019"/>
                    <a:pt x="1803" y="2019"/>
                    <a:pt x="1803" y="2019"/>
                  </a:cubicBezTo>
                  <a:cubicBezTo>
                    <a:pt x="1809" y="2033"/>
                    <a:pt x="1809" y="2033"/>
                    <a:pt x="1809" y="2033"/>
                  </a:cubicBezTo>
                  <a:lnTo>
                    <a:pt x="1796" y="2026"/>
                  </a:lnTo>
                  <a:close/>
                  <a:moveTo>
                    <a:pt x="271" y="213"/>
                  </a:moveTo>
                  <a:cubicBezTo>
                    <a:pt x="454" y="406"/>
                    <a:pt x="454" y="406"/>
                    <a:pt x="454" y="406"/>
                  </a:cubicBezTo>
                  <a:cubicBezTo>
                    <a:pt x="261" y="589"/>
                    <a:pt x="261" y="589"/>
                    <a:pt x="261" y="589"/>
                  </a:cubicBezTo>
                  <a:cubicBezTo>
                    <a:pt x="78" y="396"/>
                    <a:pt x="78" y="396"/>
                    <a:pt x="78" y="396"/>
                  </a:cubicBezTo>
                  <a:lnTo>
                    <a:pt x="271" y="213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28"/>
            <p:cNvSpPr>
              <a:spLocks noEditPoints="1"/>
            </p:cNvSpPr>
            <p:nvPr/>
          </p:nvSpPr>
          <p:spPr bwMode="auto">
            <a:xfrm>
              <a:off x="5334210" y="2268205"/>
              <a:ext cx="498859" cy="390708"/>
            </a:xfrm>
            <a:custGeom>
              <a:avLst/>
              <a:gdLst>
                <a:gd name="T0" fmla="*/ 155 w 1233"/>
                <a:gd name="T1" fmla="*/ 655 h 965"/>
                <a:gd name="T2" fmla="*/ 155 w 1233"/>
                <a:gd name="T3" fmla="*/ 965 h 965"/>
                <a:gd name="T4" fmla="*/ 1233 w 1233"/>
                <a:gd name="T5" fmla="*/ 810 h 965"/>
                <a:gd name="T6" fmla="*/ 1078 w 1233"/>
                <a:gd name="T7" fmla="*/ 939 h 965"/>
                <a:gd name="T8" fmla="*/ 26 w 1233"/>
                <a:gd name="T9" fmla="*/ 810 h 965"/>
                <a:gd name="T10" fmla="*/ 1078 w 1233"/>
                <a:gd name="T11" fmla="*/ 681 h 965"/>
                <a:gd name="T12" fmla="*/ 1078 w 1233"/>
                <a:gd name="T13" fmla="*/ 939 h 965"/>
                <a:gd name="T14" fmla="*/ 106 w 1233"/>
                <a:gd name="T15" fmla="*/ 810 h 965"/>
                <a:gd name="T16" fmla="*/ 274 w 1233"/>
                <a:gd name="T17" fmla="*/ 810 h 965"/>
                <a:gd name="T18" fmla="*/ 190 w 1233"/>
                <a:gd name="T19" fmla="*/ 868 h 965"/>
                <a:gd name="T20" fmla="*/ 190 w 1233"/>
                <a:gd name="T21" fmla="*/ 752 h 965"/>
                <a:gd name="T22" fmla="*/ 190 w 1233"/>
                <a:gd name="T23" fmla="*/ 868 h 965"/>
                <a:gd name="T24" fmla="*/ 319 w 1233"/>
                <a:gd name="T25" fmla="*/ 810 h 965"/>
                <a:gd name="T26" fmla="*/ 487 w 1233"/>
                <a:gd name="T27" fmla="*/ 810 h 965"/>
                <a:gd name="T28" fmla="*/ 403 w 1233"/>
                <a:gd name="T29" fmla="*/ 868 h 965"/>
                <a:gd name="T30" fmla="*/ 403 w 1233"/>
                <a:gd name="T31" fmla="*/ 752 h 965"/>
                <a:gd name="T32" fmla="*/ 403 w 1233"/>
                <a:gd name="T33" fmla="*/ 868 h 965"/>
                <a:gd name="T34" fmla="*/ 532 w 1233"/>
                <a:gd name="T35" fmla="*/ 810 h 965"/>
                <a:gd name="T36" fmla="*/ 700 w 1233"/>
                <a:gd name="T37" fmla="*/ 810 h 965"/>
                <a:gd name="T38" fmla="*/ 616 w 1233"/>
                <a:gd name="T39" fmla="*/ 868 h 965"/>
                <a:gd name="T40" fmla="*/ 616 w 1233"/>
                <a:gd name="T41" fmla="*/ 752 h 965"/>
                <a:gd name="T42" fmla="*/ 616 w 1233"/>
                <a:gd name="T43" fmla="*/ 868 h 965"/>
                <a:gd name="T44" fmla="*/ 745 w 1233"/>
                <a:gd name="T45" fmla="*/ 810 h 965"/>
                <a:gd name="T46" fmla="*/ 913 w 1233"/>
                <a:gd name="T47" fmla="*/ 810 h 965"/>
                <a:gd name="T48" fmla="*/ 829 w 1233"/>
                <a:gd name="T49" fmla="*/ 868 h 965"/>
                <a:gd name="T50" fmla="*/ 829 w 1233"/>
                <a:gd name="T51" fmla="*/ 752 h 965"/>
                <a:gd name="T52" fmla="*/ 829 w 1233"/>
                <a:gd name="T53" fmla="*/ 868 h 965"/>
                <a:gd name="T54" fmla="*/ 958 w 1233"/>
                <a:gd name="T55" fmla="*/ 810 h 965"/>
                <a:gd name="T56" fmla="*/ 1126 w 1233"/>
                <a:gd name="T57" fmla="*/ 810 h 965"/>
                <a:gd name="T58" fmla="*/ 1042 w 1233"/>
                <a:gd name="T59" fmla="*/ 868 h 965"/>
                <a:gd name="T60" fmla="*/ 1042 w 1233"/>
                <a:gd name="T61" fmla="*/ 752 h 965"/>
                <a:gd name="T62" fmla="*/ 1042 w 1233"/>
                <a:gd name="T63" fmla="*/ 868 h 965"/>
                <a:gd name="T64" fmla="*/ 964 w 1233"/>
                <a:gd name="T65" fmla="*/ 595 h 965"/>
                <a:gd name="T66" fmla="*/ 977 w 1233"/>
                <a:gd name="T67" fmla="*/ 13 h 965"/>
                <a:gd name="T68" fmla="*/ 711 w 1233"/>
                <a:gd name="T69" fmla="*/ 0 h 965"/>
                <a:gd name="T70" fmla="*/ 269 w 1233"/>
                <a:gd name="T71" fmla="*/ 0 h 965"/>
                <a:gd name="T72" fmla="*/ 256 w 1233"/>
                <a:gd name="T73" fmla="*/ 582 h 965"/>
                <a:gd name="T74" fmla="*/ 698 w 1233"/>
                <a:gd name="T75" fmla="*/ 26 h 965"/>
                <a:gd name="T76" fmla="*/ 623 w 1233"/>
                <a:gd name="T77" fmla="*/ 97 h 965"/>
                <a:gd name="T78" fmla="*/ 614 w 1233"/>
                <a:gd name="T79" fmla="*/ 93 h 965"/>
                <a:gd name="T80" fmla="*/ 535 w 1233"/>
                <a:gd name="T81" fmla="*/ 170 h 965"/>
                <a:gd name="T82" fmla="*/ 698 w 1233"/>
                <a:gd name="T83" fmla="*/ 26 h 965"/>
                <a:gd name="T84" fmla="*/ 509 w 1233"/>
                <a:gd name="T85" fmla="*/ 26 h 965"/>
                <a:gd name="T86" fmla="*/ 517 w 1233"/>
                <a:gd name="T87" fmla="*/ 215 h 965"/>
                <a:gd name="T88" fmla="*/ 531 w 1233"/>
                <a:gd name="T89" fmla="*/ 212 h 965"/>
                <a:gd name="T90" fmla="*/ 702 w 1233"/>
                <a:gd name="T91" fmla="*/ 212 h 965"/>
                <a:gd name="T92" fmla="*/ 724 w 1233"/>
                <a:gd name="T93" fmla="*/ 202 h 965"/>
                <a:gd name="T94" fmla="*/ 951 w 1233"/>
                <a:gd name="T95" fmla="*/ 26 h 965"/>
                <a:gd name="T96" fmla="*/ 282 w 1233"/>
                <a:gd name="T97" fmla="*/ 569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33" h="965">
                  <a:moveTo>
                    <a:pt x="1078" y="655"/>
                  </a:moveTo>
                  <a:cubicBezTo>
                    <a:pt x="155" y="655"/>
                    <a:pt x="155" y="655"/>
                    <a:pt x="155" y="655"/>
                  </a:cubicBezTo>
                  <a:cubicBezTo>
                    <a:pt x="69" y="655"/>
                    <a:pt x="0" y="725"/>
                    <a:pt x="0" y="810"/>
                  </a:cubicBezTo>
                  <a:cubicBezTo>
                    <a:pt x="0" y="896"/>
                    <a:pt x="69" y="965"/>
                    <a:pt x="155" y="965"/>
                  </a:cubicBezTo>
                  <a:cubicBezTo>
                    <a:pt x="1078" y="965"/>
                    <a:pt x="1078" y="965"/>
                    <a:pt x="1078" y="965"/>
                  </a:cubicBezTo>
                  <a:cubicBezTo>
                    <a:pt x="1163" y="965"/>
                    <a:pt x="1233" y="896"/>
                    <a:pt x="1233" y="810"/>
                  </a:cubicBezTo>
                  <a:cubicBezTo>
                    <a:pt x="1233" y="725"/>
                    <a:pt x="1163" y="655"/>
                    <a:pt x="1078" y="655"/>
                  </a:cubicBezTo>
                  <a:close/>
                  <a:moveTo>
                    <a:pt x="1078" y="939"/>
                  </a:moveTo>
                  <a:cubicBezTo>
                    <a:pt x="155" y="939"/>
                    <a:pt x="155" y="939"/>
                    <a:pt x="155" y="939"/>
                  </a:cubicBezTo>
                  <a:cubicBezTo>
                    <a:pt x="84" y="939"/>
                    <a:pt x="26" y="881"/>
                    <a:pt x="26" y="810"/>
                  </a:cubicBezTo>
                  <a:cubicBezTo>
                    <a:pt x="26" y="739"/>
                    <a:pt x="84" y="681"/>
                    <a:pt x="155" y="681"/>
                  </a:cubicBezTo>
                  <a:cubicBezTo>
                    <a:pt x="1078" y="681"/>
                    <a:pt x="1078" y="681"/>
                    <a:pt x="1078" y="681"/>
                  </a:cubicBezTo>
                  <a:cubicBezTo>
                    <a:pt x="1149" y="681"/>
                    <a:pt x="1207" y="739"/>
                    <a:pt x="1207" y="810"/>
                  </a:cubicBezTo>
                  <a:cubicBezTo>
                    <a:pt x="1207" y="881"/>
                    <a:pt x="1149" y="939"/>
                    <a:pt x="1078" y="939"/>
                  </a:cubicBezTo>
                  <a:close/>
                  <a:moveTo>
                    <a:pt x="190" y="726"/>
                  </a:moveTo>
                  <a:cubicBezTo>
                    <a:pt x="144" y="726"/>
                    <a:pt x="106" y="764"/>
                    <a:pt x="106" y="810"/>
                  </a:cubicBezTo>
                  <a:cubicBezTo>
                    <a:pt x="106" y="857"/>
                    <a:pt x="144" y="894"/>
                    <a:pt x="190" y="894"/>
                  </a:cubicBezTo>
                  <a:cubicBezTo>
                    <a:pt x="237" y="894"/>
                    <a:pt x="274" y="857"/>
                    <a:pt x="274" y="810"/>
                  </a:cubicBezTo>
                  <a:cubicBezTo>
                    <a:pt x="274" y="764"/>
                    <a:pt x="237" y="726"/>
                    <a:pt x="190" y="726"/>
                  </a:cubicBezTo>
                  <a:close/>
                  <a:moveTo>
                    <a:pt x="190" y="868"/>
                  </a:moveTo>
                  <a:cubicBezTo>
                    <a:pt x="158" y="868"/>
                    <a:pt x="132" y="842"/>
                    <a:pt x="132" y="810"/>
                  </a:cubicBezTo>
                  <a:cubicBezTo>
                    <a:pt x="132" y="778"/>
                    <a:pt x="158" y="752"/>
                    <a:pt x="190" y="752"/>
                  </a:cubicBezTo>
                  <a:cubicBezTo>
                    <a:pt x="222" y="752"/>
                    <a:pt x="248" y="778"/>
                    <a:pt x="248" y="810"/>
                  </a:cubicBezTo>
                  <a:cubicBezTo>
                    <a:pt x="248" y="842"/>
                    <a:pt x="222" y="868"/>
                    <a:pt x="190" y="868"/>
                  </a:cubicBezTo>
                  <a:close/>
                  <a:moveTo>
                    <a:pt x="403" y="726"/>
                  </a:moveTo>
                  <a:cubicBezTo>
                    <a:pt x="357" y="726"/>
                    <a:pt x="319" y="764"/>
                    <a:pt x="319" y="810"/>
                  </a:cubicBezTo>
                  <a:cubicBezTo>
                    <a:pt x="319" y="857"/>
                    <a:pt x="357" y="894"/>
                    <a:pt x="403" y="894"/>
                  </a:cubicBezTo>
                  <a:cubicBezTo>
                    <a:pt x="450" y="894"/>
                    <a:pt x="487" y="857"/>
                    <a:pt x="487" y="810"/>
                  </a:cubicBezTo>
                  <a:cubicBezTo>
                    <a:pt x="487" y="764"/>
                    <a:pt x="450" y="726"/>
                    <a:pt x="403" y="726"/>
                  </a:cubicBezTo>
                  <a:close/>
                  <a:moveTo>
                    <a:pt x="403" y="868"/>
                  </a:moveTo>
                  <a:cubicBezTo>
                    <a:pt x="371" y="868"/>
                    <a:pt x="345" y="842"/>
                    <a:pt x="345" y="810"/>
                  </a:cubicBezTo>
                  <a:cubicBezTo>
                    <a:pt x="345" y="778"/>
                    <a:pt x="371" y="752"/>
                    <a:pt x="403" y="752"/>
                  </a:cubicBezTo>
                  <a:cubicBezTo>
                    <a:pt x="435" y="752"/>
                    <a:pt x="461" y="778"/>
                    <a:pt x="461" y="810"/>
                  </a:cubicBezTo>
                  <a:cubicBezTo>
                    <a:pt x="461" y="842"/>
                    <a:pt x="435" y="868"/>
                    <a:pt x="403" y="868"/>
                  </a:cubicBezTo>
                  <a:close/>
                  <a:moveTo>
                    <a:pt x="616" y="726"/>
                  </a:moveTo>
                  <a:cubicBezTo>
                    <a:pt x="570" y="726"/>
                    <a:pt x="532" y="764"/>
                    <a:pt x="532" y="810"/>
                  </a:cubicBezTo>
                  <a:cubicBezTo>
                    <a:pt x="532" y="857"/>
                    <a:pt x="570" y="894"/>
                    <a:pt x="616" y="894"/>
                  </a:cubicBezTo>
                  <a:cubicBezTo>
                    <a:pt x="663" y="894"/>
                    <a:pt x="700" y="857"/>
                    <a:pt x="700" y="810"/>
                  </a:cubicBezTo>
                  <a:cubicBezTo>
                    <a:pt x="700" y="764"/>
                    <a:pt x="663" y="726"/>
                    <a:pt x="616" y="726"/>
                  </a:cubicBezTo>
                  <a:close/>
                  <a:moveTo>
                    <a:pt x="616" y="868"/>
                  </a:moveTo>
                  <a:cubicBezTo>
                    <a:pt x="584" y="868"/>
                    <a:pt x="558" y="842"/>
                    <a:pt x="558" y="810"/>
                  </a:cubicBezTo>
                  <a:cubicBezTo>
                    <a:pt x="558" y="778"/>
                    <a:pt x="584" y="752"/>
                    <a:pt x="616" y="752"/>
                  </a:cubicBezTo>
                  <a:cubicBezTo>
                    <a:pt x="648" y="752"/>
                    <a:pt x="674" y="778"/>
                    <a:pt x="674" y="810"/>
                  </a:cubicBezTo>
                  <a:cubicBezTo>
                    <a:pt x="674" y="842"/>
                    <a:pt x="648" y="868"/>
                    <a:pt x="616" y="868"/>
                  </a:cubicBezTo>
                  <a:close/>
                  <a:moveTo>
                    <a:pt x="829" y="726"/>
                  </a:moveTo>
                  <a:cubicBezTo>
                    <a:pt x="783" y="726"/>
                    <a:pt x="745" y="764"/>
                    <a:pt x="745" y="810"/>
                  </a:cubicBezTo>
                  <a:cubicBezTo>
                    <a:pt x="745" y="857"/>
                    <a:pt x="783" y="894"/>
                    <a:pt x="829" y="894"/>
                  </a:cubicBezTo>
                  <a:cubicBezTo>
                    <a:pt x="876" y="894"/>
                    <a:pt x="913" y="857"/>
                    <a:pt x="913" y="810"/>
                  </a:cubicBezTo>
                  <a:cubicBezTo>
                    <a:pt x="913" y="764"/>
                    <a:pt x="876" y="726"/>
                    <a:pt x="829" y="726"/>
                  </a:cubicBezTo>
                  <a:close/>
                  <a:moveTo>
                    <a:pt x="829" y="868"/>
                  </a:moveTo>
                  <a:cubicBezTo>
                    <a:pt x="797" y="868"/>
                    <a:pt x="771" y="842"/>
                    <a:pt x="771" y="810"/>
                  </a:cubicBezTo>
                  <a:cubicBezTo>
                    <a:pt x="771" y="778"/>
                    <a:pt x="797" y="752"/>
                    <a:pt x="829" y="752"/>
                  </a:cubicBezTo>
                  <a:cubicBezTo>
                    <a:pt x="861" y="752"/>
                    <a:pt x="887" y="778"/>
                    <a:pt x="887" y="810"/>
                  </a:cubicBezTo>
                  <a:cubicBezTo>
                    <a:pt x="887" y="842"/>
                    <a:pt x="861" y="868"/>
                    <a:pt x="829" y="868"/>
                  </a:cubicBezTo>
                  <a:close/>
                  <a:moveTo>
                    <a:pt x="1042" y="726"/>
                  </a:moveTo>
                  <a:cubicBezTo>
                    <a:pt x="996" y="726"/>
                    <a:pt x="958" y="764"/>
                    <a:pt x="958" y="810"/>
                  </a:cubicBezTo>
                  <a:cubicBezTo>
                    <a:pt x="958" y="857"/>
                    <a:pt x="996" y="894"/>
                    <a:pt x="1042" y="894"/>
                  </a:cubicBezTo>
                  <a:cubicBezTo>
                    <a:pt x="1089" y="894"/>
                    <a:pt x="1126" y="857"/>
                    <a:pt x="1126" y="810"/>
                  </a:cubicBezTo>
                  <a:cubicBezTo>
                    <a:pt x="1126" y="764"/>
                    <a:pt x="1089" y="726"/>
                    <a:pt x="1042" y="726"/>
                  </a:cubicBezTo>
                  <a:close/>
                  <a:moveTo>
                    <a:pt x="1042" y="868"/>
                  </a:moveTo>
                  <a:cubicBezTo>
                    <a:pt x="1010" y="868"/>
                    <a:pt x="984" y="842"/>
                    <a:pt x="984" y="810"/>
                  </a:cubicBezTo>
                  <a:cubicBezTo>
                    <a:pt x="984" y="778"/>
                    <a:pt x="1010" y="752"/>
                    <a:pt x="1042" y="752"/>
                  </a:cubicBezTo>
                  <a:cubicBezTo>
                    <a:pt x="1074" y="752"/>
                    <a:pt x="1100" y="778"/>
                    <a:pt x="1100" y="810"/>
                  </a:cubicBezTo>
                  <a:cubicBezTo>
                    <a:pt x="1100" y="842"/>
                    <a:pt x="1074" y="868"/>
                    <a:pt x="1042" y="868"/>
                  </a:cubicBezTo>
                  <a:close/>
                  <a:moveTo>
                    <a:pt x="269" y="595"/>
                  </a:moveTo>
                  <a:cubicBezTo>
                    <a:pt x="964" y="595"/>
                    <a:pt x="964" y="595"/>
                    <a:pt x="964" y="595"/>
                  </a:cubicBezTo>
                  <a:cubicBezTo>
                    <a:pt x="971" y="595"/>
                    <a:pt x="977" y="589"/>
                    <a:pt x="977" y="582"/>
                  </a:cubicBezTo>
                  <a:cubicBezTo>
                    <a:pt x="977" y="13"/>
                    <a:pt x="977" y="13"/>
                    <a:pt x="977" y="13"/>
                  </a:cubicBezTo>
                  <a:cubicBezTo>
                    <a:pt x="977" y="6"/>
                    <a:pt x="971" y="0"/>
                    <a:pt x="964" y="0"/>
                  </a:cubicBezTo>
                  <a:cubicBezTo>
                    <a:pt x="711" y="0"/>
                    <a:pt x="711" y="0"/>
                    <a:pt x="711" y="0"/>
                  </a:cubicBezTo>
                  <a:cubicBezTo>
                    <a:pt x="522" y="0"/>
                    <a:pt x="522" y="0"/>
                    <a:pt x="522" y="0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262" y="0"/>
                    <a:pt x="256" y="6"/>
                    <a:pt x="256" y="13"/>
                  </a:cubicBezTo>
                  <a:cubicBezTo>
                    <a:pt x="256" y="582"/>
                    <a:pt x="256" y="582"/>
                    <a:pt x="256" y="582"/>
                  </a:cubicBezTo>
                  <a:cubicBezTo>
                    <a:pt x="256" y="589"/>
                    <a:pt x="262" y="595"/>
                    <a:pt x="269" y="595"/>
                  </a:cubicBezTo>
                  <a:close/>
                  <a:moveTo>
                    <a:pt x="698" y="26"/>
                  </a:moveTo>
                  <a:cubicBezTo>
                    <a:pt x="698" y="171"/>
                    <a:pt x="698" y="171"/>
                    <a:pt x="698" y="171"/>
                  </a:cubicBezTo>
                  <a:cubicBezTo>
                    <a:pt x="623" y="97"/>
                    <a:pt x="623" y="97"/>
                    <a:pt x="623" y="97"/>
                  </a:cubicBezTo>
                  <a:cubicBezTo>
                    <a:pt x="621" y="94"/>
                    <a:pt x="618" y="93"/>
                    <a:pt x="614" y="93"/>
                  </a:cubicBezTo>
                  <a:cubicBezTo>
                    <a:pt x="614" y="93"/>
                    <a:pt x="614" y="93"/>
                    <a:pt x="614" y="93"/>
                  </a:cubicBezTo>
                  <a:cubicBezTo>
                    <a:pt x="610" y="93"/>
                    <a:pt x="607" y="94"/>
                    <a:pt x="605" y="97"/>
                  </a:cubicBezTo>
                  <a:cubicBezTo>
                    <a:pt x="535" y="170"/>
                    <a:pt x="535" y="170"/>
                    <a:pt x="535" y="170"/>
                  </a:cubicBezTo>
                  <a:cubicBezTo>
                    <a:pt x="535" y="26"/>
                    <a:pt x="535" y="26"/>
                    <a:pt x="535" y="26"/>
                  </a:cubicBezTo>
                  <a:lnTo>
                    <a:pt x="698" y="26"/>
                  </a:lnTo>
                  <a:close/>
                  <a:moveTo>
                    <a:pt x="282" y="26"/>
                  </a:moveTo>
                  <a:cubicBezTo>
                    <a:pt x="509" y="26"/>
                    <a:pt x="509" y="26"/>
                    <a:pt x="509" y="26"/>
                  </a:cubicBezTo>
                  <a:cubicBezTo>
                    <a:pt x="509" y="202"/>
                    <a:pt x="509" y="202"/>
                    <a:pt x="509" y="202"/>
                  </a:cubicBezTo>
                  <a:cubicBezTo>
                    <a:pt x="509" y="208"/>
                    <a:pt x="512" y="213"/>
                    <a:pt x="517" y="215"/>
                  </a:cubicBezTo>
                  <a:cubicBezTo>
                    <a:pt x="518" y="215"/>
                    <a:pt x="520" y="216"/>
                    <a:pt x="522" y="216"/>
                  </a:cubicBezTo>
                  <a:cubicBezTo>
                    <a:pt x="525" y="216"/>
                    <a:pt x="528" y="214"/>
                    <a:pt x="531" y="212"/>
                  </a:cubicBezTo>
                  <a:cubicBezTo>
                    <a:pt x="614" y="125"/>
                    <a:pt x="614" y="125"/>
                    <a:pt x="614" y="125"/>
                  </a:cubicBezTo>
                  <a:cubicBezTo>
                    <a:pt x="702" y="212"/>
                    <a:pt x="702" y="212"/>
                    <a:pt x="702" y="212"/>
                  </a:cubicBezTo>
                  <a:cubicBezTo>
                    <a:pt x="706" y="215"/>
                    <a:pt x="711" y="217"/>
                    <a:pt x="716" y="215"/>
                  </a:cubicBezTo>
                  <a:cubicBezTo>
                    <a:pt x="721" y="212"/>
                    <a:pt x="724" y="208"/>
                    <a:pt x="724" y="202"/>
                  </a:cubicBezTo>
                  <a:cubicBezTo>
                    <a:pt x="724" y="26"/>
                    <a:pt x="724" y="26"/>
                    <a:pt x="724" y="26"/>
                  </a:cubicBezTo>
                  <a:cubicBezTo>
                    <a:pt x="951" y="26"/>
                    <a:pt x="951" y="26"/>
                    <a:pt x="951" y="26"/>
                  </a:cubicBezTo>
                  <a:cubicBezTo>
                    <a:pt x="951" y="569"/>
                    <a:pt x="951" y="569"/>
                    <a:pt x="951" y="569"/>
                  </a:cubicBezTo>
                  <a:cubicBezTo>
                    <a:pt x="282" y="569"/>
                    <a:pt x="282" y="569"/>
                    <a:pt x="282" y="569"/>
                  </a:cubicBezTo>
                  <a:lnTo>
                    <a:pt x="282" y="26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Freeform 40"/>
            <p:cNvSpPr>
              <a:spLocks noEditPoints="1"/>
            </p:cNvSpPr>
            <p:nvPr/>
          </p:nvSpPr>
          <p:spPr bwMode="auto">
            <a:xfrm>
              <a:off x="7293219" y="2348436"/>
              <a:ext cx="627394" cy="310477"/>
            </a:xfrm>
            <a:custGeom>
              <a:avLst/>
              <a:gdLst>
                <a:gd name="T0" fmla="*/ 3096 w 3099"/>
                <a:gd name="T1" fmla="*/ 556 h 1531"/>
                <a:gd name="T2" fmla="*/ 2328 w 3099"/>
                <a:gd name="T3" fmla="*/ 28 h 1531"/>
                <a:gd name="T4" fmla="*/ 840 w 3099"/>
                <a:gd name="T5" fmla="*/ 184 h 1531"/>
                <a:gd name="T6" fmla="*/ 1195 w 3099"/>
                <a:gd name="T7" fmla="*/ 1345 h 1531"/>
                <a:gd name="T8" fmla="*/ 2300 w 3099"/>
                <a:gd name="T9" fmla="*/ 1345 h 1531"/>
                <a:gd name="T10" fmla="*/ 2916 w 3099"/>
                <a:gd name="T11" fmla="*/ 1345 h 1531"/>
                <a:gd name="T12" fmla="*/ 3096 w 3099"/>
                <a:gd name="T13" fmla="*/ 742 h 1531"/>
                <a:gd name="T14" fmla="*/ 3038 w 3099"/>
                <a:gd name="T15" fmla="*/ 701 h 1531"/>
                <a:gd name="T16" fmla="*/ 2807 w 3099"/>
                <a:gd name="T17" fmla="*/ 325 h 1531"/>
                <a:gd name="T18" fmla="*/ 2412 w 3099"/>
                <a:gd name="T19" fmla="*/ 701 h 1531"/>
                <a:gd name="T20" fmla="*/ 2412 w 3099"/>
                <a:gd name="T21" fmla="*/ 325 h 1531"/>
                <a:gd name="T22" fmla="*/ 2271 w 3099"/>
                <a:gd name="T23" fmla="*/ 57 h 1531"/>
                <a:gd name="T24" fmla="*/ 1664 w 3099"/>
                <a:gd name="T25" fmla="*/ 1287 h 1531"/>
                <a:gd name="T26" fmla="*/ 1651 w 3099"/>
                <a:gd name="T27" fmla="*/ 1218 h 1531"/>
                <a:gd name="T28" fmla="*/ 1623 w 3099"/>
                <a:gd name="T29" fmla="*/ 1159 h 1531"/>
                <a:gd name="T30" fmla="*/ 1574 w 3099"/>
                <a:gd name="T31" fmla="*/ 1108 h 1531"/>
                <a:gd name="T32" fmla="*/ 1518 w 3099"/>
                <a:gd name="T33" fmla="*/ 1074 h 1531"/>
                <a:gd name="T34" fmla="*/ 1427 w 3099"/>
                <a:gd name="T35" fmla="*/ 1055 h 1531"/>
                <a:gd name="T36" fmla="*/ 1335 w 3099"/>
                <a:gd name="T37" fmla="*/ 1074 h 1531"/>
                <a:gd name="T38" fmla="*/ 1279 w 3099"/>
                <a:gd name="T39" fmla="*/ 1108 h 1531"/>
                <a:gd name="T40" fmla="*/ 1230 w 3099"/>
                <a:gd name="T41" fmla="*/ 1159 h 1531"/>
                <a:gd name="T42" fmla="*/ 1202 w 3099"/>
                <a:gd name="T43" fmla="*/ 1218 h 1531"/>
                <a:gd name="T44" fmla="*/ 1189 w 3099"/>
                <a:gd name="T45" fmla="*/ 1287 h 1531"/>
                <a:gd name="T46" fmla="*/ 1427 w 3099"/>
                <a:gd name="T47" fmla="*/ 1474 h 1531"/>
                <a:gd name="T48" fmla="*/ 1427 w 3099"/>
                <a:gd name="T49" fmla="*/ 1112 h 1531"/>
                <a:gd name="T50" fmla="*/ 1427 w 3099"/>
                <a:gd name="T51" fmla="*/ 1474 h 1531"/>
                <a:gd name="T52" fmla="*/ 2504 w 3099"/>
                <a:gd name="T53" fmla="*/ 1293 h 1531"/>
                <a:gd name="T54" fmla="*/ 2865 w 3099"/>
                <a:gd name="T55" fmla="*/ 1313 h 1531"/>
                <a:gd name="T56" fmla="*/ 2920 w 3099"/>
                <a:gd name="T57" fmla="*/ 1264 h 1531"/>
                <a:gd name="T58" fmla="*/ 2903 w 3099"/>
                <a:gd name="T59" fmla="*/ 1199 h 1531"/>
                <a:gd name="T60" fmla="*/ 2865 w 3099"/>
                <a:gd name="T61" fmla="*/ 1140 h 1531"/>
                <a:gd name="T62" fmla="*/ 2817 w 3099"/>
                <a:gd name="T63" fmla="*/ 1096 h 1531"/>
                <a:gd name="T64" fmla="*/ 2748 w 3099"/>
                <a:gd name="T65" fmla="*/ 1065 h 1531"/>
                <a:gd name="T66" fmla="*/ 2637 w 3099"/>
                <a:gd name="T67" fmla="*/ 1060 h 1531"/>
                <a:gd name="T68" fmla="*/ 2576 w 3099"/>
                <a:gd name="T69" fmla="*/ 1083 h 1531"/>
                <a:gd name="T70" fmla="*/ 2518 w 3099"/>
                <a:gd name="T71" fmla="*/ 1124 h 1531"/>
                <a:gd name="T72" fmla="*/ 2479 w 3099"/>
                <a:gd name="T73" fmla="*/ 1177 h 1531"/>
                <a:gd name="T74" fmla="*/ 2452 w 3099"/>
                <a:gd name="T75" fmla="*/ 1243 h 1531"/>
                <a:gd name="T76" fmla="*/ 2328 w 3099"/>
                <a:gd name="T77" fmla="*/ 1287 h 1531"/>
                <a:gd name="T78" fmla="*/ 2441 w 3099"/>
                <a:gd name="T79" fmla="*/ 760 h 1531"/>
                <a:gd name="T80" fmla="*/ 3038 w 3099"/>
                <a:gd name="T81" fmla="*/ 1287 h 1531"/>
                <a:gd name="T82" fmla="*/ 703 w 3099"/>
                <a:gd name="T83" fmla="*/ 688 h 1531"/>
                <a:gd name="T84" fmla="*/ 28 w 3099"/>
                <a:gd name="T85" fmla="*/ 631 h 1531"/>
                <a:gd name="T86" fmla="*/ 732 w 3099"/>
                <a:gd name="T87" fmla="*/ 424 h 1531"/>
                <a:gd name="T88" fmla="*/ 279 w 3099"/>
                <a:gd name="T89" fmla="*/ 424 h 1531"/>
                <a:gd name="T90" fmla="*/ 732 w 3099"/>
                <a:gd name="T91" fmla="*/ 424 h 1531"/>
                <a:gd name="T92" fmla="*/ 308 w 3099"/>
                <a:gd name="T93" fmla="*/ 924 h 1531"/>
                <a:gd name="T94" fmla="*/ 703 w 3099"/>
                <a:gd name="T95" fmla="*/ 867 h 1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99" h="1531">
                  <a:moveTo>
                    <a:pt x="3099" y="729"/>
                  </a:moveTo>
                  <a:cubicBezTo>
                    <a:pt x="3099" y="725"/>
                    <a:pt x="3097" y="721"/>
                    <a:pt x="3096" y="717"/>
                  </a:cubicBezTo>
                  <a:cubicBezTo>
                    <a:pt x="3096" y="556"/>
                    <a:pt x="3096" y="556"/>
                    <a:pt x="3096" y="556"/>
                  </a:cubicBezTo>
                  <a:cubicBezTo>
                    <a:pt x="3096" y="397"/>
                    <a:pt x="2966" y="268"/>
                    <a:pt x="2807" y="268"/>
                  </a:cubicBezTo>
                  <a:cubicBezTo>
                    <a:pt x="2328" y="268"/>
                    <a:pt x="2328" y="268"/>
                    <a:pt x="2328" y="268"/>
                  </a:cubicBezTo>
                  <a:cubicBezTo>
                    <a:pt x="2328" y="28"/>
                    <a:pt x="2328" y="28"/>
                    <a:pt x="2328" y="28"/>
                  </a:cubicBezTo>
                  <a:cubicBezTo>
                    <a:pt x="2328" y="13"/>
                    <a:pt x="2316" y="0"/>
                    <a:pt x="2300" y="0"/>
                  </a:cubicBezTo>
                  <a:cubicBezTo>
                    <a:pt x="1024" y="0"/>
                    <a:pt x="1024" y="0"/>
                    <a:pt x="1024" y="0"/>
                  </a:cubicBezTo>
                  <a:cubicBezTo>
                    <a:pt x="922" y="0"/>
                    <a:pt x="840" y="83"/>
                    <a:pt x="840" y="184"/>
                  </a:cubicBezTo>
                  <a:cubicBezTo>
                    <a:pt x="840" y="1316"/>
                    <a:pt x="840" y="1316"/>
                    <a:pt x="840" y="1316"/>
                  </a:cubicBezTo>
                  <a:cubicBezTo>
                    <a:pt x="840" y="1332"/>
                    <a:pt x="852" y="1345"/>
                    <a:pt x="868" y="1345"/>
                  </a:cubicBezTo>
                  <a:cubicBezTo>
                    <a:pt x="1195" y="1345"/>
                    <a:pt x="1195" y="1345"/>
                    <a:pt x="1195" y="1345"/>
                  </a:cubicBezTo>
                  <a:cubicBezTo>
                    <a:pt x="1219" y="1452"/>
                    <a:pt x="1314" y="1531"/>
                    <a:pt x="1427" y="1531"/>
                  </a:cubicBezTo>
                  <a:cubicBezTo>
                    <a:pt x="1539" y="1531"/>
                    <a:pt x="1634" y="1453"/>
                    <a:pt x="1658" y="1345"/>
                  </a:cubicBezTo>
                  <a:cubicBezTo>
                    <a:pt x="2300" y="1345"/>
                    <a:pt x="2300" y="1345"/>
                    <a:pt x="2300" y="1345"/>
                  </a:cubicBezTo>
                  <a:cubicBezTo>
                    <a:pt x="2453" y="1345"/>
                    <a:pt x="2453" y="1345"/>
                    <a:pt x="2453" y="1345"/>
                  </a:cubicBezTo>
                  <a:cubicBezTo>
                    <a:pt x="2477" y="1452"/>
                    <a:pt x="2572" y="1531"/>
                    <a:pt x="2685" y="1531"/>
                  </a:cubicBezTo>
                  <a:cubicBezTo>
                    <a:pt x="2797" y="1531"/>
                    <a:pt x="2892" y="1453"/>
                    <a:pt x="2916" y="1345"/>
                  </a:cubicBezTo>
                  <a:cubicBezTo>
                    <a:pt x="3067" y="1345"/>
                    <a:pt x="3067" y="1345"/>
                    <a:pt x="3067" y="1345"/>
                  </a:cubicBezTo>
                  <a:cubicBezTo>
                    <a:pt x="3083" y="1345"/>
                    <a:pt x="3096" y="1332"/>
                    <a:pt x="3096" y="1316"/>
                  </a:cubicBezTo>
                  <a:cubicBezTo>
                    <a:pt x="3096" y="742"/>
                    <a:pt x="3096" y="742"/>
                    <a:pt x="3096" y="742"/>
                  </a:cubicBezTo>
                  <a:cubicBezTo>
                    <a:pt x="3097" y="738"/>
                    <a:pt x="3099" y="734"/>
                    <a:pt x="3099" y="729"/>
                  </a:cubicBezTo>
                  <a:close/>
                  <a:moveTo>
                    <a:pt x="3038" y="556"/>
                  </a:moveTo>
                  <a:cubicBezTo>
                    <a:pt x="3038" y="701"/>
                    <a:pt x="3038" y="701"/>
                    <a:pt x="3038" y="701"/>
                  </a:cubicBezTo>
                  <a:cubicBezTo>
                    <a:pt x="2469" y="701"/>
                    <a:pt x="2469" y="701"/>
                    <a:pt x="2469" y="701"/>
                  </a:cubicBezTo>
                  <a:cubicBezTo>
                    <a:pt x="2469" y="325"/>
                    <a:pt x="2469" y="325"/>
                    <a:pt x="2469" y="325"/>
                  </a:cubicBezTo>
                  <a:cubicBezTo>
                    <a:pt x="2807" y="325"/>
                    <a:pt x="2807" y="325"/>
                    <a:pt x="2807" y="325"/>
                  </a:cubicBezTo>
                  <a:cubicBezTo>
                    <a:pt x="2935" y="325"/>
                    <a:pt x="3038" y="429"/>
                    <a:pt x="3038" y="556"/>
                  </a:cubicBezTo>
                  <a:close/>
                  <a:moveTo>
                    <a:pt x="2412" y="325"/>
                  </a:moveTo>
                  <a:cubicBezTo>
                    <a:pt x="2412" y="701"/>
                    <a:pt x="2412" y="701"/>
                    <a:pt x="2412" y="701"/>
                  </a:cubicBezTo>
                  <a:cubicBezTo>
                    <a:pt x="2328" y="701"/>
                    <a:pt x="2328" y="701"/>
                    <a:pt x="2328" y="701"/>
                  </a:cubicBezTo>
                  <a:cubicBezTo>
                    <a:pt x="2328" y="325"/>
                    <a:pt x="2328" y="325"/>
                    <a:pt x="2328" y="325"/>
                  </a:cubicBezTo>
                  <a:lnTo>
                    <a:pt x="2412" y="325"/>
                  </a:lnTo>
                  <a:close/>
                  <a:moveTo>
                    <a:pt x="897" y="184"/>
                  </a:moveTo>
                  <a:cubicBezTo>
                    <a:pt x="897" y="114"/>
                    <a:pt x="954" y="57"/>
                    <a:pt x="1024" y="57"/>
                  </a:cubicBezTo>
                  <a:cubicBezTo>
                    <a:pt x="2271" y="57"/>
                    <a:pt x="2271" y="57"/>
                    <a:pt x="2271" y="57"/>
                  </a:cubicBezTo>
                  <a:cubicBezTo>
                    <a:pt x="2271" y="296"/>
                    <a:pt x="2271" y="296"/>
                    <a:pt x="2271" y="296"/>
                  </a:cubicBezTo>
                  <a:cubicBezTo>
                    <a:pt x="2271" y="1287"/>
                    <a:pt x="2271" y="1287"/>
                    <a:pt x="2271" y="1287"/>
                  </a:cubicBezTo>
                  <a:cubicBezTo>
                    <a:pt x="1664" y="1287"/>
                    <a:pt x="1664" y="1287"/>
                    <a:pt x="1664" y="1287"/>
                  </a:cubicBezTo>
                  <a:cubicBezTo>
                    <a:pt x="1664" y="1279"/>
                    <a:pt x="1663" y="1272"/>
                    <a:pt x="1662" y="1264"/>
                  </a:cubicBezTo>
                  <a:cubicBezTo>
                    <a:pt x="1661" y="1257"/>
                    <a:pt x="1660" y="1250"/>
                    <a:pt x="1659" y="1243"/>
                  </a:cubicBezTo>
                  <a:cubicBezTo>
                    <a:pt x="1657" y="1235"/>
                    <a:pt x="1654" y="1227"/>
                    <a:pt x="1651" y="1218"/>
                  </a:cubicBezTo>
                  <a:cubicBezTo>
                    <a:pt x="1649" y="1212"/>
                    <a:pt x="1648" y="1205"/>
                    <a:pt x="1645" y="1199"/>
                  </a:cubicBezTo>
                  <a:cubicBezTo>
                    <a:pt x="1641" y="1191"/>
                    <a:pt x="1637" y="1184"/>
                    <a:pt x="1633" y="1177"/>
                  </a:cubicBezTo>
                  <a:cubicBezTo>
                    <a:pt x="1629" y="1171"/>
                    <a:pt x="1627" y="1165"/>
                    <a:pt x="1623" y="1159"/>
                  </a:cubicBezTo>
                  <a:cubicBezTo>
                    <a:pt x="1618" y="1152"/>
                    <a:pt x="1612" y="1146"/>
                    <a:pt x="1607" y="1140"/>
                  </a:cubicBezTo>
                  <a:cubicBezTo>
                    <a:pt x="1602" y="1135"/>
                    <a:pt x="1599" y="1129"/>
                    <a:pt x="1594" y="1124"/>
                  </a:cubicBezTo>
                  <a:cubicBezTo>
                    <a:pt x="1588" y="1118"/>
                    <a:pt x="1581" y="1113"/>
                    <a:pt x="1574" y="1108"/>
                  </a:cubicBezTo>
                  <a:cubicBezTo>
                    <a:pt x="1569" y="1104"/>
                    <a:pt x="1564" y="1099"/>
                    <a:pt x="1559" y="1096"/>
                  </a:cubicBezTo>
                  <a:cubicBezTo>
                    <a:pt x="1551" y="1091"/>
                    <a:pt x="1543" y="1087"/>
                    <a:pt x="1535" y="1083"/>
                  </a:cubicBezTo>
                  <a:cubicBezTo>
                    <a:pt x="1530" y="1080"/>
                    <a:pt x="1524" y="1076"/>
                    <a:pt x="1518" y="1074"/>
                  </a:cubicBezTo>
                  <a:cubicBezTo>
                    <a:pt x="1509" y="1070"/>
                    <a:pt x="1500" y="1068"/>
                    <a:pt x="1490" y="1065"/>
                  </a:cubicBezTo>
                  <a:cubicBezTo>
                    <a:pt x="1485" y="1063"/>
                    <a:pt x="1480" y="1061"/>
                    <a:pt x="1474" y="1060"/>
                  </a:cubicBezTo>
                  <a:cubicBezTo>
                    <a:pt x="1459" y="1057"/>
                    <a:pt x="1443" y="1055"/>
                    <a:pt x="1427" y="1055"/>
                  </a:cubicBezTo>
                  <a:cubicBezTo>
                    <a:pt x="1410" y="1055"/>
                    <a:pt x="1394" y="1057"/>
                    <a:pt x="1379" y="1060"/>
                  </a:cubicBezTo>
                  <a:cubicBezTo>
                    <a:pt x="1374" y="1061"/>
                    <a:pt x="1369" y="1063"/>
                    <a:pt x="1363" y="1065"/>
                  </a:cubicBezTo>
                  <a:cubicBezTo>
                    <a:pt x="1354" y="1068"/>
                    <a:pt x="1344" y="1070"/>
                    <a:pt x="1335" y="1074"/>
                  </a:cubicBezTo>
                  <a:cubicBezTo>
                    <a:pt x="1329" y="1076"/>
                    <a:pt x="1324" y="1080"/>
                    <a:pt x="1318" y="1083"/>
                  </a:cubicBezTo>
                  <a:cubicBezTo>
                    <a:pt x="1310" y="1087"/>
                    <a:pt x="1302" y="1091"/>
                    <a:pt x="1295" y="1096"/>
                  </a:cubicBezTo>
                  <a:cubicBezTo>
                    <a:pt x="1289" y="1099"/>
                    <a:pt x="1284" y="1104"/>
                    <a:pt x="1279" y="1108"/>
                  </a:cubicBezTo>
                  <a:cubicBezTo>
                    <a:pt x="1273" y="1113"/>
                    <a:pt x="1266" y="1118"/>
                    <a:pt x="1260" y="1124"/>
                  </a:cubicBezTo>
                  <a:cubicBezTo>
                    <a:pt x="1255" y="1129"/>
                    <a:pt x="1251" y="1135"/>
                    <a:pt x="1246" y="1140"/>
                  </a:cubicBezTo>
                  <a:cubicBezTo>
                    <a:pt x="1241" y="1146"/>
                    <a:pt x="1235" y="1152"/>
                    <a:pt x="1230" y="1159"/>
                  </a:cubicBezTo>
                  <a:cubicBezTo>
                    <a:pt x="1227" y="1165"/>
                    <a:pt x="1224" y="1171"/>
                    <a:pt x="1220" y="1177"/>
                  </a:cubicBezTo>
                  <a:cubicBezTo>
                    <a:pt x="1216" y="1184"/>
                    <a:pt x="1212" y="1191"/>
                    <a:pt x="1208" y="1199"/>
                  </a:cubicBezTo>
                  <a:cubicBezTo>
                    <a:pt x="1206" y="1205"/>
                    <a:pt x="1204" y="1212"/>
                    <a:pt x="1202" y="1218"/>
                  </a:cubicBezTo>
                  <a:cubicBezTo>
                    <a:pt x="1199" y="1227"/>
                    <a:pt x="1196" y="1235"/>
                    <a:pt x="1194" y="1243"/>
                  </a:cubicBezTo>
                  <a:cubicBezTo>
                    <a:pt x="1193" y="1250"/>
                    <a:pt x="1193" y="1257"/>
                    <a:pt x="1192" y="1264"/>
                  </a:cubicBezTo>
                  <a:cubicBezTo>
                    <a:pt x="1191" y="1272"/>
                    <a:pt x="1189" y="1279"/>
                    <a:pt x="1189" y="1287"/>
                  </a:cubicBezTo>
                  <a:cubicBezTo>
                    <a:pt x="897" y="1287"/>
                    <a:pt x="897" y="1287"/>
                    <a:pt x="897" y="1287"/>
                  </a:cubicBezTo>
                  <a:lnTo>
                    <a:pt x="897" y="184"/>
                  </a:lnTo>
                  <a:close/>
                  <a:moveTo>
                    <a:pt x="1427" y="1474"/>
                  </a:moveTo>
                  <a:cubicBezTo>
                    <a:pt x="1334" y="1474"/>
                    <a:pt x="1257" y="1405"/>
                    <a:pt x="1247" y="1314"/>
                  </a:cubicBezTo>
                  <a:cubicBezTo>
                    <a:pt x="1246" y="1307"/>
                    <a:pt x="1246" y="1300"/>
                    <a:pt x="1246" y="1293"/>
                  </a:cubicBezTo>
                  <a:cubicBezTo>
                    <a:pt x="1246" y="1194"/>
                    <a:pt x="1327" y="1112"/>
                    <a:pt x="1427" y="1112"/>
                  </a:cubicBezTo>
                  <a:cubicBezTo>
                    <a:pt x="1526" y="1112"/>
                    <a:pt x="1607" y="1194"/>
                    <a:pt x="1607" y="1293"/>
                  </a:cubicBezTo>
                  <a:cubicBezTo>
                    <a:pt x="1607" y="1300"/>
                    <a:pt x="1607" y="1307"/>
                    <a:pt x="1606" y="1313"/>
                  </a:cubicBezTo>
                  <a:cubicBezTo>
                    <a:pt x="1596" y="1405"/>
                    <a:pt x="1519" y="1474"/>
                    <a:pt x="1427" y="1474"/>
                  </a:cubicBezTo>
                  <a:close/>
                  <a:moveTo>
                    <a:pt x="2685" y="1474"/>
                  </a:moveTo>
                  <a:cubicBezTo>
                    <a:pt x="2592" y="1474"/>
                    <a:pt x="2515" y="1405"/>
                    <a:pt x="2505" y="1314"/>
                  </a:cubicBezTo>
                  <a:cubicBezTo>
                    <a:pt x="2504" y="1307"/>
                    <a:pt x="2504" y="1300"/>
                    <a:pt x="2504" y="1293"/>
                  </a:cubicBezTo>
                  <a:cubicBezTo>
                    <a:pt x="2504" y="1194"/>
                    <a:pt x="2585" y="1112"/>
                    <a:pt x="2685" y="1112"/>
                  </a:cubicBezTo>
                  <a:cubicBezTo>
                    <a:pt x="2784" y="1112"/>
                    <a:pt x="2865" y="1194"/>
                    <a:pt x="2865" y="1293"/>
                  </a:cubicBezTo>
                  <a:cubicBezTo>
                    <a:pt x="2865" y="1300"/>
                    <a:pt x="2865" y="1307"/>
                    <a:pt x="2865" y="1313"/>
                  </a:cubicBezTo>
                  <a:cubicBezTo>
                    <a:pt x="2854" y="1405"/>
                    <a:pt x="2777" y="1474"/>
                    <a:pt x="2685" y="1474"/>
                  </a:cubicBezTo>
                  <a:close/>
                  <a:moveTo>
                    <a:pt x="2923" y="1287"/>
                  </a:moveTo>
                  <a:cubicBezTo>
                    <a:pt x="2922" y="1279"/>
                    <a:pt x="2921" y="1272"/>
                    <a:pt x="2920" y="1264"/>
                  </a:cubicBezTo>
                  <a:cubicBezTo>
                    <a:pt x="2919" y="1257"/>
                    <a:pt x="2918" y="1250"/>
                    <a:pt x="2917" y="1243"/>
                  </a:cubicBezTo>
                  <a:cubicBezTo>
                    <a:pt x="2915" y="1235"/>
                    <a:pt x="2912" y="1227"/>
                    <a:pt x="2909" y="1218"/>
                  </a:cubicBezTo>
                  <a:cubicBezTo>
                    <a:pt x="2907" y="1212"/>
                    <a:pt x="2906" y="1205"/>
                    <a:pt x="2903" y="1199"/>
                  </a:cubicBezTo>
                  <a:cubicBezTo>
                    <a:pt x="2900" y="1191"/>
                    <a:pt x="2895" y="1184"/>
                    <a:pt x="2891" y="1177"/>
                  </a:cubicBezTo>
                  <a:cubicBezTo>
                    <a:pt x="2887" y="1171"/>
                    <a:pt x="2885" y="1165"/>
                    <a:pt x="2881" y="1159"/>
                  </a:cubicBezTo>
                  <a:cubicBezTo>
                    <a:pt x="2876" y="1152"/>
                    <a:pt x="2870" y="1146"/>
                    <a:pt x="2865" y="1140"/>
                  </a:cubicBezTo>
                  <a:cubicBezTo>
                    <a:pt x="2860" y="1135"/>
                    <a:pt x="2857" y="1129"/>
                    <a:pt x="2852" y="1124"/>
                  </a:cubicBezTo>
                  <a:cubicBezTo>
                    <a:pt x="2846" y="1118"/>
                    <a:pt x="2839" y="1113"/>
                    <a:pt x="2832" y="1108"/>
                  </a:cubicBezTo>
                  <a:cubicBezTo>
                    <a:pt x="2827" y="1104"/>
                    <a:pt x="2822" y="1099"/>
                    <a:pt x="2817" y="1096"/>
                  </a:cubicBezTo>
                  <a:cubicBezTo>
                    <a:pt x="2809" y="1091"/>
                    <a:pt x="2801" y="1087"/>
                    <a:pt x="2793" y="1083"/>
                  </a:cubicBezTo>
                  <a:cubicBezTo>
                    <a:pt x="2788" y="1080"/>
                    <a:pt x="2782" y="1076"/>
                    <a:pt x="2777" y="1074"/>
                  </a:cubicBezTo>
                  <a:cubicBezTo>
                    <a:pt x="2767" y="1070"/>
                    <a:pt x="2758" y="1068"/>
                    <a:pt x="2748" y="1065"/>
                  </a:cubicBezTo>
                  <a:cubicBezTo>
                    <a:pt x="2743" y="1063"/>
                    <a:pt x="2738" y="1061"/>
                    <a:pt x="2732" y="1060"/>
                  </a:cubicBezTo>
                  <a:cubicBezTo>
                    <a:pt x="2717" y="1057"/>
                    <a:pt x="2701" y="1055"/>
                    <a:pt x="2685" y="1055"/>
                  </a:cubicBezTo>
                  <a:cubicBezTo>
                    <a:pt x="2668" y="1055"/>
                    <a:pt x="2653" y="1057"/>
                    <a:pt x="2637" y="1060"/>
                  </a:cubicBezTo>
                  <a:cubicBezTo>
                    <a:pt x="2632" y="1061"/>
                    <a:pt x="2627" y="1063"/>
                    <a:pt x="2621" y="1065"/>
                  </a:cubicBezTo>
                  <a:cubicBezTo>
                    <a:pt x="2612" y="1068"/>
                    <a:pt x="2602" y="1070"/>
                    <a:pt x="2593" y="1074"/>
                  </a:cubicBezTo>
                  <a:cubicBezTo>
                    <a:pt x="2587" y="1076"/>
                    <a:pt x="2582" y="1080"/>
                    <a:pt x="2576" y="1083"/>
                  </a:cubicBezTo>
                  <a:cubicBezTo>
                    <a:pt x="2568" y="1087"/>
                    <a:pt x="2560" y="1091"/>
                    <a:pt x="2553" y="1096"/>
                  </a:cubicBezTo>
                  <a:cubicBezTo>
                    <a:pt x="2547" y="1099"/>
                    <a:pt x="2542" y="1104"/>
                    <a:pt x="2537" y="1108"/>
                  </a:cubicBezTo>
                  <a:cubicBezTo>
                    <a:pt x="2530" y="1113"/>
                    <a:pt x="2524" y="1118"/>
                    <a:pt x="2518" y="1124"/>
                  </a:cubicBezTo>
                  <a:cubicBezTo>
                    <a:pt x="2513" y="1129"/>
                    <a:pt x="2509" y="1135"/>
                    <a:pt x="2504" y="1140"/>
                  </a:cubicBezTo>
                  <a:cubicBezTo>
                    <a:pt x="2499" y="1146"/>
                    <a:pt x="2493" y="1152"/>
                    <a:pt x="2489" y="1159"/>
                  </a:cubicBezTo>
                  <a:cubicBezTo>
                    <a:pt x="2485" y="1165"/>
                    <a:pt x="2482" y="1171"/>
                    <a:pt x="2479" y="1177"/>
                  </a:cubicBezTo>
                  <a:cubicBezTo>
                    <a:pt x="2474" y="1184"/>
                    <a:pt x="2470" y="1191"/>
                    <a:pt x="2466" y="1199"/>
                  </a:cubicBezTo>
                  <a:cubicBezTo>
                    <a:pt x="2464" y="1205"/>
                    <a:pt x="2462" y="1212"/>
                    <a:pt x="2460" y="1218"/>
                  </a:cubicBezTo>
                  <a:cubicBezTo>
                    <a:pt x="2457" y="1227"/>
                    <a:pt x="2454" y="1235"/>
                    <a:pt x="2452" y="1243"/>
                  </a:cubicBezTo>
                  <a:cubicBezTo>
                    <a:pt x="2451" y="1250"/>
                    <a:pt x="2451" y="1257"/>
                    <a:pt x="2450" y="1264"/>
                  </a:cubicBezTo>
                  <a:cubicBezTo>
                    <a:pt x="2449" y="1272"/>
                    <a:pt x="2447" y="1279"/>
                    <a:pt x="2447" y="1287"/>
                  </a:cubicBezTo>
                  <a:cubicBezTo>
                    <a:pt x="2328" y="1287"/>
                    <a:pt x="2328" y="1287"/>
                    <a:pt x="2328" y="1287"/>
                  </a:cubicBezTo>
                  <a:cubicBezTo>
                    <a:pt x="2328" y="758"/>
                    <a:pt x="2328" y="758"/>
                    <a:pt x="2328" y="758"/>
                  </a:cubicBezTo>
                  <a:cubicBezTo>
                    <a:pt x="2432" y="758"/>
                    <a:pt x="2432" y="758"/>
                    <a:pt x="2432" y="758"/>
                  </a:cubicBezTo>
                  <a:cubicBezTo>
                    <a:pt x="2435" y="759"/>
                    <a:pt x="2438" y="760"/>
                    <a:pt x="2441" y="760"/>
                  </a:cubicBezTo>
                  <a:cubicBezTo>
                    <a:pt x="2444" y="760"/>
                    <a:pt x="2447" y="759"/>
                    <a:pt x="2450" y="758"/>
                  </a:cubicBezTo>
                  <a:cubicBezTo>
                    <a:pt x="3038" y="758"/>
                    <a:pt x="3038" y="758"/>
                    <a:pt x="3038" y="758"/>
                  </a:cubicBezTo>
                  <a:cubicBezTo>
                    <a:pt x="3038" y="1287"/>
                    <a:pt x="3038" y="1287"/>
                    <a:pt x="3038" y="1287"/>
                  </a:cubicBezTo>
                  <a:lnTo>
                    <a:pt x="2923" y="1287"/>
                  </a:lnTo>
                  <a:close/>
                  <a:moveTo>
                    <a:pt x="732" y="660"/>
                  </a:moveTo>
                  <a:cubicBezTo>
                    <a:pt x="732" y="676"/>
                    <a:pt x="719" y="688"/>
                    <a:pt x="703" y="688"/>
                  </a:cubicBezTo>
                  <a:cubicBezTo>
                    <a:pt x="28" y="688"/>
                    <a:pt x="28" y="688"/>
                    <a:pt x="28" y="688"/>
                  </a:cubicBezTo>
                  <a:cubicBezTo>
                    <a:pt x="12" y="688"/>
                    <a:pt x="0" y="676"/>
                    <a:pt x="0" y="660"/>
                  </a:cubicBezTo>
                  <a:cubicBezTo>
                    <a:pt x="0" y="644"/>
                    <a:pt x="12" y="631"/>
                    <a:pt x="28" y="631"/>
                  </a:cubicBezTo>
                  <a:cubicBezTo>
                    <a:pt x="703" y="631"/>
                    <a:pt x="703" y="631"/>
                    <a:pt x="703" y="631"/>
                  </a:cubicBezTo>
                  <a:cubicBezTo>
                    <a:pt x="719" y="631"/>
                    <a:pt x="732" y="644"/>
                    <a:pt x="732" y="660"/>
                  </a:cubicBezTo>
                  <a:close/>
                  <a:moveTo>
                    <a:pt x="732" y="424"/>
                  </a:moveTo>
                  <a:cubicBezTo>
                    <a:pt x="732" y="440"/>
                    <a:pt x="719" y="453"/>
                    <a:pt x="703" y="453"/>
                  </a:cubicBezTo>
                  <a:cubicBezTo>
                    <a:pt x="308" y="453"/>
                    <a:pt x="308" y="453"/>
                    <a:pt x="308" y="453"/>
                  </a:cubicBezTo>
                  <a:cubicBezTo>
                    <a:pt x="292" y="453"/>
                    <a:pt x="279" y="440"/>
                    <a:pt x="279" y="424"/>
                  </a:cubicBezTo>
                  <a:cubicBezTo>
                    <a:pt x="279" y="408"/>
                    <a:pt x="292" y="395"/>
                    <a:pt x="308" y="395"/>
                  </a:cubicBezTo>
                  <a:cubicBezTo>
                    <a:pt x="703" y="395"/>
                    <a:pt x="703" y="395"/>
                    <a:pt x="703" y="395"/>
                  </a:cubicBezTo>
                  <a:cubicBezTo>
                    <a:pt x="719" y="395"/>
                    <a:pt x="732" y="408"/>
                    <a:pt x="732" y="424"/>
                  </a:cubicBezTo>
                  <a:close/>
                  <a:moveTo>
                    <a:pt x="732" y="896"/>
                  </a:moveTo>
                  <a:cubicBezTo>
                    <a:pt x="732" y="912"/>
                    <a:pt x="719" y="924"/>
                    <a:pt x="703" y="924"/>
                  </a:cubicBezTo>
                  <a:cubicBezTo>
                    <a:pt x="308" y="924"/>
                    <a:pt x="308" y="924"/>
                    <a:pt x="308" y="924"/>
                  </a:cubicBezTo>
                  <a:cubicBezTo>
                    <a:pt x="292" y="924"/>
                    <a:pt x="279" y="912"/>
                    <a:pt x="279" y="896"/>
                  </a:cubicBezTo>
                  <a:cubicBezTo>
                    <a:pt x="279" y="880"/>
                    <a:pt x="292" y="867"/>
                    <a:pt x="308" y="867"/>
                  </a:cubicBezTo>
                  <a:cubicBezTo>
                    <a:pt x="703" y="867"/>
                    <a:pt x="703" y="867"/>
                    <a:pt x="703" y="867"/>
                  </a:cubicBezTo>
                  <a:cubicBezTo>
                    <a:pt x="719" y="867"/>
                    <a:pt x="732" y="880"/>
                    <a:pt x="732" y="896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1321352" y="3769429"/>
              <a:ext cx="516820" cy="516820"/>
              <a:chOff x="1300568" y="3769429"/>
              <a:chExt cx="516820" cy="516820"/>
            </a:xfrm>
          </p:grpSpPr>
          <p:sp>
            <p:nvSpPr>
              <p:cNvPr id="34" name="Oval 33"/>
              <p:cNvSpPr/>
              <p:nvPr/>
            </p:nvSpPr>
            <p:spPr>
              <a:xfrm>
                <a:off x="1300568" y="3769429"/>
                <a:ext cx="516820" cy="516820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1404591" y="3889340"/>
                <a:ext cx="30877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1</a:t>
                </a:r>
              </a:p>
            </p:txBody>
          </p:sp>
        </p:grpSp>
        <p:grpSp>
          <p:nvGrpSpPr>
            <p:cNvPr id="77" name="Group 76"/>
            <p:cNvGrpSpPr/>
            <p:nvPr/>
          </p:nvGrpSpPr>
          <p:grpSpPr>
            <a:xfrm>
              <a:off x="3304154" y="3769429"/>
              <a:ext cx="516820" cy="516820"/>
              <a:chOff x="3269479" y="3769429"/>
              <a:chExt cx="516820" cy="516820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3269479" y="3769429"/>
                <a:ext cx="516820" cy="516820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3373502" y="3889340"/>
                <a:ext cx="30877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2</a:t>
                </a:r>
              </a:p>
            </p:txBody>
          </p:sp>
        </p:grpSp>
        <p:grpSp>
          <p:nvGrpSpPr>
            <p:cNvPr id="56" name="Group 55"/>
            <p:cNvGrpSpPr/>
            <p:nvPr/>
          </p:nvGrpSpPr>
          <p:grpSpPr>
            <a:xfrm>
              <a:off x="5317247" y="3769429"/>
              <a:ext cx="516820" cy="516820"/>
              <a:chOff x="5325229" y="3769429"/>
              <a:chExt cx="516820" cy="516820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5325229" y="3769429"/>
                <a:ext cx="516820" cy="516820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5429252" y="3889340"/>
                <a:ext cx="30877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3</a:t>
                </a:r>
              </a:p>
            </p:txBody>
          </p:sp>
        </p:grpSp>
        <p:grpSp>
          <p:nvGrpSpPr>
            <p:cNvPr id="59" name="Group 58"/>
            <p:cNvGrpSpPr/>
            <p:nvPr/>
          </p:nvGrpSpPr>
          <p:grpSpPr>
            <a:xfrm>
              <a:off x="7302924" y="3769429"/>
              <a:ext cx="516820" cy="516820"/>
              <a:chOff x="7348507" y="3769429"/>
              <a:chExt cx="516820" cy="516820"/>
            </a:xfrm>
          </p:grpSpPr>
          <p:sp>
            <p:nvSpPr>
              <p:cNvPr id="35" name="Oval 34"/>
              <p:cNvSpPr/>
              <p:nvPr/>
            </p:nvSpPr>
            <p:spPr>
              <a:xfrm>
                <a:off x="7348507" y="3769429"/>
                <a:ext cx="516820" cy="516820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7452530" y="3889340"/>
                <a:ext cx="308774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800" b="1" dirty="0">
                    <a:solidFill>
                      <a:schemeClr val="bg1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04</a:t>
                </a:r>
              </a:p>
            </p:txBody>
          </p:sp>
        </p:grpSp>
        <p:cxnSp>
          <p:nvCxnSpPr>
            <p:cNvPr id="31" name="Straight Connector 30"/>
            <p:cNvCxnSpPr/>
            <p:nvPr/>
          </p:nvCxnSpPr>
          <p:spPr>
            <a:xfrm>
              <a:off x="4566221" y="1543050"/>
              <a:ext cx="0" cy="2079743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6585093" y="1543050"/>
              <a:ext cx="0" cy="2079743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2558907" y="1543050"/>
              <a:ext cx="0" cy="2079743"/>
            </a:xfrm>
            <a:prstGeom prst="line">
              <a:avLst/>
            </a:prstGeom>
            <a:ln w="9525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5" name="Group 84"/>
            <p:cNvGrpSpPr/>
            <p:nvPr/>
          </p:nvGrpSpPr>
          <p:grpSpPr>
            <a:xfrm>
              <a:off x="4594744" y="3953572"/>
              <a:ext cx="1961826" cy="148534"/>
              <a:chOff x="2542486" y="3953572"/>
              <a:chExt cx="1961826" cy="148534"/>
            </a:xfrm>
          </p:grpSpPr>
          <p:sp>
            <p:nvSpPr>
              <p:cNvPr id="86" name="Freeform 85"/>
              <p:cNvSpPr/>
              <p:nvPr/>
            </p:nvSpPr>
            <p:spPr>
              <a:xfrm>
                <a:off x="2542486" y="3991496"/>
                <a:ext cx="735974" cy="72687"/>
              </a:xfrm>
              <a:custGeom>
                <a:avLst/>
                <a:gdLst>
                  <a:gd name="connsiteX0" fmla="*/ 0 w 943411"/>
                  <a:gd name="connsiteY0" fmla="*/ 0 h 105627"/>
                  <a:gd name="connsiteX1" fmla="*/ 371504 w 943411"/>
                  <a:gd name="connsiteY1" fmla="*/ 0 h 105627"/>
                  <a:gd name="connsiteX2" fmla="*/ 777960 w 943411"/>
                  <a:gd name="connsiteY2" fmla="*/ 0 h 105627"/>
                  <a:gd name="connsiteX3" fmla="*/ 943411 w 943411"/>
                  <a:gd name="connsiteY3" fmla="*/ 0 h 105627"/>
                  <a:gd name="connsiteX4" fmla="*/ 943411 w 943411"/>
                  <a:gd name="connsiteY4" fmla="*/ 105627 h 105627"/>
                  <a:gd name="connsiteX5" fmla="*/ 777960 w 943411"/>
                  <a:gd name="connsiteY5" fmla="*/ 105627 h 105627"/>
                  <a:gd name="connsiteX6" fmla="*/ 371504 w 943411"/>
                  <a:gd name="connsiteY6" fmla="*/ 105627 h 105627"/>
                  <a:gd name="connsiteX7" fmla="*/ 0 w 943411"/>
                  <a:gd name="connsiteY7" fmla="*/ 105627 h 105627"/>
                  <a:gd name="connsiteX8" fmla="*/ 53033 w 943411"/>
                  <a:gd name="connsiteY8" fmla="*/ 53033 h 105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43411" h="105627">
                    <a:moveTo>
                      <a:pt x="0" y="0"/>
                    </a:moveTo>
                    <a:lnTo>
                      <a:pt x="371504" y="0"/>
                    </a:lnTo>
                    <a:lnTo>
                      <a:pt x="777960" y="0"/>
                    </a:lnTo>
                    <a:lnTo>
                      <a:pt x="943411" y="0"/>
                    </a:lnTo>
                    <a:lnTo>
                      <a:pt x="943411" y="105627"/>
                    </a:lnTo>
                    <a:lnTo>
                      <a:pt x="777960" y="105627"/>
                    </a:lnTo>
                    <a:lnTo>
                      <a:pt x="371504" y="105627"/>
                    </a:lnTo>
                    <a:lnTo>
                      <a:pt x="0" y="105627"/>
                    </a:lnTo>
                    <a:lnTo>
                      <a:pt x="53033" y="53033"/>
                    </a:lnTo>
                    <a:close/>
                  </a:path>
                </a:pathLst>
              </a:cu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Right Arrow 86"/>
              <p:cNvSpPr/>
              <p:nvPr/>
            </p:nvSpPr>
            <p:spPr>
              <a:xfrm>
                <a:off x="3777318" y="3953572"/>
                <a:ext cx="726994" cy="148534"/>
              </a:xfrm>
              <a:prstGeom prst="rightArrow">
                <a:avLst>
                  <a:gd name="adj1" fmla="val 50000"/>
                  <a:gd name="adj2" fmla="val 48931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89" name="Freeform 88"/>
            <p:cNvSpPr/>
            <p:nvPr/>
          </p:nvSpPr>
          <p:spPr>
            <a:xfrm>
              <a:off x="6602307" y="3991496"/>
              <a:ext cx="735974" cy="72687"/>
            </a:xfrm>
            <a:custGeom>
              <a:avLst/>
              <a:gdLst>
                <a:gd name="connsiteX0" fmla="*/ 0 w 943411"/>
                <a:gd name="connsiteY0" fmla="*/ 0 h 105627"/>
                <a:gd name="connsiteX1" fmla="*/ 371504 w 943411"/>
                <a:gd name="connsiteY1" fmla="*/ 0 h 105627"/>
                <a:gd name="connsiteX2" fmla="*/ 777960 w 943411"/>
                <a:gd name="connsiteY2" fmla="*/ 0 h 105627"/>
                <a:gd name="connsiteX3" fmla="*/ 943411 w 943411"/>
                <a:gd name="connsiteY3" fmla="*/ 0 h 105627"/>
                <a:gd name="connsiteX4" fmla="*/ 943411 w 943411"/>
                <a:gd name="connsiteY4" fmla="*/ 105627 h 105627"/>
                <a:gd name="connsiteX5" fmla="*/ 777960 w 943411"/>
                <a:gd name="connsiteY5" fmla="*/ 105627 h 105627"/>
                <a:gd name="connsiteX6" fmla="*/ 371504 w 943411"/>
                <a:gd name="connsiteY6" fmla="*/ 105627 h 105627"/>
                <a:gd name="connsiteX7" fmla="*/ 0 w 943411"/>
                <a:gd name="connsiteY7" fmla="*/ 105627 h 105627"/>
                <a:gd name="connsiteX8" fmla="*/ 53033 w 943411"/>
                <a:gd name="connsiteY8" fmla="*/ 53033 h 105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43411" h="105627">
                  <a:moveTo>
                    <a:pt x="0" y="0"/>
                  </a:moveTo>
                  <a:lnTo>
                    <a:pt x="371504" y="0"/>
                  </a:lnTo>
                  <a:lnTo>
                    <a:pt x="777960" y="0"/>
                  </a:lnTo>
                  <a:lnTo>
                    <a:pt x="943411" y="0"/>
                  </a:lnTo>
                  <a:lnTo>
                    <a:pt x="943411" y="105627"/>
                  </a:lnTo>
                  <a:lnTo>
                    <a:pt x="777960" y="105627"/>
                  </a:lnTo>
                  <a:lnTo>
                    <a:pt x="371504" y="105627"/>
                  </a:lnTo>
                  <a:lnTo>
                    <a:pt x="0" y="105627"/>
                  </a:lnTo>
                  <a:lnTo>
                    <a:pt x="53033" y="53033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Right Arrow 92"/>
            <p:cNvSpPr/>
            <p:nvPr/>
          </p:nvSpPr>
          <p:spPr>
            <a:xfrm>
              <a:off x="1824702" y="3953572"/>
              <a:ext cx="709472" cy="148534"/>
            </a:xfrm>
            <a:prstGeom prst="rightArrow">
              <a:avLst>
                <a:gd name="adj1" fmla="val 50000"/>
                <a:gd name="adj2" fmla="val 48931"/>
              </a:avLst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5774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STRATÉGIA DE </a:t>
            </a:r>
            <a:r>
              <a:rPr lang="en-US" dirty="0">
                <a:solidFill>
                  <a:srgbClr val="EC0000"/>
                </a:solidFill>
              </a:rPr>
              <a:t>VEND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  <a:p>
            <a:endParaRPr lang="en-US" dirty="0"/>
          </a:p>
        </p:txBody>
      </p:sp>
      <p:sp>
        <p:nvSpPr>
          <p:cNvPr id="50" name="Oval 35"/>
          <p:cNvSpPr>
            <a:spLocks noChangeArrowheads="1"/>
          </p:cNvSpPr>
          <p:nvPr/>
        </p:nvSpPr>
        <p:spPr bwMode="auto">
          <a:xfrm>
            <a:off x="3758090" y="3117066"/>
            <a:ext cx="1627821" cy="162869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1" name="Freeform 49"/>
          <p:cNvSpPr>
            <a:spLocks/>
          </p:cNvSpPr>
          <p:nvPr/>
        </p:nvSpPr>
        <p:spPr bwMode="auto">
          <a:xfrm>
            <a:off x="3391307" y="2659954"/>
            <a:ext cx="378047" cy="680483"/>
          </a:xfrm>
          <a:custGeom>
            <a:avLst/>
            <a:gdLst>
              <a:gd name="T0" fmla="*/ 348 w 348"/>
              <a:gd name="T1" fmla="*/ 627 h 627"/>
              <a:gd name="T2" fmla="*/ 348 w 348"/>
              <a:gd name="T3" fmla="*/ 104 h 627"/>
              <a:gd name="T4" fmla="*/ 244 w 348"/>
              <a:gd name="T5" fmla="*/ 0 h 627"/>
              <a:gd name="T6" fmla="*/ 0 w 348"/>
              <a:gd name="T7" fmla="*/ 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8" h="627">
                <a:moveTo>
                  <a:pt x="348" y="627"/>
                </a:moveTo>
                <a:cubicBezTo>
                  <a:pt x="348" y="104"/>
                  <a:pt x="348" y="104"/>
                  <a:pt x="348" y="104"/>
                </a:cubicBezTo>
                <a:cubicBezTo>
                  <a:pt x="348" y="46"/>
                  <a:pt x="301" y="0"/>
                  <a:pt x="244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2" name="Freeform 50"/>
          <p:cNvSpPr>
            <a:spLocks/>
          </p:cNvSpPr>
          <p:nvPr/>
        </p:nvSpPr>
        <p:spPr bwMode="auto">
          <a:xfrm>
            <a:off x="3918759" y="1769877"/>
            <a:ext cx="323007" cy="1212528"/>
          </a:xfrm>
          <a:custGeom>
            <a:avLst/>
            <a:gdLst>
              <a:gd name="T0" fmla="*/ 298 w 298"/>
              <a:gd name="T1" fmla="*/ 1117 h 1117"/>
              <a:gd name="T2" fmla="*/ 298 w 298"/>
              <a:gd name="T3" fmla="*/ 104 h 1117"/>
              <a:gd name="T4" fmla="*/ 194 w 298"/>
              <a:gd name="T5" fmla="*/ 0 h 1117"/>
              <a:gd name="T6" fmla="*/ 0 w 298"/>
              <a:gd name="T7" fmla="*/ 0 h 1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8" h="1117">
                <a:moveTo>
                  <a:pt x="298" y="1117"/>
                </a:moveTo>
                <a:cubicBezTo>
                  <a:pt x="298" y="104"/>
                  <a:pt x="298" y="104"/>
                  <a:pt x="298" y="104"/>
                </a:cubicBezTo>
                <a:cubicBezTo>
                  <a:pt x="298" y="46"/>
                  <a:pt x="252" y="0"/>
                  <a:pt x="194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5362006" y="2659954"/>
            <a:ext cx="378047" cy="680483"/>
          </a:xfrm>
          <a:custGeom>
            <a:avLst/>
            <a:gdLst>
              <a:gd name="T0" fmla="*/ 0 w 348"/>
              <a:gd name="T1" fmla="*/ 627 h 627"/>
              <a:gd name="T2" fmla="*/ 0 w 348"/>
              <a:gd name="T3" fmla="*/ 104 h 627"/>
              <a:gd name="T4" fmla="*/ 105 w 348"/>
              <a:gd name="T5" fmla="*/ 0 h 627"/>
              <a:gd name="T6" fmla="*/ 348 w 348"/>
              <a:gd name="T7" fmla="*/ 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48" h="627">
                <a:moveTo>
                  <a:pt x="0" y="627"/>
                </a:moveTo>
                <a:cubicBezTo>
                  <a:pt x="0" y="104"/>
                  <a:pt x="0" y="104"/>
                  <a:pt x="0" y="104"/>
                </a:cubicBezTo>
                <a:cubicBezTo>
                  <a:pt x="0" y="46"/>
                  <a:pt x="47" y="0"/>
                  <a:pt x="105" y="0"/>
                </a:cubicBezTo>
                <a:cubicBezTo>
                  <a:pt x="348" y="0"/>
                  <a:pt x="348" y="0"/>
                  <a:pt x="348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4902235" y="1769877"/>
            <a:ext cx="323007" cy="1212528"/>
          </a:xfrm>
          <a:custGeom>
            <a:avLst/>
            <a:gdLst>
              <a:gd name="T0" fmla="*/ 0 w 298"/>
              <a:gd name="T1" fmla="*/ 1117 h 1117"/>
              <a:gd name="T2" fmla="*/ 0 w 298"/>
              <a:gd name="T3" fmla="*/ 104 h 1117"/>
              <a:gd name="T4" fmla="*/ 104 w 298"/>
              <a:gd name="T5" fmla="*/ 0 h 1117"/>
              <a:gd name="T6" fmla="*/ 298 w 298"/>
              <a:gd name="T7" fmla="*/ 0 h 1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8" h="1117">
                <a:moveTo>
                  <a:pt x="0" y="1117"/>
                </a:moveTo>
                <a:cubicBezTo>
                  <a:pt x="0" y="104"/>
                  <a:pt x="0" y="104"/>
                  <a:pt x="0" y="104"/>
                </a:cubicBezTo>
                <a:cubicBezTo>
                  <a:pt x="0" y="46"/>
                  <a:pt x="46" y="0"/>
                  <a:pt x="104" y="0"/>
                </a:cubicBezTo>
                <a:cubicBezTo>
                  <a:pt x="298" y="0"/>
                  <a:pt x="298" y="0"/>
                  <a:pt x="298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6" name="Freeform 78"/>
          <p:cNvSpPr>
            <a:spLocks/>
          </p:cNvSpPr>
          <p:nvPr/>
        </p:nvSpPr>
        <p:spPr bwMode="auto">
          <a:xfrm>
            <a:off x="4276235" y="2940111"/>
            <a:ext cx="590419" cy="94512"/>
          </a:xfrm>
          <a:custGeom>
            <a:avLst/>
            <a:gdLst>
              <a:gd name="T0" fmla="*/ 1556 w 1556"/>
              <a:gd name="T1" fmla="*/ 117 h 249"/>
              <a:gd name="T2" fmla="*/ 778 w 1556"/>
              <a:gd name="T3" fmla="*/ 0 h 249"/>
              <a:gd name="T4" fmla="*/ 0 w 1556"/>
              <a:gd name="T5" fmla="*/ 117 h 249"/>
              <a:gd name="T6" fmla="*/ 28 w 1556"/>
              <a:gd name="T7" fmla="*/ 152 h 249"/>
              <a:gd name="T8" fmla="*/ 44 w 1556"/>
              <a:gd name="T9" fmla="*/ 249 h 249"/>
              <a:gd name="T10" fmla="*/ 778 w 1556"/>
              <a:gd name="T11" fmla="*/ 137 h 249"/>
              <a:gd name="T12" fmla="*/ 1512 w 1556"/>
              <a:gd name="T13" fmla="*/ 249 h 249"/>
              <a:gd name="T14" fmla="*/ 1556 w 1556"/>
              <a:gd name="T15" fmla="*/ 117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556" h="249">
                <a:moveTo>
                  <a:pt x="1556" y="117"/>
                </a:moveTo>
                <a:cubicBezTo>
                  <a:pt x="1308" y="40"/>
                  <a:pt x="1046" y="0"/>
                  <a:pt x="778" y="0"/>
                </a:cubicBezTo>
                <a:cubicBezTo>
                  <a:pt x="510" y="0"/>
                  <a:pt x="248" y="40"/>
                  <a:pt x="0" y="117"/>
                </a:cubicBezTo>
                <a:cubicBezTo>
                  <a:pt x="11" y="127"/>
                  <a:pt x="20" y="138"/>
                  <a:pt x="28" y="152"/>
                </a:cubicBezTo>
                <a:cubicBezTo>
                  <a:pt x="46" y="182"/>
                  <a:pt x="50" y="217"/>
                  <a:pt x="44" y="249"/>
                </a:cubicBezTo>
                <a:cubicBezTo>
                  <a:pt x="276" y="176"/>
                  <a:pt x="522" y="137"/>
                  <a:pt x="778" y="137"/>
                </a:cubicBezTo>
                <a:cubicBezTo>
                  <a:pt x="1034" y="137"/>
                  <a:pt x="1280" y="176"/>
                  <a:pt x="1512" y="249"/>
                </a:cubicBezTo>
                <a:cubicBezTo>
                  <a:pt x="1503" y="201"/>
                  <a:pt x="1519" y="150"/>
                  <a:pt x="1556" y="117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7" name="Freeform 85"/>
          <p:cNvSpPr>
            <a:spLocks/>
          </p:cNvSpPr>
          <p:nvPr/>
        </p:nvSpPr>
        <p:spPr bwMode="auto">
          <a:xfrm>
            <a:off x="3782552" y="3016276"/>
            <a:ext cx="426414" cy="343021"/>
          </a:xfrm>
          <a:custGeom>
            <a:avLst/>
            <a:gdLst>
              <a:gd name="T0" fmla="*/ 1090 w 1123"/>
              <a:gd name="T1" fmla="*/ 90 h 904"/>
              <a:gd name="T2" fmla="*/ 1073 w 1123"/>
              <a:gd name="T3" fmla="*/ 0 h 904"/>
              <a:gd name="T4" fmla="*/ 228 w 1123"/>
              <a:gd name="T5" fmla="*/ 567 h 904"/>
              <a:gd name="T6" fmla="*/ 0 w 1123"/>
              <a:gd name="T7" fmla="*/ 827 h 904"/>
              <a:gd name="T8" fmla="*/ 111 w 1123"/>
              <a:gd name="T9" fmla="*/ 895 h 904"/>
              <a:gd name="T10" fmla="*/ 116 w 1123"/>
              <a:gd name="T11" fmla="*/ 904 h 904"/>
              <a:gd name="T12" fmla="*/ 1123 w 1123"/>
              <a:gd name="T13" fmla="*/ 129 h 904"/>
              <a:gd name="T14" fmla="*/ 1090 w 1123"/>
              <a:gd name="T15" fmla="*/ 90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23" h="904">
                <a:moveTo>
                  <a:pt x="1090" y="90"/>
                </a:moveTo>
                <a:cubicBezTo>
                  <a:pt x="1073" y="62"/>
                  <a:pt x="1068" y="30"/>
                  <a:pt x="1073" y="0"/>
                </a:cubicBezTo>
                <a:cubicBezTo>
                  <a:pt x="761" y="130"/>
                  <a:pt x="474" y="321"/>
                  <a:pt x="228" y="567"/>
                </a:cubicBezTo>
                <a:cubicBezTo>
                  <a:pt x="146" y="649"/>
                  <a:pt x="70" y="736"/>
                  <a:pt x="0" y="827"/>
                </a:cubicBezTo>
                <a:cubicBezTo>
                  <a:pt x="45" y="829"/>
                  <a:pt x="87" y="854"/>
                  <a:pt x="111" y="895"/>
                </a:cubicBezTo>
                <a:cubicBezTo>
                  <a:pt x="113" y="898"/>
                  <a:pt x="114" y="901"/>
                  <a:pt x="116" y="904"/>
                </a:cubicBezTo>
                <a:cubicBezTo>
                  <a:pt x="377" y="566"/>
                  <a:pt x="724" y="297"/>
                  <a:pt x="1123" y="129"/>
                </a:cubicBezTo>
                <a:cubicBezTo>
                  <a:pt x="1110" y="119"/>
                  <a:pt x="1098" y="106"/>
                  <a:pt x="1090" y="9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8" name="Freeform 86"/>
          <p:cNvSpPr>
            <a:spLocks/>
          </p:cNvSpPr>
          <p:nvPr/>
        </p:nvSpPr>
        <p:spPr bwMode="auto">
          <a:xfrm>
            <a:off x="5369233" y="3403218"/>
            <a:ext cx="195139" cy="486456"/>
          </a:xfrm>
          <a:custGeom>
            <a:avLst/>
            <a:gdLst>
              <a:gd name="T0" fmla="*/ 113 w 514"/>
              <a:gd name="T1" fmla="*/ 0 h 1281"/>
              <a:gd name="T2" fmla="*/ 55 w 514"/>
              <a:gd name="T3" fmla="*/ 65 h 1281"/>
              <a:gd name="T4" fmla="*/ 0 w 514"/>
              <a:gd name="T5" fmla="*/ 83 h 1281"/>
              <a:gd name="T6" fmla="*/ 376 w 514"/>
              <a:gd name="T7" fmla="*/ 1281 h 1281"/>
              <a:gd name="T8" fmla="*/ 379 w 514"/>
              <a:gd name="T9" fmla="*/ 1279 h 1281"/>
              <a:gd name="T10" fmla="*/ 514 w 514"/>
              <a:gd name="T11" fmla="*/ 1277 h 1281"/>
              <a:gd name="T12" fmla="*/ 113 w 514"/>
              <a:gd name="T13" fmla="*/ 0 h 1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4" h="1281">
                <a:moveTo>
                  <a:pt x="113" y="0"/>
                </a:moveTo>
                <a:cubicBezTo>
                  <a:pt x="101" y="26"/>
                  <a:pt x="82" y="50"/>
                  <a:pt x="55" y="65"/>
                </a:cubicBezTo>
                <a:cubicBezTo>
                  <a:pt x="37" y="75"/>
                  <a:pt x="19" y="81"/>
                  <a:pt x="0" y="83"/>
                </a:cubicBezTo>
                <a:cubicBezTo>
                  <a:pt x="221" y="433"/>
                  <a:pt x="356" y="842"/>
                  <a:pt x="376" y="1281"/>
                </a:cubicBezTo>
                <a:cubicBezTo>
                  <a:pt x="377" y="1280"/>
                  <a:pt x="378" y="1279"/>
                  <a:pt x="379" y="1279"/>
                </a:cubicBezTo>
                <a:cubicBezTo>
                  <a:pt x="422" y="1254"/>
                  <a:pt x="473" y="1255"/>
                  <a:pt x="514" y="1277"/>
                </a:cubicBezTo>
                <a:cubicBezTo>
                  <a:pt x="493" y="818"/>
                  <a:pt x="354" y="381"/>
                  <a:pt x="113" y="0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9" name="Freeform 87"/>
          <p:cNvSpPr>
            <a:spLocks/>
          </p:cNvSpPr>
          <p:nvPr/>
        </p:nvSpPr>
        <p:spPr bwMode="auto">
          <a:xfrm>
            <a:off x="4934480" y="3016276"/>
            <a:ext cx="426414" cy="343021"/>
          </a:xfrm>
          <a:custGeom>
            <a:avLst/>
            <a:gdLst>
              <a:gd name="T0" fmla="*/ 1061 w 1123"/>
              <a:gd name="T1" fmla="*/ 845 h 903"/>
              <a:gd name="T2" fmla="*/ 1123 w 1123"/>
              <a:gd name="T3" fmla="*/ 827 h 903"/>
              <a:gd name="T4" fmla="*/ 895 w 1123"/>
              <a:gd name="T5" fmla="*/ 567 h 903"/>
              <a:gd name="T6" fmla="*/ 50 w 1123"/>
              <a:gd name="T7" fmla="*/ 0 h 903"/>
              <a:gd name="T8" fmla="*/ 0 w 1123"/>
              <a:gd name="T9" fmla="*/ 129 h 903"/>
              <a:gd name="T10" fmla="*/ 1007 w 1123"/>
              <a:gd name="T11" fmla="*/ 903 h 903"/>
              <a:gd name="T12" fmla="*/ 1061 w 1123"/>
              <a:gd name="T13" fmla="*/ 845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23" h="903">
                <a:moveTo>
                  <a:pt x="1061" y="845"/>
                </a:moveTo>
                <a:cubicBezTo>
                  <a:pt x="1081" y="834"/>
                  <a:pt x="1102" y="828"/>
                  <a:pt x="1123" y="827"/>
                </a:cubicBezTo>
                <a:cubicBezTo>
                  <a:pt x="1053" y="736"/>
                  <a:pt x="977" y="649"/>
                  <a:pt x="895" y="567"/>
                </a:cubicBezTo>
                <a:cubicBezTo>
                  <a:pt x="649" y="321"/>
                  <a:pt x="362" y="130"/>
                  <a:pt x="50" y="0"/>
                </a:cubicBezTo>
                <a:cubicBezTo>
                  <a:pt x="58" y="48"/>
                  <a:pt x="39" y="98"/>
                  <a:pt x="0" y="129"/>
                </a:cubicBezTo>
                <a:cubicBezTo>
                  <a:pt x="399" y="296"/>
                  <a:pt x="745" y="565"/>
                  <a:pt x="1007" y="903"/>
                </a:cubicBezTo>
                <a:cubicBezTo>
                  <a:pt x="1018" y="880"/>
                  <a:pt x="1037" y="859"/>
                  <a:pt x="1061" y="845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0" name="Freeform 88"/>
          <p:cNvSpPr>
            <a:spLocks/>
          </p:cNvSpPr>
          <p:nvPr/>
        </p:nvSpPr>
        <p:spPr bwMode="auto">
          <a:xfrm>
            <a:off x="3579074" y="3403774"/>
            <a:ext cx="195139" cy="485345"/>
          </a:xfrm>
          <a:custGeom>
            <a:avLst/>
            <a:gdLst>
              <a:gd name="T0" fmla="*/ 408 w 514"/>
              <a:gd name="T1" fmla="*/ 14 h 1279"/>
              <a:gd name="T2" fmla="*/ 401 w 514"/>
              <a:gd name="T3" fmla="*/ 0 h 1279"/>
              <a:gd name="T4" fmla="*/ 0 w 514"/>
              <a:gd name="T5" fmla="*/ 1276 h 1279"/>
              <a:gd name="T6" fmla="*/ 138 w 514"/>
              <a:gd name="T7" fmla="*/ 1279 h 1279"/>
              <a:gd name="T8" fmla="*/ 514 w 514"/>
              <a:gd name="T9" fmla="*/ 82 h 1279"/>
              <a:gd name="T10" fmla="*/ 408 w 514"/>
              <a:gd name="T11" fmla="*/ 14 h 12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4" h="1279">
                <a:moveTo>
                  <a:pt x="408" y="14"/>
                </a:moveTo>
                <a:cubicBezTo>
                  <a:pt x="405" y="9"/>
                  <a:pt x="403" y="5"/>
                  <a:pt x="401" y="0"/>
                </a:cubicBezTo>
                <a:cubicBezTo>
                  <a:pt x="159" y="381"/>
                  <a:pt x="21" y="818"/>
                  <a:pt x="0" y="1276"/>
                </a:cubicBezTo>
                <a:cubicBezTo>
                  <a:pt x="45" y="1252"/>
                  <a:pt x="97" y="1255"/>
                  <a:pt x="138" y="1279"/>
                </a:cubicBezTo>
                <a:cubicBezTo>
                  <a:pt x="158" y="841"/>
                  <a:pt x="293" y="432"/>
                  <a:pt x="514" y="82"/>
                </a:cubicBezTo>
                <a:cubicBezTo>
                  <a:pt x="471" y="78"/>
                  <a:pt x="431" y="54"/>
                  <a:pt x="408" y="14"/>
                </a:cubicBezTo>
                <a:close/>
              </a:path>
            </a:pathLst>
          </a:custGeom>
          <a:solidFill>
            <a:srgbClr val="EC0000">
              <a:alpha val="50000"/>
            </a:srgb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6" name="Freeform 51"/>
          <p:cNvSpPr>
            <a:spLocks/>
          </p:cNvSpPr>
          <p:nvPr/>
        </p:nvSpPr>
        <p:spPr bwMode="auto">
          <a:xfrm>
            <a:off x="3156551" y="3695689"/>
            <a:ext cx="449208" cy="197362"/>
          </a:xfrm>
          <a:custGeom>
            <a:avLst/>
            <a:gdLst>
              <a:gd name="T0" fmla="*/ 414 w 414"/>
              <a:gd name="T1" fmla="*/ 182 h 182"/>
              <a:gd name="T2" fmla="*/ 414 w 414"/>
              <a:gd name="T3" fmla="*/ 104 h 182"/>
              <a:gd name="T4" fmla="*/ 310 w 414"/>
              <a:gd name="T5" fmla="*/ 0 h 182"/>
              <a:gd name="T6" fmla="*/ 0 w 414"/>
              <a:gd name="T7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4" h="182">
                <a:moveTo>
                  <a:pt x="414" y="182"/>
                </a:moveTo>
                <a:cubicBezTo>
                  <a:pt x="414" y="104"/>
                  <a:pt x="414" y="104"/>
                  <a:pt x="414" y="104"/>
                </a:cubicBezTo>
                <a:cubicBezTo>
                  <a:pt x="414" y="47"/>
                  <a:pt x="368" y="0"/>
                  <a:pt x="31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8" name="Freeform 54"/>
          <p:cNvSpPr>
            <a:spLocks/>
          </p:cNvSpPr>
          <p:nvPr/>
        </p:nvSpPr>
        <p:spPr bwMode="auto">
          <a:xfrm>
            <a:off x="5538241" y="3695689"/>
            <a:ext cx="449208" cy="197362"/>
          </a:xfrm>
          <a:custGeom>
            <a:avLst/>
            <a:gdLst>
              <a:gd name="T0" fmla="*/ 0 w 414"/>
              <a:gd name="T1" fmla="*/ 182 h 182"/>
              <a:gd name="T2" fmla="*/ 0 w 414"/>
              <a:gd name="T3" fmla="*/ 104 h 182"/>
              <a:gd name="T4" fmla="*/ 104 w 414"/>
              <a:gd name="T5" fmla="*/ 0 h 182"/>
              <a:gd name="T6" fmla="*/ 414 w 414"/>
              <a:gd name="T7" fmla="*/ 0 h 1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14" h="182">
                <a:moveTo>
                  <a:pt x="0" y="182"/>
                </a:moveTo>
                <a:cubicBezTo>
                  <a:pt x="0" y="104"/>
                  <a:pt x="0" y="104"/>
                  <a:pt x="0" y="104"/>
                </a:cubicBezTo>
                <a:cubicBezTo>
                  <a:pt x="0" y="47"/>
                  <a:pt x="47" y="0"/>
                  <a:pt x="104" y="0"/>
                </a:cubicBezTo>
                <a:cubicBezTo>
                  <a:pt x="414" y="0"/>
                  <a:pt x="414" y="0"/>
                  <a:pt x="414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2702896" y="3468861"/>
            <a:ext cx="453655" cy="453655"/>
            <a:chOff x="2702896" y="3468861"/>
            <a:chExt cx="453655" cy="453655"/>
          </a:xfrm>
        </p:grpSpPr>
        <p:sp>
          <p:nvSpPr>
            <p:cNvPr id="67" name="Oval 60"/>
            <p:cNvSpPr>
              <a:spLocks noChangeArrowheads="1"/>
            </p:cNvSpPr>
            <p:nvPr/>
          </p:nvSpPr>
          <p:spPr bwMode="auto">
            <a:xfrm>
              <a:off x="2702896" y="3468861"/>
              <a:ext cx="453655" cy="453655"/>
            </a:xfrm>
            <a:prstGeom prst="ellipse">
              <a:avLst/>
            </a:prstGeom>
            <a:solidFill>
              <a:srgbClr val="EC0000"/>
            </a:solidFill>
            <a:ln w="285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0" name="Freeform 92"/>
            <p:cNvSpPr>
              <a:spLocks noEditPoints="1"/>
            </p:cNvSpPr>
            <p:nvPr/>
          </p:nvSpPr>
          <p:spPr bwMode="auto">
            <a:xfrm>
              <a:off x="2790715" y="3586608"/>
              <a:ext cx="278016" cy="182582"/>
            </a:xfrm>
            <a:custGeom>
              <a:avLst/>
              <a:gdLst>
                <a:gd name="T0" fmla="*/ 1628 w 2398"/>
                <a:gd name="T1" fmla="*/ 483 h 1570"/>
                <a:gd name="T2" fmla="*/ 771 w 2398"/>
                <a:gd name="T3" fmla="*/ 483 h 1570"/>
                <a:gd name="T4" fmla="*/ 1199 w 2398"/>
                <a:gd name="T5" fmla="*/ 46 h 1570"/>
                <a:gd name="T6" fmla="*/ 1199 w 2398"/>
                <a:gd name="T7" fmla="*/ 1016 h 1570"/>
                <a:gd name="T8" fmla="*/ 1199 w 2398"/>
                <a:gd name="T9" fmla="*/ 46 h 1570"/>
                <a:gd name="T10" fmla="*/ 1414 w 2398"/>
                <a:gd name="T11" fmla="*/ 1000 h 1570"/>
                <a:gd name="T12" fmla="*/ 985 w 2398"/>
                <a:gd name="T13" fmla="*/ 1000 h 1570"/>
                <a:gd name="T14" fmla="*/ 502 w 2398"/>
                <a:gd name="T15" fmla="*/ 1413 h 1570"/>
                <a:gd name="T16" fmla="*/ 513 w 2398"/>
                <a:gd name="T17" fmla="*/ 1447 h 1570"/>
                <a:gd name="T18" fmla="*/ 1885 w 2398"/>
                <a:gd name="T19" fmla="*/ 1447 h 1570"/>
                <a:gd name="T20" fmla="*/ 1896 w 2398"/>
                <a:gd name="T21" fmla="*/ 1413 h 1570"/>
                <a:gd name="T22" fmla="*/ 1199 w 2398"/>
                <a:gd name="T23" fmla="*/ 1524 h 1570"/>
                <a:gd name="T24" fmla="*/ 959 w 2398"/>
                <a:gd name="T25" fmla="*/ 1044 h 1570"/>
                <a:gd name="T26" fmla="*/ 1213 w 2398"/>
                <a:gd name="T27" fmla="*/ 1271 h 1570"/>
                <a:gd name="T28" fmla="*/ 1840 w 2398"/>
                <a:gd name="T29" fmla="*/ 1414 h 1570"/>
                <a:gd name="T30" fmla="*/ 2393 w 2398"/>
                <a:gd name="T31" fmla="*/ 1165 h 1570"/>
                <a:gd name="T32" fmla="*/ 2100 w 2398"/>
                <a:gd name="T33" fmla="*/ 902 h 1570"/>
                <a:gd name="T34" fmla="*/ 1959 w 2398"/>
                <a:gd name="T35" fmla="*/ 295 h 1570"/>
                <a:gd name="T36" fmla="*/ 1959 w 2398"/>
                <a:gd name="T37" fmla="*/ 964 h 1570"/>
                <a:gd name="T38" fmla="*/ 1959 w 2398"/>
                <a:gd name="T39" fmla="*/ 1041 h 1570"/>
                <a:gd name="T40" fmla="*/ 1806 w 2398"/>
                <a:gd name="T41" fmla="*/ 904 h 1570"/>
                <a:gd name="T42" fmla="*/ 1628 w 2398"/>
                <a:gd name="T43" fmla="*/ 1048 h 1570"/>
                <a:gd name="T44" fmla="*/ 1811 w 2398"/>
                <a:gd name="T45" fmla="*/ 1259 h 1570"/>
                <a:gd name="T46" fmla="*/ 1959 w 2398"/>
                <a:gd name="T47" fmla="*/ 1275 h 1570"/>
                <a:gd name="T48" fmla="*/ 2396 w 2398"/>
                <a:gd name="T49" fmla="*/ 1184 h 1570"/>
                <a:gd name="T50" fmla="*/ 1734 w 2398"/>
                <a:gd name="T51" fmla="*/ 600 h 1570"/>
                <a:gd name="T52" fmla="*/ 2184 w 2398"/>
                <a:gd name="T53" fmla="*/ 600 h 1570"/>
                <a:gd name="T54" fmla="*/ 1734 w 2398"/>
                <a:gd name="T55" fmla="*/ 600 h 1570"/>
                <a:gd name="T56" fmla="*/ 1841 w 2398"/>
                <a:gd name="T57" fmla="*/ 1222 h 1570"/>
                <a:gd name="T58" fmla="*/ 1810 w 2398"/>
                <a:gd name="T59" fmla="*/ 955 h 1570"/>
                <a:gd name="T60" fmla="*/ 1973 w 2398"/>
                <a:gd name="T61" fmla="*/ 1090 h 1570"/>
                <a:gd name="T62" fmla="*/ 2337 w 2398"/>
                <a:gd name="T63" fmla="*/ 1166 h 1570"/>
                <a:gd name="T64" fmla="*/ 587 w 2398"/>
                <a:gd name="T65" fmla="*/ 1259 h 1570"/>
                <a:gd name="T66" fmla="*/ 770 w 2398"/>
                <a:gd name="T67" fmla="*/ 1048 h 1570"/>
                <a:gd name="T68" fmla="*/ 592 w 2398"/>
                <a:gd name="T69" fmla="*/ 904 h 1570"/>
                <a:gd name="T70" fmla="*/ 440 w 2398"/>
                <a:gd name="T71" fmla="*/ 1041 h 1570"/>
                <a:gd name="T72" fmla="*/ 440 w 2398"/>
                <a:gd name="T73" fmla="*/ 964 h 1570"/>
                <a:gd name="T74" fmla="*/ 440 w 2398"/>
                <a:gd name="T75" fmla="*/ 295 h 1570"/>
                <a:gd name="T76" fmla="*/ 298 w 2398"/>
                <a:gd name="T77" fmla="*/ 902 h 1570"/>
                <a:gd name="T78" fmla="*/ 5 w 2398"/>
                <a:gd name="T79" fmla="*/ 1165 h 1570"/>
                <a:gd name="T80" fmla="*/ 16 w 2398"/>
                <a:gd name="T81" fmla="*/ 1199 h 1570"/>
                <a:gd name="T82" fmla="*/ 572 w 2398"/>
                <a:gd name="T83" fmla="*/ 1267 h 1570"/>
                <a:gd name="T84" fmla="*/ 215 w 2398"/>
                <a:gd name="T85" fmla="*/ 600 h 1570"/>
                <a:gd name="T86" fmla="*/ 664 w 2398"/>
                <a:gd name="T87" fmla="*/ 600 h 1570"/>
                <a:gd name="T88" fmla="*/ 215 w 2398"/>
                <a:gd name="T89" fmla="*/ 600 h 1570"/>
                <a:gd name="T90" fmla="*/ 62 w 2398"/>
                <a:gd name="T91" fmla="*/ 1166 h 1570"/>
                <a:gd name="T92" fmla="*/ 426 w 2398"/>
                <a:gd name="T93" fmla="*/ 1090 h 1570"/>
                <a:gd name="T94" fmla="*/ 589 w 2398"/>
                <a:gd name="T95" fmla="*/ 955 h 1570"/>
                <a:gd name="T96" fmla="*/ 557 w 2398"/>
                <a:gd name="T97" fmla="*/ 1222 h 1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98" h="1570">
                  <a:moveTo>
                    <a:pt x="1199" y="1062"/>
                  </a:moveTo>
                  <a:cubicBezTo>
                    <a:pt x="1393" y="1062"/>
                    <a:pt x="1628" y="804"/>
                    <a:pt x="1628" y="483"/>
                  </a:cubicBezTo>
                  <a:cubicBezTo>
                    <a:pt x="1628" y="189"/>
                    <a:pt x="1459" y="0"/>
                    <a:pt x="1199" y="0"/>
                  </a:cubicBezTo>
                  <a:cubicBezTo>
                    <a:pt x="939" y="0"/>
                    <a:pt x="771" y="189"/>
                    <a:pt x="771" y="483"/>
                  </a:cubicBezTo>
                  <a:cubicBezTo>
                    <a:pt x="771" y="803"/>
                    <a:pt x="1030" y="1062"/>
                    <a:pt x="1199" y="1062"/>
                  </a:cubicBezTo>
                  <a:close/>
                  <a:moveTo>
                    <a:pt x="1199" y="46"/>
                  </a:moveTo>
                  <a:cubicBezTo>
                    <a:pt x="1435" y="46"/>
                    <a:pt x="1581" y="214"/>
                    <a:pt x="1581" y="483"/>
                  </a:cubicBezTo>
                  <a:cubicBezTo>
                    <a:pt x="1581" y="778"/>
                    <a:pt x="1372" y="1016"/>
                    <a:pt x="1199" y="1016"/>
                  </a:cubicBezTo>
                  <a:cubicBezTo>
                    <a:pt x="1052" y="1016"/>
                    <a:pt x="818" y="772"/>
                    <a:pt x="818" y="483"/>
                  </a:cubicBezTo>
                  <a:cubicBezTo>
                    <a:pt x="818" y="214"/>
                    <a:pt x="964" y="46"/>
                    <a:pt x="1199" y="46"/>
                  </a:cubicBezTo>
                  <a:close/>
                  <a:moveTo>
                    <a:pt x="1442" y="993"/>
                  </a:moveTo>
                  <a:cubicBezTo>
                    <a:pt x="1432" y="988"/>
                    <a:pt x="1420" y="991"/>
                    <a:pt x="1414" y="1000"/>
                  </a:cubicBezTo>
                  <a:cubicBezTo>
                    <a:pt x="1329" y="1113"/>
                    <a:pt x="1234" y="1194"/>
                    <a:pt x="1199" y="1222"/>
                  </a:cubicBezTo>
                  <a:cubicBezTo>
                    <a:pt x="1164" y="1194"/>
                    <a:pt x="1069" y="1113"/>
                    <a:pt x="985" y="1000"/>
                  </a:cubicBezTo>
                  <a:cubicBezTo>
                    <a:pt x="978" y="991"/>
                    <a:pt x="966" y="988"/>
                    <a:pt x="956" y="993"/>
                  </a:cubicBezTo>
                  <a:cubicBezTo>
                    <a:pt x="694" y="1120"/>
                    <a:pt x="510" y="1401"/>
                    <a:pt x="502" y="1413"/>
                  </a:cubicBezTo>
                  <a:cubicBezTo>
                    <a:pt x="499" y="1419"/>
                    <a:pt x="498" y="1426"/>
                    <a:pt x="500" y="1432"/>
                  </a:cubicBezTo>
                  <a:cubicBezTo>
                    <a:pt x="502" y="1439"/>
                    <a:pt x="507" y="1444"/>
                    <a:pt x="513" y="1447"/>
                  </a:cubicBezTo>
                  <a:cubicBezTo>
                    <a:pt x="516" y="1448"/>
                    <a:pt x="825" y="1570"/>
                    <a:pt x="1199" y="1570"/>
                  </a:cubicBezTo>
                  <a:cubicBezTo>
                    <a:pt x="1573" y="1570"/>
                    <a:pt x="1882" y="1448"/>
                    <a:pt x="1885" y="1447"/>
                  </a:cubicBezTo>
                  <a:cubicBezTo>
                    <a:pt x="1892" y="1444"/>
                    <a:pt x="1897" y="1439"/>
                    <a:pt x="1899" y="1432"/>
                  </a:cubicBezTo>
                  <a:cubicBezTo>
                    <a:pt x="1901" y="1426"/>
                    <a:pt x="1900" y="1419"/>
                    <a:pt x="1896" y="1413"/>
                  </a:cubicBezTo>
                  <a:cubicBezTo>
                    <a:pt x="1888" y="1401"/>
                    <a:pt x="1704" y="1120"/>
                    <a:pt x="1442" y="993"/>
                  </a:cubicBezTo>
                  <a:close/>
                  <a:moveTo>
                    <a:pt x="1199" y="1524"/>
                  </a:moveTo>
                  <a:cubicBezTo>
                    <a:pt x="898" y="1524"/>
                    <a:pt x="641" y="1443"/>
                    <a:pt x="558" y="1414"/>
                  </a:cubicBezTo>
                  <a:cubicBezTo>
                    <a:pt x="608" y="1345"/>
                    <a:pt x="761" y="1146"/>
                    <a:pt x="959" y="1044"/>
                  </a:cubicBezTo>
                  <a:cubicBezTo>
                    <a:pt x="1066" y="1181"/>
                    <a:pt x="1180" y="1267"/>
                    <a:pt x="1185" y="1271"/>
                  </a:cubicBezTo>
                  <a:cubicBezTo>
                    <a:pt x="1194" y="1277"/>
                    <a:pt x="1205" y="1277"/>
                    <a:pt x="1213" y="1271"/>
                  </a:cubicBezTo>
                  <a:cubicBezTo>
                    <a:pt x="1218" y="1267"/>
                    <a:pt x="1333" y="1181"/>
                    <a:pt x="1439" y="1044"/>
                  </a:cubicBezTo>
                  <a:cubicBezTo>
                    <a:pt x="1638" y="1146"/>
                    <a:pt x="1791" y="1345"/>
                    <a:pt x="1840" y="1414"/>
                  </a:cubicBezTo>
                  <a:cubicBezTo>
                    <a:pt x="1758" y="1443"/>
                    <a:pt x="1500" y="1524"/>
                    <a:pt x="1199" y="1524"/>
                  </a:cubicBezTo>
                  <a:close/>
                  <a:moveTo>
                    <a:pt x="2393" y="1165"/>
                  </a:moveTo>
                  <a:cubicBezTo>
                    <a:pt x="2388" y="1157"/>
                    <a:pt x="2275" y="983"/>
                    <a:pt x="2112" y="904"/>
                  </a:cubicBezTo>
                  <a:cubicBezTo>
                    <a:pt x="2108" y="903"/>
                    <a:pt x="2104" y="902"/>
                    <a:pt x="2100" y="902"/>
                  </a:cubicBezTo>
                  <a:cubicBezTo>
                    <a:pt x="2173" y="838"/>
                    <a:pt x="2230" y="728"/>
                    <a:pt x="2230" y="600"/>
                  </a:cubicBezTo>
                  <a:cubicBezTo>
                    <a:pt x="2230" y="415"/>
                    <a:pt x="2124" y="295"/>
                    <a:pt x="1959" y="295"/>
                  </a:cubicBezTo>
                  <a:cubicBezTo>
                    <a:pt x="1794" y="295"/>
                    <a:pt x="1687" y="415"/>
                    <a:pt x="1687" y="600"/>
                  </a:cubicBezTo>
                  <a:cubicBezTo>
                    <a:pt x="1687" y="808"/>
                    <a:pt x="1852" y="964"/>
                    <a:pt x="1959" y="964"/>
                  </a:cubicBezTo>
                  <a:cubicBezTo>
                    <a:pt x="1997" y="964"/>
                    <a:pt x="2037" y="949"/>
                    <a:pt x="2074" y="923"/>
                  </a:cubicBezTo>
                  <a:cubicBezTo>
                    <a:pt x="2029" y="980"/>
                    <a:pt x="1982" y="1022"/>
                    <a:pt x="1959" y="1041"/>
                  </a:cubicBezTo>
                  <a:cubicBezTo>
                    <a:pt x="1934" y="1021"/>
                    <a:pt x="1882" y="974"/>
                    <a:pt x="1835" y="911"/>
                  </a:cubicBezTo>
                  <a:cubicBezTo>
                    <a:pt x="1828" y="902"/>
                    <a:pt x="1816" y="900"/>
                    <a:pt x="1806" y="904"/>
                  </a:cubicBezTo>
                  <a:cubicBezTo>
                    <a:pt x="1749" y="932"/>
                    <a:pt x="1691" y="975"/>
                    <a:pt x="1635" y="1031"/>
                  </a:cubicBezTo>
                  <a:cubicBezTo>
                    <a:pt x="1631" y="1035"/>
                    <a:pt x="1628" y="1041"/>
                    <a:pt x="1628" y="1048"/>
                  </a:cubicBezTo>
                  <a:cubicBezTo>
                    <a:pt x="1628" y="1054"/>
                    <a:pt x="1631" y="1060"/>
                    <a:pt x="1635" y="1064"/>
                  </a:cubicBezTo>
                  <a:cubicBezTo>
                    <a:pt x="1707" y="1135"/>
                    <a:pt x="1810" y="1258"/>
                    <a:pt x="1811" y="1259"/>
                  </a:cubicBezTo>
                  <a:cubicBezTo>
                    <a:pt x="1815" y="1264"/>
                    <a:pt x="1821" y="1267"/>
                    <a:pt x="1827" y="1267"/>
                  </a:cubicBezTo>
                  <a:cubicBezTo>
                    <a:pt x="1871" y="1273"/>
                    <a:pt x="1916" y="1275"/>
                    <a:pt x="1959" y="1275"/>
                  </a:cubicBezTo>
                  <a:cubicBezTo>
                    <a:pt x="2190" y="1275"/>
                    <a:pt x="2375" y="1202"/>
                    <a:pt x="2382" y="1199"/>
                  </a:cubicBezTo>
                  <a:cubicBezTo>
                    <a:pt x="2389" y="1196"/>
                    <a:pt x="2394" y="1191"/>
                    <a:pt x="2396" y="1184"/>
                  </a:cubicBezTo>
                  <a:cubicBezTo>
                    <a:pt x="2398" y="1178"/>
                    <a:pt x="2397" y="1171"/>
                    <a:pt x="2393" y="1165"/>
                  </a:cubicBezTo>
                  <a:close/>
                  <a:moveTo>
                    <a:pt x="1734" y="600"/>
                  </a:moveTo>
                  <a:cubicBezTo>
                    <a:pt x="1734" y="441"/>
                    <a:pt x="1820" y="342"/>
                    <a:pt x="1959" y="342"/>
                  </a:cubicBezTo>
                  <a:cubicBezTo>
                    <a:pt x="2098" y="342"/>
                    <a:pt x="2184" y="441"/>
                    <a:pt x="2184" y="600"/>
                  </a:cubicBezTo>
                  <a:cubicBezTo>
                    <a:pt x="2184" y="776"/>
                    <a:pt x="2061" y="917"/>
                    <a:pt x="1959" y="917"/>
                  </a:cubicBezTo>
                  <a:cubicBezTo>
                    <a:pt x="1882" y="917"/>
                    <a:pt x="1734" y="783"/>
                    <a:pt x="1734" y="600"/>
                  </a:cubicBezTo>
                  <a:close/>
                  <a:moveTo>
                    <a:pt x="1959" y="1228"/>
                  </a:moveTo>
                  <a:cubicBezTo>
                    <a:pt x="1921" y="1228"/>
                    <a:pt x="1881" y="1226"/>
                    <a:pt x="1841" y="1222"/>
                  </a:cubicBezTo>
                  <a:cubicBezTo>
                    <a:pt x="1820" y="1197"/>
                    <a:pt x="1746" y="1110"/>
                    <a:pt x="1685" y="1048"/>
                  </a:cubicBezTo>
                  <a:cubicBezTo>
                    <a:pt x="1726" y="1008"/>
                    <a:pt x="1768" y="977"/>
                    <a:pt x="1810" y="955"/>
                  </a:cubicBezTo>
                  <a:cubicBezTo>
                    <a:pt x="1874" y="1036"/>
                    <a:pt x="1942" y="1087"/>
                    <a:pt x="1945" y="1090"/>
                  </a:cubicBezTo>
                  <a:cubicBezTo>
                    <a:pt x="1953" y="1096"/>
                    <a:pt x="1965" y="1096"/>
                    <a:pt x="1973" y="1090"/>
                  </a:cubicBezTo>
                  <a:cubicBezTo>
                    <a:pt x="1976" y="1087"/>
                    <a:pt x="2044" y="1036"/>
                    <a:pt x="2108" y="955"/>
                  </a:cubicBezTo>
                  <a:cubicBezTo>
                    <a:pt x="2217" y="1013"/>
                    <a:pt x="2302" y="1118"/>
                    <a:pt x="2337" y="1166"/>
                  </a:cubicBezTo>
                  <a:cubicBezTo>
                    <a:pt x="2277" y="1186"/>
                    <a:pt x="2130" y="1228"/>
                    <a:pt x="1959" y="1228"/>
                  </a:cubicBezTo>
                  <a:close/>
                  <a:moveTo>
                    <a:pt x="587" y="1259"/>
                  </a:moveTo>
                  <a:cubicBezTo>
                    <a:pt x="588" y="1258"/>
                    <a:pt x="691" y="1135"/>
                    <a:pt x="763" y="1064"/>
                  </a:cubicBezTo>
                  <a:cubicBezTo>
                    <a:pt x="768" y="1060"/>
                    <a:pt x="770" y="1054"/>
                    <a:pt x="770" y="1048"/>
                  </a:cubicBezTo>
                  <a:cubicBezTo>
                    <a:pt x="770" y="1041"/>
                    <a:pt x="768" y="1035"/>
                    <a:pt x="763" y="1031"/>
                  </a:cubicBezTo>
                  <a:cubicBezTo>
                    <a:pt x="707" y="975"/>
                    <a:pt x="650" y="932"/>
                    <a:pt x="592" y="904"/>
                  </a:cubicBezTo>
                  <a:cubicBezTo>
                    <a:pt x="582" y="900"/>
                    <a:pt x="570" y="902"/>
                    <a:pt x="564" y="911"/>
                  </a:cubicBezTo>
                  <a:cubicBezTo>
                    <a:pt x="517" y="974"/>
                    <a:pt x="464" y="1021"/>
                    <a:pt x="440" y="1041"/>
                  </a:cubicBezTo>
                  <a:cubicBezTo>
                    <a:pt x="417" y="1022"/>
                    <a:pt x="369" y="980"/>
                    <a:pt x="325" y="923"/>
                  </a:cubicBezTo>
                  <a:cubicBezTo>
                    <a:pt x="362" y="949"/>
                    <a:pt x="402" y="964"/>
                    <a:pt x="440" y="964"/>
                  </a:cubicBezTo>
                  <a:cubicBezTo>
                    <a:pt x="546" y="964"/>
                    <a:pt x="711" y="808"/>
                    <a:pt x="711" y="600"/>
                  </a:cubicBezTo>
                  <a:cubicBezTo>
                    <a:pt x="711" y="415"/>
                    <a:pt x="604" y="295"/>
                    <a:pt x="440" y="295"/>
                  </a:cubicBezTo>
                  <a:cubicBezTo>
                    <a:pt x="275" y="295"/>
                    <a:pt x="168" y="415"/>
                    <a:pt x="168" y="600"/>
                  </a:cubicBezTo>
                  <a:cubicBezTo>
                    <a:pt x="168" y="728"/>
                    <a:pt x="225" y="838"/>
                    <a:pt x="298" y="902"/>
                  </a:cubicBezTo>
                  <a:cubicBezTo>
                    <a:pt x="294" y="902"/>
                    <a:pt x="290" y="903"/>
                    <a:pt x="287" y="904"/>
                  </a:cubicBezTo>
                  <a:cubicBezTo>
                    <a:pt x="124" y="983"/>
                    <a:pt x="10" y="1157"/>
                    <a:pt x="5" y="1165"/>
                  </a:cubicBezTo>
                  <a:cubicBezTo>
                    <a:pt x="1" y="1171"/>
                    <a:pt x="0" y="1178"/>
                    <a:pt x="3" y="1184"/>
                  </a:cubicBezTo>
                  <a:cubicBezTo>
                    <a:pt x="5" y="1191"/>
                    <a:pt x="10" y="1196"/>
                    <a:pt x="16" y="1199"/>
                  </a:cubicBezTo>
                  <a:cubicBezTo>
                    <a:pt x="24" y="1202"/>
                    <a:pt x="209" y="1275"/>
                    <a:pt x="440" y="1275"/>
                  </a:cubicBezTo>
                  <a:cubicBezTo>
                    <a:pt x="483" y="1275"/>
                    <a:pt x="527" y="1273"/>
                    <a:pt x="572" y="1267"/>
                  </a:cubicBezTo>
                  <a:cubicBezTo>
                    <a:pt x="578" y="1267"/>
                    <a:pt x="583" y="1264"/>
                    <a:pt x="587" y="1259"/>
                  </a:cubicBezTo>
                  <a:close/>
                  <a:moveTo>
                    <a:pt x="215" y="600"/>
                  </a:moveTo>
                  <a:cubicBezTo>
                    <a:pt x="215" y="441"/>
                    <a:pt x="301" y="342"/>
                    <a:pt x="440" y="342"/>
                  </a:cubicBezTo>
                  <a:cubicBezTo>
                    <a:pt x="578" y="342"/>
                    <a:pt x="664" y="441"/>
                    <a:pt x="664" y="600"/>
                  </a:cubicBezTo>
                  <a:cubicBezTo>
                    <a:pt x="664" y="783"/>
                    <a:pt x="517" y="917"/>
                    <a:pt x="440" y="917"/>
                  </a:cubicBezTo>
                  <a:cubicBezTo>
                    <a:pt x="338" y="917"/>
                    <a:pt x="215" y="776"/>
                    <a:pt x="215" y="600"/>
                  </a:cubicBezTo>
                  <a:close/>
                  <a:moveTo>
                    <a:pt x="440" y="1228"/>
                  </a:moveTo>
                  <a:cubicBezTo>
                    <a:pt x="269" y="1228"/>
                    <a:pt x="121" y="1186"/>
                    <a:pt x="62" y="1166"/>
                  </a:cubicBezTo>
                  <a:cubicBezTo>
                    <a:pt x="96" y="1118"/>
                    <a:pt x="182" y="1013"/>
                    <a:pt x="290" y="955"/>
                  </a:cubicBezTo>
                  <a:cubicBezTo>
                    <a:pt x="355" y="1036"/>
                    <a:pt x="423" y="1087"/>
                    <a:pt x="426" y="1090"/>
                  </a:cubicBezTo>
                  <a:cubicBezTo>
                    <a:pt x="434" y="1096"/>
                    <a:pt x="445" y="1096"/>
                    <a:pt x="454" y="1090"/>
                  </a:cubicBezTo>
                  <a:cubicBezTo>
                    <a:pt x="457" y="1087"/>
                    <a:pt x="525" y="1036"/>
                    <a:pt x="589" y="955"/>
                  </a:cubicBezTo>
                  <a:cubicBezTo>
                    <a:pt x="630" y="977"/>
                    <a:pt x="672" y="1008"/>
                    <a:pt x="714" y="1048"/>
                  </a:cubicBezTo>
                  <a:cubicBezTo>
                    <a:pt x="652" y="1110"/>
                    <a:pt x="579" y="1197"/>
                    <a:pt x="557" y="1222"/>
                  </a:cubicBezTo>
                  <a:cubicBezTo>
                    <a:pt x="517" y="1226"/>
                    <a:pt x="478" y="1228"/>
                    <a:pt x="440" y="122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937652" y="2432015"/>
            <a:ext cx="453655" cy="454768"/>
            <a:chOff x="2950294" y="2432015"/>
            <a:chExt cx="453655" cy="454768"/>
          </a:xfrm>
        </p:grpSpPr>
        <p:sp>
          <p:nvSpPr>
            <p:cNvPr id="58" name="Oval 59"/>
            <p:cNvSpPr>
              <a:spLocks noChangeArrowheads="1"/>
            </p:cNvSpPr>
            <p:nvPr/>
          </p:nvSpPr>
          <p:spPr bwMode="auto">
            <a:xfrm>
              <a:off x="2950294" y="2432015"/>
              <a:ext cx="453655" cy="454768"/>
            </a:xfrm>
            <a:prstGeom prst="ellipse">
              <a:avLst/>
            </a:prstGeom>
            <a:solidFill>
              <a:srgbClr val="EC0000"/>
            </a:solidFill>
            <a:ln w="28575" cap="flat">
              <a:solidFill>
                <a:srgbClr val="EC1C2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1" name="Freeform 96"/>
            <p:cNvSpPr>
              <a:spLocks noEditPoints="1"/>
            </p:cNvSpPr>
            <p:nvPr/>
          </p:nvSpPr>
          <p:spPr bwMode="auto">
            <a:xfrm>
              <a:off x="3069705" y="2559217"/>
              <a:ext cx="214832" cy="200364"/>
            </a:xfrm>
            <a:custGeom>
              <a:avLst/>
              <a:gdLst>
                <a:gd name="T0" fmla="*/ 754 w 1255"/>
                <a:gd name="T1" fmla="*/ 0 h 1168"/>
                <a:gd name="T2" fmla="*/ 15 w 1255"/>
                <a:gd name="T3" fmla="*/ 0 h 1168"/>
                <a:gd name="T4" fmla="*/ 0 w 1255"/>
                <a:gd name="T5" fmla="*/ 1154 h 1168"/>
                <a:gd name="T6" fmla="*/ 1240 w 1255"/>
                <a:gd name="T7" fmla="*/ 1168 h 1168"/>
                <a:gd name="T8" fmla="*/ 1255 w 1255"/>
                <a:gd name="T9" fmla="*/ 15 h 1168"/>
                <a:gd name="T10" fmla="*/ 739 w 1255"/>
                <a:gd name="T11" fmla="*/ 30 h 1168"/>
                <a:gd name="T12" fmla="*/ 635 w 1255"/>
                <a:gd name="T13" fmla="*/ 129 h 1168"/>
                <a:gd name="T14" fmla="*/ 624 w 1255"/>
                <a:gd name="T15" fmla="*/ 124 h 1168"/>
                <a:gd name="T16" fmla="*/ 516 w 1255"/>
                <a:gd name="T17" fmla="*/ 231 h 1168"/>
                <a:gd name="T18" fmla="*/ 739 w 1255"/>
                <a:gd name="T19" fmla="*/ 30 h 1168"/>
                <a:gd name="T20" fmla="*/ 30 w 1255"/>
                <a:gd name="T21" fmla="*/ 1139 h 1168"/>
                <a:gd name="T22" fmla="*/ 486 w 1255"/>
                <a:gd name="T23" fmla="*/ 30 h 1168"/>
                <a:gd name="T24" fmla="*/ 495 w 1255"/>
                <a:gd name="T25" fmla="*/ 282 h 1168"/>
                <a:gd name="T26" fmla="*/ 512 w 1255"/>
                <a:gd name="T27" fmla="*/ 279 h 1168"/>
                <a:gd name="T28" fmla="*/ 744 w 1255"/>
                <a:gd name="T29" fmla="*/ 279 h 1168"/>
                <a:gd name="T30" fmla="*/ 769 w 1255"/>
                <a:gd name="T31" fmla="*/ 268 h 1168"/>
                <a:gd name="T32" fmla="*/ 1225 w 1255"/>
                <a:gd name="T33" fmla="*/ 30 h 1168"/>
                <a:gd name="T34" fmla="*/ 402 w 1255"/>
                <a:gd name="T35" fmla="*/ 416 h 1168"/>
                <a:gd name="T36" fmla="*/ 214 w 1255"/>
                <a:gd name="T37" fmla="*/ 583 h 1168"/>
                <a:gd name="T38" fmla="*/ 224 w 1255"/>
                <a:gd name="T39" fmla="*/ 608 h 1168"/>
                <a:gd name="T40" fmla="*/ 295 w 1255"/>
                <a:gd name="T41" fmla="*/ 990 h 1168"/>
                <a:gd name="T42" fmla="*/ 473 w 1255"/>
                <a:gd name="T43" fmla="*/ 1005 h 1168"/>
                <a:gd name="T44" fmla="*/ 488 w 1255"/>
                <a:gd name="T45" fmla="*/ 608 h 1168"/>
                <a:gd name="T46" fmla="*/ 573 w 1255"/>
                <a:gd name="T47" fmla="*/ 599 h 1168"/>
                <a:gd name="T48" fmla="*/ 402 w 1255"/>
                <a:gd name="T49" fmla="*/ 416 h 1168"/>
                <a:gd name="T50" fmla="*/ 458 w 1255"/>
                <a:gd name="T51" fmla="*/ 594 h 1168"/>
                <a:gd name="T52" fmla="*/ 325 w 1255"/>
                <a:gd name="T53" fmla="*/ 975 h 1168"/>
                <a:gd name="T54" fmla="*/ 310 w 1255"/>
                <a:gd name="T55" fmla="*/ 579 h 1168"/>
                <a:gd name="T56" fmla="*/ 392 w 1255"/>
                <a:gd name="T57" fmla="*/ 447 h 1168"/>
                <a:gd name="T58" fmla="*/ 473 w 1255"/>
                <a:gd name="T59" fmla="*/ 579 h 1168"/>
                <a:gd name="T60" fmla="*/ 682 w 1255"/>
                <a:gd name="T61" fmla="*/ 599 h 1168"/>
                <a:gd name="T62" fmla="*/ 767 w 1255"/>
                <a:gd name="T63" fmla="*/ 608 h 1168"/>
                <a:gd name="T64" fmla="*/ 782 w 1255"/>
                <a:gd name="T65" fmla="*/ 1005 h 1168"/>
                <a:gd name="T66" fmla="*/ 959 w 1255"/>
                <a:gd name="T67" fmla="*/ 990 h 1168"/>
                <a:gd name="T68" fmla="*/ 1031 w 1255"/>
                <a:gd name="T69" fmla="*/ 608 h 1168"/>
                <a:gd name="T70" fmla="*/ 1041 w 1255"/>
                <a:gd name="T71" fmla="*/ 583 h 1168"/>
                <a:gd name="T72" fmla="*/ 853 w 1255"/>
                <a:gd name="T73" fmla="*/ 416 h 1168"/>
                <a:gd name="T74" fmla="*/ 995 w 1255"/>
                <a:gd name="T75" fmla="*/ 579 h 1168"/>
                <a:gd name="T76" fmla="*/ 930 w 1255"/>
                <a:gd name="T77" fmla="*/ 594 h 1168"/>
                <a:gd name="T78" fmla="*/ 797 w 1255"/>
                <a:gd name="T79" fmla="*/ 975 h 1168"/>
                <a:gd name="T80" fmla="*/ 782 w 1255"/>
                <a:gd name="T81" fmla="*/ 579 h 1168"/>
                <a:gd name="T82" fmla="*/ 863 w 1255"/>
                <a:gd name="T83" fmla="*/ 447 h 1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5" h="1168">
                  <a:moveTo>
                    <a:pt x="1240" y="0"/>
                  </a:moveTo>
                  <a:cubicBezTo>
                    <a:pt x="754" y="0"/>
                    <a:pt x="754" y="0"/>
                    <a:pt x="754" y="0"/>
                  </a:cubicBezTo>
                  <a:cubicBezTo>
                    <a:pt x="501" y="0"/>
                    <a:pt x="501" y="0"/>
                    <a:pt x="50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154"/>
                    <a:pt x="0" y="1154"/>
                    <a:pt x="0" y="1154"/>
                  </a:cubicBezTo>
                  <a:cubicBezTo>
                    <a:pt x="0" y="1162"/>
                    <a:pt x="7" y="1168"/>
                    <a:pt x="15" y="1168"/>
                  </a:cubicBezTo>
                  <a:cubicBezTo>
                    <a:pt x="1240" y="1168"/>
                    <a:pt x="1240" y="1168"/>
                    <a:pt x="1240" y="1168"/>
                  </a:cubicBezTo>
                  <a:cubicBezTo>
                    <a:pt x="1248" y="1168"/>
                    <a:pt x="1255" y="1162"/>
                    <a:pt x="1255" y="1154"/>
                  </a:cubicBezTo>
                  <a:cubicBezTo>
                    <a:pt x="1255" y="15"/>
                    <a:pt x="1255" y="15"/>
                    <a:pt x="1255" y="15"/>
                  </a:cubicBezTo>
                  <a:cubicBezTo>
                    <a:pt x="1255" y="7"/>
                    <a:pt x="1248" y="0"/>
                    <a:pt x="1240" y="0"/>
                  </a:cubicBezTo>
                  <a:close/>
                  <a:moveTo>
                    <a:pt x="739" y="30"/>
                  </a:moveTo>
                  <a:cubicBezTo>
                    <a:pt x="739" y="232"/>
                    <a:pt x="739" y="232"/>
                    <a:pt x="739" y="232"/>
                  </a:cubicBezTo>
                  <a:cubicBezTo>
                    <a:pt x="635" y="129"/>
                    <a:pt x="635" y="129"/>
                    <a:pt x="635" y="129"/>
                  </a:cubicBezTo>
                  <a:cubicBezTo>
                    <a:pt x="632" y="126"/>
                    <a:pt x="628" y="124"/>
                    <a:pt x="625" y="124"/>
                  </a:cubicBezTo>
                  <a:cubicBezTo>
                    <a:pt x="624" y="124"/>
                    <a:pt x="624" y="124"/>
                    <a:pt x="624" y="124"/>
                  </a:cubicBezTo>
                  <a:cubicBezTo>
                    <a:pt x="620" y="125"/>
                    <a:pt x="617" y="126"/>
                    <a:pt x="614" y="129"/>
                  </a:cubicBezTo>
                  <a:cubicBezTo>
                    <a:pt x="516" y="231"/>
                    <a:pt x="516" y="231"/>
                    <a:pt x="516" y="231"/>
                  </a:cubicBezTo>
                  <a:cubicBezTo>
                    <a:pt x="516" y="30"/>
                    <a:pt x="516" y="30"/>
                    <a:pt x="516" y="30"/>
                  </a:cubicBezTo>
                  <a:lnTo>
                    <a:pt x="739" y="30"/>
                  </a:lnTo>
                  <a:close/>
                  <a:moveTo>
                    <a:pt x="1225" y="1139"/>
                  </a:moveTo>
                  <a:cubicBezTo>
                    <a:pt x="30" y="1139"/>
                    <a:pt x="30" y="1139"/>
                    <a:pt x="30" y="1139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486" y="30"/>
                    <a:pt x="486" y="30"/>
                    <a:pt x="486" y="30"/>
                  </a:cubicBezTo>
                  <a:cubicBezTo>
                    <a:pt x="486" y="268"/>
                    <a:pt x="486" y="268"/>
                    <a:pt x="486" y="268"/>
                  </a:cubicBezTo>
                  <a:cubicBezTo>
                    <a:pt x="486" y="275"/>
                    <a:pt x="490" y="280"/>
                    <a:pt x="495" y="282"/>
                  </a:cubicBezTo>
                  <a:cubicBezTo>
                    <a:pt x="497" y="283"/>
                    <a:pt x="499" y="283"/>
                    <a:pt x="501" y="283"/>
                  </a:cubicBezTo>
                  <a:cubicBezTo>
                    <a:pt x="505" y="283"/>
                    <a:pt x="509" y="282"/>
                    <a:pt x="512" y="279"/>
                  </a:cubicBezTo>
                  <a:cubicBezTo>
                    <a:pt x="625" y="161"/>
                    <a:pt x="625" y="161"/>
                    <a:pt x="625" y="161"/>
                  </a:cubicBezTo>
                  <a:cubicBezTo>
                    <a:pt x="744" y="279"/>
                    <a:pt x="744" y="279"/>
                    <a:pt x="744" y="279"/>
                  </a:cubicBezTo>
                  <a:cubicBezTo>
                    <a:pt x="748" y="283"/>
                    <a:pt x="754" y="285"/>
                    <a:pt x="760" y="282"/>
                  </a:cubicBezTo>
                  <a:cubicBezTo>
                    <a:pt x="765" y="280"/>
                    <a:pt x="769" y="274"/>
                    <a:pt x="769" y="268"/>
                  </a:cubicBezTo>
                  <a:cubicBezTo>
                    <a:pt x="769" y="30"/>
                    <a:pt x="769" y="30"/>
                    <a:pt x="769" y="30"/>
                  </a:cubicBezTo>
                  <a:cubicBezTo>
                    <a:pt x="1225" y="30"/>
                    <a:pt x="1225" y="30"/>
                    <a:pt x="1225" y="30"/>
                  </a:cubicBezTo>
                  <a:lnTo>
                    <a:pt x="1225" y="1139"/>
                  </a:lnTo>
                  <a:close/>
                  <a:moveTo>
                    <a:pt x="402" y="416"/>
                  </a:moveTo>
                  <a:cubicBezTo>
                    <a:pt x="396" y="410"/>
                    <a:pt x="387" y="410"/>
                    <a:pt x="381" y="416"/>
                  </a:cubicBezTo>
                  <a:cubicBezTo>
                    <a:pt x="214" y="583"/>
                    <a:pt x="214" y="583"/>
                    <a:pt x="214" y="583"/>
                  </a:cubicBezTo>
                  <a:cubicBezTo>
                    <a:pt x="210" y="587"/>
                    <a:pt x="208" y="594"/>
                    <a:pt x="211" y="599"/>
                  </a:cubicBezTo>
                  <a:cubicBezTo>
                    <a:pt x="213" y="605"/>
                    <a:pt x="218" y="608"/>
                    <a:pt x="224" y="608"/>
                  </a:cubicBezTo>
                  <a:cubicBezTo>
                    <a:pt x="295" y="608"/>
                    <a:pt x="295" y="608"/>
                    <a:pt x="295" y="608"/>
                  </a:cubicBezTo>
                  <a:cubicBezTo>
                    <a:pt x="295" y="990"/>
                    <a:pt x="295" y="990"/>
                    <a:pt x="295" y="990"/>
                  </a:cubicBezTo>
                  <a:cubicBezTo>
                    <a:pt x="295" y="998"/>
                    <a:pt x="302" y="1005"/>
                    <a:pt x="310" y="1005"/>
                  </a:cubicBezTo>
                  <a:cubicBezTo>
                    <a:pt x="473" y="1005"/>
                    <a:pt x="473" y="1005"/>
                    <a:pt x="473" y="1005"/>
                  </a:cubicBezTo>
                  <a:cubicBezTo>
                    <a:pt x="481" y="1005"/>
                    <a:pt x="488" y="998"/>
                    <a:pt x="488" y="990"/>
                  </a:cubicBezTo>
                  <a:cubicBezTo>
                    <a:pt x="488" y="608"/>
                    <a:pt x="488" y="608"/>
                    <a:pt x="488" y="608"/>
                  </a:cubicBezTo>
                  <a:cubicBezTo>
                    <a:pt x="559" y="608"/>
                    <a:pt x="559" y="608"/>
                    <a:pt x="559" y="608"/>
                  </a:cubicBezTo>
                  <a:cubicBezTo>
                    <a:pt x="565" y="608"/>
                    <a:pt x="571" y="605"/>
                    <a:pt x="573" y="599"/>
                  </a:cubicBezTo>
                  <a:cubicBezTo>
                    <a:pt x="575" y="594"/>
                    <a:pt x="574" y="587"/>
                    <a:pt x="570" y="583"/>
                  </a:cubicBezTo>
                  <a:lnTo>
                    <a:pt x="402" y="416"/>
                  </a:lnTo>
                  <a:close/>
                  <a:moveTo>
                    <a:pt x="473" y="579"/>
                  </a:moveTo>
                  <a:cubicBezTo>
                    <a:pt x="465" y="579"/>
                    <a:pt x="458" y="585"/>
                    <a:pt x="458" y="594"/>
                  </a:cubicBezTo>
                  <a:cubicBezTo>
                    <a:pt x="458" y="975"/>
                    <a:pt x="458" y="975"/>
                    <a:pt x="458" y="975"/>
                  </a:cubicBezTo>
                  <a:cubicBezTo>
                    <a:pt x="325" y="975"/>
                    <a:pt x="325" y="975"/>
                    <a:pt x="325" y="975"/>
                  </a:cubicBezTo>
                  <a:cubicBezTo>
                    <a:pt x="325" y="594"/>
                    <a:pt x="325" y="594"/>
                    <a:pt x="325" y="594"/>
                  </a:cubicBezTo>
                  <a:cubicBezTo>
                    <a:pt x="325" y="585"/>
                    <a:pt x="319" y="579"/>
                    <a:pt x="310" y="579"/>
                  </a:cubicBezTo>
                  <a:cubicBezTo>
                    <a:pt x="260" y="579"/>
                    <a:pt x="260" y="579"/>
                    <a:pt x="260" y="579"/>
                  </a:cubicBezTo>
                  <a:cubicBezTo>
                    <a:pt x="392" y="447"/>
                    <a:pt x="392" y="447"/>
                    <a:pt x="392" y="447"/>
                  </a:cubicBezTo>
                  <a:cubicBezTo>
                    <a:pt x="523" y="579"/>
                    <a:pt x="523" y="579"/>
                    <a:pt x="523" y="579"/>
                  </a:cubicBezTo>
                  <a:lnTo>
                    <a:pt x="473" y="579"/>
                  </a:lnTo>
                  <a:close/>
                  <a:moveTo>
                    <a:pt x="685" y="583"/>
                  </a:moveTo>
                  <a:cubicBezTo>
                    <a:pt x="681" y="587"/>
                    <a:pt x="680" y="594"/>
                    <a:pt x="682" y="599"/>
                  </a:cubicBezTo>
                  <a:cubicBezTo>
                    <a:pt x="684" y="605"/>
                    <a:pt x="690" y="608"/>
                    <a:pt x="696" y="608"/>
                  </a:cubicBezTo>
                  <a:cubicBezTo>
                    <a:pt x="767" y="608"/>
                    <a:pt x="767" y="608"/>
                    <a:pt x="767" y="608"/>
                  </a:cubicBezTo>
                  <a:cubicBezTo>
                    <a:pt x="767" y="990"/>
                    <a:pt x="767" y="990"/>
                    <a:pt x="767" y="990"/>
                  </a:cubicBezTo>
                  <a:cubicBezTo>
                    <a:pt x="767" y="998"/>
                    <a:pt x="774" y="1005"/>
                    <a:pt x="782" y="1005"/>
                  </a:cubicBezTo>
                  <a:cubicBezTo>
                    <a:pt x="945" y="1005"/>
                    <a:pt x="945" y="1005"/>
                    <a:pt x="945" y="1005"/>
                  </a:cubicBezTo>
                  <a:cubicBezTo>
                    <a:pt x="953" y="1005"/>
                    <a:pt x="959" y="998"/>
                    <a:pt x="959" y="990"/>
                  </a:cubicBezTo>
                  <a:cubicBezTo>
                    <a:pt x="959" y="608"/>
                    <a:pt x="959" y="608"/>
                    <a:pt x="959" y="608"/>
                  </a:cubicBezTo>
                  <a:cubicBezTo>
                    <a:pt x="1031" y="608"/>
                    <a:pt x="1031" y="608"/>
                    <a:pt x="1031" y="608"/>
                  </a:cubicBezTo>
                  <a:cubicBezTo>
                    <a:pt x="1037" y="608"/>
                    <a:pt x="1042" y="605"/>
                    <a:pt x="1044" y="599"/>
                  </a:cubicBezTo>
                  <a:cubicBezTo>
                    <a:pt x="1047" y="594"/>
                    <a:pt x="1045" y="587"/>
                    <a:pt x="1041" y="583"/>
                  </a:cubicBezTo>
                  <a:cubicBezTo>
                    <a:pt x="874" y="416"/>
                    <a:pt x="874" y="416"/>
                    <a:pt x="874" y="416"/>
                  </a:cubicBezTo>
                  <a:cubicBezTo>
                    <a:pt x="868" y="410"/>
                    <a:pt x="859" y="410"/>
                    <a:pt x="853" y="416"/>
                  </a:cubicBezTo>
                  <a:lnTo>
                    <a:pt x="685" y="583"/>
                  </a:lnTo>
                  <a:close/>
                  <a:moveTo>
                    <a:pt x="995" y="579"/>
                  </a:moveTo>
                  <a:cubicBezTo>
                    <a:pt x="945" y="579"/>
                    <a:pt x="945" y="579"/>
                    <a:pt x="945" y="579"/>
                  </a:cubicBezTo>
                  <a:cubicBezTo>
                    <a:pt x="936" y="579"/>
                    <a:pt x="930" y="585"/>
                    <a:pt x="930" y="594"/>
                  </a:cubicBezTo>
                  <a:cubicBezTo>
                    <a:pt x="930" y="975"/>
                    <a:pt x="930" y="975"/>
                    <a:pt x="930" y="975"/>
                  </a:cubicBezTo>
                  <a:cubicBezTo>
                    <a:pt x="797" y="975"/>
                    <a:pt x="797" y="975"/>
                    <a:pt x="797" y="975"/>
                  </a:cubicBezTo>
                  <a:cubicBezTo>
                    <a:pt x="797" y="594"/>
                    <a:pt x="797" y="594"/>
                    <a:pt x="797" y="594"/>
                  </a:cubicBezTo>
                  <a:cubicBezTo>
                    <a:pt x="797" y="585"/>
                    <a:pt x="790" y="579"/>
                    <a:pt x="782" y="579"/>
                  </a:cubicBezTo>
                  <a:cubicBezTo>
                    <a:pt x="732" y="579"/>
                    <a:pt x="732" y="579"/>
                    <a:pt x="732" y="579"/>
                  </a:cubicBezTo>
                  <a:cubicBezTo>
                    <a:pt x="863" y="447"/>
                    <a:pt x="863" y="447"/>
                    <a:pt x="863" y="447"/>
                  </a:cubicBezTo>
                  <a:lnTo>
                    <a:pt x="995" y="5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3465104" y="1543050"/>
            <a:ext cx="453655" cy="453655"/>
            <a:chOff x="3465104" y="1543050"/>
            <a:chExt cx="453655" cy="453655"/>
          </a:xfrm>
        </p:grpSpPr>
        <p:sp>
          <p:nvSpPr>
            <p:cNvPr id="57" name="Oval 58"/>
            <p:cNvSpPr>
              <a:spLocks noChangeArrowheads="1"/>
            </p:cNvSpPr>
            <p:nvPr/>
          </p:nvSpPr>
          <p:spPr bwMode="auto">
            <a:xfrm>
              <a:off x="3465104" y="1543050"/>
              <a:ext cx="453655" cy="453655"/>
            </a:xfrm>
            <a:prstGeom prst="ellipse">
              <a:avLst/>
            </a:prstGeom>
            <a:solidFill>
              <a:srgbClr val="EC0000"/>
            </a:solidFill>
            <a:ln w="285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2" name="Freeform 100"/>
            <p:cNvSpPr>
              <a:spLocks noEditPoints="1"/>
            </p:cNvSpPr>
            <p:nvPr/>
          </p:nvSpPr>
          <p:spPr bwMode="auto">
            <a:xfrm>
              <a:off x="3613983" y="1644162"/>
              <a:ext cx="155896" cy="251430"/>
            </a:xfrm>
            <a:custGeom>
              <a:avLst/>
              <a:gdLst>
                <a:gd name="T0" fmla="*/ 623 w 1280"/>
                <a:gd name="T1" fmla="*/ 1887 h 2072"/>
                <a:gd name="T2" fmla="*/ 640 w 1280"/>
                <a:gd name="T3" fmla="*/ 1893 h 2072"/>
                <a:gd name="T4" fmla="*/ 658 w 1280"/>
                <a:gd name="T5" fmla="*/ 1887 h 2072"/>
                <a:gd name="T6" fmla="*/ 1280 w 1280"/>
                <a:gd name="T7" fmla="*/ 640 h 2072"/>
                <a:gd name="T8" fmla="*/ 640 w 1280"/>
                <a:gd name="T9" fmla="*/ 0 h 2072"/>
                <a:gd name="T10" fmla="*/ 0 w 1280"/>
                <a:gd name="T11" fmla="*/ 640 h 2072"/>
                <a:gd name="T12" fmla="*/ 623 w 1280"/>
                <a:gd name="T13" fmla="*/ 1887 h 2072"/>
                <a:gd name="T14" fmla="*/ 640 w 1280"/>
                <a:gd name="T15" fmla="*/ 51 h 2072"/>
                <a:gd name="T16" fmla="*/ 1229 w 1280"/>
                <a:gd name="T17" fmla="*/ 640 h 2072"/>
                <a:gd name="T18" fmla="*/ 640 w 1280"/>
                <a:gd name="T19" fmla="*/ 1833 h 2072"/>
                <a:gd name="T20" fmla="*/ 51 w 1280"/>
                <a:gd name="T21" fmla="*/ 640 h 2072"/>
                <a:gd name="T22" fmla="*/ 640 w 1280"/>
                <a:gd name="T23" fmla="*/ 51 h 2072"/>
                <a:gd name="T24" fmla="*/ 1083 w 1280"/>
                <a:gd name="T25" fmla="*/ 589 h 2072"/>
                <a:gd name="T26" fmla="*/ 640 w 1280"/>
                <a:gd name="T27" fmla="*/ 147 h 2072"/>
                <a:gd name="T28" fmla="*/ 198 w 1280"/>
                <a:gd name="T29" fmla="*/ 589 h 2072"/>
                <a:gd name="T30" fmla="*/ 640 w 1280"/>
                <a:gd name="T31" fmla="*/ 1032 h 2072"/>
                <a:gd name="T32" fmla="*/ 1083 w 1280"/>
                <a:gd name="T33" fmla="*/ 589 h 2072"/>
                <a:gd name="T34" fmla="*/ 249 w 1280"/>
                <a:gd name="T35" fmla="*/ 589 h 2072"/>
                <a:gd name="T36" fmla="*/ 640 w 1280"/>
                <a:gd name="T37" fmla="*/ 198 h 2072"/>
                <a:gd name="T38" fmla="*/ 1032 w 1280"/>
                <a:gd name="T39" fmla="*/ 589 h 2072"/>
                <a:gd name="T40" fmla="*/ 640 w 1280"/>
                <a:gd name="T41" fmla="*/ 981 h 2072"/>
                <a:gd name="T42" fmla="*/ 249 w 1280"/>
                <a:gd name="T43" fmla="*/ 589 h 2072"/>
                <a:gd name="T44" fmla="*/ 1217 w 1280"/>
                <a:gd name="T45" fmla="*/ 1870 h 2072"/>
                <a:gd name="T46" fmla="*/ 640 w 1280"/>
                <a:gd name="T47" fmla="*/ 2072 h 2072"/>
                <a:gd name="T48" fmla="*/ 64 w 1280"/>
                <a:gd name="T49" fmla="*/ 1870 h 2072"/>
                <a:gd name="T50" fmla="*/ 377 w 1280"/>
                <a:gd name="T51" fmla="*/ 1689 h 2072"/>
                <a:gd name="T52" fmla="*/ 406 w 1280"/>
                <a:gd name="T53" fmla="*/ 1710 h 2072"/>
                <a:gd name="T54" fmla="*/ 385 w 1280"/>
                <a:gd name="T55" fmla="*/ 1739 h 2072"/>
                <a:gd name="T56" fmla="*/ 114 w 1280"/>
                <a:gd name="T57" fmla="*/ 1870 h 2072"/>
                <a:gd name="T58" fmla="*/ 640 w 1280"/>
                <a:gd name="T59" fmla="*/ 2021 h 2072"/>
                <a:gd name="T60" fmla="*/ 1166 w 1280"/>
                <a:gd name="T61" fmla="*/ 1870 h 2072"/>
                <a:gd name="T62" fmla="*/ 888 w 1280"/>
                <a:gd name="T63" fmla="*/ 1738 h 2072"/>
                <a:gd name="T64" fmla="*/ 867 w 1280"/>
                <a:gd name="T65" fmla="*/ 1709 h 2072"/>
                <a:gd name="T66" fmla="*/ 897 w 1280"/>
                <a:gd name="T67" fmla="*/ 1688 h 2072"/>
                <a:gd name="T68" fmla="*/ 1217 w 1280"/>
                <a:gd name="T69" fmla="*/ 1870 h 2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80" h="2072">
                  <a:moveTo>
                    <a:pt x="623" y="1887"/>
                  </a:moveTo>
                  <a:cubicBezTo>
                    <a:pt x="628" y="1891"/>
                    <a:pt x="634" y="1893"/>
                    <a:pt x="640" y="1893"/>
                  </a:cubicBezTo>
                  <a:cubicBezTo>
                    <a:pt x="646" y="1893"/>
                    <a:pt x="653" y="1891"/>
                    <a:pt x="658" y="1887"/>
                  </a:cubicBezTo>
                  <a:cubicBezTo>
                    <a:pt x="683" y="1863"/>
                    <a:pt x="1280" y="1302"/>
                    <a:pt x="1280" y="640"/>
                  </a:cubicBezTo>
                  <a:cubicBezTo>
                    <a:pt x="1280" y="288"/>
                    <a:pt x="993" y="0"/>
                    <a:pt x="640" y="0"/>
                  </a:cubicBezTo>
                  <a:cubicBezTo>
                    <a:pt x="287" y="0"/>
                    <a:pt x="0" y="288"/>
                    <a:pt x="0" y="640"/>
                  </a:cubicBezTo>
                  <a:cubicBezTo>
                    <a:pt x="0" y="1302"/>
                    <a:pt x="598" y="1863"/>
                    <a:pt x="623" y="1887"/>
                  </a:cubicBezTo>
                  <a:close/>
                  <a:moveTo>
                    <a:pt x="640" y="51"/>
                  </a:moveTo>
                  <a:cubicBezTo>
                    <a:pt x="965" y="51"/>
                    <a:pt x="1229" y="316"/>
                    <a:pt x="1229" y="640"/>
                  </a:cubicBezTo>
                  <a:cubicBezTo>
                    <a:pt x="1229" y="1218"/>
                    <a:pt x="739" y="1734"/>
                    <a:pt x="640" y="1833"/>
                  </a:cubicBezTo>
                  <a:cubicBezTo>
                    <a:pt x="541" y="1734"/>
                    <a:pt x="51" y="1218"/>
                    <a:pt x="51" y="640"/>
                  </a:cubicBezTo>
                  <a:cubicBezTo>
                    <a:pt x="51" y="316"/>
                    <a:pt x="315" y="51"/>
                    <a:pt x="640" y="51"/>
                  </a:cubicBezTo>
                  <a:close/>
                  <a:moveTo>
                    <a:pt x="1083" y="589"/>
                  </a:moveTo>
                  <a:cubicBezTo>
                    <a:pt x="1083" y="345"/>
                    <a:pt x="884" y="147"/>
                    <a:pt x="640" y="147"/>
                  </a:cubicBezTo>
                  <a:cubicBezTo>
                    <a:pt x="396" y="147"/>
                    <a:pt x="198" y="345"/>
                    <a:pt x="198" y="589"/>
                  </a:cubicBezTo>
                  <a:cubicBezTo>
                    <a:pt x="198" y="833"/>
                    <a:pt x="396" y="1032"/>
                    <a:pt x="640" y="1032"/>
                  </a:cubicBezTo>
                  <a:cubicBezTo>
                    <a:pt x="884" y="1032"/>
                    <a:pt x="1083" y="833"/>
                    <a:pt x="1083" y="589"/>
                  </a:cubicBezTo>
                  <a:close/>
                  <a:moveTo>
                    <a:pt x="249" y="589"/>
                  </a:moveTo>
                  <a:cubicBezTo>
                    <a:pt x="249" y="373"/>
                    <a:pt x="424" y="198"/>
                    <a:pt x="640" y="198"/>
                  </a:cubicBezTo>
                  <a:cubicBezTo>
                    <a:pt x="856" y="198"/>
                    <a:pt x="1032" y="373"/>
                    <a:pt x="1032" y="589"/>
                  </a:cubicBezTo>
                  <a:cubicBezTo>
                    <a:pt x="1032" y="805"/>
                    <a:pt x="856" y="981"/>
                    <a:pt x="640" y="981"/>
                  </a:cubicBezTo>
                  <a:cubicBezTo>
                    <a:pt x="424" y="981"/>
                    <a:pt x="249" y="805"/>
                    <a:pt x="249" y="589"/>
                  </a:cubicBezTo>
                  <a:close/>
                  <a:moveTo>
                    <a:pt x="1217" y="1870"/>
                  </a:moveTo>
                  <a:cubicBezTo>
                    <a:pt x="1217" y="2001"/>
                    <a:pt x="920" y="2072"/>
                    <a:pt x="640" y="2072"/>
                  </a:cubicBezTo>
                  <a:cubicBezTo>
                    <a:pt x="361" y="2072"/>
                    <a:pt x="64" y="2001"/>
                    <a:pt x="64" y="1870"/>
                  </a:cubicBezTo>
                  <a:cubicBezTo>
                    <a:pt x="64" y="1789"/>
                    <a:pt x="178" y="1723"/>
                    <a:pt x="377" y="1689"/>
                  </a:cubicBezTo>
                  <a:cubicBezTo>
                    <a:pt x="391" y="1687"/>
                    <a:pt x="404" y="1696"/>
                    <a:pt x="406" y="1710"/>
                  </a:cubicBezTo>
                  <a:cubicBezTo>
                    <a:pt x="408" y="1724"/>
                    <a:pt x="399" y="1737"/>
                    <a:pt x="385" y="1739"/>
                  </a:cubicBezTo>
                  <a:cubicBezTo>
                    <a:pt x="199" y="1771"/>
                    <a:pt x="114" y="1829"/>
                    <a:pt x="114" y="1870"/>
                  </a:cubicBezTo>
                  <a:cubicBezTo>
                    <a:pt x="114" y="1933"/>
                    <a:pt x="314" y="2021"/>
                    <a:pt x="640" y="2021"/>
                  </a:cubicBezTo>
                  <a:cubicBezTo>
                    <a:pt x="966" y="2021"/>
                    <a:pt x="1166" y="1933"/>
                    <a:pt x="1166" y="1870"/>
                  </a:cubicBezTo>
                  <a:cubicBezTo>
                    <a:pt x="1166" y="1829"/>
                    <a:pt x="1079" y="1770"/>
                    <a:pt x="888" y="1738"/>
                  </a:cubicBezTo>
                  <a:cubicBezTo>
                    <a:pt x="874" y="1736"/>
                    <a:pt x="865" y="1723"/>
                    <a:pt x="867" y="1709"/>
                  </a:cubicBezTo>
                  <a:cubicBezTo>
                    <a:pt x="870" y="1695"/>
                    <a:pt x="883" y="1686"/>
                    <a:pt x="897" y="1688"/>
                  </a:cubicBezTo>
                  <a:cubicBezTo>
                    <a:pt x="1100" y="1722"/>
                    <a:pt x="1217" y="1788"/>
                    <a:pt x="1217" y="18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5987450" y="3468861"/>
            <a:ext cx="453655" cy="453655"/>
            <a:chOff x="5987450" y="3468861"/>
            <a:chExt cx="453655" cy="453655"/>
          </a:xfrm>
        </p:grpSpPr>
        <p:sp>
          <p:nvSpPr>
            <p:cNvPr id="69" name="Oval 56"/>
            <p:cNvSpPr>
              <a:spLocks noChangeArrowheads="1"/>
            </p:cNvSpPr>
            <p:nvPr/>
          </p:nvSpPr>
          <p:spPr bwMode="auto">
            <a:xfrm>
              <a:off x="5987450" y="3468861"/>
              <a:ext cx="453655" cy="453655"/>
            </a:xfrm>
            <a:prstGeom prst="ellipse">
              <a:avLst/>
            </a:prstGeom>
            <a:solidFill>
              <a:srgbClr val="EC0000"/>
            </a:solidFill>
            <a:ln w="285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3" name="Freeform 21"/>
            <p:cNvSpPr>
              <a:spLocks noEditPoints="1"/>
            </p:cNvSpPr>
            <p:nvPr/>
          </p:nvSpPr>
          <p:spPr bwMode="auto">
            <a:xfrm>
              <a:off x="6086422" y="3551300"/>
              <a:ext cx="255710" cy="288776"/>
            </a:xfrm>
            <a:custGeom>
              <a:avLst/>
              <a:gdLst>
                <a:gd name="T0" fmla="*/ 1336 w 1561"/>
                <a:gd name="T1" fmla="*/ 1184 h 1764"/>
                <a:gd name="T2" fmla="*/ 1336 w 1561"/>
                <a:gd name="T3" fmla="*/ 580 h 1764"/>
                <a:gd name="T4" fmla="*/ 1524 w 1561"/>
                <a:gd name="T5" fmla="*/ 592 h 1764"/>
                <a:gd name="T6" fmla="*/ 1436 w 1561"/>
                <a:gd name="T7" fmla="*/ 378 h 1764"/>
                <a:gd name="T8" fmla="*/ 1327 w 1561"/>
                <a:gd name="T9" fmla="*/ 441 h 1764"/>
                <a:gd name="T10" fmla="*/ 797 w 1561"/>
                <a:gd name="T11" fmla="*/ 422 h 1764"/>
                <a:gd name="T12" fmla="*/ 906 w 1561"/>
                <a:gd name="T13" fmla="*/ 125 h 1764"/>
                <a:gd name="T14" fmla="*/ 672 w 1561"/>
                <a:gd name="T15" fmla="*/ 188 h 1764"/>
                <a:gd name="T16" fmla="*/ 390 w 1561"/>
                <a:gd name="T17" fmla="*/ 638 h 1764"/>
                <a:gd name="T18" fmla="*/ 214 w 1561"/>
                <a:gd name="T19" fmla="*/ 415 h 1764"/>
                <a:gd name="T20" fmla="*/ 37 w 1561"/>
                <a:gd name="T21" fmla="*/ 415 h 1764"/>
                <a:gd name="T22" fmla="*/ 125 w 1561"/>
                <a:gd name="T23" fmla="*/ 629 h 1764"/>
                <a:gd name="T24" fmla="*/ 374 w 1561"/>
                <a:gd name="T25" fmla="*/ 666 h 1764"/>
                <a:gd name="T26" fmla="*/ 214 w 1561"/>
                <a:gd name="T27" fmla="*/ 1171 h 1764"/>
                <a:gd name="T28" fmla="*/ 0 w 1561"/>
                <a:gd name="T29" fmla="*/ 1260 h 1764"/>
                <a:gd name="T30" fmla="*/ 214 w 1561"/>
                <a:gd name="T31" fmla="*/ 1349 h 1764"/>
                <a:gd name="T32" fmla="*/ 390 w 1561"/>
                <a:gd name="T33" fmla="*/ 1126 h 1764"/>
                <a:gd name="T34" fmla="*/ 672 w 1561"/>
                <a:gd name="T35" fmla="*/ 1576 h 1764"/>
                <a:gd name="T36" fmla="*/ 906 w 1561"/>
                <a:gd name="T37" fmla="*/ 1639 h 1764"/>
                <a:gd name="T38" fmla="*/ 797 w 1561"/>
                <a:gd name="T39" fmla="*/ 1342 h 1764"/>
                <a:gd name="T40" fmla="*/ 1327 w 1561"/>
                <a:gd name="T41" fmla="*/ 1323 h 1764"/>
                <a:gd name="T42" fmla="*/ 1524 w 1561"/>
                <a:gd name="T43" fmla="*/ 1349 h 1764"/>
                <a:gd name="T44" fmla="*/ 1436 w 1561"/>
                <a:gd name="T45" fmla="*/ 1135 h 1764"/>
                <a:gd name="T46" fmla="*/ 1436 w 1561"/>
                <a:gd name="T47" fmla="*/ 410 h 1764"/>
                <a:gd name="T48" fmla="*/ 1529 w 1561"/>
                <a:gd name="T49" fmla="*/ 504 h 1764"/>
                <a:gd name="T50" fmla="*/ 1369 w 1561"/>
                <a:gd name="T51" fmla="*/ 570 h 1764"/>
                <a:gd name="T52" fmla="*/ 699 w 1561"/>
                <a:gd name="T53" fmla="*/ 172 h 1764"/>
                <a:gd name="T54" fmla="*/ 874 w 1561"/>
                <a:gd name="T55" fmla="*/ 125 h 1764"/>
                <a:gd name="T56" fmla="*/ 699 w 1561"/>
                <a:gd name="T57" fmla="*/ 172 h 1764"/>
                <a:gd name="T58" fmla="*/ 32 w 1561"/>
                <a:gd name="T59" fmla="*/ 504 h 1764"/>
                <a:gd name="T60" fmla="*/ 125 w 1561"/>
                <a:gd name="T61" fmla="*/ 410 h 1764"/>
                <a:gd name="T62" fmla="*/ 205 w 1561"/>
                <a:gd name="T63" fmla="*/ 553 h 1764"/>
                <a:gd name="T64" fmla="*/ 206 w 1561"/>
                <a:gd name="T65" fmla="*/ 1307 h 1764"/>
                <a:gd name="T66" fmla="*/ 32 w 1561"/>
                <a:gd name="T67" fmla="*/ 1260 h 1764"/>
                <a:gd name="T68" fmla="*/ 192 w 1561"/>
                <a:gd name="T69" fmla="*/ 1194 h 1764"/>
                <a:gd name="T70" fmla="*/ 862 w 1561"/>
                <a:gd name="T71" fmla="*/ 1592 h 1764"/>
                <a:gd name="T72" fmla="*/ 687 w 1561"/>
                <a:gd name="T73" fmla="*/ 1639 h 1764"/>
                <a:gd name="T74" fmla="*/ 862 w 1561"/>
                <a:gd name="T75" fmla="*/ 1592 h 1764"/>
                <a:gd name="T76" fmla="*/ 406 w 1561"/>
                <a:gd name="T77" fmla="*/ 1098 h 1764"/>
                <a:gd name="T78" fmla="*/ 1155 w 1561"/>
                <a:gd name="T79" fmla="*/ 666 h 1764"/>
                <a:gd name="T80" fmla="*/ 1369 w 1561"/>
                <a:gd name="T81" fmla="*/ 1326 h 1764"/>
                <a:gd name="T82" fmla="*/ 1369 w 1561"/>
                <a:gd name="T83" fmla="*/ 1194 h 1764"/>
                <a:gd name="T84" fmla="*/ 1529 w 1561"/>
                <a:gd name="T85" fmla="*/ 1260 h 1764"/>
                <a:gd name="T86" fmla="*/ 596 w 1561"/>
                <a:gd name="T87" fmla="*/ 988 h 1764"/>
                <a:gd name="T88" fmla="*/ 965 w 1561"/>
                <a:gd name="T89" fmla="*/ 776 h 1764"/>
                <a:gd name="T90" fmla="*/ 933 w 1561"/>
                <a:gd name="T91" fmla="*/ 970 h 1764"/>
                <a:gd name="T92" fmla="*/ 628 w 1561"/>
                <a:gd name="T93" fmla="*/ 794 h 1764"/>
                <a:gd name="T94" fmla="*/ 933 w 1561"/>
                <a:gd name="T95" fmla="*/ 970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61" h="1764">
                  <a:moveTo>
                    <a:pt x="1436" y="1135"/>
                  </a:moveTo>
                  <a:cubicBezTo>
                    <a:pt x="1402" y="1135"/>
                    <a:pt x="1370" y="1148"/>
                    <a:pt x="1347" y="1171"/>
                  </a:cubicBezTo>
                  <a:cubicBezTo>
                    <a:pt x="1343" y="1175"/>
                    <a:pt x="1339" y="1179"/>
                    <a:pt x="1336" y="1184"/>
                  </a:cubicBezTo>
                  <a:cubicBezTo>
                    <a:pt x="1187" y="1098"/>
                    <a:pt x="1187" y="1098"/>
                    <a:pt x="1187" y="1098"/>
                  </a:cubicBezTo>
                  <a:cubicBezTo>
                    <a:pt x="1187" y="666"/>
                    <a:pt x="1187" y="666"/>
                    <a:pt x="1187" y="666"/>
                  </a:cubicBezTo>
                  <a:cubicBezTo>
                    <a:pt x="1336" y="580"/>
                    <a:pt x="1336" y="580"/>
                    <a:pt x="1336" y="580"/>
                  </a:cubicBezTo>
                  <a:cubicBezTo>
                    <a:pt x="1339" y="584"/>
                    <a:pt x="1343" y="588"/>
                    <a:pt x="1347" y="592"/>
                  </a:cubicBezTo>
                  <a:cubicBezTo>
                    <a:pt x="1370" y="616"/>
                    <a:pt x="1402" y="629"/>
                    <a:pt x="1436" y="629"/>
                  </a:cubicBezTo>
                  <a:cubicBezTo>
                    <a:pt x="1470" y="629"/>
                    <a:pt x="1501" y="616"/>
                    <a:pt x="1524" y="592"/>
                  </a:cubicBezTo>
                  <a:cubicBezTo>
                    <a:pt x="1548" y="569"/>
                    <a:pt x="1561" y="537"/>
                    <a:pt x="1561" y="504"/>
                  </a:cubicBezTo>
                  <a:cubicBezTo>
                    <a:pt x="1561" y="470"/>
                    <a:pt x="1548" y="438"/>
                    <a:pt x="1524" y="415"/>
                  </a:cubicBezTo>
                  <a:cubicBezTo>
                    <a:pt x="1501" y="391"/>
                    <a:pt x="1469" y="378"/>
                    <a:pt x="1436" y="378"/>
                  </a:cubicBezTo>
                  <a:cubicBezTo>
                    <a:pt x="1436" y="378"/>
                    <a:pt x="1436" y="378"/>
                    <a:pt x="1436" y="378"/>
                  </a:cubicBezTo>
                  <a:cubicBezTo>
                    <a:pt x="1402" y="378"/>
                    <a:pt x="1371" y="391"/>
                    <a:pt x="1347" y="415"/>
                  </a:cubicBezTo>
                  <a:cubicBezTo>
                    <a:pt x="1340" y="422"/>
                    <a:pt x="1333" y="431"/>
                    <a:pt x="1327" y="441"/>
                  </a:cubicBezTo>
                  <a:cubicBezTo>
                    <a:pt x="1307" y="475"/>
                    <a:pt x="1305" y="516"/>
                    <a:pt x="1320" y="552"/>
                  </a:cubicBezTo>
                  <a:cubicBezTo>
                    <a:pt x="1171" y="638"/>
                    <a:pt x="1171" y="638"/>
                    <a:pt x="1171" y="638"/>
                  </a:cubicBezTo>
                  <a:cubicBezTo>
                    <a:pt x="797" y="422"/>
                    <a:pt x="797" y="422"/>
                    <a:pt x="797" y="422"/>
                  </a:cubicBezTo>
                  <a:cubicBezTo>
                    <a:pt x="797" y="250"/>
                    <a:pt x="797" y="250"/>
                    <a:pt x="797" y="250"/>
                  </a:cubicBezTo>
                  <a:cubicBezTo>
                    <a:pt x="835" y="245"/>
                    <a:pt x="870" y="222"/>
                    <a:pt x="889" y="188"/>
                  </a:cubicBezTo>
                  <a:cubicBezTo>
                    <a:pt x="900" y="169"/>
                    <a:pt x="906" y="147"/>
                    <a:pt x="906" y="125"/>
                  </a:cubicBezTo>
                  <a:cubicBezTo>
                    <a:pt x="906" y="56"/>
                    <a:pt x="850" y="0"/>
                    <a:pt x="780" y="0"/>
                  </a:cubicBezTo>
                  <a:cubicBezTo>
                    <a:pt x="711" y="0"/>
                    <a:pt x="655" y="56"/>
                    <a:pt x="655" y="125"/>
                  </a:cubicBezTo>
                  <a:cubicBezTo>
                    <a:pt x="655" y="147"/>
                    <a:pt x="661" y="169"/>
                    <a:pt x="672" y="188"/>
                  </a:cubicBezTo>
                  <a:cubicBezTo>
                    <a:pt x="691" y="222"/>
                    <a:pt x="726" y="245"/>
                    <a:pt x="764" y="250"/>
                  </a:cubicBezTo>
                  <a:cubicBezTo>
                    <a:pt x="764" y="422"/>
                    <a:pt x="764" y="422"/>
                    <a:pt x="764" y="422"/>
                  </a:cubicBezTo>
                  <a:cubicBezTo>
                    <a:pt x="390" y="638"/>
                    <a:pt x="390" y="638"/>
                    <a:pt x="390" y="638"/>
                  </a:cubicBezTo>
                  <a:cubicBezTo>
                    <a:pt x="240" y="555"/>
                    <a:pt x="240" y="555"/>
                    <a:pt x="240" y="555"/>
                  </a:cubicBezTo>
                  <a:cubicBezTo>
                    <a:pt x="256" y="518"/>
                    <a:pt x="254" y="476"/>
                    <a:pt x="234" y="440"/>
                  </a:cubicBezTo>
                  <a:cubicBezTo>
                    <a:pt x="228" y="431"/>
                    <a:pt x="221" y="422"/>
                    <a:pt x="214" y="415"/>
                  </a:cubicBezTo>
                  <a:cubicBezTo>
                    <a:pt x="190" y="391"/>
                    <a:pt x="159" y="378"/>
                    <a:pt x="125" y="378"/>
                  </a:cubicBezTo>
                  <a:cubicBezTo>
                    <a:pt x="125" y="378"/>
                    <a:pt x="125" y="378"/>
                    <a:pt x="125" y="378"/>
                  </a:cubicBezTo>
                  <a:cubicBezTo>
                    <a:pt x="92" y="378"/>
                    <a:pt x="60" y="391"/>
                    <a:pt x="37" y="415"/>
                  </a:cubicBezTo>
                  <a:cubicBezTo>
                    <a:pt x="13" y="438"/>
                    <a:pt x="0" y="470"/>
                    <a:pt x="0" y="504"/>
                  </a:cubicBezTo>
                  <a:cubicBezTo>
                    <a:pt x="0" y="537"/>
                    <a:pt x="13" y="569"/>
                    <a:pt x="36" y="592"/>
                  </a:cubicBezTo>
                  <a:cubicBezTo>
                    <a:pt x="60" y="616"/>
                    <a:pt x="91" y="629"/>
                    <a:pt x="125" y="629"/>
                  </a:cubicBezTo>
                  <a:cubicBezTo>
                    <a:pt x="159" y="629"/>
                    <a:pt x="190" y="616"/>
                    <a:pt x="214" y="592"/>
                  </a:cubicBezTo>
                  <a:cubicBezTo>
                    <a:pt x="217" y="589"/>
                    <a:pt x="220" y="585"/>
                    <a:pt x="222" y="582"/>
                  </a:cubicBezTo>
                  <a:cubicBezTo>
                    <a:pt x="374" y="666"/>
                    <a:pt x="374" y="666"/>
                    <a:pt x="374" y="666"/>
                  </a:cubicBezTo>
                  <a:cubicBezTo>
                    <a:pt x="374" y="1098"/>
                    <a:pt x="374" y="1098"/>
                    <a:pt x="374" y="1098"/>
                  </a:cubicBezTo>
                  <a:cubicBezTo>
                    <a:pt x="225" y="1184"/>
                    <a:pt x="225" y="1184"/>
                    <a:pt x="225" y="1184"/>
                  </a:cubicBezTo>
                  <a:cubicBezTo>
                    <a:pt x="222" y="1179"/>
                    <a:pt x="218" y="1175"/>
                    <a:pt x="214" y="1171"/>
                  </a:cubicBezTo>
                  <a:cubicBezTo>
                    <a:pt x="190" y="1148"/>
                    <a:pt x="159" y="1135"/>
                    <a:pt x="125" y="1135"/>
                  </a:cubicBezTo>
                  <a:cubicBezTo>
                    <a:pt x="91" y="1135"/>
                    <a:pt x="60" y="1148"/>
                    <a:pt x="37" y="1171"/>
                  </a:cubicBezTo>
                  <a:cubicBezTo>
                    <a:pt x="13" y="1195"/>
                    <a:pt x="0" y="1226"/>
                    <a:pt x="0" y="1260"/>
                  </a:cubicBezTo>
                  <a:cubicBezTo>
                    <a:pt x="0" y="1293"/>
                    <a:pt x="13" y="1325"/>
                    <a:pt x="37" y="1349"/>
                  </a:cubicBezTo>
                  <a:cubicBezTo>
                    <a:pt x="61" y="1373"/>
                    <a:pt x="93" y="1386"/>
                    <a:pt x="125" y="1386"/>
                  </a:cubicBezTo>
                  <a:cubicBezTo>
                    <a:pt x="157" y="1386"/>
                    <a:pt x="190" y="1373"/>
                    <a:pt x="214" y="1349"/>
                  </a:cubicBezTo>
                  <a:cubicBezTo>
                    <a:pt x="222" y="1341"/>
                    <a:pt x="229" y="1332"/>
                    <a:pt x="234" y="1323"/>
                  </a:cubicBezTo>
                  <a:cubicBezTo>
                    <a:pt x="254" y="1289"/>
                    <a:pt x="256" y="1248"/>
                    <a:pt x="241" y="1212"/>
                  </a:cubicBezTo>
                  <a:cubicBezTo>
                    <a:pt x="390" y="1126"/>
                    <a:pt x="390" y="1126"/>
                    <a:pt x="390" y="1126"/>
                  </a:cubicBezTo>
                  <a:cubicBezTo>
                    <a:pt x="764" y="1342"/>
                    <a:pt x="764" y="1342"/>
                    <a:pt x="764" y="1342"/>
                  </a:cubicBezTo>
                  <a:cubicBezTo>
                    <a:pt x="764" y="1514"/>
                    <a:pt x="764" y="1514"/>
                    <a:pt x="764" y="1514"/>
                  </a:cubicBezTo>
                  <a:cubicBezTo>
                    <a:pt x="726" y="1519"/>
                    <a:pt x="691" y="1542"/>
                    <a:pt x="672" y="1576"/>
                  </a:cubicBezTo>
                  <a:cubicBezTo>
                    <a:pt x="661" y="1595"/>
                    <a:pt x="655" y="1616"/>
                    <a:pt x="655" y="1639"/>
                  </a:cubicBezTo>
                  <a:cubicBezTo>
                    <a:pt x="655" y="1708"/>
                    <a:pt x="711" y="1764"/>
                    <a:pt x="780" y="1764"/>
                  </a:cubicBezTo>
                  <a:cubicBezTo>
                    <a:pt x="850" y="1764"/>
                    <a:pt x="906" y="1708"/>
                    <a:pt x="906" y="1639"/>
                  </a:cubicBezTo>
                  <a:cubicBezTo>
                    <a:pt x="906" y="1616"/>
                    <a:pt x="900" y="1595"/>
                    <a:pt x="889" y="1576"/>
                  </a:cubicBezTo>
                  <a:cubicBezTo>
                    <a:pt x="870" y="1542"/>
                    <a:pt x="835" y="1519"/>
                    <a:pt x="797" y="1514"/>
                  </a:cubicBezTo>
                  <a:cubicBezTo>
                    <a:pt x="797" y="1342"/>
                    <a:pt x="797" y="1342"/>
                    <a:pt x="797" y="1342"/>
                  </a:cubicBezTo>
                  <a:cubicBezTo>
                    <a:pt x="1171" y="1126"/>
                    <a:pt x="1171" y="1126"/>
                    <a:pt x="1171" y="1126"/>
                  </a:cubicBezTo>
                  <a:cubicBezTo>
                    <a:pt x="1320" y="1212"/>
                    <a:pt x="1320" y="1212"/>
                    <a:pt x="1320" y="1212"/>
                  </a:cubicBezTo>
                  <a:cubicBezTo>
                    <a:pt x="1305" y="1248"/>
                    <a:pt x="1307" y="1289"/>
                    <a:pt x="1327" y="1323"/>
                  </a:cubicBezTo>
                  <a:cubicBezTo>
                    <a:pt x="1332" y="1332"/>
                    <a:pt x="1339" y="1341"/>
                    <a:pt x="1347" y="1349"/>
                  </a:cubicBezTo>
                  <a:cubicBezTo>
                    <a:pt x="1371" y="1373"/>
                    <a:pt x="1404" y="1386"/>
                    <a:pt x="1436" y="1386"/>
                  </a:cubicBezTo>
                  <a:cubicBezTo>
                    <a:pt x="1468" y="1386"/>
                    <a:pt x="1500" y="1373"/>
                    <a:pt x="1524" y="1349"/>
                  </a:cubicBezTo>
                  <a:cubicBezTo>
                    <a:pt x="1548" y="1325"/>
                    <a:pt x="1561" y="1293"/>
                    <a:pt x="1561" y="1260"/>
                  </a:cubicBezTo>
                  <a:cubicBezTo>
                    <a:pt x="1561" y="1226"/>
                    <a:pt x="1548" y="1195"/>
                    <a:pt x="1524" y="1172"/>
                  </a:cubicBezTo>
                  <a:cubicBezTo>
                    <a:pt x="1501" y="1148"/>
                    <a:pt x="1470" y="1135"/>
                    <a:pt x="1436" y="1135"/>
                  </a:cubicBezTo>
                  <a:close/>
                  <a:moveTo>
                    <a:pt x="1355" y="457"/>
                  </a:moveTo>
                  <a:cubicBezTo>
                    <a:pt x="1359" y="449"/>
                    <a:pt x="1364" y="443"/>
                    <a:pt x="1369" y="437"/>
                  </a:cubicBezTo>
                  <a:cubicBezTo>
                    <a:pt x="1387" y="420"/>
                    <a:pt x="1411" y="410"/>
                    <a:pt x="1436" y="410"/>
                  </a:cubicBezTo>
                  <a:cubicBezTo>
                    <a:pt x="1436" y="410"/>
                    <a:pt x="1436" y="410"/>
                    <a:pt x="1436" y="410"/>
                  </a:cubicBezTo>
                  <a:cubicBezTo>
                    <a:pt x="1461" y="410"/>
                    <a:pt x="1484" y="420"/>
                    <a:pt x="1502" y="438"/>
                  </a:cubicBezTo>
                  <a:cubicBezTo>
                    <a:pt x="1519" y="455"/>
                    <a:pt x="1529" y="479"/>
                    <a:pt x="1529" y="504"/>
                  </a:cubicBezTo>
                  <a:cubicBezTo>
                    <a:pt x="1529" y="529"/>
                    <a:pt x="1519" y="552"/>
                    <a:pt x="1502" y="570"/>
                  </a:cubicBezTo>
                  <a:cubicBezTo>
                    <a:pt x="1502" y="570"/>
                    <a:pt x="1502" y="570"/>
                    <a:pt x="1502" y="570"/>
                  </a:cubicBezTo>
                  <a:cubicBezTo>
                    <a:pt x="1467" y="605"/>
                    <a:pt x="1405" y="605"/>
                    <a:pt x="1369" y="570"/>
                  </a:cubicBezTo>
                  <a:cubicBezTo>
                    <a:pt x="1364" y="564"/>
                    <a:pt x="1359" y="557"/>
                    <a:pt x="1355" y="550"/>
                  </a:cubicBezTo>
                  <a:cubicBezTo>
                    <a:pt x="1338" y="521"/>
                    <a:pt x="1338" y="485"/>
                    <a:pt x="1355" y="457"/>
                  </a:cubicBezTo>
                  <a:close/>
                  <a:moveTo>
                    <a:pt x="699" y="172"/>
                  </a:moveTo>
                  <a:cubicBezTo>
                    <a:pt x="691" y="158"/>
                    <a:pt x="687" y="142"/>
                    <a:pt x="687" y="125"/>
                  </a:cubicBezTo>
                  <a:cubicBezTo>
                    <a:pt x="687" y="74"/>
                    <a:pt x="729" y="32"/>
                    <a:pt x="780" y="32"/>
                  </a:cubicBezTo>
                  <a:cubicBezTo>
                    <a:pt x="832" y="32"/>
                    <a:pt x="874" y="74"/>
                    <a:pt x="874" y="125"/>
                  </a:cubicBezTo>
                  <a:cubicBezTo>
                    <a:pt x="874" y="142"/>
                    <a:pt x="870" y="158"/>
                    <a:pt x="862" y="172"/>
                  </a:cubicBezTo>
                  <a:cubicBezTo>
                    <a:pt x="845" y="201"/>
                    <a:pt x="814" y="219"/>
                    <a:pt x="780" y="219"/>
                  </a:cubicBezTo>
                  <a:cubicBezTo>
                    <a:pt x="747" y="219"/>
                    <a:pt x="716" y="201"/>
                    <a:pt x="699" y="172"/>
                  </a:cubicBezTo>
                  <a:close/>
                  <a:moveTo>
                    <a:pt x="191" y="570"/>
                  </a:moveTo>
                  <a:cubicBezTo>
                    <a:pt x="156" y="605"/>
                    <a:pt x="94" y="605"/>
                    <a:pt x="59" y="570"/>
                  </a:cubicBezTo>
                  <a:cubicBezTo>
                    <a:pt x="41" y="552"/>
                    <a:pt x="32" y="529"/>
                    <a:pt x="32" y="504"/>
                  </a:cubicBezTo>
                  <a:cubicBezTo>
                    <a:pt x="32" y="479"/>
                    <a:pt x="41" y="455"/>
                    <a:pt x="59" y="437"/>
                  </a:cubicBezTo>
                  <a:cubicBezTo>
                    <a:pt x="77" y="420"/>
                    <a:pt x="100" y="410"/>
                    <a:pt x="125" y="410"/>
                  </a:cubicBezTo>
                  <a:cubicBezTo>
                    <a:pt x="125" y="410"/>
                    <a:pt x="125" y="410"/>
                    <a:pt x="125" y="410"/>
                  </a:cubicBezTo>
                  <a:cubicBezTo>
                    <a:pt x="150" y="410"/>
                    <a:pt x="174" y="420"/>
                    <a:pt x="191" y="437"/>
                  </a:cubicBezTo>
                  <a:cubicBezTo>
                    <a:pt x="197" y="443"/>
                    <a:pt x="202" y="449"/>
                    <a:pt x="206" y="457"/>
                  </a:cubicBezTo>
                  <a:cubicBezTo>
                    <a:pt x="224" y="486"/>
                    <a:pt x="223" y="523"/>
                    <a:pt x="205" y="553"/>
                  </a:cubicBezTo>
                  <a:cubicBezTo>
                    <a:pt x="201" y="559"/>
                    <a:pt x="197" y="565"/>
                    <a:pt x="191" y="570"/>
                  </a:cubicBezTo>
                  <a:close/>
                  <a:moveTo>
                    <a:pt x="206" y="1307"/>
                  </a:moveTo>
                  <a:cubicBezTo>
                    <a:pt x="206" y="1307"/>
                    <a:pt x="206" y="1307"/>
                    <a:pt x="206" y="1307"/>
                  </a:cubicBezTo>
                  <a:cubicBezTo>
                    <a:pt x="202" y="1314"/>
                    <a:pt x="197" y="1321"/>
                    <a:pt x="192" y="1326"/>
                  </a:cubicBezTo>
                  <a:cubicBezTo>
                    <a:pt x="155" y="1363"/>
                    <a:pt x="96" y="1363"/>
                    <a:pt x="59" y="1326"/>
                  </a:cubicBezTo>
                  <a:cubicBezTo>
                    <a:pt x="41" y="1309"/>
                    <a:pt x="32" y="1285"/>
                    <a:pt x="32" y="1260"/>
                  </a:cubicBezTo>
                  <a:cubicBezTo>
                    <a:pt x="32" y="1235"/>
                    <a:pt x="42" y="1212"/>
                    <a:pt x="59" y="1194"/>
                  </a:cubicBezTo>
                  <a:cubicBezTo>
                    <a:pt x="77" y="1176"/>
                    <a:pt x="100" y="1167"/>
                    <a:pt x="125" y="1167"/>
                  </a:cubicBezTo>
                  <a:cubicBezTo>
                    <a:pt x="150" y="1167"/>
                    <a:pt x="174" y="1176"/>
                    <a:pt x="192" y="1194"/>
                  </a:cubicBezTo>
                  <a:cubicBezTo>
                    <a:pt x="197" y="1200"/>
                    <a:pt x="202" y="1206"/>
                    <a:pt x="206" y="1213"/>
                  </a:cubicBezTo>
                  <a:cubicBezTo>
                    <a:pt x="223" y="1242"/>
                    <a:pt x="223" y="1278"/>
                    <a:pt x="206" y="1307"/>
                  </a:cubicBezTo>
                  <a:close/>
                  <a:moveTo>
                    <a:pt x="862" y="1592"/>
                  </a:moveTo>
                  <a:cubicBezTo>
                    <a:pt x="870" y="1606"/>
                    <a:pt x="874" y="1622"/>
                    <a:pt x="874" y="1639"/>
                  </a:cubicBezTo>
                  <a:cubicBezTo>
                    <a:pt x="874" y="1690"/>
                    <a:pt x="832" y="1732"/>
                    <a:pt x="780" y="1732"/>
                  </a:cubicBezTo>
                  <a:cubicBezTo>
                    <a:pt x="729" y="1732"/>
                    <a:pt x="687" y="1690"/>
                    <a:pt x="687" y="1639"/>
                  </a:cubicBezTo>
                  <a:cubicBezTo>
                    <a:pt x="687" y="1622"/>
                    <a:pt x="691" y="1606"/>
                    <a:pt x="699" y="1592"/>
                  </a:cubicBezTo>
                  <a:cubicBezTo>
                    <a:pt x="716" y="1563"/>
                    <a:pt x="747" y="1545"/>
                    <a:pt x="780" y="1545"/>
                  </a:cubicBezTo>
                  <a:cubicBezTo>
                    <a:pt x="814" y="1545"/>
                    <a:pt x="845" y="1563"/>
                    <a:pt x="862" y="1592"/>
                  </a:cubicBezTo>
                  <a:close/>
                  <a:moveTo>
                    <a:pt x="1155" y="1098"/>
                  </a:moveTo>
                  <a:cubicBezTo>
                    <a:pt x="780" y="1314"/>
                    <a:pt x="780" y="1314"/>
                    <a:pt x="780" y="1314"/>
                  </a:cubicBezTo>
                  <a:cubicBezTo>
                    <a:pt x="406" y="1098"/>
                    <a:pt x="406" y="1098"/>
                    <a:pt x="406" y="1098"/>
                  </a:cubicBezTo>
                  <a:cubicBezTo>
                    <a:pt x="406" y="666"/>
                    <a:pt x="406" y="666"/>
                    <a:pt x="406" y="666"/>
                  </a:cubicBezTo>
                  <a:cubicBezTo>
                    <a:pt x="780" y="449"/>
                    <a:pt x="780" y="449"/>
                    <a:pt x="780" y="449"/>
                  </a:cubicBezTo>
                  <a:cubicBezTo>
                    <a:pt x="1155" y="666"/>
                    <a:pt x="1155" y="666"/>
                    <a:pt x="1155" y="666"/>
                  </a:cubicBezTo>
                  <a:lnTo>
                    <a:pt x="1155" y="1098"/>
                  </a:lnTo>
                  <a:close/>
                  <a:moveTo>
                    <a:pt x="1502" y="1326"/>
                  </a:moveTo>
                  <a:cubicBezTo>
                    <a:pt x="1465" y="1363"/>
                    <a:pt x="1406" y="1363"/>
                    <a:pt x="1369" y="1326"/>
                  </a:cubicBezTo>
                  <a:cubicBezTo>
                    <a:pt x="1364" y="1321"/>
                    <a:pt x="1359" y="1314"/>
                    <a:pt x="1355" y="1307"/>
                  </a:cubicBezTo>
                  <a:cubicBezTo>
                    <a:pt x="1338" y="1278"/>
                    <a:pt x="1338" y="1242"/>
                    <a:pt x="1355" y="1213"/>
                  </a:cubicBezTo>
                  <a:cubicBezTo>
                    <a:pt x="1359" y="1206"/>
                    <a:pt x="1364" y="1200"/>
                    <a:pt x="1369" y="1194"/>
                  </a:cubicBezTo>
                  <a:cubicBezTo>
                    <a:pt x="1387" y="1176"/>
                    <a:pt x="1411" y="1167"/>
                    <a:pt x="1436" y="1167"/>
                  </a:cubicBezTo>
                  <a:cubicBezTo>
                    <a:pt x="1461" y="1167"/>
                    <a:pt x="1484" y="1176"/>
                    <a:pt x="1502" y="1194"/>
                  </a:cubicBezTo>
                  <a:cubicBezTo>
                    <a:pt x="1519" y="1212"/>
                    <a:pt x="1529" y="1235"/>
                    <a:pt x="1529" y="1260"/>
                  </a:cubicBezTo>
                  <a:cubicBezTo>
                    <a:pt x="1529" y="1285"/>
                    <a:pt x="1519" y="1309"/>
                    <a:pt x="1502" y="1326"/>
                  </a:cubicBezTo>
                  <a:close/>
                  <a:moveTo>
                    <a:pt x="596" y="776"/>
                  </a:moveTo>
                  <a:cubicBezTo>
                    <a:pt x="596" y="988"/>
                    <a:pt x="596" y="988"/>
                    <a:pt x="596" y="988"/>
                  </a:cubicBezTo>
                  <a:cubicBezTo>
                    <a:pt x="780" y="1094"/>
                    <a:pt x="780" y="1094"/>
                    <a:pt x="780" y="1094"/>
                  </a:cubicBezTo>
                  <a:cubicBezTo>
                    <a:pt x="965" y="988"/>
                    <a:pt x="965" y="988"/>
                    <a:pt x="965" y="988"/>
                  </a:cubicBezTo>
                  <a:cubicBezTo>
                    <a:pt x="965" y="776"/>
                    <a:pt x="965" y="776"/>
                    <a:pt x="965" y="776"/>
                  </a:cubicBezTo>
                  <a:cubicBezTo>
                    <a:pt x="780" y="669"/>
                    <a:pt x="780" y="669"/>
                    <a:pt x="780" y="669"/>
                  </a:cubicBezTo>
                  <a:lnTo>
                    <a:pt x="596" y="776"/>
                  </a:lnTo>
                  <a:close/>
                  <a:moveTo>
                    <a:pt x="933" y="970"/>
                  </a:moveTo>
                  <a:cubicBezTo>
                    <a:pt x="780" y="1057"/>
                    <a:pt x="780" y="1057"/>
                    <a:pt x="780" y="1057"/>
                  </a:cubicBezTo>
                  <a:cubicBezTo>
                    <a:pt x="628" y="970"/>
                    <a:pt x="628" y="970"/>
                    <a:pt x="628" y="970"/>
                  </a:cubicBezTo>
                  <a:cubicBezTo>
                    <a:pt x="628" y="794"/>
                    <a:pt x="628" y="794"/>
                    <a:pt x="628" y="794"/>
                  </a:cubicBezTo>
                  <a:cubicBezTo>
                    <a:pt x="780" y="706"/>
                    <a:pt x="780" y="706"/>
                    <a:pt x="780" y="706"/>
                  </a:cubicBezTo>
                  <a:cubicBezTo>
                    <a:pt x="933" y="794"/>
                    <a:pt x="933" y="794"/>
                    <a:pt x="933" y="794"/>
                  </a:cubicBezTo>
                  <a:lnTo>
                    <a:pt x="933" y="97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40052" y="2433126"/>
            <a:ext cx="453655" cy="453655"/>
            <a:chOff x="5740052" y="2433126"/>
            <a:chExt cx="453655" cy="453655"/>
          </a:xfrm>
        </p:grpSpPr>
        <p:sp>
          <p:nvSpPr>
            <p:cNvPr id="55" name="Oval 55"/>
            <p:cNvSpPr>
              <a:spLocks noChangeArrowheads="1"/>
            </p:cNvSpPr>
            <p:nvPr/>
          </p:nvSpPr>
          <p:spPr bwMode="auto">
            <a:xfrm>
              <a:off x="5740052" y="2433126"/>
              <a:ext cx="453655" cy="453655"/>
            </a:xfrm>
            <a:prstGeom prst="ellipse">
              <a:avLst/>
            </a:prstGeom>
            <a:solidFill>
              <a:srgbClr val="EC0000"/>
            </a:solidFill>
            <a:ln w="285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4" name="Freeform 108"/>
            <p:cNvSpPr>
              <a:spLocks noEditPoints="1"/>
            </p:cNvSpPr>
            <p:nvPr/>
          </p:nvSpPr>
          <p:spPr bwMode="auto">
            <a:xfrm>
              <a:off x="5899387" y="2538051"/>
              <a:ext cx="134984" cy="243804"/>
            </a:xfrm>
            <a:custGeom>
              <a:avLst/>
              <a:gdLst>
                <a:gd name="T0" fmla="*/ 464 w 793"/>
                <a:gd name="T1" fmla="*/ 618 h 1437"/>
                <a:gd name="T2" fmla="*/ 257 w 793"/>
                <a:gd name="T3" fmla="*/ 438 h 1437"/>
                <a:gd name="T4" fmla="*/ 314 w 793"/>
                <a:gd name="T5" fmla="*/ 361 h 1437"/>
                <a:gd name="T6" fmla="*/ 735 w 793"/>
                <a:gd name="T7" fmla="*/ 418 h 1437"/>
                <a:gd name="T8" fmla="*/ 750 w 793"/>
                <a:gd name="T9" fmla="*/ 418 h 1437"/>
                <a:gd name="T10" fmla="*/ 757 w 793"/>
                <a:gd name="T11" fmla="*/ 405 h 1437"/>
                <a:gd name="T12" fmla="*/ 757 w 793"/>
                <a:gd name="T13" fmla="*/ 182 h 1437"/>
                <a:gd name="T14" fmla="*/ 750 w 793"/>
                <a:gd name="T15" fmla="*/ 169 h 1437"/>
                <a:gd name="T16" fmla="*/ 476 w 793"/>
                <a:gd name="T17" fmla="*/ 106 h 1437"/>
                <a:gd name="T18" fmla="*/ 476 w 793"/>
                <a:gd name="T19" fmla="*/ 15 h 1437"/>
                <a:gd name="T20" fmla="*/ 462 w 793"/>
                <a:gd name="T21" fmla="*/ 0 h 1437"/>
                <a:gd name="T22" fmla="*/ 388 w 793"/>
                <a:gd name="T23" fmla="*/ 0 h 1437"/>
                <a:gd name="T24" fmla="*/ 373 w 793"/>
                <a:gd name="T25" fmla="*/ 15 h 1437"/>
                <a:gd name="T26" fmla="*/ 373 w 793"/>
                <a:gd name="T27" fmla="*/ 111 h 1437"/>
                <a:gd name="T28" fmla="*/ 0 w 793"/>
                <a:gd name="T29" fmla="*/ 448 h 1437"/>
                <a:gd name="T30" fmla="*/ 330 w 793"/>
                <a:gd name="T31" fmla="*/ 819 h 1437"/>
                <a:gd name="T32" fmla="*/ 537 w 793"/>
                <a:gd name="T33" fmla="*/ 1000 h 1437"/>
                <a:gd name="T34" fmla="*/ 480 w 793"/>
                <a:gd name="T35" fmla="*/ 1076 h 1437"/>
                <a:gd name="T36" fmla="*/ 59 w 793"/>
                <a:gd name="T37" fmla="*/ 1020 h 1437"/>
                <a:gd name="T38" fmla="*/ 44 w 793"/>
                <a:gd name="T39" fmla="*/ 1019 h 1437"/>
                <a:gd name="T40" fmla="*/ 36 w 793"/>
                <a:gd name="T41" fmla="*/ 1032 h 1437"/>
                <a:gd name="T42" fmla="*/ 36 w 793"/>
                <a:gd name="T43" fmla="*/ 1255 h 1437"/>
                <a:gd name="T44" fmla="*/ 44 w 793"/>
                <a:gd name="T45" fmla="*/ 1268 h 1437"/>
                <a:gd name="T46" fmla="*/ 339 w 793"/>
                <a:gd name="T47" fmla="*/ 1331 h 1437"/>
                <a:gd name="T48" fmla="*/ 373 w 793"/>
                <a:gd name="T49" fmla="*/ 1330 h 1437"/>
                <a:gd name="T50" fmla="*/ 373 w 793"/>
                <a:gd name="T51" fmla="*/ 1422 h 1437"/>
                <a:gd name="T52" fmla="*/ 388 w 793"/>
                <a:gd name="T53" fmla="*/ 1437 h 1437"/>
                <a:gd name="T54" fmla="*/ 462 w 793"/>
                <a:gd name="T55" fmla="*/ 1437 h 1437"/>
                <a:gd name="T56" fmla="*/ 476 w 793"/>
                <a:gd name="T57" fmla="*/ 1422 h 1437"/>
                <a:gd name="T58" fmla="*/ 476 w 793"/>
                <a:gd name="T59" fmla="*/ 1315 h 1437"/>
                <a:gd name="T60" fmla="*/ 793 w 793"/>
                <a:gd name="T61" fmla="*/ 989 h 1437"/>
                <a:gd name="T62" fmla="*/ 464 w 793"/>
                <a:gd name="T63" fmla="*/ 618 h 1437"/>
                <a:gd name="T64" fmla="*/ 457 w 793"/>
                <a:gd name="T65" fmla="*/ 1289 h 1437"/>
                <a:gd name="T66" fmla="*/ 447 w 793"/>
                <a:gd name="T67" fmla="*/ 1306 h 1437"/>
                <a:gd name="T68" fmla="*/ 447 w 793"/>
                <a:gd name="T69" fmla="*/ 1307 h 1437"/>
                <a:gd name="T70" fmla="*/ 447 w 793"/>
                <a:gd name="T71" fmla="*/ 1407 h 1437"/>
                <a:gd name="T72" fmla="*/ 403 w 793"/>
                <a:gd name="T73" fmla="*/ 1407 h 1437"/>
                <a:gd name="T74" fmla="*/ 403 w 793"/>
                <a:gd name="T75" fmla="*/ 1320 h 1437"/>
                <a:gd name="T76" fmla="*/ 404 w 793"/>
                <a:gd name="T77" fmla="*/ 1312 h 1437"/>
                <a:gd name="T78" fmla="*/ 388 w 793"/>
                <a:gd name="T79" fmla="*/ 1300 h 1437"/>
                <a:gd name="T80" fmla="*/ 339 w 793"/>
                <a:gd name="T81" fmla="*/ 1302 h 1437"/>
                <a:gd name="T82" fmla="*/ 66 w 793"/>
                <a:gd name="T83" fmla="*/ 1246 h 1437"/>
                <a:gd name="T84" fmla="*/ 66 w 793"/>
                <a:gd name="T85" fmla="*/ 1059 h 1437"/>
                <a:gd name="T86" fmla="*/ 494 w 793"/>
                <a:gd name="T87" fmla="*/ 1102 h 1437"/>
                <a:gd name="T88" fmla="*/ 566 w 793"/>
                <a:gd name="T89" fmla="*/ 1000 h 1437"/>
                <a:gd name="T90" fmla="*/ 342 w 793"/>
                <a:gd name="T91" fmla="*/ 792 h 1437"/>
                <a:gd name="T92" fmla="*/ 30 w 793"/>
                <a:gd name="T93" fmla="*/ 448 h 1437"/>
                <a:gd name="T94" fmla="*/ 390 w 793"/>
                <a:gd name="T95" fmla="*/ 139 h 1437"/>
                <a:gd name="T96" fmla="*/ 403 w 793"/>
                <a:gd name="T97" fmla="*/ 123 h 1437"/>
                <a:gd name="T98" fmla="*/ 403 w 793"/>
                <a:gd name="T99" fmla="*/ 122 h 1437"/>
                <a:gd name="T100" fmla="*/ 403 w 793"/>
                <a:gd name="T101" fmla="*/ 30 h 1437"/>
                <a:gd name="T102" fmla="*/ 447 w 793"/>
                <a:gd name="T103" fmla="*/ 30 h 1437"/>
                <a:gd name="T104" fmla="*/ 447 w 793"/>
                <a:gd name="T105" fmla="*/ 116 h 1437"/>
                <a:gd name="T106" fmla="*/ 446 w 793"/>
                <a:gd name="T107" fmla="*/ 121 h 1437"/>
                <a:gd name="T108" fmla="*/ 461 w 793"/>
                <a:gd name="T109" fmla="*/ 135 h 1437"/>
                <a:gd name="T110" fmla="*/ 728 w 793"/>
                <a:gd name="T111" fmla="*/ 191 h 1437"/>
                <a:gd name="T112" fmla="*/ 728 w 793"/>
                <a:gd name="T113" fmla="*/ 379 h 1437"/>
                <a:gd name="T114" fmla="*/ 300 w 793"/>
                <a:gd name="T115" fmla="*/ 335 h 1437"/>
                <a:gd name="T116" fmla="*/ 227 w 793"/>
                <a:gd name="T117" fmla="*/ 438 h 1437"/>
                <a:gd name="T118" fmla="*/ 451 w 793"/>
                <a:gd name="T119" fmla="*/ 645 h 1437"/>
                <a:gd name="T120" fmla="*/ 764 w 793"/>
                <a:gd name="T121" fmla="*/ 989 h 1437"/>
                <a:gd name="T122" fmla="*/ 457 w 793"/>
                <a:gd name="T123" fmla="*/ 1289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93" h="1437">
                  <a:moveTo>
                    <a:pt x="464" y="618"/>
                  </a:moveTo>
                  <a:cubicBezTo>
                    <a:pt x="353" y="567"/>
                    <a:pt x="257" y="523"/>
                    <a:pt x="257" y="438"/>
                  </a:cubicBezTo>
                  <a:cubicBezTo>
                    <a:pt x="257" y="408"/>
                    <a:pt x="277" y="381"/>
                    <a:pt x="314" y="361"/>
                  </a:cubicBezTo>
                  <a:cubicBezTo>
                    <a:pt x="404" y="312"/>
                    <a:pt x="578" y="316"/>
                    <a:pt x="735" y="418"/>
                  </a:cubicBezTo>
                  <a:cubicBezTo>
                    <a:pt x="739" y="421"/>
                    <a:pt x="745" y="421"/>
                    <a:pt x="750" y="418"/>
                  </a:cubicBezTo>
                  <a:cubicBezTo>
                    <a:pt x="754" y="416"/>
                    <a:pt x="757" y="411"/>
                    <a:pt x="757" y="405"/>
                  </a:cubicBezTo>
                  <a:cubicBezTo>
                    <a:pt x="757" y="182"/>
                    <a:pt x="757" y="182"/>
                    <a:pt x="757" y="182"/>
                  </a:cubicBezTo>
                  <a:cubicBezTo>
                    <a:pt x="757" y="176"/>
                    <a:pt x="754" y="171"/>
                    <a:pt x="750" y="169"/>
                  </a:cubicBezTo>
                  <a:cubicBezTo>
                    <a:pt x="745" y="166"/>
                    <a:pt x="642" y="111"/>
                    <a:pt x="476" y="106"/>
                  </a:cubicBezTo>
                  <a:cubicBezTo>
                    <a:pt x="476" y="15"/>
                    <a:pt x="476" y="15"/>
                    <a:pt x="476" y="15"/>
                  </a:cubicBezTo>
                  <a:cubicBezTo>
                    <a:pt x="476" y="7"/>
                    <a:pt x="470" y="0"/>
                    <a:pt x="462" y="0"/>
                  </a:cubicBezTo>
                  <a:cubicBezTo>
                    <a:pt x="388" y="0"/>
                    <a:pt x="388" y="0"/>
                    <a:pt x="388" y="0"/>
                  </a:cubicBezTo>
                  <a:cubicBezTo>
                    <a:pt x="380" y="0"/>
                    <a:pt x="373" y="7"/>
                    <a:pt x="373" y="15"/>
                  </a:cubicBezTo>
                  <a:cubicBezTo>
                    <a:pt x="373" y="111"/>
                    <a:pt x="373" y="111"/>
                    <a:pt x="373" y="111"/>
                  </a:cubicBezTo>
                  <a:cubicBezTo>
                    <a:pt x="156" y="141"/>
                    <a:pt x="0" y="281"/>
                    <a:pt x="0" y="448"/>
                  </a:cubicBezTo>
                  <a:cubicBezTo>
                    <a:pt x="0" y="667"/>
                    <a:pt x="183" y="751"/>
                    <a:pt x="330" y="819"/>
                  </a:cubicBezTo>
                  <a:cubicBezTo>
                    <a:pt x="441" y="870"/>
                    <a:pt x="537" y="914"/>
                    <a:pt x="537" y="1000"/>
                  </a:cubicBezTo>
                  <a:cubicBezTo>
                    <a:pt x="537" y="1029"/>
                    <a:pt x="517" y="1056"/>
                    <a:pt x="480" y="1076"/>
                  </a:cubicBezTo>
                  <a:cubicBezTo>
                    <a:pt x="389" y="1125"/>
                    <a:pt x="216" y="1122"/>
                    <a:pt x="59" y="1020"/>
                  </a:cubicBezTo>
                  <a:cubicBezTo>
                    <a:pt x="55" y="1017"/>
                    <a:pt x="49" y="1016"/>
                    <a:pt x="44" y="1019"/>
                  </a:cubicBezTo>
                  <a:cubicBezTo>
                    <a:pt x="39" y="1022"/>
                    <a:pt x="36" y="1027"/>
                    <a:pt x="36" y="1032"/>
                  </a:cubicBezTo>
                  <a:cubicBezTo>
                    <a:pt x="36" y="1255"/>
                    <a:pt x="36" y="1255"/>
                    <a:pt x="36" y="1255"/>
                  </a:cubicBezTo>
                  <a:cubicBezTo>
                    <a:pt x="36" y="1261"/>
                    <a:pt x="39" y="1266"/>
                    <a:pt x="44" y="1268"/>
                  </a:cubicBezTo>
                  <a:cubicBezTo>
                    <a:pt x="49" y="1271"/>
                    <a:pt x="161" y="1331"/>
                    <a:pt x="339" y="1331"/>
                  </a:cubicBezTo>
                  <a:cubicBezTo>
                    <a:pt x="350" y="1331"/>
                    <a:pt x="361" y="1331"/>
                    <a:pt x="373" y="1330"/>
                  </a:cubicBezTo>
                  <a:cubicBezTo>
                    <a:pt x="373" y="1422"/>
                    <a:pt x="373" y="1422"/>
                    <a:pt x="373" y="1422"/>
                  </a:cubicBezTo>
                  <a:cubicBezTo>
                    <a:pt x="373" y="1430"/>
                    <a:pt x="380" y="1437"/>
                    <a:pt x="388" y="1437"/>
                  </a:cubicBezTo>
                  <a:cubicBezTo>
                    <a:pt x="462" y="1437"/>
                    <a:pt x="462" y="1437"/>
                    <a:pt x="462" y="1437"/>
                  </a:cubicBezTo>
                  <a:cubicBezTo>
                    <a:pt x="470" y="1437"/>
                    <a:pt x="476" y="1430"/>
                    <a:pt x="476" y="1422"/>
                  </a:cubicBezTo>
                  <a:cubicBezTo>
                    <a:pt x="476" y="1315"/>
                    <a:pt x="476" y="1315"/>
                    <a:pt x="476" y="1315"/>
                  </a:cubicBezTo>
                  <a:cubicBezTo>
                    <a:pt x="667" y="1270"/>
                    <a:pt x="793" y="1140"/>
                    <a:pt x="793" y="989"/>
                  </a:cubicBezTo>
                  <a:cubicBezTo>
                    <a:pt x="793" y="770"/>
                    <a:pt x="611" y="686"/>
                    <a:pt x="464" y="618"/>
                  </a:cubicBezTo>
                  <a:close/>
                  <a:moveTo>
                    <a:pt x="457" y="1289"/>
                  </a:moveTo>
                  <a:cubicBezTo>
                    <a:pt x="450" y="1291"/>
                    <a:pt x="445" y="1298"/>
                    <a:pt x="447" y="1306"/>
                  </a:cubicBezTo>
                  <a:cubicBezTo>
                    <a:pt x="447" y="1307"/>
                    <a:pt x="447" y="1307"/>
                    <a:pt x="447" y="1307"/>
                  </a:cubicBezTo>
                  <a:cubicBezTo>
                    <a:pt x="447" y="1407"/>
                    <a:pt x="447" y="1407"/>
                    <a:pt x="447" y="1407"/>
                  </a:cubicBezTo>
                  <a:cubicBezTo>
                    <a:pt x="403" y="1407"/>
                    <a:pt x="403" y="1407"/>
                    <a:pt x="403" y="1407"/>
                  </a:cubicBezTo>
                  <a:cubicBezTo>
                    <a:pt x="403" y="1320"/>
                    <a:pt x="403" y="1320"/>
                    <a:pt x="403" y="1320"/>
                  </a:cubicBezTo>
                  <a:cubicBezTo>
                    <a:pt x="404" y="1318"/>
                    <a:pt x="404" y="1315"/>
                    <a:pt x="404" y="1312"/>
                  </a:cubicBezTo>
                  <a:cubicBezTo>
                    <a:pt x="403" y="1305"/>
                    <a:pt x="396" y="1299"/>
                    <a:pt x="388" y="1300"/>
                  </a:cubicBezTo>
                  <a:cubicBezTo>
                    <a:pt x="371" y="1301"/>
                    <a:pt x="355" y="1302"/>
                    <a:pt x="339" y="1302"/>
                  </a:cubicBezTo>
                  <a:cubicBezTo>
                    <a:pt x="195" y="1302"/>
                    <a:pt x="94" y="1259"/>
                    <a:pt x="66" y="1246"/>
                  </a:cubicBezTo>
                  <a:cubicBezTo>
                    <a:pt x="66" y="1059"/>
                    <a:pt x="66" y="1059"/>
                    <a:pt x="66" y="1059"/>
                  </a:cubicBezTo>
                  <a:cubicBezTo>
                    <a:pt x="233" y="1157"/>
                    <a:pt x="403" y="1151"/>
                    <a:pt x="494" y="1102"/>
                  </a:cubicBezTo>
                  <a:cubicBezTo>
                    <a:pt x="541" y="1077"/>
                    <a:pt x="566" y="1040"/>
                    <a:pt x="566" y="1000"/>
                  </a:cubicBezTo>
                  <a:cubicBezTo>
                    <a:pt x="566" y="896"/>
                    <a:pt x="458" y="845"/>
                    <a:pt x="342" y="792"/>
                  </a:cubicBezTo>
                  <a:cubicBezTo>
                    <a:pt x="196" y="725"/>
                    <a:pt x="30" y="648"/>
                    <a:pt x="30" y="448"/>
                  </a:cubicBezTo>
                  <a:cubicBezTo>
                    <a:pt x="30" y="293"/>
                    <a:pt x="181" y="163"/>
                    <a:pt x="390" y="139"/>
                  </a:cubicBezTo>
                  <a:cubicBezTo>
                    <a:pt x="398" y="138"/>
                    <a:pt x="403" y="131"/>
                    <a:pt x="403" y="123"/>
                  </a:cubicBezTo>
                  <a:cubicBezTo>
                    <a:pt x="403" y="123"/>
                    <a:pt x="403" y="122"/>
                    <a:pt x="403" y="122"/>
                  </a:cubicBezTo>
                  <a:cubicBezTo>
                    <a:pt x="403" y="30"/>
                    <a:pt x="403" y="30"/>
                    <a:pt x="403" y="30"/>
                  </a:cubicBezTo>
                  <a:cubicBezTo>
                    <a:pt x="447" y="30"/>
                    <a:pt x="447" y="30"/>
                    <a:pt x="447" y="30"/>
                  </a:cubicBezTo>
                  <a:cubicBezTo>
                    <a:pt x="447" y="116"/>
                    <a:pt x="447" y="116"/>
                    <a:pt x="447" y="116"/>
                  </a:cubicBezTo>
                  <a:cubicBezTo>
                    <a:pt x="446" y="118"/>
                    <a:pt x="446" y="119"/>
                    <a:pt x="446" y="121"/>
                  </a:cubicBezTo>
                  <a:cubicBezTo>
                    <a:pt x="446" y="129"/>
                    <a:pt x="453" y="135"/>
                    <a:pt x="461" y="135"/>
                  </a:cubicBezTo>
                  <a:cubicBezTo>
                    <a:pt x="602" y="137"/>
                    <a:pt x="700" y="178"/>
                    <a:pt x="728" y="191"/>
                  </a:cubicBezTo>
                  <a:cubicBezTo>
                    <a:pt x="728" y="379"/>
                    <a:pt x="728" y="379"/>
                    <a:pt x="728" y="379"/>
                  </a:cubicBezTo>
                  <a:cubicBezTo>
                    <a:pt x="561" y="280"/>
                    <a:pt x="391" y="286"/>
                    <a:pt x="300" y="335"/>
                  </a:cubicBezTo>
                  <a:cubicBezTo>
                    <a:pt x="253" y="360"/>
                    <a:pt x="227" y="397"/>
                    <a:pt x="227" y="438"/>
                  </a:cubicBezTo>
                  <a:cubicBezTo>
                    <a:pt x="227" y="542"/>
                    <a:pt x="336" y="592"/>
                    <a:pt x="451" y="645"/>
                  </a:cubicBezTo>
                  <a:cubicBezTo>
                    <a:pt x="598" y="713"/>
                    <a:pt x="764" y="789"/>
                    <a:pt x="764" y="989"/>
                  </a:cubicBezTo>
                  <a:cubicBezTo>
                    <a:pt x="764" y="1129"/>
                    <a:pt x="641" y="1250"/>
                    <a:pt x="457" y="128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225242" y="1543050"/>
            <a:ext cx="453655" cy="453655"/>
            <a:chOff x="5225242" y="1543050"/>
            <a:chExt cx="453655" cy="453655"/>
          </a:xfrm>
        </p:grpSpPr>
        <p:sp>
          <p:nvSpPr>
            <p:cNvPr id="56" name="Oval 57"/>
            <p:cNvSpPr>
              <a:spLocks noChangeArrowheads="1"/>
            </p:cNvSpPr>
            <p:nvPr/>
          </p:nvSpPr>
          <p:spPr bwMode="auto">
            <a:xfrm>
              <a:off x="5225242" y="1543050"/>
              <a:ext cx="453655" cy="453655"/>
            </a:xfrm>
            <a:prstGeom prst="ellipse">
              <a:avLst/>
            </a:prstGeom>
            <a:solidFill>
              <a:srgbClr val="EC0000"/>
            </a:solidFill>
            <a:ln w="285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5322965" y="1656977"/>
              <a:ext cx="258208" cy="225800"/>
            </a:xfrm>
            <a:custGeom>
              <a:avLst/>
              <a:gdLst>
                <a:gd name="T0" fmla="*/ 596 w 1591"/>
                <a:gd name="T1" fmla="*/ 323 h 1390"/>
                <a:gd name="T2" fmla="*/ 586 w 1591"/>
                <a:gd name="T3" fmla="*/ 846 h 1390"/>
                <a:gd name="T4" fmla="*/ 1180 w 1591"/>
                <a:gd name="T5" fmla="*/ 1183 h 1390"/>
                <a:gd name="T6" fmla="*/ 1199 w 1591"/>
                <a:gd name="T7" fmla="*/ 1182 h 1390"/>
                <a:gd name="T8" fmla="*/ 1208 w 1591"/>
                <a:gd name="T9" fmla="*/ 20 h 1390"/>
                <a:gd name="T10" fmla="*/ 1180 w 1591"/>
                <a:gd name="T11" fmla="*/ 3 h 1390"/>
                <a:gd name="T12" fmla="*/ 624 w 1591"/>
                <a:gd name="T13" fmla="*/ 835 h 1390"/>
                <a:gd name="T14" fmla="*/ 1171 w 1591"/>
                <a:gd name="T15" fmla="*/ 52 h 1390"/>
                <a:gd name="T16" fmla="*/ 195 w 1591"/>
                <a:gd name="T17" fmla="*/ 428 h 1390"/>
                <a:gd name="T18" fmla="*/ 544 w 1591"/>
                <a:gd name="T19" fmla="*/ 372 h 1390"/>
                <a:gd name="T20" fmla="*/ 544 w 1591"/>
                <a:gd name="T21" fmla="*/ 334 h 1390"/>
                <a:gd name="T22" fmla="*/ 168 w 1591"/>
                <a:gd name="T23" fmla="*/ 401 h 1390"/>
                <a:gd name="T24" fmla="*/ 111 w 1591"/>
                <a:gd name="T25" fmla="*/ 492 h 1390"/>
                <a:gd name="T26" fmla="*/ 0 w 1591"/>
                <a:gd name="T27" fmla="*/ 574 h 1390"/>
                <a:gd name="T28" fmla="*/ 82 w 1591"/>
                <a:gd name="T29" fmla="*/ 694 h 1390"/>
                <a:gd name="T30" fmla="*/ 112 w 1591"/>
                <a:gd name="T31" fmla="*/ 694 h 1390"/>
                <a:gd name="T32" fmla="*/ 328 w 1591"/>
                <a:gd name="T33" fmla="*/ 851 h 1390"/>
                <a:gd name="T34" fmla="*/ 563 w 1591"/>
                <a:gd name="T35" fmla="*/ 832 h 1390"/>
                <a:gd name="T36" fmla="*/ 328 w 1591"/>
                <a:gd name="T37" fmla="*/ 813 h 1390"/>
                <a:gd name="T38" fmla="*/ 139 w 1591"/>
                <a:gd name="T39" fmla="*/ 624 h 1390"/>
                <a:gd name="T40" fmla="*/ 195 w 1591"/>
                <a:gd name="T41" fmla="*/ 428 h 1390"/>
                <a:gd name="T42" fmla="*/ 38 w 1591"/>
                <a:gd name="T43" fmla="*/ 612 h 1390"/>
                <a:gd name="T44" fmla="*/ 82 w 1591"/>
                <a:gd name="T45" fmla="*/ 530 h 1390"/>
                <a:gd name="T46" fmla="*/ 101 w 1591"/>
                <a:gd name="T47" fmla="*/ 562 h 1390"/>
                <a:gd name="T48" fmla="*/ 104 w 1591"/>
                <a:gd name="T49" fmla="*/ 656 h 1390"/>
                <a:gd name="T50" fmla="*/ 1591 w 1591"/>
                <a:gd name="T51" fmla="*/ 593 h 1390"/>
                <a:gd name="T52" fmla="*/ 1498 w 1591"/>
                <a:gd name="T53" fmla="*/ 936 h 1390"/>
                <a:gd name="T54" fmla="*/ 1481 w 1591"/>
                <a:gd name="T55" fmla="*/ 909 h 1390"/>
                <a:gd name="T56" fmla="*/ 1481 w 1591"/>
                <a:gd name="T57" fmla="*/ 277 h 1390"/>
                <a:gd name="T58" fmla="*/ 1515 w 1591"/>
                <a:gd name="T59" fmla="*/ 261 h 1390"/>
                <a:gd name="T60" fmla="*/ 1406 w 1591"/>
                <a:gd name="T61" fmla="*/ 371 h 1390"/>
                <a:gd name="T62" fmla="*/ 1406 w 1591"/>
                <a:gd name="T63" fmla="*/ 815 h 1390"/>
                <a:gd name="T64" fmla="*/ 1382 w 1591"/>
                <a:gd name="T65" fmla="*/ 826 h 1390"/>
                <a:gd name="T66" fmla="*/ 1410 w 1591"/>
                <a:gd name="T67" fmla="*/ 593 h 1390"/>
                <a:gd name="T68" fmla="*/ 1382 w 1591"/>
                <a:gd name="T69" fmla="*/ 360 h 1390"/>
                <a:gd name="T70" fmla="*/ 1292 w 1591"/>
                <a:gd name="T71" fmla="*/ 489 h 1390"/>
                <a:gd name="T72" fmla="*/ 1292 w 1591"/>
                <a:gd name="T73" fmla="*/ 697 h 1390"/>
                <a:gd name="T74" fmla="*/ 1269 w 1591"/>
                <a:gd name="T75" fmla="*/ 712 h 1390"/>
                <a:gd name="T76" fmla="*/ 1266 w 1591"/>
                <a:gd name="T77" fmla="*/ 593 h 1390"/>
                <a:gd name="T78" fmla="*/ 1269 w 1591"/>
                <a:gd name="T79" fmla="*/ 474 h 1390"/>
                <a:gd name="T80" fmla="*/ 499 w 1591"/>
                <a:gd name="T81" fmla="*/ 890 h 1390"/>
                <a:gd name="T82" fmla="*/ 417 w 1591"/>
                <a:gd name="T83" fmla="*/ 1390 h 1390"/>
                <a:gd name="T84" fmla="*/ 297 w 1591"/>
                <a:gd name="T85" fmla="*/ 1307 h 1390"/>
                <a:gd name="T86" fmla="*/ 316 w 1591"/>
                <a:gd name="T87" fmla="*/ 871 h 1390"/>
                <a:gd name="T88" fmla="*/ 335 w 1591"/>
                <a:gd name="T89" fmla="*/ 1307 h 1390"/>
                <a:gd name="T90" fmla="*/ 417 w 1591"/>
                <a:gd name="T91" fmla="*/ 1352 h 1390"/>
                <a:gd name="T92" fmla="*/ 462 w 1591"/>
                <a:gd name="T93" fmla="*/ 890 h 1390"/>
                <a:gd name="T94" fmla="*/ 499 w 1591"/>
                <a:gd name="T95" fmla="*/ 8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91" h="1390">
                  <a:moveTo>
                    <a:pt x="1180" y="3"/>
                  </a:moveTo>
                  <a:cubicBezTo>
                    <a:pt x="596" y="323"/>
                    <a:pt x="596" y="323"/>
                    <a:pt x="596" y="323"/>
                  </a:cubicBezTo>
                  <a:cubicBezTo>
                    <a:pt x="590" y="326"/>
                    <a:pt x="586" y="333"/>
                    <a:pt x="586" y="340"/>
                  </a:cubicBezTo>
                  <a:cubicBezTo>
                    <a:pt x="586" y="846"/>
                    <a:pt x="586" y="846"/>
                    <a:pt x="586" y="846"/>
                  </a:cubicBezTo>
                  <a:cubicBezTo>
                    <a:pt x="586" y="853"/>
                    <a:pt x="590" y="860"/>
                    <a:pt x="596" y="863"/>
                  </a:cubicBezTo>
                  <a:cubicBezTo>
                    <a:pt x="1180" y="1183"/>
                    <a:pt x="1180" y="1183"/>
                    <a:pt x="1180" y="1183"/>
                  </a:cubicBezTo>
                  <a:cubicBezTo>
                    <a:pt x="1183" y="1184"/>
                    <a:pt x="1186" y="1185"/>
                    <a:pt x="1189" y="1185"/>
                  </a:cubicBezTo>
                  <a:cubicBezTo>
                    <a:pt x="1193" y="1185"/>
                    <a:pt x="1196" y="1184"/>
                    <a:pt x="1199" y="1182"/>
                  </a:cubicBezTo>
                  <a:cubicBezTo>
                    <a:pt x="1205" y="1179"/>
                    <a:pt x="1208" y="1173"/>
                    <a:pt x="1208" y="1166"/>
                  </a:cubicBezTo>
                  <a:cubicBezTo>
                    <a:pt x="1208" y="20"/>
                    <a:pt x="1208" y="20"/>
                    <a:pt x="1208" y="20"/>
                  </a:cubicBezTo>
                  <a:cubicBezTo>
                    <a:pt x="1208" y="13"/>
                    <a:pt x="1205" y="7"/>
                    <a:pt x="1199" y="3"/>
                  </a:cubicBezTo>
                  <a:cubicBezTo>
                    <a:pt x="1193" y="0"/>
                    <a:pt x="1186" y="0"/>
                    <a:pt x="1180" y="3"/>
                  </a:cubicBezTo>
                  <a:close/>
                  <a:moveTo>
                    <a:pt x="1171" y="1134"/>
                  </a:moveTo>
                  <a:cubicBezTo>
                    <a:pt x="624" y="835"/>
                    <a:pt x="624" y="835"/>
                    <a:pt x="624" y="835"/>
                  </a:cubicBezTo>
                  <a:cubicBezTo>
                    <a:pt x="624" y="351"/>
                    <a:pt x="624" y="351"/>
                    <a:pt x="624" y="351"/>
                  </a:cubicBezTo>
                  <a:cubicBezTo>
                    <a:pt x="1171" y="52"/>
                    <a:pt x="1171" y="52"/>
                    <a:pt x="1171" y="52"/>
                  </a:cubicBezTo>
                  <a:lnTo>
                    <a:pt x="1171" y="1134"/>
                  </a:lnTo>
                  <a:close/>
                  <a:moveTo>
                    <a:pt x="195" y="428"/>
                  </a:moveTo>
                  <a:cubicBezTo>
                    <a:pt x="230" y="392"/>
                    <a:pt x="278" y="372"/>
                    <a:pt x="328" y="372"/>
                  </a:cubicBezTo>
                  <a:cubicBezTo>
                    <a:pt x="544" y="372"/>
                    <a:pt x="544" y="372"/>
                    <a:pt x="544" y="372"/>
                  </a:cubicBezTo>
                  <a:cubicBezTo>
                    <a:pt x="555" y="372"/>
                    <a:pt x="563" y="364"/>
                    <a:pt x="563" y="353"/>
                  </a:cubicBezTo>
                  <a:cubicBezTo>
                    <a:pt x="563" y="343"/>
                    <a:pt x="555" y="334"/>
                    <a:pt x="544" y="334"/>
                  </a:cubicBezTo>
                  <a:cubicBezTo>
                    <a:pt x="328" y="334"/>
                    <a:pt x="328" y="334"/>
                    <a:pt x="328" y="334"/>
                  </a:cubicBezTo>
                  <a:cubicBezTo>
                    <a:pt x="268" y="334"/>
                    <a:pt x="211" y="358"/>
                    <a:pt x="168" y="401"/>
                  </a:cubicBezTo>
                  <a:cubicBezTo>
                    <a:pt x="142" y="427"/>
                    <a:pt x="123" y="458"/>
                    <a:pt x="112" y="492"/>
                  </a:cubicBezTo>
                  <a:cubicBezTo>
                    <a:pt x="112" y="492"/>
                    <a:pt x="111" y="492"/>
                    <a:pt x="111" y="492"/>
                  </a:cubicBezTo>
                  <a:cubicBezTo>
                    <a:pt x="82" y="492"/>
                    <a:pt x="82" y="492"/>
                    <a:pt x="82" y="492"/>
                  </a:cubicBezTo>
                  <a:cubicBezTo>
                    <a:pt x="36" y="492"/>
                    <a:pt x="0" y="529"/>
                    <a:pt x="0" y="574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0" y="657"/>
                    <a:pt x="36" y="694"/>
                    <a:pt x="82" y="694"/>
                  </a:cubicBezTo>
                  <a:cubicBezTo>
                    <a:pt x="111" y="694"/>
                    <a:pt x="111" y="694"/>
                    <a:pt x="111" y="694"/>
                  </a:cubicBezTo>
                  <a:cubicBezTo>
                    <a:pt x="111" y="694"/>
                    <a:pt x="112" y="694"/>
                    <a:pt x="112" y="694"/>
                  </a:cubicBezTo>
                  <a:cubicBezTo>
                    <a:pt x="123" y="728"/>
                    <a:pt x="142" y="759"/>
                    <a:pt x="168" y="785"/>
                  </a:cubicBezTo>
                  <a:cubicBezTo>
                    <a:pt x="211" y="828"/>
                    <a:pt x="268" y="851"/>
                    <a:pt x="328" y="851"/>
                  </a:cubicBezTo>
                  <a:cubicBezTo>
                    <a:pt x="544" y="851"/>
                    <a:pt x="544" y="851"/>
                    <a:pt x="544" y="851"/>
                  </a:cubicBezTo>
                  <a:cubicBezTo>
                    <a:pt x="555" y="851"/>
                    <a:pt x="563" y="843"/>
                    <a:pt x="563" y="832"/>
                  </a:cubicBezTo>
                  <a:cubicBezTo>
                    <a:pt x="563" y="822"/>
                    <a:pt x="555" y="813"/>
                    <a:pt x="544" y="813"/>
                  </a:cubicBezTo>
                  <a:cubicBezTo>
                    <a:pt x="328" y="813"/>
                    <a:pt x="328" y="813"/>
                    <a:pt x="328" y="813"/>
                  </a:cubicBezTo>
                  <a:cubicBezTo>
                    <a:pt x="278" y="813"/>
                    <a:pt x="230" y="794"/>
                    <a:pt x="194" y="758"/>
                  </a:cubicBezTo>
                  <a:cubicBezTo>
                    <a:pt x="159" y="722"/>
                    <a:pt x="139" y="675"/>
                    <a:pt x="139" y="624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9" y="511"/>
                    <a:pt x="159" y="464"/>
                    <a:pt x="195" y="428"/>
                  </a:cubicBezTo>
                  <a:close/>
                  <a:moveTo>
                    <a:pt x="82" y="656"/>
                  </a:moveTo>
                  <a:cubicBezTo>
                    <a:pt x="57" y="656"/>
                    <a:pt x="38" y="636"/>
                    <a:pt x="38" y="612"/>
                  </a:cubicBezTo>
                  <a:cubicBezTo>
                    <a:pt x="38" y="574"/>
                    <a:pt x="38" y="574"/>
                    <a:pt x="38" y="574"/>
                  </a:cubicBezTo>
                  <a:cubicBezTo>
                    <a:pt x="38" y="550"/>
                    <a:pt x="57" y="530"/>
                    <a:pt x="82" y="530"/>
                  </a:cubicBezTo>
                  <a:cubicBezTo>
                    <a:pt x="104" y="530"/>
                    <a:pt x="104" y="530"/>
                    <a:pt x="104" y="530"/>
                  </a:cubicBezTo>
                  <a:cubicBezTo>
                    <a:pt x="102" y="540"/>
                    <a:pt x="101" y="551"/>
                    <a:pt x="101" y="562"/>
                  </a:cubicBezTo>
                  <a:cubicBezTo>
                    <a:pt x="101" y="624"/>
                    <a:pt x="101" y="624"/>
                    <a:pt x="101" y="624"/>
                  </a:cubicBezTo>
                  <a:cubicBezTo>
                    <a:pt x="101" y="635"/>
                    <a:pt x="102" y="646"/>
                    <a:pt x="104" y="656"/>
                  </a:cubicBezTo>
                  <a:lnTo>
                    <a:pt x="82" y="656"/>
                  </a:lnTo>
                  <a:close/>
                  <a:moveTo>
                    <a:pt x="1591" y="593"/>
                  </a:moveTo>
                  <a:cubicBezTo>
                    <a:pt x="1591" y="709"/>
                    <a:pt x="1565" y="821"/>
                    <a:pt x="1515" y="925"/>
                  </a:cubicBezTo>
                  <a:cubicBezTo>
                    <a:pt x="1511" y="932"/>
                    <a:pt x="1505" y="936"/>
                    <a:pt x="1498" y="936"/>
                  </a:cubicBezTo>
                  <a:cubicBezTo>
                    <a:pt x="1495" y="936"/>
                    <a:pt x="1492" y="935"/>
                    <a:pt x="1489" y="934"/>
                  </a:cubicBezTo>
                  <a:cubicBezTo>
                    <a:pt x="1480" y="930"/>
                    <a:pt x="1476" y="918"/>
                    <a:pt x="1481" y="909"/>
                  </a:cubicBezTo>
                  <a:cubicBezTo>
                    <a:pt x="1529" y="810"/>
                    <a:pt x="1553" y="704"/>
                    <a:pt x="1553" y="593"/>
                  </a:cubicBezTo>
                  <a:cubicBezTo>
                    <a:pt x="1553" y="482"/>
                    <a:pt x="1529" y="376"/>
                    <a:pt x="1481" y="277"/>
                  </a:cubicBezTo>
                  <a:cubicBezTo>
                    <a:pt x="1476" y="268"/>
                    <a:pt x="1480" y="256"/>
                    <a:pt x="1489" y="252"/>
                  </a:cubicBezTo>
                  <a:cubicBezTo>
                    <a:pt x="1499" y="247"/>
                    <a:pt x="1510" y="251"/>
                    <a:pt x="1515" y="261"/>
                  </a:cubicBezTo>
                  <a:cubicBezTo>
                    <a:pt x="1565" y="365"/>
                    <a:pt x="1591" y="476"/>
                    <a:pt x="1591" y="593"/>
                  </a:cubicBezTo>
                  <a:close/>
                  <a:moveTo>
                    <a:pt x="1406" y="371"/>
                  </a:moveTo>
                  <a:cubicBezTo>
                    <a:pt x="1434" y="442"/>
                    <a:pt x="1447" y="517"/>
                    <a:pt x="1447" y="593"/>
                  </a:cubicBezTo>
                  <a:cubicBezTo>
                    <a:pt x="1447" y="669"/>
                    <a:pt x="1434" y="744"/>
                    <a:pt x="1406" y="815"/>
                  </a:cubicBezTo>
                  <a:cubicBezTo>
                    <a:pt x="1403" y="822"/>
                    <a:pt x="1396" y="827"/>
                    <a:pt x="1388" y="827"/>
                  </a:cubicBezTo>
                  <a:cubicBezTo>
                    <a:pt x="1386" y="827"/>
                    <a:pt x="1384" y="826"/>
                    <a:pt x="1382" y="826"/>
                  </a:cubicBezTo>
                  <a:cubicBezTo>
                    <a:pt x="1372" y="822"/>
                    <a:pt x="1367" y="811"/>
                    <a:pt x="1371" y="801"/>
                  </a:cubicBezTo>
                  <a:cubicBezTo>
                    <a:pt x="1396" y="735"/>
                    <a:pt x="1410" y="665"/>
                    <a:pt x="1410" y="593"/>
                  </a:cubicBezTo>
                  <a:cubicBezTo>
                    <a:pt x="1410" y="521"/>
                    <a:pt x="1396" y="451"/>
                    <a:pt x="1371" y="385"/>
                  </a:cubicBezTo>
                  <a:cubicBezTo>
                    <a:pt x="1367" y="375"/>
                    <a:pt x="1372" y="364"/>
                    <a:pt x="1382" y="360"/>
                  </a:cubicBezTo>
                  <a:cubicBezTo>
                    <a:pt x="1391" y="357"/>
                    <a:pt x="1402" y="361"/>
                    <a:pt x="1406" y="371"/>
                  </a:cubicBezTo>
                  <a:close/>
                  <a:moveTo>
                    <a:pt x="1292" y="489"/>
                  </a:moveTo>
                  <a:cubicBezTo>
                    <a:pt x="1300" y="523"/>
                    <a:pt x="1304" y="558"/>
                    <a:pt x="1304" y="593"/>
                  </a:cubicBezTo>
                  <a:cubicBezTo>
                    <a:pt x="1304" y="628"/>
                    <a:pt x="1300" y="663"/>
                    <a:pt x="1292" y="697"/>
                  </a:cubicBezTo>
                  <a:cubicBezTo>
                    <a:pt x="1290" y="706"/>
                    <a:pt x="1282" y="712"/>
                    <a:pt x="1274" y="712"/>
                  </a:cubicBezTo>
                  <a:cubicBezTo>
                    <a:pt x="1272" y="712"/>
                    <a:pt x="1271" y="712"/>
                    <a:pt x="1269" y="712"/>
                  </a:cubicBezTo>
                  <a:cubicBezTo>
                    <a:pt x="1259" y="709"/>
                    <a:pt x="1253" y="699"/>
                    <a:pt x="1255" y="689"/>
                  </a:cubicBezTo>
                  <a:cubicBezTo>
                    <a:pt x="1262" y="658"/>
                    <a:pt x="1266" y="625"/>
                    <a:pt x="1266" y="593"/>
                  </a:cubicBezTo>
                  <a:cubicBezTo>
                    <a:pt x="1266" y="561"/>
                    <a:pt x="1262" y="528"/>
                    <a:pt x="1255" y="497"/>
                  </a:cubicBezTo>
                  <a:cubicBezTo>
                    <a:pt x="1253" y="487"/>
                    <a:pt x="1259" y="477"/>
                    <a:pt x="1269" y="474"/>
                  </a:cubicBezTo>
                  <a:cubicBezTo>
                    <a:pt x="1279" y="472"/>
                    <a:pt x="1290" y="478"/>
                    <a:pt x="1292" y="489"/>
                  </a:cubicBezTo>
                  <a:close/>
                  <a:moveTo>
                    <a:pt x="499" y="890"/>
                  </a:moveTo>
                  <a:cubicBezTo>
                    <a:pt x="499" y="1307"/>
                    <a:pt x="499" y="1307"/>
                    <a:pt x="499" y="1307"/>
                  </a:cubicBezTo>
                  <a:cubicBezTo>
                    <a:pt x="499" y="1353"/>
                    <a:pt x="463" y="1390"/>
                    <a:pt x="417" y="1390"/>
                  </a:cubicBezTo>
                  <a:cubicBezTo>
                    <a:pt x="379" y="1390"/>
                    <a:pt x="379" y="1390"/>
                    <a:pt x="379" y="1390"/>
                  </a:cubicBezTo>
                  <a:cubicBezTo>
                    <a:pt x="334" y="1390"/>
                    <a:pt x="297" y="1353"/>
                    <a:pt x="297" y="1307"/>
                  </a:cubicBezTo>
                  <a:cubicBezTo>
                    <a:pt x="297" y="890"/>
                    <a:pt x="297" y="890"/>
                    <a:pt x="297" y="890"/>
                  </a:cubicBezTo>
                  <a:cubicBezTo>
                    <a:pt x="297" y="880"/>
                    <a:pt x="306" y="871"/>
                    <a:pt x="316" y="871"/>
                  </a:cubicBezTo>
                  <a:cubicBezTo>
                    <a:pt x="326" y="871"/>
                    <a:pt x="335" y="880"/>
                    <a:pt x="335" y="890"/>
                  </a:cubicBezTo>
                  <a:cubicBezTo>
                    <a:pt x="335" y="1307"/>
                    <a:pt x="335" y="1307"/>
                    <a:pt x="335" y="1307"/>
                  </a:cubicBezTo>
                  <a:cubicBezTo>
                    <a:pt x="335" y="1332"/>
                    <a:pt x="355" y="1352"/>
                    <a:pt x="379" y="1352"/>
                  </a:cubicBezTo>
                  <a:cubicBezTo>
                    <a:pt x="417" y="1352"/>
                    <a:pt x="417" y="1352"/>
                    <a:pt x="417" y="1352"/>
                  </a:cubicBezTo>
                  <a:cubicBezTo>
                    <a:pt x="442" y="1352"/>
                    <a:pt x="462" y="1332"/>
                    <a:pt x="462" y="1307"/>
                  </a:cubicBezTo>
                  <a:cubicBezTo>
                    <a:pt x="462" y="890"/>
                    <a:pt x="462" y="890"/>
                    <a:pt x="462" y="890"/>
                  </a:cubicBezTo>
                  <a:cubicBezTo>
                    <a:pt x="462" y="880"/>
                    <a:pt x="470" y="871"/>
                    <a:pt x="480" y="871"/>
                  </a:cubicBezTo>
                  <a:cubicBezTo>
                    <a:pt x="491" y="871"/>
                    <a:pt x="499" y="880"/>
                    <a:pt x="499" y="89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59" name="Freeform 79"/>
          <p:cNvSpPr>
            <a:spLocks/>
          </p:cNvSpPr>
          <p:nvPr/>
        </p:nvSpPr>
        <p:spPr bwMode="auto">
          <a:xfrm>
            <a:off x="5473222" y="3868575"/>
            <a:ext cx="131710" cy="131708"/>
          </a:xfrm>
          <a:custGeom>
            <a:avLst/>
            <a:gdLst>
              <a:gd name="T0" fmla="*/ 227 w 316"/>
              <a:gd name="T1" fmla="*/ 277 h 316"/>
              <a:gd name="T2" fmla="*/ 38 w 316"/>
              <a:gd name="T3" fmla="*/ 227 h 316"/>
              <a:gd name="T4" fmla="*/ 89 w 316"/>
              <a:gd name="T5" fmla="*/ 38 h 316"/>
              <a:gd name="T6" fmla="*/ 278 w 316"/>
              <a:gd name="T7" fmla="*/ 89 h 316"/>
              <a:gd name="T8" fmla="*/ 227 w 316"/>
              <a:gd name="T9" fmla="*/ 277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" h="316">
                <a:moveTo>
                  <a:pt x="227" y="277"/>
                </a:moveTo>
                <a:cubicBezTo>
                  <a:pt x="161" y="316"/>
                  <a:pt x="76" y="293"/>
                  <a:pt x="38" y="227"/>
                </a:cubicBezTo>
                <a:cubicBezTo>
                  <a:pt x="0" y="161"/>
                  <a:pt x="23" y="76"/>
                  <a:pt x="89" y="38"/>
                </a:cubicBezTo>
                <a:cubicBezTo>
                  <a:pt x="155" y="0"/>
                  <a:pt x="239" y="22"/>
                  <a:pt x="278" y="89"/>
                </a:cubicBezTo>
                <a:cubicBezTo>
                  <a:pt x="316" y="155"/>
                  <a:pt x="293" y="239"/>
                  <a:pt x="227" y="2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0" name="Freeform 80"/>
          <p:cNvSpPr>
            <a:spLocks/>
          </p:cNvSpPr>
          <p:nvPr/>
        </p:nvSpPr>
        <p:spPr bwMode="auto">
          <a:xfrm>
            <a:off x="5297541" y="3316517"/>
            <a:ext cx="131710" cy="131708"/>
          </a:xfrm>
          <a:custGeom>
            <a:avLst/>
            <a:gdLst>
              <a:gd name="T0" fmla="*/ 227 w 315"/>
              <a:gd name="T1" fmla="*/ 277 h 315"/>
              <a:gd name="T2" fmla="*/ 38 w 315"/>
              <a:gd name="T3" fmla="*/ 227 h 315"/>
              <a:gd name="T4" fmla="*/ 88 w 315"/>
              <a:gd name="T5" fmla="*/ 38 h 315"/>
              <a:gd name="T6" fmla="*/ 277 w 315"/>
              <a:gd name="T7" fmla="*/ 88 h 315"/>
              <a:gd name="T8" fmla="*/ 227 w 315"/>
              <a:gd name="T9" fmla="*/ 277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5" h="315">
                <a:moveTo>
                  <a:pt x="227" y="277"/>
                </a:moveTo>
                <a:cubicBezTo>
                  <a:pt x="161" y="315"/>
                  <a:pt x="76" y="293"/>
                  <a:pt x="38" y="227"/>
                </a:cubicBezTo>
                <a:cubicBezTo>
                  <a:pt x="0" y="161"/>
                  <a:pt x="22" y="76"/>
                  <a:pt x="88" y="38"/>
                </a:cubicBezTo>
                <a:cubicBezTo>
                  <a:pt x="155" y="0"/>
                  <a:pt x="239" y="22"/>
                  <a:pt x="277" y="88"/>
                </a:cubicBezTo>
                <a:cubicBezTo>
                  <a:pt x="315" y="155"/>
                  <a:pt x="293" y="239"/>
                  <a:pt x="227" y="2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1" name="Freeform 81"/>
          <p:cNvSpPr>
            <a:spLocks/>
          </p:cNvSpPr>
          <p:nvPr/>
        </p:nvSpPr>
        <p:spPr bwMode="auto">
          <a:xfrm>
            <a:off x="4175634" y="2957900"/>
            <a:ext cx="131710" cy="132322"/>
          </a:xfrm>
          <a:custGeom>
            <a:avLst/>
            <a:gdLst>
              <a:gd name="T0" fmla="*/ 227 w 316"/>
              <a:gd name="T1" fmla="*/ 278 h 316"/>
              <a:gd name="T2" fmla="*/ 39 w 316"/>
              <a:gd name="T3" fmla="*/ 227 h 316"/>
              <a:gd name="T4" fmla="*/ 89 w 316"/>
              <a:gd name="T5" fmla="*/ 38 h 316"/>
              <a:gd name="T6" fmla="*/ 278 w 316"/>
              <a:gd name="T7" fmla="*/ 89 h 316"/>
              <a:gd name="T8" fmla="*/ 227 w 316"/>
              <a:gd name="T9" fmla="*/ 278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" h="316">
                <a:moveTo>
                  <a:pt x="227" y="278"/>
                </a:moveTo>
                <a:cubicBezTo>
                  <a:pt x="161" y="316"/>
                  <a:pt x="77" y="293"/>
                  <a:pt x="39" y="227"/>
                </a:cubicBezTo>
                <a:cubicBezTo>
                  <a:pt x="0" y="161"/>
                  <a:pt x="23" y="76"/>
                  <a:pt x="89" y="38"/>
                </a:cubicBezTo>
                <a:cubicBezTo>
                  <a:pt x="155" y="0"/>
                  <a:pt x="240" y="23"/>
                  <a:pt x="278" y="89"/>
                </a:cubicBezTo>
                <a:cubicBezTo>
                  <a:pt x="316" y="155"/>
                  <a:pt x="294" y="240"/>
                  <a:pt x="227" y="2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2" name="Freeform 82"/>
          <p:cNvSpPr>
            <a:spLocks/>
          </p:cNvSpPr>
          <p:nvPr/>
        </p:nvSpPr>
        <p:spPr bwMode="auto">
          <a:xfrm>
            <a:off x="4835518" y="2957900"/>
            <a:ext cx="132322" cy="132322"/>
          </a:xfrm>
          <a:custGeom>
            <a:avLst/>
            <a:gdLst>
              <a:gd name="T0" fmla="*/ 227 w 316"/>
              <a:gd name="T1" fmla="*/ 278 h 316"/>
              <a:gd name="T2" fmla="*/ 38 w 316"/>
              <a:gd name="T3" fmla="*/ 227 h 316"/>
              <a:gd name="T4" fmla="*/ 89 w 316"/>
              <a:gd name="T5" fmla="*/ 38 h 316"/>
              <a:gd name="T6" fmla="*/ 278 w 316"/>
              <a:gd name="T7" fmla="*/ 89 h 316"/>
              <a:gd name="T8" fmla="*/ 227 w 316"/>
              <a:gd name="T9" fmla="*/ 278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" h="316">
                <a:moveTo>
                  <a:pt x="227" y="278"/>
                </a:moveTo>
                <a:cubicBezTo>
                  <a:pt x="161" y="316"/>
                  <a:pt x="76" y="293"/>
                  <a:pt x="38" y="227"/>
                </a:cubicBezTo>
                <a:cubicBezTo>
                  <a:pt x="0" y="161"/>
                  <a:pt x="22" y="76"/>
                  <a:pt x="89" y="38"/>
                </a:cubicBezTo>
                <a:cubicBezTo>
                  <a:pt x="155" y="0"/>
                  <a:pt x="239" y="23"/>
                  <a:pt x="278" y="89"/>
                </a:cubicBezTo>
                <a:cubicBezTo>
                  <a:pt x="316" y="155"/>
                  <a:pt x="293" y="240"/>
                  <a:pt x="227" y="27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3" name="Freeform 83"/>
          <p:cNvSpPr>
            <a:spLocks/>
          </p:cNvSpPr>
          <p:nvPr/>
        </p:nvSpPr>
        <p:spPr bwMode="auto">
          <a:xfrm>
            <a:off x="3713639" y="3316517"/>
            <a:ext cx="131710" cy="131708"/>
          </a:xfrm>
          <a:custGeom>
            <a:avLst/>
            <a:gdLst>
              <a:gd name="T0" fmla="*/ 227 w 315"/>
              <a:gd name="T1" fmla="*/ 277 h 315"/>
              <a:gd name="T2" fmla="*/ 38 w 315"/>
              <a:gd name="T3" fmla="*/ 227 h 315"/>
              <a:gd name="T4" fmla="*/ 88 w 315"/>
              <a:gd name="T5" fmla="*/ 38 h 315"/>
              <a:gd name="T6" fmla="*/ 277 w 315"/>
              <a:gd name="T7" fmla="*/ 88 h 315"/>
              <a:gd name="T8" fmla="*/ 227 w 315"/>
              <a:gd name="T9" fmla="*/ 277 h 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5" h="315">
                <a:moveTo>
                  <a:pt x="227" y="277"/>
                </a:moveTo>
                <a:cubicBezTo>
                  <a:pt x="160" y="315"/>
                  <a:pt x="76" y="293"/>
                  <a:pt x="38" y="227"/>
                </a:cubicBezTo>
                <a:cubicBezTo>
                  <a:pt x="0" y="160"/>
                  <a:pt x="22" y="76"/>
                  <a:pt x="88" y="38"/>
                </a:cubicBezTo>
                <a:cubicBezTo>
                  <a:pt x="154" y="0"/>
                  <a:pt x="239" y="22"/>
                  <a:pt x="277" y="88"/>
                </a:cubicBezTo>
                <a:cubicBezTo>
                  <a:pt x="315" y="154"/>
                  <a:pt x="293" y="239"/>
                  <a:pt x="227" y="2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4" name="Freeform 84"/>
          <p:cNvSpPr>
            <a:spLocks/>
          </p:cNvSpPr>
          <p:nvPr/>
        </p:nvSpPr>
        <p:spPr bwMode="auto">
          <a:xfrm>
            <a:off x="3537930" y="3868575"/>
            <a:ext cx="132322" cy="131708"/>
          </a:xfrm>
          <a:custGeom>
            <a:avLst/>
            <a:gdLst>
              <a:gd name="T0" fmla="*/ 227 w 316"/>
              <a:gd name="T1" fmla="*/ 277 h 316"/>
              <a:gd name="T2" fmla="*/ 38 w 316"/>
              <a:gd name="T3" fmla="*/ 227 h 316"/>
              <a:gd name="T4" fmla="*/ 89 w 316"/>
              <a:gd name="T5" fmla="*/ 38 h 316"/>
              <a:gd name="T6" fmla="*/ 278 w 316"/>
              <a:gd name="T7" fmla="*/ 89 h 316"/>
              <a:gd name="T8" fmla="*/ 227 w 316"/>
              <a:gd name="T9" fmla="*/ 277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6" h="316">
                <a:moveTo>
                  <a:pt x="227" y="277"/>
                </a:moveTo>
                <a:cubicBezTo>
                  <a:pt x="161" y="316"/>
                  <a:pt x="77" y="293"/>
                  <a:pt x="38" y="227"/>
                </a:cubicBezTo>
                <a:cubicBezTo>
                  <a:pt x="0" y="161"/>
                  <a:pt x="23" y="76"/>
                  <a:pt x="89" y="38"/>
                </a:cubicBezTo>
                <a:cubicBezTo>
                  <a:pt x="155" y="0"/>
                  <a:pt x="240" y="22"/>
                  <a:pt x="278" y="89"/>
                </a:cubicBezTo>
                <a:cubicBezTo>
                  <a:pt x="316" y="155"/>
                  <a:pt x="293" y="239"/>
                  <a:pt x="227" y="27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82" name="Group 81"/>
          <p:cNvGrpSpPr/>
          <p:nvPr/>
        </p:nvGrpSpPr>
        <p:grpSpPr>
          <a:xfrm>
            <a:off x="6001904" y="1543050"/>
            <a:ext cx="1777804" cy="486349"/>
            <a:chOff x="3786484" y="1531165"/>
            <a:chExt cx="1777804" cy="486349"/>
          </a:xfrm>
        </p:grpSpPr>
        <p:sp>
          <p:nvSpPr>
            <p:cNvPr id="83" name="TextBox 82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AMPANH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87" name="Group 86"/>
          <p:cNvGrpSpPr/>
          <p:nvPr/>
        </p:nvGrpSpPr>
        <p:grpSpPr>
          <a:xfrm>
            <a:off x="6769294" y="3501822"/>
            <a:ext cx="1777805" cy="486349"/>
            <a:chOff x="3786484" y="1531165"/>
            <a:chExt cx="1777804" cy="486349"/>
          </a:xfrm>
        </p:grpSpPr>
        <p:sp>
          <p:nvSpPr>
            <p:cNvPr id="88" name="TextBox 87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ANAL DE VEND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6527462" y="2435587"/>
            <a:ext cx="1777805" cy="486349"/>
            <a:chOff x="3786484" y="1531165"/>
            <a:chExt cx="1777804" cy="486349"/>
          </a:xfrm>
        </p:grpSpPr>
        <p:sp>
          <p:nvSpPr>
            <p:cNvPr id="91" name="TextBox 90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ÉTODO DE PAGA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820454" y="2435587"/>
            <a:ext cx="1777805" cy="486349"/>
            <a:chOff x="3786484" y="1531165"/>
            <a:chExt cx="1777804" cy="486349"/>
          </a:xfrm>
        </p:grpSpPr>
        <p:sp>
          <p:nvSpPr>
            <p:cNvPr id="94" name="TextBox 93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594034" y="3501822"/>
            <a:ext cx="1777805" cy="486349"/>
            <a:chOff x="3786484" y="1531165"/>
            <a:chExt cx="1777804" cy="486349"/>
          </a:xfrm>
        </p:grpSpPr>
        <p:sp>
          <p:nvSpPr>
            <p:cNvPr id="98" name="TextBox 97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LIENT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3786484" y="1715572"/>
              <a:ext cx="177780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1344441" y="1543050"/>
            <a:ext cx="1777804" cy="487760"/>
            <a:chOff x="3786484" y="1531165"/>
            <a:chExt cx="1777804" cy="487760"/>
          </a:xfrm>
        </p:grpSpPr>
        <p:sp>
          <p:nvSpPr>
            <p:cNvPr id="105" name="TextBox 104"/>
            <p:cNvSpPr txBox="1"/>
            <p:nvPr/>
          </p:nvSpPr>
          <p:spPr>
            <a:xfrm>
              <a:off x="3786516" y="1531165"/>
              <a:ext cx="177773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LOCALIZ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3786484" y="1715572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3994150" y="3513275"/>
            <a:ext cx="1155700" cy="703469"/>
            <a:chOff x="3994150" y="3628496"/>
            <a:chExt cx="1155700" cy="703469"/>
          </a:xfrm>
        </p:grpSpPr>
        <p:sp>
          <p:nvSpPr>
            <p:cNvPr id="107" name="TextBox 106"/>
            <p:cNvSpPr txBox="1"/>
            <p:nvPr/>
          </p:nvSpPr>
          <p:spPr>
            <a:xfrm>
              <a:off x="3994150" y="4067854"/>
              <a:ext cx="1155700" cy="264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600"/>
                </a:spcAft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sir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gum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descrição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e breves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formações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4007983" y="3628496"/>
              <a:ext cx="1129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ratégia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ndas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65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Questõe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obre</a:t>
            </a:r>
            <a:r>
              <a:rPr lang="en-US" dirty="0">
                <a:solidFill>
                  <a:srgbClr val="EC0000"/>
                </a:solidFill>
              </a:rPr>
              <a:t> o </a:t>
            </a:r>
            <a:r>
              <a:rPr lang="en-US" dirty="0" err="1">
                <a:solidFill>
                  <a:srgbClr val="EC0000"/>
                </a:solidFill>
              </a:rPr>
              <a:t>proje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4" name="Line 41"/>
          <p:cNvSpPr>
            <a:spLocks noChangeShapeType="1"/>
          </p:cNvSpPr>
          <p:nvPr/>
        </p:nvSpPr>
        <p:spPr bwMode="auto">
          <a:xfrm flipH="1">
            <a:off x="3087789" y="2787652"/>
            <a:ext cx="925902" cy="0"/>
          </a:xfrm>
          <a:prstGeom prst="line">
            <a:avLst/>
          </a:pr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Line 41"/>
          <p:cNvSpPr>
            <a:spLocks noChangeShapeType="1"/>
          </p:cNvSpPr>
          <p:nvPr/>
        </p:nvSpPr>
        <p:spPr bwMode="auto">
          <a:xfrm flipH="1">
            <a:off x="5135238" y="2787652"/>
            <a:ext cx="920975" cy="0"/>
          </a:xfrm>
          <a:prstGeom prst="line">
            <a:avLst/>
          </a:pr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36"/>
          <p:cNvSpPr>
            <a:spLocks/>
          </p:cNvSpPr>
          <p:nvPr/>
        </p:nvSpPr>
        <p:spPr bwMode="auto">
          <a:xfrm>
            <a:off x="3485579" y="1776981"/>
            <a:ext cx="528113" cy="870770"/>
          </a:xfrm>
          <a:custGeom>
            <a:avLst/>
            <a:gdLst>
              <a:gd name="T0" fmla="*/ 0 w 410"/>
              <a:gd name="T1" fmla="*/ 0 h 676"/>
              <a:gd name="T2" fmla="*/ 129 w 410"/>
              <a:gd name="T3" fmla="*/ 0 h 676"/>
              <a:gd name="T4" fmla="*/ 189 w 410"/>
              <a:gd name="T5" fmla="*/ 60 h 676"/>
              <a:gd name="T6" fmla="*/ 189 w 410"/>
              <a:gd name="T7" fmla="*/ 616 h 676"/>
              <a:gd name="T8" fmla="*/ 249 w 410"/>
              <a:gd name="T9" fmla="*/ 676 h 676"/>
              <a:gd name="T10" fmla="*/ 410 w 410"/>
              <a:gd name="T11" fmla="*/ 676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0" h="676">
                <a:moveTo>
                  <a:pt x="0" y="0"/>
                </a:moveTo>
                <a:cubicBezTo>
                  <a:pt x="129" y="0"/>
                  <a:pt x="129" y="0"/>
                  <a:pt x="129" y="0"/>
                </a:cubicBezTo>
                <a:cubicBezTo>
                  <a:pt x="162" y="0"/>
                  <a:pt x="189" y="26"/>
                  <a:pt x="189" y="60"/>
                </a:cubicBezTo>
                <a:cubicBezTo>
                  <a:pt x="189" y="616"/>
                  <a:pt x="189" y="616"/>
                  <a:pt x="189" y="616"/>
                </a:cubicBezTo>
                <a:cubicBezTo>
                  <a:pt x="189" y="649"/>
                  <a:pt x="216" y="676"/>
                  <a:pt x="249" y="676"/>
                </a:cubicBezTo>
                <a:cubicBezTo>
                  <a:pt x="410" y="676"/>
                  <a:pt x="410" y="676"/>
                  <a:pt x="410" y="676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" name="Freeform 40"/>
          <p:cNvSpPr>
            <a:spLocks/>
          </p:cNvSpPr>
          <p:nvPr/>
        </p:nvSpPr>
        <p:spPr bwMode="auto">
          <a:xfrm>
            <a:off x="5135239" y="1776981"/>
            <a:ext cx="528113" cy="870770"/>
          </a:xfrm>
          <a:custGeom>
            <a:avLst/>
            <a:gdLst>
              <a:gd name="T0" fmla="*/ 410 w 410"/>
              <a:gd name="T1" fmla="*/ 0 h 676"/>
              <a:gd name="T2" fmla="*/ 281 w 410"/>
              <a:gd name="T3" fmla="*/ 0 h 676"/>
              <a:gd name="T4" fmla="*/ 221 w 410"/>
              <a:gd name="T5" fmla="*/ 60 h 676"/>
              <a:gd name="T6" fmla="*/ 221 w 410"/>
              <a:gd name="T7" fmla="*/ 616 h 676"/>
              <a:gd name="T8" fmla="*/ 161 w 410"/>
              <a:gd name="T9" fmla="*/ 676 h 676"/>
              <a:gd name="T10" fmla="*/ 0 w 410"/>
              <a:gd name="T11" fmla="*/ 676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0" h="676">
                <a:moveTo>
                  <a:pt x="410" y="0"/>
                </a:moveTo>
                <a:cubicBezTo>
                  <a:pt x="281" y="0"/>
                  <a:pt x="281" y="0"/>
                  <a:pt x="281" y="0"/>
                </a:cubicBezTo>
                <a:cubicBezTo>
                  <a:pt x="248" y="0"/>
                  <a:pt x="221" y="26"/>
                  <a:pt x="221" y="60"/>
                </a:cubicBezTo>
                <a:cubicBezTo>
                  <a:pt x="221" y="616"/>
                  <a:pt x="221" y="616"/>
                  <a:pt x="221" y="616"/>
                </a:cubicBezTo>
                <a:cubicBezTo>
                  <a:pt x="221" y="649"/>
                  <a:pt x="194" y="676"/>
                  <a:pt x="161" y="676"/>
                </a:cubicBezTo>
                <a:cubicBezTo>
                  <a:pt x="0" y="676"/>
                  <a:pt x="0" y="676"/>
                  <a:pt x="0" y="676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4" name="Freeform 37"/>
          <p:cNvSpPr>
            <a:spLocks/>
          </p:cNvSpPr>
          <p:nvPr/>
        </p:nvSpPr>
        <p:spPr bwMode="auto">
          <a:xfrm>
            <a:off x="3485579" y="2904916"/>
            <a:ext cx="528113" cy="870770"/>
          </a:xfrm>
          <a:custGeom>
            <a:avLst/>
            <a:gdLst>
              <a:gd name="T0" fmla="*/ 0 w 410"/>
              <a:gd name="T1" fmla="*/ 676 h 676"/>
              <a:gd name="T2" fmla="*/ 129 w 410"/>
              <a:gd name="T3" fmla="*/ 676 h 676"/>
              <a:gd name="T4" fmla="*/ 189 w 410"/>
              <a:gd name="T5" fmla="*/ 616 h 676"/>
              <a:gd name="T6" fmla="*/ 189 w 410"/>
              <a:gd name="T7" fmla="*/ 60 h 676"/>
              <a:gd name="T8" fmla="*/ 249 w 410"/>
              <a:gd name="T9" fmla="*/ 0 h 676"/>
              <a:gd name="T10" fmla="*/ 410 w 410"/>
              <a:gd name="T11" fmla="*/ 0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0" h="676">
                <a:moveTo>
                  <a:pt x="0" y="676"/>
                </a:moveTo>
                <a:cubicBezTo>
                  <a:pt x="129" y="676"/>
                  <a:pt x="129" y="676"/>
                  <a:pt x="129" y="676"/>
                </a:cubicBezTo>
                <a:cubicBezTo>
                  <a:pt x="162" y="676"/>
                  <a:pt x="189" y="650"/>
                  <a:pt x="189" y="616"/>
                </a:cubicBezTo>
                <a:cubicBezTo>
                  <a:pt x="189" y="60"/>
                  <a:pt x="189" y="60"/>
                  <a:pt x="189" y="60"/>
                </a:cubicBezTo>
                <a:cubicBezTo>
                  <a:pt x="189" y="27"/>
                  <a:pt x="216" y="0"/>
                  <a:pt x="249" y="0"/>
                </a:cubicBezTo>
                <a:cubicBezTo>
                  <a:pt x="410" y="0"/>
                  <a:pt x="410" y="0"/>
                  <a:pt x="41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5" name="Freeform 39"/>
          <p:cNvSpPr>
            <a:spLocks/>
          </p:cNvSpPr>
          <p:nvPr/>
        </p:nvSpPr>
        <p:spPr bwMode="auto">
          <a:xfrm>
            <a:off x="5135239" y="2904916"/>
            <a:ext cx="528113" cy="870770"/>
          </a:xfrm>
          <a:custGeom>
            <a:avLst/>
            <a:gdLst>
              <a:gd name="T0" fmla="*/ 410 w 410"/>
              <a:gd name="T1" fmla="*/ 676 h 676"/>
              <a:gd name="T2" fmla="*/ 281 w 410"/>
              <a:gd name="T3" fmla="*/ 676 h 676"/>
              <a:gd name="T4" fmla="*/ 221 w 410"/>
              <a:gd name="T5" fmla="*/ 616 h 676"/>
              <a:gd name="T6" fmla="*/ 221 w 410"/>
              <a:gd name="T7" fmla="*/ 60 h 676"/>
              <a:gd name="T8" fmla="*/ 161 w 410"/>
              <a:gd name="T9" fmla="*/ 0 h 676"/>
              <a:gd name="T10" fmla="*/ 0 w 410"/>
              <a:gd name="T11" fmla="*/ 0 h 6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0" h="676">
                <a:moveTo>
                  <a:pt x="410" y="676"/>
                </a:moveTo>
                <a:cubicBezTo>
                  <a:pt x="281" y="676"/>
                  <a:pt x="281" y="676"/>
                  <a:pt x="281" y="676"/>
                </a:cubicBezTo>
                <a:cubicBezTo>
                  <a:pt x="248" y="676"/>
                  <a:pt x="221" y="650"/>
                  <a:pt x="221" y="616"/>
                </a:cubicBezTo>
                <a:cubicBezTo>
                  <a:pt x="221" y="60"/>
                  <a:pt x="221" y="60"/>
                  <a:pt x="221" y="60"/>
                </a:cubicBezTo>
                <a:cubicBezTo>
                  <a:pt x="221" y="27"/>
                  <a:pt x="194" y="0"/>
                  <a:pt x="161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noFill/>
          <a:ln w="9525" cap="flat">
            <a:solidFill>
              <a:schemeClr val="accent5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4" name="Oval 35"/>
          <p:cNvSpPr>
            <a:spLocks noChangeArrowheads="1"/>
          </p:cNvSpPr>
          <p:nvPr/>
        </p:nvSpPr>
        <p:spPr bwMode="auto">
          <a:xfrm>
            <a:off x="3952575" y="2154309"/>
            <a:ext cx="1238854" cy="123951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5" name="Freeform 45"/>
          <p:cNvSpPr>
            <a:spLocks noEditPoints="1"/>
          </p:cNvSpPr>
          <p:nvPr/>
        </p:nvSpPr>
        <p:spPr bwMode="auto">
          <a:xfrm>
            <a:off x="4356044" y="2378974"/>
            <a:ext cx="425446" cy="790185"/>
          </a:xfrm>
          <a:custGeom>
            <a:avLst/>
            <a:gdLst>
              <a:gd name="T0" fmla="*/ 435 w 760"/>
              <a:gd name="T1" fmla="*/ 10 h 1415"/>
              <a:gd name="T2" fmla="*/ 12 w 760"/>
              <a:gd name="T3" fmla="*/ 294 h 1415"/>
              <a:gd name="T4" fmla="*/ 76 w 760"/>
              <a:gd name="T5" fmla="*/ 403 h 1415"/>
              <a:gd name="T6" fmla="*/ 144 w 760"/>
              <a:gd name="T7" fmla="*/ 393 h 1415"/>
              <a:gd name="T8" fmla="*/ 185 w 760"/>
              <a:gd name="T9" fmla="*/ 339 h 1415"/>
              <a:gd name="T10" fmla="*/ 423 w 760"/>
              <a:gd name="T11" fmla="*/ 189 h 1415"/>
              <a:gd name="T12" fmla="*/ 581 w 760"/>
              <a:gd name="T13" fmla="*/ 355 h 1415"/>
              <a:gd name="T14" fmla="*/ 445 w 760"/>
              <a:gd name="T15" fmla="*/ 588 h 1415"/>
              <a:gd name="T16" fmla="*/ 244 w 760"/>
              <a:gd name="T17" fmla="*/ 987 h 1415"/>
              <a:gd name="T18" fmla="*/ 244 w 760"/>
              <a:gd name="T19" fmla="*/ 993 h 1415"/>
              <a:gd name="T20" fmla="*/ 333 w 760"/>
              <a:gd name="T21" fmla="*/ 1079 h 1415"/>
              <a:gd name="T22" fmla="*/ 422 w 760"/>
              <a:gd name="T23" fmla="*/ 987 h 1415"/>
              <a:gd name="T24" fmla="*/ 575 w 760"/>
              <a:gd name="T25" fmla="*/ 711 h 1415"/>
              <a:gd name="T26" fmla="*/ 760 w 760"/>
              <a:gd name="T27" fmla="*/ 355 h 1415"/>
              <a:gd name="T28" fmla="*/ 435 w 760"/>
              <a:gd name="T29" fmla="*/ 10 h 1415"/>
              <a:gd name="T30" fmla="*/ 565 w 760"/>
              <a:gd name="T31" fmla="*/ 702 h 1415"/>
              <a:gd name="T32" fmla="*/ 409 w 760"/>
              <a:gd name="T33" fmla="*/ 987 h 1415"/>
              <a:gd name="T34" fmla="*/ 333 w 760"/>
              <a:gd name="T35" fmla="*/ 1066 h 1415"/>
              <a:gd name="T36" fmla="*/ 257 w 760"/>
              <a:gd name="T37" fmla="*/ 993 h 1415"/>
              <a:gd name="T38" fmla="*/ 257 w 760"/>
              <a:gd name="T39" fmla="*/ 987 h 1415"/>
              <a:gd name="T40" fmla="*/ 454 w 760"/>
              <a:gd name="T41" fmla="*/ 597 h 1415"/>
              <a:gd name="T42" fmla="*/ 595 w 760"/>
              <a:gd name="T43" fmla="*/ 355 h 1415"/>
              <a:gd name="T44" fmla="*/ 424 w 760"/>
              <a:gd name="T45" fmla="*/ 175 h 1415"/>
              <a:gd name="T46" fmla="*/ 404 w 760"/>
              <a:gd name="T47" fmla="*/ 175 h 1415"/>
              <a:gd name="T48" fmla="*/ 172 w 760"/>
              <a:gd name="T49" fmla="*/ 336 h 1415"/>
              <a:gd name="T50" fmla="*/ 137 w 760"/>
              <a:gd name="T51" fmla="*/ 382 h 1415"/>
              <a:gd name="T52" fmla="*/ 80 w 760"/>
              <a:gd name="T53" fmla="*/ 390 h 1415"/>
              <a:gd name="T54" fmla="*/ 25 w 760"/>
              <a:gd name="T55" fmla="*/ 297 h 1415"/>
              <a:gd name="T56" fmla="*/ 434 w 760"/>
              <a:gd name="T57" fmla="*/ 24 h 1415"/>
              <a:gd name="T58" fmla="*/ 747 w 760"/>
              <a:gd name="T59" fmla="*/ 355 h 1415"/>
              <a:gd name="T60" fmla="*/ 565 w 760"/>
              <a:gd name="T61" fmla="*/ 702 h 1415"/>
              <a:gd name="T62" fmla="*/ 339 w 760"/>
              <a:gd name="T63" fmla="*/ 1213 h 1415"/>
              <a:gd name="T64" fmla="*/ 239 w 760"/>
              <a:gd name="T65" fmla="*/ 1314 h 1415"/>
              <a:gd name="T66" fmla="*/ 339 w 760"/>
              <a:gd name="T67" fmla="*/ 1415 h 1415"/>
              <a:gd name="T68" fmla="*/ 440 w 760"/>
              <a:gd name="T69" fmla="*/ 1314 h 1415"/>
              <a:gd name="T70" fmla="*/ 339 w 760"/>
              <a:gd name="T71" fmla="*/ 1213 h 1415"/>
              <a:gd name="T72" fmla="*/ 339 w 760"/>
              <a:gd name="T73" fmla="*/ 1401 h 1415"/>
              <a:gd name="T74" fmla="*/ 252 w 760"/>
              <a:gd name="T75" fmla="*/ 1314 h 1415"/>
              <a:gd name="T76" fmla="*/ 339 w 760"/>
              <a:gd name="T77" fmla="*/ 1226 h 1415"/>
              <a:gd name="T78" fmla="*/ 427 w 760"/>
              <a:gd name="T79" fmla="*/ 1314 h 1415"/>
              <a:gd name="T80" fmla="*/ 339 w 760"/>
              <a:gd name="T81" fmla="*/ 1401 h 14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760" h="1415">
                <a:moveTo>
                  <a:pt x="435" y="10"/>
                </a:moveTo>
                <a:cubicBezTo>
                  <a:pt x="270" y="0"/>
                  <a:pt x="67" y="84"/>
                  <a:pt x="12" y="294"/>
                </a:cubicBezTo>
                <a:cubicBezTo>
                  <a:pt x="0" y="341"/>
                  <a:pt x="29" y="390"/>
                  <a:pt x="76" y="403"/>
                </a:cubicBezTo>
                <a:cubicBezTo>
                  <a:pt x="99" y="409"/>
                  <a:pt x="123" y="405"/>
                  <a:pt x="144" y="393"/>
                </a:cubicBezTo>
                <a:cubicBezTo>
                  <a:pt x="165" y="381"/>
                  <a:pt x="179" y="362"/>
                  <a:pt x="185" y="339"/>
                </a:cubicBezTo>
                <a:cubicBezTo>
                  <a:pt x="215" y="226"/>
                  <a:pt x="326" y="182"/>
                  <a:pt x="423" y="189"/>
                </a:cubicBezTo>
                <a:cubicBezTo>
                  <a:pt x="510" y="194"/>
                  <a:pt x="581" y="269"/>
                  <a:pt x="581" y="355"/>
                </a:cubicBezTo>
                <a:cubicBezTo>
                  <a:pt x="581" y="440"/>
                  <a:pt x="529" y="499"/>
                  <a:pt x="445" y="588"/>
                </a:cubicBezTo>
                <a:cubicBezTo>
                  <a:pt x="351" y="688"/>
                  <a:pt x="244" y="801"/>
                  <a:pt x="244" y="987"/>
                </a:cubicBezTo>
                <a:cubicBezTo>
                  <a:pt x="244" y="993"/>
                  <a:pt x="244" y="993"/>
                  <a:pt x="244" y="993"/>
                </a:cubicBezTo>
                <a:cubicBezTo>
                  <a:pt x="244" y="1041"/>
                  <a:pt x="283" y="1079"/>
                  <a:pt x="333" y="1079"/>
                </a:cubicBezTo>
                <a:cubicBezTo>
                  <a:pt x="381" y="1079"/>
                  <a:pt x="422" y="1037"/>
                  <a:pt x="422" y="987"/>
                </a:cubicBezTo>
                <a:cubicBezTo>
                  <a:pt x="422" y="872"/>
                  <a:pt x="493" y="797"/>
                  <a:pt x="575" y="711"/>
                </a:cubicBezTo>
                <a:cubicBezTo>
                  <a:pt x="661" y="619"/>
                  <a:pt x="760" y="515"/>
                  <a:pt x="760" y="355"/>
                </a:cubicBezTo>
                <a:cubicBezTo>
                  <a:pt x="760" y="177"/>
                  <a:pt x="614" y="22"/>
                  <a:pt x="435" y="10"/>
                </a:cubicBezTo>
                <a:close/>
                <a:moveTo>
                  <a:pt x="565" y="702"/>
                </a:moveTo>
                <a:cubicBezTo>
                  <a:pt x="481" y="790"/>
                  <a:pt x="409" y="867"/>
                  <a:pt x="409" y="987"/>
                </a:cubicBezTo>
                <a:cubicBezTo>
                  <a:pt x="409" y="1030"/>
                  <a:pt x="374" y="1066"/>
                  <a:pt x="333" y="1066"/>
                </a:cubicBezTo>
                <a:cubicBezTo>
                  <a:pt x="290" y="1066"/>
                  <a:pt x="257" y="1034"/>
                  <a:pt x="257" y="993"/>
                </a:cubicBezTo>
                <a:cubicBezTo>
                  <a:pt x="257" y="987"/>
                  <a:pt x="257" y="987"/>
                  <a:pt x="257" y="987"/>
                </a:cubicBezTo>
                <a:cubicBezTo>
                  <a:pt x="257" y="806"/>
                  <a:pt x="362" y="695"/>
                  <a:pt x="454" y="597"/>
                </a:cubicBezTo>
                <a:cubicBezTo>
                  <a:pt x="541" y="506"/>
                  <a:pt x="595" y="445"/>
                  <a:pt x="595" y="355"/>
                </a:cubicBezTo>
                <a:cubicBezTo>
                  <a:pt x="595" y="262"/>
                  <a:pt x="518" y="182"/>
                  <a:pt x="424" y="175"/>
                </a:cubicBezTo>
                <a:cubicBezTo>
                  <a:pt x="417" y="175"/>
                  <a:pt x="411" y="175"/>
                  <a:pt x="404" y="175"/>
                </a:cubicBezTo>
                <a:cubicBezTo>
                  <a:pt x="307" y="175"/>
                  <a:pt x="202" y="223"/>
                  <a:pt x="172" y="336"/>
                </a:cubicBezTo>
                <a:cubicBezTo>
                  <a:pt x="167" y="355"/>
                  <a:pt x="155" y="372"/>
                  <a:pt x="137" y="382"/>
                </a:cubicBezTo>
                <a:cubicBezTo>
                  <a:pt x="120" y="392"/>
                  <a:pt x="99" y="395"/>
                  <a:pt x="80" y="390"/>
                </a:cubicBezTo>
                <a:cubicBezTo>
                  <a:pt x="39" y="379"/>
                  <a:pt x="15" y="338"/>
                  <a:pt x="25" y="297"/>
                </a:cubicBezTo>
                <a:cubicBezTo>
                  <a:pt x="78" y="94"/>
                  <a:pt x="274" y="13"/>
                  <a:pt x="434" y="24"/>
                </a:cubicBezTo>
                <a:cubicBezTo>
                  <a:pt x="606" y="35"/>
                  <a:pt x="747" y="183"/>
                  <a:pt x="747" y="355"/>
                </a:cubicBezTo>
                <a:cubicBezTo>
                  <a:pt x="747" y="510"/>
                  <a:pt x="650" y="612"/>
                  <a:pt x="565" y="702"/>
                </a:cubicBezTo>
                <a:close/>
                <a:moveTo>
                  <a:pt x="339" y="1213"/>
                </a:moveTo>
                <a:cubicBezTo>
                  <a:pt x="284" y="1213"/>
                  <a:pt x="239" y="1258"/>
                  <a:pt x="239" y="1314"/>
                </a:cubicBezTo>
                <a:cubicBezTo>
                  <a:pt x="239" y="1369"/>
                  <a:pt x="284" y="1415"/>
                  <a:pt x="339" y="1415"/>
                </a:cubicBezTo>
                <a:cubicBezTo>
                  <a:pt x="395" y="1415"/>
                  <a:pt x="440" y="1369"/>
                  <a:pt x="440" y="1314"/>
                </a:cubicBezTo>
                <a:cubicBezTo>
                  <a:pt x="440" y="1258"/>
                  <a:pt x="395" y="1213"/>
                  <a:pt x="339" y="1213"/>
                </a:cubicBezTo>
                <a:close/>
                <a:moveTo>
                  <a:pt x="339" y="1401"/>
                </a:moveTo>
                <a:cubicBezTo>
                  <a:pt x="291" y="1401"/>
                  <a:pt x="252" y="1362"/>
                  <a:pt x="252" y="1314"/>
                </a:cubicBezTo>
                <a:cubicBezTo>
                  <a:pt x="252" y="1266"/>
                  <a:pt x="291" y="1226"/>
                  <a:pt x="339" y="1226"/>
                </a:cubicBezTo>
                <a:cubicBezTo>
                  <a:pt x="388" y="1226"/>
                  <a:pt x="427" y="1266"/>
                  <a:pt x="427" y="1314"/>
                </a:cubicBezTo>
                <a:cubicBezTo>
                  <a:pt x="427" y="1362"/>
                  <a:pt x="388" y="1401"/>
                  <a:pt x="339" y="14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0" name="Group 9"/>
          <p:cNvGrpSpPr/>
          <p:nvPr/>
        </p:nvGrpSpPr>
        <p:grpSpPr>
          <a:xfrm>
            <a:off x="3081820" y="1574583"/>
            <a:ext cx="404800" cy="404797"/>
            <a:chOff x="3081820" y="1574583"/>
            <a:chExt cx="404800" cy="404797"/>
          </a:xfrm>
        </p:grpSpPr>
        <p:sp>
          <p:nvSpPr>
            <p:cNvPr id="17" name="Oval 16"/>
            <p:cNvSpPr/>
            <p:nvPr/>
          </p:nvSpPr>
          <p:spPr>
            <a:xfrm>
              <a:off x="3081820" y="1574583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143267" y="1684648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657382" y="1574583"/>
            <a:ext cx="404800" cy="404797"/>
            <a:chOff x="5657382" y="1574583"/>
            <a:chExt cx="404800" cy="404797"/>
          </a:xfrm>
        </p:grpSpPr>
        <p:sp>
          <p:nvSpPr>
            <p:cNvPr id="16" name="Oval 15"/>
            <p:cNvSpPr/>
            <p:nvPr/>
          </p:nvSpPr>
          <p:spPr>
            <a:xfrm>
              <a:off x="5657382" y="1574583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716266" y="1684648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81820" y="3568754"/>
            <a:ext cx="404800" cy="404797"/>
            <a:chOff x="3081820" y="3568754"/>
            <a:chExt cx="404800" cy="404797"/>
          </a:xfrm>
        </p:grpSpPr>
        <p:sp>
          <p:nvSpPr>
            <p:cNvPr id="27" name="Oval 26"/>
            <p:cNvSpPr/>
            <p:nvPr/>
          </p:nvSpPr>
          <p:spPr>
            <a:xfrm>
              <a:off x="3081820" y="3568754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3143267" y="3678819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5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657382" y="3568754"/>
            <a:ext cx="404800" cy="404797"/>
            <a:chOff x="5657382" y="3568754"/>
            <a:chExt cx="404800" cy="404797"/>
          </a:xfrm>
        </p:grpSpPr>
        <p:sp>
          <p:nvSpPr>
            <p:cNvPr id="26" name="Oval 25"/>
            <p:cNvSpPr/>
            <p:nvPr/>
          </p:nvSpPr>
          <p:spPr>
            <a:xfrm>
              <a:off x="5657382" y="3568754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716266" y="3678819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6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688958" y="2571669"/>
            <a:ext cx="404800" cy="404797"/>
            <a:chOff x="2688958" y="2571669"/>
            <a:chExt cx="404800" cy="404797"/>
          </a:xfrm>
        </p:grpSpPr>
        <p:sp>
          <p:nvSpPr>
            <p:cNvPr id="7" name="Oval 6"/>
            <p:cNvSpPr/>
            <p:nvPr/>
          </p:nvSpPr>
          <p:spPr>
            <a:xfrm>
              <a:off x="2688958" y="2571669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747842" y="268173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050244" y="2571669"/>
            <a:ext cx="404800" cy="404797"/>
            <a:chOff x="6050244" y="2571669"/>
            <a:chExt cx="404800" cy="404797"/>
          </a:xfrm>
        </p:grpSpPr>
        <p:sp>
          <p:nvSpPr>
            <p:cNvPr id="6" name="Oval 5"/>
            <p:cNvSpPr/>
            <p:nvPr/>
          </p:nvSpPr>
          <p:spPr>
            <a:xfrm>
              <a:off x="6050244" y="2571669"/>
              <a:ext cx="404800" cy="404797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109128" y="268173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4</a:t>
              </a: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593725" y="2560998"/>
            <a:ext cx="1741484" cy="504692"/>
            <a:chOff x="593725" y="2560998"/>
            <a:chExt cx="1741484" cy="504692"/>
          </a:xfrm>
        </p:grpSpPr>
        <p:sp>
          <p:nvSpPr>
            <p:cNvPr id="71" name="TextBox 70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or que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93725" y="2762337"/>
              <a:ext cx="174148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798490" y="2560998"/>
            <a:ext cx="1741484" cy="503281"/>
            <a:chOff x="6798490" y="2560998"/>
            <a:chExt cx="1741484" cy="503281"/>
          </a:xfrm>
        </p:grpSpPr>
        <p:sp>
          <p:nvSpPr>
            <p:cNvPr id="76" name="TextBox 75"/>
            <p:cNvSpPr txBox="1"/>
            <p:nvPr/>
          </p:nvSpPr>
          <p:spPr>
            <a:xfrm>
              <a:off x="6798521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qual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6798490" y="2762337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414725" y="1577533"/>
            <a:ext cx="1741484" cy="503281"/>
            <a:chOff x="6414725" y="1577533"/>
            <a:chExt cx="1741484" cy="503281"/>
          </a:xfrm>
        </p:grpSpPr>
        <p:sp>
          <p:nvSpPr>
            <p:cNvPr id="80" name="TextBox 79"/>
            <p:cNvSpPr txBox="1"/>
            <p:nvPr/>
          </p:nvSpPr>
          <p:spPr>
            <a:xfrm>
              <a:off x="6414756" y="1577533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om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6414725" y="1778872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994345" y="1577533"/>
            <a:ext cx="1741484" cy="503281"/>
            <a:chOff x="994345" y="1577533"/>
            <a:chExt cx="1741484" cy="503281"/>
          </a:xfrm>
        </p:grpSpPr>
        <p:sp>
          <p:nvSpPr>
            <p:cNvPr id="83" name="TextBox 82"/>
            <p:cNvSpPr txBox="1"/>
            <p:nvPr/>
          </p:nvSpPr>
          <p:spPr>
            <a:xfrm>
              <a:off x="994376" y="1577533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ond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994345" y="1778872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414725" y="3559327"/>
            <a:ext cx="1741484" cy="503281"/>
            <a:chOff x="6414725" y="3559327"/>
            <a:chExt cx="1741484" cy="503281"/>
          </a:xfrm>
        </p:grpSpPr>
        <p:sp>
          <p:nvSpPr>
            <p:cNvPr id="86" name="TextBox 85"/>
            <p:cNvSpPr txBox="1"/>
            <p:nvPr/>
          </p:nvSpPr>
          <p:spPr>
            <a:xfrm>
              <a:off x="6414756" y="3559327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quand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6414725" y="3760666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94345" y="3559327"/>
            <a:ext cx="1741484" cy="503281"/>
            <a:chOff x="994345" y="3559327"/>
            <a:chExt cx="1741484" cy="503281"/>
          </a:xfrm>
        </p:grpSpPr>
        <p:sp>
          <p:nvSpPr>
            <p:cNvPr id="89" name="TextBox 88"/>
            <p:cNvSpPr txBox="1"/>
            <p:nvPr/>
          </p:nvSpPr>
          <p:spPr>
            <a:xfrm>
              <a:off x="994376" y="3559327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quem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?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994345" y="3760666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id ligul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2754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>
            <a:extLst>
              <a:ext uri="{FF2B5EF4-FFF2-40B4-BE49-F238E27FC236}">
                <a16:creationId xmlns:a16="http://schemas.microsoft.com/office/drawing/2014/main" id="{F4C66F23-CDAD-410A-B409-E7F56F3093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A3163C3-2697-4F60-BF18-FE91E194E032}"/>
              </a:ext>
            </a:extLst>
          </p:cNvPr>
          <p:cNvSpPr txBox="1"/>
          <p:nvPr/>
        </p:nvSpPr>
        <p:spPr>
          <a:xfrm>
            <a:off x="2711302" y="542262"/>
            <a:ext cx="186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Sou respeitoso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Escuto de verdade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Falo claramente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8F4D3D89-8C59-48DE-B343-1677E3C302FA}"/>
              </a:ext>
            </a:extLst>
          </p:cNvPr>
          <p:cNvSpPr txBox="1"/>
          <p:nvPr/>
        </p:nvSpPr>
        <p:spPr>
          <a:xfrm>
            <a:off x="2002855" y="3772093"/>
            <a:ext cx="21973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Trabalho com paixão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Cumpro as promessas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Promovo a colaboração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EBBAFD4E-9D50-46F9-837D-67E0776BDF67}"/>
              </a:ext>
            </a:extLst>
          </p:cNvPr>
          <p:cNvSpPr txBox="1"/>
          <p:nvPr/>
        </p:nvSpPr>
        <p:spPr>
          <a:xfrm>
            <a:off x="6826101" y="3749752"/>
            <a:ext cx="18606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Apoio as pessoas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Promovo a mudança</a:t>
            </a:r>
          </a:p>
          <a:p>
            <a:pPr marL="171446" indent="-171446">
              <a:buFont typeface="Wingdings" panose="05000000000000000000" pitchFamily="2" charset="2"/>
              <a:buChar char="§"/>
            </a:pPr>
            <a:r>
              <a:rPr lang="pt-BR" sz="1200" dirty="0">
                <a:solidFill>
                  <a:schemeClr val="bg1"/>
                </a:solidFill>
                <a:latin typeface="Lato"/>
              </a:rPr>
              <a:t>Entrego resultados</a:t>
            </a:r>
          </a:p>
        </p:txBody>
      </p:sp>
      <p:pic>
        <p:nvPicPr>
          <p:cNvPr id="9" name="Gráfico 8">
            <a:extLst>
              <a:ext uri="{FF2B5EF4-FFF2-40B4-BE49-F238E27FC236}">
                <a16:creationId xmlns:a16="http://schemas.microsoft.com/office/drawing/2014/main" id="{72C574A1-B805-4542-81DC-D420B1E7CF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207549" y="3611136"/>
            <a:ext cx="277230" cy="277230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6CDD9919-FD7F-4389-BBB2-4B6B37A407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1864239" y="4245107"/>
            <a:ext cx="277230" cy="277230"/>
          </a:xfrm>
          <a:prstGeom prst="rect">
            <a:avLst/>
          </a:prstGeom>
        </p:spPr>
      </p:pic>
      <p:pic>
        <p:nvPicPr>
          <p:cNvPr id="11" name="Gráfico 10">
            <a:extLst>
              <a:ext uri="{FF2B5EF4-FFF2-40B4-BE49-F238E27FC236}">
                <a16:creationId xmlns:a16="http://schemas.microsoft.com/office/drawing/2014/main" id="{FE6E621D-26F2-452E-B6F8-6F92230FCC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0800000">
            <a:off x="2572687" y="418749"/>
            <a:ext cx="277230" cy="277230"/>
          </a:xfrm>
          <a:prstGeom prst="rect">
            <a:avLst/>
          </a:prstGeom>
        </p:spPr>
      </p:pic>
      <p:pic>
        <p:nvPicPr>
          <p:cNvPr id="4" name="Gráfico 3">
            <a:extLst>
              <a:ext uri="{FF2B5EF4-FFF2-40B4-BE49-F238E27FC236}">
                <a16:creationId xmlns:a16="http://schemas.microsoft.com/office/drawing/2014/main" id="{6C53DF91-7327-4308-99FF-95F01A7C14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67419" y="236689"/>
            <a:ext cx="1717684" cy="364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5879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sucess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3556000" y="1570671"/>
            <a:ext cx="2032000" cy="352714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0" name="Group 19"/>
          <p:cNvGrpSpPr/>
          <p:nvPr/>
        </p:nvGrpSpPr>
        <p:grpSpPr>
          <a:xfrm>
            <a:off x="1373342" y="1923385"/>
            <a:ext cx="6397316" cy="800880"/>
            <a:chOff x="1373342" y="1923385"/>
            <a:chExt cx="6397316" cy="800880"/>
          </a:xfrm>
        </p:grpSpPr>
        <p:cxnSp>
          <p:nvCxnSpPr>
            <p:cNvPr id="15" name="Elbow Connector 14"/>
            <p:cNvCxnSpPr>
              <a:stCxn id="9" idx="2"/>
              <a:endCxn id="4" idx="0"/>
            </p:cNvCxnSpPr>
            <p:nvPr/>
          </p:nvCxnSpPr>
          <p:spPr>
            <a:xfrm rot="5400000">
              <a:off x="3371896" y="1524161"/>
              <a:ext cx="800880" cy="1599328"/>
            </a:xfrm>
            <a:prstGeom prst="bentConnector3">
              <a:avLst/>
            </a:prstGeom>
            <a:ln w="6350">
              <a:solidFill>
                <a:schemeClr val="accent5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Elbow Connector 15"/>
            <p:cNvCxnSpPr>
              <a:stCxn id="9" idx="2"/>
              <a:endCxn id="5" idx="0"/>
            </p:cNvCxnSpPr>
            <p:nvPr/>
          </p:nvCxnSpPr>
          <p:spPr>
            <a:xfrm rot="16200000" flipH="1">
              <a:off x="4971225" y="1524160"/>
              <a:ext cx="800880" cy="1599330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Elbow Connector 16"/>
            <p:cNvCxnSpPr>
              <a:stCxn id="9" idx="2"/>
              <a:endCxn id="6" idx="0"/>
            </p:cNvCxnSpPr>
            <p:nvPr/>
          </p:nvCxnSpPr>
          <p:spPr>
            <a:xfrm rot="5400000">
              <a:off x="2572231" y="724496"/>
              <a:ext cx="800880" cy="3198658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Elbow Connector 17"/>
            <p:cNvCxnSpPr>
              <a:stCxn id="9" idx="2"/>
              <a:endCxn id="7" idx="0"/>
            </p:cNvCxnSpPr>
            <p:nvPr/>
          </p:nvCxnSpPr>
          <p:spPr>
            <a:xfrm rot="16200000" flipH="1">
              <a:off x="5770889" y="724495"/>
              <a:ext cx="800880" cy="3198659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>
              <a:stCxn id="9" idx="2"/>
              <a:endCxn id="8" idx="0"/>
            </p:cNvCxnSpPr>
            <p:nvPr/>
          </p:nvCxnSpPr>
          <p:spPr>
            <a:xfrm>
              <a:off x="4572000" y="1923385"/>
              <a:ext cx="1" cy="800880"/>
            </a:xfrm>
            <a:prstGeom prst="straightConnector1">
              <a:avLst/>
            </a:prstGeom>
            <a:ln w="6350">
              <a:solidFill>
                <a:schemeClr val="accent5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itle 2"/>
          <p:cNvSpPr txBox="1">
            <a:spLocks/>
          </p:cNvSpPr>
          <p:nvPr/>
        </p:nvSpPr>
        <p:spPr>
          <a:xfrm>
            <a:off x="3721100" y="1666237"/>
            <a:ext cx="17018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10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Valores</a:t>
            </a:r>
            <a:r>
              <a:rPr lang="en-US" sz="10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o time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1032029" y="2724265"/>
            <a:ext cx="7079942" cy="682625"/>
            <a:chOff x="1032029" y="2724265"/>
            <a:chExt cx="7079942" cy="682625"/>
          </a:xfrm>
        </p:grpSpPr>
        <p:grpSp>
          <p:nvGrpSpPr>
            <p:cNvPr id="25" name="Group 24"/>
            <p:cNvGrpSpPr/>
            <p:nvPr/>
          </p:nvGrpSpPr>
          <p:grpSpPr>
            <a:xfrm>
              <a:off x="7429346" y="2724265"/>
              <a:ext cx="682625" cy="682625"/>
              <a:chOff x="7429346" y="2724265"/>
              <a:chExt cx="682625" cy="682625"/>
            </a:xfrm>
          </p:grpSpPr>
          <p:sp>
            <p:nvSpPr>
              <p:cNvPr id="7" name="Oval 6"/>
              <p:cNvSpPr/>
              <p:nvPr/>
            </p:nvSpPr>
            <p:spPr>
              <a:xfrm>
                <a:off x="7429346" y="2724265"/>
                <a:ext cx="682625" cy="6826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7470520" y="2765439"/>
                <a:ext cx="600276" cy="600276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1" name="Freeform 39"/>
              <p:cNvSpPr>
                <a:spLocks noEditPoints="1"/>
              </p:cNvSpPr>
              <p:nvPr/>
            </p:nvSpPr>
            <p:spPr bwMode="auto">
              <a:xfrm>
                <a:off x="7638097" y="2933016"/>
                <a:ext cx="265122" cy="265122"/>
              </a:xfrm>
              <a:custGeom>
                <a:avLst/>
                <a:gdLst>
                  <a:gd name="T0" fmla="*/ 281 w 353"/>
                  <a:gd name="T1" fmla="*/ 144 h 353"/>
                  <a:gd name="T2" fmla="*/ 281 w 353"/>
                  <a:gd name="T3" fmla="*/ 128 h 353"/>
                  <a:gd name="T4" fmla="*/ 193 w 353"/>
                  <a:gd name="T5" fmla="*/ 136 h 353"/>
                  <a:gd name="T6" fmla="*/ 201 w 353"/>
                  <a:gd name="T7" fmla="*/ 112 h 353"/>
                  <a:gd name="T8" fmla="*/ 257 w 353"/>
                  <a:gd name="T9" fmla="*/ 104 h 353"/>
                  <a:gd name="T10" fmla="*/ 201 w 353"/>
                  <a:gd name="T11" fmla="*/ 96 h 353"/>
                  <a:gd name="T12" fmla="*/ 201 w 353"/>
                  <a:gd name="T13" fmla="*/ 112 h 353"/>
                  <a:gd name="T14" fmla="*/ 233 w 353"/>
                  <a:gd name="T15" fmla="*/ 176 h 353"/>
                  <a:gd name="T16" fmla="*/ 233 w 353"/>
                  <a:gd name="T17" fmla="*/ 160 h 353"/>
                  <a:gd name="T18" fmla="*/ 193 w 353"/>
                  <a:gd name="T19" fmla="*/ 168 h 353"/>
                  <a:gd name="T20" fmla="*/ 81 w 353"/>
                  <a:gd name="T21" fmla="*/ 208 h 353"/>
                  <a:gd name="T22" fmla="*/ 161 w 353"/>
                  <a:gd name="T23" fmla="*/ 192 h 353"/>
                  <a:gd name="T24" fmla="*/ 145 w 353"/>
                  <a:gd name="T25" fmla="*/ 96 h 353"/>
                  <a:gd name="T26" fmla="*/ 64 w 353"/>
                  <a:gd name="T27" fmla="*/ 112 h 353"/>
                  <a:gd name="T28" fmla="*/ 81 w 353"/>
                  <a:gd name="T29" fmla="*/ 208 h 353"/>
                  <a:gd name="T30" fmla="*/ 145 w 353"/>
                  <a:gd name="T31" fmla="*/ 112 h 353"/>
                  <a:gd name="T32" fmla="*/ 81 w 353"/>
                  <a:gd name="T33" fmla="*/ 192 h 353"/>
                  <a:gd name="T34" fmla="*/ 201 w 353"/>
                  <a:gd name="T35" fmla="*/ 208 h 353"/>
                  <a:gd name="T36" fmla="*/ 289 w 353"/>
                  <a:gd name="T37" fmla="*/ 200 h 353"/>
                  <a:gd name="T38" fmla="*/ 201 w 353"/>
                  <a:gd name="T39" fmla="*/ 192 h 353"/>
                  <a:gd name="T40" fmla="*/ 201 w 353"/>
                  <a:gd name="T41" fmla="*/ 208 h 353"/>
                  <a:gd name="T42" fmla="*/ 193 w 353"/>
                  <a:gd name="T43" fmla="*/ 16 h 353"/>
                  <a:gd name="T44" fmla="*/ 161 w 353"/>
                  <a:gd name="T45" fmla="*/ 16 h 353"/>
                  <a:gd name="T46" fmla="*/ 0 w 353"/>
                  <a:gd name="T47" fmla="*/ 32 h 353"/>
                  <a:gd name="T48" fmla="*/ 16 w 353"/>
                  <a:gd name="T49" fmla="*/ 64 h 353"/>
                  <a:gd name="T50" fmla="*/ 32 w 353"/>
                  <a:gd name="T51" fmla="*/ 273 h 353"/>
                  <a:gd name="T52" fmla="*/ 169 w 353"/>
                  <a:gd name="T53" fmla="*/ 293 h 353"/>
                  <a:gd name="T54" fmla="*/ 121 w 353"/>
                  <a:gd name="T55" fmla="*/ 345 h 353"/>
                  <a:gd name="T56" fmla="*/ 134 w 353"/>
                  <a:gd name="T57" fmla="*/ 351 h 353"/>
                  <a:gd name="T58" fmla="*/ 219 w 353"/>
                  <a:gd name="T59" fmla="*/ 351 h 353"/>
                  <a:gd name="T60" fmla="*/ 233 w 353"/>
                  <a:gd name="T61" fmla="*/ 345 h 353"/>
                  <a:gd name="T62" fmla="*/ 185 w 353"/>
                  <a:gd name="T63" fmla="*/ 293 h 353"/>
                  <a:gd name="T64" fmla="*/ 321 w 353"/>
                  <a:gd name="T65" fmla="*/ 273 h 353"/>
                  <a:gd name="T66" fmla="*/ 337 w 353"/>
                  <a:gd name="T67" fmla="*/ 64 h 353"/>
                  <a:gd name="T68" fmla="*/ 353 w 353"/>
                  <a:gd name="T69" fmla="*/ 32 h 353"/>
                  <a:gd name="T70" fmla="*/ 321 w 353"/>
                  <a:gd name="T71" fmla="*/ 257 h 353"/>
                  <a:gd name="T72" fmla="*/ 32 w 353"/>
                  <a:gd name="T73" fmla="*/ 64 h 353"/>
                  <a:gd name="T74" fmla="*/ 321 w 353"/>
                  <a:gd name="T75" fmla="*/ 257 h 353"/>
                  <a:gd name="T76" fmla="*/ 16 w 353"/>
                  <a:gd name="T77" fmla="*/ 48 h 353"/>
                  <a:gd name="T78" fmla="*/ 337 w 353"/>
                  <a:gd name="T79" fmla="*/ 3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53" h="353">
                    <a:moveTo>
                      <a:pt x="201" y="144"/>
                    </a:moveTo>
                    <a:cubicBezTo>
                      <a:pt x="281" y="144"/>
                      <a:pt x="281" y="144"/>
                      <a:pt x="281" y="144"/>
                    </a:cubicBezTo>
                    <a:cubicBezTo>
                      <a:pt x="286" y="144"/>
                      <a:pt x="289" y="141"/>
                      <a:pt x="289" y="136"/>
                    </a:cubicBezTo>
                    <a:cubicBezTo>
                      <a:pt x="289" y="132"/>
                      <a:pt x="286" y="128"/>
                      <a:pt x="281" y="128"/>
                    </a:cubicBezTo>
                    <a:cubicBezTo>
                      <a:pt x="201" y="128"/>
                      <a:pt x="201" y="128"/>
                      <a:pt x="201" y="128"/>
                    </a:cubicBezTo>
                    <a:cubicBezTo>
                      <a:pt x="196" y="128"/>
                      <a:pt x="193" y="132"/>
                      <a:pt x="193" y="136"/>
                    </a:cubicBezTo>
                    <a:cubicBezTo>
                      <a:pt x="193" y="141"/>
                      <a:pt x="196" y="144"/>
                      <a:pt x="201" y="144"/>
                    </a:cubicBezTo>
                    <a:moveTo>
                      <a:pt x="201" y="112"/>
                    </a:moveTo>
                    <a:cubicBezTo>
                      <a:pt x="249" y="112"/>
                      <a:pt x="249" y="112"/>
                      <a:pt x="249" y="112"/>
                    </a:cubicBezTo>
                    <a:cubicBezTo>
                      <a:pt x="254" y="112"/>
                      <a:pt x="257" y="108"/>
                      <a:pt x="257" y="104"/>
                    </a:cubicBezTo>
                    <a:cubicBezTo>
                      <a:pt x="257" y="100"/>
                      <a:pt x="254" y="96"/>
                      <a:pt x="249" y="96"/>
                    </a:cubicBezTo>
                    <a:cubicBezTo>
                      <a:pt x="201" y="96"/>
                      <a:pt x="201" y="96"/>
                      <a:pt x="201" y="96"/>
                    </a:cubicBezTo>
                    <a:cubicBezTo>
                      <a:pt x="196" y="96"/>
                      <a:pt x="193" y="100"/>
                      <a:pt x="193" y="104"/>
                    </a:cubicBezTo>
                    <a:cubicBezTo>
                      <a:pt x="193" y="108"/>
                      <a:pt x="196" y="112"/>
                      <a:pt x="201" y="112"/>
                    </a:cubicBezTo>
                    <a:moveTo>
                      <a:pt x="201" y="176"/>
                    </a:move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7" y="176"/>
                      <a:pt x="241" y="173"/>
                      <a:pt x="241" y="168"/>
                    </a:cubicBezTo>
                    <a:cubicBezTo>
                      <a:pt x="241" y="164"/>
                      <a:pt x="237" y="160"/>
                      <a:pt x="233" y="160"/>
                    </a:cubicBezTo>
                    <a:cubicBezTo>
                      <a:pt x="201" y="160"/>
                      <a:pt x="201" y="160"/>
                      <a:pt x="201" y="160"/>
                    </a:cubicBezTo>
                    <a:cubicBezTo>
                      <a:pt x="196" y="160"/>
                      <a:pt x="193" y="164"/>
                      <a:pt x="193" y="168"/>
                    </a:cubicBezTo>
                    <a:cubicBezTo>
                      <a:pt x="193" y="173"/>
                      <a:pt x="196" y="176"/>
                      <a:pt x="201" y="176"/>
                    </a:cubicBezTo>
                    <a:moveTo>
                      <a:pt x="81" y="208"/>
                    </a:moveTo>
                    <a:cubicBezTo>
                      <a:pt x="145" y="208"/>
                      <a:pt x="145" y="208"/>
                      <a:pt x="145" y="208"/>
                    </a:cubicBezTo>
                    <a:cubicBezTo>
                      <a:pt x="154" y="208"/>
                      <a:pt x="161" y="201"/>
                      <a:pt x="161" y="192"/>
                    </a:cubicBezTo>
                    <a:cubicBezTo>
                      <a:pt x="161" y="112"/>
                      <a:pt x="161" y="112"/>
                      <a:pt x="161" y="112"/>
                    </a:cubicBezTo>
                    <a:cubicBezTo>
                      <a:pt x="161" y="103"/>
                      <a:pt x="154" y="96"/>
                      <a:pt x="145" y="96"/>
                    </a:cubicBezTo>
                    <a:cubicBezTo>
                      <a:pt x="81" y="96"/>
                      <a:pt x="81" y="96"/>
                      <a:pt x="81" y="96"/>
                    </a:cubicBezTo>
                    <a:cubicBezTo>
                      <a:pt x="72" y="96"/>
                      <a:pt x="64" y="103"/>
                      <a:pt x="64" y="112"/>
                    </a:cubicBezTo>
                    <a:cubicBezTo>
                      <a:pt x="64" y="192"/>
                      <a:pt x="64" y="192"/>
                      <a:pt x="64" y="192"/>
                    </a:cubicBezTo>
                    <a:cubicBezTo>
                      <a:pt x="64" y="201"/>
                      <a:pt x="72" y="208"/>
                      <a:pt x="81" y="208"/>
                    </a:cubicBezTo>
                    <a:moveTo>
                      <a:pt x="81" y="112"/>
                    </a:moveTo>
                    <a:cubicBezTo>
                      <a:pt x="145" y="112"/>
                      <a:pt x="145" y="112"/>
                      <a:pt x="145" y="112"/>
                    </a:cubicBezTo>
                    <a:cubicBezTo>
                      <a:pt x="145" y="192"/>
                      <a:pt x="145" y="192"/>
                      <a:pt x="145" y="192"/>
                    </a:cubicBezTo>
                    <a:cubicBezTo>
                      <a:pt x="81" y="192"/>
                      <a:pt x="81" y="192"/>
                      <a:pt x="81" y="192"/>
                    </a:cubicBezTo>
                    <a:lnTo>
                      <a:pt x="81" y="112"/>
                    </a:lnTo>
                    <a:close/>
                    <a:moveTo>
                      <a:pt x="201" y="208"/>
                    </a:moveTo>
                    <a:cubicBezTo>
                      <a:pt x="281" y="208"/>
                      <a:pt x="281" y="208"/>
                      <a:pt x="281" y="208"/>
                    </a:cubicBezTo>
                    <a:cubicBezTo>
                      <a:pt x="286" y="208"/>
                      <a:pt x="289" y="205"/>
                      <a:pt x="289" y="200"/>
                    </a:cubicBezTo>
                    <a:cubicBezTo>
                      <a:pt x="289" y="196"/>
                      <a:pt x="286" y="192"/>
                      <a:pt x="281" y="192"/>
                    </a:cubicBezTo>
                    <a:cubicBezTo>
                      <a:pt x="201" y="192"/>
                      <a:pt x="201" y="192"/>
                      <a:pt x="201" y="192"/>
                    </a:cubicBezTo>
                    <a:cubicBezTo>
                      <a:pt x="196" y="192"/>
                      <a:pt x="193" y="196"/>
                      <a:pt x="193" y="200"/>
                    </a:cubicBezTo>
                    <a:cubicBezTo>
                      <a:pt x="193" y="205"/>
                      <a:pt x="196" y="208"/>
                      <a:pt x="201" y="208"/>
                    </a:cubicBezTo>
                    <a:moveTo>
                      <a:pt x="337" y="16"/>
                    </a:moveTo>
                    <a:cubicBezTo>
                      <a:pt x="193" y="16"/>
                      <a:pt x="193" y="16"/>
                      <a:pt x="193" y="16"/>
                    </a:cubicBezTo>
                    <a:cubicBezTo>
                      <a:pt x="193" y="7"/>
                      <a:pt x="186" y="0"/>
                      <a:pt x="177" y="0"/>
                    </a:cubicBezTo>
                    <a:cubicBezTo>
                      <a:pt x="168" y="0"/>
                      <a:pt x="161" y="7"/>
                      <a:pt x="161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7" y="16"/>
                      <a:pt x="0" y="23"/>
                      <a:pt x="0" y="32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57"/>
                      <a:pt x="7" y="64"/>
                      <a:pt x="16" y="64"/>
                    </a:cubicBezTo>
                    <a:cubicBezTo>
                      <a:pt x="16" y="257"/>
                      <a:pt x="16" y="257"/>
                      <a:pt x="16" y="257"/>
                    </a:cubicBezTo>
                    <a:cubicBezTo>
                      <a:pt x="16" y="265"/>
                      <a:pt x="23" y="273"/>
                      <a:pt x="32" y="273"/>
                    </a:cubicBezTo>
                    <a:cubicBezTo>
                      <a:pt x="169" y="273"/>
                      <a:pt x="169" y="273"/>
                      <a:pt x="169" y="273"/>
                    </a:cubicBezTo>
                    <a:cubicBezTo>
                      <a:pt x="169" y="293"/>
                      <a:pt x="169" y="293"/>
                      <a:pt x="169" y="293"/>
                    </a:cubicBezTo>
                    <a:cubicBezTo>
                      <a:pt x="123" y="339"/>
                      <a:pt x="123" y="339"/>
                      <a:pt x="123" y="339"/>
                    </a:cubicBezTo>
                    <a:cubicBezTo>
                      <a:pt x="122" y="341"/>
                      <a:pt x="121" y="343"/>
                      <a:pt x="121" y="345"/>
                    </a:cubicBezTo>
                    <a:cubicBezTo>
                      <a:pt x="121" y="349"/>
                      <a:pt x="124" y="353"/>
                      <a:pt x="129" y="353"/>
                    </a:cubicBezTo>
                    <a:cubicBezTo>
                      <a:pt x="131" y="353"/>
                      <a:pt x="133" y="352"/>
                      <a:pt x="134" y="351"/>
                    </a:cubicBezTo>
                    <a:cubicBezTo>
                      <a:pt x="177" y="308"/>
                      <a:pt x="177" y="308"/>
                      <a:pt x="177" y="308"/>
                    </a:cubicBezTo>
                    <a:cubicBezTo>
                      <a:pt x="219" y="351"/>
                      <a:pt x="219" y="351"/>
                      <a:pt x="219" y="351"/>
                    </a:cubicBezTo>
                    <a:cubicBezTo>
                      <a:pt x="221" y="352"/>
                      <a:pt x="223" y="353"/>
                      <a:pt x="225" y="353"/>
                    </a:cubicBezTo>
                    <a:cubicBezTo>
                      <a:pt x="229" y="353"/>
                      <a:pt x="233" y="349"/>
                      <a:pt x="233" y="345"/>
                    </a:cubicBezTo>
                    <a:cubicBezTo>
                      <a:pt x="233" y="343"/>
                      <a:pt x="232" y="341"/>
                      <a:pt x="231" y="339"/>
                    </a:cubicBezTo>
                    <a:cubicBezTo>
                      <a:pt x="185" y="293"/>
                      <a:pt x="185" y="293"/>
                      <a:pt x="185" y="293"/>
                    </a:cubicBezTo>
                    <a:cubicBezTo>
                      <a:pt x="185" y="273"/>
                      <a:pt x="185" y="273"/>
                      <a:pt x="185" y="273"/>
                    </a:cubicBezTo>
                    <a:cubicBezTo>
                      <a:pt x="321" y="273"/>
                      <a:pt x="321" y="273"/>
                      <a:pt x="321" y="273"/>
                    </a:cubicBezTo>
                    <a:cubicBezTo>
                      <a:pt x="330" y="273"/>
                      <a:pt x="337" y="265"/>
                      <a:pt x="337" y="257"/>
                    </a:cubicBezTo>
                    <a:cubicBezTo>
                      <a:pt x="337" y="64"/>
                      <a:pt x="337" y="64"/>
                      <a:pt x="337" y="64"/>
                    </a:cubicBezTo>
                    <a:cubicBezTo>
                      <a:pt x="346" y="64"/>
                      <a:pt x="353" y="57"/>
                      <a:pt x="353" y="48"/>
                    </a:cubicBezTo>
                    <a:cubicBezTo>
                      <a:pt x="353" y="32"/>
                      <a:pt x="353" y="32"/>
                      <a:pt x="353" y="32"/>
                    </a:cubicBezTo>
                    <a:cubicBezTo>
                      <a:pt x="353" y="23"/>
                      <a:pt x="346" y="16"/>
                      <a:pt x="337" y="16"/>
                    </a:cubicBezTo>
                    <a:moveTo>
                      <a:pt x="321" y="257"/>
                    </a:moveTo>
                    <a:cubicBezTo>
                      <a:pt x="32" y="257"/>
                      <a:pt x="32" y="257"/>
                      <a:pt x="32" y="257"/>
                    </a:cubicBezTo>
                    <a:cubicBezTo>
                      <a:pt x="32" y="64"/>
                      <a:pt x="32" y="64"/>
                      <a:pt x="32" y="64"/>
                    </a:cubicBezTo>
                    <a:cubicBezTo>
                      <a:pt x="321" y="64"/>
                      <a:pt x="321" y="64"/>
                      <a:pt x="321" y="64"/>
                    </a:cubicBezTo>
                    <a:lnTo>
                      <a:pt x="321" y="257"/>
                    </a:lnTo>
                    <a:close/>
                    <a:moveTo>
                      <a:pt x="337" y="48"/>
                    </a:moveTo>
                    <a:cubicBezTo>
                      <a:pt x="16" y="48"/>
                      <a:pt x="16" y="48"/>
                      <a:pt x="16" y="48"/>
                    </a:cubicBezTo>
                    <a:cubicBezTo>
                      <a:pt x="16" y="32"/>
                      <a:pt x="16" y="32"/>
                      <a:pt x="16" y="32"/>
                    </a:cubicBezTo>
                    <a:cubicBezTo>
                      <a:pt x="337" y="32"/>
                      <a:pt x="337" y="32"/>
                      <a:pt x="337" y="32"/>
                    </a:cubicBezTo>
                    <a:lnTo>
                      <a:pt x="337" y="4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2631359" y="2724265"/>
              <a:ext cx="682625" cy="682625"/>
              <a:chOff x="2631359" y="2724265"/>
              <a:chExt cx="682625" cy="682625"/>
            </a:xfrm>
          </p:grpSpPr>
          <p:sp>
            <p:nvSpPr>
              <p:cNvPr id="4" name="Oval 3"/>
              <p:cNvSpPr/>
              <p:nvPr/>
            </p:nvSpPr>
            <p:spPr>
              <a:xfrm>
                <a:off x="2631359" y="2724265"/>
                <a:ext cx="682625" cy="6826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2672533" y="2765439"/>
                <a:ext cx="600276" cy="600276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2" name="Freeform 45"/>
              <p:cNvSpPr>
                <a:spLocks noEditPoints="1"/>
              </p:cNvSpPr>
              <p:nvPr/>
            </p:nvSpPr>
            <p:spPr bwMode="auto">
              <a:xfrm>
                <a:off x="2840110" y="2933016"/>
                <a:ext cx="265122" cy="265122"/>
              </a:xfrm>
              <a:custGeom>
                <a:avLst/>
                <a:gdLst>
                  <a:gd name="T0" fmla="*/ 160 w 353"/>
                  <a:gd name="T1" fmla="*/ 177 h 353"/>
                  <a:gd name="T2" fmla="*/ 193 w 353"/>
                  <a:gd name="T3" fmla="*/ 177 h 353"/>
                  <a:gd name="T4" fmla="*/ 353 w 353"/>
                  <a:gd name="T5" fmla="*/ 177 h 353"/>
                  <a:gd name="T6" fmla="*/ 301 w 353"/>
                  <a:gd name="T7" fmla="*/ 52 h 353"/>
                  <a:gd name="T8" fmla="*/ 177 w 353"/>
                  <a:gd name="T9" fmla="*/ 0 h 353"/>
                  <a:gd name="T10" fmla="*/ 52 w 353"/>
                  <a:gd name="T11" fmla="*/ 52 h 353"/>
                  <a:gd name="T12" fmla="*/ 0 w 353"/>
                  <a:gd name="T13" fmla="*/ 177 h 353"/>
                  <a:gd name="T14" fmla="*/ 52 w 353"/>
                  <a:gd name="T15" fmla="*/ 302 h 353"/>
                  <a:gd name="T16" fmla="*/ 177 w 353"/>
                  <a:gd name="T17" fmla="*/ 353 h 353"/>
                  <a:gd name="T18" fmla="*/ 301 w 353"/>
                  <a:gd name="T19" fmla="*/ 302 h 353"/>
                  <a:gd name="T20" fmla="*/ 353 w 353"/>
                  <a:gd name="T21" fmla="*/ 177 h 353"/>
                  <a:gd name="T22" fmla="*/ 67 w 353"/>
                  <a:gd name="T23" fmla="*/ 141 h 353"/>
                  <a:gd name="T24" fmla="*/ 67 w 353"/>
                  <a:gd name="T25" fmla="*/ 212 h 353"/>
                  <a:gd name="T26" fmla="*/ 113 w 353"/>
                  <a:gd name="T27" fmla="*/ 150 h 353"/>
                  <a:gd name="T28" fmla="*/ 82 w 353"/>
                  <a:gd name="T29" fmla="*/ 138 h 353"/>
                  <a:gd name="T30" fmla="*/ 113 w 353"/>
                  <a:gd name="T31" fmla="*/ 150 h 353"/>
                  <a:gd name="T32" fmla="*/ 82 w 353"/>
                  <a:gd name="T33" fmla="*/ 216 h 353"/>
                  <a:gd name="T34" fmla="*/ 113 w 353"/>
                  <a:gd name="T35" fmla="*/ 203 h 353"/>
                  <a:gd name="T36" fmla="*/ 63 w 353"/>
                  <a:gd name="T37" fmla="*/ 290 h 353"/>
                  <a:gd name="T38" fmla="*/ 116 w 353"/>
                  <a:gd name="T39" fmla="*/ 237 h 353"/>
                  <a:gd name="T40" fmla="*/ 63 w 353"/>
                  <a:gd name="T41" fmla="*/ 290 h 353"/>
                  <a:gd name="T42" fmla="*/ 74 w 353"/>
                  <a:gd name="T43" fmla="*/ 124 h 353"/>
                  <a:gd name="T44" fmla="*/ 124 w 353"/>
                  <a:gd name="T45" fmla="*/ 75 h 353"/>
                  <a:gd name="T46" fmla="*/ 221 w 353"/>
                  <a:gd name="T47" fmla="*/ 115 h 353"/>
                  <a:gd name="T48" fmla="*/ 189 w 353"/>
                  <a:gd name="T49" fmla="*/ 101 h 353"/>
                  <a:gd name="T50" fmla="*/ 221 w 353"/>
                  <a:gd name="T51" fmla="*/ 115 h 353"/>
                  <a:gd name="T52" fmla="*/ 212 w 353"/>
                  <a:gd name="T53" fmla="*/ 67 h 353"/>
                  <a:gd name="T54" fmla="*/ 141 w 353"/>
                  <a:gd name="T55" fmla="*/ 67 h 353"/>
                  <a:gd name="T56" fmla="*/ 138 w 353"/>
                  <a:gd name="T57" fmla="*/ 83 h 353"/>
                  <a:gd name="T58" fmla="*/ 150 w 353"/>
                  <a:gd name="T59" fmla="*/ 113 h 353"/>
                  <a:gd name="T60" fmla="*/ 138 w 353"/>
                  <a:gd name="T61" fmla="*/ 83 h 353"/>
                  <a:gd name="T62" fmla="*/ 150 w 353"/>
                  <a:gd name="T63" fmla="*/ 240 h 353"/>
                  <a:gd name="T64" fmla="*/ 138 w 353"/>
                  <a:gd name="T65" fmla="*/ 271 h 353"/>
                  <a:gd name="T66" fmla="*/ 177 w 353"/>
                  <a:gd name="T67" fmla="*/ 337 h 353"/>
                  <a:gd name="T68" fmla="*/ 176 w 353"/>
                  <a:gd name="T69" fmla="*/ 262 h 353"/>
                  <a:gd name="T70" fmla="*/ 177 w 353"/>
                  <a:gd name="T71" fmla="*/ 337 h 353"/>
                  <a:gd name="T72" fmla="*/ 189 w 353"/>
                  <a:gd name="T73" fmla="*/ 252 h 353"/>
                  <a:gd name="T74" fmla="*/ 221 w 353"/>
                  <a:gd name="T75" fmla="*/ 239 h 353"/>
                  <a:gd name="T76" fmla="*/ 224 w 353"/>
                  <a:gd name="T77" fmla="*/ 196 h 353"/>
                  <a:gd name="T78" fmla="*/ 196 w 353"/>
                  <a:gd name="T79" fmla="*/ 224 h 353"/>
                  <a:gd name="T80" fmla="*/ 157 w 353"/>
                  <a:gd name="T81" fmla="*/ 224 h 353"/>
                  <a:gd name="T82" fmla="*/ 129 w 353"/>
                  <a:gd name="T83" fmla="*/ 196 h 353"/>
                  <a:gd name="T84" fmla="*/ 129 w 353"/>
                  <a:gd name="T85" fmla="*/ 157 h 353"/>
                  <a:gd name="T86" fmla="*/ 157 w 353"/>
                  <a:gd name="T87" fmla="*/ 129 h 353"/>
                  <a:gd name="T88" fmla="*/ 196 w 353"/>
                  <a:gd name="T89" fmla="*/ 129 h 353"/>
                  <a:gd name="T90" fmla="*/ 224 w 353"/>
                  <a:gd name="T91" fmla="*/ 157 h 353"/>
                  <a:gd name="T92" fmla="*/ 224 w 353"/>
                  <a:gd name="T93" fmla="*/ 196 h 353"/>
                  <a:gd name="T94" fmla="*/ 279 w 353"/>
                  <a:gd name="T95" fmla="*/ 124 h 353"/>
                  <a:gd name="T96" fmla="*/ 229 w 353"/>
                  <a:gd name="T97" fmla="*/ 75 h 353"/>
                  <a:gd name="T98" fmla="*/ 252 w 353"/>
                  <a:gd name="T99" fmla="*/ 164 h 353"/>
                  <a:gd name="T100" fmla="*/ 239 w 353"/>
                  <a:gd name="T101" fmla="*/ 132 h 353"/>
                  <a:gd name="T102" fmla="*/ 252 w 353"/>
                  <a:gd name="T103" fmla="*/ 164 h 353"/>
                  <a:gd name="T104" fmla="*/ 271 w 353"/>
                  <a:gd name="T105" fmla="*/ 216 h 353"/>
                  <a:gd name="T106" fmla="*/ 240 w 353"/>
                  <a:gd name="T107" fmla="*/ 203 h 353"/>
                  <a:gd name="T108" fmla="*/ 290 w 353"/>
                  <a:gd name="T109" fmla="*/ 290 h 353"/>
                  <a:gd name="T110" fmla="*/ 237 w 353"/>
                  <a:gd name="T111" fmla="*/ 237 h 353"/>
                  <a:gd name="T112" fmla="*/ 290 w 353"/>
                  <a:gd name="T113" fmla="*/ 290 h 353"/>
                  <a:gd name="T114" fmla="*/ 262 w 353"/>
                  <a:gd name="T115" fmla="*/ 177 h 353"/>
                  <a:gd name="T116" fmla="*/ 337 w 353"/>
                  <a:gd name="T117" fmla="*/ 177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53" h="353">
                    <a:moveTo>
                      <a:pt x="177" y="161"/>
                    </a:moveTo>
                    <a:cubicBezTo>
                      <a:pt x="168" y="161"/>
                      <a:pt x="160" y="168"/>
                      <a:pt x="160" y="177"/>
                    </a:cubicBezTo>
                    <a:cubicBezTo>
                      <a:pt x="160" y="185"/>
                      <a:pt x="168" y="193"/>
                      <a:pt x="177" y="193"/>
                    </a:cubicBezTo>
                    <a:cubicBezTo>
                      <a:pt x="185" y="193"/>
                      <a:pt x="193" y="185"/>
                      <a:pt x="193" y="177"/>
                    </a:cubicBezTo>
                    <a:cubicBezTo>
                      <a:pt x="193" y="168"/>
                      <a:pt x="185" y="161"/>
                      <a:pt x="177" y="161"/>
                    </a:cubicBezTo>
                    <a:moveTo>
                      <a:pt x="353" y="177"/>
                    </a:moveTo>
                    <a:cubicBezTo>
                      <a:pt x="353" y="157"/>
                      <a:pt x="330" y="140"/>
                      <a:pt x="293" y="128"/>
                    </a:cubicBezTo>
                    <a:cubicBezTo>
                      <a:pt x="311" y="94"/>
                      <a:pt x="315" y="65"/>
                      <a:pt x="301" y="52"/>
                    </a:cubicBezTo>
                    <a:cubicBezTo>
                      <a:pt x="288" y="38"/>
                      <a:pt x="259" y="42"/>
                      <a:pt x="225" y="60"/>
                    </a:cubicBezTo>
                    <a:cubicBezTo>
                      <a:pt x="213" y="23"/>
                      <a:pt x="196" y="0"/>
                      <a:pt x="177" y="0"/>
                    </a:cubicBezTo>
                    <a:cubicBezTo>
                      <a:pt x="157" y="0"/>
                      <a:pt x="140" y="23"/>
                      <a:pt x="128" y="60"/>
                    </a:cubicBezTo>
                    <a:cubicBezTo>
                      <a:pt x="94" y="42"/>
                      <a:pt x="65" y="38"/>
                      <a:pt x="52" y="52"/>
                    </a:cubicBezTo>
                    <a:cubicBezTo>
                      <a:pt x="38" y="65"/>
                      <a:pt x="42" y="94"/>
                      <a:pt x="60" y="128"/>
                    </a:cubicBezTo>
                    <a:cubicBezTo>
                      <a:pt x="23" y="140"/>
                      <a:pt x="0" y="157"/>
                      <a:pt x="0" y="177"/>
                    </a:cubicBezTo>
                    <a:cubicBezTo>
                      <a:pt x="0" y="196"/>
                      <a:pt x="23" y="213"/>
                      <a:pt x="60" y="225"/>
                    </a:cubicBezTo>
                    <a:cubicBezTo>
                      <a:pt x="42" y="259"/>
                      <a:pt x="38" y="288"/>
                      <a:pt x="52" y="302"/>
                    </a:cubicBezTo>
                    <a:cubicBezTo>
                      <a:pt x="65" y="315"/>
                      <a:pt x="94" y="311"/>
                      <a:pt x="128" y="293"/>
                    </a:cubicBezTo>
                    <a:cubicBezTo>
                      <a:pt x="140" y="330"/>
                      <a:pt x="157" y="353"/>
                      <a:pt x="177" y="353"/>
                    </a:cubicBezTo>
                    <a:cubicBezTo>
                      <a:pt x="196" y="353"/>
                      <a:pt x="213" y="330"/>
                      <a:pt x="225" y="293"/>
                    </a:cubicBezTo>
                    <a:cubicBezTo>
                      <a:pt x="259" y="311"/>
                      <a:pt x="288" y="315"/>
                      <a:pt x="301" y="302"/>
                    </a:cubicBezTo>
                    <a:cubicBezTo>
                      <a:pt x="315" y="288"/>
                      <a:pt x="311" y="259"/>
                      <a:pt x="293" y="225"/>
                    </a:cubicBezTo>
                    <a:cubicBezTo>
                      <a:pt x="330" y="213"/>
                      <a:pt x="353" y="196"/>
                      <a:pt x="353" y="177"/>
                    </a:cubicBezTo>
                    <a:moveTo>
                      <a:pt x="16" y="177"/>
                    </a:moveTo>
                    <a:cubicBezTo>
                      <a:pt x="16" y="163"/>
                      <a:pt x="36" y="150"/>
                      <a:pt x="67" y="141"/>
                    </a:cubicBezTo>
                    <a:cubicBezTo>
                      <a:pt x="74" y="153"/>
                      <a:pt x="82" y="165"/>
                      <a:pt x="91" y="177"/>
                    </a:cubicBezTo>
                    <a:cubicBezTo>
                      <a:pt x="82" y="189"/>
                      <a:pt x="74" y="201"/>
                      <a:pt x="67" y="212"/>
                    </a:cubicBezTo>
                    <a:cubicBezTo>
                      <a:pt x="36" y="203"/>
                      <a:pt x="16" y="191"/>
                      <a:pt x="16" y="177"/>
                    </a:cubicBezTo>
                    <a:moveTo>
                      <a:pt x="113" y="150"/>
                    </a:moveTo>
                    <a:cubicBezTo>
                      <a:pt x="109" y="155"/>
                      <a:pt x="105" y="160"/>
                      <a:pt x="101" y="164"/>
                    </a:cubicBezTo>
                    <a:cubicBezTo>
                      <a:pt x="94" y="155"/>
                      <a:pt x="88" y="146"/>
                      <a:pt x="82" y="138"/>
                    </a:cubicBezTo>
                    <a:cubicBezTo>
                      <a:pt x="92" y="135"/>
                      <a:pt x="103" y="134"/>
                      <a:pt x="114" y="132"/>
                    </a:cubicBezTo>
                    <a:cubicBezTo>
                      <a:pt x="114" y="138"/>
                      <a:pt x="113" y="144"/>
                      <a:pt x="113" y="150"/>
                    </a:cubicBezTo>
                    <a:moveTo>
                      <a:pt x="114" y="221"/>
                    </a:moveTo>
                    <a:cubicBezTo>
                      <a:pt x="103" y="220"/>
                      <a:pt x="92" y="218"/>
                      <a:pt x="82" y="216"/>
                    </a:cubicBezTo>
                    <a:cubicBezTo>
                      <a:pt x="88" y="207"/>
                      <a:pt x="94" y="198"/>
                      <a:pt x="101" y="189"/>
                    </a:cubicBezTo>
                    <a:cubicBezTo>
                      <a:pt x="105" y="194"/>
                      <a:pt x="109" y="198"/>
                      <a:pt x="113" y="203"/>
                    </a:cubicBezTo>
                    <a:cubicBezTo>
                      <a:pt x="113" y="209"/>
                      <a:pt x="114" y="215"/>
                      <a:pt x="114" y="221"/>
                    </a:cubicBezTo>
                    <a:moveTo>
                      <a:pt x="63" y="290"/>
                    </a:moveTo>
                    <a:cubicBezTo>
                      <a:pt x="53" y="280"/>
                      <a:pt x="58" y="257"/>
                      <a:pt x="74" y="229"/>
                    </a:cubicBezTo>
                    <a:cubicBezTo>
                      <a:pt x="87" y="232"/>
                      <a:pt x="101" y="235"/>
                      <a:pt x="116" y="237"/>
                    </a:cubicBezTo>
                    <a:cubicBezTo>
                      <a:pt x="118" y="252"/>
                      <a:pt x="121" y="266"/>
                      <a:pt x="124" y="279"/>
                    </a:cubicBezTo>
                    <a:cubicBezTo>
                      <a:pt x="96" y="295"/>
                      <a:pt x="73" y="300"/>
                      <a:pt x="63" y="290"/>
                    </a:cubicBezTo>
                    <a:moveTo>
                      <a:pt x="116" y="116"/>
                    </a:moveTo>
                    <a:cubicBezTo>
                      <a:pt x="101" y="118"/>
                      <a:pt x="87" y="121"/>
                      <a:pt x="74" y="124"/>
                    </a:cubicBezTo>
                    <a:cubicBezTo>
                      <a:pt x="58" y="96"/>
                      <a:pt x="53" y="73"/>
                      <a:pt x="63" y="63"/>
                    </a:cubicBezTo>
                    <a:cubicBezTo>
                      <a:pt x="73" y="53"/>
                      <a:pt x="96" y="58"/>
                      <a:pt x="124" y="75"/>
                    </a:cubicBezTo>
                    <a:cubicBezTo>
                      <a:pt x="121" y="87"/>
                      <a:pt x="118" y="101"/>
                      <a:pt x="116" y="116"/>
                    </a:cubicBezTo>
                    <a:moveTo>
                      <a:pt x="221" y="115"/>
                    </a:moveTo>
                    <a:cubicBezTo>
                      <a:pt x="215" y="114"/>
                      <a:pt x="209" y="114"/>
                      <a:pt x="203" y="113"/>
                    </a:cubicBezTo>
                    <a:cubicBezTo>
                      <a:pt x="198" y="109"/>
                      <a:pt x="194" y="105"/>
                      <a:pt x="189" y="101"/>
                    </a:cubicBezTo>
                    <a:cubicBezTo>
                      <a:pt x="198" y="94"/>
                      <a:pt x="207" y="88"/>
                      <a:pt x="216" y="83"/>
                    </a:cubicBezTo>
                    <a:cubicBezTo>
                      <a:pt x="218" y="92"/>
                      <a:pt x="219" y="103"/>
                      <a:pt x="221" y="115"/>
                    </a:cubicBezTo>
                    <a:moveTo>
                      <a:pt x="177" y="16"/>
                    </a:moveTo>
                    <a:cubicBezTo>
                      <a:pt x="190" y="16"/>
                      <a:pt x="203" y="36"/>
                      <a:pt x="212" y="67"/>
                    </a:cubicBezTo>
                    <a:cubicBezTo>
                      <a:pt x="200" y="74"/>
                      <a:pt x="189" y="82"/>
                      <a:pt x="177" y="91"/>
                    </a:cubicBezTo>
                    <a:cubicBezTo>
                      <a:pt x="165" y="82"/>
                      <a:pt x="153" y="74"/>
                      <a:pt x="141" y="67"/>
                    </a:cubicBezTo>
                    <a:cubicBezTo>
                      <a:pt x="150" y="36"/>
                      <a:pt x="163" y="16"/>
                      <a:pt x="177" y="16"/>
                    </a:cubicBezTo>
                    <a:moveTo>
                      <a:pt x="138" y="83"/>
                    </a:moveTo>
                    <a:cubicBezTo>
                      <a:pt x="146" y="88"/>
                      <a:pt x="155" y="94"/>
                      <a:pt x="164" y="101"/>
                    </a:cubicBezTo>
                    <a:cubicBezTo>
                      <a:pt x="159" y="105"/>
                      <a:pt x="155" y="109"/>
                      <a:pt x="150" y="113"/>
                    </a:cubicBezTo>
                    <a:cubicBezTo>
                      <a:pt x="144" y="114"/>
                      <a:pt x="138" y="114"/>
                      <a:pt x="132" y="115"/>
                    </a:cubicBezTo>
                    <a:cubicBezTo>
                      <a:pt x="134" y="103"/>
                      <a:pt x="135" y="92"/>
                      <a:pt x="138" y="83"/>
                    </a:cubicBezTo>
                    <a:moveTo>
                      <a:pt x="132" y="239"/>
                    </a:moveTo>
                    <a:cubicBezTo>
                      <a:pt x="138" y="239"/>
                      <a:pt x="144" y="240"/>
                      <a:pt x="150" y="240"/>
                    </a:cubicBezTo>
                    <a:cubicBezTo>
                      <a:pt x="155" y="244"/>
                      <a:pt x="159" y="248"/>
                      <a:pt x="164" y="252"/>
                    </a:cubicBezTo>
                    <a:cubicBezTo>
                      <a:pt x="155" y="259"/>
                      <a:pt x="146" y="265"/>
                      <a:pt x="138" y="271"/>
                    </a:cubicBezTo>
                    <a:cubicBezTo>
                      <a:pt x="135" y="261"/>
                      <a:pt x="134" y="250"/>
                      <a:pt x="132" y="239"/>
                    </a:cubicBezTo>
                    <a:moveTo>
                      <a:pt x="177" y="337"/>
                    </a:moveTo>
                    <a:cubicBezTo>
                      <a:pt x="163" y="337"/>
                      <a:pt x="150" y="317"/>
                      <a:pt x="141" y="286"/>
                    </a:cubicBezTo>
                    <a:cubicBezTo>
                      <a:pt x="153" y="279"/>
                      <a:pt x="164" y="271"/>
                      <a:pt x="176" y="262"/>
                    </a:cubicBezTo>
                    <a:cubicBezTo>
                      <a:pt x="188" y="271"/>
                      <a:pt x="200" y="279"/>
                      <a:pt x="212" y="286"/>
                    </a:cubicBezTo>
                    <a:cubicBezTo>
                      <a:pt x="203" y="317"/>
                      <a:pt x="190" y="337"/>
                      <a:pt x="177" y="337"/>
                    </a:cubicBezTo>
                    <a:moveTo>
                      <a:pt x="216" y="271"/>
                    </a:moveTo>
                    <a:cubicBezTo>
                      <a:pt x="207" y="265"/>
                      <a:pt x="198" y="259"/>
                      <a:pt x="189" y="252"/>
                    </a:cubicBezTo>
                    <a:cubicBezTo>
                      <a:pt x="194" y="248"/>
                      <a:pt x="198" y="244"/>
                      <a:pt x="203" y="240"/>
                    </a:cubicBezTo>
                    <a:cubicBezTo>
                      <a:pt x="209" y="240"/>
                      <a:pt x="215" y="239"/>
                      <a:pt x="221" y="239"/>
                    </a:cubicBezTo>
                    <a:cubicBezTo>
                      <a:pt x="219" y="250"/>
                      <a:pt x="218" y="261"/>
                      <a:pt x="216" y="271"/>
                    </a:cubicBezTo>
                    <a:moveTo>
                      <a:pt x="224" y="196"/>
                    </a:moveTo>
                    <a:cubicBezTo>
                      <a:pt x="220" y="201"/>
                      <a:pt x="215" y="206"/>
                      <a:pt x="211" y="211"/>
                    </a:cubicBezTo>
                    <a:cubicBezTo>
                      <a:pt x="206" y="215"/>
                      <a:pt x="201" y="220"/>
                      <a:pt x="196" y="224"/>
                    </a:cubicBezTo>
                    <a:cubicBezTo>
                      <a:pt x="190" y="225"/>
                      <a:pt x="183" y="225"/>
                      <a:pt x="177" y="225"/>
                    </a:cubicBezTo>
                    <a:cubicBezTo>
                      <a:pt x="170" y="225"/>
                      <a:pt x="163" y="225"/>
                      <a:pt x="157" y="224"/>
                    </a:cubicBezTo>
                    <a:cubicBezTo>
                      <a:pt x="152" y="220"/>
                      <a:pt x="147" y="215"/>
                      <a:pt x="142" y="211"/>
                    </a:cubicBezTo>
                    <a:cubicBezTo>
                      <a:pt x="138" y="206"/>
                      <a:pt x="133" y="201"/>
                      <a:pt x="129" y="196"/>
                    </a:cubicBezTo>
                    <a:cubicBezTo>
                      <a:pt x="129" y="190"/>
                      <a:pt x="128" y="183"/>
                      <a:pt x="128" y="177"/>
                    </a:cubicBezTo>
                    <a:cubicBezTo>
                      <a:pt x="128" y="170"/>
                      <a:pt x="129" y="163"/>
                      <a:pt x="129" y="157"/>
                    </a:cubicBezTo>
                    <a:cubicBezTo>
                      <a:pt x="133" y="152"/>
                      <a:pt x="138" y="147"/>
                      <a:pt x="142" y="143"/>
                    </a:cubicBezTo>
                    <a:cubicBezTo>
                      <a:pt x="147" y="138"/>
                      <a:pt x="152" y="133"/>
                      <a:pt x="157" y="129"/>
                    </a:cubicBezTo>
                    <a:cubicBezTo>
                      <a:pt x="163" y="129"/>
                      <a:pt x="170" y="128"/>
                      <a:pt x="177" y="128"/>
                    </a:cubicBezTo>
                    <a:cubicBezTo>
                      <a:pt x="183" y="128"/>
                      <a:pt x="190" y="129"/>
                      <a:pt x="196" y="129"/>
                    </a:cubicBezTo>
                    <a:cubicBezTo>
                      <a:pt x="201" y="133"/>
                      <a:pt x="206" y="138"/>
                      <a:pt x="211" y="143"/>
                    </a:cubicBezTo>
                    <a:cubicBezTo>
                      <a:pt x="215" y="147"/>
                      <a:pt x="220" y="152"/>
                      <a:pt x="224" y="157"/>
                    </a:cubicBezTo>
                    <a:cubicBezTo>
                      <a:pt x="224" y="163"/>
                      <a:pt x="225" y="170"/>
                      <a:pt x="225" y="177"/>
                    </a:cubicBezTo>
                    <a:cubicBezTo>
                      <a:pt x="225" y="183"/>
                      <a:pt x="224" y="190"/>
                      <a:pt x="224" y="196"/>
                    </a:cubicBezTo>
                    <a:moveTo>
                      <a:pt x="290" y="63"/>
                    </a:moveTo>
                    <a:cubicBezTo>
                      <a:pt x="300" y="73"/>
                      <a:pt x="295" y="96"/>
                      <a:pt x="279" y="124"/>
                    </a:cubicBezTo>
                    <a:cubicBezTo>
                      <a:pt x="266" y="121"/>
                      <a:pt x="252" y="118"/>
                      <a:pt x="237" y="116"/>
                    </a:cubicBezTo>
                    <a:cubicBezTo>
                      <a:pt x="235" y="101"/>
                      <a:pt x="232" y="87"/>
                      <a:pt x="229" y="75"/>
                    </a:cubicBezTo>
                    <a:cubicBezTo>
                      <a:pt x="257" y="58"/>
                      <a:pt x="280" y="53"/>
                      <a:pt x="290" y="63"/>
                    </a:cubicBezTo>
                    <a:moveTo>
                      <a:pt x="252" y="164"/>
                    </a:moveTo>
                    <a:cubicBezTo>
                      <a:pt x="248" y="159"/>
                      <a:pt x="244" y="155"/>
                      <a:pt x="240" y="150"/>
                    </a:cubicBezTo>
                    <a:cubicBezTo>
                      <a:pt x="240" y="144"/>
                      <a:pt x="239" y="138"/>
                      <a:pt x="239" y="132"/>
                    </a:cubicBezTo>
                    <a:cubicBezTo>
                      <a:pt x="250" y="134"/>
                      <a:pt x="261" y="135"/>
                      <a:pt x="271" y="138"/>
                    </a:cubicBezTo>
                    <a:cubicBezTo>
                      <a:pt x="265" y="146"/>
                      <a:pt x="259" y="155"/>
                      <a:pt x="252" y="164"/>
                    </a:cubicBezTo>
                    <a:moveTo>
                      <a:pt x="252" y="189"/>
                    </a:moveTo>
                    <a:cubicBezTo>
                      <a:pt x="259" y="198"/>
                      <a:pt x="265" y="207"/>
                      <a:pt x="271" y="216"/>
                    </a:cubicBezTo>
                    <a:cubicBezTo>
                      <a:pt x="261" y="218"/>
                      <a:pt x="250" y="220"/>
                      <a:pt x="239" y="221"/>
                    </a:cubicBezTo>
                    <a:cubicBezTo>
                      <a:pt x="239" y="215"/>
                      <a:pt x="240" y="209"/>
                      <a:pt x="240" y="203"/>
                    </a:cubicBezTo>
                    <a:cubicBezTo>
                      <a:pt x="244" y="198"/>
                      <a:pt x="248" y="194"/>
                      <a:pt x="252" y="189"/>
                    </a:cubicBezTo>
                    <a:moveTo>
                      <a:pt x="290" y="290"/>
                    </a:moveTo>
                    <a:cubicBezTo>
                      <a:pt x="280" y="300"/>
                      <a:pt x="257" y="295"/>
                      <a:pt x="229" y="279"/>
                    </a:cubicBezTo>
                    <a:cubicBezTo>
                      <a:pt x="232" y="266"/>
                      <a:pt x="235" y="252"/>
                      <a:pt x="237" y="237"/>
                    </a:cubicBezTo>
                    <a:cubicBezTo>
                      <a:pt x="252" y="235"/>
                      <a:pt x="266" y="232"/>
                      <a:pt x="279" y="229"/>
                    </a:cubicBezTo>
                    <a:cubicBezTo>
                      <a:pt x="295" y="257"/>
                      <a:pt x="300" y="280"/>
                      <a:pt x="290" y="290"/>
                    </a:cubicBezTo>
                    <a:moveTo>
                      <a:pt x="286" y="212"/>
                    </a:moveTo>
                    <a:cubicBezTo>
                      <a:pt x="279" y="200"/>
                      <a:pt x="271" y="189"/>
                      <a:pt x="262" y="177"/>
                    </a:cubicBezTo>
                    <a:cubicBezTo>
                      <a:pt x="271" y="165"/>
                      <a:pt x="279" y="153"/>
                      <a:pt x="286" y="141"/>
                    </a:cubicBezTo>
                    <a:cubicBezTo>
                      <a:pt x="317" y="150"/>
                      <a:pt x="337" y="163"/>
                      <a:pt x="337" y="177"/>
                    </a:cubicBezTo>
                    <a:cubicBezTo>
                      <a:pt x="337" y="191"/>
                      <a:pt x="317" y="203"/>
                      <a:pt x="286" y="21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4230688" y="2724265"/>
              <a:ext cx="682625" cy="682625"/>
              <a:chOff x="4230688" y="2724265"/>
              <a:chExt cx="682625" cy="682625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4230688" y="2724265"/>
                <a:ext cx="682625" cy="6826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4271862" y="2765439"/>
                <a:ext cx="600276" cy="600276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3" name="Freeform 48"/>
              <p:cNvSpPr>
                <a:spLocks noEditPoints="1"/>
              </p:cNvSpPr>
              <p:nvPr/>
            </p:nvSpPr>
            <p:spPr bwMode="auto">
              <a:xfrm>
                <a:off x="4439439" y="2933016"/>
                <a:ext cx="265122" cy="265122"/>
              </a:xfrm>
              <a:custGeom>
                <a:avLst/>
                <a:gdLst>
                  <a:gd name="T0" fmla="*/ 152 w 353"/>
                  <a:gd name="T1" fmla="*/ 88 h 353"/>
                  <a:gd name="T2" fmla="*/ 144 w 353"/>
                  <a:gd name="T3" fmla="*/ 0 h 353"/>
                  <a:gd name="T4" fmla="*/ 136 w 353"/>
                  <a:gd name="T5" fmla="*/ 88 h 353"/>
                  <a:gd name="T6" fmla="*/ 241 w 353"/>
                  <a:gd name="T7" fmla="*/ 112 h 353"/>
                  <a:gd name="T8" fmla="*/ 249 w 353"/>
                  <a:gd name="T9" fmla="*/ 24 h 353"/>
                  <a:gd name="T10" fmla="*/ 233 w 353"/>
                  <a:gd name="T11" fmla="*/ 24 h 353"/>
                  <a:gd name="T12" fmla="*/ 241 w 353"/>
                  <a:gd name="T13" fmla="*/ 112 h 353"/>
                  <a:gd name="T14" fmla="*/ 201 w 353"/>
                  <a:gd name="T15" fmla="*/ 88 h 353"/>
                  <a:gd name="T16" fmla="*/ 193 w 353"/>
                  <a:gd name="T17" fmla="*/ 32 h 353"/>
                  <a:gd name="T18" fmla="*/ 185 w 353"/>
                  <a:gd name="T19" fmla="*/ 88 h 353"/>
                  <a:gd name="T20" fmla="*/ 305 w 353"/>
                  <a:gd name="T21" fmla="*/ 169 h 353"/>
                  <a:gd name="T22" fmla="*/ 289 w 353"/>
                  <a:gd name="T23" fmla="*/ 145 h 353"/>
                  <a:gd name="T24" fmla="*/ 16 w 353"/>
                  <a:gd name="T25" fmla="*/ 128 h 353"/>
                  <a:gd name="T26" fmla="*/ 0 w 353"/>
                  <a:gd name="T27" fmla="*/ 241 h 353"/>
                  <a:gd name="T28" fmla="*/ 8 w 353"/>
                  <a:gd name="T29" fmla="*/ 337 h 353"/>
                  <a:gd name="T30" fmla="*/ 8 w 353"/>
                  <a:gd name="T31" fmla="*/ 353 h 353"/>
                  <a:gd name="T32" fmla="*/ 289 w 353"/>
                  <a:gd name="T33" fmla="*/ 345 h 353"/>
                  <a:gd name="T34" fmla="*/ 234 w 353"/>
                  <a:gd name="T35" fmla="*/ 337 h 353"/>
                  <a:gd name="T36" fmla="*/ 305 w 353"/>
                  <a:gd name="T37" fmla="*/ 265 h 353"/>
                  <a:gd name="T38" fmla="*/ 305 w 353"/>
                  <a:gd name="T39" fmla="*/ 169 h 353"/>
                  <a:gd name="T40" fmla="*/ 112 w 353"/>
                  <a:gd name="T41" fmla="*/ 337 h 353"/>
                  <a:gd name="T42" fmla="*/ 248 w 353"/>
                  <a:gd name="T43" fmla="*/ 305 h 353"/>
                  <a:gd name="T44" fmla="*/ 273 w 353"/>
                  <a:gd name="T45" fmla="*/ 241 h 353"/>
                  <a:gd name="T46" fmla="*/ 29 w 353"/>
                  <a:gd name="T47" fmla="*/ 289 h 353"/>
                  <a:gd name="T48" fmla="*/ 16 w 353"/>
                  <a:gd name="T49" fmla="*/ 145 h 353"/>
                  <a:gd name="T50" fmla="*/ 273 w 353"/>
                  <a:gd name="T51" fmla="*/ 241 h 353"/>
                  <a:gd name="T52" fmla="*/ 288 w 353"/>
                  <a:gd name="T53" fmla="*/ 249 h 353"/>
                  <a:gd name="T54" fmla="*/ 289 w 353"/>
                  <a:gd name="T55" fmla="*/ 185 h 353"/>
                  <a:gd name="T56" fmla="*/ 337 w 353"/>
                  <a:gd name="T57" fmla="*/ 217 h 353"/>
                  <a:gd name="T58" fmla="*/ 48 w 353"/>
                  <a:gd name="T59" fmla="*/ 96 h 353"/>
                  <a:gd name="T60" fmla="*/ 56 w 353"/>
                  <a:gd name="T61" fmla="*/ 40 h 353"/>
                  <a:gd name="T62" fmla="*/ 40 w 353"/>
                  <a:gd name="T63" fmla="*/ 40 h 353"/>
                  <a:gd name="T64" fmla="*/ 48 w 353"/>
                  <a:gd name="T65" fmla="*/ 96 h 353"/>
                  <a:gd name="T66" fmla="*/ 104 w 353"/>
                  <a:gd name="T67" fmla="*/ 104 h 353"/>
                  <a:gd name="T68" fmla="*/ 96 w 353"/>
                  <a:gd name="T69" fmla="*/ 16 h 353"/>
                  <a:gd name="T70" fmla="*/ 88 w 353"/>
                  <a:gd name="T71" fmla="*/ 104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53" h="353">
                    <a:moveTo>
                      <a:pt x="144" y="96"/>
                    </a:moveTo>
                    <a:cubicBezTo>
                      <a:pt x="149" y="96"/>
                      <a:pt x="152" y="93"/>
                      <a:pt x="152" y="88"/>
                    </a:cubicBezTo>
                    <a:cubicBezTo>
                      <a:pt x="152" y="8"/>
                      <a:pt x="152" y="8"/>
                      <a:pt x="152" y="8"/>
                    </a:cubicBezTo>
                    <a:cubicBezTo>
                      <a:pt x="152" y="4"/>
                      <a:pt x="149" y="0"/>
                      <a:pt x="144" y="0"/>
                    </a:cubicBezTo>
                    <a:cubicBezTo>
                      <a:pt x="140" y="0"/>
                      <a:pt x="136" y="4"/>
                      <a:pt x="136" y="8"/>
                    </a:cubicBezTo>
                    <a:cubicBezTo>
                      <a:pt x="136" y="88"/>
                      <a:pt x="136" y="88"/>
                      <a:pt x="136" y="88"/>
                    </a:cubicBezTo>
                    <a:cubicBezTo>
                      <a:pt x="136" y="93"/>
                      <a:pt x="140" y="96"/>
                      <a:pt x="144" y="96"/>
                    </a:cubicBezTo>
                    <a:moveTo>
                      <a:pt x="241" y="112"/>
                    </a:moveTo>
                    <a:cubicBezTo>
                      <a:pt x="245" y="112"/>
                      <a:pt x="249" y="109"/>
                      <a:pt x="249" y="104"/>
                    </a:cubicBezTo>
                    <a:cubicBezTo>
                      <a:pt x="249" y="24"/>
                      <a:pt x="249" y="24"/>
                      <a:pt x="249" y="24"/>
                    </a:cubicBezTo>
                    <a:cubicBezTo>
                      <a:pt x="249" y="20"/>
                      <a:pt x="245" y="16"/>
                      <a:pt x="241" y="16"/>
                    </a:cubicBezTo>
                    <a:cubicBezTo>
                      <a:pt x="236" y="16"/>
                      <a:pt x="233" y="20"/>
                      <a:pt x="233" y="24"/>
                    </a:cubicBezTo>
                    <a:cubicBezTo>
                      <a:pt x="233" y="104"/>
                      <a:pt x="233" y="104"/>
                      <a:pt x="233" y="104"/>
                    </a:cubicBezTo>
                    <a:cubicBezTo>
                      <a:pt x="233" y="109"/>
                      <a:pt x="236" y="112"/>
                      <a:pt x="241" y="112"/>
                    </a:cubicBezTo>
                    <a:moveTo>
                      <a:pt x="193" y="96"/>
                    </a:moveTo>
                    <a:cubicBezTo>
                      <a:pt x="197" y="96"/>
                      <a:pt x="201" y="93"/>
                      <a:pt x="201" y="88"/>
                    </a:cubicBezTo>
                    <a:cubicBezTo>
                      <a:pt x="201" y="40"/>
                      <a:pt x="201" y="40"/>
                      <a:pt x="201" y="40"/>
                    </a:cubicBezTo>
                    <a:cubicBezTo>
                      <a:pt x="201" y="36"/>
                      <a:pt x="197" y="32"/>
                      <a:pt x="193" y="32"/>
                    </a:cubicBezTo>
                    <a:cubicBezTo>
                      <a:pt x="188" y="32"/>
                      <a:pt x="185" y="36"/>
                      <a:pt x="185" y="40"/>
                    </a:cubicBezTo>
                    <a:cubicBezTo>
                      <a:pt x="185" y="88"/>
                      <a:pt x="185" y="88"/>
                      <a:pt x="185" y="88"/>
                    </a:cubicBezTo>
                    <a:cubicBezTo>
                      <a:pt x="185" y="93"/>
                      <a:pt x="188" y="96"/>
                      <a:pt x="193" y="96"/>
                    </a:cubicBezTo>
                    <a:moveTo>
                      <a:pt x="305" y="169"/>
                    </a:moveTo>
                    <a:cubicBezTo>
                      <a:pt x="289" y="169"/>
                      <a:pt x="289" y="169"/>
                      <a:pt x="289" y="169"/>
                    </a:cubicBezTo>
                    <a:cubicBezTo>
                      <a:pt x="289" y="145"/>
                      <a:pt x="289" y="145"/>
                      <a:pt x="289" y="145"/>
                    </a:cubicBezTo>
                    <a:cubicBezTo>
                      <a:pt x="289" y="136"/>
                      <a:pt x="282" y="128"/>
                      <a:pt x="273" y="128"/>
                    </a:cubicBezTo>
                    <a:cubicBezTo>
                      <a:pt x="16" y="128"/>
                      <a:pt x="16" y="128"/>
                      <a:pt x="16" y="128"/>
                    </a:cubicBezTo>
                    <a:cubicBezTo>
                      <a:pt x="7" y="128"/>
                      <a:pt x="0" y="136"/>
                      <a:pt x="0" y="145"/>
                    </a:cubicBezTo>
                    <a:cubicBezTo>
                      <a:pt x="0" y="241"/>
                      <a:pt x="0" y="241"/>
                      <a:pt x="0" y="241"/>
                    </a:cubicBezTo>
                    <a:cubicBezTo>
                      <a:pt x="0" y="282"/>
                      <a:pt x="22" y="318"/>
                      <a:pt x="55" y="337"/>
                    </a:cubicBezTo>
                    <a:cubicBezTo>
                      <a:pt x="8" y="337"/>
                      <a:pt x="8" y="337"/>
                      <a:pt x="8" y="337"/>
                    </a:cubicBezTo>
                    <a:cubicBezTo>
                      <a:pt x="3" y="337"/>
                      <a:pt x="0" y="341"/>
                      <a:pt x="0" y="345"/>
                    </a:cubicBezTo>
                    <a:cubicBezTo>
                      <a:pt x="0" y="350"/>
                      <a:pt x="3" y="353"/>
                      <a:pt x="8" y="353"/>
                    </a:cubicBezTo>
                    <a:cubicBezTo>
                      <a:pt x="281" y="353"/>
                      <a:pt x="281" y="353"/>
                      <a:pt x="281" y="353"/>
                    </a:cubicBezTo>
                    <a:cubicBezTo>
                      <a:pt x="285" y="353"/>
                      <a:pt x="289" y="350"/>
                      <a:pt x="289" y="345"/>
                    </a:cubicBezTo>
                    <a:cubicBezTo>
                      <a:pt x="289" y="341"/>
                      <a:pt x="285" y="337"/>
                      <a:pt x="281" y="337"/>
                    </a:cubicBezTo>
                    <a:cubicBezTo>
                      <a:pt x="234" y="337"/>
                      <a:pt x="234" y="337"/>
                      <a:pt x="234" y="337"/>
                    </a:cubicBezTo>
                    <a:cubicBezTo>
                      <a:pt x="260" y="321"/>
                      <a:pt x="280" y="296"/>
                      <a:pt x="286" y="265"/>
                    </a:cubicBezTo>
                    <a:cubicBezTo>
                      <a:pt x="305" y="265"/>
                      <a:pt x="305" y="265"/>
                      <a:pt x="305" y="265"/>
                    </a:cubicBezTo>
                    <a:cubicBezTo>
                      <a:pt x="332" y="265"/>
                      <a:pt x="353" y="243"/>
                      <a:pt x="353" y="217"/>
                    </a:cubicBezTo>
                    <a:cubicBezTo>
                      <a:pt x="353" y="190"/>
                      <a:pt x="332" y="169"/>
                      <a:pt x="305" y="169"/>
                    </a:cubicBezTo>
                    <a:moveTo>
                      <a:pt x="177" y="337"/>
                    </a:moveTo>
                    <a:cubicBezTo>
                      <a:pt x="112" y="337"/>
                      <a:pt x="112" y="337"/>
                      <a:pt x="112" y="337"/>
                    </a:cubicBezTo>
                    <a:cubicBezTo>
                      <a:pt x="84" y="337"/>
                      <a:pt x="58" y="325"/>
                      <a:pt x="41" y="305"/>
                    </a:cubicBezTo>
                    <a:cubicBezTo>
                      <a:pt x="248" y="305"/>
                      <a:pt x="248" y="305"/>
                      <a:pt x="248" y="305"/>
                    </a:cubicBezTo>
                    <a:cubicBezTo>
                      <a:pt x="231" y="325"/>
                      <a:pt x="205" y="337"/>
                      <a:pt x="177" y="337"/>
                    </a:cubicBezTo>
                    <a:moveTo>
                      <a:pt x="273" y="241"/>
                    </a:moveTo>
                    <a:cubicBezTo>
                      <a:pt x="273" y="258"/>
                      <a:pt x="268" y="275"/>
                      <a:pt x="260" y="289"/>
                    </a:cubicBezTo>
                    <a:cubicBezTo>
                      <a:pt x="29" y="289"/>
                      <a:pt x="29" y="289"/>
                      <a:pt x="29" y="289"/>
                    </a:cubicBezTo>
                    <a:cubicBezTo>
                      <a:pt x="21" y="275"/>
                      <a:pt x="16" y="258"/>
                      <a:pt x="16" y="241"/>
                    </a:cubicBezTo>
                    <a:cubicBezTo>
                      <a:pt x="16" y="145"/>
                      <a:pt x="16" y="145"/>
                      <a:pt x="16" y="145"/>
                    </a:cubicBezTo>
                    <a:cubicBezTo>
                      <a:pt x="273" y="145"/>
                      <a:pt x="273" y="145"/>
                      <a:pt x="273" y="145"/>
                    </a:cubicBezTo>
                    <a:lnTo>
                      <a:pt x="273" y="241"/>
                    </a:lnTo>
                    <a:close/>
                    <a:moveTo>
                      <a:pt x="305" y="249"/>
                    </a:moveTo>
                    <a:cubicBezTo>
                      <a:pt x="288" y="249"/>
                      <a:pt x="288" y="249"/>
                      <a:pt x="288" y="249"/>
                    </a:cubicBezTo>
                    <a:cubicBezTo>
                      <a:pt x="289" y="246"/>
                      <a:pt x="289" y="244"/>
                      <a:pt x="289" y="241"/>
                    </a:cubicBezTo>
                    <a:cubicBezTo>
                      <a:pt x="289" y="185"/>
                      <a:pt x="289" y="185"/>
                      <a:pt x="289" y="185"/>
                    </a:cubicBezTo>
                    <a:cubicBezTo>
                      <a:pt x="305" y="185"/>
                      <a:pt x="305" y="185"/>
                      <a:pt x="305" y="185"/>
                    </a:cubicBezTo>
                    <a:cubicBezTo>
                      <a:pt x="323" y="185"/>
                      <a:pt x="337" y="199"/>
                      <a:pt x="337" y="217"/>
                    </a:cubicBezTo>
                    <a:cubicBezTo>
                      <a:pt x="337" y="234"/>
                      <a:pt x="323" y="249"/>
                      <a:pt x="305" y="249"/>
                    </a:cubicBezTo>
                    <a:moveTo>
                      <a:pt x="48" y="96"/>
                    </a:moveTo>
                    <a:cubicBezTo>
                      <a:pt x="52" y="96"/>
                      <a:pt x="56" y="93"/>
                      <a:pt x="56" y="88"/>
                    </a:cubicBezTo>
                    <a:cubicBezTo>
                      <a:pt x="56" y="40"/>
                      <a:pt x="56" y="40"/>
                      <a:pt x="56" y="40"/>
                    </a:cubicBezTo>
                    <a:cubicBezTo>
                      <a:pt x="56" y="36"/>
                      <a:pt x="52" y="32"/>
                      <a:pt x="48" y="32"/>
                    </a:cubicBezTo>
                    <a:cubicBezTo>
                      <a:pt x="44" y="32"/>
                      <a:pt x="40" y="36"/>
                      <a:pt x="40" y="40"/>
                    </a:cubicBezTo>
                    <a:cubicBezTo>
                      <a:pt x="40" y="88"/>
                      <a:pt x="40" y="88"/>
                      <a:pt x="40" y="88"/>
                    </a:cubicBezTo>
                    <a:cubicBezTo>
                      <a:pt x="40" y="93"/>
                      <a:pt x="44" y="96"/>
                      <a:pt x="48" y="96"/>
                    </a:cubicBezTo>
                    <a:moveTo>
                      <a:pt x="96" y="112"/>
                    </a:moveTo>
                    <a:cubicBezTo>
                      <a:pt x="101" y="112"/>
                      <a:pt x="104" y="109"/>
                      <a:pt x="104" y="104"/>
                    </a:cubicBezTo>
                    <a:cubicBezTo>
                      <a:pt x="104" y="24"/>
                      <a:pt x="104" y="24"/>
                      <a:pt x="104" y="24"/>
                    </a:cubicBezTo>
                    <a:cubicBezTo>
                      <a:pt x="104" y="20"/>
                      <a:pt x="101" y="16"/>
                      <a:pt x="96" y="16"/>
                    </a:cubicBezTo>
                    <a:cubicBezTo>
                      <a:pt x="92" y="16"/>
                      <a:pt x="88" y="20"/>
                      <a:pt x="88" y="24"/>
                    </a:cubicBezTo>
                    <a:cubicBezTo>
                      <a:pt x="88" y="104"/>
                      <a:pt x="88" y="104"/>
                      <a:pt x="88" y="104"/>
                    </a:cubicBezTo>
                    <a:cubicBezTo>
                      <a:pt x="88" y="109"/>
                      <a:pt x="92" y="112"/>
                      <a:pt x="96" y="11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1032029" y="2724265"/>
              <a:ext cx="682625" cy="682625"/>
              <a:chOff x="1032029" y="2724265"/>
              <a:chExt cx="682625" cy="682625"/>
            </a:xfrm>
          </p:grpSpPr>
          <p:sp>
            <p:nvSpPr>
              <p:cNvPr id="6" name="Oval 5"/>
              <p:cNvSpPr/>
              <p:nvPr/>
            </p:nvSpPr>
            <p:spPr>
              <a:xfrm>
                <a:off x="1032029" y="2724265"/>
                <a:ext cx="682625" cy="6826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1073203" y="2765439"/>
                <a:ext cx="600276" cy="600276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4" name="Freeform 51"/>
              <p:cNvSpPr>
                <a:spLocks noEditPoints="1"/>
              </p:cNvSpPr>
              <p:nvPr/>
            </p:nvSpPr>
            <p:spPr bwMode="auto">
              <a:xfrm>
                <a:off x="1240780" y="2933016"/>
                <a:ext cx="265122" cy="265122"/>
              </a:xfrm>
              <a:custGeom>
                <a:avLst/>
                <a:gdLst>
                  <a:gd name="T0" fmla="*/ 340 w 353"/>
                  <a:gd name="T1" fmla="*/ 155 h 353"/>
                  <a:gd name="T2" fmla="*/ 312 w 353"/>
                  <a:gd name="T3" fmla="*/ 140 h 353"/>
                  <a:gd name="T4" fmla="*/ 340 w 353"/>
                  <a:gd name="T5" fmla="*/ 126 h 353"/>
                  <a:gd name="T6" fmla="*/ 340 w 353"/>
                  <a:gd name="T7" fmla="*/ 83 h 353"/>
                  <a:gd name="T8" fmla="*/ 188 w 353"/>
                  <a:gd name="T9" fmla="*/ 3 h 353"/>
                  <a:gd name="T10" fmla="*/ 176 w 353"/>
                  <a:gd name="T11" fmla="*/ 0 h 353"/>
                  <a:gd name="T12" fmla="*/ 165 w 353"/>
                  <a:gd name="T13" fmla="*/ 3 h 353"/>
                  <a:gd name="T14" fmla="*/ 13 w 353"/>
                  <a:gd name="T15" fmla="*/ 83 h 353"/>
                  <a:gd name="T16" fmla="*/ 13 w 353"/>
                  <a:gd name="T17" fmla="*/ 126 h 353"/>
                  <a:gd name="T18" fmla="*/ 41 w 353"/>
                  <a:gd name="T19" fmla="*/ 140 h 353"/>
                  <a:gd name="T20" fmla="*/ 13 w 353"/>
                  <a:gd name="T21" fmla="*/ 155 h 353"/>
                  <a:gd name="T22" fmla="*/ 13 w 353"/>
                  <a:gd name="T23" fmla="*/ 198 h 353"/>
                  <a:gd name="T24" fmla="*/ 41 w 353"/>
                  <a:gd name="T25" fmla="*/ 213 h 353"/>
                  <a:gd name="T26" fmla="*/ 13 w 353"/>
                  <a:gd name="T27" fmla="*/ 228 h 353"/>
                  <a:gd name="T28" fmla="*/ 13 w 353"/>
                  <a:gd name="T29" fmla="*/ 270 h 353"/>
                  <a:gd name="T30" fmla="*/ 165 w 353"/>
                  <a:gd name="T31" fmla="*/ 350 h 353"/>
                  <a:gd name="T32" fmla="*/ 176 w 353"/>
                  <a:gd name="T33" fmla="*/ 353 h 353"/>
                  <a:gd name="T34" fmla="*/ 188 w 353"/>
                  <a:gd name="T35" fmla="*/ 350 h 353"/>
                  <a:gd name="T36" fmla="*/ 340 w 353"/>
                  <a:gd name="T37" fmla="*/ 270 h 353"/>
                  <a:gd name="T38" fmla="*/ 340 w 353"/>
                  <a:gd name="T39" fmla="*/ 228 h 353"/>
                  <a:gd name="T40" fmla="*/ 312 w 353"/>
                  <a:gd name="T41" fmla="*/ 213 h 353"/>
                  <a:gd name="T42" fmla="*/ 340 w 353"/>
                  <a:gd name="T43" fmla="*/ 198 h 353"/>
                  <a:gd name="T44" fmla="*/ 20 w 353"/>
                  <a:gd name="T45" fmla="*/ 111 h 353"/>
                  <a:gd name="T46" fmla="*/ 16 w 353"/>
                  <a:gd name="T47" fmla="*/ 104 h 353"/>
                  <a:gd name="T48" fmla="*/ 20 w 353"/>
                  <a:gd name="T49" fmla="*/ 97 h 353"/>
                  <a:gd name="T50" fmla="*/ 173 w 353"/>
                  <a:gd name="T51" fmla="*/ 17 h 353"/>
                  <a:gd name="T52" fmla="*/ 180 w 353"/>
                  <a:gd name="T53" fmla="*/ 17 h 353"/>
                  <a:gd name="T54" fmla="*/ 333 w 353"/>
                  <a:gd name="T55" fmla="*/ 97 h 353"/>
                  <a:gd name="T56" fmla="*/ 337 w 353"/>
                  <a:gd name="T57" fmla="*/ 104 h 353"/>
                  <a:gd name="T58" fmla="*/ 333 w 353"/>
                  <a:gd name="T59" fmla="*/ 111 h 353"/>
                  <a:gd name="T60" fmla="*/ 180 w 353"/>
                  <a:gd name="T61" fmla="*/ 192 h 353"/>
                  <a:gd name="T62" fmla="*/ 173 w 353"/>
                  <a:gd name="T63" fmla="*/ 192 h 353"/>
                  <a:gd name="T64" fmla="*/ 20 w 353"/>
                  <a:gd name="T65" fmla="*/ 111 h 353"/>
                  <a:gd name="T66" fmla="*/ 333 w 353"/>
                  <a:gd name="T67" fmla="*/ 242 h 353"/>
                  <a:gd name="T68" fmla="*/ 333 w 353"/>
                  <a:gd name="T69" fmla="*/ 256 h 353"/>
                  <a:gd name="T70" fmla="*/ 180 w 353"/>
                  <a:gd name="T71" fmla="*/ 336 h 353"/>
                  <a:gd name="T72" fmla="*/ 176 w 353"/>
                  <a:gd name="T73" fmla="*/ 337 h 353"/>
                  <a:gd name="T74" fmla="*/ 173 w 353"/>
                  <a:gd name="T75" fmla="*/ 336 h 353"/>
                  <a:gd name="T76" fmla="*/ 20 w 353"/>
                  <a:gd name="T77" fmla="*/ 256 h 353"/>
                  <a:gd name="T78" fmla="*/ 20 w 353"/>
                  <a:gd name="T79" fmla="*/ 242 h 353"/>
                  <a:gd name="T80" fmla="*/ 58 w 353"/>
                  <a:gd name="T81" fmla="*/ 222 h 353"/>
                  <a:gd name="T82" fmla="*/ 165 w 353"/>
                  <a:gd name="T83" fmla="*/ 278 h 353"/>
                  <a:gd name="T84" fmla="*/ 188 w 353"/>
                  <a:gd name="T85" fmla="*/ 278 h 353"/>
                  <a:gd name="T86" fmla="*/ 295 w 353"/>
                  <a:gd name="T87" fmla="*/ 222 h 353"/>
                  <a:gd name="T88" fmla="*/ 333 w 353"/>
                  <a:gd name="T89" fmla="*/ 184 h 353"/>
                  <a:gd name="T90" fmla="*/ 180 w 353"/>
                  <a:gd name="T91" fmla="*/ 264 h 353"/>
                  <a:gd name="T92" fmla="*/ 176 w 353"/>
                  <a:gd name="T93" fmla="*/ 265 h 353"/>
                  <a:gd name="T94" fmla="*/ 173 w 353"/>
                  <a:gd name="T95" fmla="*/ 264 h 353"/>
                  <a:gd name="T96" fmla="*/ 20 w 353"/>
                  <a:gd name="T97" fmla="*/ 184 h 353"/>
                  <a:gd name="T98" fmla="*/ 20 w 353"/>
                  <a:gd name="T99" fmla="*/ 170 h 353"/>
                  <a:gd name="T100" fmla="*/ 58 w 353"/>
                  <a:gd name="T101" fmla="*/ 150 h 353"/>
                  <a:gd name="T102" fmla="*/ 165 w 353"/>
                  <a:gd name="T103" fmla="*/ 206 h 353"/>
                  <a:gd name="T104" fmla="*/ 188 w 353"/>
                  <a:gd name="T105" fmla="*/ 206 h 353"/>
                  <a:gd name="T106" fmla="*/ 295 w 353"/>
                  <a:gd name="T107" fmla="*/ 150 h 353"/>
                  <a:gd name="T108" fmla="*/ 333 w 353"/>
                  <a:gd name="T109" fmla="*/ 170 h 353"/>
                  <a:gd name="T110" fmla="*/ 333 w 353"/>
                  <a:gd name="T111" fmla="*/ 184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53" h="353">
                    <a:moveTo>
                      <a:pt x="353" y="177"/>
                    </a:moveTo>
                    <a:cubicBezTo>
                      <a:pt x="353" y="167"/>
                      <a:pt x="348" y="159"/>
                      <a:pt x="340" y="155"/>
                    </a:cubicBezTo>
                    <a:cubicBezTo>
                      <a:pt x="340" y="155"/>
                      <a:pt x="340" y="155"/>
                      <a:pt x="340" y="155"/>
                    </a:cubicBezTo>
                    <a:cubicBezTo>
                      <a:pt x="312" y="140"/>
                      <a:pt x="312" y="140"/>
                      <a:pt x="312" y="140"/>
                    </a:cubicBezTo>
                    <a:cubicBezTo>
                      <a:pt x="340" y="126"/>
                      <a:pt x="340" y="126"/>
                      <a:pt x="340" y="126"/>
                    </a:cubicBezTo>
                    <a:cubicBezTo>
                      <a:pt x="340" y="126"/>
                      <a:pt x="340" y="126"/>
                      <a:pt x="340" y="126"/>
                    </a:cubicBezTo>
                    <a:cubicBezTo>
                      <a:pt x="348" y="122"/>
                      <a:pt x="353" y="114"/>
                      <a:pt x="353" y="104"/>
                    </a:cubicBezTo>
                    <a:cubicBezTo>
                      <a:pt x="353" y="95"/>
                      <a:pt x="348" y="87"/>
                      <a:pt x="340" y="83"/>
                    </a:cubicBezTo>
                    <a:cubicBezTo>
                      <a:pt x="340" y="83"/>
                      <a:pt x="340" y="83"/>
                      <a:pt x="340" y="83"/>
                    </a:cubicBezTo>
                    <a:cubicBezTo>
                      <a:pt x="188" y="3"/>
                      <a:pt x="188" y="3"/>
                      <a:pt x="188" y="3"/>
                    </a:cubicBezTo>
                    <a:cubicBezTo>
                      <a:pt x="188" y="3"/>
                      <a:pt x="188" y="3"/>
                      <a:pt x="188" y="3"/>
                    </a:cubicBezTo>
                    <a:cubicBezTo>
                      <a:pt x="184" y="1"/>
                      <a:pt x="181" y="0"/>
                      <a:pt x="176" y="0"/>
                    </a:cubicBezTo>
                    <a:cubicBezTo>
                      <a:pt x="172" y="0"/>
                      <a:pt x="169" y="1"/>
                      <a:pt x="165" y="3"/>
                    </a:cubicBezTo>
                    <a:cubicBezTo>
                      <a:pt x="165" y="3"/>
                      <a:pt x="165" y="3"/>
                      <a:pt x="165" y="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5" y="87"/>
                      <a:pt x="0" y="95"/>
                      <a:pt x="0" y="104"/>
                    </a:cubicBezTo>
                    <a:cubicBezTo>
                      <a:pt x="0" y="114"/>
                      <a:pt x="5" y="122"/>
                      <a:pt x="13" y="126"/>
                    </a:cubicBezTo>
                    <a:cubicBezTo>
                      <a:pt x="13" y="126"/>
                      <a:pt x="13" y="126"/>
                      <a:pt x="13" y="126"/>
                    </a:cubicBezTo>
                    <a:cubicBezTo>
                      <a:pt x="41" y="140"/>
                      <a:pt x="41" y="140"/>
                      <a:pt x="41" y="140"/>
                    </a:cubicBezTo>
                    <a:cubicBezTo>
                      <a:pt x="13" y="155"/>
                      <a:pt x="13" y="155"/>
                      <a:pt x="13" y="155"/>
                    </a:cubicBezTo>
                    <a:cubicBezTo>
                      <a:pt x="13" y="155"/>
                      <a:pt x="13" y="155"/>
                      <a:pt x="13" y="155"/>
                    </a:cubicBezTo>
                    <a:cubicBezTo>
                      <a:pt x="5" y="159"/>
                      <a:pt x="0" y="167"/>
                      <a:pt x="0" y="177"/>
                    </a:cubicBezTo>
                    <a:cubicBezTo>
                      <a:pt x="0" y="186"/>
                      <a:pt x="5" y="194"/>
                      <a:pt x="13" y="198"/>
                    </a:cubicBezTo>
                    <a:cubicBezTo>
                      <a:pt x="13" y="198"/>
                      <a:pt x="13" y="198"/>
                      <a:pt x="13" y="198"/>
                    </a:cubicBezTo>
                    <a:cubicBezTo>
                      <a:pt x="41" y="213"/>
                      <a:pt x="41" y="213"/>
                      <a:pt x="41" y="213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13" y="228"/>
                      <a:pt x="13" y="228"/>
                      <a:pt x="13" y="228"/>
                    </a:cubicBezTo>
                    <a:cubicBezTo>
                      <a:pt x="5" y="232"/>
                      <a:pt x="0" y="240"/>
                      <a:pt x="0" y="249"/>
                    </a:cubicBezTo>
                    <a:cubicBezTo>
                      <a:pt x="0" y="258"/>
                      <a:pt x="5" y="266"/>
                      <a:pt x="13" y="270"/>
                    </a:cubicBezTo>
                    <a:cubicBezTo>
                      <a:pt x="13" y="270"/>
                      <a:pt x="13" y="270"/>
                      <a:pt x="13" y="270"/>
                    </a:cubicBezTo>
                    <a:cubicBezTo>
                      <a:pt x="165" y="350"/>
                      <a:pt x="165" y="350"/>
                      <a:pt x="165" y="350"/>
                    </a:cubicBezTo>
                    <a:cubicBezTo>
                      <a:pt x="165" y="350"/>
                      <a:pt x="165" y="350"/>
                      <a:pt x="165" y="350"/>
                    </a:cubicBezTo>
                    <a:cubicBezTo>
                      <a:pt x="169" y="352"/>
                      <a:pt x="172" y="353"/>
                      <a:pt x="176" y="353"/>
                    </a:cubicBezTo>
                    <a:cubicBezTo>
                      <a:pt x="181" y="353"/>
                      <a:pt x="184" y="352"/>
                      <a:pt x="188" y="350"/>
                    </a:cubicBezTo>
                    <a:cubicBezTo>
                      <a:pt x="188" y="350"/>
                      <a:pt x="188" y="350"/>
                      <a:pt x="188" y="350"/>
                    </a:cubicBezTo>
                    <a:cubicBezTo>
                      <a:pt x="340" y="270"/>
                      <a:pt x="340" y="270"/>
                      <a:pt x="340" y="270"/>
                    </a:cubicBezTo>
                    <a:cubicBezTo>
                      <a:pt x="340" y="270"/>
                      <a:pt x="340" y="270"/>
                      <a:pt x="340" y="270"/>
                    </a:cubicBezTo>
                    <a:cubicBezTo>
                      <a:pt x="348" y="266"/>
                      <a:pt x="353" y="258"/>
                      <a:pt x="353" y="249"/>
                    </a:cubicBezTo>
                    <a:cubicBezTo>
                      <a:pt x="353" y="240"/>
                      <a:pt x="348" y="232"/>
                      <a:pt x="340" y="228"/>
                    </a:cubicBezTo>
                    <a:cubicBezTo>
                      <a:pt x="340" y="228"/>
                      <a:pt x="340" y="228"/>
                      <a:pt x="340" y="228"/>
                    </a:cubicBezTo>
                    <a:cubicBezTo>
                      <a:pt x="312" y="213"/>
                      <a:pt x="312" y="213"/>
                      <a:pt x="312" y="213"/>
                    </a:cubicBezTo>
                    <a:cubicBezTo>
                      <a:pt x="340" y="198"/>
                      <a:pt x="340" y="198"/>
                      <a:pt x="340" y="198"/>
                    </a:cubicBezTo>
                    <a:cubicBezTo>
                      <a:pt x="340" y="198"/>
                      <a:pt x="340" y="198"/>
                      <a:pt x="340" y="198"/>
                    </a:cubicBezTo>
                    <a:cubicBezTo>
                      <a:pt x="348" y="194"/>
                      <a:pt x="353" y="186"/>
                      <a:pt x="353" y="177"/>
                    </a:cubicBezTo>
                    <a:moveTo>
                      <a:pt x="20" y="111"/>
                    </a:moveTo>
                    <a:cubicBezTo>
                      <a:pt x="20" y="111"/>
                      <a:pt x="20" y="111"/>
                      <a:pt x="20" y="111"/>
                    </a:cubicBezTo>
                    <a:cubicBezTo>
                      <a:pt x="18" y="110"/>
                      <a:pt x="16" y="107"/>
                      <a:pt x="16" y="104"/>
                    </a:cubicBezTo>
                    <a:cubicBezTo>
                      <a:pt x="16" y="101"/>
                      <a:pt x="18" y="99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173" y="17"/>
                      <a:pt x="173" y="17"/>
                      <a:pt x="173" y="17"/>
                    </a:cubicBezTo>
                    <a:cubicBezTo>
                      <a:pt x="173" y="17"/>
                      <a:pt x="173" y="17"/>
                      <a:pt x="173" y="17"/>
                    </a:cubicBezTo>
                    <a:cubicBezTo>
                      <a:pt x="174" y="16"/>
                      <a:pt x="175" y="16"/>
                      <a:pt x="176" y="16"/>
                    </a:cubicBezTo>
                    <a:cubicBezTo>
                      <a:pt x="178" y="16"/>
                      <a:pt x="179" y="16"/>
                      <a:pt x="180" y="17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333" y="97"/>
                      <a:pt x="333" y="97"/>
                      <a:pt x="333" y="97"/>
                    </a:cubicBezTo>
                    <a:cubicBezTo>
                      <a:pt x="333" y="97"/>
                      <a:pt x="333" y="97"/>
                      <a:pt x="333" y="97"/>
                    </a:cubicBezTo>
                    <a:cubicBezTo>
                      <a:pt x="335" y="99"/>
                      <a:pt x="337" y="101"/>
                      <a:pt x="337" y="104"/>
                    </a:cubicBezTo>
                    <a:cubicBezTo>
                      <a:pt x="337" y="107"/>
                      <a:pt x="335" y="110"/>
                      <a:pt x="333" y="111"/>
                    </a:cubicBezTo>
                    <a:cubicBezTo>
                      <a:pt x="333" y="111"/>
                      <a:pt x="333" y="111"/>
                      <a:pt x="333" y="111"/>
                    </a:cubicBezTo>
                    <a:cubicBezTo>
                      <a:pt x="180" y="192"/>
                      <a:pt x="180" y="192"/>
                      <a:pt x="180" y="192"/>
                    </a:cubicBezTo>
                    <a:cubicBezTo>
                      <a:pt x="180" y="192"/>
                      <a:pt x="180" y="192"/>
                      <a:pt x="180" y="192"/>
                    </a:cubicBezTo>
                    <a:cubicBezTo>
                      <a:pt x="179" y="192"/>
                      <a:pt x="178" y="193"/>
                      <a:pt x="176" y="193"/>
                    </a:cubicBezTo>
                    <a:cubicBezTo>
                      <a:pt x="175" y="193"/>
                      <a:pt x="174" y="192"/>
                      <a:pt x="173" y="192"/>
                    </a:cubicBezTo>
                    <a:cubicBezTo>
                      <a:pt x="173" y="192"/>
                      <a:pt x="173" y="192"/>
                      <a:pt x="173" y="192"/>
                    </a:cubicBezTo>
                    <a:lnTo>
                      <a:pt x="20" y="111"/>
                    </a:lnTo>
                    <a:close/>
                    <a:moveTo>
                      <a:pt x="333" y="242"/>
                    </a:moveTo>
                    <a:cubicBezTo>
                      <a:pt x="333" y="242"/>
                      <a:pt x="333" y="242"/>
                      <a:pt x="333" y="242"/>
                    </a:cubicBezTo>
                    <a:cubicBezTo>
                      <a:pt x="335" y="243"/>
                      <a:pt x="337" y="246"/>
                      <a:pt x="337" y="249"/>
                    </a:cubicBezTo>
                    <a:cubicBezTo>
                      <a:pt x="337" y="252"/>
                      <a:pt x="335" y="255"/>
                      <a:pt x="333" y="256"/>
                    </a:cubicBezTo>
                    <a:cubicBezTo>
                      <a:pt x="333" y="256"/>
                      <a:pt x="333" y="256"/>
                      <a:pt x="333" y="256"/>
                    </a:cubicBezTo>
                    <a:cubicBezTo>
                      <a:pt x="180" y="336"/>
                      <a:pt x="180" y="336"/>
                      <a:pt x="180" y="336"/>
                    </a:cubicBezTo>
                    <a:cubicBezTo>
                      <a:pt x="180" y="336"/>
                      <a:pt x="180" y="336"/>
                      <a:pt x="180" y="336"/>
                    </a:cubicBezTo>
                    <a:cubicBezTo>
                      <a:pt x="179" y="337"/>
                      <a:pt x="178" y="337"/>
                      <a:pt x="176" y="337"/>
                    </a:cubicBezTo>
                    <a:cubicBezTo>
                      <a:pt x="175" y="337"/>
                      <a:pt x="174" y="337"/>
                      <a:pt x="173" y="336"/>
                    </a:cubicBezTo>
                    <a:cubicBezTo>
                      <a:pt x="173" y="336"/>
                      <a:pt x="173" y="336"/>
                      <a:pt x="173" y="336"/>
                    </a:cubicBezTo>
                    <a:cubicBezTo>
                      <a:pt x="20" y="256"/>
                      <a:pt x="20" y="256"/>
                      <a:pt x="20" y="256"/>
                    </a:cubicBezTo>
                    <a:cubicBezTo>
                      <a:pt x="20" y="256"/>
                      <a:pt x="20" y="256"/>
                      <a:pt x="20" y="256"/>
                    </a:cubicBezTo>
                    <a:cubicBezTo>
                      <a:pt x="18" y="255"/>
                      <a:pt x="16" y="252"/>
                      <a:pt x="16" y="249"/>
                    </a:cubicBezTo>
                    <a:cubicBezTo>
                      <a:pt x="16" y="246"/>
                      <a:pt x="18" y="243"/>
                      <a:pt x="20" y="242"/>
                    </a:cubicBezTo>
                    <a:cubicBezTo>
                      <a:pt x="20" y="242"/>
                      <a:pt x="20" y="242"/>
                      <a:pt x="20" y="242"/>
                    </a:cubicBezTo>
                    <a:cubicBezTo>
                      <a:pt x="58" y="222"/>
                      <a:pt x="58" y="222"/>
                      <a:pt x="58" y="222"/>
                    </a:cubicBezTo>
                    <a:cubicBezTo>
                      <a:pt x="165" y="278"/>
                      <a:pt x="165" y="278"/>
                      <a:pt x="165" y="278"/>
                    </a:cubicBezTo>
                    <a:cubicBezTo>
                      <a:pt x="165" y="278"/>
                      <a:pt x="165" y="278"/>
                      <a:pt x="165" y="278"/>
                    </a:cubicBezTo>
                    <a:cubicBezTo>
                      <a:pt x="169" y="280"/>
                      <a:pt x="172" y="281"/>
                      <a:pt x="176" y="281"/>
                    </a:cubicBezTo>
                    <a:cubicBezTo>
                      <a:pt x="181" y="281"/>
                      <a:pt x="184" y="280"/>
                      <a:pt x="188" y="278"/>
                    </a:cubicBezTo>
                    <a:cubicBezTo>
                      <a:pt x="188" y="278"/>
                      <a:pt x="188" y="278"/>
                      <a:pt x="188" y="278"/>
                    </a:cubicBezTo>
                    <a:cubicBezTo>
                      <a:pt x="295" y="222"/>
                      <a:pt x="295" y="222"/>
                      <a:pt x="295" y="222"/>
                    </a:cubicBezTo>
                    <a:lnTo>
                      <a:pt x="333" y="242"/>
                    </a:lnTo>
                    <a:close/>
                    <a:moveTo>
                      <a:pt x="333" y="184"/>
                    </a:moveTo>
                    <a:cubicBezTo>
                      <a:pt x="333" y="184"/>
                      <a:pt x="333" y="184"/>
                      <a:pt x="333" y="184"/>
                    </a:cubicBezTo>
                    <a:cubicBezTo>
                      <a:pt x="180" y="264"/>
                      <a:pt x="180" y="264"/>
                      <a:pt x="180" y="264"/>
                    </a:cubicBezTo>
                    <a:cubicBezTo>
                      <a:pt x="180" y="264"/>
                      <a:pt x="180" y="264"/>
                      <a:pt x="180" y="264"/>
                    </a:cubicBezTo>
                    <a:cubicBezTo>
                      <a:pt x="179" y="265"/>
                      <a:pt x="178" y="265"/>
                      <a:pt x="176" y="265"/>
                    </a:cubicBezTo>
                    <a:cubicBezTo>
                      <a:pt x="175" y="265"/>
                      <a:pt x="174" y="265"/>
                      <a:pt x="173" y="264"/>
                    </a:cubicBezTo>
                    <a:cubicBezTo>
                      <a:pt x="173" y="264"/>
                      <a:pt x="173" y="264"/>
                      <a:pt x="173" y="264"/>
                    </a:cubicBezTo>
                    <a:cubicBezTo>
                      <a:pt x="20" y="184"/>
                      <a:pt x="20" y="184"/>
                      <a:pt x="20" y="184"/>
                    </a:cubicBezTo>
                    <a:cubicBezTo>
                      <a:pt x="20" y="184"/>
                      <a:pt x="20" y="184"/>
                      <a:pt x="20" y="184"/>
                    </a:cubicBezTo>
                    <a:cubicBezTo>
                      <a:pt x="18" y="182"/>
                      <a:pt x="16" y="180"/>
                      <a:pt x="16" y="177"/>
                    </a:cubicBezTo>
                    <a:cubicBezTo>
                      <a:pt x="16" y="174"/>
                      <a:pt x="18" y="171"/>
                      <a:pt x="20" y="170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58" y="150"/>
                      <a:pt x="58" y="150"/>
                      <a:pt x="58" y="150"/>
                    </a:cubicBezTo>
                    <a:cubicBezTo>
                      <a:pt x="165" y="206"/>
                      <a:pt x="165" y="206"/>
                      <a:pt x="165" y="206"/>
                    </a:cubicBezTo>
                    <a:cubicBezTo>
                      <a:pt x="165" y="206"/>
                      <a:pt x="165" y="206"/>
                      <a:pt x="165" y="206"/>
                    </a:cubicBezTo>
                    <a:cubicBezTo>
                      <a:pt x="169" y="208"/>
                      <a:pt x="172" y="209"/>
                      <a:pt x="176" y="209"/>
                    </a:cubicBezTo>
                    <a:cubicBezTo>
                      <a:pt x="181" y="209"/>
                      <a:pt x="184" y="208"/>
                      <a:pt x="188" y="206"/>
                    </a:cubicBezTo>
                    <a:cubicBezTo>
                      <a:pt x="188" y="206"/>
                      <a:pt x="188" y="206"/>
                      <a:pt x="188" y="206"/>
                    </a:cubicBezTo>
                    <a:cubicBezTo>
                      <a:pt x="295" y="150"/>
                      <a:pt x="295" y="150"/>
                      <a:pt x="295" y="150"/>
                    </a:cubicBezTo>
                    <a:cubicBezTo>
                      <a:pt x="333" y="170"/>
                      <a:pt x="333" y="170"/>
                      <a:pt x="333" y="170"/>
                    </a:cubicBezTo>
                    <a:cubicBezTo>
                      <a:pt x="333" y="170"/>
                      <a:pt x="333" y="170"/>
                      <a:pt x="333" y="170"/>
                    </a:cubicBezTo>
                    <a:cubicBezTo>
                      <a:pt x="335" y="171"/>
                      <a:pt x="337" y="174"/>
                      <a:pt x="337" y="177"/>
                    </a:cubicBezTo>
                    <a:cubicBezTo>
                      <a:pt x="337" y="180"/>
                      <a:pt x="335" y="182"/>
                      <a:pt x="333" y="18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5830017" y="2724265"/>
              <a:ext cx="682625" cy="682625"/>
              <a:chOff x="5830017" y="2724265"/>
              <a:chExt cx="682625" cy="682625"/>
            </a:xfrm>
          </p:grpSpPr>
          <p:sp>
            <p:nvSpPr>
              <p:cNvPr id="5" name="Oval 4"/>
              <p:cNvSpPr/>
              <p:nvPr/>
            </p:nvSpPr>
            <p:spPr>
              <a:xfrm>
                <a:off x="5830017" y="2724265"/>
                <a:ext cx="682625" cy="682625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5871191" y="2765439"/>
                <a:ext cx="600276" cy="600276"/>
              </a:xfrm>
              <a:prstGeom prst="ellipse">
                <a:avLst/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35" name="Freeform 116"/>
              <p:cNvSpPr>
                <a:spLocks noEditPoints="1"/>
              </p:cNvSpPr>
              <p:nvPr/>
            </p:nvSpPr>
            <p:spPr bwMode="auto">
              <a:xfrm>
                <a:off x="6040215" y="2934463"/>
                <a:ext cx="262229" cy="262229"/>
              </a:xfrm>
              <a:custGeom>
                <a:avLst/>
                <a:gdLst>
                  <a:gd name="T0" fmla="*/ 184 w 353"/>
                  <a:gd name="T1" fmla="*/ 217 h 353"/>
                  <a:gd name="T2" fmla="*/ 216 w 353"/>
                  <a:gd name="T3" fmla="*/ 249 h 353"/>
                  <a:gd name="T4" fmla="*/ 216 w 353"/>
                  <a:gd name="T5" fmla="*/ 160 h 353"/>
                  <a:gd name="T6" fmla="*/ 184 w 353"/>
                  <a:gd name="T7" fmla="*/ 192 h 353"/>
                  <a:gd name="T8" fmla="*/ 216 w 353"/>
                  <a:gd name="T9" fmla="*/ 160 h 353"/>
                  <a:gd name="T10" fmla="*/ 184 w 353"/>
                  <a:gd name="T11" fmla="*/ 273 h 353"/>
                  <a:gd name="T12" fmla="*/ 216 w 353"/>
                  <a:gd name="T13" fmla="*/ 305 h 353"/>
                  <a:gd name="T14" fmla="*/ 264 w 353"/>
                  <a:gd name="T15" fmla="*/ 160 h 353"/>
                  <a:gd name="T16" fmla="*/ 232 w 353"/>
                  <a:gd name="T17" fmla="*/ 192 h 353"/>
                  <a:gd name="T18" fmla="*/ 264 w 353"/>
                  <a:gd name="T19" fmla="*/ 160 h 353"/>
                  <a:gd name="T20" fmla="*/ 281 w 353"/>
                  <a:gd name="T21" fmla="*/ 160 h 353"/>
                  <a:gd name="T22" fmla="*/ 313 w 353"/>
                  <a:gd name="T23" fmla="*/ 192 h 353"/>
                  <a:gd name="T24" fmla="*/ 264 w 353"/>
                  <a:gd name="T25" fmla="*/ 217 h 353"/>
                  <a:gd name="T26" fmla="*/ 232 w 353"/>
                  <a:gd name="T27" fmla="*/ 249 h 353"/>
                  <a:gd name="T28" fmla="*/ 264 w 353"/>
                  <a:gd name="T29" fmla="*/ 217 h 353"/>
                  <a:gd name="T30" fmla="*/ 281 w 353"/>
                  <a:gd name="T31" fmla="*/ 217 h 353"/>
                  <a:gd name="T32" fmla="*/ 313 w 353"/>
                  <a:gd name="T33" fmla="*/ 249 h 353"/>
                  <a:gd name="T34" fmla="*/ 168 w 353"/>
                  <a:gd name="T35" fmla="*/ 217 h 353"/>
                  <a:gd name="T36" fmla="*/ 136 w 353"/>
                  <a:gd name="T37" fmla="*/ 249 h 353"/>
                  <a:gd name="T38" fmla="*/ 168 w 353"/>
                  <a:gd name="T39" fmla="*/ 217 h 353"/>
                  <a:gd name="T40" fmla="*/ 136 w 353"/>
                  <a:gd name="T41" fmla="*/ 160 h 353"/>
                  <a:gd name="T42" fmla="*/ 168 w 353"/>
                  <a:gd name="T43" fmla="*/ 192 h 353"/>
                  <a:gd name="T44" fmla="*/ 168 w 353"/>
                  <a:gd name="T45" fmla="*/ 273 h 353"/>
                  <a:gd name="T46" fmla="*/ 136 w 353"/>
                  <a:gd name="T47" fmla="*/ 305 h 353"/>
                  <a:gd name="T48" fmla="*/ 168 w 353"/>
                  <a:gd name="T49" fmla="*/ 273 h 353"/>
                  <a:gd name="T50" fmla="*/ 40 w 353"/>
                  <a:gd name="T51" fmla="*/ 217 h 353"/>
                  <a:gd name="T52" fmla="*/ 72 w 353"/>
                  <a:gd name="T53" fmla="*/ 249 h 353"/>
                  <a:gd name="T54" fmla="*/ 72 w 353"/>
                  <a:gd name="T55" fmla="*/ 160 h 353"/>
                  <a:gd name="T56" fmla="*/ 40 w 353"/>
                  <a:gd name="T57" fmla="*/ 192 h 353"/>
                  <a:gd name="T58" fmla="*/ 72 w 353"/>
                  <a:gd name="T59" fmla="*/ 160 h 353"/>
                  <a:gd name="T60" fmla="*/ 289 w 353"/>
                  <a:gd name="T61" fmla="*/ 32 h 353"/>
                  <a:gd name="T62" fmla="*/ 281 w 353"/>
                  <a:gd name="T63" fmla="*/ 0 h 353"/>
                  <a:gd name="T64" fmla="*/ 272 w 353"/>
                  <a:gd name="T65" fmla="*/ 32 h 353"/>
                  <a:gd name="T66" fmla="*/ 80 w 353"/>
                  <a:gd name="T67" fmla="*/ 8 h 353"/>
                  <a:gd name="T68" fmla="*/ 64 w 353"/>
                  <a:gd name="T69" fmla="*/ 8 h 353"/>
                  <a:gd name="T70" fmla="*/ 32 w 353"/>
                  <a:gd name="T71" fmla="*/ 32 h 353"/>
                  <a:gd name="T72" fmla="*/ 0 w 353"/>
                  <a:gd name="T73" fmla="*/ 321 h 353"/>
                  <a:gd name="T74" fmla="*/ 321 w 353"/>
                  <a:gd name="T75" fmla="*/ 353 h 353"/>
                  <a:gd name="T76" fmla="*/ 353 w 353"/>
                  <a:gd name="T77" fmla="*/ 64 h 353"/>
                  <a:gd name="T78" fmla="*/ 337 w 353"/>
                  <a:gd name="T79" fmla="*/ 321 h 353"/>
                  <a:gd name="T80" fmla="*/ 32 w 353"/>
                  <a:gd name="T81" fmla="*/ 337 h 353"/>
                  <a:gd name="T82" fmla="*/ 16 w 353"/>
                  <a:gd name="T83" fmla="*/ 128 h 353"/>
                  <a:gd name="T84" fmla="*/ 337 w 353"/>
                  <a:gd name="T85" fmla="*/ 321 h 353"/>
                  <a:gd name="T86" fmla="*/ 16 w 353"/>
                  <a:gd name="T87" fmla="*/ 112 h 353"/>
                  <a:gd name="T88" fmla="*/ 32 w 353"/>
                  <a:gd name="T89" fmla="*/ 48 h 353"/>
                  <a:gd name="T90" fmla="*/ 64 w 353"/>
                  <a:gd name="T91" fmla="*/ 72 h 353"/>
                  <a:gd name="T92" fmla="*/ 80 w 353"/>
                  <a:gd name="T93" fmla="*/ 72 h 353"/>
                  <a:gd name="T94" fmla="*/ 272 w 353"/>
                  <a:gd name="T95" fmla="*/ 48 h 353"/>
                  <a:gd name="T96" fmla="*/ 281 w 353"/>
                  <a:gd name="T97" fmla="*/ 80 h 353"/>
                  <a:gd name="T98" fmla="*/ 289 w 353"/>
                  <a:gd name="T99" fmla="*/ 48 h 353"/>
                  <a:gd name="T100" fmla="*/ 337 w 353"/>
                  <a:gd name="T101" fmla="*/ 64 h 353"/>
                  <a:gd name="T102" fmla="*/ 72 w 353"/>
                  <a:gd name="T103" fmla="*/ 273 h 353"/>
                  <a:gd name="T104" fmla="*/ 40 w 353"/>
                  <a:gd name="T105" fmla="*/ 305 h 353"/>
                  <a:gd name="T106" fmla="*/ 72 w 353"/>
                  <a:gd name="T107" fmla="*/ 273 h 353"/>
                  <a:gd name="T108" fmla="*/ 88 w 353"/>
                  <a:gd name="T109" fmla="*/ 160 h 353"/>
                  <a:gd name="T110" fmla="*/ 120 w 353"/>
                  <a:gd name="T111" fmla="*/ 192 h 353"/>
                  <a:gd name="T112" fmla="*/ 120 w 353"/>
                  <a:gd name="T113" fmla="*/ 273 h 353"/>
                  <a:gd name="T114" fmla="*/ 88 w 353"/>
                  <a:gd name="T115" fmla="*/ 305 h 353"/>
                  <a:gd name="T116" fmla="*/ 120 w 353"/>
                  <a:gd name="T117" fmla="*/ 273 h 353"/>
                  <a:gd name="T118" fmla="*/ 88 w 353"/>
                  <a:gd name="T119" fmla="*/ 217 h 353"/>
                  <a:gd name="T120" fmla="*/ 120 w 353"/>
                  <a:gd name="T121" fmla="*/ 24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53" h="353">
                    <a:moveTo>
                      <a:pt x="216" y="217"/>
                    </a:moveTo>
                    <a:cubicBezTo>
                      <a:pt x="184" y="217"/>
                      <a:pt x="184" y="217"/>
                      <a:pt x="184" y="217"/>
                    </a:cubicBezTo>
                    <a:cubicBezTo>
                      <a:pt x="184" y="249"/>
                      <a:pt x="184" y="249"/>
                      <a:pt x="184" y="249"/>
                    </a:cubicBezTo>
                    <a:cubicBezTo>
                      <a:pt x="216" y="249"/>
                      <a:pt x="216" y="249"/>
                      <a:pt x="216" y="249"/>
                    </a:cubicBezTo>
                    <a:lnTo>
                      <a:pt x="216" y="217"/>
                    </a:lnTo>
                    <a:close/>
                    <a:moveTo>
                      <a:pt x="216" y="160"/>
                    </a:moveTo>
                    <a:cubicBezTo>
                      <a:pt x="184" y="160"/>
                      <a:pt x="184" y="160"/>
                      <a:pt x="184" y="160"/>
                    </a:cubicBezTo>
                    <a:cubicBezTo>
                      <a:pt x="184" y="192"/>
                      <a:pt x="184" y="192"/>
                      <a:pt x="184" y="192"/>
                    </a:cubicBezTo>
                    <a:cubicBezTo>
                      <a:pt x="216" y="192"/>
                      <a:pt x="216" y="192"/>
                      <a:pt x="216" y="192"/>
                    </a:cubicBezTo>
                    <a:lnTo>
                      <a:pt x="216" y="160"/>
                    </a:lnTo>
                    <a:close/>
                    <a:moveTo>
                      <a:pt x="216" y="273"/>
                    </a:move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305"/>
                      <a:pt x="184" y="305"/>
                      <a:pt x="184" y="305"/>
                    </a:cubicBezTo>
                    <a:cubicBezTo>
                      <a:pt x="216" y="305"/>
                      <a:pt x="216" y="305"/>
                      <a:pt x="216" y="305"/>
                    </a:cubicBezTo>
                    <a:lnTo>
                      <a:pt x="216" y="273"/>
                    </a:lnTo>
                    <a:close/>
                    <a:moveTo>
                      <a:pt x="264" y="160"/>
                    </a:moveTo>
                    <a:cubicBezTo>
                      <a:pt x="232" y="160"/>
                      <a:pt x="232" y="160"/>
                      <a:pt x="232" y="160"/>
                    </a:cubicBezTo>
                    <a:cubicBezTo>
                      <a:pt x="232" y="192"/>
                      <a:pt x="232" y="192"/>
                      <a:pt x="232" y="192"/>
                    </a:cubicBezTo>
                    <a:cubicBezTo>
                      <a:pt x="264" y="192"/>
                      <a:pt x="264" y="192"/>
                      <a:pt x="264" y="192"/>
                    </a:cubicBezTo>
                    <a:lnTo>
                      <a:pt x="264" y="160"/>
                    </a:lnTo>
                    <a:close/>
                    <a:moveTo>
                      <a:pt x="313" y="160"/>
                    </a:moveTo>
                    <a:cubicBezTo>
                      <a:pt x="281" y="160"/>
                      <a:pt x="281" y="160"/>
                      <a:pt x="281" y="160"/>
                    </a:cubicBezTo>
                    <a:cubicBezTo>
                      <a:pt x="281" y="192"/>
                      <a:pt x="281" y="192"/>
                      <a:pt x="281" y="192"/>
                    </a:cubicBezTo>
                    <a:cubicBezTo>
                      <a:pt x="313" y="192"/>
                      <a:pt x="313" y="192"/>
                      <a:pt x="313" y="192"/>
                    </a:cubicBezTo>
                    <a:lnTo>
                      <a:pt x="313" y="160"/>
                    </a:lnTo>
                    <a:close/>
                    <a:moveTo>
                      <a:pt x="264" y="217"/>
                    </a:moveTo>
                    <a:cubicBezTo>
                      <a:pt x="232" y="217"/>
                      <a:pt x="232" y="217"/>
                      <a:pt x="232" y="217"/>
                    </a:cubicBezTo>
                    <a:cubicBezTo>
                      <a:pt x="232" y="249"/>
                      <a:pt x="232" y="249"/>
                      <a:pt x="232" y="249"/>
                    </a:cubicBezTo>
                    <a:cubicBezTo>
                      <a:pt x="264" y="249"/>
                      <a:pt x="264" y="249"/>
                      <a:pt x="264" y="249"/>
                    </a:cubicBezTo>
                    <a:lnTo>
                      <a:pt x="264" y="217"/>
                    </a:lnTo>
                    <a:close/>
                    <a:moveTo>
                      <a:pt x="313" y="217"/>
                    </a:moveTo>
                    <a:cubicBezTo>
                      <a:pt x="281" y="217"/>
                      <a:pt x="281" y="217"/>
                      <a:pt x="281" y="217"/>
                    </a:cubicBezTo>
                    <a:cubicBezTo>
                      <a:pt x="281" y="249"/>
                      <a:pt x="281" y="249"/>
                      <a:pt x="281" y="249"/>
                    </a:cubicBezTo>
                    <a:cubicBezTo>
                      <a:pt x="313" y="249"/>
                      <a:pt x="313" y="249"/>
                      <a:pt x="313" y="249"/>
                    </a:cubicBezTo>
                    <a:lnTo>
                      <a:pt x="313" y="217"/>
                    </a:lnTo>
                    <a:close/>
                    <a:moveTo>
                      <a:pt x="168" y="217"/>
                    </a:move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68" y="249"/>
                      <a:pt x="168" y="249"/>
                      <a:pt x="168" y="249"/>
                    </a:cubicBezTo>
                    <a:lnTo>
                      <a:pt x="168" y="217"/>
                    </a:lnTo>
                    <a:close/>
                    <a:moveTo>
                      <a:pt x="168" y="160"/>
                    </a:moveTo>
                    <a:cubicBezTo>
                      <a:pt x="136" y="160"/>
                      <a:pt x="136" y="160"/>
                      <a:pt x="136" y="160"/>
                    </a:cubicBezTo>
                    <a:cubicBezTo>
                      <a:pt x="136" y="192"/>
                      <a:pt x="136" y="192"/>
                      <a:pt x="136" y="192"/>
                    </a:cubicBezTo>
                    <a:cubicBezTo>
                      <a:pt x="168" y="192"/>
                      <a:pt x="168" y="192"/>
                      <a:pt x="168" y="192"/>
                    </a:cubicBezTo>
                    <a:lnTo>
                      <a:pt x="168" y="160"/>
                    </a:lnTo>
                    <a:close/>
                    <a:moveTo>
                      <a:pt x="168" y="273"/>
                    </a:moveTo>
                    <a:cubicBezTo>
                      <a:pt x="136" y="273"/>
                      <a:pt x="136" y="273"/>
                      <a:pt x="136" y="273"/>
                    </a:cubicBezTo>
                    <a:cubicBezTo>
                      <a:pt x="136" y="305"/>
                      <a:pt x="136" y="305"/>
                      <a:pt x="136" y="305"/>
                    </a:cubicBezTo>
                    <a:cubicBezTo>
                      <a:pt x="168" y="305"/>
                      <a:pt x="168" y="305"/>
                      <a:pt x="168" y="305"/>
                    </a:cubicBezTo>
                    <a:lnTo>
                      <a:pt x="168" y="273"/>
                    </a:lnTo>
                    <a:close/>
                    <a:moveTo>
                      <a:pt x="72" y="217"/>
                    </a:moveTo>
                    <a:cubicBezTo>
                      <a:pt x="40" y="217"/>
                      <a:pt x="40" y="217"/>
                      <a:pt x="40" y="217"/>
                    </a:cubicBezTo>
                    <a:cubicBezTo>
                      <a:pt x="40" y="249"/>
                      <a:pt x="40" y="249"/>
                      <a:pt x="40" y="249"/>
                    </a:cubicBezTo>
                    <a:cubicBezTo>
                      <a:pt x="72" y="249"/>
                      <a:pt x="72" y="249"/>
                      <a:pt x="72" y="249"/>
                    </a:cubicBezTo>
                    <a:lnTo>
                      <a:pt x="72" y="217"/>
                    </a:lnTo>
                    <a:close/>
                    <a:moveTo>
                      <a:pt x="72" y="160"/>
                    </a:moveTo>
                    <a:cubicBezTo>
                      <a:pt x="40" y="160"/>
                      <a:pt x="40" y="160"/>
                      <a:pt x="40" y="160"/>
                    </a:cubicBezTo>
                    <a:cubicBezTo>
                      <a:pt x="40" y="192"/>
                      <a:pt x="40" y="192"/>
                      <a:pt x="40" y="192"/>
                    </a:cubicBezTo>
                    <a:cubicBezTo>
                      <a:pt x="72" y="192"/>
                      <a:pt x="72" y="192"/>
                      <a:pt x="72" y="192"/>
                    </a:cubicBezTo>
                    <a:lnTo>
                      <a:pt x="72" y="160"/>
                    </a:lnTo>
                    <a:close/>
                    <a:moveTo>
                      <a:pt x="321" y="32"/>
                    </a:moveTo>
                    <a:cubicBezTo>
                      <a:pt x="289" y="32"/>
                      <a:pt x="289" y="32"/>
                      <a:pt x="289" y="32"/>
                    </a:cubicBezTo>
                    <a:cubicBezTo>
                      <a:pt x="289" y="8"/>
                      <a:pt x="289" y="8"/>
                      <a:pt x="289" y="8"/>
                    </a:cubicBezTo>
                    <a:cubicBezTo>
                      <a:pt x="289" y="3"/>
                      <a:pt x="285" y="0"/>
                      <a:pt x="281" y="0"/>
                    </a:cubicBezTo>
                    <a:cubicBezTo>
                      <a:pt x="276" y="0"/>
                      <a:pt x="272" y="3"/>
                      <a:pt x="272" y="8"/>
                    </a:cubicBezTo>
                    <a:cubicBezTo>
                      <a:pt x="272" y="32"/>
                      <a:pt x="272" y="32"/>
                      <a:pt x="272" y="32"/>
                    </a:cubicBezTo>
                    <a:cubicBezTo>
                      <a:pt x="80" y="32"/>
                      <a:pt x="80" y="32"/>
                      <a:pt x="80" y="32"/>
                    </a:cubicBezTo>
                    <a:cubicBezTo>
                      <a:pt x="80" y="8"/>
                      <a:pt x="80" y="8"/>
                      <a:pt x="80" y="8"/>
                    </a:cubicBezTo>
                    <a:cubicBezTo>
                      <a:pt x="80" y="3"/>
                      <a:pt x="76" y="0"/>
                      <a:pt x="72" y="0"/>
                    </a:cubicBezTo>
                    <a:cubicBezTo>
                      <a:pt x="67" y="0"/>
                      <a:pt x="64" y="3"/>
                      <a:pt x="64" y="8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32" y="32"/>
                      <a:pt x="32" y="32"/>
                      <a:pt x="32" y="32"/>
                    </a:cubicBezTo>
                    <a:cubicBezTo>
                      <a:pt x="14" y="32"/>
                      <a:pt x="0" y="46"/>
                      <a:pt x="0" y="64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0" y="339"/>
                      <a:pt x="14" y="353"/>
                      <a:pt x="32" y="353"/>
                    </a:cubicBezTo>
                    <a:cubicBezTo>
                      <a:pt x="321" y="353"/>
                      <a:pt x="321" y="353"/>
                      <a:pt x="321" y="353"/>
                    </a:cubicBezTo>
                    <a:cubicBezTo>
                      <a:pt x="338" y="353"/>
                      <a:pt x="353" y="339"/>
                      <a:pt x="353" y="321"/>
                    </a:cubicBezTo>
                    <a:cubicBezTo>
                      <a:pt x="353" y="64"/>
                      <a:pt x="353" y="64"/>
                      <a:pt x="353" y="64"/>
                    </a:cubicBezTo>
                    <a:cubicBezTo>
                      <a:pt x="353" y="46"/>
                      <a:pt x="338" y="32"/>
                      <a:pt x="321" y="32"/>
                    </a:cubicBezTo>
                    <a:moveTo>
                      <a:pt x="337" y="321"/>
                    </a:moveTo>
                    <a:cubicBezTo>
                      <a:pt x="337" y="330"/>
                      <a:pt x="330" y="337"/>
                      <a:pt x="321" y="337"/>
                    </a:cubicBezTo>
                    <a:cubicBezTo>
                      <a:pt x="32" y="337"/>
                      <a:pt x="32" y="337"/>
                      <a:pt x="32" y="337"/>
                    </a:cubicBezTo>
                    <a:cubicBezTo>
                      <a:pt x="23" y="337"/>
                      <a:pt x="16" y="330"/>
                      <a:pt x="16" y="321"/>
                    </a:cubicBezTo>
                    <a:cubicBezTo>
                      <a:pt x="16" y="128"/>
                      <a:pt x="16" y="128"/>
                      <a:pt x="16" y="128"/>
                    </a:cubicBezTo>
                    <a:cubicBezTo>
                      <a:pt x="337" y="128"/>
                      <a:pt x="337" y="128"/>
                      <a:pt x="337" y="128"/>
                    </a:cubicBezTo>
                    <a:lnTo>
                      <a:pt x="337" y="321"/>
                    </a:lnTo>
                    <a:close/>
                    <a:moveTo>
                      <a:pt x="337" y="112"/>
                    </a:moveTo>
                    <a:cubicBezTo>
                      <a:pt x="16" y="112"/>
                      <a:pt x="16" y="112"/>
                      <a:pt x="16" y="112"/>
                    </a:cubicBezTo>
                    <a:cubicBezTo>
                      <a:pt x="16" y="64"/>
                      <a:pt x="16" y="64"/>
                      <a:pt x="16" y="64"/>
                    </a:cubicBezTo>
                    <a:cubicBezTo>
                      <a:pt x="16" y="55"/>
                      <a:pt x="23" y="48"/>
                      <a:pt x="32" y="48"/>
                    </a:cubicBez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72"/>
                      <a:pt x="64" y="72"/>
                      <a:pt x="64" y="72"/>
                    </a:cubicBezTo>
                    <a:cubicBezTo>
                      <a:pt x="64" y="76"/>
                      <a:pt x="67" y="80"/>
                      <a:pt x="72" y="80"/>
                    </a:cubicBezTo>
                    <a:cubicBezTo>
                      <a:pt x="76" y="80"/>
                      <a:pt x="80" y="76"/>
                      <a:pt x="80" y="72"/>
                    </a:cubicBezTo>
                    <a:cubicBezTo>
                      <a:pt x="80" y="48"/>
                      <a:pt x="80" y="48"/>
                      <a:pt x="80" y="48"/>
                    </a:cubicBezTo>
                    <a:cubicBezTo>
                      <a:pt x="272" y="48"/>
                      <a:pt x="272" y="48"/>
                      <a:pt x="272" y="48"/>
                    </a:cubicBezTo>
                    <a:cubicBezTo>
                      <a:pt x="272" y="72"/>
                      <a:pt x="272" y="72"/>
                      <a:pt x="272" y="72"/>
                    </a:cubicBezTo>
                    <a:cubicBezTo>
                      <a:pt x="272" y="76"/>
                      <a:pt x="276" y="80"/>
                      <a:pt x="281" y="80"/>
                    </a:cubicBezTo>
                    <a:cubicBezTo>
                      <a:pt x="285" y="80"/>
                      <a:pt x="289" y="76"/>
                      <a:pt x="289" y="72"/>
                    </a:cubicBezTo>
                    <a:cubicBezTo>
                      <a:pt x="289" y="48"/>
                      <a:pt x="289" y="48"/>
                      <a:pt x="289" y="48"/>
                    </a:cubicBezTo>
                    <a:cubicBezTo>
                      <a:pt x="321" y="48"/>
                      <a:pt x="321" y="48"/>
                      <a:pt x="321" y="48"/>
                    </a:cubicBezTo>
                    <a:cubicBezTo>
                      <a:pt x="330" y="48"/>
                      <a:pt x="337" y="55"/>
                      <a:pt x="337" y="64"/>
                    </a:cubicBezTo>
                    <a:lnTo>
                      <a:pt x="337" y="112"/>
                    </a:lnTo>
                    <a:close/>
                    <a:moveTo>
                      <a:pt x="72" y="273"/>
                    </a:moveTo>
                    <a:cubicBezTo>
                      <a:pt x="40" y="273"/>
                      <a:pt x="40" y="273"/>
                      <a:pt x="40" y="273"/>
                    </a:cubicBezTo>
                    <a:cubicBezTo>
                      <a:pt x="40" y="305"/>
                      <a:pt x="40" y="305"/>
                      <a:pt x="40" y="305"/>
                    </a:cubicBezTo>
                    <a:cubicBezTo>
                      <a:pt x="72" y="305"/>
                      <a:pt x="72" y="305"/>
                      <a:pt x="72" y="305"/>
                    </a:cubicBezTo>
                    <a:lnTo>
                      <a:pt x="72" y="273"/>
                    </a:lnTo>
                    <a:close/>
                    <a:moveTo>
                      <a:pt x="120" y="160"/>
                    </a:moveTo>
                    <a:cubicBezTo>
                      <a:pt x="88" y="160"/>
                      <a:pt x="88" y="160"/>
                      <a:pt x="88" y="160"/>
                    </a:cubicBezTo>
                    <a:cubicBezTo>
                      <a:pt x="88" y="192"/>
                      <a:pt x="88" y="192"/>
                      <a:pt x="88" y="192"/>
                    </a:cubicBezTo>
                    <a:cubicBezTo>
                      <a:pt x="120" y="192"/>
                      <a:pt x="120" y="192"/>
                      <a:pt x="120" y="192"/>
                    </a:cubicBezTo>
                    <a:lnTo>
                      <a:pt x="120" y="160"/>
                    </a:lnTo>
                    <a:close/>
                    <a:moveTo>
                      <a:pt x="120" y="273"/>
                    </a:moveTo>
                    <a:cubicBezTo>
                      <a:pt x="88" y="273"/>
                      <a:pt x="88" y="273"/>
                      <a:pt x="88" y="273"/>
                    </a:cubicBezTo>
                    <a:cubicBezTo>
                      <a:pt x="88" y="305"/>
                      <a:pt x="88" y="305"/>
                      <a:pt x="88" y="305"/>
                    </a:cubicBezTo>
                    <a:cubicBezTo>
                      <a:pt x="120" y="305"/>
                      <a:pt x="120" y="305"/>
                      <a:pt x="120" y="305"/>
                    </a:cubicBezTo>
                    <a:lnTo>
                      <a:pt x="120" y="273"/>
                    </a:lnTo>
                    <a:close/>
                    <a:moveTo>
                      <a:pt x="120" y="217"/>
                    </a:moveTo>
                    <a:cubicBezTo>
                      <a:pt x="88" y="217"/>
                      <a:pt x="88" y="217"/>
                      <a:pt x="88" y="217"/>
                    </a:cubicBezTo>
                    <a:cubicBezTo>
                      <a:pt x="88" y="249"/>
                      <a:pt x="88" y="249"/>
                      <a:pt x="88" y="249"/>
                    </a:cubicBezTo>
                    <a:cubicBezTo>
                      <a:pt x="120" y="249"/>
                      <a:pt x="120" y="249"/>
                      <a:pt x="120" y="249"/>
                    </a:cubicBezTo>
                    <a:lnTo>
                      <a:pt x="120" y="2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813804" y="3543169"/>
            <a:ext cx="7516391" cy="486107"/>
            <a:chOff x="813804" y="3543169"/>
            <a:chExt cx="7516391" cy="486107"/>
          </a:xfrm>
        </p:grpSpPr>
        <p:grpSp>
          <p:nvGrpSpPr>
            <p:cNvPr id="36" name="Group 35"/>
            <p:cNvGrpSpPr/>
            <p:nvPr/>
          </p:nvGrpSpPr>
          <p:grpSpPr>
            <a:xfrm>
              <a:off x="813804" y="3543169"/>
              <a:ext cx="1119074" cy="486107"/>
              <a:chOff x="813804" y="3543169"/>
              <a:chExt cx="1119074" cy="486107"/>
            </a:xfrm>
          </p:grpSpPr>
          <p:sp>
            <p:nvSpPr>
              <p:cNvPr id="50" name="TextBox 49"/>
              <p:cNvSpPr txBox="1"/>
              <p:nvPr/>
            </p:nvSpPr>
            <p:spPr>
              <a:xfrm>
                <a:off x="813824" y="3543169"/>
                <a:ext cx="111902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avaliação</a:t>
                </a:r>
                <a:endParaRPr lang="en-US" sz="900" b="1" cap="all" spc="20" dirty="0">
                  <a:solidFill>
                    <a:schemeClr val="accent2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813804" y="3725923"/>
                <a:ext cx="111907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Insir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um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brev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explic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aqui</a:t>
                </a:r>
                <a:endParaRPr lang="en-US" sz="800" dirty="0">
                  <a:solidFill>
                    <a:schemeClr val="accent4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2413134" y="3543169"/>
              <a:ext cx="1119074" cy="486107"/>
              <a:chOff x="2413134" y="3543169"/>
              <a:chExt cx="1119074" cy="486107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2413154" y="3543169"/>
                <a:ext cx="111902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habilidades</a:t>
                </a:r>
                <a:endParaRPr lang="en-US" sz="900" b="1" cap="all" spc="20" dirty="0">
                  <a:solidFill>
                    <a:schemeClr val="accent2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2413134" y="3725923"/>
                <a:ext cx="111907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Insir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um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brev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explic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aqui</a:t>
                </a:r>
                <a:endParaRPr lang="en-US" sz="800" dirty="0">
                  <a:solidFill>
                    <a:schemeClr val="accent4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4010875" y="3543169"/>
              <a:ext cx="1119074" cy="486107"/>
              <a:chOff x="4010875" y="3543169"/>
              <a:chExt cx="1119074" cy="486107"/>
            </a:xfrm>
          </p:grpSpPr>
          <p:sp>
            <p:nvSpPr>
              <p:cNvPr id="56" name="TextBox 55"/>
              <p:cNvSpPr txBox="1"/>
              <p:nvPr/>
            </p:nvSpPr>
            <p:spPr>
              <a:xfrm>
                <a:off x="4010895" y="3543169"/>
                <a:ext cx="111902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paixão</a:t>
                </a:r>
                <a:endParaRPr lang="en-US" sz="900" b="1" cap="all" spc="20" dirty="0">
                  <a:solidFill>
                    <a:schemeClr val="accent2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4010875" y="3725923"/>
                <a:ext cx="111907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Insir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um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brev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explic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aqui</a:t>
                </a:r>
                <a:endParaRPr lang="en-US" sz="800" dirty="0">
                  <a:solidFill>
                    <a:schemeClr val="accent4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5611792" y="3543169"/>
              <a:ext cx="1119074" cy="486107"/>
              <a:chOff x="5611792" y="3543169"/>
              <a:chExt cx="1119074" cy="486107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5611812" y="3543169"/>
                <a:ext cx="111902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planejamento</a:t>
                </a:r>
                <a:endParaRPr lang="en-US" sz="900" b="1" cap="all" spc="20" dirty="0">
                  <a:solidFill>
                    <a:schemeClr val="accent2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5611792" y="3725923"/>
                <a:ext cx="111907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Insir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um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brev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explic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aqui</a:t>
                </a:r>
                <a:endParaRPr lang="en-US" sz="800" dirty="0">
                  <a:solidFill>
                    <a:schemeClr val="accent4"/>
                  </a:solidFill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7211121" y="3543169"/>
              <a:ext cx="1119074" cy="486107"/>
              <a:chOff x="7211121" y="3543169"/>
              <a:chExt cx="1119074" cy="486107"/>
            </a:xfrm>
          </p:grpSpPr>
          <p:sp>
            <p:nvSpPr>
              <p:cNvPr id="62" name="TextBox 61"/>
              <p:cNvSpPr txBox="1"/>
              <p:nvPr/>
            </p:nvSpPr>
            <p:spPr>
              <a:xfrm>
                <a:off x="7211141" y="3543169"/>
                <a:ext cx="111902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900" b="1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melhoras</a:t>
                </a:r>
                <a:endParaRPr lang="en-US" sz="900" b="1" cap="all" spc="20" dirty="0">
                  <a:solidFill>
                    <a:schemeClr val="accent2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7211121" y="3725923"/>
                <a:ext cx="111907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Insir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um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brev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explic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</a:rPr>
                  <a:t>aqui</a:t>
                </a:r>
                <a:endParaRPr lang="en-US" sz="800" dirty="0">
                  <a:solidFill>
                    <a:schemeClr val="accent4"/>
                  </a:solidFill>
                  <a:latin typeface="Lato" panose="020F050202020403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341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lementos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negóci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>
            <a:off x="1840708" y="3209924"/>
            <a:ext cx="5462587" cy="495862"/>
            <a:chOff x="1840708" y="3209924"/>
            <a:chExt cx="5462587" cy="495862"/>
          </a:xfrm>
        </p:grpSpPr>
        <p:cxnSp>
          <p:nvCxnSpPr>
            <p:cNvPr id="9" name="Elbow Connector 8"/>
            <p:cNvCxnSpPr>
              <a:stCxn id="5" idx="4"/>
              <a:endCxn id="4" idx="0"/>
            </p:cNvCxnSpPr>
            <p:nvPr/>
          </p:nvCxnSpPr>
          <p:spPr>
            <a:xfrm rot="16200000" flipH="1">
              <a:off x="2958424" y="2092208"/>
              <a:ext cx="495861" cy="2731294"/>
            </a:xfrm>
            <a:prstGeom prst="bentConnector3">
              <a:avLst/>
            </a:prstGeom>
            <a:ln w="6350">
              <a:solidFill>
                <a:schemeClr val="accent5"/>
              </a:solidFill>
              <a:headEnd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Elbow Connector 9"/>
            <p:cNvCxnSpPr>
              <a:stCxn id="7" idx="4"/>
              <a:endCxn id="4" idx="0"/>
            </p:cNvCxnSpPr>
            <p:nvPr/>
          </p:nvCxnSpPr>
          <p:spPr>
            <a:xfrm rot="5400000">
              <a:off x="5689718" y="2092209"/>
              <a:ext cx="495861" cy="2731293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headEnd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>
              <a:stCxn id="6" idx="4"/>
              <a:endCxn id="4" idx="0"/>
            </p:cNvCxnSpPr>
            <p:nvPr/>
          </p:nvCxnSpPr>
          <p:spPr>
            <a:xfrm>
              <a:off x="4572001" y="3209925"/>
              <a:ext cx="0" cy="495861"/>
            </a:xfrm>
            <a:prstGeom prst="straightConnector1">
              <a:avLst/>
            </a:prstGeom>
            <a:ln w="6350">
              <a:solidFill>
                <a:schemeClr val="accent5"/>
              </a:solidFill>
              <a:headEnd w="sm" len="sm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1007269" y="1543050"/>
            <a:ext cx="1666875" cy="1666875"/>
            <a:chOff x="1007269" y="1543050"/>
            <a:chExt cx="1666875" cy="1666875"/>
          </a:xfrm>
        </p:grpSpPr>
        <p:sp>
          <p:nvSpPr>
            <p:cNvPr id="5" name="Oval 4"/>
            <p:cNvSpPr/>
            <p:nvPr/>
          </p:nvSpPr>
          <p:spPr>
            <a:xfrm>
              <a:off x="1007269" y="1543050"/>
              <a:ext cx="1666875" cy="1666875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185862" y="2231318"/>
              <a:ext cx="1309688" cy="4633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14" name="Title 2"/>
            <p:cNvSpPr txBox="1">
              <a:spLocks/>
            </p:cNvSpPr>
            <p:nvPr/>
          </p:nvSpPr>
          <p:spPr>
            <a:xfrm>
              <a:off x="1185862" y="2038911"/>
              <a:ext cx="1309688" cy="1384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ovaçã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738563" y="1543050"/>
            <a:ext cx="1666875" cy="1666875"/>
            <a:chOff x="3738563" y="1543050"/>
            <a:chExt cx="1666875" cy="1666875"/>
          </a:xfrm>
        </p:grpSpPr>
        <p:sp>
          <p:nvSpPr>
            <p:cNvPr id="6" name="Oval 5"/>
            <p:cNvSpPr/>
            <p:nvPr/>
          </p:nvSpPr>
          <p:spPr>
            <a:xfrm>
              <a:off x="3738563" y="1543050"/>
              <a:ext cx="1666875" cy="166687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917156" y="2231318"/>
              <a:ext cx="1309688" cy="4633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16" name="Title 2"/>
            <p:cNvSpPr txBox="1">
              <a:spLocks/>
            </p:cNvSpPr>
            <p:nvPr/>
          </p:nvSpPr>
          <p:spPr>
            <a:xfrm>
              <a:off x="3917156" y="2038911"/>
              <a:ext cx="1309688" cy="1384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lanejament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469856" y="1543050"/>
            <a:ext cx="1666875" cy="1666875"/>
            <a:chOff x="6469856" y="1543050"/>
            <a:chExt cx="1666875" cy="1666875"/>
          </a:xfrm>
        </p:grpSpPr>
        <p:sp>
          <p:nvSpPr>
            <p:cNvPr id="7" name="Oval 6"/>
            <p:cNvSpPr/>
            <p:nvPr/>
          </p:nvSpPr>
          <p:spPr>
            <a:xfrm>
              <a:off x="6469856" y="1543050"/>
              <a:ext cx="1666875" cy="16668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648450" y="2231318"/>
              <a:ext cx="1309688" cy="4633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18" name="Title 2"/>
            <p:cNvSpPr txBox="1">
              <a:spLocks/>
            </p:cNvSpPr>
            <p:nvPr/>
          </p:nvSpPr>
          <p:spPr>
            <a:xfrm>
              <a:off x="6648450" y="2038911"/>
              <a:ext cx="1309688" cy="1384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900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Marketing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251201" y="3705786"/>
            <a:ext cx="2641600" cy="472515"/>
            <a:chOff x="3251201" y="3705786"/>
            <a:chExt cx="2641600" cy="472515"/>
          </a:xfrm>
          <a:solidFill>
            <a:srgbClr val="EC0000"/>
          </a:solidFill>
        </p:grpSpPr>
        <p:sp>
          <p:nvSpPr>
            <p:cNvPr id="4" name="Flowchart: Alternate Process 3"/>
            <p:cNvSpPr/>
            <p:nvPr/>
          </p:nvSpPr>
          <p:spPr>
            <a:xfrm>
              <a:off x="3251201" y="3705786"/>
              <a:ext cx="2641600" cy="472515"/>
            </a:xfrm>
            <a:prstGeom prst="flowChartAlternateProcess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314701" y="3773831"/>
              <a:ext cx="2514600" cy="336424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9" name="Title 2"/>
            <p:cNvSpPr txBox="1">
              <a:spLocks/>
            </p:cNvSpPr>
            <p:nvPr/>
          </p:nvSpPr>
          <p:spPr>
            <a:xfrm>
              <a:off x="3492501" y="3849710"/>
              <a:ext cx="2159000" cy="184666"/>
            </a:xfrm>
            <a:prstGeom prst="rect">
              <a:avLst/>
            </a:prstGeom>
            <a:grpFill/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4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ementos</a:t>
              </a:r>
              <a:r>
                <a:rPr lang="en-US" sz="1200" cap="all" spc="4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 </a:t>
              </a:r>
              <a:r>
                <a:rPr lang="en-US" sz="1200" cap="all" spc="4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gócio</a:t>
              </a:r>
              <a:endParaRPr lang="en-US" sz="1200" cap="all" spc="4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496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Sobre</a:t>
            </a:r>
            <a:r>
              <a:rPr lang="en-US" dirty="0"/>
              <a:t> </a:t>
            </a:r>
            <a:r>
              <a:rPr lang="en-US" dirty="0">
                <a:solidFill>
                  <a:srgbClr val="EC0000"/>
                </a:solidFill>
              </a:rPr>
              <a:t>o que </a:t>
            </a:r>
            <a:r>
              <a:rPr lang="en-US" dirty="0" err="1">
                <a:solidFill>
                  <a:srgbClr val="EC0000"/>
                </a:solidFill>
              </a:rPr>
              <a:t>falam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1609053" y="3405202"/>
            <a:ext cx="1415807" cy="687026"/>
            <a:chOff x="1609053" y="3405202"/>
            <a:chExt cx="1415807" cy="687026"/>
          </a:xfrm>
        </p:grpSpPr>
        <p:sp>
          <p:nvSpPr>
            <p:cNvPr id="7" name="TextBox 6"/>
            <p:cNvSpPr txBox="1"/>
            <p:nvPr/>
          </p:nvSpPr>
          <p:spPr>
            <a:xfrm>
              <a:off x="1609053" y="3628831"/>
              <a:ext cx="1415807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8" name="Title 2"/>
            <p:cNvSpPr txBox="1">
              <a:spLocks/>
            </p:cNvSpPr>
            <p:nvPr/>
          </p:nvSpPr>
          <p:spPr>
            <a:xfrm>
              <a:off x="1609053" y="3405202"/>
              <a:ext cx="141580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obre</a:t>
              </a:r>
              <a:r>
                <a: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nó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3864097" y="3405202"/>
            <a:ext cx="1415807" cy="687026"/>
            <a:chOff x="3864097" y="3405202"/>
            <a:chExt cx="1415807" cy="687026"/>
          </a:xfrm>
        </p:grpSpPr>
        <p:sp>
          <p:nvSpPr>
            <p:cNvPr id="9" name="TextBox 8"/>
            <p:cNvSpPr txBox="1"/>
            <p:nvPr/>
          </p:nvSpPr>
          <p:spPr>
            <a:xfrm>
              <a:off x="3864097" y="3628831"/>
              <a:ext cx="1415807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10" name="Title 2"/>
            <p:cNvSpPr txBox="1">
              <a:spLocks/>
            </p:cNvSpPr>
            <p:nvPr/>
          </p:nvSpPr>
          <p:spPr>
            <a:xfrm>
              <a:off x="3864097" y="3405202"/>
              <a:ext cx="141580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to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119140" y="3405202"/>
            <a:ext cx="1415807" cy="687026"/>
            <a:chOff x="6119140" y="3405202"/>
            <a:chExt cx="1415807" cy="687026"/>
          </a:xfrm>
        </p:grpSpPr>
        <p:sp>
          <p:nvSpPr>
            <p:cNvPr id="11" name="TextBox 10"/>
            <p:cNvSpPr txBox="1"/>
            <p:nvPr/>
          </p:nvSpPr>
          <p:spPr>
            <a:xfrm>
              <a:off x="6119140" y="3628831"/>
              <a:ext cx="1415807" cy="4633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12" name="Title 2"/>
            <p:cNvSpPr txBox="1">
              <a:spLocks/>
            </p:cNvSpPr>
            <p:nvPr/>
          </p:nvSpPr>
          <p:spPr>
            <a:xfrm>
              <a:off x="6119140" y="3405202"/>
              <a:ext cx="141580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financeir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507331" y="1539645"/>
            <a:ext cx="1619250" cy="1619250"/>
            <a:chOff x="1507331" y="1539645"/>
            <a:chExt cx="1619250" cy="1619250"/>
          </a:xfrm>
        </p:grpSpPr>
        <p:sp>
          <p:nvSpPr>
            <p:cNvPr id="4" name="Oval 3"/>
            <p:cNvSpPr/>
            <p:nvPr/>
          </p:nvSpPr>
          <p:spPr>
            <a:xfrm>
              <a:off x="1507331" y="1539645"/>
              <a:ext cx="1619250" cy="161925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1939028" y="2100770"/>
              <a:ext cx="755856" cy="497001"/>
            </a:xfrm>
            <a:custGeom>
              <a:avLst/>
              <a:gdLst>
                <a:gd name="T0" fmla="*/ 893 w 1312"/>
                <a:gd name="T1" fmla="*/ 267 h 862"/>
                <a:gd name="T2" fmla="*/ 419 w 1312"/>
                <a:gd name="T3" fmla="*/ 267 h 862"/>
                <a:gd name="T4" fmla="*/ 656 w 1312"/>
                <a:gd name="T5" fmla="*/ 34 h 862"/>
                <a:gd name="T6" fmla="*/ 656 w 1312"/>
                <a:gd name="T7" fmla="*/ 553 h 862"/>
                <a:gd name="T8" fmla="*/ 656 w 1312"/>
                <a:gd name="T9" fmla="*/ 34 h 862"/>
                <a:gd name="T10" fmla="*/ 770 w 1312"/>
                <a:gd name="T11" fmla="*/ 546 h 862"/>
                <a:gd name="T12" fmla="*/ 543 w 1312"/>
                <a:gd name="T13" fmla="*/ 546 h 862"/>
                <a:gd name="T14" fmla="*/ 274 w 1312"/>
                <a:gd name="T15" fmla="*/ 770 h 862"/>
                <a:gd name="T16" fmla="*/ 282 w 1312"/>
                <a:gd name="T17" fmla="*/ 795 h 862"/>
                <a:gd name="T18" fmla="*/ 1031 w 1312"/>
                <a:gd name="T19" fmla="*/ 795 h 862"/>
                <a:gd name="T20" fmla="*/ 1039 w 1312"/>
                <a:gd name="T21" fmla="*/ 770 h 862"/>
                <a:gd name="T22" fmla="*/ 656 w 1312"/>
                <a:gd name="T23" fmla="*/ 829 h 862"/>
                <a:gd name="T24" fmla="*/ 525 w 1312"/>
                <a:gd name="T25" fmla="*/ 577 h 862"/>
                <a:gd name="T26" fmla="*/ 666 w 1312"/>
                <a:gd name="T27" fmla="*/ 699 h 862"/>
                <a:gd name="T28" fmla="*/ 998 w 1312"/>
                <a:gd name="T29" fmla="*/ 771 h 862"/>
                <a:gd name="T30" fmla="*/ 1309 w 1312"/>
                <a:gd name="T31" fmla="*/ 636 h 862"/>
                <a:gd name="T32" fmla="*/ 1221 w 1312"/>
                <a:gd name="T33" fmla="*/ 331 h 862"/>
                <a:gd name="T34" fmla="*/ 918 w 1312"/>
                <a:gd name="T35" fmla="*/ 331 h 862"/>
                <a:gd name="T36" fmla="*/ 984 w 1312"/>
                <a:gd name="T37" fmla="*/ 493 h 862"/>
                <a:gd name="T38" fmla="*/ 885 w 1312"/>
                <a:gd name="T39" fmla="*/ 574 h 862"/>
                <a:gd name="T40" fmla="*/ 986 w 1312"/>
                <a:gd name="T41" fmla="*/ 692 h 862"/>
                <a:gd name="T42" fmla="*/ 1069 w 1312"/>
                <a:gd name="T43" fmla="*/ 702 h 862"/>
                <a:gd name="T44" fmla="*/ 1311 w 1312"/>
                <a:gd name="T45" fmla="*/ 650 h 862"/>
                <a:gd name="T46" fmla="*/ 951 w 1312"/>
                <a:gd name="T47" fmla="*/ 331 h 862"/>
                <a:gd name="T48" fmla="*/ 1187 w 1312"/>
                <a:gd name="T49" fmla="*/ 331 h 862"/>
                <a:gd name="T50" fmla="*/ 951 w 1312"/>
                <a:gd name="T51" fmla="*/ 331 h 862"/>
                <a:gd name="T52" fmla="*/ 1114 w 1312"/>
                <a:gd name="T53" fmla="*/ 522 h 862"/>
                <a:gd name="T54" fmla="*/ 1022 w 1312"/>
                <a:gd name="T55" fmla="*/ 519 h 862"/>
                <a:gd name="T56" fmla="*/ 1069 w 1312"/>
                <a:gd name="T57" fmla="*/ 668 h 862"/>
                <a:gd name="T58" fmla="*/ 926 w 1312"/>
                <a:gd name="T59" fmla="*/ 574 h 862"/>
                <a:gd name="T60" fmla="*/ 1059 w 1312"/>
                <a:gd name="T61" fmla="*/ 600 h 862"/>
                <a:gd name="T62" fmla="*/ 1152 w 1312"/>
                <a:gd name="T63" fmla="*/ 529 h 862"/>
                <a:gd name="T64" fmla="*/ 1069 w 1312"/>
                <a:gd name="T65" fmla="*/ 668 h 862"/>
                <a:gd name="T66" fmla="*/ 422 w 1312"/>
                <a:gd name="T67" fmla="*/ 586 h 862"/>
                <a:gd name="T68" fmla="*/ 422 w 1312"/>
                <a:gd name="T69" fmla="*/ 562 h 862"/>
                <a:gd name="T70" fmla="*/ 326 w 1312"/>
                <a:gd name="T71" fmla="*/ 492 h 862"/>
                <a:gd name="T72" fmla="*/ 243 w 1312"/>
                <a:gd name="T73" fmla="*/ 161 h 862"/>
                <a:gd name="T74" fmla="*/ 158 w 1312"/>
                <a:gd name="T75" fmla="*/ 493 h 862"/>
                <a:gd name="T76" fmla="*/ 2 w 1312"/>
                <a:gd name="T77" fmla="*/ 650 h 862"/>
                <a:gd name="T78" fmla="*/ 243 w 1312"/>
                <a:gd name="T79" fmla="*/ 702 h 862"/>
                <a:gd name="T80" fmla="*/ 327 w 1312"/>
                <a:gd name="T81" fmla="*/ 692 h 862"/>
                <a:gd name="T82" fmla="*/ 243 w 1312"/>
                <a:gd name="T83" fmla="*/ 194 h 862"/>
                <a:gd name="T84" fmla="*/ 243 w 1312"/>
                <a:gd name="T85" fmla="*/ 499 h 862"/>
                <a:gd name="T86" fmla="*/ 243 w 1312"/>
                <a:gd name="T87" fmla="*/ 533 h 862"/>
                <a:gd name="T88" fmla="*/ 243 w 1312"/>
                <a:gd name="T89" fmla="*/ 565 h 862"/>
                <a:gd name="T90" fmla="*/ 243 w 1312"/>
                <a:gd name="T91" fmla="*/ 533 h 862"/>
                <a:gd name="T92" fmla="*/ 44 w 1312"/>
                <a:gd name="T93" fmla="*/ 636 h 862"/>
                <a:gd name="T94" fmla="*/ 233 w 1312"/>
                <a:gd name="T95" fmla="*/ 600 h 862"/>
                <a:gd name="T96" fmla="*/ 326 w 1312"/>
                <a:gd name="T97" fmla="*/ 529 h 862"/>
                <a:gd name="T98" fmla="*/ 305 w 1312"/>
                <a:gd name="T99" fmla="*/ 665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12" h="862">
                  <a:moveTo>
                    <a:pt x="656" y="586"/>
                  </a:moveTo>
                  <a:cubicBezTo>
                    <a:pt x="766" y="586"/>
                    <a:pt x="893" y="447"/>
                    <a:pt x="893" y="267"/>
                  </a:cubicBezTo>
                  <a:cubicBezTo>
                    <a:pt x="893" y="105"/>
                    <a:pt x="800" y="0"/>
                    <a:pt x="656" y="0"/>
                  </a:cubicBezTo>
                  <a:cubicBezTo>
                    <a:pt x="512" y="0"/>
                    <a:pt x="419" y="105"/>
                    <a:pt x="419" y="267"/>
                  </a:cubicBezTo>
                  <a:cubicBezTo>
                    <a:pt x="419" y="443"/>
                    <a:pt x="563" y="586"/>
                    <a:pt x="656" y="586"/>
                  </a:cubicBezTo>
                  <a:close/>
                  <a:moveTo>
                    <a:pt x="656" y="34"/>
                  </a:moveTo>
                  <a:cubicBezTo>
                    <a:pt x="782" y="34"/>
                    <a:pt x="860" y="123"/>
                    <a:pt x="860" y="267"/>
                  </a:cubicBezTo>
                  <a:cubicBezTo>
                    <a:pt x="860" y="425"/>
                    <a:pt x="748" y="553"/>
                    <a:pt x="656" y="553"/>
                  </a:cubicBezTo>
                  <a:cubicBezTo>
                    <a:pt x="578" y="553"/>
                    <a:pt x="453" y="422"/>
                    <a:pt x="453" y="267"/>
                  </a:cubicBezTo>
                  <a:cubicBezTo>
                    <a:pt x="453" y="123"/>
                    <a:pt x="531" y="34"/>
                    <a:pt x="656" y="34"/>
                  </a:cubicBezTo>
                  <a:close/>
                  <a:moveTo>
                    <a:pt x="790" y="541"/>
                  </a:moveTo>
                  <a:cubicBezTo>
                    <a:pt x="783" y="537"/>
                    <a:pt x="774" y="539"/>
                    <a:pt x="770" y="546"/>
                  </a:cubicBezTo>
                  <a:cubicBezTo>
                    <a:pt x="726" y="604"/>
                    <a:pt x="677" y="647"/>
                    <a:pt x="656" y="664"/>
                  </a:cubicBezTo>
                  <a:cubicBezTo>
                    <a:pt x="636" y="647"/>
                    <a:pt x="587" y="604"/>
                    <a:pt x="543" y="546"/>
                  </a:cubicBezTo>
                  <a:cubicBezTo>
                    <a:pt x="538" y="539"/>
                    <a:pt x="530" y="537"/>
                    <a:pt x="522" y="541"/>
                  </a:cubicBezTo>
                  <a:cubicBezTo>
                    <a:pt x="379" y="610"/>
                    <a:pt x="278" y="764"/>
                    <a:pt x="274" y="770"/>
                  </a:cubicBezTo>
                  <a:cubicBezTo>
                    <a:pt x="271" y="775"/>
                    <a:pt x="271" y="780"/>
                    <a:pt x="272" y="785"/>
                  </a:cubicBezTo>
                  <a:cubicBezTo>
                    <a:pt x="274" y="789"/>
                    <a:pt x="277" y="793"/>
                    <a:pt x="282" y="795"/>
                  </a:cubicBezTo>
                  <a:cubicBezTo>
                    <a:pt x="289" y="798"/>
                    <a:pt x="452" y="862"/>
                    <a:pt x="656" y="862"/>
                  </a:cubicBezTo>
                  <a:cubicBezTo>
                    <a:pt x="861" y="862"/>
                    <a:pt x="1024" y="798"/>
                    <a:pt x="1031" y="795"/>
                  </a:cubicBezTo>
                  <a:cubicBezTo>
                    <a:pt x="1035" y="793"/>
                    <a:pt x="1039" y="789"/>
                    <a:pt x="1041" y="785"/>
                  </a:cubicBezTo>
                  <a:cubicBezTo>
                    <a:pt x="1042" y="780"/>
                    <a:pt x="1041" y="775"/>
                    <a:pt x="1039" y="770"/>
                  </a:cubicBezTo>
                  <a:cubicBezTo>
                    <a:pt x="1034" y="764"/>
                    <a:pt x="934" y="610"/>
                    <a:pt x="790" y="541"/>
                  </a:cubicBezTo>
                  <a:close/>
                  <a:moveTo>
                    <a:pt x="656" y="829"/>
                  </a:moveTo>
                  <a:cubicBezTo>
                    <a:pt x="499" y="829"/>
                    <a:pt x="364" y="788"/>
                    <a:pt x="314" y="771"/>
                  </a:cubicBezTo>
                  <a:cubicBezTo>
                    <a:pt x="344" y="731"/>
                    <a:pt x="423" y="631"/>
                    <a:pt x="525" y="577"/>
                  </a:cubicBezTo>
                  <a:cubicBezTo>
                    <a:pt x="582" y="651"/>
                    <a:pt x="644" y="697"/>
                    <a:pt x="646" y="699"/>
                  </a:cubicBezTo>
                  <a:cubicBezTo>
                    <a:pt x="652" y="703"/>
                    <a:pt x="660" y="703"/>
                    <a:pt x="666" y="699"/>
                  </a:cubicBezTo>
                  <a:cubicBezTo>
                    <a:pt x="669" y="697"/>
                    <a:pt x="730" y="651"/>
                    <a:pt x="788" y="577"/>
                  </a:cubicBezTo>
                  <a:cubicBezTo>
                    <a:pt x="890" y="631"/>
                    <a:pt x="969" y="731"/>
                    <a:pt x="998" y="771"/>
                  </a:cubicBezTo>
                  <a:cubicBezTo>
                    <a:pt x="949" y="788"/>
                    <a:pt x="814" y="829"/>
                    <a:pt x="656" y="829"/>
                  </a:cubicBezTo>
                  <a:close/>
                  <a:moveTo>
                    <a:pt x="1309" y="636"/>
                  </a:moveTo>
                  <a:cubicBezTo>
                    <a:pt x="1306" y="631"/>
                    <a:pt x="1244" y="536"/>
                    <a:pt x="1155" y="493"/>
                  </a:cubicBezTo>
                  <a:cubicBezTo>
                    <a:pt x="1192" y="456"/>
                    <a:pt x="1221" y="398"/>
                    <a:pt x="1221" y="331"/>
                  </a:cubicBezTo>
                  <a:cubicBezTo>
                    <a:pt x="1221" y="227"/>
                    <a:pt x="1162" y="161"/>
                    <a:pt x="1069" y="161"/>
                  </a:cubicBezTo>
                  <a:cubicBezTo>
                    <a:pt x="977" y="161"/>
                    <a:pt x="918" y="227"/>
                    <a:pt x="918" y="331"/>
                  </a:cubicBezTo>
                  <a:cubicBezTo>
                    <a:pt x="918" y="395"/>
                    <a:pt x="948" y="454"/>
                    <a:pt x="987" y="492"/>
                  </a:cubicBezTo>
                  <a:cubicBezTo>
                    <a:pt x="986" y="492"/>
                    <a:pt x="985" y="492"/>
                    <a:pt x="984" y="493"/>
                  </a:cubicBezTo>
                  <a:cubicBezTo>
                    <a:pt x="953" y="508"/>
                    <a:pt x="921" y="531"/>
                    <a:pt x="890" y="562"/>
                  </a:cubicBezTo>
                  <a:cubicBezTo>
                    <a:pt x="887" y="565"/>
                    <a:pt x="885" y="570"/>
                    <a:pt x="885" y="574"/>
                  </a:cubicBezTo>
                  <a:cubicBezTo>
                    <a:pt x="885" y="579"/>
                    <a:pt x="887" y="583"/>
                    <a:pt x="890" y="586"/>
                  </a:cubicBezTo>
                  <a:cubicBezTo>
                    <a:pt x="929" y="624"/>
                    <a:pt x="985" y="691"/>
                    <a:pt x="986" y="692"/>
                  </a:cubicBezTo>
                  <a:cubicBezTo>
                    <a:pt x="989" y="695"/>
                    <a:pt x="993" y="697"/>
                    <a:pt x="997" y="698"/>
                  </a:cubicBezTo>
                  <a:cubicBezTo>
                    <a:pt x="1021" y="701"/>
                    <a:pt x="1046" y="702"/>
                    <a:pt x="1069" y="702"/>
                  </a:cubicBezTo>
                  <a:cubicBezTo>
                    <a:pt x="1196" y="702"/>
                    <a:pt x="1297" y="662"/>
                    <a:pt x="1301" y="660"/>
                  </a:cubicBezTo>
                  <a:cubicBezTo>
                    <a:pt x="1306" y="658"/>
                    <a:pt x="1309" y="655"/>
                    <a:pt x="1311" y="650"/>
                  </a:cubicBezTo>
                  <a:cubicBezTo>
                    <a:pt x="1312" y="645"/>
                    <a:pt x="1312" y="640"/>
                    <a:pt x="1309" y="636"/>
                  </a:cubicBezTo>
                  <a:close/>
                  <a:moveTo>
                    <a:pt x="951" y="331"/>
                  </a:moveTo>
                  <a:cubicBezTo>
                    <a:pt x="951" y="247"/>
                    <a:pt x="997" y="194"/>
                    <a:pt x="1069" y="194"/>
                  </a:cubicBezTo>
                  <a:cubicBezTo>
                    <a:pt x="1142" y="194"/>
                    <a:pt x="1187" y="247"/>
                    <a:pt x="1187" y="331"/>
                  </a:cubicBezTo>
                  <a:cubicBezTo>
                    <a:pt x="1187" y="421"/>
                    <a:pt x="1123" y="499"/>
                    <a:pt x="1069" y="499"/>
                  </a:cubicBezTo>
                  <a:cubicBezTo>
                    <a:pt x="1029" y="499"/>
                    <a:pt x="951" y="428"/>
                    <a:pt x="951" y="331"/>
                  </a:cubicBezTo>
                  <a:close/>
                  <a:moveTo>
                    <a:pt x="1069" y="533"/>
                  </a:moveTo>
                  <a:cubicBezTo>
                    <a:pt x="1084" y="533"/>
                    <a:pt x="1099" y="529"/>
                    <a:pt x="1114" y="522"/>
                  </a:cubicBezTo>
                  <a:cubicBezTo>
                    <a:pt x="1096" y="541"/>
                    <a:pt x="1080" y="557"/>
                    <a:pt x="1069" y="565"/>
                  </a:cubicBezTo>
                  <a:cubicBezTo>
                    <a:pt x="1059" y="556"/>
                    <a:pt x="1041" y="540"/>
                    <a:pt x="1022" y="519"/>
                  </a:cubicBezTo>
                  <a:cubicBezTo>
                    <a:pt x="1038" y="528"/>
                    <a:pt x="1054" y="533"/>
                    <a:pt x="1069" y="533"/>
                  </a:cubicBezTo>
                  <a:close/>
                  <a:moveTo>
                    <a:pt x="1069" y="668"/>
                  </a:moveTo>
                  <a:cubicBezTo>
                    <a:pt x="1049" y="668"/>
                    <a:pt x="1028" y="667"/>
                    <a:pt x="1007" y="665"/>
                  </a:cubicBezTo>
                  <a:cubicBezTo>
                    <a:pt x="995" y="650"/>
                    <a:pt x="958" y="607"/>
                    <a:pt x="926" y="574"/>
                  </a:cubicBezTo>
                  <a:cubicBezTo>
                    <a:pt x="946" y="555"/>
                    <a:pt x="967" y="540"/>
                    <a:pt x="987" y="529"/>
                  </a:cubicBezTo>
                  <a:cubicBezTo>
                    <a:pt x="1022" y="572"/>
                    <a:pt x="1058" y="599"/>
                    <a:pt x="1059" y="600"/>
                  </a:cubicBezTo>
                  <a:cubicBezTo>
                    <a:pt x="1065" y="605"/>
                    <a:pt x="1073" y="605"/>
                    <a:pt x="1079" y="600"/>
                  </a:cubicBezTo>
                  <a:cubicBezTo>
                    <a:pt x="1081" y="599"/>
                    <a:pt x="1117" y="572"/>
                    <a:pt x="1152" y="529"/>
                  </a:cubicBezTo>
                  <a:cubicBezTo>
                    <a:pt x="1205" y="559"/>
                    <a:pt x="1248" y="610"/>
                    <a:pt x="1268" y="636"/>
                  </a:cubicBezTo>
                  <a:cubicBezTo>
                    <a:pt x="1233" y="648"/>
                    <a:pt x="1157" y="668"/>
                    <a:pt x="1069" y="668"/>
                  </a:cubicBezTo>
                  <a:close/>
                  <a:moveTo>
                    <a:pt x="327" y="692"/>
                  </a:moveTo>
                  <a:cubicBezTo>
                    <a:pt x="327" y="691"/>
                    <a:pt x="383" y="624"/>
                    <a:pt x="422" y="586"/>
                  </a:cubicBezTo>
                  <a:cubicBezTo>
                    <a:pt x="425" y="583"/>
                    <a:pt x="427" y="579"/>
                    <a:pt x="427" y="574"/>
                  </a:cubicBezTo>
                  <a:cubicBezTo>
                    <a:pt x="427" y="570"/>
                    <a:pt x="426" y="565"/>
                    <a:pt x="422" y="562"/>
                  </a:cubicBezTo>
                  <a:cubicBezTo>
                    <a:pt x="391" y="531"/>
                    <a:pt x="360" y="508"/>
                    <a:pt x="328" y="493"/>
                  </a:cubicBezTo>
                  <a:cubicBezTo>
                    <a:pt x="328" y="492"/>
                    <a:pt x="327" y="492"/>
                    <a:pt x="326" y="492"/>
                  </a:cubicBezTo>
                  <a:cubicBezTo>
                    <a:pt x="365" y="454"/>
                    <a:pt x="395" y="395"/>
                    <a:pt x="395" y="331"/>
                  </a:cubicBezTo>
                  <a:cubicBezTo>
                    <a:pt x="395" y="227"/>
                    <a:pt x="335" y="161"/>
                    <a:pt x="243" y="161"/>
                  </a:cubicBezTo>
                  <a:cubicBezTo>
                    <a:pt x="151" y="161"/>
                    <a:pt x="92" y="227"/>
                    <a:pt x="92" y="331"/>
                  </a:cubicBezTo>
                  <a:cubicBezTo>
                    <a:pt x="92" y="398"/>
                    <a:pt x="120" y="456"/>
                    <a:pt x="158" y="493"/>
                  </a:cubicBezTo>
                  <a:cubicBezTo>
                    <a:pt x="69" y="536"/>
                    <a:pt x="6" y="631"/>
                    <a:pt x="4" y="636"/>
                  </a:cubicBezTo>
                  <a:cubicBezTo>
                    <a:pt x="1" y="640"/>
                    <a:pt x="0" y="645"/>
                    <a:pt x="2" y="650"/>
                  </a:cubicBezTo>
                  <a:cubicBezTo>
                    <a:pt x="3" y="655"/>
                    <a:pt x="7" y="658"/>
                    <a:pt x="12" y="660"/>
                  </a:cubicBezTo>
                  <a:cubicBezTo>
                    <a:pt x="16" y="662"/>
                    <a:pt x="117" y="702"/>
                    <a:pt x="243" y="702"/>
                  </a:cubicBezTo>
                  <a:cubicBezTo>
                    <a:pt x="267" y="702"/>
                    <a:pt x="291" y="701"/>
                    <a:pt x="316" y="698"/>
                  </a:cubicBezTo>
                  <a:cubicBezTo>
                    <a:pt x="320" y="697"/>
                    <a:pt x="324" y="695"/>
                    <a:pt x="327" y="692"/>
                  </a:cubicBezTo>
                  <a:close/>
                  <a:moveTo>
                    <a:pt x="125" y="331"/>
                  </a:moveTo>
                  <a:cubicBezTo>
                    <a:pt x="125" y="247"/>
                    <a:pt x="170" y="194"/>
                    <a:pt x="243" y="194"/>
                  </a:cubicBezTo>
                  <a:cubicBezTo>
                    <a:pt x="316" y="194"/>
                    <a:pt x="361" y="247"/>
                    <a:pt x="361" y="331"/>
                  </a:cubicBezTo>
                  <a:cubicBezTo>
                    <a:pt x="361" y="428"/>
                    <a:pt x="284" y="499"/>
                    <a:pt x="243" y="499"/>
                  </a:cubicBezTo>
                  <a:cubicBezTo>
                    <a:pt x="190" y="499"/>
                    <a:pt x="125" y="421"/>
                    <a:pt x="125" y="331"/>
                  </a:cubicBezTo>
                  <a:close/>
                  <a:moveTo>
                    <a:pt x="243" y="533"/>
                  </a:moveTo>
                  <a:cubicBezTo>
                    <a:pt x="258" y="533"/>
                    <a:pt x="274" y="528"/>
                    <a:pt x="290" y="519"/>
                  </a:cubicBezTo>
                  <a:cubicBezTo>
                    <a:pt x="272" y="540"/>
                    <a:pt x="254" y="556"/>
                    <a:pt x="243" y="565"/>
                  </a:cubicBezTo>
                  <a:cubicBezTo>
                    <a:pt x="233" y="557"/>
                    <a:pt x="216" y="541"/>
                    <a:pt x="199" y="522"/>
                  </a:cubicBezTo>
                  <a:cubicBezTo>
                    <a:pt x="214" y="529"/>
                    <a:pt x="229" y="533"/>
                    <a:pt x="243" y="533"/>
                  </a:cubicBezTo>
                  <a:close/>
                  <a:moveTo>
                    <a:pt x="243" y="668"/>
                  </a:moveTo>
                  <a:cubicBezTo>
                    <a:pt x="156" y="668"/>
                    <a:pt x="80" y="648"/>
                    <a:pt x="44" y="636"/>
                  </a:cubicBezTo>
                  <a:cubicBezTo>
                    <a:pt x="65" y="610"/>
                    <a:pt x="108" y="559"/>
                    <a:pt x="161" y="529"/>
                  </a:cubicBezTo>
                  <a:cubicBezTo>
                    <a:pt x="196" y="572"/>
                    <a:pt x="232" y="599"/>
                    <a:pt x="233" y="600"/>
                  </a:cubicBezTo>
                  <a:cubicBezTo>
                    <a:pt x="239" y="605"/>
                    <a:pt x="247" y="605"/>
                    <a:pt x="253" y="600"/>
                  </a:cubicBezTo>
                  <a:cubicBezTo>
                    <a:pt x="255" y="599"/>
                    <a:pt x="291" y="572"/>
                    <a:pt x="326" y="529"/>
                  </a:cubicBezTo>
                  <a:cubicBezTo>
                    <a:pt x="346" y="540"/>
                    <a:pt x="366" y="555"/>
                    <a:pt x="387" y="574"/>
                  </a:cubicBezTo>
                  <a:cubicBezTo>
                    <a:pt x="355" y="607"/>
                    <a:pt x="318" y="650"/>
                    <a:pt x="305" y="665"/>
                  </a:cubicBezTo>
                  <a:cubicBezTo>
                    <a:pt x="284" y="667"/>
                    <a:pt x="263" y="668"/>
                    <a:pt x="243" y="6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017419" y="1539645"/>
            <a:ext cx="1619250" cy="1619250"/>
            <a:chOff x="6017419" y="1539645"/>
            <a:chExt cx="1619250" cy="1619250"/>
          </a:xfrm>
        </p:grpSpPr>
        <p:sp>
          <p:nvSpPr>
            <p:cNvPr id="6" name="Oval 5"/>
            <p:cNvSpPr/>
            <p:nvPr/>
          </p:nvSpPr>
          <p:spPr>
            <a:xfrm>
              <a:off x="6017419" y="1539645"/>
              <a:ext cx="1619250" cy="161925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6530909" y="2068477"/>
              <a:ext cx="592271" cy="561587"/>
            </a:xfrm>
            <a:custGeom>
              <a:avLst/>
              <a:gdLst>
                <a:gd name="T0" fmla="*/ 278 w 1243"/>
                <a:gd name="T1" fmla="*/ 17 h 1179"/>
                <a:gd name="T2" fmla="*/ 68 w 1243"/>
                <a:gd name="T3" fmla="*/ 678 h 1179"/>
                <a:gd name="T4" fmla="*/ 68 w 1243"/>
                <a:gd name="T5" fmla="*/ 1081 h 1179"/>
                <a:gd name="T6" fmla="*/ 51 w 1243"/>
                <a:gd name="T7" fmla="*/ 1179 h 1179"/>
                <a:gd name="T8" fmla="*/ 294 w 1243"/>
                <a:gd name="T9" fmla="*/ 1081 h 1179"/>
                <a:gd name="T10" fmla="*/ 244 w 1243"/>
                <a:gd name="T11" fmla="*/ 1081 h 1179"/>
                <a:gd name="T12" fmla="*/ 244 w 1243"/>
                <a:gd name="T13" fmla="*/ 1081 h 1179"/>
                <a:gd name="T14" fmla="*/ 101 w 1243"/>
                <a:gd name="T15" fmla="*/ 33 h 1179"/>
                <a:gd name="T16" fmla="*/ 68 w 1243"/>
                <a:gd name="T17" fmla="*/ 712 h 1179"/>
                <a:gd name="T18" fmla="*/ 278 w 1243"/>
                <a:gd name="T19" fmla="*/ 817 h 1179"/>
                <a:gd name="T20" fmla="*/ 84 w 1243"/>
                <a:gd name="T21" fmla="*/ 817 h 1179"/>
                <a:gd name="T22" fmla="*/ 68 w 1243"/>
                <a:gd name="T23" fmla="*/ 1145 h 1179"/>
                <a:gd name="T24" fmla="*/ 277 w 1243"/>
                <a:gd name="T25" fmla="*/ 1114 h 1179"/>
                <a:gd name="T26" fmla="*/ 876 w 1243"/>
                <a:gd name="T27" fmla="*/ 760 h 1179"/>
                <a:gd name="T28" fmla="*/ 666 w 1243"/>
                <a:gd name="T29" fmla="*/ 17 h 1179"/>
                <a:gd name="T30" fmla="*/ 666 w 1243"/>
                <a:gd name="T31" fmla="*/ 932 h 1179"/>
                <a:gd name="T32" fmla="*/ 633 w 1243"/>
                <a:gd name="T33" fmla="*/ 1162 h 1179"/>
                <a:gd name="T34" fmla="*/ 909 w 1243"/>
                <a:gd name="T35" fmla="*/ 1097 h 1179"/>
                <a:gd name="T36" fmla="*/ 944 w 1243"/>
                <a:gd name="T37" fmla="*/ 863 h 1179"/>
                <a:gd name="T38" fmla="*/ 842 w 1243"/>
                <a:gd name="T39" fmla="*/ 932 h 1179"/>
                <a:gd name="T40" fmla="*/ 699 w 1243"/>
                <a:gd name="T41" fmla="*/ 760 h 1179"/>
                <a:gd name="T42" fmla="*/ 631 w 1243"/>
                <a:gd name="T43" fmla="*/ 828 h 1179"/>
                <a:gd name="T44" fmla="*/ 683 w 1243"/>
                <a:gd name="T45" fmla="*/ 794 h 1179"/>
                <a:gd name="T46" fmla="*/ 876 w 1243"/>
                <a:gd name="T47" fmla="*/ 794 h 1179"/>
                <a:gd name="T48" fmla="*/ 859 w 1243"/>
                <a:gd name="T49" fmla="*/ 898 h 1179"/>
                <a:gd name="T50" fmla="*/ 875 w 1243"/>
                <a:gd name="T51" fmla="*/ 1145 h 1179"/>
                <a:gd name="T52" fmla="*/ 859 w 1243"/>
                <a:gd name="T53" fmla="*/ 1114 h 1179"/>
                <a:gd name="T54" fmla="*/ 1175 w 1243"/>
                <a:gd name="T55" fmla="*/ 17 h 1179"/>
                <a:gd name="T56" fmla="*/ 965 w 1243"/>
                <a:gd name="T57" fmla="*/ 160 h 1179"/>
                <a:gd name="T58" fmla="*/ 965 w 1243"/>
                <a:gd name="T59" fmla="*/ 1081 h 1179"/>
                <a:gd name="T60" fmla="*/ 949 w 1243"/>
                <a:gd name="T61" fmla="*/ 1179 h 1179"/>
                <a:gd name="T62" fmla="*/ 1191 w 1243"/>
                <a:gd name="T63" fmla="*/ 1081 h 1179"/>
                <a:gd name="T64" fmla="*/ 1243 w 1243"/>
                <a:gd name="T65" fmla="*/ 228 h 1179"/>
                <a:gd name="T66" fmla="*/ 998 w 1243"/>
                <a:gd name="T67" fmla="*/ 160 h 1179"/>
                <a:gd name="T68" fmla="*/ 1142 w 1243"/>
                <a:gd name="T69" fmla="*/ 1081 h 1179"/>
                <a:gd name="T70" fmla="*/ 1175 w 1243"/>
                <a:gd name="T71" fmla="*/ 1145 h 1179"/>
                <a:gd name="T72" fmla="*/ 1158 w 1243"/>
                <a:gd name="T73" fmla="*/ 1114 h 1179"/>
                <a:gd name="T74" fmla="*/ 1175 w 1243"/>
                <a:gd name="T75" fmla="*/ 298 h 1179"/>
                <a:gd name="T76" fmla="*/ 982 w 1243"/>
                <a:gd name="T77" fmla="*/ 298 h 1179"/>
                <a:gd name="T78" fmla="*/ 965 w 1243"/>
                <a:gd name="T79" fmla="*/ 193 h 1179"/>
                <a:gd name="T80" fmla="*/ 1158 w 1243"/>
                <a:gd name="T81" fmla="*/ 193 h 1179"/>
                <a:gd name="T82" fmla="*/ 1210 w 1243"/>
                <a:gd name="T83" fmla="*/ 228 h 1179"/>
                <a:gd name="T84" fmla="*/ 577 w 1243"/>
                <a:gd name="T85" fmla="*/ 664 h 1179"/>
                <a:gd name="T86" fmla="*/ 577 w 1243"/>
                <a:gd name="T87" fmla="*/ 17 h 1179"/>
                <a:gd name="T88" fmla="*/ 367 w 1243"/>
                <a:gd name="T89" fmla="*/ 493 h 1179"/>
                <a:gd name="T90" fmla="*/ 367 w 1243"/>
                <a:gd name="T91" fmla="*/ 1081 h 1179"/>
                <a:gd name="T92" fmla="*/ 351 w 1243"/>
                <a:gd name="T93" fmla="*/ 1179 h 1179"/>
                <a:gd name="T94" fmla="*/ 593 w 1243"/>
                <a:gd name="T95" fmla="*/ 1081 h 1179"/>
                <a:gd name="T96" fmla="*/ 543 w 1243"/>
                <a:gd name="T97" fmla="*/ 1081 h 1179"/>
                <a:gd name="T98" fmla="*/ 400 w 1243"/>
                <a:gd name="T99" fmla="*/ 493 h 1179"/>
                <a:gd name="T100" fmla="*/ 332 w 1243"/>
                <a:gd name="T101" fmla="*/ 561 h 1179"/>
                <a:gd name="T102" fmla="*/ 384 w 1243"/>
                <a:gd name="T103" fmla="*/ 526 h 1179"/>
                <a:gd name="T104" fmla="*/ 577 w 1243"/>
                <a:gd name="T105" fmla="*/ 526 h 1179"/>
                <a:gd name="T106" fmla="*/ 560 w 1243"/>
                <a:gd name="T107" fmla="*/ 631 h 1179"/>
                <a:gd name="T108" fmla="*/ 367 w 1243"/>
                <a:gd name="T109" fmla="*/ 631 h 1179"/>
                <a:gd name="T110" fmla="*/ 367 w 1243"/>
                <a:gd name="T111" fmla="*/ 1114 h 1179"/>
                <a:gd name="T112" fmla="*/ 576 w 1243"/>
                <a:gd name="T113" fmla="*/ 1145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43" h="1179">
                  <a:moveTo>
                    <a:pt x="346" y="782"/>
                  </a:moveTo>
                  <a:cubicBezTo>
                    <a:pt x="346" y="747"/>
                    <a:pt x="346" y="747"/>
                    <a:pt x="346" y="747"/>
                  </a:cubicBezTo>
                  <a:cubicBezTo>
                    <a:pt x="346" y="709"/>
                    <a:pt x="315" y="679"/>
                    <a:pt x="278" y="678"/>
                  </a:cubicBezTo>
                  <a:cubicBezTo>
                    <a:pt x="278" y="17"/>
                    <a:pt x="278" y="17"/>
                    <a:pt x="278" y="17"/>
                  </a:cubicBezTo>
                  <a:cubicBezTo>
                    <a:pt x="278" y="7"/>
                    <a:pt x="270" y="0"/>
                    <a:pt x="261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75" y="0"/>
                    <a:pt x="68" y="7"/>
                    <a:pt x="68" y="17"/>
                  </a:cubicBezTo>
                  <a:cubicBezTo>
                    <a:pt x="68" y="678"/>
                    <a:pt x="68" y="678"/>
                    <a:pt x="68" y="678"/>
                  </a:cubicBezTo>
                  <a:cubicBezTo>
                    <a:pt x="30" y="679"/>
                    <a:pt x="0" y="709"/>
                    <a:pt x="0" y="747"/>
                  </a:cubicBezTo>
                  <a:cubicBezTo>
                    <a:pt x="0" y="782"/>
                    <a:pt x="0" y="782"/>
                    <a:pt x="0" y="782"/>
                  </a:cubicBezTo>
                  <a:cubicBezTo>
                    <a:pt x="0" y="819"/>
                    <a:pt x="30" y="850"/>
                    <a:pt x="68" y="850"/>
                  </a:cubicBezTo>
                  <a:cubicBezTo>
                    <a:pt x="68" y="1081"/>
                    <a:pt x="68" y="1081"/>
                    <a:pt x="68" y="1081"/>
                  </a:cubicBezTo>
                  <a:cubicBezTo>
                    <a:pt x="51" y="1081"/>
                    <a:pt x="51" y="1081"/>
                    <a:pt x="51" y="1081"/>
                  </a:cubicBezTo>
                  <a:cubicBezTo>
                    <a:pt x="42" y="1081"/>
                    <a:pt x="35" y="1088"/>
                    <a:pt x="35" y="1097"/>
                  </a:cubicBezTo>
                  <a:cubicBezTo>
                    <a:pt x="35" y="1162"/>
                    <a:pt x="35" y="1162"/>
                    <a:pt x="35" y="1162"/>
                  </a:cubicBezTo>
                  <a:cubicBezTo>
                    <a:pt x="35" y="1171"/>
                    <a:pt x="42" y="1179"/>
                    <a:pt x="51" y="1179"/>
                  </a:cubicBezTo>
                  <a:cubicBezTo>
                    <a:pt x="294" y="1179"/>
                    <a:pt x="294" y="1179"/>
                    <a:pt x="294" y="1179"/>
                  </a:cubicBezTo>
                  <a:cubicBezTo>
                    <a:pt x="303" y="1179"/>
                    <a:pt x="311" y="1171"/>
                    <a:pt x="311" y="1162"/>
                  </a:cubicBezTo>
                  <a:cubicBezTo>
                    <a:pt x="311" y="1097"/>
                    <a:pt x="311" y="1097"/>
                    <a:pt x="311" y="1097"/>
                  </a:cubicBezTo>
                  <a:cubicBezTo>
                    <a:pt x="311" y="1088"/>
                    <a:pt x="303" y="1081"/>
                    <a:pt x="294" y="1081"/>
                  </a:cubicBezTo>
                  <a:cubicBezTo>
                    <a:pt x="278" y="1081"/>
                    <a:pt x="278" y="1081"/>
                    <a:pt x="278" y="1081"/>
                  </a:cubicBezTo>
                  <a:cubicBezTo>
                    <a:pt x="278" y="850"/>
                    <a:pt x="278" y="850"/>
                    <a:pt x="278" y="850"/>
                  </a:cubicBezTo>
                  <a:cubicBezTo>
                    <a:pt x="315" y="850"/>
                    <a:pt x="346" y="819"/>
                    <a:pt x="346" y="782"/>
                  </a:cubicBezTo>
                  <a:close/>
                  <a:moveTo>
                    <a:pt x="244" y="1081"/>
                  </a:moveTo>
                  <a:cubicBezTo>
                    <a:pt x="101" y="1081"/>
                    <a:pt x="101" y="1081"/>
                    <a:pt x="101" y="1081"/>
                  </a:cubicBezTo>
                  <a:cubicBezTo>
                    <a:pt x="101" y="850"/>
                    <a:pt x="101" y="850"/>
                    <a:pt x="101" y="850"/>
                  </a:cubicBezTo>
                  <a:cubicBezTo>
                    <a:pt x="244" y="850"/>
                    <a:pt x="244" y="850"/>
                    <a:pt x="244" y="850"/>
                  </a:cubicBezTo>
                  <a:lnTo>
                    <a:pt x="244" y="1081"/>
                  </a:lnTo>
                  <a:close/>
                  <a:moveTo>
                    <a:pt x="244" y="33"/>
                  </a:moveTo>
                  <a:cubicBezTo>
                    <a:pt x="244" y="678"/>
                    <a:pt x="244" y="678"/>
                    <a:pt x="244" y="678"/>
                  </a:cubicBezTo>
                  <a:cubicBezTo>
                    <a:pt x="101" y="678"/>
                    <a:pt x="101" y="678"/>
                    <a:pt x="101" y="678"/>
                  </a:cubicBezTo>
                  <a:cubicBezTo>
                    <a:pt x="101" y="33"/>
                    <a:pt x="101" y="33"/>
                    <a:pt x="101" y="33"/>
                  </a:cubicBezTo>
                  <a:lnTo>
                    <a:pt x="244" y="33"/>
                  </a:lnTo>
                  <a:close/>
                  <a:moveTo>
                    <a:pt x="33" y="782"/>
                  </a:moveTo>
                  <a:cubicBezTo>
                    <a:pt x="33" y="747"/>
                    <a:pt x="33" y="747"/>
                    <a:pt x="33" y="747"/>
                  </a:cubicBezTo>
                  <a:cubicBezTo>
                    <a:pt x="33" y="728"/>
                    <a:pt x="49" y="712"/>
                    <a:pt x="68" y="712"/>
                  </a:cubicBezTo>
                  <a:cubicBezTo>
                    <a:pt x="278" y="712"/>
                    <a:pt x="278" y="712"/>
                    <a:pt x="278" y="712"/>
                  </a:cubicBezTo>
                  <a:cubicBezTo>
                    <a:pt x="297" y="712"/>
                    <a:pt x="312" y="728"/>
                    <a:pt x="312" y="747"/>
                  </a:cubicBezTo>
                  <a:cubicBezTo>
                    <a:pt x="312" y="782"/>
                    <a:pt x="312" y="782"/>
                    <a:pt x="312" y="782"/>
                  </a:cubicBezTo>
                  <a:cubicBezTo>
                    <a:pt x="312" y="801"/>
                    <a:pt x="297" y="817"/>
                    <a:pt x="278" y="817"/>
                  </a:cubicBezTo>
                  <a:cubicBezTo>
                    <a:pt x="261" y="817"/>
                    <a:pt x="261" y="817"/>
                    <a:pt x="261" y="817"/>
                  </a:cubicBezTo>
                  <a:cubicBezTo>
                    <a:pt x="261" y="817"/>
                    <a:pt x="261" y="817"/>
                    <a:pt x="261" y="817"/>
                  </a:cubicBezTo>
                  <a:cubicBezTo>
                    <a:pt x="84" y="817"/>
                    <a:pt x="84" y="817"/>
                    <a:pt x="84" y="817"/>
                  </a:cubicBezTo>
                  <a:cubicBezTo>
                    <a:pt x="84" y="817"/>
                    <a:pt x="84" y="817"/>
                    <a:pt x="84" y="817"/>
                  </a:cubicBezTo>
                  <a:cubicBezTo>
                    <a:pt x="68" y="817"/>
                    <a:pt x="68" y="817"/>
                    <a:pt x="68" y="817"/>
                  </a:cubicBezTo>
                  <a:cubicBezTo>
                    <a:pt x="49" y="817"/>
                    <a:pt x="33" y="801"/>
                    <a:pt x="33" y="782"/>
                  </a:cubicBezTo>
                  <a:close/>
                  <a:moveTo>
                    <a:pt x="277" y="1145"/>
                  </a:moveTo>
                  <a:cubicBezTo>
                    <a:pt x="68" y="1145"/>
                    <a:pt x="68" y="1145"/>
                    <a:pt x="68" y="1145"/>
                  </a:cubicBezTo>
                  <a:cubicBezTo>
                    <a:pt x="68" y="1114"/>
                    <a:pt x="68" y="1114"/>
                    <a:pt x="68" y="1114"/>
                  </a:cubicBezTo>
                  <a:cubicBezTo>
                    <a:pt x="84" y="1114"/>
                    <a:pt x="84" y="1114"/>
                    <a:pt x="84" y="1114"/>
                  </a:cubicBezTo>
                  <a:cubicBezTo>
                    <a:pt x="261" y="1114"/>
                    <a:pt x="261" y="1114"/>
                    <a:pt x="261" y="1114"/>
                  </a:cubicBezTo>
                  <a:cubicBezTo>
                    <a:pt x="277" y="1114"/>
                    <a:pt x="277" y="1114"/>
                    <a:pt x="277" y="1114"/>
                  </a:cubicBezTo>
                  <a:lnTo>
                    <a:pt x="277" y="1145"/>
                  </a:lnTo>
                  <a:close/>
                  <a:moveTo>
                    <a:pt x="944" y="863"/>
                  </a:moveTo>
                  <a:cubicBezTo>
                    <a:pt x="944" y="828"/>
                    <a:pt x="944" y="828"/>
                    <a:pt x="944" y="828"/>
                  </a:cubicBezTo>
                  <a:cubicBezTo>
                    <a:pt x="944" y="791"/>
                    <a:pt x="914" y="760"/>
                    <a:pt x="876" y="760"/>
                  </a:cubicBezTo>
                  <a:cubicBezTo>
                    <a:pt x="876" y="17"/>
                    <a:pt x="876" y="17"/>
                    <a:pt x="876" y="17"/>
                  </a:cubicBezTo>
                  <a:cubicBezTo>
                    <a:pt x="876" y="7"/>
                    <a:pt x="869" y="0"/>
                    <a:pt x="859" y="0"/>
                  </a:cubicBezTo>
                  <a:cubicBezTo>
                    <a:pt x="683" y="0"/>
                    <a:pt x="683" y="0"/>
                    <a:pt x="683" y="0"/>
                  </a:cubicBezTo>
                  <a:cubicBezTo>
                    <a:pt x="673" y="0"/>
                    <a:pt x="666" y="7"/>
                    <a:pt x="666" y="17"/>
                  </a:cubicBezTo>
                  <a:cubicBezTo>
                    <a:pt x="666" y="760"/>
                    <a:pt x="666" y="760"/>
                    <a:pt x="666" y="760"/>
                  </a:cubicBezTo>
                  <a:cubicBezTo>
                    <a:pt x="628" y="760"/>
                    <a:pt x="598" y="791"/>
                    <a:pt x="598" y="828"/>
                  </a:cubicBezTo>
                  <a:cubicBezTo>
                    <a:pt x="598" y="863"/>
                    <a:pt x="598" y="863"/>
                    <a:pt x="598" y="863"/>
                  </a:cubicBezTo>
                  <a:cubicBezTo>
                    <a:pt x="598" y="901"/>
                    <a:pt x="628" y="932"/>
                    <a:pt x="666" y="932"/>
                  </a:cubicBezTo>
                  <a:cubicBezTo>
                    <a:pt x="666" y="1081"/>
                    <a:pt x="666" y="1081"/>
                    <a:pt x="666" y="1081"/>
                  </a:cubicBezTo>
                  <a:cubicBezTo>
                    <a:pt x="650" y="1081"/>
                    <a:pt x="650" y="1081"/>
                    <a:pt x="650" y="1081"/>
                  </a:cubicBezTo>
                  <a:cubicBezTo>
                    <a:pt x="640" y="1081"/>
                    <a:pt x="633" y="1088"/>
                    <a:pt x="633" y="1097"/>
                  </a:cubicBezTo>
                  <a:cubicBezTo>
                    <a:pt x="633" y="1162"/>
                    <a:pt x="633" y="1162"/>
                    <a:pt x="633" y="1162"/>
                  </a:cubicBezTo>
                  <a:cubicBezTo>
                    <a:pt x="633" y="1171"/>
                    <a:pt x="640" y="1179"/>
                    <a:pt x="650" y="1179"/>
                  </a:cubicBezTo>
                  <a:cubicBezTo>
                    <a:pt x="892" y="1179"/>
                    <a:pt x="892" y="1179"/>
                    <a:pt x="892" y="1179"/>
                  </a:cubicBezTo>
                  <a:cubicBezTo>
                    <a:pt x="902" y="1179"/>
                    <a:pt x="909" y="1171"/>
                    <a:pt x="909" y="1162"/>
                  </a:cubicBezTo>
                  <a:cubicBezTo>
                    <a:pt x="909" y="1097"/>
                    <a:pt x="909" y="1097"/>
                    <a:pt x="909" y="1097"/>
                  </a:cubicBezTo>
                  <a:cubicBezTo>
                    <a:pt x="909" y="1088"/>
                    <a:pt x="902" y="1081"/>
                    <a:pt x="892" y="1081"/>
                  </a:cubicBezTo>
                  <a:cubicBezTo>
                    <a:pt x="876" y="1081"/>
                    <a:pt x="876" y="1081"/>
                    <a:pt x="876" y="1081"/>
                  </a:cubicBezTo>
                  <a:cubicBezTo>
                    <a:pt x="876" y="932"/>
                    <a:pt x="876" y="932"/>
                    <a:pt x="876" y="932"/>
                  </a:cubicBezTo>
                  <a:cubicBezTo>
                    <a:pt x="914" y="932"/>
                    <a:pt x="944" y="901"/>
                    <a:pt x="944" y="863"/>
                  </a:cubicBezTo>
                  <a:close/>
                  <a:moveTo>
                    <a:pt x="842" y="1081"/>
                  </a:moveTo>
                  <a:cubicBezTo>
                    <a:pt x="699" y="1081"/>
                    <a:pt x="699" y="1081"/>
                    <a:pt x="699" y="1081"/>
                  </a:cubicBezTo>
                  <a:cubicBezTo>
                    <a:pt x="699" y="932"/>
                    <a:pt x="699" y="932"/>
                    <a:pt x="699" y="932"/>
                  </a:cubicBezTo>
                  <a:cubicBezTo>
                    <a:pt x="842" y="932"/>
                    <a:pt x="842" y="932"/>
                    <a:pt x="842" y="932"/>
                  </a:cubicBezTo>
                  <a:lnTo>
                    <a:pt x="842" y="1081"/>
                  </a:lnTo>
                  <a:close/>
                  <a:moveTo>
                    <a:pt x="842" y="33"/>
                  </a:moveTo>
                  <a:cubicBezTo>
                    <a:pt x="842" y="760"/>
                    <a:pt x="842" y="760"/>
                    <a:pt x="842" y="760"/>
                  </a:cubicBezTo>
                  <a:cubicBezTo>
                    <a:pt x="699" y="760"/>
                    <a:pt x="699" y="760"/>
                    <a:pt x="699" y="760"/>
                  </a:cubicBezTo>
                  <a:cubicBezTo>
                    <a:pt x="699" y="33"/>
                    <a:pt x="699" y="33"/>
                    <a:pt x="699" y="33"/>
                  </a:cubicBezTo>
                  <a:lnTo>
                    <a:pt x="842" y="33"/>
                  </a:lnTo>
                  <a:close/>
                  <a:moveTo>
                    <a:pt x="631" y="863"/>
                  </a:moveTo>
                  <a:cubicBezTo>
                    <a:pt x="631" y="828"/>
                    <a:pt x="631" y="828"/>
                    <a:pt x="631" y="828"/>
                  </a:cubicBezTo>
                  <a:cubicBezTo>
                    <a:pt x="631" y="809"/>
                    <a:pt x="647" y="794"/>
                    <a:pt x="666" y="794"/>
                  </a:cubicBezTo>
                  <a:cubicBezTo>
                    <a:pt x="682" y="794"/>
                    <a:pt x="682" y="794"/>
                    <a:pt x="682" y="794"/>
                  </a:cubicBezTo>
                  <a:cubicBezTo>
                    <a:pt x="682" y="794"/>
                    <a:pt x="683" y="794"/>
                    <a:pt x="683" y="794"/>
                  </a:cubicBezTo>
                  <a:cubicBezTo>
                    <a:pt x="683" y="794"/>
                    <a:pt x="683" y="794"/>
                    <a:pt x="683" y="794"/>
                  </a:cubicBezTo>
                  <a:cubicBezTo>
                    <a:pt x="859" y="794"/>
                    <a:pt x="859" y="794"/>
                    <a:pt x="859" y="794"/>
                  </a:cubicBezTo>
                  <a:cubicBezTo>
                    <a:pt x="859" y="794"/>
                    <a:pt x="859" y="794"/>
                    <a:pt x="859" y="794"/>
                  </a:cubicBezTo>
                  <a:cubicBezTo>
                    <a:pt x="859" y="794"/>
                    <a:pt x="859" y="794"/>
                    <a:pt x="859" y="794"/>
                  </a:cubicBezTo>
                  <a:cubicBezTo>
                    <a:pt x="876" y="794"/>
                    <a:pt x="876" y="794"/>
                    <a:pt x="876" y="794"/>
                  </a:cubicBezTo>
                  <a:cubicBezTo>
                    <a:pt x="895" y="794"/>
                    <a:pt x="910" y="809"/>
                    <a:pt x="910" y="828"/>
                  </a:cubicBezTo>
                  <a:cubicBezTo>
                    <a:pt x="910" y="863"/>
                    <a:pt x="910" y="863"/>
                    <a:pt x="910" y="863"/>
                  </a:cubicBezTo>
                  <a:cubicBezTo>
                    <a:pt x="910" y="883"/>
                    <a:pt x="895" y="898"/>
                    <a:pt x="876" y="898"/>
                  </a:cubicBezTo>
                  <a:cubicBezTo>
                    <a:pt x="859" y="898"/>
                    <a:pt x="859" y="898"/>
                    <a:pt x="859" y="898"/>
                  </a:cubicBezTo>
                  <a:cubicBezTo>
                    <a:pt x="683" y="898"/>
                    <a:pt x="683" y="898"/>
                    <a:pt x="683" y="898"/>
                  </a:cubicBezTo>
                  <a:cubicBezTo>
                    <a:pt x="666" y="898"/>
                    <a:pt x="666" y="898"/>
                    <a:pt x="666" y="898"/>
                  </a:cubicBezTo>
                  <a:cubicBezTo>
                    <a:pt x="647" y="898"/>
                    <a:pt x="631" y="883"/>
                    <a:pt x="631" y="863"/>
                  </a:cubicBezTo>
                  <a:close/>
                  <a:moveTo>
                    <a:pt x="875" y="1145"/>
                  </a:moveTo>
                  <a:cubicBezTo>
                    <a:pt x="666" y="1145"/>
                    <a:pt x="666" y="1145"/>
                    <a:pt x="666" y="1145"/>
                  </a:cubicBezTo>
                  <a:cubicBezTo>
                    <a:pt x="666" y="1114"/>
                    <a:pt x="666" y="1114"/>
                    <a:pt x="666" y="1114"/>
                  </a:cubicBezTo>
                  <a:cubicBezTo>
                    <a:pt x="683" y="1114"/>
                    <a:pt x="683" y="1114"/>
                    <a:pt x="683" y="1114"/>
                  </a:cubicBezTo>
                  <a:cubicBezTo>
                    <a:pt x="859" y="1114"/>
                    <a:pt x="859" y="1114"/>
                    <a:pt x="859" y="1114"/>
                  </a:cubicBezTo>
                  <a:cubicBezTo>
                    <a:pt x="875" y="1114"/>
                    <a:pt x="875" y="1114"/>
                    <a:pt x="875" y="1114"/>
                  </a:cubicBezTo>
                  <a:lnTo>
                    <a:pt x="875" y="1145"/>
                  </a:lnTo>
                  <a:close/>
                  <a:moveTo>
                    <a:pt x="1175" y="160"/>
                  </a:moveTo>
                  <a:cubicBezTo>
                    <a:pt x="1175" y="17"/>
                    <a:pt x="1175" y="17"/>
                    <a:pt x="1175" y="17"/>
                  </a:cubicBezTo>
                  <a:cubicBezTo>
                    <a:pt x="1175" y="7"/>
                    <a:pt x="1168" y="0"/>
                    <a:pt x="1158" y="0"/>
                  </a:cubicBezTo>
                  <a:cubicBezTo>
                    <a:pt x="982" y="0"/>
                    <a:pt x="982" y="0"/>
                    <a:pt x="982" y="0"/>
                  </a:cubicBezTo>
                  <a:cubicBezTo>
                    <a:pt x="972" y="0"/>
                    <a:pt x="965" y="7"/>
                    <a:pt x="965" y="17"/>
                  </a:cubicBezTo>
                  <a:cubicBezTo>
                    <a:pt x="965" y="160"/>
                    <a:pt x="965" y="160"/>
                    <a:pt x="965" y="160"/>
                  </a:cubicBezTo>
                  <a:cubicBezTo>
                    <a:pt x="927" y="160"/>
                    <a:pt x="897" y="190"/>
                    <a:pt x="897" y="228"/>
                  </a:cubicBezTo>
                  <a:cubicBezTo>
                    <a:pt x="897" y="263"/>
                    <a:pt x="897" y="263"/>
                    <a:pt x="897" y="263"/>
                  </a:cubicBezTo>
                  <a:cubicBezTo>
                    <a:pt x="897" y="301"/>
                    <a:pt x="927" y="331"/>
                    <a:pt x="965" y="331"/>
                  </a:cubicBezTo>
                  <a:cubicBezTo>
                    <a:pt x="965" y="1081"/>
                    <a:pt x="965" y="1081"/>
                    <a:pt x="965" y="1081"/>
                  </a:cubicBezTo>
                  <a:cubicBezTo>
                    <a:pt x="949" y="1081"/>
                    <a:pt x="949" y="1081"/>
                    <a:pt x="949" y="1081"/>
                  </a:cubicBezTo>
                  <a:cubicBezTo>
                    <a:pt x="939" y="1081"/>
                    <a:pt x="932" y="1088"/>
                    <a:pt x="932" y="1097"/>
                  </a:cubicBezTo>
                  <a:cubicBezTo>
                    <a:pt x="932" y="1162"/>
                    <a:pt x="932" y="1162"/>
                    <a:pt x="932" y="1162"/>
                  </a:cubicBezTo>
                  <a:cubicBezTo>
                    <a:pt x="932" y="1171"/>
                    <a:pt x="939" y="1179"/>
                    <a:pt x="949" y="1179"/>
                  </a:cubicBezTo>
                  <a:cubicBezTo>
                    <a:pt x="1191" y="1179"/>
                    <a:pt x="1191" y="1179"/>
                    <a:pt x="1191" y="1179"/>
                  </a:cubicBezTo>
                  <a:cubicBezTo>
                    <a:pt x="1201" y="1179"/>
                    <a:pt x="1208" y="1171"/>
                    <a:pt x="1208" y="1162"/>
                  </a:cubicBezTo>
                  <a:cubicBezTo>
                    <a:pt x="1208" y="1097"/>
                    <a:pt x="1208" y="1097"/>
                    <a:pt x="1208" y="1097"/>
                  </a:cubicBezTo>
                  <a:cubicBezTo>
                    <a:pt x="1208" y="1088"/>
                    <a:pt x="1201" y="1081"/>
                    <a:pt x="1191" y="1081"/>
                  </a:cubicBezTo>
                  <a:cubicBezTo>
                    <a:pt x="1175" y="1081"/>
                    <a:pt x="1175" y="1081"/>
                    <a:pt x="1175" y="1081"/>
                  </a:cubicBezTo>
                  <a:cubicBezTo>
                    <a:pt x="1175" y="331"/>
                    <a:pt x="1175" y="331"/>
                    <a:pt x="1175" y="331"/>
                  </a:cubicBezTo>
                  <a:cubicBezTo>
                    <a:pt x="1213" y="331"/>
                    <a:pt x="1243" y="301"/>
                    <a:pt x="1243" y="263"/>
                  </a:cubicBezTo>
                  <a:cubicBezTo>
                    <a:pt x="1243" y="228"/>
                    <a:pt x="1243" y="228"/>
                    <a:pt x="1243" y="228"/>
                  </a:cubicBezTo>
                  <a:cubicBezTo>
                    <a:pt x="1243" y="190"/>
                    <a:pt x="1213" y="160"/>
                    <a:pt x="1175" y="160"/>
                  </a:cubicBezTo>
                  <a:close/>
                  <a:moveTo>
                    <a:pt x="1142" y="33"/>
                  </a:moveTo>
                  <a:cubicBezTo>
                    <a:pt x="1142" y="160"/>
                    <a:pt x="1142" y="160"/>
                    <a:pt x="1142" y="160"/>
                  </a:cubicBezTo>
                  <a:cubicBezTo>
                    <a:pt x="998" y="160"/>
                    <a:pt x="998" y="160"/>
                    <a:pt x="998" y="160"/>
                  </a:cubicBezTo>
                  <a:cubicBezTo>
                    <a:pt x="998" y="33"/>
                    <a:pt x="998" y="33"/>
                    <a:pt x="998" y="33"/>
                  </a:cubicBezTo>
                  <a:lnTo>
                    <a:pt x="1142" y="33"/>
                  </a:lnTo>
                  <a:close/>
                  <a:moveTo>
                    <a:pt x="1142" y="331"/>
                  </a:moveTo>
                  <a:cubicBezTo>
                    <a:pt x="1142" y="1081"/>
                    <a:pt x="1142" y="1081"/>
                    <a:pt x="1142" y="1081"/>
                  </a:cubicBezTo>
                  <a:cubicBezTo>
                    <a:pt x="998" y="1081"/>
                    <a:pt x="998" y="1081"/>
                    <a:pt x="998" y="1081"/>
                  </a:cubicBezTo>
                  <a:cubicBezTo>
                    <a:pt x="998" y="331"/>
                    <a:pt x="998" y="331"/>
                    <a:pt x="998" y="331"/>
                  </a:cubicBezTo>
                  <a:lnTo>
                    <a:pt x="1142" y="331"/>
                  </a:lnTo>
                  <a:close/>
                  <a:moveTo>
                    <a:pt x="1175" y="1145"/>
                  </a:moveTo>
                  <a:cubicBezTo>
                    <a:pt x="965" y="1145"/>
                    <a:pt x="965" y="1145"/>
                    <a:pt x="965" y="1145"/>
                  </a:cubicBezTo>
                  <a:cubicBezTo>
                    <a:pt x="965" y="1114"/>
                    <a:pt x="965" y="1114"/>
                    <a:pt x="965" y="1114"/>
                  </a:cubicBezTo>
                  <a:cubicBezTo>
                    <a:pt x="982" y="1114"/>
                    <a:pt x="982" y="1114"/>
                    <a:pt x="982" y="1114"/>
                  </a:cubicBezTo>
                  <a:cubicBezTo>
                    <a:pt x="1158" y="1114"/>
                    <a:pt x="1158" y="1114"/>
                    <a:pt x="1158" y="1114"/>
                  </a:cubicBezTo>
                  <a:cubicBezTo>
                    <a:pt x="1175" y="1114"/>
                    <a:pt x="1175" y="1114"/>
                    <a:pt x="1175" y="1114"/>
                  </a:cubicBezTo>
                  <a:lnTo>
                    <a:pt x="1175" y="1145"/>
                  </a:lnTo>
                  <a:close/>
                  <a:moveTo>
                    <a:pt x="1210" y="263"/>
                  </a:moveTo>
                  <a:cubicBezTo>
                    <a:pt x="1210" y="282"/>
                    <a:pt x="1194" y="298"/>
                    <a:pt x="1175" y="298"/>
                  </a:cubicBezTo>
                  <a:cubicBezTo>
                    <a:pt x="1158" y="298"/>
                    <a:pt x="1158" y="298"/>
                    <a:pt x="1158" y="298"/>
                  </a:cubicBezTo>
                  <a:cubicBezTo>
                    <a:pt x="1158" y="298"/>
                    <a:pt x="1158" y="298"/>
                    <a:pt x="1158" y="298"/>
                  </a:cubicBezTo>
                  <a:cubicBezTo>
                    <a:pt x="982" y="298"/>
                    <a:pt x="982" y="298"/>
                    <a:pt x="982" y="298"/>
                  </a:cubicBezTo>
                  <a:cubicBezTo>
                    <a:pt x="982" y="298"/>
                    <a:pt x="982" y="298"/>
                    <a:pt x="982" y="298"/>
                  </a:cubicBezTo>
                  <a:cubicBezTo>
                    <a:pt x="965" y="298"/>
                    <a:pt x="965" y="298"/>
                    <a:pt x="965" y="298"/>
                  </a:cubicBezTo>
                  <a:cubicBezTo>
                    <a:pt x="946" y="298"/>
                    <a:pt x="930" y="282"/>
                    <a:pt x="930" y="263"/>
                  </a:cubicBezTo>
                  <a:cubicBezTo>
                    <a:pt x="930" y="228"/>
                    <a:pt x="930" y="228"/>
                    <a:pt x="930" y="228"/>
                  </a:cubicBezTo>
                  <a:cubicBezTo>
                    <a:pt x="930" y="209"/>
                    <a:pt x="946" y="193"/>
                    <a:pt x="965" y="193"/>
                  </a:cubicBezTo>
                  <a:cubicBezTo>
                    <a:pt x="982" y="193"/>
                    <a:pt x="982" y="193"/>
                    <a:pt x="982" y="193"/>
                  </a:cubicBezTo>
                  <a:cubicBezTo>
                    <a:pt x="982" y="193"/>
                    <a:pt x="982" y="193"/>
                    <a:pt x="982" y="193"/>
                  </a:cubicBezTo>
                  <a:cubicBezTo>
                    <a:pt x="982" y="193"/>
                    <a:pt x="982" y="193"/>
                    <a:pt x="982" y="193"/>
                  </a:cubicBezTo>
                  <a:cubicBezTo>
                    <a:pt x="1158" y="193"/>
                    <a:pt x="1158" y="193"/>
                    <a:pt x="1158" y="193"/>
                  </a:cubicBezTo>
                  <a:cubicBezTo>
                    <a:pt x="1158" y="193"/>
                    <a:pt x="1158" y="193"/>
                    <a:pt x="1158" y="193"/>
                  </a:cubicBezTo>
                  <a:cubicBezTo>
                    <a:pt x="1158" y="193"/>
                    <a:pt x="1158" y="193"/>
                    <a:pt x="1158" y="193"/>
                  </a:cubicBezTo>
                  <a:cubicBezTo>
                    <a:pt x="1175" y="193"/>
                    <a:pt x="1175" y="193"/>
                    <a:pt x="1175" y="193"/>
                  </a:cubicBezTo>
                  <a:cubicBezTo>
                    <a:pt x="1194" y="193"/>
                    <a:pt x="1210" y="209"/>
                    <a:pt x="1210" y="228"/>
                  </a:cubicBezTo>
                  <a:lnTo>
                    <a:pt x="1210" y="263"/>
                  </a:lnTo>
                  <a:close/>
                  <a:moveTo>
                    <a:pt x="593" y="1081"/>
                  </a:moveTo>
                  <a:cubicBezTo>
                    <a:pt x="577" y="1081"/>
                    <a:pt x="577" y="1081"/>
                    <a:pt x="577" y="1081"/>
                  </a:cubicBezTo>
                  <a:cubicBezTo>
                    <a:pt x="577" y="664"/>
                    <a:pt x="577" y="664"/>
                    <a:pt x="577" y="664"/>
                  </a:cubicBezTo>
                  <a:cubicBezTo>
                    <a:pt x="615" y="664"/>
                    <a:pt x="645" y="634"/>
                    <a:pt x="645" y="596"/>
                  </a:cubicBezTo>
                  <a:cubicBezTo>
                    <a:pt x="645" y="561"/>
                    <a:pt x="645" y="561"/>
                    <a:pt x="645" y="561"/>
                  </a:cubicBezTo>
                  <a:cubicBezTo>
                    <a:pt x="645" y="523"/>
                    <a:pt x="615" y="493"/>
                    <a:pt x="577" y="493"/>
                  </a:cubicBezTo>
                  <a:cubicBezTo>
                    <a:pt x="577" y="17"/>
                    <a:pt x="577" y="17"/>
                    <a:pt x="577" y="17"/>
                  </a:cubicBezTo>
                  <a:cubicBezTo>
                    <a:pt x="577" y="7"/>
                    <a:pt x="569" y="0"/>
                    <a:pt x="560" y="0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374" y="0"/>
                    <a:pt x="367" y="7"/>
                    <a:pt x="367" y="17"/>
                  </a:cubicBezTo>
                  <a:cubicBezTo>
                    <a:pt x="367" y="493"/>
                    <a:pt x="367" y="493"/>
                    <a:pt x="367" y="493"/>
                  </a:cubicBezTo>
                  <a:cubicBezTo>
                    <a:pt x="329" y="493"/>
                    <a:pt x="299" y="523"/>
                    <a:pt x="299" y="561"/>
                  </a:cubicBezTo>
                  <a:cubicBezTo>
                    <a:pt x="299" y="596"/>
                    <a:pt x="299" y="596"/>
                    <a:pt x="299" y="596"/>
                  </a:cubicBezTo>
                  <a:cubicBezTo>
                    <a:pt x="299" y="634"/>
                    <a:pt x="329" y="664"/>
                    <a:pt x="367" y="664"/>
                  </a:cubicBezTo>
                  <a:cubicBezTo>
                    <a:pt x="367" y="1081"/>
                    <a:pt x="367" y="1081"/>
                    <a:pt x="367" y="1081"/>
                  </a:cubicBezTo>
                  <a:cubicBezTo>
                    <a:pt x="351" y="1081"/>
                    <a:pt x="351" y="1081"/>
                    <a:pt x="351" y="1081"/>
                  </a:cubicBezTo>
                  <a:cubicBezTo>
                    <a:pt x="341" y="1081"/>
                    <a:pt x="334" y="1088"/>
                    <a:pt x="334" y="1097"/>
                  </a:cubicBezTo>
                  <a:cubicBezTo>
                    <a:pt x="334" y="1162"/>
                    <a:pt x="334" y="1162"/>
                    <a:pt x="334" y="1162"/>
                  </a:cubicBezTo>
                  <a:cubicBezTo>
                    <a:pt x="334" y="1171"/>
                    <a:pt x="341" y="1179"/>
                    <a:pt x="351" y="1179"/>
                  </a:cubicBezTo>
                  <a:cubicBezTo>
                    <a:pt x="593" y="1179"/>
                    <a:pt x="593" y="1179"/>
                    <a:pt x="593" y="1179"/>
                  </a:cubicBezTo>
                  <a:cubicBezTo>
                    <a:pt x="602" y="1179"/>
                    <a:pt x="610" y="1171"/>
                    <a:pt x="610" y="1162"/>
                  </a:cubicBezTo>
                  <a:cubicBezTo>
                    <a:pt x="610" y="1097"/>
                    <a:pt x="610" y="1097"/>
                    <a:pt x="610" y="1097"/>
                  </a:cubicBezTo>
                  <a:cubicBezTo>
                    <a:pt x="610" y="1088"/>
                    <a:pt x="602" y="1081"/>
                    <a:pt x="593" y="1081"/>
                  </a:cubicBezTo>
                  <a:close/>
                  <a:moveTo>
                    <a:pt x="400" y="1081"/>
                  </a:moveTo>
                  <a:cubicBezTo>
                    <a:pt x="400" y="664"/>
                    <a:pt x="400" y="664"/>
                    <a:pt x="400" y="664"/>
                  </a:cubicBezTo>
                  <a:cubicBezTo>
                    <a:pt x="543" y="664"/>
                    <a:pt x="543" y="664"/>
                    <a:pt x="543" y="664"/>
                  </a:cubicBezTo>
                  <a:cubicBezTo>
                    <a:pt x="543" y="1081"/>
                    <a:pt x="543" y="1081"/>
                    <a:pt x="543" y="1081"/>
                  </a:cubicBezTo>
                  <a:lnTo>
                    <a:pt x="400" y="1081"/>
                  </a:lnTo>
                  <a:close/>
                  <a:moveTo>
                    <a:pt x="543" y="33"/>
                  </a:moveTo>
                  <a:cubicBezTo>
                    <a:pt x="543" y="493"/>
                    <a:pt x="543" y="493"/>
                    <a:pt x="543" y="493"/>
                  </a:cubicBezTo>
                  <a:cubicBezTo>
                    <a:pt x="400" y="493"/>
                    <a:pt x="400" y="493"/>
                    <a:pt x="400" y="493"/>
                  </a:cubicBezTo>
                  <a:cubicBezTo>
                    <a:pt x="400" y="33"/>
                    <a:pt x="400" y="33"/>
                    <a:pt x="400" y="33"/>
                  </a:cubicBezTo>
                  <a:lnTo>
                    <a:pt x="543" y="33"/>
                  </a:lnTo>
                  <a:close/>
                  <a:moveTo>
                    <a:pt x="332" y="596"/>
                  </a:moveTo>
                  <a:cubicBezTo>
                    <a:pt x="332" y="561"/>
                    <a:pt x="332" y="561"/>
                    <a:pt x="332" y="561"/>
                  </a:cubicBezTo>
                  <a:cubicBezTo>
                    <a:pt x="332" y="542"/>
                    <a:pt x="348" y="526"/>
                    <a:pt x="367" y="526"/>
                  </a:cubicBezTo>
                  <a:cubicBezTo>
                    <a:pt x="383" y="526"/>
                    <a:pt x="383" y="526"/>
                    <a:pt x="383" y="526"/>
                  </a:cubicBezTo>
                  <a:cubicBezTo>
                    <a:pt x="383" y="526"/>
                    <a:pt x="383" y="526"/>
                    <a:pt x="383" y="526"/>
                  </a:cubicBezTo>
                  <a:cubicBezTo>
                    <a:pt x="384" y="526"/>
                    <a:pt x="384" y="526"/>
                    <a:pt x="384" y="526"/>
                  </a:cubicBezTo>
                  <a:cubicBezTo>
                    <a:pt x="560" y="526"/>
                    <a:pt x="560" y="526"/>
                    <a:pt x="560" y="526"/>
                  </a:cubicBezTo>
                  <a:cubicBezTo>
                    <a:pt x="560" y="526"/>
                    <a:pt x="560" y="526"/>
                    <a:pt x="560" y="526"/>
                  </a:cubicBezTo>
                  <a:cubicBezTo>
                    <a:pt x="560" y="526"/>
                    <a:pt x="560" y="526"/>
                    <a:pt x="560" y="526"/>
                  </a:cubicBezTo>
                  <a:cubicBezTo>
                    <a:pt x="577" y="526"/>
                    <a:pt x="577" y="526"/>
                    <a:pt x="577" y="526"/>
                  </a:cubicBezTo>
                  <a:cubicBezTo>
                    <a:pt x="596" y="526"/>
                    <a:pt x="611" y="542"/>
                    <a:pt x="611" y="561"/>
                  </a:cubicBezTo>
                  <a:cubicBezTo>
                    <a:pt x="611" y="596"/>
                    <a:pt x="611" y="596"/>
                    <a:pt x="611" y="596"/>
                  </a:cubicBezTo>
                  <a:cubicBezTo>
                    <a:pt x="611" y="615"/>
                    <a:pt x="596" y="631"/>
                    <a:pt x="577" y="631"/>
                  </a:cubicBezTo>
                  <a:cubicBezTo>
                    <a:pt x="560" y="631"/>
                    <a:pt x="560" y="631"/>
                    <a:pt x="560" y="631"/>
                  </a:cubicBezTo>
                  <a:cubicBezTo>
                    <a:pt x="560" y="631"/>
                    <a:pt x="560" y="631"/>
                    <a:pt x="560" y="631"/>
                  </a:cubicBezTo>
                  <a:cubicBezTo>
                    <a:pt x="383" y="631"/>
                    <a:pt x="383" y="631"/>
                    <a:pt x="383" y="631"/>
                  </a:cubicBezTo>
                  <a:cubicBezTo>
                    <a:pt x="383" y="631"/>
                    <a:pt x="383" y="631"/>
                    <a:pt x="383" y="631"/>
                  </a:cubicBezTo>
                  <a:cubicBezTo>
                    <a:pt x="367" y="631"/>
                    <a:pt x="367" y="631"/>
                    <a:pt x="367" y="631"/>
                  </a:cubicBezTo>
                  <a:cubicBezTo>
                    <a:pt x="348" y="631"/>
                    <a:pt x="332" y="615"/>
                    <a:pt x="332" y="596"/>
                  </a:cubicBezTo>
                  <a:close/>
                  <a:moveTo>
                    <a:pt x="576" y="1145"/>
                  </a:moveTo>
                  <a:cubicBezTo>
                    <a:pt x="367" y="1145"/>
                    <a:pt x="367" y="1145"/>
                    <a:pt x="367" y="1145"/>
                  </a:cubicBezTo>
                  <a:cubicBezTo>
                    <a:pt x="367" y="1114"/>
                    <a:pt x="367" y="1114"/>
                    <a:pt x="367" y="1114"/>
                  </a:cubicBezTo>
                  <a:cubicBezTo>
                    <a:pt x="383" y="1114"/>
                    <a:pt x="383" y="1114"/>
                    <a:pt x="383" y="1114"/>
                  </a:cubicBezTo>
                  <a:cubicBezTo>
                    <a:pt x="560" y="1114"/>
                    <a:pt x="560" y="1114"/>
                    <a:pt x="560" y="1114"/>
                  </a:cubicBezTo>
                  <a:cubicBezTo>
                    <a:pt x="576" y="1114"/>
                    <a:pt x="576" y="1114"/>
                    <a:pt x="576" y="1114"/>
                  </a:cubicBezTo>
                  <a:lnTo>
                    <a:pt x="576" y="11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762375" y="1539645"/>
            <a:ext cx="1619250" cy="1619250"/>
            <a:chOff x="3762375" y="1539645"/>
            <a:chExt cx="1619250" cy="1619250"/>
          </a:xfrm>
        </p:grpSpPr>
        <p:sp>
          <p:nvSpPr>
            <p:cNvPr id="5" name="Oval 4"/>
            <p:cNvSpPr/>
            <p:nvPr/>
          </p:nvSpPr>
          <p:spPr>
            <a:xfrm>
              <a:off x="3762375" y="1539645"/>
              <a:ext cx="1619250" cy="161925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4240186" y="2071688"/>
              <a:ext cx="663629" cy="555164"/>
            </a:xfrm>
            <a:custGeom>
              <a:avLst/>
              <a:gdLst>
                <a:gd name="T0" fmla="*/ 562 w 1392"/>
                <a:gd name="T1" fmla="*/ 229 h 1165"/>
                <a:gd name="T2" fmla="*/ 411 w 1392"/>
                <a:gd name="T3" fmla="*/ 12 h 1165"/>
                <a:gd name="T4" fmla="*/ 398 w 1392"/>
                <a:gd name="T5" fmla="*/ 1 h 1165"/>
                <a:gd name="T6" fmla="*/ 382 w 1392"/>
                <a:gd name="T7" fmla="*/ 7 h 1165"/>
                <a:gd name="T8" fmla="*/ 140 w 1392"/>
                <a:gd name="T9" fmla="*/ 891 h 1165"/>
                <a:gd name="T10" fmla="*/ 603 w 1392"/>
                <a:gd name="T11" fmla="*/ 1165 h 1165"/>
                <a:gd name="T12" fmla="*/ 655 w 1392"/>
                <a:gd name="T13" fmla="*/ 1162 h 1165"/>
                <a:gd name="T14" fmla="*/ 669 w 1392"/>
                <a:gd name="T15" fmla="*/ 1151 h 1165"/>
                <a:gd name="T16" fmla="*/ 666 w 1392"/>
                <a:gd name="T17" fmla="*/ 1134 h 1165"/>
                <a:gd name="T18" fmla="*/ 421 w 1392"/>
                <a:gd name="T19" fmla="*/ 570 h 1165"/>
                <a:gd name="T20" fmla="*/ 716 w 1392"/>
                <a:gd name="T21" fmla="*/ 1094 h 1165"/>
                <a:gd name="T22" fmla="*/ 730 w 1392"/>
                <a:gd name="T23" fmla="*/ 1098 h 1165"/>
                <a:gd name="T24" fmla="*/ 742 w 1392"/>
                <a:gd name="T25" fmla="*/ 1090 h 1165"/>
                <a:gd name="T26" fmla="*/ 562 w 1392"/>
                <a:gd name="T27" fmla="*/ 229 h 1165"/>
                <a:gd name="T28" fmla="*/ 723 w 1392"/>
                <a:gd name="T29" fmla="*/ 1055 h 1165"/>
                <a:gd name="T30" fmla="*/ 441 w 1392"/>
                <a:gd name="T31" fmla="*/ 432 h 1165"/>
                <a:gd name="T32" fmla="*/ 427 w 1392"/>
                <a:gd name="T33" fmla="*/ 415 h 1165"/>
                <a:gd name="T34" fmla="*/ 408 w 1392"/>
                <a:gd name="T35" fmla="*/ 428 h 1165"/>
                <a:gd name="T36" fmla="*/ 618 w 1392"/>
                <a:gd name="T37" fmla="*/ 1131 h 1165"/>
                <a:gd name="T38" fmla="*/ 170 w 1392"/>
                <a:gd name="T39" fmla="*/ 875 h 1165"/>
                <a:gd name="T40" fmla="*/ 390 w 1392"/>
                <a:gd name="T41" fmla="*/ 49 h 1165"/>
                <a:gd name="T42" fmla="*/ 536 w 1392"/>
                <a:gd name="T43" fmla="*/ 250 h 1165"/>
                <a:gd name="T44" fmla="*/ 723 w 1392"/>
                <a:gd name="T45" fmla="*/ 1055 h 1165"/>
                <a:gd name="T46" fmla="*/ 1272 w 1392"/>
                <a:gd name="T47" fmla="*/ 34 h 1165"/>
                <a:gd name="T48" fmla="*/ 1264 w 1392"/>
                <a:gd name="T49" fmla="*/ 24 h 1165"/>
                <a:gd name="T50" fmla="*/ 1250 w 1392"/>
                <a:gd name="T51" fmla="*/ 23 h 1165"/>
                <a:gd name="T52" fmla="*/ 711 w 1392"/>
                <a:gd name="T53" fmla="*/ 363 h 1165"/>
                <a:gd name="T54" fmla="*/ 712 w 1392"/>
                <a:gd name="T55" fmla="*/ 384 h 1165"/>
                <a:gd name="T56" fmla="*/ 838 w 1392"/>
                <a:gd name="T57" fmla="*/ 631 h 1165"/>
                <a:gd name="T58" fmla="*/ 853 w 1392"/>
                <a:gd name="T59" fmla="*/ 644 h 1165"/>
                <a:gd name="T60" fmla="*/ 870 w 1392"/>
                <a:gd name="T61" fmla="*/ 634 h 1165"/>
                <a:gd name="T62" fmla="*/ 971 w 1392"/>
                <a:gd name="T63" fmla="*/ 471 h 1165"/>
                <a:gd name="T64" fmla="*/ 863 w 1392"/>
                <a:gd name="T65" fmla="*/ 744 h 1165"/>
                <a:gd name="T66" fmla="*/ 862 w 1392"/>
                <a:gd name="T67" fmla="*/ 751 h 1165"/>
                <a:gd name="T68" fmla="*/ 807 w 1392"/>
                <a:gd name="T69" fmla="*/ 1056 h 1165"/>
                <a:gd name="T70" fmla="*/ 805 w 1392"/>
                <a:gd name="T71" fmla="*/ 1074 h 1165"/>
                <a:gd name="T72" fmla="*/ 820 w 1392"/>
                <a:gd name="T73" fmla="*/ 1083 h 1165"/>
                <a:gd name="T74" fmla="*/ 821 w 1392"/>
                <a:gd name="T75" fmla="*/ 1083 h 1165"/>
                <a:gd name="T76" fmla="*/ 1193 w 1392"/>
                <a:gd name="T77" fmla="*/ 891 h 1165"/>
                <a:gd name="T78" fmla="*/ 1272 w 1392"/>
                <a:gd name="T79" fmla="*/ 34 h 1165"/>
                <a:gd name="T80" fmla="*/ 1166 w 1392"/>
                <a:gd name="T81" fmla="*/ 870 h 1165"/>
                <a:gd name="T82" fmla="*/ 852 w 1392"/>
                <a:gd name="T83" fmla="*/ 1048 h 1165"/>
                <a:gd name="T84" fmla="*/ 896 w 1392"/>
                <a:gd name="T85" fmla="*/ 751 h 1165"/>
                <a:gd name="T86" fmla="*/ 1060 w 1392"/>
                <a:gd name="T87" fmla="*/ 367 h 1165"/>
                <a:gd name="T88" fmla="*/ 1055 w 1392"/>
                <a:gd name="T89" fmla="*/ 345 h 1165"/>
                <a:gd name="T90" fmla="*/ 1033 w 1392"/>
                <a:gd name="T91" fmla="*/ 347 h 1165"/>
                <a:gd name="T92" fmla="*/ 859 w 1392"/>
                <a:gd name="T93" fmla="*/ 582 h 1165"/>
                <a:gd name="T94" fmla="*/ 746 w 1392"/>
                <a:gd name="T95" fmla="*/ 373 h 1165"/>
                <a:gd name="T96" fmla="*/ 1244 w 1392"/>
                <a:gd name="T97" fmla="*/ 61 h 1165"/>
                <a:gd name="T98" fmla="*/ 1166 w 1392"/>
                <a:gd name="T99" fmla="*/ 870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92" h="1165">
                  <a:moveTo>
                    <a:pt x="562" y="229"/>
                  </a:moveTo>
                  <a:cubicBezTo>
                    <a:pt x="497" y="151"/>
                    <a:pt x="436" y="78"/>
                    <a:pt x="411" y="12"/>
                  </a:cubicBezTo>
                  <a:cubicBezTo>
                    <a:pt x="409" y="6"/>
                    <a:pt x="404" y="2"/>
                    <a:pt x="398" y="1"/>
                  </a:cubicBezTo>
                  <a:cubicBezTo>
                    <a:pt x="392" y="0"/>
                    <a:pt x="386" y="2"/>
                    <a:pt x="382" y="7"/>
                  </a:cubicBezTo>
                  <a:cubicBezTo>
                    <a:pt x="0" y="448"/>
                    <a:pt x="67" y="750"/>
                    <a:pt x="140" y="891"/>
                  </a:cubicBezTo>
                  <a:cubicBezTo>
                    <a:pt x="227" y="1057"/>
                    <a:pt x="412" y="1165"/>
                    <a:pt x="603" y="1165"/>
                  </a:cubicBezTo>
                  <a:cubicBezTo>
                    <a:pt x="620" y="1165"/>
                    <a:pt x="638" y="1164"/>
                    <a:pt x="655" y="1162"/>
                  </a:cubicBezTo>
                  <a:cubicBezTo>
                    <a:pt x="662" y="1161"/>
                    <a:pt x="667" y="1157"/>
                    <a:pt x="669" y="1151"/>
                  </a:cubicBezTo>
                  <a:cubicBezTo>
                    <a:pt x="672" y="1145"/>
                    <a:pt x="670" y="1138"/>
                    <a:pt x="666" y="1134"/>
                  </a:cubicBezTo>
                  <a:cubicBezTo>
                    <a:pt x="495" y="952"/>
                    <a:pt x="413" y="763"/>
                    <a:pt x="421" y="570"/>
                  </a:cubicBezTo>
                  <a:cubicBezTo>
                    <a:pt x="465" y="789"/>
                    <a:pt x="608" y="998"/>
                    <a:pt x="716" y="1094"/>
                  </a:cubicBezTo>
                  <a:cubicBezTo>
                    <a:pt x="720" y="1098"/>
                    <a:pt x="725" y="1099"/>
                    <a:pt x="730" y="1098"/>
                  </a:cubicBezTo>
                  <a:cubicBezTo>
                    <a:pt x="735" y="1098"/>
                    <a:pt x="739" y="1095"/>
                    <a:pt x="742" y="1090"/>
                  </a:cubicBezTo>
                  <a:cubicBezTo>
                    <a:pt x="958" y="707"/>
                    <a:pt x="738" y="442"/>
                    <a:pt x="562" y="229"/>
                  </a:cubicBezTo>
                  <a:close/>
                  <a:moveTo>
                    <a:pt x="723" y="1055"/>
                  </a:moveTo>
                  <a:cubicBezTo>
                    <a:pt x="598" y="935"/>
                    <a:pt x="437" y="675"/>
                    <a:pt x="441" y="432"/>
                  </a:cubicBezTo>
                  <a:cubicBezTo>
                    <a:pt x="441" y="424"/>
                    <a:pt x="435" y="416"/>
                    <a:pt x="427" y="415"/>
                  </a:cubicBezTo>
                  <a:cubicBezTo>
                    <a:pt x="418" y="414"/>
                    <a:pt x="410" y="419"/>
                    <a:pt x="408" y="428"/>
                  </a:cubicBezTo>
                  <a:cubicBezTo>
                    <a:pt x="347" y="669"/>
                    <a:pt x="417" y="905"/>
                    <a:pt x="618" y="1131"/>
                  </a:cubicBezTo>
                  <a:cubicBezTo>
                    <a:pt x="435" y="1137"/>
                    <a:pt x="253" y="1035"/>
                    <a:pt x="170" y="875"/>
                  </a:cubicBezTo>
                  <a:cubicBezTo>
                    <a:pt x="101" y="744"/>
                    <a:pt x="41" y="464"/>
                    <a:pt x="390" y="49"/>
                  </a:cubicBezTo>
                  <a:cubicBezTo>
                    <a:pt x="421" y="112"/>
                    <a:pt x="475" y="177"/>
                    <a:pt x="536" y="250"/>
                  </a:cubicBezTo>
                  <a:cubicBezTo>
                    <a:pt x="703" y="452"/>
                    <a:pt x="910" y="702"/>
                    <a:pt x="723" y="1055"/>
                  </a:cubicBezTo>
                  <a:close/>
                  <a:moveTo>
                    <a:pt x="1272" y="34"/>
                  </a:moveTo>
                  <a:cubicBezTo>
                    <a:pt x="1271" y="30"/>
                    <a:pt x="1268" y="26"/>
                    <a:pt x="1264" y="24"/>
                  </a:cubicBezTo>
                  <a:cubicBezTo>
                    <a:pt x="1259" y="21"/>
                    <a:pt x="1254" y="21"/>
                    <a:pt x="1250" y="23"/>
                  </a:cubicBezTo>
                  <a:cubicBezTo>
                    <a:pt x="1156" y="59"/>
                    <a:pt x="841" y="191"/>
                    <a:pt x="711" y="363"/>
                  </a:cubicBezTo>
                  <a:cubicBezTo>
                    <a:pt x="706" y="369"/>
                    <a:pt x="707" y="378"/>
                    <a:pt x="712" y="384"/>
                  </a:cubicBezTo>
                  <a:cubicBezTo>
                    <a:pt x="805" y="490"/>
                    <a:pt x="838" y="630"/>
                    <a:pt x="838" y="631"/>
                  </a:cubicBezTo>
                  <a:cubicBezTo>
                    <a:pt x="840" y="638"/>
                    <a:pt x="846" y="643"/>
                    <a:pt x="853" y="644"/>
                  </a:cubicBezTo>
                  <a:cubicBezTo>
                    <a:pt x="860" y="645"/>
                    <a:pt x="867" y="641"/>
                    <a:pt x="870" y="634"/>
                  </a:cubicBezTo>
                  <a:cubicBezTo>
                    <a:pt x="898" y="574"/>
                    <a:pt x="936" y="517"/>
                    <a:pt x="971" y="471"/>
                  </a:cubicBezTo>
                  <a:cubicBezTo>
                    <a:pt x="910" y="607"/>
                    <a:pt x="864" y="742"/>
                    <a:pt x="863" y="744"/>
                  </a:cubicBezTo>
                  <a:cubicBezTo>
                    <a:pt x="862" y="746"/>
                    <a:pt x="862" y="749"/>
                    <a:pt x="862" y="751"/>
                  </a:cubicBezTo>
                  <a:cubicBezTo>
                    <a:pt x="885" y="955"/>
                    <a:pt x="808" y="1055"/>
                    <a:pt x="807" y="1056"/>
                  </a:cubicBezTo>
                  <a:cubicBezTo>
                    <a:pt x="803" y="1061"/>
                    <a:pt x="802" y="1068"/>
                    <a:pt x="805" y="1074"/>
                  </a:cubicBezTo>
                  <a:cubicBezTo>
                    <a:pt x="808" y="1080"/>
                    <a:pt x="814" y="1083"/>
                    <a:pt x="820" y="1083"/>
                  </a:cubicBezTo>
                  <a:cubicBezTo>
                    <a:pt x="820" y="1083"/>
                    <a:pt x="820" y="1083"/>
                    <a:pt x="821" y="1083"/>
                  </a:cubicBezTo>
                  <a:cubicBezTo>
                    <a:pt x="966" y="1081"/>
                    <a:pt x="1101" y="1011"/>
                    <a:pt x="1193" y="891"/>
                  </a:cubicBezTo>
                  <a:cubicBezTo>
                    <a:pt x="1295" y="756"/>
                    <a:pt x="1392" y="498"/>
                    <a:pt x="1272" y="34"/>
                  </a:cubicBezTo>
                  <a:close/>
                  <a:moveTo>
                    <a:pt x="1166" y="870"/>
                  </a:moveTo>
                  <a:cubicBezTo>
                    <a:pt x="1087" y="973"/>
                    <a:pt x="974" y="1037"/>
                    <a:pt x="852" y="1048"/>
                  </a:cubicBezTo>
                  <a:cubicBezTo>
                    <a:pt x="876" y="1003"/>
                    <a:pt x="913" y="905"/>
                    <a:pt x="896" y="751"/>
                  </a:cubicBezTo>
                  <a:cubicBezTo>
                    <a:pt x="906" y="722"/>
                    <a:pt x="979" y="514"/>
                    <a:pt x="1060" y="367"/>
                  </a:cubicBezTo>
                  <a:cubicBezTo>
                    <a:pt x="1064" y="360"/>
                    <a:pt x="1062" y="350"/>
                    <a:pt x="1055" y="345"/>
                  </a:cubicBezTo>
                  <a:cubicBezTo>
                    <a:pt x="1048" y="340"/>
                    <a:pt x="1039" y="341"/>
                    <a:pt x="1033" y="347"/>
                  </a:cubicBezTo>
                  <a:cubicBezTo>
                    <a:pt x="1028" y="352"/>
                    <a:pt x="928" y="452"/>
                    <a:pt x="859" y="582"/>
                  </a:cubicBezTo>
                  <a:cubicBezTo>
                    <a:pt x="842" y="532"/>
                    <a:pt x="808" y="447"/>
                    <a:pt x="746" y="373"/>
                  </a:cubicBezTo>
                  <a:cubicBezTo>
                    <a:pt x="868" y="222"/>
                    <a:pt x="1138" y="103"/>
                    <a:pt x="1244" y="61"/>
                  </a:cubicBezTo>
                  <a:cubicBezTo>
                    <a:pt x="1354" y="500"/>
                    <a:pt x="1263" y="743"/>
                    <a:pt x="1166" y="87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324629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onto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investimen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27" name="Group 26"/>
          <p:cNvGrpSpPr/>
          <p:nvPr/>
        </p:nvGrpSpPr>
        <p:grpSpPr>
          <a:xfrm>
            <a:off x="1578769" y="2141034"/>
            <a:ext cx="5986462" cy="551987"/>
            <a:chOff x="1578769" y="2141034"/>
            <a:chExt cx="5986462" cy="551987"/>
          </a:xfrm>
        </p:grpSpPr>
        <p:cxnSp>
          <p:nvCxnSpPr>
            <p:cNvPr id="9" name="Elbow Connector 8"/>
            <p:cNvCxnSpPr>
              <a:stCxn id="4" idx="2"/>
              <a:endCxn id="5" idx="0"/>
            </p:cNvCxnSpPr>
            <p:nvPr/>
          </p:nvCxnSpPr>
          <p:spPr>
            <a:xfrm rot="5400000">
              <a:off x="2795820" y="923983"/>
              <a:ext cx="551986" cy="2986088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Elbow Connector 9"/>
            <p:cNvCxnSpPr>
              <a:stCxn id="4" idx="2"/>
              <a:endCxn id="6" idx="0"/>
            </p:cNvCxnSpPr>
            <p:nvPr/>
          </p:nvCxnSpPr>
          <p:spPr>
            <a:xfrm rot="5400000">
              <a:off x="3793564" y="1921727"/>
              <a:ext cx="551986" cy="990601"/>
            </a:xfrm>
            <a:prstGeom prst="bentConnector3">
              <a:avLst/>
            </a:prstGeom>
            <a:ln w="635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Elbow Connector 10"/>
            <p:cNvCxnSpPr>
              <a:stCxn id="4" idx="2"/>
              <a:endCxn id="7" idx="0"/>
            </p:cNvCxnSpPr>
            <p:nvPr/>
          </p:nvCxnSpPr>
          <p:spPr>
            <a:xfrm rot="16200000" flipH="1">
              <a:off x="4791307" y="1914583"/>
              <a:ext cx="551986" cy="1004887"/>
            </a:xfrm>
            <a:prstGeom prst="bentConnector3">
              <a:avLst>
                <a:gd name="adj1" fmla="val 50000"/>
              </a:avLst>
            </a:prstGeom>
            <a:ln w="635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11"/>
            <p:cNvCxnSpPr>
              <a:stCxn id="4" idx="2"/>
              <a:endCxn id="8" idx="0"/>
            </p:cNvCxnSpPr>
            <p:nvPr/>
          </p:nvCxnSpPr>
          <p:spPr>
            <a:xfrm rot="16200000" flipH="1">
              <a:off x="5789051" y="916840"/>
              <a:ext cx="551986" cy="3000374"/>
            </a:xfrm>
            <a:prstGeom prst="bentConnector3">
              <a:avLst/>
            </a:prstGeom>
            <a:ln w="635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>
            <a:off x="3333750" y="1553738"/>
            <a:ext cx="2462213" cy="587296"/>
            <a:chOff x="3333750" y="1553738"/>
            <a:chExt cx="2462213" cy="587296"/>
          </a:xfrm>
        </p:grpSpPr>
        <p:sp>
          <p:nvSpPr>
            <p:cNvPr id="4" name="Rounded Rectangle 3"/>
            <p:cNvSpPr/>
            <p:nvPr/>
          </p:nvSpPr>
          <p:spPr>
            <a:xfrm>
              <a:off x="3333750" y="1553738"/>
              <a:ext cx="2462213" cy="587296"/>
            </a:xfrm>
            <a:prstGeom prst="roundRect">
              <a:avLst>
                <a:gd name="adj" fmla="val 50000"/>
              </a:avLst>
            </a:prstGeom>
            <a:solidFill>
              <a:srgbClr val="EC000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689681" y="1662720"/>
              <a:ext cx="175035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aiores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blemas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obre</a:t>
              </a:r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o </a:t>
              </a:r>
              <a:r>
                <a:rPr lang="en-US" sz="12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investimento</a:t>
              </a:r>
              <a:endParaRPr lang="en-US" sz="12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58283" y="2693020"/>
            <a:ext cx="7627434" cy="1640972"/>
            <a:chOff x="758283" y="2693020"/>
            <a:chExt cx="7627434" cy="1640972"/>
          </a:xfrm>
        </p:grpSpPr>
        <p:sp>
          <p:nvSpPr>
            <p:cNvPr id="5" name="Oval 4"/>
            <p:cNvSpPr/>
            <p:nvPr/>
          </p:nvSpPr>
          <p:spPr>
            <a:xfrm>
              <a:off x="758283" y="2693020"/>
              <a:ext cx="1640972" cy="164097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6" name="Oval 5"/>
            <p:cNvSpPr/>
            <p:nvPr/>
          </p:nvSpPr>
          <p:spPr>
            <a:xfrm>
              <a:off x="2753770" y="2693020"/>
              <a:ext cx="1640972" cy="164097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" name="Oval 6"/>
            <p:cNvSpPr/>
            <p:nvPr/>
          </p:nvSpPr>
          <p:spPr>
            <a:xfrm>
              <a:off x="4749258" y="2693020"/>
              <a:ext cx="1640972" cy="164097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" name="Oval 7"/>
            <p:cNvSpPr/>
            <p:nvPr/>
          </p:nvSpPr>
          <p:spPr>
            <a:xfrm>
              <a:off x="6744745" y="2693020"/>
              <a:ext cx="1640972" cy="1640972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0" name="Oval 49"/>
            <p:cNvSpPr/>
            <p:nvPr/>
          </p:nvSpPr>
          <p:spPr>
            <a:xfrm>
              <a:off x="806025" y="2740762"/>
              <a:ext cx="1545488" cy="154548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1" name="Oval 50"/>
            <p:cNvSpPr/>
            <p:nvPr/>
          </p:nvSpPr>
          <p:spPr>
            <a:xfrm>
              <a:off x="2801512" y="2740762"/>
              <a:ext cx="1545488" cy="154548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2" name="Oval 51"/>
            <p:cNvSpPr/>
            <p:nvPr/>
          </p:nvSpPr>
          <p:spPr>
            <a:xfrm>
              <a:off x="4797000" y="2740762"/>
              <a:ext cx="1545488" cy="154548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3" name="Oval 52"/>
            <p:cNvSpPr/>
            <p:nvPr/>
          </p:nvSpPr>
          <p:spPr>
            <a:xfrm>
              <a:off x="6792487" y="2740762"/>
              <a:ext cx="1545488" cy="1545488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14413" y="3610300"/>
              <a:ext cx="1128713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gum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formação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br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nális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dados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014413" y="3396600"/>
              <a:ext cx="1128713" cy="1508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pção</a:t>
              </a:r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01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009900" y="3610300"/>
              <a:ext cx="1128713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gum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formação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br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nális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dados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009900" y="3396600"/>
              <a:ext cx="1128713" cy="1508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pção</a:t>
              </a:r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02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005388" y="3610300"/>
              <a:ext cx="1128713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gum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formação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br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nális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dados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005388" y="3396600"/>
              <a:ext cx="1128713" cy="1508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pção</a:t>
              </a:r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03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000875" y="3610300"/>
              <a:ext cx="1128713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guma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formação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br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</a:t>
              </a:r>
              <a:r>
                <a:rPr lang="en-US" sz="75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nálise</a:t>
              </a:r>
              <a:r>
                <a:rPr lang="en-US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e dados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000875" y="3396600"/>
              <a:ext cx="1128713" cy="1508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pção</a:t>
              </a:r>
              <a:r>
                <a: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04</a:t>
              </a:r>
            </a:p>
          </p:txBody>
        </p:sp>
        <p:sp>
          <p:nvSpPr>
            <p:cNvPr id="22" name="Freeform 115"/>
            <p:cNvSpPr>
              <a:spLocks noEditPoints="1"/>
            </p:cNvSpPr>
            <p:nvPr/>
          </p:nvSpPr>
          <p:spPr bwMode="auto">
            <a:xfrm>
              <a:off x="3445283" y="3030931"/>
              <a:ext cx="257947" cy="257947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1449321" y="3029982"/>
              <a:ext cx="258896" cy="258896"/>
            </a:xfrm>
            <a:custGeom>
              <a:avLst/>
              <a:gdLst>
                <a:gd name="T0" fmla="*/ 351 w 353"/>
                <a:gd name="T1" fmla="*/ 171 h 353"/>
                <a:gd name="T2" fmla="*/ 289 w 353"/>
                <a:gd name="T3" fmla="*/ 109 h 353"/>
                <a:gd name="T4" fmla="*/ 289 w 353"/>
                <a:gd name="T5" fmla="*/ 24 h 353"/>
                <a:gd name="T6" fmla="*/ 281 w 353"/>
                <a:gd name="T7" fmla="*/ 16 h 353"/>
                <a:gd name="T8" fmla="*/ 233 w 353"/>
                <a:gd name="T9" fmla="*/ 16 h 353"/>
                <a:gd name="T10" fmla="*/ 225 w 353"/>
                <a:gd name="T11" fmla="*/ 24 h 353"/>
                <a:gd name="T12" fmla="*/ 225 w 353"/>
                <a:gd name="T13" fmla="*/ 45 h 353"/>
                <a:gd name="T14" fmla="*/ 182 w 353"/>
                <a:gd name="T15" fmla="*/ 2 h 353"/>
                <a:gd name="T16" fmla="*/ 177 w 353"/>
                <a:gd name="T17" fmla="*/ 0 h 353"/>
                <a:gd name="T18" fmla="*/ 171 w 353"/>
                <a:gd name="T19" fmla="*/ 2 h 353"/>
                <a:gd name="T20" fmla="*/ 2 w 353"/>
                <a:gd name="T21" fmla="*/ 171 h 353"/>
                <a:gd name="T22" fmla="*/ 0 w 353"/>
                <a:gd name="T23" fmla="*/ 176 h 353"/>
                <a:gd name="T24" fmla="*/ 8 w 353"/>
                <a:gd name="T25" fmla="*/ 184 h 353"/>
                <a:gd name="T26" fmla="*/ 14 w 353"/>
                <a:gd name="T27" fmla="*/ 182 h 353"/>
                <a:gd name="T28" fmla="*/ 48 w 353"/>
                <a:gd name="T29" fmla="*/ 148 h 353"/>
                <a:gd name="T30" fmla="*/ 48 w 353"/>
                <a:gd name="T31" fmla="*/ 345 h 353"/>
                <a:gd name="T32" fmla="*/ 56 w 353"/>
                <a:gd name="T33" fmla="*/ 353 h 353"/>
                <a:gd name="T34" fmla="*/ 297 w 353"/>
                <a:gd name="T35" fmla="*/ 353 h 353"/>
                <a:gd name="T36" fmla="*/ 305 w 353"/>
                <a:gd name="T37" fmla="*/ 345 h 353"/>
                <a:gd name="T38" fmla="*/ 305 w 353"/>
                <a:gd name="T39" fmla="*/ 148 h 353"/>
                <a:gd name="T40" fmla="*/ 339 w 353"/>
                <a:gd name="T41" fmla="*/ 182 h 353"/>
                <a:gd name="T42" fmla="*/ 345 w 353"/>
                <a:gd name="T43" fmla="*/ 184 h 353"/>
                <a:gd name="T44" fmla="*/ 353 w 353"/>
                <a:gd name="T45" fmla="*/ 176 h 353"/>
                <a:gd name="T46" fmla="*/ 351 w 353"/>
                <a:gd name="T47" fmla="*/ 171 h 353"/>
                <a:gd name="T48" fmla="*/ 241 w 353"/>
                <a:gd name="T49" fmla="*/ 32 h 353"/>
                <a:gd name="T50" fmla="*/ 273 w 353"/>
                <a:gd name="T51" fmla="*/ 32 h 353"/>
                <a:gd name="T52" fmla="*/ 273 w 353"/>
                <a:gd name="T53" fmla="*/ 93 h 353"/>
                <a:gd name="T54" fmla="*/ 241 w 353"/>
                <a:gd name="T55" fmla="*/ 61 h 353"/>
                <a:gd name="T56" fmla="*/ 241 w 353"/>
                <a:gd name="T57" fmla="*/ 32 h 353"/>
                <a:gd name="T58" fmla="*/ 128 w 353"/>
                <a:gd name="T59" fmla="*/ 337 h 353"/>
                <a:gd name="T60" fmla="*/ 64 w 353"/>
                <a:gd name="T61" fmla="*/ 337 h 353"/>
                <a:gd name="T62" fmla="*/ 64 w 353"/>
                <a:gd name="T63" fmla="*/ 321 h 353"/>
                <a:gd name="T64" fmla="*/ 128 w 353"/>
                <a:gd name="T65" fmla="*/ 321 h 353"/>
                <a:gd name="T66" fmla="*/ 128 w 353"/>
                <a:gd name="T67" fmla="*/ 337 h 353"/>
                <a:gd name="T68" fmla="*/ 209 w 353"/>
                <a:gd name="T69" fmla="*/ 337 h 353"/>
                <a:gd name="T70" fmla="*/ 144 w 353"/>
                <a:gd name="T71" fmla="*/ 337 h 353"/>
                <a:gd name="T72" fmla="*/ 144 w 353"/>
                <a:gd name="T73" fmla="*/ 208 h 353"/>
                <a:gd name="T74" fmla="*/ 209 w 353"/>
                <a:gd name="T75" fmla="*/ 208 h 353"/>
                <a:gd name="T76" fmla="*/ 209 w 353"/>
                <a:gd name="T77" fmla="*/ 337 h 353"/>
                <a:gd name="T78" fmla="*/ 289 w 353"/>
                <a:gd name="T79" fmla="*/ 337 h 353"/>
                <a:gd name="T80" fmla="*/ 225 w 353"/>
                <a:gd name="T81" fmla="*/ 337 h 353"/>
                <a:gd name="T82" fmla="*/ 225 w 353"/>
                <a:gd name="T83" fmla="*/ 321 h 353"/>
                <a:gd name="T84" fmla="*/ 289 w 353"/>
                <a:gd name="T85" fmla="*/ 321 h 353"/>
                <a:gd name="T86" fmla="*/ 289 w 353"/>
                <a:gd name="T87" fmla="*/ 337 h 353"/>
                <a:gd name="T88" fmla="*/ 289 w 353"/>
                <a:gd name="T89" fmla="*/ 305 h 353"/>
                <a:gd name="T90" fmla="*/ 225 w 353"/>
                <a:gd name="T91" fmla="*/ 305 h 353"/>
                <a:gd name="T92" fmla="*/ 225 w 353"/>
                <a:gd name="T93" fmla="*/ 200 h 353"/>
                <a:gd name="T94" fmla="*/ 217 w 353"/>
                <a:gd name="T95" fmla="*/ 192 h 353"/>
                <a:gd name="T96" fmla="*/ 136 w 353"/>
                <a:gd name="T97" fmla="*/ 192 h 353"/>
                <a:gd name="T98" fmla="*/ 128 w 353"/>
                <a:gd name="T99" fmla="*/ 200 h 353"/>
                <a:gd name="T100" fmla="*/ 128 w 353"/>
                <a:gd name="T101" fmla="*/ 305 h 353"/>
                <a:gd name="T102" fmla="*/ 64 w 353"/>
                <a:gd name="T103" fmla="*/ 305 h 353"/>
                <a:gd name="T104" fmla="*/ 64 w 353"/>
                <a:gd name="T105" fmla="*/ 132 h 353"/>
                <a:gd name="T106" fmla="*/ 177 w 353"/>
                <a:gd name="T107" fmla="*/ 19 h 353"/>
                <a:gd name="T108" fmla="*/ 289 w 353"/>
                <a:gd name="T109" fmla="*/ 132 h 353"/>
                <a:gd name="T110" fmla="*/ 289 w 353"/>
                <a:gd name="T111" fmla="*/ 305 h 353"/>
                <a:gd name="T112" fmla="*/ 185 w 353"/>
                <a:gd name="T113" fmla="*/ 289 h 353"/>
                <a:gd name="T114" fmla="*/ 193 w 353"/>
                <a:gd name="T115" fmla="*/ 281 h 353"/>
                <a:gd name="T116" fmla="*/ 185 w 353"/>
                <a:gd name="T117" fmla="*/ 273 h 353"/>
                <a:gd name="T118" fmla="*/ 177 w 353"/>
                <a:gd name="T119" fmla="*/ 281 h 353"/>
                <a:gd name="T120" fmla="*/ 185 w 353"/>
                <a:gd name="T121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53">
                  <a:moveTo>
                    <a:pt x="351" y="171"/>
                  </a:moveTo>
                  <a:cubicBezTo>
                    <a:pt x="289" y="109"/>
                    <a:pt x="289" y="109"/>
                    <a:pt x="289" y="109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85" y="16"/>
                    <a:pt x="281" y="16"/>
                  </a:cubicBezTo>
                  <a:cubicBezTo>
                    <a:pt x="233" y="16"/>
                    <a:pt x="233" y="16"/>
                    <a:pt x="233" y="16"/>
                  </a:cubicBezTo>
                  <a:cubicBezTo>
                    <a:pt x="228" y="16"/>
                    <a:pt x="225" y="19"/>
                    <a:pt x="225" y="24"/>
                  </a:cubicBezTo>
                  <a:cubicBezTo>
                    <a:pt x="225" y="45"/>
                    <a:pt x="225" y="45"/>
                    <a:pt x="225" y="45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1" y="1"/>
                    <a:pt x="179" y="0"/>
                    <a:pt x="177" y="0"/>
                  </a:cubicBezTo>
                  <a:cubicBezTo>
                    <a:pt x="174" y="0"/>
                    <a:pt x="172" y="1"/>
                    <a:pt x="171" y="2"/>
                  </a:cubicBezTo>
                  <a:cubicBezTo>
                    <a:pt x="2" y="171"/>
                    <a:pt x="2" y="171"/>
                    <a:pt x="2" y="171"/>
                  </a:cubicBezTo>
                  <a:cubicBezTo>
                    <a:pt x="1" y="172"/>
                    <a:pt x="0" y="174"/>
                    <a:pt x="0" y="176"/>
                  </a:cubicBezTo>
                  <a:cubicBezTo>
                    <a:pt x="0" y="181"/>
                    <a:pt x="3" y="184"/>
                    <a:pt x="8" y="184"/>
                  </a:cubicBezTo>
                  <a:cubicBezTo>
                    <a:pt x="10" y="184"/>
                    <a:pt x="12" y="184"/>
                    <a:pt x="14" y="18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8" y="345"/>
                    <a:pt x="48" y="345"/>
                    <a:pt x="48" y="345"/>
                  </a:cubicBezTo>
                  <a:cubicBezTo>
                    <a:pt x="48" y="349"/>
                    <a:pt x="52" y="353"/>
                    <a:pt x="56" y="353"/>
                  </a:cubicBezTo>
                  <a:cubicBezTo>
                    <a:pt x="297" y="353"/>
                    <a:pt x="297" y="353"/>
                    <a:pt x="297" y="353"/>
                  </a:cubicBezTo>
                  <a:cubicBezTo>
                    <a:pt x="301" y="353"/>
                    <a:pt x="305" y="349"/>
                    <a:pt x="305" y="345"/>
                  </a:cubicBezTo>
                  <a:cubicBezTo>
                    <a:pt x="305" y="148"/>
                    <a:pt x="305" y="148"/>
                    <a:pt x="305" y="148"/>
                  </a:cubicBezTo>
                  <a:cubicBezTo>
                    <a:pt x="339" y="182"/>
                    <a:pt x="339" y="182"/>
                    <a:pt x="339" y="182"/>
                  </a:cubicBezTo>
                  <a:cubicBezTo>
                    <a:pt x="341" y="184"/>
                    <a:pt x="343" y="184"/>
                    <a:pt x="345" y="184"/>
                  </a:cubicBezTo>
                  <a:cubicBezTo>
                    <a:pt x="350" y="184"/>
                    <a:pt x="353" y="181"/>
                    <a:pt x="353" y="176"/>
                  </a:cubicBezTo>
                  <a:cubicBezTo>
                    <a:pt x="353" y="174"/>
                    <a:pt x="352" y="172"/>
                    <a:pt x="351" y="171"/>
                  </a:cubicBezTo>
                  <a:moveTo>
                    <a:pt x="241" y="32"/>
                  </a:moveTo>
                  <a:cubicBezTo>
                    <a:pt x="273" y="32"/>
                    <a:pt x="273" y="32"/>
                    <a:pt x="273" y="32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41" y="61"/>
                    <a:pt x="241" y="61"/>
                    <a:pt x="241" y="61"/>
                  </a:cubicBezTo>
                  <a:lnTo>
                    <a:pt x="241" y="32"/>
                  </a:lnTo>
                  <a:close/>
                  <a:moveTo>
                    <a:pt x="128" y="337"/>
                  </a:moveTo>
                  <a:cubicBezTo>
                    <a:pt x="64" y="337"/>
                    <a:pt x="64" y="337"/>
                    <a:pt x="64" y="337"/>
                  </a:cubicBezTo>
                  <a:cubicBezTo>
                    <a:pt x="64" y="321"/>
                    <a:pt x="64" y="321"/>
                    <a:pt x="64" y="321"/>
                  </a:cubicBezTo>
                  <a:cubicBezTo>
                    <a:pt x="128" y="321"/>
                    <a:pt x="128" y="321"/>
                    <a:pt x="128" y="321"/>
                  </a:cubicBezTo>
                  <a:lnTo>
                    <a:pt x="128" y="337"/>
                  </a:lnTo>
                  <a:close/>
                  <a:moveTo>
                    <a:pt x="209" y="337"/>
                  </a:moveTo>
                  <a:cubicBezTo>
                    <a:pt x="144" y="337"/>
                    <a:pt x="144" y="337"/>
                    <a:pt x="144" y="337"/>
                  </a:cubicBezTo>
                  <a:cubicBezTo>
                    <a:pt x="144" y="208"/>
                    <a:pt x="144" y="208"/>
                    <a:pt x="144" y="208"/>
                  </a:cubicBezTo>
                  <a:cubicBezTo>
                    <a:pt x="209" y="208"/>
                    <a:pt x="209" y="208"/>
                    <a:pt x="209" y="208"/>
                  </a:cubicBezTo>
                  <a:lnTo>
                    <a:pt x="209" y="337"/>
                  </a:lnTo>
                  <a:close/>
                  <a:moveTo>
                    <a:pt x="289" y="337"/>
                  </a:moveTo>
                  <a:cubicBezTo>
                    <a:pt x="225" y="337"/>
                    <a:pt x="225" y="337"/>
                    <a:pt x="225" y="337"/>
                  </a:cubicBezTo>
                  <a:cubicBezTo>
                    <a:pt x="225" y="321"/>
                    <a:pt x="225" y="321"/>
                    <a:pt x="225" y="321"/>
                  </a:cubicBezTo>
                  <a:cubicBezTo>
                    <a:pt x="289" y="321"/>
                    <a:pt x="289" y="321"/>
                    <a:pt x="289" y="321"/>
                  </a:cubicBezTo>
                  <a:lnTo>
                    <a:pt x="289" y="337"/>
                  </a:lnTo>
                  <a:close/>
                  <a:moveTo>
                    <a:pt x="289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200"/>
                    <a:pt x="225" y="200"/>
                    <a:pt x="225" y="200"/>
                  </a:cubicBezTo>
                  <a:cubicBezTo>
                    <a:pt x="225" y="196"/>
                    <a:pt x="221" y="192"/>
                    <a:pt x="217" y="192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2" y="192"/>
                    <a:pt x="128" y="196"/>
                    <a:pt x="128" y="200"/>
                  </a:cubicBezTo>
                  <a:cubicBezTo>
                    <a:pt x="128" y="305"/>
                    <a:pt x="128" y="305"/>
                    <a:pt x="128" y="305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64" y="132"/>
                    <a:pt x="64" y="132"/>
                    <a:pt x="64" y="132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289" y="132"/>
                    <a:pt x="289" y="132"/>
                    <a:pt x="289" y="132"/>
                  </a:cubicBezTo>
                  <a:lnTo>
                    <a:pt x="289" y="305"/>
                  </a:lnTo>
                  <a:close/>
                  <a:moveTo>
                    <a:pt x="185" y="289"/>
                  </a:moveTo>
                  <a:cubicBezTo>
                    <a:pt x="189" y="289"/>
                    <a:pt x="193" y="285"/>
                    <a:pt x="193" y="281"/>
                  </a:cubicBezTo>
                  <a:cubicBezTo>
                    <a:pt x="193" y="276"/>
                    <a:pt x="189" y="273"/>
                    <a:pt x="185" y="273"/>
                  </a:cubicBezTo>
                  <a:cubicBezTo>
                    <a:pt x="180" y="273"/>
                    <a:pt x="177" y="276"/>
                    <a:pt x="177" y="281"/>
                  </a:cubicBezTo>
                  <a:cubicBezTo>
                    <a:pt x="177" y="285"/>
                    <a:pt x="180" y="289"/>
                    <a:pt x="185" y="2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7435783" y="3029035"/>
              <a:ext cx="258896" cy="259843"/>
            </a:xfrm>
            <a:custGeom>
              <a:avLst/>
              <a:gdLst>
                <a:gd name="T0" fmla="*/ 176 w 353"/>
                <a:gd name="T1" fmla="*/ 0 h 354"/>
                <a:gd name="T2" fmla="*/ 0 w 353"/>
                <a:gd name="T3" fmla="*/ 177 h 354"/>
                <a:gd name="T4" fmla="*/ 176 w 353"/>
                <a:gd name="T5" fmla="*/ 354 h 354"/>
                <a:gd name="T6" fmla="*/ 353 w 353"/>
                <a:gd name="T7" fmla="*/ 177 h 354"/>
                <a:gd name="T8" fmla="*/ 176 w 353"/>
                <a:gd name="T9" fmla="*/ 0 h 354"/>
                <a:gd name="T10" fmla="*/ 176 w 353"/>
                <a:gd name="T11" fmla="*/ 16 h 354"/>
                <a:gd name="T12" fmla="*/ 284 w 353"/>
                <a:gd name="T13" fmla="*/ 58 h 354"/>
                <a:gd name="T14" fmla="*/ 244 w 353"/>
                <a:gd name="T15" fmla="*/ 98 h 354"/>
                <a:gd name="T16" fmla="*/ 176 w 353"/>
                <a:gd name="T17" fmla="*/ 73 h 354"/>
                <a:gd name="T18" fmla="*/ 108 w 353"/>
                <a:gd name="T19" fmla="*/ 98 h 354"/>
                <a:gd name="T20" fmla="*/ 69 w 353"/>
                <a:gd name="T21" fmla="*/ 58 h 354"/>
                <a:gd name="T22" fmla="*/ 176 w 353"/>
                <a:gd name="T23" fmla="*/ 16 h 354"/>
                <a:gd name="T24" fmla="*/ 264 w 353"/>
                <a:gd name="T25" fmla="*/ 177 h 354"/>
                <a:gd name="T26" fmla="*/ 176 w 353"/>
                <a:gd name="T27" fmla="*/ 265 h 354"/>
                <a:gd name="T28" fmla="*/ 88 w 353"/>
                <a:gd name="T29" fmla="*/ 177 h 354"/>
                <a:gd name="T30" fmla="*/ 176 w 353"/>
                <a:gd name="T31" fmla="*/ 89 h 354"/>
                <a:gd name="T32" fmla="*/ 264 w 353"/>
                <a:gd name="T33" fmla="*/ 177 h 354"/>
                <a:gd name="T34" fmla="*/ 16 w 353"/>
                <a:gd name="T35" fmla="*/ 177 h 354"/>
                <a:gd name="T36" fmla="*/ 57 w 353"/>
                <a:gd name="T37" fmla="*/ 69 h 354"/>
                <a:gd name="T38" fmla="*/ 97 w 353"/>
                <a:gd name="T39" fmla="*/ 109 h 354"/>
                <a:gd name="T40" fmla="*/ 72 w 353"/>
                <a:gd name="T41" fmla="*/ 177 h 354"/>
                <a:gd name="T42" fmla="*/ 97 w 353"/>
                <a:gd name="T43" fmla="*/ 245 h 354"/>
                <a:gd name="T44" fmla="*/ 57 w 353"/>
                <a:gd name="T45" fmla="*/ 285 h 354"/>
                <a:gd name="T46" fmla="*/ 16 w 353"/>
                <a:gd name="T47" fmla="*/ 177 h 354"/>
                <a:gd name="T48" fmla="*/ 176 w 353"/>
                <a:gd name="T49" fmla="*/ 338 h 354"/>
                <a:gd name="T50" fmla="*/ 69 w 353"/>
                <a:gd name="T51" fmla="*/ 296 h 354"/>
                <a:gd name="T52" fmla="*/ 108 w 353"/>
                <a:gd name="T53" fmla="*/ 256 h 354"/>
                <a:gd name="T54" fmla="*/ 176 w 353"/>
                <a:gd name="T55" fmla="*/ 281 h 354"/>
                <a:gd name="T56" fmla="*/ 244 w 353"/>
                <a:gd name="T57" fmla="*/ 256 h 354"/>
                <a:gd name="T58" fmla="*/ 284 w 353"/>
                <a:gd name="T59" fmla="*/ 296 h 354"/>
                <a:gd name="T60" fmla="*/ 176 w 353"/>
                <a:gd name="T61" fmla="*/ 338 h 354"/>
                <a:gd name="T62" fmla="*/ 295 w 353"/>
                <a:gd name="T63" fmla="*/ 285 h 354"/>
                <a:gd name="T64" fmla="*/ 255 w 353"/>
                <a:gd name="T65" fmla="*/ 245 h 354"/>
                <a:gd name="T66" fmla="*/ 281 w 353"/>
                <a:gd name="T67" fmla="*/ 177 h 354"/>
                <a:gd name="T68" fmla="*/ 255 w 353"/>
                <a:gd name="T69" fmla="*/ 109 h 354"/>
                <a:gd name="T70" fmla="*/ 295 w 353"/>
                <a:gd name="T71" fmla="*/ 69 h 354"/>
                <a:gd name="T72" fmla="*/ 337 w 353"/>
                <a:gd name="T73" fmla="*/ 177 h 354"/>
                <a:gd name="T74" fmla="*/ 295 w 353"/>
                <a:gd name="T75" fmla="*/ 285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4">
                  <a:moveTo>
                    <a:pt x="176" y="0"/>
                  </a:moveTo>
                  <a:cubicBezTo>
                    <a:pt x="79" y="0"/>
                    <a:pt x="0" y="79"/>
                    <a:pt x="0" y="177"/>
                  </a:cubicBezTo>
                  <a:cubicBezTo>
                    <a:pt x="0" y="275"/>
                    <a:pt x="79" y="354"/>
                    <a:pt x="176" y="354"/>
                  </a:cubicBezTo>
                  <a:cubicBezTo>
                    <a:pt x="274" y="354"/>
                    <a:pt x="353" y="275"/>
                    <a:pt x="353" y="177"/>
                  </a:cubicBezTo>
                  <a:cubicBezTo>
                    <a:pt x="353" y="79"/>
                    <a:pt x="274" y="0"/>
                    <a:pt x="176" y="0"/>
                  </a:cubicBezTo>
                  <a:moveTo>
                    <a:pt x="176" y="16"/>
                  </a:moveTo>
                  <a:cubicBezTo>
                    <a:pt x="218" y="16"/>
                    <a:pt x="255" y="32"/>
                    <a:pt x="284" y="58"/>
                  </a:cubicBezTo>
                  <a:cubicBezTo>
                    <a:pt x="244" y="98"/>
                    <a:pt x="244" y="98"/>
                    <a:pt x="244" y="98"/>
                  </a:cubicBezTo>
                  <a:cubicBezTo>
                    <a:pt x="226" y="82"/>
                    <a:pt x="202" y="73"/>
                    <a:pt x="176" y="73"/>
                  </a:cubicBezTo>
                  <a:cubicBezTo>
                    <a:pt x="150" y="73"/>
                    <a:pt x="127" y="82"/>
                    <a:pt x="108" y="9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97" y="32"/>
                    <a:pt x="135" y="16"/>
                    <a:pt x="176" y="16"/>
                  </a:cubicBezTo>
                  <a:moveTo>
                    <a:pt x="264" y="177"/>
                  </a:moveTo>
                  <a:cubicBezTo>
                    <a:pt x="264" y="226"/>
                    <a:pt x="225" y="265"/>
                    <a:pt x="176" y="265"/>
                  </a:cubicBezTo>
                  <a:cubicBezTo>
                    <a:pt x="127" y="265"/>
                    <a:pt x="88" y="226"/>
                    <a:pt x="88" y="177"/>
                  </a:cubicBezTo>
                  <a:cubicBezTo>
                    <a:pt x="88" y="128"/>
                    <a:pt x="127" y="89"/>
                    <a:pt x="176" y="89"/>
                  </a:cubicBezTo>
                  <a:cubicBezTo>
                    <a:pt x="225" y="89"/>
                    <a:pt x="264" y="128"/>
                    <a:pt x="264" y="177"/>
                  </a:cubicBezTo>
                  <a:moveTo>
                    <a:pt x="16" y="177"/>
                  </a:moveTo>
                  <a:cubicBezTo>
                    <a:pt x="16" y="136"/>
                    <a:pt x="31" y="98"/>
                    <a:pt x="57" y="69"/>
                  </a:cubicBezTo>
                  <a:cubicBezTo>
                    <a:pt x="97" y="109"/>
                    <a:pt x="97" y="109"/>
                    <a:pt x="97" y="109"/>
                  </a:cubicBezTo>
                  <a:cubicBezTo>
                    <a:pt x="81" y="127"/>
                    <a:pt x="72" y="151"/>
                    <a:pt x="72" y="177"/>
                  </a:cubicBezTo>
                  <a:cubicBezTo>
                    <a:pt x="72" y="203"/>
                    <a:pt x="81" y="227"/>
                    <a:pt x="97" y="245"/>
                  </a:cubicBezTo>
                  <a:cubicBezTo>
                    <a:pt x="57" y="285"/>
                    <a:pt x="57" y="285"/>
                    <a:pt x="57" y="285"/>
                  </a:cubicBezTo>
                  <a:cubicBezTo>
                    <a:pt x="31" y="256"/>
                    <a:pt x="16" y="218"/>
                    <a:pt x="16" y="177"/>
                  </a:cubicBezTo>
                  <a:moveTo>
                    <a:pt x="176" y="338"/>
                  </a:moveTo>
                  <a:cubicBezTo>
                    <a:pt x="135" y="338"/>
                    <a:pt x="97" y="322"/>
                    <a:pt x="69" y="296"/>
                  </a:cubicBezTo>
                  <a:cubicBezTo>
                    <a:pt x="108" y="256"/>
                    <a:pt x="108" y="256"/>
                    <a:pt x="108" y="256"/>
                  </a:cubicBezTo>
                  <a:cubicBezTo>
                    <a:pt x="127" y="272"/>
                    <a:pt x="150" y="281"/>
                    <a:pt x="176" y="281"/>
                  </a:cubicBezTo>
                  <a:cubicBezTo>
                    <a:pt x="202" y="281"/>
                    <a:pt x="226" y="272"/>
                    <a:pt x="244" y="256"/>
                  </a:cubicBezTo>
                  <a:cubicBezTo>
                    <a:pt x="284" y="296"/>
                    <a:pt x="284" y="296"/>
                    <a:pt x="284" y="296"/>
                  </a:cubicBezTo>
                  <a:cubicBezTo>
                    <a:pt x="255" y="322"/>
                    <a:pt x="218" y="338"/>
                    <a:pt x="176" y="338"/>
                  </a:cubicBezTo>
                  <a:moveTo>
                    <a:pt x="295" y="285"/>
                  </a:moveTo>
                  <a:cubicBezTo>
                    <a:pt x="255" y="245"/>
                    <a:pt x="255" y="245"/>
                    <a:pt x="255" y="245"/>
                  </a:cubicBezTo>
                  <a:cubicBezTo>
                    <a:pt x="271" y="227"/>
                    <a:pt x="281" y="203"/>
                    <a:pt x="281" y="177"/>
                  </a:cubicBezTo>
                  <a:cubicBezTo>
                    <a:pt x="281" y="151"/>
                    <a:pt x="271" y="127"/>
                    <a:pt x="255" y="109"/>
                  </a:cubicBezTo>
                  <a:cubicBezTo>
                    <a:pt x="295" y="69"/>
                    <a:pt x="295" y="69"/>
                    <a:pt x="295" y="69"/>
                  </a:cubicBezTo>
                  <a:cubicBezTo>
                    <a:pt x="321" y="98"/>
                    <a:pt x="337" y="136"/>
                    <a:pt x="337" y="177"/>
                  </a:cubicBezTo>
                  <a:cubicBezTo>
                    <a:pt x="337" y="218"/>
                    <a:pt x="321" y="256"/>
                    <a:pt x="295" y="28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440296" y="3051795"/>
              <a:ext cx="258896" cy="237083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13174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Linha</a:t>
            </a:r>
            <a:r>
              <a:rPr lang="en-US" dirty="0"/>
              <a:t> do </a:t>
            </a:r>
            <a:r>
              <a:rPr lang="en-US" dirty="0">
                <a:solidFill>
                  <a:srgbClr val="EC0000"/>
                </a:solidFill>
              </a:rPr>
              <a:t>tempo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cxnSp>
        <p:nvCxnSpPr>
          <p:cNvPr id="20" name="Straight Connector 19"/>
          <p:cNvCxnSpPr>
            <a:stCxn id="29" idx="6"/>
            <a:endCxn id="24" idx="2"/>
          </p:cNvCxnSpPr>
          <p:nvPr/>
        </p:nvCxnSpPr>
        <p:spPr>
          <a:xfrm>
            <a:off x="1930085" y="3979880"/>
            <a:ext cx="2574349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24" idx="6"/>
            <a:endCxn id="34" idx="2"/>
          </p:cNvCxnSpPr>
          <p:nvPr/>
        </p:nvCxnSpPr>
        <p:spPr>
          <a:xfrm flipV="1">
            <a:off x="4639564" y="3979880"/>
            <a:ext cx="2574350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4008841" y="4121211"/>
            <a:ext cx="112631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7</a:t>
            </a:r>
          </a:p>
        </p:txBody>
      </p:sp>
      <p:sp>
        <p:nvSpPr>
          <p:cNvPr id="24" name="Oval 23"/>
          <p:cNvSpPr/>
          <p:nvPr/>
        </p:nvSpPr>
        <p:spPr>
          <a:xfrm>
            <a:off x="4504434" y="3912315"/>
            <a:ext cx="135131" cy="135131"/>
          </a:xfrm>
          <a:prstGeom prst="ellipse">
            <a:avLst/>
          </a:prstGeom>
          <a:noFill/>
          <a:ln w="28575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8" name="TextBox 27"/>
          <p:cNvSpPr txBox="1"/>
          <p:nvPr/>
        </p:nvSpPr>
        <p:spPr>
          <a:xfrm>
            <a:off x="1299361" y="4121211"/>
            <a:ext cx="112631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5</a:t>
            </a:r>
          </a:p>
        </p:txBody>
      </p:sp>
      <p:sp>
        <p:nvSpPr>
          <p:cNvPr id="29" name="Oval 28"/>
          <p:cNvSpPr/>
          <p:nvPr/>
        </p:nvSpPr>
        <p:spPr>
          <a:xfrm>
            <a:off x="1794954" y="3912315"/>
            <a:ext cx="135131" cy="135131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" name="Group 1"/>
          <p:cNvGrpSpPr/>
          <p:nvPr/>
        </p:nvGrpSpPr>
        <p:grpSpPr>
          <a:xfrm>
            <a:off x="1036565" y="1755360"/>
            <a:ext cx="1650880" cy="2036844"/>
            <a:chOff x="1036565" y="1755360"/>
            <a:chExt cx="1650880" cy="2036844"/>
          </a:xfrm>
        </p:grpSpPr>
        <p:sp>
          <p:nvSpPr>
            <p:cNvPr id="37" name="Freeform 36"/>
            <p:cNvSpPr/>
            <p:nvPr/>
          </p:nvSpPr>
          <p:spPr>
            <a:xfrm>
              <a:off x="1036565" y="1755360"/>
              <a:ext cx="1650880" cy="2036844"/>
            </a:xfrm>
            <a:custGeom>
              <a:avLst/>
              <a:gdLst>
                <a:gd name="connsiteX0" fmla="*/ 785315 w 1564015"/>
                <a:gd name="connsiteY0" fmla="*/ 7 h 1929673"/>
                <a:gd name="connsiteX1" fmla="*/ 1337304 w 1564015"/>
                <a:gd name="connsiteY1" fmla="*/ 226711 h 1929673"/>
                <a:gd name="connsiteX2" fmla="*/ 1337304 w 1564015"/>
                <a:gd name="connsiteY2" fmla="*/ 226712 h 1929673"/>
                <a:gd name="connsiteX3" fmla="*/ 1332627 w 1564015"/>
                <a:gd name="connsiteY3" fmla="*/ 1332628 h 1929673"/>
                <a:gd name="connsiteX4" fmla="*/ 777155 w 1564015"/>
                <a:gd name="connsiteY4" fmla="*/ 1929673 h 1929673"/>
                <a:gd name="connsiteX5" fmla="*/ 226711 w 1564015"/>
                <a:gd name="connsiteY5" fmla="*/ 1337305 h 1929673"/>
                <a:gd name="connsiteX6" fmla="*/ 231388 w 1564015"/>
                <a:gd name="connsiteY6" fmla="*/ 231388 h 1929673"/>
                <a:gd name="connsiteX7" fmla="*/ 785315 w 1564015"/>
                <a:gd name="connsiteY7" fmla="*/ 7 h 19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4015" h="1929673">
                  <a:moveTo>
                    <a:pt x="785315" y="7"/>
                  </a:moveTo>
                  <a:cubicBezTo>
                    <a:pt x="985446" y="-840"/>
                    <a:pt x="1185255" y="74662"/>
                    <a:pt x="1337304" y="226711"/>
                  </a:cubicBezTo>
                  <a:lnTo>
                    <a:pt x="1337304" y="226712"/>
                  </a:lnTo>
                  <a:cubicBezTo>
                    <a:pt x="1641403" y="530811"/>
                    <a:pt x="1639309" y="1025946"/>
                    <a:pt x="1332627" y="1332628"/>
                  </a:cubicBezTo>
                  <a:cubicBezTo>
                    <a:pt x="1140540" y="1524715"/>
                    <a:pt x="955384" y="1723729"/>
                    <a:pt x="777155" y="1929673"/>
                  </a:cubicBezTo>
                  <a:cubicBezTo>
                    <a:pt x="600661" y="1725230"/>
                    <a:pt x="417179" y="1527773"/>
                    <a:pt x="226711" y="1337305"/>
                  </a:cubicBezTo>
                  <a:cubicBezTo>
                    <a:pt x="-77388" y="1033205"/>
                    <a:pt x="-75294" y="538070"/>
                    <a:pt x="231388" y="231388"/>
                  </a:cubicBezTo>
                  <a:cubicBezTo>
                    <a:pt x="384729" y="78047"/>
                    <a:pt x="585183" y="853"/>
                    <a:pt x="785315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1268054" y="2535148"/>
              <a:ext cx="1188932" cy="4801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268054" y="2313435"/>
              <a:ext cx="118893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stabelecido</a:t>
              </a:r>
              <a:endPara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6718321" y="4121211"/>
            <a:ext cx="112631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2018</a:t>
            </a:r>
          </a:p>
        </p:txBody>
      </p:sp>
      <p:sp>
        <p:nvSpPr>
          <p:cNvPr id="34" name="Oval 33"/>
          <p:cNvSpPr/>
          <p:nvPr/>
        </p:nvSpPr>
        <p:spPr>
          <a:xfrm>
            <a:off x="7213914" y="3912315"/>
            <a:ext cx="135131" cy="135131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6456039" y="1755360"/>
            <a:ext cx="1650880" cy="2036844"/>
            <a:chOff x="6456039" y="1755360"/>
            <a:chExt cx="1650880" cy="2036844"/>
          </a:xfrm>
        </p:grpSpPr>
        <p:sp>
          <p:nvSpPr>
            <p:cNvPr id="39" name="Freeform 38"/>
            <p:cNvSpPr/>
            <p:nvPr/>
          </p:nvSpPr>
          <p:spPr>
            <a:xfrm>
              <a:off x="6456039" y="1755360"/>
              <a:ext cx="1650880" cy="2036844"/>
            </a:xfrm>
            <a:custGeom>
              <a:avLst/>
              <a:gdLst>
                <a:gd name="connsiteX0" fmla="*/ 785315 w 1564015"/>
                <a:gd name="connsiteY0" fmla="*/ 7 h 1929673"/>
                <a:gd name="connsiteX1" fmla="*/ 1337304 w 1564015"/>
                <a:gd name="connsiteY1" fmla="*/ 226711 h 1929673"/>
                <a:gd name="connsiteX2" fmla="*/ 1337304 w 1564015"/>
                <a:gd name="connsiteY2" fmla="*/ 226712 h 1929673"/>
                <a:gd name="connsiteX3" fmla="*/ 1332627 w 1564015"/>
                <a:gd name="connsiteY3" fmla="*/ 1332628 h 1929673"/>
                <a:gd name="connsiteX4" fmla="*/ 777155 w 1564015"/>
                <a:gd name="connsiteY4" fmla="*/ 1929673 h 1929673"/>
                <a:gd name="connsiteX5" fmla="*/ 226711 w 1564015"/>
                <a:gd name="connsiteY5" fmla="*/ 1337305 h 1929673"/>
                <a:gd name="connsiteX6" fmla="*/ 231388 w 1564015"/>
                <a:gd name="connsiteY6" fmla="*/ 231388 h 1929673"/>
                <a:gd name="connsiteX7" fmla="*/ 785315 w 1564015"/>
                <a:gd name="connsiteY7" fmla="*/ 7 h 19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4015" h="1929673">
                  <a:moveTo>
                    <a:pt x="785315" y="7"/>
                  </a:moveTo>
                  <a:cubicBezTo>
                    <a:pt x="985446" y="-840"/>
                    <a:pt x="1185255" y="74662"/>
                    <a:pt x="1337304" y="226711"/>
                  </a:cubicBezTo>
                  <a:lnTo>
                    <a:pt x="1337304" y="226712"/>
                  </a:lnTo>
                  <a:cubicBezTo>
                    <a:pt x="1641403" y="530811"/>
                    <a:pt x="1639309" y="1025946"/>
                    <a:pt x="1332627" y="1332628"/>
                  </a:cubicBezTo>
                  <a:cubicBezTo>
                    <a:pt x="1140540" y="1524715"/>
                    <a:pt x="955384" y="1723729"/>
                    <a:pt x="777155" y="1929673"/>
                  </a:cubicBezTo>
                  <a:cubicBezTo>
                    <a:pt x="600661" y="1725230"/>
                    <a:pt x="417179" y="1527773"/>
                    <a:pt x="226711" y="1337305"/>
                  </a:cubicBezTo>
                  <a:cubicBezTo>
                    <a:pt x="-77388" y="1033205"/>
                    <a:pt x="-75294" y="538070"/>
                    <a:pt x="231388" y="231388"/>
                  </a:cubicBezTo>
                  <a:cubicBezTo>
                    <a:pt x="384729" y="78047"/>
                    <a:pt x="585183" y="853"/>
                    <a:pt x="785315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687528" y="2535148"/>
              <a:ext cx="1188932" cy="4801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6687528" y="2313435"/>
              <a:ext cx="118893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ganhos</a:t>
              </a:r>
              <a:endPara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660522" y="1543050"/>
            <a:ext cx="1822957" cy="2249154"/>
            <a:chOff x="3660522" y="1543050"/>
            <a:chExt cx="1822957" cy="2249154"/>
          </a:xfrm>
        </p:grpSpPr>
        <p:sp>
          <p:nvSpPr>
            <p:cNvPr id="46" name="Freeform 45"/>
            <p:cNvSpPr/>
            <p:nvPr/>
          </p:nvSpPr>
          <p:spPr>
            <a:xfrm>
              <a:off x="3660522" y="1543050"/>
              <a:ext cx="1822957" cy="2249154"/>
            </a:xfrm>
            <a:custGeom>
              <a:avLst/>
              <a:gdLst>
                <a:gd name="connsiteX0" fmla="*/ 785315 w 1564015"/>
                <a:gd name="connsiteY0" fmla="*/ 7 h 1929673"/>
                <a:gd name="connsiteX1" fmla="*/ 1337304 w 1564015"/>
                <a:gd name="connsiteY1" fmla="*/ 226711 h 1929673"/>
                <a:gd name="connsiteX2" fmla="*/ 1337304 w 1564015"/>
                <a:gd name="connsiteY2" fmla="*/ 226712 h 1929673"/>
                <a:gd name="connsiteX3" fmla="*/ 1332627 w 1564015"/>
                <a:gd name="connsiteY3" fmla="*/ 1332628 h 1929673"/>
                <a:gd name="connsiteX4" fmla="*/ 777155 w 1564015"/>
                <a:gd name="connsiteY4" fmla="*/ 1929673 h 1929673"/>
                <a:gd name="connsiteX5" fmla="*/ 226711 w 1564015"/>
                <a:gd name="connsiteY5" fmla="*/ 1337305 h 1929673"/>
                <a:gd name="connsiteX6" fmla="*/ 231388 w 1564015"/>
                <a:gd name="connsiteY6" fmla="*/ 231388 h 1929673"/>
                <a:gd name="connsiteX7" fmla="*/ 785315 w 1564015"/>
                <a:gd name="connsiteY7" fmla="*/ 7 h 192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64015" h="1929673">
                  <a:moveTo>
                    <a:pt x="785315" y="7"/>
                  </a:moveTo>
                  <a:cubicBezTo>
                    <a:pt x="985446" y="-840"/>
                    <a:pt x="1185255" y="74662"/>
                    <a:pt x="1337304" y="226711"/>
                  </a:cubicBezTo>
                  <a:lnTo>
                    <a:pt x="1337304" y="226712"/>
                  </a:lnTo>
                  <a:cubicBezTo>
                    <a:pt x="1641403" y="530811"/>
                    <a:pt x="1639309" y="1025946"/>
                    <a:pt x="1332627" y="1332628"/>
                  </a:cubicBezTo>
                  <a:cubicBezTo>
                    <a:pt x="1140540" y="1524715"/>
                    <a:pt x="955384" y="1723729"/>
                    <a:pt x="777155" y="1929673"/>
                  </a:cubicBezTo>
                  <a:cubicBezTo>
                    <a:pt x="600661" y="1725230"/>
                    <a:pt x="417179" y="1527773"/>
                    <a:pt x="226711" y="1337305"/>
                  </a:cubicBezTo>
                  <a:cubicBezTo>
                    <a:pt x="-77388" y="1033205"/>
                    <a:pt x="-75294" y="538070"/>
                    <a:pt x="231388" y="231388"/>
                  </a:cubicBezTo>
                  <a:cubicBezTo>
                    <a:pt x="384729" y="78047"/>
                    <a:pt x="585183" y="853"/>
                    <a:pt x="785315" y="7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976460" y="2313816"/>
              <a:ext cx="1188932" cy="4801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c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ellu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mmod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aore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i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me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id ligula.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976460" y="2092103"/>
              <a:ext cx="1188932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$18m </a:t>
              </a:r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evisão</a:t>
              </a:r>
              <a:endPara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41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5211233" y="760943"/>
            <a:ext cx="3318405" cy="20005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2600" b="0" cap="all" spc="5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Quisque</a:t>
            </a:r>
            <a:r>
              <a:rPr lang="en-US" sz="2600" b="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 </a:t>
            </a:r>
            <a:r>
              <a:rPr lang="en-US" sz="2600" b="0" cap="all" spc="5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eget</a:t>
            </a:r>
            <a:r>
              <a:rPr lang="en-US" sz="2600" b="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 diam </a:t>
            </a:r>
            <a:r>
              <a:rPr lang="en-US" sz="2600" b="0" cap="all" spc="5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elit</a:t>
            </a:r>
            <a:r>
              <a:rPr lang="en-US" sz="2600" b="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. </a:t>
            </a:r>
            <a:r>
              <a:rPr lang="en-US" sz="2600" b="0" cap="all" spc="5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Vivamus</a:t>
            </a:r>
            <a:r>
              <a:rPr lang="en-US" sz="2600" b="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 </a:t>
            </a:r>
            <a:r>
              <a:rPr lang="en-US" sz="2600" b="0" cap="all" spc="5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turpis</a:t>
            </a:r>
            <a:r>
              <a:rPr lang="en-US" sz="2600" b="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 nisi, </a:t>
            </a:r>
            <a:r>
              <a:rPr lang="en-US" sz="2600" b="0" cap="all" spc="50" dirty="0" err="1">
                <a:solidFill>
                  <a:srgbClr val="EC0000"/>
                </a:solidFill>
                <a:latin typeface="Lato Black" panose="020F0A02020204030203" pitchFamily="34" charset="0"/>
              </a:rPr>
              <a:t>tincidunt</a:t>
            </a:r>
            <a:r>
              <a:rPr lang="en-US" sz="2600" b="0" cap="all" spc="50" dirty="0">
                <a:solidFill>
                  <a:srgbClr val="EC0000"/>
                </a:solidFill>
                <a:latin typeface="Lato Black" panose="020F0A02020204030203" pitchFamily="34" charset="0"/>
              </a:rPr>
              <a:t> vitae </a:t>
            </a:r>
            <a:r>
              <a:rPr lang="en-US" sz="2600" b="0" cap="all" spc="50" dirty="0" err="1">
                <a:solidFill>
                  <a:srgbClr val="EC0000"/>
                </a:solidFill>
                <a:latin typeface="Lato Black" panose="020F0A02020204030203" pitchFamily="34" charset="0"/>
              </a:rPr>
              <a:t>varius</a:t>
            </a:r>
            <a:r>
              <a:rPr lang="en-US" sz="2600" b="0" cap="all" spc="50" dirty="0">
                <a:solidFill>
                  <a:srgbClr val="EC0000"/>
                </a:solidFill>
                <a:latin typeface="Lato Black" panose="020F0A02020204030203" pitchFamily="34" charset="0"/>
              </a:rPr>
              <a:t> sed, </a:t>
            </a:r>
            <a:r>
              <a:rPr lang="en-US" sz="2600" b="0" cap="all" spc="50" dirty="0" err="1">
                <a:solidFill>
                  <a:srgbClr val="EC0000"/>
                </a:solidFill>
                <a:latin typeface="Lato Black" panose="020F0A02020204030203" pitchFamily="34" charset="0"/>
              </a:rPr>
              <a:t>efficitur</a:t>
            </a:r>
            <a:r>
              <a:rPr lang="en-US" sz="2600" b="0" cap="all" spc="50" dirty="0">
                <a:solidFill>
                  <a:srgbClr val="EC0000"/>
                </a:solidFill>
                <a:latin typeface="Lato Black" panose="020F0A02020204030203" pitchFamily="34" charset="0"/>
              </a:rPr>
              <a:t> in ante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11233" y="3592147"/>
            <a:ext cx="3318405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urab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l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bend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t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apib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rcu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agna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obor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lacer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eti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5211233" y="485775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586796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72000" cy="241935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Text Placeholder 1"/>
          <p:cNvSpPr txBox="1">
            <a:spLocks/>
          </p:cNvSpPr>
          <p:nvPr/>
        </p:nvSpPr>
        <p:spPr>
          <a:xfrm>
            <a:off x="581029" y="569549"/>
            <a:ext cx="3279771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NOSSOS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SERVIÇOS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590552" y="485775"/>
            <a:ext cx="9144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 txBox="1">
            <a:spLocks/>
          </p:cNvSpPr>
          <p:nvPr/>
        </p:nvSpPr>
        <p:spPr>
          <a:xfrm>
            <a:off x="590552" y="960189"/>
            <a:ext cx="3279771" cy="14157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</a:rPr>
              <a:t>Insir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uma</a:t>
            </a:r>
            <a:r>
              <a:rPr lang="en-US" dirty="0">
                <a:solidFill>
                  <a:schemeClr val="bg1"/>
                </a:solidFill>
              </a:rPr>
              <a:t> breve </a:t>
            </a:r>
            <a:r>
              <a:rPr lang="en-US" dirty="0" err="1">
                <a:solidFill>
                  <a:schemeClr val="bg1"/>
                </a:solidFill>
              </a:rPr>
              <a:t>explicação</a:t>
            </a:r>
            <a:r>
              <a:rPr lang="en-US" dirty="0">
                <a:solidFill>
                  <a:schemeClr val="bg1"/>
                </a:solidFill>
              </a:rPr>
              <a:t> para o </a:t>
            </a:r>
            <a:r>
              <a:rPr lang="en-US" dirty="0" err="1">
                <a:solidFill>
                  <a:schemeClr val="bg1"/>
                </a:solidFill>
              </a:rPr>
              <a:t>título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Freeform 81"/>
          <p:cNvSpPr>
            <a:spLocks noEditPoints="1"/>
          </p:cNvSpPr>
          <p:nvPr/>
        </p:nvSpPr>
        <p:spPr bwMode="auto">
          <a:xfrm>
            <a:off x="593725" y="2829044"/>
            <a:ext cx="495740" cy="451999"/>
          </a:xfrm>
          <a:custGeom>
            <a:avLst/>
            <a:gdLst>
              <a:gd name="T0" fmla="*/ 345 w 353"/>
              <a:gd name="T1" fmla="*/ 273 h 321"/>
              <a:gd name="T2" fmla="*/ 192 w 353"/>
              <a:gd name="T3" fmla="*/ 273 h 321"/>
              <a:gd name="T4" fmla="*/ 152 w 353"/>
              <a:gd name="T5" fmla="*/ 241 h 321"/>
              <a:gd name="T6" fmla="*/ 113 w 353"/>
              <a:gd name="T7" fmla="*/ 273 h 321"/>
              <a:gd name="T8" fmla="*/ 8 w 353"/>
              <a:gd name="T9" fmla="*/ 273 h 321"/>
              <a:gd name="T10" fmla="*/ 0 w 353"/>
              <a:gd name="T11" fmla="*/ 281 h 321"/>
              <a:gd name="T12" fmla="*/ 8 w 353"/>
              <a:gd name="T13" fmla="*/ 289 h 321"/>
              <a:gd name="T14" fmla="*/ 113 w 353"/>
              <a:gd name="T15" fmla="*/ 289 h 321"/>
              <a:gd name="T16" fmla="*/ 152 w 353"/>
              <a:gd name="T17" fmla="*/ 321 h 321"/>
              <a:gd name="T18" fmla="*/ 192 w 353"/>
              <a:gd name="T19" fmla="*/ 289 h 321"/>
              <a:gd name="T20" fmla="*/ 345 w 353"/>
              <a:gd name="T21" fmla="*/ 289 h 321"/>
              <a:gd name="T22" fmla="*/ 353 w 353"/>
              <a:gd name="T23" fmla="*/ 281 h 321"/>
              <a:gd name="T24" fmla="*/ 345 w 353"/>
              <a:gd name="T25" fmla="*/ 273 h 321"/>
              <a:gd name="T26" fmla="*/ 152 w 353"/>
              <a:gd name="T27" fmla="*/ 305 h 321"/>
              <a:gd name="T28" fmla="*/ 128 w 353"/>
              <a:gd name="T29" fmla="*/ 281 h 321"/>
              <a:gd name="T30" fmla="*/ 152 w 353"/>
              <a:gd name="T31" fmla="*/ 257 h 321"/>
              <a:gd name="T32" fmla="*/ 177 w 353"/>
              <a:gd name="T33" fmla="*/ 281 h 321"/>
              <a:gd name="T34" fmla="*/ 152 w 353"/>
              <a:gd name="T35" fmla="*/ 305 h 321"/>
              <a:gd name="T36" fmla="*/ 8 w 353"/>
              <a:gd name="T37" fmla="*/ 48 h 321"/>
              <a:gd name="T38" fmla="*/ 49 w 353"/>
              <a:gd name="T39" fmla="*/ 48 h 321"/>
              <a:gd name="T40" fmla="*/ 88 w 353"/>
              <a:gd name="T41" fmla="*/ 80 h 321"/>
              <a:gd name="T42" fmla="*/ 128 w 353"/>
              <a:gd name="T43" fmla="*/ 48 h 321"/>
              <a:gd name="T44" fmla="*/ 345 w 353"/>
              <a:gd name="T45" fmla="*/ 48 h 321"/>
              <a:gd name="T46" fmla="*/ 353 w 353"/>
              <a:gd name="T47" fmla="*/ 40 h 321"/>
              <a:gd name="T48" fmla="*/ 345 w 353"/>
              <a:gd name="T49" fmla="*/ 32 h 321"/>
              <a:gd name="T50" fmla="*/ 128 w 353"/>
              <a:gd name="T51" fmla="*/ 32 h 321"/>
              <a:gd name="T52" fmla="*/ 88 w 353"/>
              <a:gd name="T53" fmla="*/ 0 h 321"/>
              <a:gd name="T54" fmla="*/ 49 w 353"/>
              <a:gd name="T55" fmla="*/ 32 h 321"/>
              <a:gd name="T56" fmla="*/ 8 w 353"/>
              <a:gd name="T57" fmla="*/ 32 h 321"/>
              <a:gd name="T58" fmla="*/ 0 w 353"/>
              <a:gd name="T59" fmla="*/ 40 h 321"/>
              <a:gd name="T60" fmla="*/ 8 w 353"/>
              <a:gd name="T61" fmla="*/ 48 h 321"/>
              <a:gd name="T62" fmla="*/ 88 w 353"/>
              <a:gd name="T63" fmla="*/ 16 h 321"/>
              <a:gd name="T64" fmla="*/ 112 w 353"/>
              <a:gd name="T65" fmla="*/ 40 h 321"/>
              <a:gd name="T66" fmla="*/ 88 w 353"/>
              <a:gd name="T67" fmla="*/ 64 h 321"/>
              <a:gd name="T68" fmla="*/ 64 w 353"/>
              <a:gd name="T69" fmla="*/ 40 h 321"/>
              <a:gd name="T70" fmla="*/ 88 w 353"/>
              <a:gd name="T71" fmla="*/ 16 h 321"/>
              <a:gd name="T72" fmla="*/ 345 w 353"/>
              <a:gd name="T73" fmla="*/ 152 h 321"/>
              <a:gd name="T74" fmla="*/ 320 w 353"/>
              <a:gd name="T75" fmla="*/ 152 h 321"/>
              <a:gd name="T76" fmla="*/ 281 w 353"/>
              <a:gd name="T77" fmla="*/ 120 h 321"/>
              <a:gd name="T78" fmla="*/ 242 w 353"/>
              <a:gd name="T79" fmla="*/ 152 h 321"/>
              <a:gd name="T80" fmla="*/ 8 w 353"/>
              <a:gd name="T81" fmla="*/ 152 h 321"/>
              <a:gd name="T82" fmla="*/ 0 w 353"/>
              <a:gd name="T83" fmla="*/ 160 h 321"/>
              <a:gd name="T84" fmla="*/ 8 w 353"/>
              <a:gd name="T85" fmla="*/ 168 h 321"/>
              <a:gd name="T86" fmla="*/ 242 w 353"/>
              <a:gd name="T87" fmla="*/ 168 h 321"/>
              <a:gd name="T88" fmla="*/ 281 w 353"/>
              <a:gd name="T89" fmla="*/ 201 h 321"/>
              <a:gd name="T90" fmla="*/ 320 w 353"/>
              <a:gd name="T91" fmla="*/ 168 h 321"/>
              <a:gd name="T92" fmla="*/ 345 w 353"/>
              <a:gd name="T93" fmla="*/ 168 h 321"/>
              <a:gd name="T94" fmla="*/ 353 w 353"/>
              <a:gd name="T95" fmla="*/ 160 h 321"/>
              <a:gd name="T96" fmla="*/ 345 w 353"/>
              <a:gd name="T97" fmla="*/ 152 h 321"/>
              <a:gd name="T98" fmla="*/ 281 w 353"/>
              <a:gd name="T99" fmla="*/ 184 h 321"/>
              <a:gd name="T100" fmla="*/ 257 w 353"/>
              <a:gd name="T101" fmla="*/ 160 h 321"/>
              <a:gd name="T102" fmla="*/ 281 w 353"/>
              <a:gd name="T103" fmla="*/ 136 h 321"/>
              <a:gd name="T104" fmla="*/ 305 w 353"/>
              <a:gd name="T105" fmla="*/ 160 h 321"/>
              <a:gd name="T106" fmla="*/ 281 w 353"/>
              <a:gd name="T107" fmla="*/ 184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3" h="321">
                <a:moveTo>
                  <a:pt x="345" y="273"/>
                </a:moveTo>
                <a:cubicBezTo>
                  <a:pt x="192" y="273"/>
                  <a:pt x="192" y="273"/>
                  <a:pt x="192" y="273"/>
                </a:cubicBezTo>
                <a:cubicBezTo>
                  <a:pt x="188" y="254"/>
                  <a:pt x="172" y="241"/>
                  <a:pt x="152" y="241"/>
                </a:cubicBezTo>
                <a:cubicBezTo>
                  <a:pt x="133" y="241"/>
                  <a:pt x="117" y="254"/>
                  <a:pt x="113" y="273"/>
                </a:cubicBezTo>
                <a:cubicBezTo>
                  <a:pt x="8" y="273"/>
                  <a:pt x="8" y="273"/>
                  <a:pt x="8" y="273"/>
                </a:cubicBezTo>
                <a:cubicBezTo>
                  <a:pt x="3" y="273"/>
                  <a:pt x="0" y="276"/>
                  <a:pt x="0" y="281"/>
                </a:cubicBezTo>
                <a:cubicBezTo>
                  <a:pt x="0" y="285"/>
                  <a:pt x="3" y="289"/>
                  <a:pt x="8" y="289"/>
                </a:cubicBezTo>
                <a:cubicBezTo>
                  <a:pt x="113" y="289"/>
                  <a:pt x="113" y="289"/>
                  <a:pt x="113" y="289"/>
                </a:cubicBezTo>
                <a:cubicBezTo>
                  <a:pt x="117" y="307"/>
                  <a:pt x="133" y="321"/>
                  <a:pt x="152" y="321"/>
                </a:cubicBezTo>
                <a:cubicBezTo>
                  <a:pt x="172" y="321"/>
                  <a:pt x="188" y="307"/>
                  <a:pt x="192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276"/>
                  <a:pt x="350" y="273"/>
                  <a:pt x="345" y="273"/>
                </a:cubicBezTo>
                <a:moveTo>
                  <a:pt x="152" y="305"/>
                </a:moveTo>
                <a:cubicBezTo>
                  <a:pt x="139" y="305"/>
                  <a:pt x="128" y="294"/>
                  <a:pt x="128" y="281"/>
                </a:cubicBezTo>
                <a:cubicBezTo>
                  <a:pt x="128" y="267"/>
                  <a:pt x="139" y="257"/>
                  <a:pt x="152" y="257"/>
                </a:cubicBezTo>
                <a:cubicBezTo>
                  <a:pt x="166" y="257"/>
                  <a:pt x="177" y="267"/>
                  <a:pt x="177" y="281"/>
                </a:cubicBezTo>
                <a:cubicBezTo>
                  <a:pt x="177" y="294"/>
                  <a:pt x="166" y="305"/>
                  <a:pt x="152" y="305"/>
                </a:cubicBezTo>
                <a:moveTo>
                  <a:pt x="8" y="48"/>
                </a:moveTo>
                <a:cubicBezTo>
                  <a:pt x="49" y="48"/>
                  <a:pt x="49" y="48"/>
                  <a:pt x="49" y="48"/>
                </a:cubicBezTo>
                <a:cubicBezTo>
                  <a:pt x="53" y="66"/>
                  <a:pt x="69" y="80"/>
                  <a:pt x="88" y="80"/>
                </a:cubicBezTo>
                <a:cubicBezTo>
                  <a:pt x="108" y="80"/>
                  <a:pt x="124" y="66"/>
                  <a:pt x="128" y="48"/>
                </a:cubicBezTo>
                <a:cubicBezTo>
                  <a:pt x="345" y="48"/>
                  <a:pt x="345" y="48"/>
                  <a:pt x="345" y="48"/>
                </a:cubicBezTo>
                <a:cubicBezTo>
                  <a:pt x="350" y="48"/>
                  <a:pt x="353" y="44"/>
                  <a:pt x="353" y="40"/>
                </a:cubicBezTo>
                <a:cubicBezTo>
                  <a:pt x="353" y="36"/>
                  <a:pt x="350" y="32"/>
                  <a:pt x="34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4" y="14"/>
                  <a:pt x="108" y="0"/>
                  <a:pt x="88" y="0"/>
                </a:cubicBezTo>
                <a:cubicBezTo>
                  <a:pt x="69" y="0"/>
                  <a:pt x="53" y="14"/>
                  <a:pt x="49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3" y="32"/>
                  <a:pt x="0" y="36"/>
                  <a:pt x="0" y="40"/>
                </a:cubicBezTo>
                <a:cubicBezTo>
                  <a:pt x="0" y="44"/>
                  <a:pt x="3" y="48"/>
                  <a:pt x="8" y="48"/>
                </a:cubicBezTo>
                <a:moveTo>
                  <a:pt x="88" y="16"/>
                </a:moveTo>
                <a:cubicBezTo>
                  <a:pt x="102" y="16"/>
                  <a:pt x="112" y="27"/>
                  <a:pt x="112" y="40"/>
                </a:cubicBezTo>
                <a:cubicBezTo>
                  <a:pt x="112" y="53"/>
                  <a:pt x="102" y="64"/>
                  <a:pt x="88" y="64"/>
                </a:cubicBezTo>
                <a:cubicBezTo>
                  <a:pt x="75" y="64"/>
                  <a:pt x="64" y="53"/>
                  <a:pt x="64" y="40"/>
                </a:cubicBezTo>
                <a:cubicBezTo>
                  <a:pt x="64" y="27"/>
                  <a:pt x="75" y="16"/>
                  <a:pt x="88" y="16"/>
                </a:cubicBezTo>
                <a:moveTo>
                  <a:pt x="345" y="152"/>
                </a:moveTo>
                <a:cubicBezTo>
                  <a:pt x="320" y="152"/>
                  <a:pt x="320" y="152"/>
                  <a:pt x="320" y="152"/>
                </a:cubicBezTo>
                <a:cubicBezTo>
                  <a:pt x="316" y="134"/>
                  <a:pt x="300" y="120"/>
                  <a:pt x="281" y="120"/>
                </a:cubicBezTo>
                <a:cubicBezTo>
                  <a:pt x="261" y="120"/>
                  <a:pt x="245" y="134"/>
                  <a:pt x="242" y="15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52"/>
                  <a:pt x="0" y="156"/>
                  <a:pt x="0" y="160"/>
                </a:cubicBezTo>
                <a:cubicBezTo>
                  <a:pt x="0" y="165"/>
                  <a:pt x="3" y="168"/>
                  <a:pt x="8" y="168"/>
                </a:cubicBezTo>
                <a:cubicBezTo>
                  <a:pt x="242" y="168"/>
                  <a:pt x="242" y="168"/>
                  <a:pt x="242" y="168"/>
                </a:cubicBezTo>
                <a:cubicBezTo>
                  <a:pt x="245" y="187"/>
                  <a:pt x="261" y="201"/>
                  <a:pt x="281" y="201"/>
                </a:cubicBezTo>
                <a:cubicBezTo>
                  <a:pt x="300" y="201"/>
                  <a:pt x="316" y="187"/>
                  <a:pt x="320" y="168"/>
                </a:cubicBezTo>
                <a:cubicBezTo>
                  <a:pt x="345" y="168"/>
                  <a:pt x="345" y="168"/>
                  <a:pt x="345" y="168"/>
                </a:cubicBezTo>
                <a:cubicBezTo>
                  <a:pt x="350" y="168"/>
                  <a:pt x="353" y="165"/>
                  <a:pt x="353" y="160"/>
                </a:cubicBezTo>
                <a:cubicBezTo>
                  <a:pt x="353" y="156"/>
                  <a:pt x="350" y="152"/>
                  <a:pt x="345" y="152"/>
                </a:cubicBezTo>
                <a:moveTo>
                  <a:pt x="281" y="184"/>
                </a:moveTo>
                <a:cubicBezTo>
                  <a:pt x="268" y="184"/>
                  <a:pt x="257" y="174"/>
                  <a:pt x="257" y="160"/>
                </a:cubicBezTo>
                <a:cubicBezTo>
                  <a:pt x="257" y="147"/>
                  <a:pt x="268" y="136"/>
                  <a:pt x="281" y="136"/>
                </a:cubicBezTo>
                <a:cubicBezTo>
                  <a:pt x="294" y="136"/>
                  <a:pt x="305" y="147"/>
                  <a:pt x="305" y="160"/>
                </a:cubicBezTo>
                <a:cubicBezTo>
                  <a:pt x="305" y="174"/>
                  <a:pt x="294" y="184"/>
                  <a:pt x="281" y="184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2" name="Group 1"/>
          <p:cNvGrpSpPr/>
          <p:nvPr/>
        </p:nvGrpSpPr>
        <p:grpSpPr>
          <a:xfrm>
            <a:off x="593725" y="3485068"/>
            <a:ext cx="1311648" cy="631588"/>
            <a:chOff x="593725" y="3485068"/>
            <a:chExt cx="1311648" cy="631588"/>
          </a:xfrm>
        </p:grpSpPr>
        <p:sp>
          <p:nvSpPr>
            <p:cNvPr id="10" name="TextBox 9"/>
            <p:cNvSpPr txBox="1"/>
            <p:nvPr/>
          </p:nvSpPr>
          <p:spPr>
            <a:xfrm>
              <a:off x="593725" y="3682306"/>
              <a:ext cx="1311648" cy="43435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1" name="Title 2"/>
            <p:cNvSpPr txBox="1">
              <a:spLocks/>
            </p:cNvSpPr>
            <p:nvPr/>
          </p:nvSpPr>
          <p:spPr>
            <a:xfrm>
              <a:off x="593725" y="3485068"/>
              <a:ext cx="1311648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9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nálise</a:t>
              </a:r>
              <a:r>
                <a:rPr lang="en-US" sz="9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dados</a:t>
              </a:r>
            </a:p>
          </p:txBody>
        </p:sp>
      </p:grp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2543210" y="2850215"/>
            <a:ext cx="499817" cy="468850"/>
          </a:xfrm>
          <a:custGeom>
            <a:avLst/>
            <a:gdLst>
              <a:gd name="T0" fmla="*/ 96 w 353"/>
              <a:gd name="T1" fmla="*/ 121 h 322"/>
              <a:gd name="T2" fmla="*/ 72 w 353"/>
              <a:gd name="T3" fmla="*/ 145 h 322"/>
              <a:gd name="T4" fmla="*/ 96 w 353"/>
              <a:gd name="T5" fmla="*/ 169 h 322"/>
              <a:gd name="T6" fmla="*/ 120 w 353"/>
              <a:gd name="T7" fmla="*/ 145 h 322"/>
              <a:gd name="T8" fmla="*/ 96 w 353"/>
              <a:gd name="T9" fmla="*/ 121 h 322"/>
              <a:gd name="T10" fmla="*/ 176 w 353"/>
              <a:gd name="T11" fmla="*/ 121 h 322"/>
              <a:gd name="T12" fmla="*/ 152 w 353"/>
              <a:gd name="T13" fmla="*/ 145 h 322"/>
              <a:gd name="T14" fmla="*/ 176 w 353"/>
              <a:gd name="T15" fmla="*/ 169 h 322"/>
              <a:gd name="T16" fmla="*/ 200 w 353"/>
              <a:gd name="T17" fmla="*/ 145 h 322"/>
              <a:gd name="T18" fmla="*/ 176 w 353"/>
              <a:gd name="T19" fmla="*/ 121 h 322"/>
              <a:gd name="T20" fmla="*/ 176 w 353"/>
              <a:gd name="T21" fmla="*/ 0 h 322"/>
              <a:gd name="T22" fmla="*/ 0 w 353"/>
              <a:gd name="T23" fmla="*/ 145 h 322"/>
              <a:gd name="T24" fmla="*/ 50 w 353"/>
              <a:gd name="T25" fmla="*/ 246 h 322"/>
              <a:gd name="T26" fmla="*/ 32 w 353"/>
              <a:gd name="T27" fmla="*/ 322 h 322"/>
              <a:gd name="T28" fmla="*/ 127 w 353"/>
              <a:gd name="T29" fmla="*/ 284 h 322"/>
              <a:gd name="T30" fmla="*/ 176 w 353"/>
              <a:gd name="T31" fmla="*/ 289 h 322"/>
              <a:gd name="T32" fmla="*/ 353 w 353"/>
              <a:gd name="T33" fmla="*/ 145 h 322"/>
              <a:gd name="T34" fmla="*/ 176 w 353"/>
              <a:gd name="T35" fmla="*/ 0 h 322"/>
              <a:gd name="T36" fmla="*/ 176 w 353"/>
              <a:gd name="T37" fmla="*/ 273 h 322"/>
              <a:gd name="T38" fmla="*/ 130 w 353"/>
              <a:gd name="T39" fmla="*/ 268 h 322"/>
              <a:gd name="T40" fmla="*/ 127 w 353"/>
              <a:gd name="T41" fmla="*/ 268 h 322"/>
              <a:gd name="T42" fmla="*/ 121 w 353"/>
              <a:gd name="T43" fmla="*/ 269 h 322"/>
              <a:gd name="T44" fmla="*/ 54 w 353"/>
              <a:gd name="T45" fmla="*/ 295 h 322"/>
              <a:gd name="T46" fmla="*/ 65 w 353"/>
              <a:gd name="T47" fmla="*/ 249 h 322"/>
              <a:gd name="T48" fmla="*/ 60 w 353"/>
              <a:gd name="T49" fmla="*/ 233 h 322"/>
              <a:gd name="T50" fmla="*/ 16 w 353"/>
              <a:gd name="T51" fmla="*/ 145 h 322"/>
              <a:gd name="T52" fmla="*/ 176 w 353"/>
              <a:gd name="T53" fmla="*/ 17 h 322"/>
              <a:gd name="T54" fmla="*/ 337 w 353"/>
              <a:gd name="T55" fmla="*/ 145 h 322"/>
              <a:gd name="T56" fmla="*/ 176 w 353"/>
              <a:gd name="T57" fmla="*/ 273 h 322"/>
              <a:gd name="T58" fmla="*/ 256 w 353"/>
              <a:gd name="T59" fmla="*/ 121 h 322"/>
              <a:gd name="T60" fmla="*/ 232 w 353"/>
              <a:gd name="T61" fmla="*/ 145 h 322"/>
              <a:gd name="T62" fmla="*/ 256 w 353"/>
              <a:gd name="T63" fmla="*/ 169 h 322"/>
              <a:gd name="T64" fmla="*/ 281 w 353"/>
              <a:gd name="T65" fmla="*/ 145 h 322"/>
              <a:gd name="T66" fmla="*/ 256 w 353"/>
              <a:gd name="T67" fmla="*/ 121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322">
                <a:moveTo>
                  <a:pt x="96" y="121"/>
                </a:moveTo>
                <a:cubicBezTo>
                  <a:pt x="83" y="121"/>
                  <a:pt x="72" y="132"/>
                  <a:pt x="72" y="145"/>
                </a:cubicBezTo>
                <a:cubicBezTo>
                  <a:pt x="72" y="158"/>
                  <a:pt x="83" y="169"/>
                  <a:pt x="96" y="169"/>
                </a:cubicBezTo>
                <a:cubicBezTo>
                  <a:pt x="109" y="169"/>
                  <a:pt x="120" y="158"/>
                  <a:pt x="120" y="145"/>
                </a:cubicBezTo>
                <a:cubicBezTo>
                  <a:pt x="120" y="132"/>
                  <a:pt x="109" y="121"/>
                  <a:pt x="96" y="121"/>
                </a:cubicBezTo>
                <a:moveTo>
                  <a:pt x="176" y="121"/>
                </a:moveTo>
                <a:cubicBezTo>
                  <a:pt x="163" y="121"/>
                  <a:pt x="152" y="132"/>
                  <a:pt x="152" y="145"/>
                </a:cubicBezTo>
                <a:cubicBezTo>
                  <a:pt x="152" y="158"/>
                  <a:pt x="163" y="169"/>
                  <a:pt x="176" y="169"/>
                </a:cubicBezTo>
                <a:cubicBezTo>
                  <a:pt x="189" y="169"/>
                  <a:pt x="200" y="158"/>
                  <a:pt x="200" y="145"/>
                </a:cubicBezTo>
                <a:cubicBezTo>
                  <a:pt x="200" y="132"/>
                  <a:pt x="189" y="121"/>
                  <a:pt x="176" y="121"/>
                </a:cubicBezTo>
                <a:moveTo>
                  <a:pt x="176" y="0"/>
                </a:moveTo>
                <a:cubicBezTo>
                  <a:pt x="79" y="0"/>
                  <a:pt x="0" y="65"/>
                  <a:pt x="0" y="145"/>
                </a:cubicBezTo>
                <a:cubicBezTo>
                  <a:pt x="0" y="184"/>
                  <a:pt x="19" y="220"/>
                  <a:pt x="50" y="246"/>
                </a:cubicBezTo>
                <a:cubicBezTo>
                  <a:pt x="32" y="322"/>
                  <a:pt x="32" y="322"/>
                  <a:pt x="32" y="322"/>
                </a:cubicBezTo>
                <a:cubicBezTo>
                  <a:pt x="127" y="284"/>
                  <a:pt x="127" y="284"/>
                  <a:pt x="127" y="284"/>
                </a:cubicBezTo>
                <a:cubicBezTo>
                  <a:pt x="142" y="287"/>
                  <a:pt x="159" y="289"/>
                  <a:pt x="176" y="289"/>
                </a:cubicBezTo>
                <a:cubicBezTo>
                  <a:pt x="274" y="289"/>
                  <a:pt x="353" y="225"/>
                  <a:pt x="353" y="145"/>
                </a:cubicBezTo>
                <a:cubicBezTo>
                  <a:pt x="353" y="65"/>
                  <a:pt x="274" y="0"/>
                  <a:pt x="176" y="0"/>
                </a:cubicBezTo>
                <a:moveTo>
                  <a:pt x="176" y="273"/>
                </a:moveTo>
                <a:cubicBezTo>
                  <a:pt x="161" y="273"/>
                  <a:pt x="145" y="272"/>
                  <a:pt x="130" y="268"/>
                </a:cubicBezTo>
                <a:cubicBezTo>
                  <a:pt x="129" y="268"/>
                  <a:pt x="128" y="268"/>
                  <a:pt x="127" y="268"/>
                </a:cubicBezTo>
                <a:cubicBezTo>
                  <a:pt x="125" y="268"/>
                  <a:pt x="123" y="268"/>
                  <a:pt x="121" y="269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65" y="249"/>
                  <a:pt x="65" y="249"/>
                  <a:pt x="65" y="249"/>
                </a:cubicBezTo>
                <a:cubicBezTo>
                  <a:pt x="67" y="243"/>
                  <a:pt x="65" y="237"/>
                  <a:pt x="60" y="233"/>
                </a:cubicBezTo>
                <a:cubicBezTo>
                  <a:pt x="31" y="209"/>
                  <a:pt x="16" y="178"/>
                  <a:pt x="16" y="145"/>
                </a:cubicBezTo>
                <a:cubicBezTo>
                  <a:pt x="16" y="74"/>
                  <a:pt x="88" y="17"/>
                  <a:pt x="176" y="17"/>
                </a:cubicBezTo>
                <a:cubicBezTo>
                  <a:pt x="265" y="17"/>
                  <a:pt x="337" y="74"/>
                  <a:pt x="337" y="145"/>
                </a:cubicBezTo>
                <a:cubicBezTo>
                  <a:pt x="337" y="216"/>
                  <a:pt x="265" y="273"/>
                  <a:pt x="176" y="273"/>
                </a:cubicBezTo>
                <a:moveTo>
                  <a:pt x="256" y="121"/>
                </a:moveTo>
                <a:cubicBezTo>
                  <a:pt x="243" y="121"/>
                  <a:pt x="232" y="132"/>
                  <a:pt x="232" y="145"/>
                </a:cubicBezTo>
                <a:cubicBezTo>
                  <a:pt x="232" y="158"/>
                  <a:pt x="243" y="169"/>
                  <a:pt x="256" y="169"/>
                </a:cubicBezTo>
                <a:cubicBezTo>
                  <a:pt x="270" y="169"/>
                  <a:pt x="281" y="158"/>
                  <a:pt x="281" y="145"/>
                </a:cubicBezTo>
                <a:cubicBezTo>
                  <a:pt x="281" y="132"/>
                  <a:pt x="270" y="121"/>
                  <a:pt x="256" y="121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6" name="Group 5"/>
          <p:cNvGrpSpPr/>
          <p:nvPr/>
        </p:nvGrpSpPr>
        <p:grpSpPr>
          <a:xfrm>
            <a:off x="2543210" y="3485068"/>
            <a:ext cx="1317590" cy="647360"/>
            <a:chOff x="2543210" y="3485068"/>
            <a:chExt cx="1317590" cy="647360"/>
          </a:xfrm>
        </p:grpSpPr>
        <p:sp>
          <p:nvSpPr>
            <p:cNvPr id="13" name="TextBox 12"/>
            <p:cNvSpPr txBox="1"/>
            <p:nvPr/>
          </p:nvSpPr>
          <p:spPr>
            <a:xfrm>
              <a:off x="2543210" y="3682305"/>
              <a:ext cx="1317590" cy="45012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14" name="Title 2"/>
            <p:cNvSpPr txBox="1">
              <a:spLocks/>
            </p:cNvSpPr>
            <p:nvPr/>
          </p:nvSpPr>
          <p:spPr>
            <a:xfrm>
              <a:off x="2543210" y="3485068"/>
              <a:ext cx="131759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900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onversas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590552" y="1523771"/>
            <a:ext cx="3067048" cy="480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ed dictum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t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lit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lesuada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in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vamus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ndrerit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urus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u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que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fermentum,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llamcorper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ristique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1172811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Insira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breve </a:t>
            </a:r>
            <a:r>
              <a:rPr lang="en-US" dirty="0" err="1"/>
              <a:t>explicação</a:t>
            </a:r>
            <a:r>
              <a:rPr lang="en-US" dirty="0"/>
              <a:t> </a:t>
            </a:r>
            <a:r>
              <a:rPr lang="en-US" dirty="0" err="1"/>
              <a:t>sobre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i</a:t>
            </a: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1232381" y="1512585"/>
            <a:ext cx="2463319" cy="482447"/>
            <a:chOff x="1232381" y="1512585"/>
            <a:chExt cx="2463319" cy="482447"/>
          </a:xfrm>
        </p:grpSpPr>
        <p:sp>
          <p:nvSpPr>
            <p:cNvPr id="10" name="TextBox 9"/>
            <p:cNvSpPr txBox="1"/>
            <p:nvPr/>
          </p:nvSpPr>
          <p:spPr>
            <a:xfrm>
              <a:off x="1232410" y="1512585"/>
              <a:ext cx="246321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 onlin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232381" y="1710723"/>
              <a:ext cx="24633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bibend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.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232381" y="2301561"/>
            <a:ext cx="2463319" cy="482447"/>
            <a:chOff x="1232381" y="2301561"/>
            <a:chExt cx="2463319" cy="482447"/>
          </a:xfrm>
        </p:grpSpPr>
        <p:sp>
          <p:nvSpPr>
            <p:cNvPr id="12" name="TextBox 11"/>
            <p:cNvSpPr txBox="1"/>
            <p:nvPr/>
          </p:nvSpPr>
          <p:spPr>
            <a:xfrm>
              <a:off x="1232410" y="2301561"/>
              <a:ext cx="246321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íde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32381" y="2499699"/>
              <a:ext cx="24633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bibend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.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232381" y="3070334"/>
            <a:ext cx="2463319" cy="482447"/>
            <a:chOff x="1232381" y="3070334"/>
            <a:chExt cx="2463319" cy="482447"/>
          </a:xfrm>
        </p:grpSpPr>
        <p:sp>
          <p:nvSpPr>
            <p:cNvPr id="14" name="TextBox 13"/>
            <p:cNvSpPr txBox="1"/>
            <p:nvPr/>
          </p:nvSpPr>
          <p:spPr>
            <a:xfrm>
              <a:off x="1232410" y="3070334"/>
              <a:ext cx="246321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mpres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232381" y="3268472"/>
              <a:ext cx="24633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bibend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.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232381" y="3828994"/>
            <a:ext cx="2463319" cy="482447"/>
            <a:chOff x="1232381" y="3828994"/>
            <a:chExt cx="2463319" cy="482447"/>
          </a:xfrm>
        </p:grpSpPr>
        <p:sp>
          <p:nvSpPr>
            <p:cNvPr id="16" name="TextBox 15"/>
            <p:cNvSpPr txBox="1"/>
            <p:nvPr/>
          </p:nvSpPr>
          <p:spPr>
            <a:xfrm>
              <a:off x="1232410" y="3828994"/>
              <a:ext cx="246321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ursos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human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232381" y="4027132"/>
              <a:ext cx="2463319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bibend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.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95187" y="2310027"/>
            <a:ext cx="448790" cy="448790"/>
            <a:chOff x="595187" y="2310027"/>
            <a:chExt cx="448790" cy="448790"/>
          </a:xfrm>
        </p:grpSpPr>
        <p:sp>
          <p:nvSpPr>
            <p:cNvPr id="7" name="Oval 6"/>
            <p:cNvSpPr/>
            <p:nvPr/>
          </p:nvSpPr>
          <p:spPr>
            <a:xfrm>
              <a:off x="595187" y="2310027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714094" y="2463801"/>
              <a:ext cx="220428" cy="140490"/>
            </a:xfrm>
            <a:custGeom>
              <a:avLst/>
              <a:gdLst>
                <a:gd name="T0" fmla="*/ 168 w 353"/>
                <a:gd name="T1" fmla="*/ 32 h 225"/>
                <a:gd name="T2" fmla="*/ 144 w 353"/>
                <a:gd name="T3" fmla="*/ 56 h 225"/>
                <a:gd name="T4" fmla="*/ 168 w 353"/>
                <a:gd name="T5" fmla="*/ 81 h 225"/>
                <a:gd name="T6" fmla="*/ 192 w 353"/>
                <a:gd name="T7" fmla="*/ 56 h 225"/>
                <a:gd name="T8" fmla="*/ 168 w 353"/>
                <a:gd name="T9" fmla="*/ 32 h 225"/>
                <a:gd name="T10" fmla="*/ 168 w 353"/>
                <a:gd name="T11" fmla="*/ 65 h 225"/>
                <a:gd name="T12" fmla="*/ 160 w 353"/>
                <a:gd name="T13" fmla="*/ 56 h 225"/>
                <a:gd name="T14" fmla="*/ 168 w 353"/>
                <a:gd name="T15" fmla="*/ 48 h 225"/>
                <a:gd name="T16" fmla="*/ 176 w 353"/>
                <a:gd name="T17" fmla="*/ 56 h 225"/>
                <a:gd name="T18" fmla="*/ 168 w 353"/>
                <a:gd name="T19" fmla="*/ 65 h 225"/>
                <a:gd name="T20" fmla="*/ 345 w 353"/>
                <a:gd name="T21" fmla="*/ 32 h 225"/>
                <a:gd name="T22" fmla="*/ 341 w 353"/>
                <a:gd name="T23" fmla="*/ 33 h 225"/>
                <a:gd name="T24" fmla="*/ 341 w 353"/>
                <a:gd name="T25" fmla="*/ 33 h 225"/>
                <a:gd name="T26" fmla="*/ 256 w 353"/>
                <a:gd name="T27" fmla="*/ 76 h 225"/>
                <a:gd name="T28" fmla="*/ 256 w 353"/>
                <a:gd name="T29" fmla="*/ 32 h 225"/>
                <a:gd name="T30" fmla="*/ 224 w 353"/>
                <a:gd name="T31" fmla="*/ 0 h 225"/>
                <a:gd name="T32" fmla="*/ 32 w 353"/>
                <a:gd name="T33" fmla="*/ 0 h 225"/>
                <a:gd name="T34" fmla="*/ 0 w 353"/>
                <a:gd name="T35" fmla="*/ 32 h 225"/>
                <a:gd name="T36" fmla="*/ 0 w 353"/>
                <a:gd name="T37" fmla="*/ 193 h 225"/>
                <a:gd name="T38" fmla="*/ 32 w 353"/>
                <a:gd name="T39" fmla="*/ 225 h 225"/>
                <a:gd name="T40" fmla="*/ 224 w 353"/>
                <a:gd name="T41" fmla="*/ 225 h 225"/>
                <a:gd name="T42" fmla="*/ 256 w 353"/>
                <a:gd name="T43" fmla="*/ 193 h 225"/>
                <a:gd name="T44" fmla="*/ 256 w 353"/>
                <a:gd name="T45" fmla="*/ 150 h 225"/>
                <a:gd name="T46" fmla="*/ 341 w 353"/>
                <a:gd name="T47" fmla="*/ 192 h 225"/>
                <a:gd name="T48" fmla="*/ 341 w 353"/>
                <a:gd name="T49" fmla="*/ 192 h 225"/>
                <a:gd name="T50" fmla="*/ 345 w 353"/>
                <a:gd name="T51" fmla="*/ 193 h 225"/>
                <a:gd name="T52" fmla="*/ 353 w 353"/>
                <a:gd name="T53" fmla="*/ 185 h 225"/>
                <a:gd name="T54" fmla="*/ 353 w 353"/>
                <a:gd name="T55" fmla="*/ 40 h 225"/>
                <a:gd name="T56" fmla="*/ 345 w 353"/>
                <a:gd name="T57" fmla="*/ 32 h 225"/>
                <a:gd name="T58" fmla="*/ 224 w 353"/>
                <a:gd name="T59" fmla="*/ 209 h 225"/>
                <a:gd name="T60" fmla="*/ 32 w 353"/>
                <a:gd name="T61" fmla="*/ 209 h 225"/>
                <a:gd name="T62" fmla="*/ 16 w 353"/>
                <a:gd name="T63" fmla="*/ 193 h 225"/>
                <a:gd name="T64" fmla="*/ 240 w 353"/>
                <a:gd name="T65" fmla="*/ 193 h 225"/>
                <a:gd name="T66" fmla="*/ 224 w 353"/>
                <a:gd name="T67" fmla="*/ 209 h 225"/>
                <a:gd name="T68" fmla="*/ 240 w 353"/>
                <a:gd name="T69" fmla="*/ 177 h 225"/>
                <a:gd name="T70" fmla="*/ 16 w 353"/>
                <a:gd name="T71" fmla="*/ 177 h 225"/>
                <a:gd name="T72" fmla="*/ 16 w 353"/>
                <a:gd name="T73" fmla="*/ 32 h 225"/>
                <a:gd name="T74" fmla="*/ 32 w 353"/>
                <a:gd name="T75" fmla="*/ 16 h 225"/>
                <a:gd name="T76" fmla="*/ 224 w 353"/>
                <a:gd name="T77" fmla="*/ 16 h 225"/>
                <a:gd name="T78" fmla="*/ 240 w 353"/>
                <a:gd name="T79" fmla="*/ 32 h 225"/>
                <a:gd name="T80" fmla="*/ 240 w 353"/>
                <a:gd name="T81" fmla="*/ 177 h 225"/>
                <a:gd name="T82" fmla="*/ 337 w 353"/>
                <a:gd name="T83" fmla="*/ 172 h 225"/>
                <a:gd name="T84" fmla="*/ 256 w 353"/>
                <a:gd name="T85" fmla="*/ 132 h 225"/>
                <a:gd name="T86" fmla="*/ 256 w 353"/>
                <a:gd name="T87" fmla="*/ 94 h 225"/>
                <a:gd name="T88" fmla="*/ 337 w 353"/>
                <a:gd name="T89" fmla="*/ 53 h 225"/>
                <a:gd name="T90" fmla="*/ 337 w 353"/>
                <a:gd name="T91" fmla="*/ 172 h 225"/>
                <a:gd name="T92" fmla="*/ 216 w 353"/>
                <a:gd name="T93" fmla="*/ 32 h 225"/>
                <a:gd name="T94" fmla="*/ 208 w 353"/>
                <a:gd name="T95" fmla="*/ 40 h 225"/>
                <a:gd name="T96" fmla="*/ 216 w 353"/>
                <a:gd name="T97" fmla="*/ 48 h 225"/>
                <a:gd name="T98" fmla="*/ 224 w 353"/>
                <a:gd name="T99" fmla="*/ 40 h 225"/>
                <a:gd name="T100" fmla="*/ 216 w 353"/>
                <a:gd name="T101" fmla="*/ 3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225">
                  <a:moveTo>
                    <a:pt x="168" y="32"/>
                  </a:moveTo>
                  <a:cubicBezTo>
                    <a:pt x="155" y="32"/>
                    <a:pt x="144" y="43"/>
                    <a:pt x="144" y="56"/>
                  </a:cubicBezTo>
                  <a:cubicBezTo>
                    <a:pt x="144" y="70"/>
                    <a:pt x="155" y="81"/>
                    <a:pt x="168" y="81"/>
                  </a:cubicBezTo>
                  <a:cubicBezTo>
                    <a:pt x="181" y="81"/>
                    <a:pt x="192" y="70"/>
                    <a:pt x="192" y="56"/>
                  </a:cubicBezTo>
                  <a:cubicBezTo>
                    <a:pt x="192" y="43"/>
                    <a:pt x="181" y="32"/>
                    <a:pt x="168" y="32"/>
                  </a:cubicBezTo>
                  <a:moveTo>
                    <a:pt x="168" y="65"/>
                  </a:moveTo>
                  <a:cubicBezTo>
                    <a:pt x="164" y="65"/>
                    <a:pt x="160" y="61"/>
                    <a:pt x="160" y="56"/>
                  </a:cubicBezTo>
                  <a:cubicBezTo>
                    <a:pt x="160" y="52"/>
                    <a:pt x="164" y="48"/>
                    <a:pt x="168" y="48"/>
                  </a:cubicBezTo>
                  <a:cubicBezTo>
                    <a:pt x="173" y="48"/>
                    <a:pt x="176" y="52"/>
                    <a:pt x="176" y="56"/>
                  </a:cubicBezTo>
                  <a:cubicBezTo>
                    <a:pt x="176" y="61"/>
                    <a:pt x="173" y="65"/>
                    <a:pt x="168" y="65"/>
                  </a:cubicBezTo>
                  <a:moveTo>
                    <a:pt x="345" y="32"/>
                  </a:moveTo>
                  <a:cubicBezTo>
                    <a:pt x="343" y="32"/>
                    <a:pt x="342" y="33"/>
                    <a:pt x="341" y="33"/>
                  </a:cubicBezTo>
                  <a:cubicBezTo>
                    <a:pt x="341" y="33"/>
                    <a:pt x="341" y="33"/>
                    <a:pt x="341" y="33"/>
                  </a:cubicBezTo>
                  <a:cubicBezTo>
                    <a:pt x="256" y="76"/>
                    <a:pt x="256" y="76"/>
                    <a:pt x="256" y="76"/>
                  </a:cubicBezTo>
                  <a:cubicBezTo>
                    <a:pt x="256" y="32"/>
                    <a:pt x="256" y="32"/>
                    <a:pt x="256" y="32"/>
                  </a:cubicBezTo>
                  <a:cubicBezTo>
                    <a:pt x="256" y="15"/>
                    <a:pt x="242" y="0"/>
                    <a:pt x="22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11"/>
                    <a:pt x="14" y="225"/>
                    <a:pt x="32" y="225"/>
                  </a:cubicBezTo>
                  <a:cubicBezTo>
                    <a:pt x="224" y="225"/>
                    <a:pt x="224" y="225"/>
                    <a:pt x="224" y="225"/>
                  </a:cubicBezTo>
                  <a:cubicBezTo>
                    <a:pt x="242" y="225"/>
                    <a:pt x="256" y="211"/>
                    <a:pt x="256" y="193"/>
                  </a:cubicBezTo>
                  <a:cubicBezTo>
                    <a:pt x="256" y="150"/>
                    <a:pt x="256" y="150"/>
                    <a:pt x="256" y="150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2" y="193"/>
                    <a:pt x="343" y="193"/>
                    <a:pt x="345" y="193"/>
                  </a:cubicBezTo>
                  <a:cubicBezTo>
                    <a:pt x="349" y="193"/>
                    <a:pt x="353" y="189"/>
                    <a:pt x="353" y="185"/>
                  </a:cubicBezTo>
                  <a:cubicBezTo>
                    <a:pt x="353" y="40"/>
                    <a:pt x="353" y="40"/>
                    <a:pt x="353" y="40"/>
                  </a:cubicBezTo>
                  <a:cubicBezTo>
                    <a:pt x="353" y="36"/>
                    <a:pt x="349" y="32"/>
                    <a:pt x="345" y="32"/>
                  </a:cubicBezTo>
                  <a:moveTo>
                    <a:pt x="224" y="209"/>
                  </a:moveTo>
                  <a:cubicBezTo>
                    <a:pt x="32" y="209"/>
                    <a:pt x="32" y="209"/>
                    <a:pt x="32" y="209"/>
                  </a:cubicBezTo>
                  <a:cubicBezTo>
                    <a:pt x="23" y="209"/>
                    <a:pt x="16" y="202"/>
                    <a:pt x="16" y="193"/>
                  </a:cubicBezTo>
                  <a:cubicBezTo>
                    <a:pt x="240" y="193"/>
                    <a:pt x="240" y="193"/>
                    <a:pt x="240" y="193"/>
                  </a:cubicBezTo>
                  <a:cubicBezTo>
                    <a:pt x="240" y="202"/>
                    <a:pt x="233" y="209"/>
                    <a:pt x="224" y="209"/>
                  </a:cubicBezTo>
                  <a:moveTo>
                    <a:pt x="24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4"/>
                    <a:pt x="23" y="16"/>
                    <a:pt x="32" y="16"/>
                  </a:cubicBezTo>
                  <a:cubicBezTo>
                    <a:pt x="224" y="16"/>
                    <a:pt x="224" y="16"/>
                    <a:pt x="224" y="16"/>
                  </a:cubicBezTo>
                  <a:cubicBezTo>
                    <a:pt x="233" y="16"/>
                    <a:pt x="240" y="24"/>
                    <a:pt x="240" y="32"/>
                  </a:cubicBezTo>
                  <a:lnTo>
                    <a:pt x="240" y="177"/>
                  </a:lnTo>
                  <a:close/>
                  <a:moveTo>
                    <a:pt x="337" y="172"/>
                  </a:moveTo>
                  <a:cubicBezTo>
                    <a:pt x="256" y="132"/>
                    <a:pt x="256" y="132"/>
                    <a:pt x="256" y="132"/>
                  </a:cubicBezTo>
                  <a:cubicBezTo>
                    <a:pt x="256" y="94"/>
                    <a:pt x="256" y="94"/>
                    <a:pt x="256" y="94"/>
                  </a:cubicBezTo>
                  <a:cubicBezTo>
                    <a:pt x="337" y="53"/>
                    <a:pt x="337" y="53"/>
                    <a:pt x="337" y="53"/>
                  </a:cubicBezTo>
                  <a:lnTo>
                    <a:pt x="337" y="172"/>
                  </a:lnTo>
                  <a:close/>
                  <a:moveTo>
                    <a:pt x="216" y="32"/>
                  </a:moveTo>
                  <a:cubicBezTo>
                    <a:pt x="212" y="32"/>
                    <a:pt x="208" y="36"/>
                    <a:pt x="208" y="40"/>
                  </a:cubicBezTo>
                  <a:cubicBezTo>
                    <a:pt x="208" y="45"/>
                    <a:pt x="212" y="48"/>
                    <a:pt x="216" y="48"/>
                  </a:cubicBezTo>
                  <a:cubicBezTo>
                    <a:pt x="221" y="48"/>
                    <a:pt x="224" y="45"/>
                    <a:pt x="224" y="40"/>
                  </a:cubicBezTo>
                  <a:cubicBezTo>
                    <a:pt x="224" y="36"/>
                    <a:pt x="221" y="32"/>
                    <a:pt x="216" y="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95187" y="3073744"/>
            <a:ext cx="448790" cy="448790"/>
            <a:chOff x="595187" y="3073744"/>
            <a:chExt cx="448790" cy="448790"/>
          </a:xfrm>
        </p:grpSpPr>
        <p:sp>
          <p:nvSpPr>
            <p:cNvPr id="9" name="Oval 8"/>
            <p:cNvSpPr/>
            <p:nvPr/>
          </p:nvSpPr>
          <p:spPr>
            <a:xfrm>
              <a:off x="595187" y="3073744"/>
              <a:ext cx="448790" cy="44879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715806" y="3189289"/>
              <a:ext cx="216124" cy="217700"/>
            </a:xfrm>
            <a:custGeom>
              <a:avLst/>
              <a:gdLst>
                <a:gd name="T0" fmla="*/ 232 w 353"/>
                <a:gd name="T1" fmla="*/ 305 h 354"/>
                <a:gd name="T2" fmla="*/ 232 w 353"/>
                <a:gd name="T3" fmla="*/ 289 h 354"/>
                <a:gd name="T4" fmla="*/ 112 w 353"/>
                <a:gd name="T5" fmla="*/ 297 h 354"/>
                <a:gd name="T6" fmla="*/ 120 w 353"/>
                <a:gd name="T7" fmla="*/ 273 h 354"/>
                <a:gd name="T8" fmla="*/ 208 w 353"/>
                <a:gd name="T9" fmla="*/ 265 h 354"/>
                <a:gd name="T10" fmla="*/ 120 w 353"/>
                <a:gd name="T11" fmla="*/ 257 h 354"/>
                <a:gd name="T12" fmla="*/ 120 w 353"/>
                <a:gd name="T13" fmla="*/ 273 h 354"/>
                <a:gd name="T14" fmla="*/ 224 w 353"/>
                <a:gd name="T15" fmla="*/ 161 h 354"/>
                <a:gd name="T16" fmla="*/ 256 w 353"/>
                <a:gd name="T17" fmla="*/ 161 h 354"/>
                <a:gd name="T18" fmla="*/ 289 w 353"/>
                <a:gd name="T19" fmla="*/ 145 h 354"/>
                <a:gd name="T20" fmla="*/ 289 w 353"/>
                <a:gd name="T21" fmla="*/ 177 h 354"/>
                <a:gd name="T22" fmla="*/ 289 w 353"/>
                <a:gd name="T23" fmla="*/ 145 h 354"/>
                <a:gd name="T24" fmla="*/ 289 w 353"/>
                <a:gd name="T25" fmla="*/ 97 h 354"/>
                <a:gd name="T26" fmla="*/ 273 w 353"/>
                <a:gd name="T27" fmla="*/ 0 h 354"/>
                <a:gd name="T28" fmla="*/ 64 w 353"/>
                <a:gd name="T29" fmla="*/ 16 h 354"/>
                <a:gd name="T30" fmla="*/ 48 w 353"/>
                <a:gd name="T31" fmla="*/ 97 h 354"/>
                <a:gd name="T32" fmla="*/ 0 w 353"/>
                <a:gd name="T33" fmla="*/ 273 h 354"/>
                <a:gd name="T34" fmla="*/ 64 w 353"/>
                <a:gd name="T35" fmla="*/ 322 h 354"/>
                <a:gd name="T36" fmla="*/ 80 w 353"/>
                <a:gd name="T37" fmla="*/ 354 h 354"/>
                <a:gd name="T38" fmla="*/ 289 w 353"/>
                <a:gd name="T39" fmla="*/ 338 h 354"/>
                <a:gd name="T40" fmla="*/ 305 w 353"/>
                <a:gd name="T41" fmla="*/ 322 h 354"/>
                <a:gd name="T42" fmla="*/ 353 w 353"/>
                <a:gd name="T43" fmla="*/ 145 h 354"/>
                <a:gd name="T44" fmla="*/ 80 w 353"/>
                <a:gd name="T45" fmla="*/ 16 h 354"/>
                <a:gd name="T46" fmla="*/ 273 w 353"/>
                <a:gd name="T47" fmla="*/ 97 h 354"/>
                <a:gd name="T48" fmla="*/ 80 w 353"/>
                <a:gd name="T49" fmla="*/ 16 h 354"/>
                <a:gd name="T50" fmla="*/ 80 w 353"/>
                <a:gd name="T51" fmla="*/ 338 h 354"/>
                <a:gd name="T52" fmla="*/ 273 w 353"/>
                <a:gd name="T53" fmla="*/ 241 h 354"/>
                <a:gd name="T54" fmla="*/ 337 w 353"/>
                <a:gd name="T55" fmla="*/ 273 h 354"/>
                <a:gd name="T56" fmla="*/ 289 w 353"/>
                <a:gd name="T57" fmla="*/ 305 h 354"/>
                <a:gd name="T58" fmla="*/ 273 w 353"/>
                <a:gd name="T59" fmla="*/ 225 h 354"/>
                <a:gd name="T60" fmla="*/ 64 w 353"/>
                <a:gd name="T61" fmla="*/ 241 h 354"/>
                <a:gd name="T62" fmla="*/ 48 w 353"/>
                <a:gd name="T63" fmla="*/ 305 h 354"/>
                <a:gd name="T64" fmla="*/ 16 w 353"/>
                <a:gd name="T65" fmla="*/ 145 h 354"/>
                <a:gd name="T66" fmla="*/ 305 w 353"/>
                <a:gd name="T67" fmla="*/ 113 h 354"/>
                <a:gd name="T68" fmla="*/ 337 w 353"/>
                <a:gd name="T69" fmla="*/ 27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54">
                  <a:moveTo>
                    <a:pt x="120" y="305"/>
                  </a:moveTo>
                  <a:cubicBezTo>
                    <a:pt x="232" y="305"/>
                    <a:pt x="232" y="305"/>
                    <a:pt x="232" y="305"/>
                  </a:cubicBezTo>
                  <a:cubicBezTo>
                    <a:pt x="237" y="305"/>
                    <a:pt x="240" y="302"/>
                    <a:pt x="240" y="297"/>
                  </a:cubicBezTo>
                  <a:cubicBezTo>
                    <a:pt x="240" y="293"/>
                    <a:pt x="237" y="289"/>
                    <a:pt x="232" y="289"/>
                  </a:cubicBezTo>
                  <a:cubicBezTo>
                    <a:pt x="120" y="289"/>
                    <a:pt x="120" y="289"/>
                    <a:pt x="120" y="289"/>
                  </a:cubicBezTo>
                  <a:cubicBezTo>
                    <a:pt x="116" y="289"/>
                    <a:pt x="112" y="293"/>
                    <a:pt x="112" y="297"/>
                  </a:cubicBezTo>
                  <a:cubicBezTo>
                    <a:pt x="112" y="302"/>
                    <a:pt x="116" y="305"/>
                    <a:pt x="120" y="305"/>
                  </a:cubicBezTo>
                  <a:moveTo>
                    <a:pt x="120" y="273"/>
                  </a:moveTo>
                  <a:cubicBezTo>
                    <a:pt x="200" y="273"/>
                    <a:pt x="200" y="273"/>
                    <a:pt x="200" y="273"/>
                  </a:cubicBezTo>
                  <a:cubicBezTo>
                    <a:pt x="205" y="273"/>
                    <a:pt x="208" y="270"/>
                    <a:pt x="208" y="265"/>
                  </a:cubicBezTo>
                  <a:cubicBezTo>
                    <a:pt x="208" y="261"/>
                    <a:pt x="205" y="257"/>
                    <a:pt x="200" y="257"/>
                  </a:cubicBezTo>
                  <a:cubicBezTo>
                    <a:pt x="120" y="257"/>
                    <a:pt x="120" y="257"/>
                    <a:pt x="120" y="257"/>
                  </a:cubicBezTo>
                  <a:cubicBezTo>
                    <a:pt x="116" y="257"/>
                    <a:pt x="112" y="261"/>
                    <a:pt x="112" y="265"/>
                  </a:cubicBezTo>
                  <a:cubicBezTo>
                    <a:pt x="112" y="270"/>
                    <a:pt x="116" y="273"/>
                    <a:pt x="120" y="273"/>
                  </a:cubicBezTo>
                  <a:moveTo>
                    <a:pt x="240" y="145"/>
                  </a:moveTo>
                  <a:cubicBezTo>
                    <a:pt x="232" y="145"/>
                    <a:pt x="224" y="152"/>
                    <a:pt x="224" y="161"/>
                  </a:cubicBezTo>
                  <a:cubicBezTo>
                    <a:pt x="224" y="170"/>
                    <a:pt x="232" y="177"/>
                    <a:pt x="240" y="177"/>
                  </a:cubicBezTo>
                  <a:cubicBezTo>
                    <a:pt x="249" y="177"/>
                    <a:pt x="256" y="170"/>
                    <a:pt x="256" y="161"/>
                  </a:cubicBezTo>
                  <a:cubicBezTo>
                    <a:pt x="256" y="152"/>
                    <a:pt x="249" y="145"/>
                    <a:pt x="240" y="145"/>
                  </a:cubicBezTo>
                  <a:moveTo>
                    <a:pt x="289" y="145"/>
                  </a:moveTo>
                  <a:cubicBezTo>
                    <a:pt x="280" y="145"/>
                    <a:pt x="273" y="152"/>
                    <a:pt x="273" y="161"/>
                  </a:cubicBezTo>
                  <a:cubicBezTo>
                    <a:pt x="273" y="170"/>
                    <a:pt x="280" y="177"/>
                    <a:pt x="289" y="177"/>
                  </a:cubicBezTo>
                  <a:cubicBezTo>
                    <a:pt x="297" y="177"/>
                    <a:pt x="305" y="170"/>
                    <a:pt x="305" y="161"/>
                  </a:cubicBezTo>
                  <a:cubicBezTo>
                    <a:pt x="305" y="152"/>
                    <a:pt x="297" y="145"/>
                    <a:pt x="289" y="145"/>
                  </a:cubicBezTo>
                  <a:moveTo>
                    <a:pt x="305" y="97"/>
                  </a:moveTo>
                  <a:cubicBezTo>
                    <a:pt x="289" y="97"/>
                    <a:pt x="289" y="97"/>
                    <a:pt x="289" y="97"/>
                  </a:cubicBezTo>
                  <a:cubicBezTo>
                    <a:pt x="289" y="16"/>
                    <a:pt x="289" y="16"/>
                    <a:pt x="289" y="16"/>
                  </a:cubicBezTo>
                  <a:cubicBezTo>
                    <a:pt x="289" y="8"/>
                    <a:pt x="281" y="0"/>
                    <a:pt x="27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1" y="0"/>
                    <a:pt x="64" y="8"/>
                    <a:pt x="64" y="16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21" y="97"/>
                    <a:pt x="0" y="118"/>
                    <a:pt x="0" y="145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300"/>
                    <a:pt x="21" y="322"/>
                    <a:pt x="48" y="322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64" y="338"/>
                    <a:pt x="64" y="338"/>
                    <a:pt x="64" y="338"/>
                  </a:cubicBezTo>
                  <a:cubicBezTo>
                    <a:pt x="64" y="346"/>
                    <a:pt x="71" y="354"/>
                    <a:pt x="80" y="354"/>
                  </a:cubicBezTo>
                  <a:cubicBezTo>
                    <a:pt x="273" y="354"/>
                    <a:pt x="273" y="354"/>
                    <a:pt x="273" y="354"/>
                  </a:cubicBezTo>
                  <a:cubicBezTo>
                    <a:pt x="281" y="354"/>
                    <a:pt x="289" y="346"/>
                    <a:pt x="289" y="338"/>
                  </a:cubicBezTo>
                  <a:cubicBezTo>
                    <a:pt x="289" y="322"/>
                    <a:pt x="289" y="322"/>
                    <a:pt x="289" y="322"/>
                  </a:cubicBezTo>
                  <a:cubicBezTo>
                    <a:pt x="305" y="322"/>
                    <a:pt x="305" y="322"/>
                    <a:pt x="305" y="322"/>
                  </a:cubicBezTo>
                  <a:cubicBezTo>
                    <a:pt x="331" y="322"/>
                    <a:pt x="353" y="300"/>
                    <a:pt x="353" y="273"/>
                  </a:cubicBezTo>
                  <a:cubicBezTo>
                    <a:pt x="353" y="145"/>
                    <a:pt x="353" y="145"/>
                    <a:pt x="353" y="145"/>
                  </a:cubicBezTo>
                  <a:cubicBezTo>
                    <a:pt x="353" y="118"/>
                    <a:pt x="331" y="97"/>
                    <a:pt x="305" y="97"/>
                  </a:cubicBezTo>
                  <a:moveTo>
                    <a:pt x="80" y="16"/>
                  </a:moveTo>
                  <a:cubicBezTo>
                    <a:pt x="273" y="16"/>
                    <a:pt x="273" y="16"/>
                    <a:pt x="273" y="1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80" y="97"/>
                    <a:pt x="80" y="97"/>
                    <a:pt x="80" y="97"/>
                  </a:cubicBezTo>
                  <a:lnTo>
                    <a:pt x="80" y="16"/>
                  </a:lnTo>
                  <a:close/>
                  <a:moveTo>
                    <a:pt x="273" y="338"/>
                  </a:moveTo>
                  <a:cubicBezTo>
                    <a:pt x="80" y="338"/>
                    <a:pt x="80" y="338"/>
                    <a:pt x="80" y="338"/>
                  </a:cubicBezTo>
                  <a:cubicBezTo>
                    <a:pt x="80" y="241"/>
                    <a:pt x="80" y="241"/>
                    <a:pt x="80" y="241"/>
                  </a:cubicBezTo>
                  <a:cubicBezTo>
                    <a:pt x="273" y="241"/>
                    <a:pt x="273" y="241"/>
                    <a:pt x="273" y="241"/>
                  </a:cubicBezTo>
                  <a:lnTo>
                    <a:pt x="273" y="338"/>
                  </a:lnTo>
                  <a:close/>
                  <a:moveTo>
                    <a:pt x="337" y="273"/>
                  </a:moveTo>
                  <a:cubicBezTo>
                    <a:pt x="337" y="291"/>
                    <a:pt x="322" y="305"/>
                    <a:pt x="305" y="305"/>
                  </a:cubicBezTo>
                  <a:cubicBezTo>
                    <a:pt x="289" y="305"/>
                    <a:pt x="289" y="305"/>
                    <a:pt x="289" y="305"/>
                  </a:cubicBezTo>
                  <a:cubicBezTo>
                    <a:pt x="289" y="241"/>
                    <a:pt x="289" y="241"/>
                    <a:pt x="289" y="241"/>
                  </a:cubicBezTo>
                  <a:cubicBezTo>
                    <a:pt x="289" y="232"/>
                    <a:pt x="281" y="225"/>
                    <a:pt x="273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1" y="225"/>
                    <a:pt x="64" y="232"/>
                    <a:pt x="64" y="241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30" y="305"/>
                    <a:pt x="16" y="291"/>
                    <a:pt x="16" y="273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27"/>
                    <a:pt x="30" y="113"/>
                    <a:pt x="48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22" y="113"/>
                    <a:pt x="337" y="127"/>
                    <a:pt x="337" y="145"/>
                  </a:cubicBezTo>
                  <a:lnTo>
                    <a:pt x="337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95187" y="1546310"/>
            <a:ext cx="448790" cy="448790"/>
            <a:chOff x="595187" y="1546310"/>
            <a:chExt cx="448790" cy="448790"/>
          </a:xfrm>
        </p:grpSpPr>
        <p:sp>
          <p:nvSpPr>
            <p:cNvPr id="6" name="Oval 5"/>
            <p:cNvSpPr/>
            <p:nvPr/>
          </p:nvSpPr>
          <p:spPr>
            <a:xfrm>
              <a:off x="595187" y="1546310"/>
              <a:ext cx="448790" cy="44879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718833" y="1665288"/>
              <a:ext cx="210070" cy="210834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95187" y="3837460"/>
            <a:ext cx="448790" cy="448790"/>
            <a:chOff x="595187" y="3837460"/>
            <a:chExt cx="448790" cy="448790"/>
          </a:xfrm>
        </p:grpSpPr>
        <p:sp>
          <p:nvSpPr>
            <p:cNvPr id="8" name="Oval 7"/>
            <p:cNvSpPr/>
            <p:nvPr/>
          </p:nvSpPr>
          <p:spPr>
            <a:xfrm>
              <a:off x="595187" y="3837460"/>
              <a:ext cx="448790" cy="44879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4"/>
            <p:cNvSpPr>
              <a:spLocks noEditPoints="1"/>
            </p:cNvSpPr>
            <p:nvPr/>
          </p:nvSpPr>
          <p:spPr bwMode="auto">
            <a:xfrm>
              <a:off x="715571" y="3952876"/>
              <a:ext cx="217168" cy="217958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9" name="Picture Placeholder 28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281300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>
            <a:off x="4827638" y="1759073"/>
            <a:ext cx="3265438" cy="482447"/>
            <a:chOff x="4827638" y="1759073"/>
            <a:chExt cx="3265438" cy="482447"/>
          </a:xfrm>
        </p:grpSpPr>
        <p:sp>
          <p:nvSpPr>
            <p:cNvPr id="10" name="TextBox 9"/>
            <p:cNvSpPr txBox="1"/>
            <p:nvPr/>
          </p:nvSpPr>
          <p:spPr>
            <a:xfrm>
              <a:off x="4827666" y="1759073"/>
              <a:ext cx="326530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Marketing online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827638" y="1957211"/>
              <a:ext cx="326543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ed dictum odio et velit malesuada, in pellentesque ex pellentesque. Vivamus hendrerit purus eu neque fermentum.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827638" y="2413022"/>
            <a:ext cx="3265438" cy="482447"/>
            <a:chOff x="4827638" y="2413022"/>
            <a:chExt cx="3265438" cy="482447"/>
          </a:xfrm>
        </p:grpSpPr>
        <p:sp>
          <p:nvSpPr>
            <p:cNvPr id="12" name="TextBox 11"/>
            <p:cNvSpPr txBox="1"/>
            <p:nvPr/>
          </p:nvSpPr>
          <p:spPr>
            <a:xfrm>
              <a:off x="4827666" y="2413022"/>
              <a:ext cx="326530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roduçã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ídeo</a:t>
              </a:r>
              <a:endPara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827638" y="2611160"/>
              <a:ext cx="326543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ed dictum odio et velit malesuada, in pellentesque ex pellentesque. Vivamus hendrerit purus eu neque fermentum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827638" y="3070818"/>
            <a:ext cx="3265438" cy="482447"/>
            <a:chOff x="4827638" y="3070818"/>
            <a:chExt cx="3265438" cy="482447"/>
          </a:xfrm>
        </p:grpSpPr>
        <p:sp>
          <p:nvSpPr>
            <p:cNvPr id="14" name="TextBox 13"/>
            <p:cNvSpPr txBox="1"/>
            <p:nvPr/>
          </p:nvSpPr>
          <p:spPr>
            <a:xfrm>
              <a:off x="4827666" y="3070818"/>
              <a:ext cx="326530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mpressã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digital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827638" y="3268956"/>
              <a:ext cx="326543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ed dictum odio et velit malesuada, in pellentesque ex pellentesque. Vivamus hendrerit purus eu neque fermentum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827638" y="3716730"/>
            <a:ext cx="3265438" cy="482447"/>
            <a:chOff x="4827638" y="3716730"/>
            <a:chExt cx="3265438" cy="482447"/>
          </a:xfrm>
        </p:grpSpPr>
        <p:sp>
          <p:nvSpPr>
            <p:cNvPr id="16" name="TextBox 15"/>
            <p:cNvSpPr txBox="1"/>
            <p:nvPr/>
          </p:nvSpPr>
          <p:spPr>
            <a:xfrm>
              <a:off x="4827666" y="3716730"/>
              <a:ext cx="326530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Recursos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humanos</a:t>
              </a:r>
              <a:endPara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827638" y="3914868"/>
              <a:ext cx="326543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fr-FR" sz="750" dirty="0">
                  <a:solidFill>
                    <a:schemeClr val="bg1"/>
                  </a:solidFill>
                  <a:latin typeface="Lato" panose="020F0502020204030203" pitchFamily="34" charset="0"/>
                </a:rPr>
                <a:t>ed dictum odio et velit malesuada, in pellentesque ex pellentesque. Vivamus hendrerit purus eu neque fermentum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190443" y="2363093"/>
            <a:ext cx="448790" cy="448790"/>
            <a:chOff x="4190443" y="2310027"/>
            <a:chExt cx="448790" cy="448790"/>
          </a:xfrm>
        </p:grpSpPr>
        <p:sp>
          <p:nvSpPr>
            <p:cNvPr id="7" name="Oval 6"/>
            <p:cNvSpPr/>
            <p:nvPr/>
          </p:nvSpPr>
          <p:spPr>
            <a:xfrm>
              <a:off x="4190443" y="2310027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4309350" y="2463801"/>
              <a:ext cx="220428" cy="140490"/>
            </a:xfrm>
            <a:custGeom>
              <a:avLst/>
              <a:gdLst>
                <a:gd name="T0" fmla="*/ 168 w 353"/>
                <a:gd name="T1" fmla="*/ 32 h 225"/>
                <a:gd name="T2" fmla="*/ 144 w 353"/>
                <a:gd name="T3" fmla="*/ 56 h 225"/>
                <a:gd name="T4" fmla="*/ 168 w 353"/>
                <a:gd name="T5" fmla="*/ 81 h 225"/>
                <a:gd name="T6" fmla="*/ 192 w 353"/>
                <a:gd name="T7" fmla="*/ 56 h 225"/>
                <a:gd name="T8" fmla="*/ 168 w 353"/>
                <a:gd name="T9" fmla="*/ 32 h 225"/>
                <a:gd name="T10" fmla="*/ 168 w 353"/>
                <a:gd name="T11" fmla="*/ 65 h 225"/>
                <a:gd name="T12" fmla="*/ 160 w 353"/>
                <a:gd name="T13" fmla="*/ 56 h 225"/>
                <a:gd name="T14" fmla="*/ 168 w 353"/>
                <a:gd name="T15" fmla="*/ 48 h 225"/>
                <a:gd name="T16" fmla="*/ 176 w 353"/>
                <a:gd name="T17" fmla="*/ 56 h 225"/>
                <a:gd name="T18" fmla="*/ 168 w 353"/>
                <a:gd name="T19" fmla="*/ 65 h 225"/>
                <a:gd name="T20" fmla="*/ 345 w 353"/>
                <a:gd name="T21" fmla="*/ 32 h 225"/>
                <a:gd name="T22" fmla="*/ 341 w 353"/>
                <a:gd name="T23" fmla="*/ 33 h 225"/>
                <a:gd name="T24" fmla="*/ 341 w 353"/>
                <a:gd name="T25" fmla="*/ 33 h 225"/>
                <a:gd name="T26" fmla="*/ 256 w 353"/>
                <a:gd name="T27" fmla="*/ 76 h 225"/>
                <a:gd name="T28" fmla="*/ 256 w 353"/>
                <a:gd name="T29" fmla="*/ 32 h 225"/>
                <a:gd name="T30" fmla="*/ 224 w 353"/>
                <a:gd name="T31" fmla="*/ 0 h 225"/>
                <a:gd name="T32" fmla="*/ 32 w 353"/>
                <a:gd name="T33" fmla="*/ 0 h 225"/>
                <a:gd name="T34" fmla="*/ 0 w 353"/>
                <a:gd name="T35" fmla="*/ 32 h 225"/>
                <a:gd name="T36" fmla="*/ 0 w 353"/>
                <a:gd name="T37" fmla="*/ 193 h 225"/>
                <a:gd name="T38" fmla="*/ 32 w 353"/>
                <a:gd name="T39" fmla="*/ 225 h 225"/>
                <a:gd name="T40" fmla="*/ 224 w 353"/>
                <a:gd name="T41" fmla="*/ 225 h 225"/>
                <a:gd name="T42" fmla="*/ 256 w 353"/>
                <a:gd name="T43" fmla="*/ 193 h 225"/>
                <a:gd name="T44" fmla="*/ 256 w 353"/>
                <a:gd name="T45" fmla="*/ 150 h 225"/>
                <a:gd name="T46" fmla="*/ 341 w 353"/>
                <a:gd name="T47" fmla="*/ 192 h 225"/>
                <a:gd name="T48" fmla="*/ 341 w 353"/>
                <a:gd name="T49" fmla="*/ 192 h 225"/>
                <a:gd name="T50" fmla="*/ 345 w 353"/>
                <a:gd name="T51" fmla="*/ 193 h 225"/>
                <a:gd name="T52" fmla="*/ 353 w 353"/>
                <a:gd name="T53" fmla="*/ 185 h 225"/>
                <a:gd name="T54" fmla="*/ 353 w 353"/>
                <a:gd name="T55" fmla="*/ 40 h 225"/>
                <a:gd name="T56" fmla="*/ 345 w 353"/>
                <a:gd name="T57" fmla="*/ 32 h 225"/>
                <a:gd name="T58" fmla="*/ 224 w 353"/>
                <a:gd name="T59" fmla="*/ 209 h 225"/>
                <a:gd name="T60" fmla="*/ 32 w 353"/>
                <a:gd name="T61" fmla="*/ 209 h 225"/>
                <a:gd name="T62" fmla="*/ 16 w 353"/>
                <a:gd name="T63" fmla="*/ 193 h 225"/>
                <a:gd name="T64" fmla="*/ 240 w 353"/>
                <a:gd name="T65" fmla="*/ 193 h 225"/>
                <a:gd name="T66" fmla="*/ 224 w 353"/>
                <a:gd name="T67" fmla="*/ 209 h 225"/>
                <a:gd name="T68" fmla="*/ 240 w 353"/>
                <a:gd name="T69" fmla="*/ 177 h 225"/>
                <a:gd name="T70" fmla="*/ 16 w 353"/>
                <a:gd name="T71" fmla="*/ 177 h 225"/>
                <a:gd name="T72" fmla="*/ 16 w 353"/>
                <a:gd name="T73" fmla="*/ 32 h 225"/>
                <a:gd name="T74" fmla="*/ 32 w 353"/>
                <a:gd name="T75" fmla="*/ 16 h 225"/>
                <a:gd name="T76" fmla="*/ 224 w 353"/>
                <a:gd name="T77" fmla="*/ 16 h 225"/>
                <a:gd name="T78" fmla="*/ 240 w 353"/>
                <a:gd name="T79" fmla="*/ 32 h 225"/>
                <a:gd name="T80" fmla="*/ 240 w 353"/>
                <a:gd name="T81" fmla="*/ 177 h 225"/>
                <a:gd name="T82" fmla="*/ 337 w 353"/>
                <a:gd name="T83" fmla="*/ 172 h 225"/>
                <a:gd name="T84" fmla="*/ 256 w 353"/>
                <a:gd name="T85" fmla="*/ 132 h 225"/>
                <a:gd name="T86" fmla="*/ 256 w 353"/>
                <a:gd name="T87" fmla="*/ 94 h 225"/>
                <a:gd name="T88" fmla="*/ 337 w 353"/>
                <a:gd name="T89" fmla="*/ 53 h 225"/>
                <a:gd name="T90" fmla="*/ 337 w 353"/>
                <a:gd name="T91" fmla="*/ 172 h 225"/>
                <a:gd name="T92" fmla="*/ 216 w 353"/>
                <a:gd name="T93" fmla="*/ 32 h 225"/>
                <a:gd name="T94" fmla="*/ 208 w 353"/>
                <a:gd name="T95" fmla="*/ 40 h 225"/>
                <a:gd name="T96" fmla="*/ 216 w 353"/>
                <a:gd name="T97" fmla="*/ 48 h 225"/>
                <a:gd name="T98" fmla="*/ 224 w 353"/>
                <a:gd name="T99" fmla="*/ 40 h 225"/>
                <a:gd name="T100" fmla="*/ 216 w 353"/>
                <a:gd name="T101" fmla="*/ 3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225">
                  <a:moveTo>
                    <a:pt x="168" y="32"/>
                  </a:moveTo>
                  <a:cubicBezTo>
                    <a:pt x="155" y="32"/>
                    <a:pt x="144" y="43"/>
                    <a:pt x="144" y="56"/>
                  </a:cubicBezTo>
                  <a:cubicBezTo>
                    <a:pt x="144" y="70"/>
                    <a:pt x="155" y="81"/>
                    <a:pt x="168" y="81"/>
                  </a:cubicBezTo>
                  <a:cubicBezTo>
                    <a:pt x="181" y="81"/>
                    <a:pt x="192" y="70"/>
                    <a:pt x="192" y="56"/>
                  </a:cubicBezTo>
                  <a:cubicBezTo>
                    <a:pt x="192" y="43"/>
                    <a:pt x="181" y="32"/>
                    <a:pt x="168" y="32"/>
                  </a:cubicBezTo>
                  <a:moveTo>
                    <a:pt x="168" y="65"/>
                  </a:moveTo>
                  <a:cubicBezTo>
                    <a:pt x="164" y="65"/>
                    <a:pt x="160" y="61"/>
                    <a:pt x="160" y="56"/>
                  </a:cubicBezTo>
                  <a:cubicBezTo>
                    <a:pt x="160" y="52"/>
                    <a:pt x="164" y="48"/>
                    <a:pt x="168" y="48"/>
                  </a:cubicBezTo>
                  <a:cubicBezTo>
                    <a:pt x="173" y="48"/>
                    <a:pt x="176" y="52"/>
                    <a:pt x="176" y="56"/>
                  </a:cubicBezTo>
                  <a:cubicBezTo>
                    <a:pt x="176" y="61"/>
                    <a:pt x="173" y="65"/>
                    <a:pt x="168" y="65"/>
                  </a:cubicBezTo>
                  <a:moveTo>
                    <a:pt x="345" y="32"/>
                  </a:moveTo>
                  <a:cubicBezTo>
                    <a:pt x="343" y="32"/>
                    <a:pt x="342" y="33"/>
                    <a:pt x="341" y="33"/>
                  </a:cubicBezTo>
                  <a:cubicBezTo>
                    <a:pt x="341" y="33"/>
                    <a:pt x="341" y="33"/>
                    <a:pt x="341" y="33"/>
                  </a:cubicBezTo>
                  <a:cubicBezTo>
                    <a:pt x="256" y="76"/>
                    <a:pt x="256" y="76"/>
                    <a:pt x="256" y="76"/>
                  </a:cubicBezTo>
                  <a:cubicBezTo>
                    <a:pt x="256" y="32"/>
                    <a:pt x="256" y="32"/>
                    <a:pt x="256" y="32"/>
                  </a:cubicBezTo>
                  <a:cubicBezTo>
                    <a:pt x="256" y="15"/>
                    <a:pt x="242" y="0"/>
                    <a:pt x="22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5"/>
                    <a:pt x="0" y="32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211"/>
                    <a:pt x="14" y="225"/>
                    <a:pt x="32" y="225"/>
                  </a:cubicBezTo>
                  <a:cubicBezTo>
                    <a:pt x="224" y="225"/>
                    <a:pt x="224" y="225"/>
                    <a:pt x="224" y="225"/>
                  </a:cubicBezTo>
                  <a:cubicBezTo>
                    <a:pt x="242" y="225"/>
                    <a:pt x="256" y="211"/>
                    <a:pt x="256" y="193"/>
                  </a:cubicBezTo>
                  <a:cubicBezTo>
                    <a:pt x="256" y="150"/>
                    <a:pt x="256" y="150"/>
                    <a:pt x="256" y="150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2" y="193"/>
                    <a:pt x="343" y="193"/>
                    <a:pt x="345" y="193"/>
                  </a:cubicBezTo>
                  <a:cubicBezTo>
                    <a:pt x="349" y="193"/>
                    <a:pt x="353" y="189"/>
                    <a:pt x="353" y="185"/>
                  </a:cubicBezTo>
                  <a:cubicBezTo>
                    <a:pt x="353" y="40"/>
                    <a:pt x="353" y="40"/>
                    <a:pt x="353" y="40"/>
                  </a:cubicBezTo>
                  <a:cubicBezTo>
                    <a:pt x="353" y="36"/>
                    <a:pt x="349" y="32"/>
                    <a:pt x="345" y="32"/>
                  </a:cubicBezTo>
                  <a:moveTo>
                    <a:pt x="224" y="209"/>
                  </a:moveTo>
                  <a:cubicBezTo>
                    <a:pt x="32" y="209"/>
                    <a:pt x="32" y="209"/>
                    <a:pt x="32" y="209"/>
                  </a:cubicBezTo>
                  <a:cubicBezTo>
                    <a:pt x="23" y="209"/>
                    <a:pt x="16" y="202"/>
                    <a:pt x="16" y="193"/>
                  </a:cubicBezTo>
                  <a:cubicBezTo>
                    <a:pt x="240" y="193"/>
                    <a:pt x="240" y="193"/>
                    <a:pt x="240" y="193"/>
                  </a:cubicBezTo>
                  <a:cubicBezTo>
                    <a:pt x="240" y="202"/>
                    <a:pt x="233" y="209"/>
                    <a:pt x="224" y="209"/>
                  </a:cubicBezTo>
                  <a:moveTo>
                    <a:pt x="240" y="177"/>
                  </a:moveTo>
                  <a:cubicBezTo>
                    <a:pt x="16" y="177"/>
                    <a:pt x="16" y="177"/>
                    <a:pt x="16" y="177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24"/>
                    <a:pt x="23" y="16"/>
                    <a:pt x="32" y="16"/>
                  </a:cubicBezTo>
                  <a:cubicBezTo>
                    <a:pt x="224" y="16"/>
                    <a:pt x="224" y="16"/>
                    <a:pt x="224" y="16"/>
                  </a:cubicBezTo>
                  <a:cubicBezTo>
                    <a:pt x="233" y="16"/>
                    <a:pt x="240" y="24"/>
                    <a:pt x="240" y="32"/>
                  </a:cubicBezTo>
                  <a:lnTo>
                    <a:pt x="240" y="177"/>
                  </a:lnTo>
                  <a:close/>
                  <a:moveTo>
                    <a:pt x="337" y="172"/>
                  </a:moveTo>
                  <a:cubicBezTo>
                    <a:pt x="256" y="132"/>
                    <a:pt x="256" y="132"/>
                    <a:pt x="256" y="132"/>
                  </a:cubicBezTo>
                  <a:cubicBezTo>
                    <a:pt x="256" y="94"/>
                    <a:pt x="256" y="94"/>
                    <a:pt x="256" y="94"/>
                  </a:cubicBezTo>
                  <a:cubicBezTo>
                    <a:pt x="337" y="53"/>
                    <a:pt x="337" y="53"/>
                    <a:pt x="337" y="53"/>
                  </a:cubicBezTo>
                  <a:lnTo>
                    <a:pt x="337" y="172"/>
                  </a:lnTo>
                  <a:close/>
                  <a:moveTo>
                    <a:pt x="216" y="32"/>
                  </a:moveTo>
                  <a:cubicBezTo>
                    <a:pt x="212" y="32"/>
                    <a:pt x="208" y="36"/>
                    <a:pt x="208" y="40"/>
                  </a:cubicBezTo>
                  <a:cubicBezTo>
                    <a:pt x="208" y="45"/>
                    <a:pt x="212" y="48"/>
                    <a:pt x="216" y="48"/>
                  </a:cubicBezTo>
                  <a:cubicBezTo>
                    <a:pt x="221" y="48"/>
                    <a:pt x="224" y="45"/>
                    <a:pt x="224" y="40"/>
                  </a:cubicBezTo>
                  <a:cubicBezTo>
                    <a:pt x="224" y="36"/>
                    <a:pt x="221" y="32"/>
                    <a:pt x="216" y="3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190443" y="3017418"/>
            <a:ext cx="448790" cy="448790"/>
            <a:chOff x="4190443" y="3073744"/>
            <a:chExt cx="448790" cy="448790"/>
          </a:xfrm>
        </p:grpSpPr>
        <p:sp>
          <p:nvSpPr>
            <p:cNvPr id="9" name="Oval 8"/>
            <p:cNvSpPr/>
            <p:nvPr/>
          </p:nvSpPr>
          <p:spPr>
            <a:xfrm>
              <a:off x="4190443" y="3073744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4311062" y="3189289"/>
              <a:ext cx="216124" cy="217700"/>
            </a:xfrm>
            <a:custGeom>
              <a:avLst/>
              <a:gdLst>
                <a:gd name="T0" fmla="*/ 232 w 353"/>
                <a:gd name="T1" fmla="*/ 305 h 354"/>
                <a:gd name="T2" fmla="*/ 232 w 353"/>
                <a:gd name="T3" fmla="*/ 289 h 354"/>
                <a:gd name="T4" fmla="*/ 112 w 353"/>
                <a:gd name="T5" fmla="*/ 297 h 354"/>
                <a:gd name="T6" fmla="*/ 120 w 353"/>
                <a:gd name="T7" fmla="*/ 273 h 354"/>
                <a:gd name="T8" fmla="*/ 208 w 353"/>
                <a:gd name="T9" fmla="*/ 265 h 354"/>
                <a:gd name="T10" fmla="*/ 120 w 353"/>
                <a:gd name="T11" fmla="*/ 257 h 354"/>
                <a:gd name="T12" fmla="*/ 120 w 353"/>
                <a:gd name="T13" fmla="*/ 273 h 354"/>
                <a:gd name="T14" fmla="*/ 224 w 353"/>
                <a:gd name="T15" fmla="*/ 161 h 354"/>
                <a:gd name="T16" fmla="*/ 256 w 353"/>
                <a:gd name="T17" fmla="*/ 161 h 354"/>
                <a:gd name="T18" fmla="*/ 289 w 353"/>
                <a:gd name="T19" fmla="*/ 145 h 354"/>
                <a:gd name="T20" fmla="*/ 289 w 353"/>
                <a:gd name="T21" fmla="*/ 177 h 354"/>
                <a:gd name="T22" fmla="*/ 289 w 353"/>
                <a:gd name="T23" fmla="*/ 145 h 354"/>
                <a:gd name="T24" fmla="*/ 289 w 353"/>
                <a:gd name="T25" fmla="*/ 97 h 354"/>
                <a:gd name="T26" fmla="*/ 273 w 353"/>
                <a:gd name="T27" fmla="*/ 0 h 354"/>
                <a:gd name="T28" fmla="*/ 64 w 353"/>
                <a:gd name="T29" fmla="*/ 16 h 354"/>
                <a:gd name="T30" fmla="*/ 48 w 353"/>
                <a:gd name="T31" fmla="*/ 97 h 354"/>
                <a:gd name="T32" fmla="*/ 0 w 353"/>
                <a:gd name="T33" fmla="*/ 273 h 354"/>
                <a:gd name="T34" fmla="*/ 64 w 353"/>
                <a:gd name="T35" fmla="*/ 322 h 354"/>
                <a:gd name="T36" fmla="*/ 80 w 353"/>
                <a:gd name="T37" fmla="*/ 354 h 354"/>
                <a:gd name="T38" fmla="*/ 289 w 353"/>
                <a:gd name="T39" fmla="*/ 338 h 354"/>
                <a:gd name="T40" fmla="*/ 305 w 353"/>
                <a:gd name="T41" fmla="*/ 322 h 354"/>
                <a:gd name="T42" fmla="*/ 353 w 353"/>
                <a:gd name="T43" fmla="*/ 145 h 354"/>
                <a:gd name="T44" fmla="*/ 80 w 353"/>
                <a:gd name="T45" fmla="*/ 16 h 354"/>
                <a:gd name="T46" fmla="*/ 273 w 353"/>
                <a:gd name="T47" fmla="*/ 97 h 354"/>
                <a:gd name="T48" fmla="*/ 80 w 353"/>
                <a:gd name="T49" fmla="*/ 16 h 354"/>
                <a:gd name="T50" fmla="*/ 80 w 353"/>
                <a:gd name="T51" fmla="*/ 338 h 354"/>
                <a:gd name="T52" fmla="*/ 273 w 353"/>
                <a:gd name="T53" fmla="*/ 241 h 354"/>
                <a:gd name="T54" fmla="*/ 337 w 353"/>
                <a:gd name="T55" fmla="*/ 273 h 354"/>
                <a:gd name="T56" fmla="*/ 289 w 353"/>
                <a:gd name="T57" fmla="*/ 305 h 354"/>
                <a:gd name="T58" fmla="*/ 273 w 353"/>
                <a:gd name="T59" fmla="*/ 225 h 354"/>
                <a:gd name="T60" fmla="*/ 64 w 353"/>
                <a:gd name="T61" fmla="*/ 241 h 354"/>
                <a:gd name="T62" fmla="*/ 48 w 353"/>
                <a:gd name="T63" fmla="*/ 305 h 354"/>
                <a:gd name="T64" fmla="*/ 16 w 353"/>
                <a:gd name="T65" fmla="*/ 145 h 354"/>
                <a:gd name="T66" fmla="*/ 305 w 353"/>
                <a:gd name="T67" fmla="*/ 113 h 354"/>
                <a:gd name="T68" fmla="*/ 337 w 353"/>
                <a:gd name="T69" fmla="*/ 27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53" h="354">
                  <a:moveTo>
                    <a:pt x="120" y="305"/>
                  </a:moveTo>
                  <a:cubicBezTo>
                    <a:pt x="232" y="305"/>
                    <a:pt x="232" y="305"/>
                    <a:pt x="232" y="305"/>
                  </a:cubicBezTo>
                  <a:cubicBezTo>
                    <a:pt x="237" y="305"/>
                    <a:pt x="240" y="302"/>
                    <a:pt x="240" y="297"/>
                  </a:cubicBezTo>
                  <a:cubicBezTo>
                    <a:pt x="240" y="293"/>
                    <a:pt x="237" y="289"/>
                    <a:pt x="232" y="289"/>
                  </a:cubicBezTo>
                  <a:cubicBezTo>
                    <a:pt x="120" y="289"/>
                    <a:pt x="120" y="289"/>
                    <a:pt x="120" y="289"/>
                  </a:cubicBezTo>
                  <a:cubicBezTo>
                    <a:pt x="116" y="289"/>
                    <a:pt x="112" y="293"/>
                    <a:pt x="112" y="297"/>
                  </a:cubicBezTo>
                  <a:cubicBezTo>
                    <a:pt x="112" y="302"/>
                    <a:pt x="116" y="305"/>
                    <a:pt x="120" y="305"/>
                  </a:cubicBezTo>
                  <a:moveTo>
                    <a:pt x="120" y="273"/>
                  </a:moveTo>
                  <a:cubicBezTo>
                    <a:pt x="200" y="273"/>
                    <a:pt x="200" y="273"/>
                    <a:pt x="200" y="273"/>
                  </a:cubicBezTo>
                  <a:cubicBezTo>
                    <a:pt x="205" y="273"/>
                    <a:pt x="208" y="270"/>
                    <a:pt x="208" y="265"/>
                  </a:cubicBezTo>
                  <a:cubicBezTo>
                    <a:pt x="208" y="261"/>
                    <a:pt x="205" y="257"/>
                    <a:pt x="200" y="257"/>
                  </a:cubicBezTo>
                  <a:cubicBezTo>
                    <a:pt x="120" y="257"/>
                    <a:pt x="120" y="257"/>
                    <a:pt x="120" y="257"/>
                  </a:cubicBezTo>
                  <a:cubicBezTo>
                    <a:pt x="116" y="257"/>
                    <a:pt x="112" y="261"/>
                    <a:pt x="112" y="265"/>
                  </a:cubicBezTo>
                  <a:cubicBezTo>
                    <a:pt x="112" y="270"/>
                    <a:pt x="116" y="273"/>
                    <a:pt x="120" y="273"/>
                  </a:cubicBezTo>
                  <a:moveTo>
                    <a:pt x="240" y="145"/>
                  </a:moveTo>
                  <a:cubicBezTo>
                    <a:pt x="232" y="145"/>
                    <a:pt x="224" y="152"/>
                    <a:pt x="224" y="161"/>
                  </a:cubicBezTo>
                  <a:cubicBezTo>
                    <a:pt x="224" y="170"/>
                    <a:pt x="232" y="177"/>
                    <a:pt x="240" y="177"/>
                  </a:cubicBezTo>
                  <a:cubicBezTo>
                    <a:pt x="249" y="177"/>
                    <a:pt x="256" y="170"/>
                    <a:pt x="256" y="161"/>
                  </a:cubicBezTo>
                  <a:cubicBezTo>
                    <a:pt x="256" y="152"/>
                    <a:pt x="249" y="145"/>
                    <a:pt x="240" y="145"/>
                  </a:cubicBezTo>
                  <a:moveTo>
                    <a:pt x="289" y="145"/>
                  </a:moveTo>
                  <a:cubicBezTo>
                    <a:pt x="280" y="145"/>
                    <a:pt x="273" y="152"/>
                    <a:pt x="273" y="161"/>
                  </a:cubicBezTo>
                  <a:cubicBezTo>
                    <a:pt x="273" y="170"/>
                    <a:pt x="280" y="177"/>
                    <a:pt x="289" y="177"/>
                  </a:cubicBezTo>
                  <a:cubicBezTo>
                    <a:pt x="297" y="177"/>
                    <a:pt x="305" y="170"/>
                    <a:pt x="305" y="161"/>
                  </a:cubicBezTo>
                  <a:cubicBezTo>
                    <a:pt x="305" y="152"/>
                    <a:pt x="297" y="145"/>
                    <a:pt x="289" y="145"/>
                  </a:cubicBezTo>
                  <a:moveTo>
                    <a:pt x="305" y="97"/>
                  </a:moveTo>
                  <a:cubicBezTo>
                    <a:pt x="289" y="97"/>
                    <a:pt x="289" y="97"/>
                    <a:pt x="289" y="97"/>
                  </a:cubicBezTo>
                  <a:cubicBezTo>
                    <a:pt x="289" y="16"/>
                    <a:pt x="289" y="16"/>
                    <a:pt x="289" y="16"/>
                  </a:cubicBezTo>
                  <a:cubicBezTo>
                    <a:pt x="289" y="8"/>
                    <a:pt x="281" y="0"/>
                    <a:pt x="27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1" y="0"/>
                    <a:pt x="64" y="8"/>
                    <a:pt x="64" y="16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21" y="97"/>
                    <a:pt x="0" y="118"/>
                    <a:pt x="0" y="145"/>
                  </a:cubicBezTo>
                  <a:cubicBezTo>
                    <a:pt x="0" y="273"/>
                    <a:pt x="0" y="273"/>
                    <a:pt x="0" y="273"/>
                  </a:cubicBezTo>
                  <a:cubicBezTo>
                    <a:pt x="0" y="300"/>
                    <a:pt x="21" y="322"/>
                    <a:pt x="48" y="322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64" y="338"/>
                    <a:pt x="64" y="338"/>
                    <a:pt x="64" y="338"/>
                  </a:cubicBezTo>
                  <a:cubicBezTo>
                    <a:pt x="64" y="346"/>
                    <a:pt x="71" y="354"/>
                    <a:pt x="80" y="354"/>
                  </a:cubicBezTo>
                  <a:cubicBezTo>
                    <a:pt x="273" y="354"/>
                    <a:pt x="273" y="354"/>
                    <a:pt x="273" y="354"/>
                  </a:cubicBezTo>
                  <a:cubicBezTo>
                    <a:pt x="281" y="354"/>
                    <a:pt x="289" y="346"/>
                    <a:pt x="289" y="338"/>
                  </a:cubicBezTo>
                  <a:cubicBezTo>
                    <a:pt x="289" y="322"/>
                    <a:pt x="289" y="322"/>
                    <a:pt x="289" y="322"/>
                  </a:cubicBezTo>
                  <a:cubicBezTo>
                    <a:pt x="305" y="322"/>
                    <a:pt x="305" y="322"/>
                    <a:pt x="305" y="322"/>
                  </a:cubicBezTo>
                  <a:cubicBezTo>
                    <a:pt x="331" y="322"/>
                    <a:pt x="353" y="300"/>
                    <a:pt x="353" y="273"/>
                  </a:cubicBezTo>
                  <a:cubicBezTo>
                    <a:pt x="353" y="145"/>
                    <a:pt x="353" y="145"/>
                    <a:pt x="353" y="145"/>
                  </a:cubicBezTo>
                  <a:cubicBezTo>
                    <a:pt x="353" y="118"/>
                    <a:pt x="331" y="97"/>
                    <a:pt x="305" y="97"/>
                  </a:cubicBezTo>
                  <a:moveTo>
                    <a:pt x="80" y="16"/>
                  </a:moveTo>
                  <a:cubicBezTo>
                    <a:pt x="273" y="16"/>
                    <a:pt x="273" y="16"/>
                    <a:pt x="273" y="16"/>
                  </a:cubicBezTo>
                  <a:cubicBezTo>
                    <a:pt x="273" y="97"/>
                    <a:pt x="273" y="97"/>
                    <a:pt x="273" y="97"/>
                  </a:cubicBezTo>
                  <a:cubicBezTo>
                    <a:pt x="80" y="97"/>
                    <a:pt x="80" y="97"/>
                    <a:pt x="80" y="97"/>
                  </a:cubicBezTo>
                  <a:lnTo>
                    <a:pt x="80" y="16"/>
                  </a:lnTo>
                  <a:close/>
                  <a:moveTo>
                    <a:pt x="273" y="338"/>
                  </a:moveTo>
                  <a:cubicBezTo>
                    <a:pt x="80" y="338"/>
                    <a:pt x="80" y="338"/>
                    <a:pt x="80" y="338"/>
                  </a:cubicBezTo>
                  <a:cubicBezTo>
                    <a:pt x="80" y="241"/>
                    <a:pt x="80" y="241"/>
                    <a:pt x="80" y="241"/>
                  </a:cubicBezTo>
                  <a:cubicBezTo>
                    <a:pt x="273" y="241"/>
                    <a:pt x="273" y="241"/>
                    <a:pt x="273" y="241"/>
                  </a:cubicBezTo>
                  <a:lnTo>
                    <a:pt x="273" y="338"/>
                  </a:lnTo>
                  <a:close/>
                  <a:moveTo>
                    <a:pt x="337" y="273"/>
                  </a:moveTo>
                  <a:cubicBezTo>
                    <a:pt x="337" y="291"/>
                    <a:pt x="322" y="305"/>
                    <a:pt x="305" y="305"/>
                  </a:cubicBezTo>
                  <a:cubicBezTo>
                    <a:pt x="289" y="305"/>
                    <a:pt x="289" y="305"/>
                    <a:pt x="289" y="305"/>
                  </a:cubicBezTo>
                  <a:cubicBezTo>
                    <a:pt x="289" y="241"/>
                    <a:pt x="289" y="241"/>
                    <a:pt x="289" y="241"/>
                  </a:cubicBezTo>
                  <a:cubicBezTo>
                    <a:pt x="289" y="232"/>
                    <a:pt x="281" y="225"/>
                    <a:pt x="273" y="225"/>
                  </a:cubicBezTo>
                  <a:cubicBezTo>
                    <a:pt x="80" y="225"/>
                    <a:pt x="80" y="225"/>
                    <a:pt x="80" y="225"/>
                  </a:cubicBezTo>
                  <a:cubicBezTo>
                    <a:pt x="71" y="225"/>
                    <a:pt x="64" y="232"/>
                    <a:pt x="64" y="241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48" y="305"/>
                    <a:pt x="48" y="305"/>
                    <a:pt x="48" y="305"/>
                  </a:cubicBezTo>
                  <a:cubicBezTo>
                    <a:pt x="30" y="305"/>
                    <a:pt x="16" y="291"/>
                    <a:pt x="16" y="273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27"/>
                    <a:pt x="30" y="113"/>
                    <a:pt x="48" y="113"/>
                  </a:cubicBezTo>
                  <a:cubicBezTo>
                    <a:pt x="305" y="113"/>
                    <a:pt x="305" y="113"/>
                    <a:pt x="305" y="113"/>
                  </a:cubicBezTo>
                  <a:cubicBezTo>
                    <a:pt x="322" y="113"/>
                    <a:pt x="337" y="127"/>
                    <a:pt x="337" y="145"/>
                  </a:cubicBezTo>
                  <a:lnTo>
                    <a:pt x="337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190443" y="1708768"/>
            <a:ext cx="448790" cy="448790"/>
            <a:chOff x="4190443" y="1546310"/>
            <a:chExt cx="448790" cy="448790"/>
          </a:xfrm>
        </p:grpSpPr>
        <p:sp>
          <p:nvSpPr>
            <p:cNvPr id="6" name="Oval 5"/>
            <p:cNvSpPr/>
            <p:nvPr/>
          </p:nvSpPr>
          <p:spPr>
            <a:xfrm>
              <a:off x="4190443" y="1546310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0" name="Freeform 16"/>
            <p:cNvSpPr>
              <a:spLocks noEditPoints="1"/>
            </p:cNvSpPr>
            <p:nvPr/>
          </p:nvSpPr>
          <p:spPr bwMode="auto">
            <a:xfrm>
              <a:off x="4314089" y="1665288"/>
              <a:ext cx="210070" cy="210834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4190443" y="3671742"/>
            <a:ext cx="448790" cy="448790"/>
            <a:chOff x="4190443" y="3837460"/>
            <a:chExt cx="448790" cy="448790"/>
          </a:xfrm>
        </p:grpSpPr>
        <p:sp>
          <p:nvSpPr>
            <p:cNvPr id="8" name="Oval 7"/>
            <p:cNvSpPr/>
            <p:nvPr/>
          </p:nvSpPr>
          <p:spPr>
            <a:xfrm>
              <a:off x="4190443" y="3837460"/>
              <a:ext cx="448790" cy="448790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Freeform 24"/>
            <p:cNvSpPr>
              <a:spLocks noEditPoints="1"/>
            </p:cNvSpPr>
            <p:nvPr/>
          </p:nvSpPr>
          <p:spPr bwMode="auto">
            <a:xfrm>
              <a:off x="4310827" y="3952876"/>
              <a:ext cx="217168" cy="217958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280549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593725" y="3920067"/>
            <a:ext cx="2513187" cy="3661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715964" y="4033909"/>
            <a:ext cx="2273300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ortfólio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rodutos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12230" y="3920067"/>
            <a:ext cx="2513187" cy="3661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2"/>
          <p:cNvSpPr txBox="1">
            <a:spLocks/>
          </p:cNvSpPr>
          <p:nvPr/>
        </p:nvSpPr>
        <p:spPr>
          <a:xfrm>
            <a:off x="3434469" y="4033909"/>
            <a:ext cx="2273300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ortólio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serviços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33912" y="3920067"/>
            <a:ext cx="2513187" cy="3661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6156151" y="4033909"/>
            <a:ext cx="2273300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resultados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1700815" y="3758371"/>
            <a:ext cx="268956" cy="69850"/>
            <a:chOff x="1345947" y="4012833"/>
            <a:chExt cx="268956" cy="69850"/>
          </a:xfrm>
          <a:solidFill>
            <a:schemeClr val="accent6"/>
          </a:solidFill>
        </p:grpSpPr>
        <p:sp>
          <p:nvSpPr>
            <p:cNvPr id="23" name="Oval 22"/>
            <p:cNvSpPr/>
            <p:nvPr/>
          </p:nvSpPr>
          <p:spPr>
            <a:xfrm>
              <a:off x="1345947" y="4012833"/>
              <a:ext cx="69850" cy="698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>
              <a:off x="1445500" y="4012833"/>
              <a:ext cx="69850" cy="698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>
              <a:off x="1545053" y="4012833"/>
              <a:ext cx="69850" cy="6985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4436077" y="3758371"/>
            <a:ext cx="268956" cy="69850"/>
            <a:chOff x="1345947" y="4012833"/>
            <a:chExt cx="268956" cy="69850"/>
          </a:xfrm>
          <a:solidFill>
            <a:schemeClr val="accent5"/>
          </a:solidFill>
        </p:grpSpPr>
        <p:sp>
          <p:nvSpPr>
            <p:cNvPr id="27" name="Oval 26"/>
            <p:cNvSpPr/>
            <p:nvPr/>
          </p:nvSpPr>
          <p:spPr>
            <a:xfrm>
              <a:off x="1345947" y="4012833"/>
              <a:ext cx="69850" cy="698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>
              <a:off x="1445500" y="4012833"/>
              <a:ext cx="69850" cy="698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>
              <a:off x="1545053" y="4012833"/>
              <a:ext cx="69850" cy="698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7171197" y="3758371"/>
            <a:ext cx="268956" cy="69850"/>
            <a:chOff x="1345947" y="4012833"/>
            <a:chExt cx="268956" cy="69850"/>
          </a:xfrm>
          <a:solidFill>
            <a:schemeClr val="accent5"/>
          </a:solidFill>
        </p:grpSpPr>
        <p:sp>
          <p:nvSpPr>
            <p:cNvPr id="31" name="Oval 30"/>
            <p:cNvSpPr/>
            <p:nvPr/>
          </p:nvSpPr>
          <p:spPr>
            <a:xfrm>
              <a:off x="1345947" y="4012833"/>
              <a:ext cx="69850" cy="698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>
              <a:off x="1445500" y="4012833"/>
              <a:ext cx="69850" cy="6985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>
              <a:off x="1545053" y="4012833"/>
              <a:ext cx="69850" cy="6985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8699" y="1543049"/>
            <a:ext cx="2513188" cy="2743200"/>
          </a:xfrm>
        </p:spPr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3304295" y="1543049"/>
            <a:ext cx="2513188" cy="2743200"/>
          </a:xfrm>
        </p:spPr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33912" y="1543049"/>
            <a:ext cx="2513188" cy="2743200"/>
          </a:xfrm>
        </p:spPr>
      </p:sp>
    </p:spTree>
    <p:extLst>
      <p:ext uri="{BB962C8B-B14F-4D97-AF65-F5344CB8AC3E}">
        <p14:creationId xmlns:p14="http://schemas.microsoft.com/office/powerpoint/2010/main" val="332730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Dicas de </a:t>
            </a:r>
            <a:r>
              <a:rPr lang="en-US" dirty="0" err="1">
                <a:solidFill>
                  <a:srgbClr val="4B5050"/>
                </a:solidFill>
              </a:rPr>
              <a:t>uso</a:t>
            </a:r>
            <a:r>
              <a:rPr lang="en-US" dirty="0">
                <a:solidFill>
                  <a:srgbClr val="4B5050"/>
                </a:solidFill>
              </a:rPr>
              <a:t> do </a:t>
            </a:r>
            <a:r>
              <a:rPr lang="en-US" dirty="0">
                <a:solidFill>
                  <a:srgbClr val="FF0000"/>
                </a:solidFill>
              </a:rPr>
              <a:t>templ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ensando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na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consistência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da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marca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, fique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atento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a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ont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descrit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n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dirty="0" err="1">
                <a:ea typeface="Open Sans Light" panose="020B0306030504020204" pitchFamily="34" charset="0"/>
                <a:cs typeface="Open Sans Light" panose="020B0306030504020204" pitchFamily="34" charset="0"/>
              </a:rPr>
              <a:t>próximos</a:t>
            </a:r>
            <a:r>
              <a:rPr lang="en-US" dirty="0">
                <a:ea typeface="Open Sans Light" panose="020B0306030504020204" pitchFamily="34" charset="0"/>
                <a:cs typeface="Open Sans Light" panose="020B0306030504020204" pitchFamily="34" charset="0"/>
              </a:rPr>
              <a:t> slides.</a:t>
            </a:r>
          </a:p>
        </p:txBody>
      </p:sp>
      <p:sp>
        <p:nvSpPr>
          <p:cNvPr id="4" name="Freeform 3"/>
          <p:cNvSpPr>
            <a:spLocks noEditPoints="1"/>
          </p:cNvSpPr>
          <p:nvPr/>
        </p:nvSpPr>
        <p:spPr bwMode="auto">
          <a:xfrm>
            <a:off x="593725" y="1552279"/>
            <a:ext cx="402992" cy="400923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sp>
        <p:nvSpPr>
          <p:cNvPr id="18" name="Freeform 17"/>
          <p:cNvSpPr>
            <a:spLocks noEditPoints="1"/>
          </p:cNvSpPr>
          <p:nvPr/>
        </p:nvSpPr>
        <p:spPr bwMode="auto">
          <a:xfrm>
            <a:off x="593725" y="2579631"/>
            <a:ext cx="402992" cy="400923"/>
          </a:xfrm>
          <a:custGeom>
            <a:avLst/>
            <a:gdLst>
              <a:gd name="T0" fmla="*/ 176 w 353"/>
              <a:gd name="T1" fmla="*/ 221 h 353"/>
              <a:gd name="T2" fmla="*/ 102 w 353"/>
              <a:gd name="T3" fmla="*/ 147 h 353"/>
              <a:gd name="T4" fmla="*/ 96 w 353"/>
              <a:gd name="T5" fmla="*/ 145 h 353"/>
              <a:gd name="T6" fmla="*/ 88 w 353"/>
              <a:gd name="T7" fmla="*/ 153 h 353"/>
              <a:gd name="T8" fmla="*/ 90 w 353"/>
              <a:gd name="T9" fmla="*/ 158 h 353"/>
              <a:gd name="T10" fmla="*/ 170 w 353"/>
              <a:gd name="T11" fmla="*/ 239 h 353"/>
              <a:gd name="T12" fmla="*/ 176 w 353"/>
              <a:gd name="T13" fmla="*/ 241 h 353"/>
              <a:gd name="T14" fmla="*/ 182 w 353"/>
              <a:gd name="T15" fmla="*/ 238 h 353"/>
              <a:gd name="T16" fmla="*/ 182 w 353"/>
              <a:gd name="T17" fmla="*/ 238 h 353"/>
              <a:gd name="T18" fmla="*/ 316 w 353"/>
              <a:gd name="T19" fmla="*/ 98 h 353"/>
              <a:gd name="T20" fmla="*/ 316 w 353"/>
              <a:gd name="T21" fmla="*/ 98 h 353"/>
              <a:gd name="T22" fmla="*/ 328 w 353"/>
              <a:gd name="T23" fmla="*/ 86 h 353"/>
              <a:gd name="T24" fmla="*/ 327 w 353"/>
              <a:gd name="T25" fmla="*/ 86 h 353"/>
              <a:gd name="T26" fmla="*/ 351 w 353"/>
              <a:gd name="T27" fmla="*/ 62 h 353"/>
              <a:gd name="T28" fmla="*/ 351 w 353"/>
              <a:gd name="T29" fmla="*/ 62 h 353"/>
              <a:gd name="T30" fmla="*/ 353 w 353"/>
              <a:gd name="T31" fmla="*/ 56 h 353"/>
              <a:gd name="T32" fmla="*/ 345 w 353"/>
              <a:gd name="T33" fmla="*/ 48 h 353"/>
              <a:gd name="T34" fmla="*/ 339 w 353"/>
              <a:gd name="T35" fmla="*/ 51 h 353"/>
              <a:gd name="T36" fmla="*/ 339 w 353"/>
              <a:gd name="T37" fmla="*/ 51 h 353"/>
              <a:gd name="T38" fmla="*/ 318 w 353"/>
              <a:gd name="T39" fmla="*/ 72 h 353"/>
              <a:gd name="T40" fmla="*/ 318 w 353"/>
              <a:gd name="T41" fmla="*/ 72 h 353"/>
              <a:gd name="T42" fmla="*/ 307 w 353"/>
              <a:gd name="T43" fmla="*/ 84 h 353"/>
              <a:gd name="T44" fmla="*/ 307 w 353"/>
              <a:gd name="T45" fmla="*/ 84 h 353"/>
              <a:gd name="T46" fmla="*/ 176 w 353"/>
              <a:gd name="T47" fmla="*/ 221 h 353"/>
              <a:gd name="T48" fmla="*/ 339 w 353"/>
              <a:gd name="T49" fmla="*/ 109 h 353"/>
              <a:gd name="T50" fmla="*/ 327 w 353"/>
              <a:gd name="T51" fmla="*/ 109 h 353"/>
              <a:gd name="T52" fmla="*/ 325 w 353"/>
              <a:gd name="T53" fmla="*/ 117 h 353"/>
              <a:gd name="T54" fmla="*/ 325 w 353"/>
              <a:gd name="T55" fmla="*/ 117 h 353"/>
              <a:gd name="T56" fmla="*/ 337 w 353"/>
              <a:gd name="T57" fmla="*/ 177 h 353"/>
              <a:gd name="T58" fmla="*/ 176 w 353"/>
              <a:gd name="T59" fmla="*/ 337 h 353"/>
              <a:gd name="T60" fmla="*/ 16 w 353"/>
              <a:gd name="T61" fmla="*/ 177 h 353"/>
              <a:gd name="T62" fmla="*/ 176 w 353"/>
              <a:gd name="T63" fmla="*/ 16 h 353"/>
              <a:gd name="T64" fmla="*/ 292 w 353"/>
              <a:gd name="T65" fmla="*/ 65 h 353"/>
              <a:gd name="T66" fmla="*/ 292 w 353"/>
              <a:gd name="T67" fmla="*/ 65 h 353"/>
              <a:gd name="T68" fmla="*/ 303 w 353"/>
              <a:gd name="T69" fmla="*/ 65 h 353"/>
              <a:gd name="T70" fmla="*/ 303 w 353"/>
              <a:gd name="T71" fmla="*/ 54 h 353"/>
              <a:gd name="T72" fmla="*/ 302 w 353"/>
              <a:gd name="T73" fmla="*/ 53 h 353"/>
              <a:gd name="T74" fmla="*/ 176 w 353"/>
              <a:gd name="T75" fmla="*/ 0 h 353"/>
              <a:gd name="T76" fmla="*/ 0 w 353"/>
              <a:gd name="T77" fmla="*/ 177 h 353"/>
              <a:gd name="T78" fmla="*/ 176 w 353"/>
              <a:gd name="T79" fmla="*/ 353 h 353"/>
              <a:gd name="T80" fmla="*/ 353 w 353"/>
              <a:gd name="T81" fmla="*/ 177 h 353"/>
              <a:gd name="T82" fmla="*/ 341 w 353"/>
              <a:gd name="T83" fmla="*/ 112 h 353"/>
              <a:gd name="T84" fmla="*/ 339 w 353"/>
              <a:gd name="T85" fmla="*/ 10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53" h="353">
                <a:moveTo>
                  <a:pt x="176" y="221"/>
                </a:moveTo>
                <a:cubicBezTo>
                  <a:pt x="102" y="147"/>
                  <a:pt x="102" y="147"/>
                  <a:pt x="102" y="147"/>
                </a:cubicBezTo>
                <a:cubicBezTo>
                  <a:pt x="100" y="146"/>
                  <a:pt x="98" y="145"/>
                  <a:pt x="96" y="145"/>
                </a:cubicBezTo>
                <a:cubicBezTo>
                  <a:pt x="91" y="145"/>
                  <a:pt x="88" y="148"/>
                  <a:pt x="88" y="153"/>
                </a:cubicBezTo>
                <a:cubicBezTo>
                  <a:pt x="88" y="155"/>
                  <a:pt x="89" y="157"/>
                  <a:pt x="90" y="158"/>
                </a:cubicBezTo>
                <a:cubicBezTo>
                  <a:pt x="170" y="239"/>
                  <a:pt x="170" y="239"/>
                  <a:pt x="170" y="239"/>
                </a:cubicBezTo>
                <a:cubicBezTo>
                  <a:pt x="172" y="240"/>
                  <a:pt x="174" y="241"/>
                  <a:pt x="176" y="241"/>
                </a:cubicBezTo>
                <a:cubicBezTo>
                  <a:pt x="178" y="241"/>
                  <a:pt x="180" y="240"/>
                  <a:pt x="182" y="238"/>
                </a:cubicBezTo>
                <a:cubicBezTo>
                  <a:pt x="182" y="238"/>
                  <a:pt x="182" y="238"/>
                  <a:pt x="182" y="23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16" y="98"/>
                  <a:pt x="316" y="98"/>
                  <a:pt x="316" y="98"/>
                </a:cubicBezTo>
                <a:cubicBezTo>
                  <a:pt x="328" y="86"/>
                  <a:pt x="328" y="86"/>
                  <a:pt x="328" y="86"/>
                </a:cubicBezTo>
                <a:cubicBezTo>
                  <a:pt x="328" y="86"/>
                  <a:pt x="328" y="86"/>
                  <a:pt x="327" y="86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1" y="62"/>
                  <a:pt x="351" y="62"/>
                  <a:pt x="351" y="62"/>
                </a:cubicBezTo>
                <a:cubicBezTo>
                  <a:pt x="352" y="60"/>
                  <a:pt x="353" y="58"/>
                  <a:pt x="353" y="56"/>
                </a:cubicBezTo>
                <a:cubicBezTo>
                  <a:pt x="353" y="52"/>
                  <a:pt x="349" y="48"/>
                  <a:pt x="345" y="48"/>
                </a:cubicBezTo>
                <a:cubicBezTo>
                  <a:pt x="342" y="48"/>
                  <a:pt x="340" y="49"/>
                  <a:pt x="339" y="51"/>
                </a:cubicBezTo>
                <a:cubicBezTo>
                  <a:pt x="339" y="51"/>
                  <a:pt x="339" y="51"/>
                  <a:pt x="339" y="51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18" y="72"/>
                  <a:pt x="318" y="72"/>
                  <a:pt x="318" y="72"/>
                </a:cubicBezTo>
                <a:cubicBezTo>
                  <a:pt x="307" y="84"/>
                  <a:pt x="307" y="84"/>
                  <a:pt x="307" y="84"/>
                </a:cubicBezTo>
                <a:cubicBezTo>
                  <a:pt x="307" y="84"/>
                  <a:pt x="307" y="84"/>
                  <a:pt x="307" y="84"/>
                </a:cubicBezTo>
                <a:lnTo>
                  <a:pt x="176" y="221"/>
                </a:lnTo>
                <a:close/>
                <a:moveTo>
                  <a:pt x="339" y="109"/>
                </a:moveTo>
                <a:cubicBezTo>
                  <a:pt x="335" y="106"/>
                  <a:pt x="330" y="106"/>
                  <a:pt x="327" y="109"/>
                </a:cubicBezTo>
                <a:cubicBezTo>
                  <a:pt x="325" y="111"/>
                  <a:pt x="324" y="115"/>
                  <a:pt x="325" y="117"/>
                </a:cubicBezTo>
                <a:cubicBezTo>
                  <a:pt x="325" y="117"/>
                  <a:pt x="325" y="117"/>
                  <a:pt x="325" y="117"/>
                </a:cubicBezTo>
                <a:cubicBezTo>
                  <a:pt x="333" y="136"/>
                  <a:pt x="337" y="156"/>
                  <a:pt x="337" y="177"/>
                </a:cubicBezTo>
                <a:cubicBezTo>
                  <a:pt x="337" y="265"/>
                  <a:pt x="265" y="337"/>
                  <a:pt x="176" y="337"/>
                </a:cubicBezTo>
                <a:cubicBezTo>
                  <a:pt x="88" y="337"/>
                  <a:pt x="16" y="265"/>
                  <a:pt x="16" y="177"/>
                </a:cubicBezTo>
                <a:cubicBezTo>
                  <a:pt x="16" y="88"/>
                  <a:pt x="88" y="16"/>
                  <a:pt x="176" y="16"/>
                </a:cubicBezTo>
                <a:cubicBezTo>
                  <a:pt x="222" y="16"/>
                  <a:pt x="262" y="35"/>
                  <a:pt x="292" y="65"/>
                </a:cubicBezTo>
                <a:cubicBezTo>
                  <a:pt x="292" y="65"/>
                  <a:pt x="292" y="65"/>
                  <a:pt x="292" y="65"/>
                </a:cubicBezTo>
                <a:cubicBezTo>
                  <a:pt x="295" y="68"/>
                  <a:pt x="300" y="68"/>
                  <a:pt x="303" y="65"/>
                </a:cubicBezTo>
                <a:cubicBezTo>
                  <a:pt x="306" y="62"/>
                  <a:pt x="306" y="57"/>
                  <a:pt x="303" y="54"/>
                </a:cubicBezTo>
                <a:cubicBezTo>
                  <a:pt x="302" y="53"/>
                  <a:pt x="302" y="53"/>
                  <a:pt x="302" y="53"/>
                </a:cubicBezTo>
                <a:cubicBezTo>
                  <a:pt x="270" y="20"/>
                  <a:pt x="225" y="0"/>
                  <a:pt x="176" y="0"/>
                </a:cubicBez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3"/>
                  <a:pt x="176" y="353"/>
                </a:cubicBezTo>
                <a:cubicBezTo>
                  <a:pt x="274" y="353"/>
                  <a:pt x="353" y="274"/>
                  <a:pt x="353" y="177"/>
                </a:cubicBezTo>
                <a:cubicBezTo>
                  <a:pt x="353" y="154"/>
                  <a:pt x="348" y="132"/>
                  <a:pt x="341" y="112"/>
                </a:cubicBezTo>
                <a:cubicBezTo>
                  <a:pt x="340" y="111"/>
                  <a:pt x="340" y="110"/>
                  <a:pt x="339" y="10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900"/>
          </a:p>
        </p:txBody>
      </p:sp>
      <p:grpSp>
        <p:nvGrpSpPr>
          <p:cNvPr id="15" name="Group 14"/>
          <p:cNvGrpSpPr/>
          <p:nvPr/>
        </p:nvGrpSpPr>
        <p:grpSpPr>
          <a:xfrm>
            <a:off x="1196899" y="1514449"/>
            <a:ext cx="2865864" cy="2401315"/>
            <a:chOff x="1196899" y="1514449"/>
            <a:chExt cx="2865864" cy="2401315"/>
          </a:xfrm>
        </p:grpSpPr>
        <p:grpSp>
          <p:nvGrpSpPr>
            <p:cNvPr id="5" name="Group 4"/>
            <p:cNvGrpSpPr/>
            <p:nvPr/>
          </p:nvGrpSpPr>
          <p:grpSpPr>
            <a:xfrm>
              <a:off x="1196899" y="1514449"/>
              <a:ext cx="2865864" cy="666699"/>
              <a:chOff x="1196899" y="1514449"/>
              <a:chExt cx="2865864" cy="666699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1196899" y="1717751"/>
                <a:ext cx="2865864" cy="463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s core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usada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no templat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est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Power Point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baseada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paleta de core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isponível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oda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a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slide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estre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13" name="Title 2"/>
              <p:cNvSpPr txBox="1">
                <a:spLocks/>
              </p:cNvSpPr>
              <p:nvPr/>
            </p:nvSpPr>
            <p:spPr>
              <a:xfrm>
                <a:off x="1196899" y="1514449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rgbClr val="EC0000"/>
                    </a:solidFill>
                    <a:latin typeface="Lato" panose="020F0502020204030203" pitchFamily="34" charset="0"/>
                  </a:rPr>
                  <a:t>SEGUIR A PALETA DE CORES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1196899" y="2541801"/>
              <a:ext cx="2865864" cy="666699"/>
              <a:chOff x="1196899" y="2541801"/>
              <a:chExt cx="2865864" cy="666699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1196899" y="2745103"/>
                <a:ext cx="2865864" cy="46339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template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ditávei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bert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par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qualque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ip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lter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,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int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-se à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vontad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par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usa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curs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onta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u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present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a forma qu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ai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tende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20" name="Title 2"/>
              <p:cNvSpPr txBox="1">
                <a:spLocks/>
              </p:cNvSpPr>
              <p:nvPr/>
            </p:nvSpPr>
            <p:spPr>
              <a:xfrm>
                <a:off x="1196899" y="2541801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rgbClr val="EC0000"/>
                    </a:solidFill>
                    <a:latin typeface="Lato" panose="020F0502020204030203" pitchFamily="34" charset="0"/>
                  </a:rPr>
                  <a:t>CRIAR E MODULAR</a:t>
                </a:r>
              </a:p>
            </p:txBody>
          </p:sp>
        </p:grpSp>
        <p:sp>
          <p:nvSpPr>
            <p:cNvPr id="23" name="TextBox 22"/>
            <p:cNvSpPr txBox="1"/>
            <p:nvPr/>
          </p:nvSpPr>
          <p:spPr>
            <a:xfrm>
              <a:off x="1196899" y="3772455"/>
              <a:ext cx="2865864" cy="143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endParaRPr lang="en-US" sz="800" dirty="0">
                <a:solidFill>
                  <a:schemeClr val="accent4"/>
                </a:solidFill>
                <a:highlight>
                  <a:srgbClr val="FFFF00"/>
                </a:highlight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671712" y="1514449"/>
            <a:ext cx="2865864" cy="2401315"/>
            <a:chOff x="5671712" y="1514449"/>
            <a:chExt cx="2865864" cy="2401315"/>
          </a:xfrm>
        </p:grpSpPr>
        <p:grpSp>
          <p:nvGrpSpPr>
            <p:cNvPr id="8" name="Group 7"/>
            <p:cNvGrpSpPr/>
            <p:nvPr/>
          </p:nvGrpSpPr>
          <p:grpSpPr>
            <a:xfrm>
              <a:off x="5671712" y="1514449"/>
              <a:ext cx="2865864" cy="506655"/>
              <a:chOff x="5671712" y="1514449"/>
              <a:chExt cx="2865864" cy="506655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5671712" y="1717751"/>
                <a:ext cx="286586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evem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respeitar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paleta de cores,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isponívei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lad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e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ad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el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est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presentação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36" name="Title 2"/>
              <p:cNvSpPr txBox="1">
                <a:spLocks/>
              </p:cNvSpPr>
              <p:nvPr/>
            </p:nvSpPr>
            <p:spPr>
              <a:xfrm>
                <a:off x="5671712" y="1514449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NÃO UTILIZAR CORES FORA DA PALETA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671712" y="2541801"/>
              <a:ext cx="2865864" cy="506655"/>
              <a:chOff x="5671712" y="2541801"/>
              <a:chExt cx="2865864" cy="506655"/>
            </a:xfrm>
          </p:grpSpPr>
          <p:sp>
            <p:nvSpPr>
              <p:cNvPr id="39" name="TextBox 38"/>
              <p:cNvSpPr txBox="1"/>
              <p:nvPr/>
            </p:nvSpPr>
            <p:spPr>
              <a:xfrm>
                <a:off x="5671712" y="2745103"/>
                <a:ext cx="2865864" cy="3033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template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ntig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deve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ser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substiuíd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pel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nov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,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assi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antemo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onsistênci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da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marca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em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toda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 as </a:t>
                </a:r>
                <a:r>
                  <a:rPr lang="en-US" sz="800" dirty="0" err="1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comunicações</a:t>
                </a:r>
                <a:r>
                  <a:rPr lang="en-US" sz="800" dirty="0">
                    <a:solidFill>
                      <a:schemeClr val="accent4"/>
                    </a:solidFill>
                    <a:latin typeface="Lato" panose="020F0502020204030203" pitchFamily="34" charset="0"/>
                    <a:ea typeface="Open Sans Light" panose="020B0306030504020204" pitchFamily="34" charset="0"/>
                    <a:cs typeface="Open Sans Light" panose="020B0306030504020204" pitchFamily="34" charset="0"/>
                  </a:rPr>
                  <a:t>.</a:t>
                </a:r>
              </a:p>
            </p:txBody>
          </p:sp>
          <p:sp>
            <p:nvSpPr>
              <p:cNvPr id="40" name="Title 2"/>
              <p:cNvSpPr txBox="1">
                <a:spLocks/>
              </p:cNvSpPr>
              <p:nvPr/>
            </p:nvSpPr>
            <p:spPr>
              <a:xfrm>
                <a:off x="5671712" y="2541801"/>
                <a:ext cx="2865864" cy="15388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>
                <a:lvl1pPr algn="ctr" defTabSz="1828800" rtl="0" eaLnBrk="1" latinLnBrk="0" hangingPunct="1">
                  <a:lnSpc>
                    <a:spcPct val="100000"/>
                  </a:lnSpc>
                  <a:spcBef>
                    <a:spcPct val="0"/>
                  </a:spcBef>
                  <a:buNone/>
                  <a:defRPr sz="6000" b="1" kern="1200" cap="none" spc="-100" baseline="0">
                    <a:solidFill>
                      <a:schemeClr val="tx2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lvl1pPr>
              </a:lstStyle>
              <a:p>
                <a:pPr algn="l"/>
                <a:r>
                  <a:rPr lang="en-US" sz="1000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Não</a:t>
                </a:r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1000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misturar</a:t>
                </a:r>
                <a:r>
                  <a:rPr lang="en-US" sz="1000" cap="all" spc="20" dirty="0">
                    <a:solidFill>
                      <a:schemeClr val="accent1"/>
                    </a:solidFill>
                    <a:latin typeface="Lato" panose="020F0502020204030203" pitchFamily="34" charset="0"/>
                  </a:rPr>
                  <a:t> com templates </a:t>
                </a:r>
                <a:r>
                  <a:rPr lang="en-US" sz="1000" cap="all" spc="20" dirty="0" err="1">
                    <a:solidFill>
                      <a:schemeClr val="accent1"/>
                    </a:solidFill>
                    <a:latin typeface="Lato" panose="020F0502020204030203" pitchFamily="34" charset="0"/>
                  </a:rPr>
                  <a:t>antigos</a:t>
                </a:r>
                <a:endParaRPr lang="en-US" sz="1000" cap="all" spc="20" dirty="0">
                  <a:solidFill>
                    <a:schemeClr val="accent1"/>
                  </a:solidFill>
                  <a:latin typeface="Lato" panose="020F0502020204030203" pitchFamily="34" charset="0"/>
                </a:endParaRPr>
              </a:p>
            </p:txBody>
          </p:sp>
        </p:grpSp>
        <p:sp>
          <p:nvSpPr>
            <p:cNvPr id="43" name="TextBox 42"/>
            <p:cNvSpPr txBox="1"/>
            <p:nvPr/>
          </p:nvSpPr>
          <p:spPr>
            <a:xfrm>
              <a:off x="5671712" y="3772455"/>
              <a:ext cx="2865864" cy="143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endParaRPr lang="en-US" sz="800" dirty="0">
                <a:solidFill>
                  <a:schemeClr val="accent4"/>
                </a:solidFill>
                <a:highlight>
                  <a:srgbClr val="FFFF00"/>
                </a:highlight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8" name="Freeform 27"/>
          <p:cNvSpPr>
            <a:spLocks/>
          </p:cNvSpPr>
          <p:nvPr/>
        </p:nvSpPr>
        <p:spPr bwMode="auto">
          <a:xfrm>
            <a:off x="5137636" y="1543050"/>
            <a:ext cx="304314" cy="304314"/>
          </a:xfrm>
          <a:custGeom>
            <a:avLst/>
            <a:gdLst>
              <a:gd name="T0" fmla="*/ 156 w 289"/>
              <a:gd name="T1" fmla="*/ 145 h 289"/>
              <a:gd name="T2" fmla="*/ 287 w 289"/>
              <a:gd name="T3" fmla="*/ 14 h 289"/>
              <a:gd name="T4" fmla="*/ 289 w 289"/>
              <a:gd name="T5" fmla="*/ 8 h 289"/>
              <a:gd name="T6" fmla="*/ 281 w 289"/>
              <a:gd name="T7" fmla="*/ 0 h 289"/>
              <a:gd name="T8" fmla="*/ 275 w 289"/>
              <a:gd name="T9" fmla="*/ 3 h 289"/>
              <a:gd name="T10" fmla="*/ 144 w 289"/>
              <a:gd name="T11" fmla="*/ 133 h 289"/>
              <a:gd name="T12" fmla="*/ 14 w 289"/>
              <a:gd name="T13" fmla="*/ 3 h 289"/>
              <a:gd name="T14" fmla="*/ 8 w 289"/>
              <a:gd name="T15" fmla="*/ 0 h 289"/>
              <a:gd name="T16" fmla="*/ 0 w 289"/>
              <a:gd name="T17" fmla="*/ 8 h 289"/>
              <a:gd name="T18" fmla="*/ 2 w 289"/>
              <a:gd name="T19" fmla="*/ 14 h 289"/>
              <a:gd name="T20" fmla="*/ 133 w 289"/>
              <a:gd name="T21" fmla="*/ 145 h 289"/>
              <a:gd name="T22" fmla="*/ 2 w 289"/>
              <a:gd name="T23" fmla="*/ 276 h 289"/>
              <a:gd name="T24" fmla="*/ 0 w 289"/>
              <a:gd name="T25" fmla="*/ 281 h 289"/>
              <a:gd name="T26" fmla="*/ 8 w 289"/>
              <a:gd name="T27" fmla="*/ 289 h 289"/>
              <a:gd name="T28" fmla="*/ 14 w 289"/>
              <a:gd name="T29" fmla="*/ 287 h 289"/>
              <a:gd name="T30" fmla="*/ 144 w 289"/>
              <a:gd name="T31" fmla="*/ 156 h 289"/>
              <a:gd name="T32" fmla="*/ 275 w 289"/>
              <a:gd name="T33" fmla="*/ 287 h 289"/>
              <a:gd name="T34" fmla="*/ 281 w 289"/>
              <a:gd name="T35" fmla="*/ 289 h 289"/>
              <a:gd name="T36" fmla="*/ 289 w 289"/>
              <a:gd name="T37" fmla="*/ 281 h 289"/>
              <a:gd name="T38" fmla="*/ 287 w 289"/>
              <a:gd name="T39" fmla="*/ 276 h 289"/>
              <a:gd name="T40" fmla="*/ 156 w 289"/>
              <a:gd name="T41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89">
                <a:moveTo>
                  <a:pt x="156" y="145"/>
                </a:moveTo>
                <a:cubicBezTo>
                  <a:pt x="287" y="14"/>
                  <a:pt x="287" y="14"/>
                  <a:pt x="287" y="14"/>
                </a:cubicBezTo>
                <a:cubicBezTo>
                  <a:pt x="288" y="12"/>
                  <a:pt x="289" y="10"/>
                  <a:pt x="289" y="8"/>
                </a:cubicBezTo>
                <a:cubicBezTo>
                  <a:pt x="289" y="4"/>
                  <a:pt x="285" y="0"/>
                  <a:pt x="281" y="0"/>
                </a:cubicBezTo>
                <a:cubicBezTo>
                  <a:pt x="279" y="0"/>
                  <a:pt x="277" y="1"/>
                  <a:pt x="275" y="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"/>
                  <a:pt x="1" y="12"/>
                  <a:pt x="2" y="14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2" y="276"/>
                  <a:pt x="2" y="276"/>
                  <a:pt x="2" y="276"/>
                </a:cubicBezTo>
                <a:cubicBezTo>
                  <a:pt x="1" y="277"/>
                  <a:pt x="0" y="279"/>
                  <a:pt x="0" y="281"/>
                </a:cubicBezTo>
                <a:cubicBezTo>
                  <a:pt x="0" y="286"/>
                  <a:pt x="4" y="289"/>
                  <a:pt x="8" y="289"/>
                </a:cubicBezTo>
                <a:cubicBezTo>
                  <a:pt x="10" y="289"/>
                  <a:pt x="12" y="288"/>
                  <a:pt x="14" y="287"/>
                </a:cubicBezTo>
                <a:cubicBezTo>
                  <a:pt x="144" y="156"/>
                  <a:pt x="144" y="156"/>
                  <a:pt x="144" y="156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7" y="288"/>
                  <a:pt x="279" y="289"/>
                  <a:pt x="281" y="289"/>
                </a:cubicBezTo>
                <a:cubicBezTo>
                  <a:pt x="285" y="289"/>
                  <a:pt x="289" y="286"/>
                  <a:pt x="289" y="281"/>
                </a:cubicBezTo>
                <a:cubicBezTo>
                  <a:pt x="289" y="279"/>
                  <a:pt x="288" y="277"/>
                  <a:pt x="287" y="276"/>
                </a:cubicBezTo>
                <a:lnTo>
                  <a:pt x="156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5139209" y="2585221"/>
            <a:ext cx="304314" cy="304314"/>
          </a:xfrm>
          <a:custGeom>
            <a:avLst/>
            <a:gdLst>
              <a:gd name="T0" fmla="*/ 156 w 289"/>
              <a:gd name="T1" fmla="*/ 145 h 289"/>
              <a:gd name="T2" fmla="*/ 287 w 289"/>
              <a:gd name="T3" fmla="*/ 14 h 289"/>
              <a:gd name="T4" fmla="*/ 289 w 289"/>
              <a:gd name="T5" fmla="*/ 8 h 289"/>
              <a:gd name="T6" fmla="*/ 281 w 289"/>
              <a:gd name="T7" fmla="*/ 0 h 289"/>
              <a:gd name="T8" fmla="*/ 275 w 289"/>
              <a:gd name="T9" fmla="*/ 3 h 289"/>
              <a:gd name="T10" fmla="*/ 144 w 289"/>
              <a:gd name="T11" fmla="*/ 133 h 289"/>
              <a:gd name="T12" fmla="*/ 14 w 289"/>
              <a:gd name="T13" fmla="*/ 3 h 289"/>
              <a:gd name="T14" fmla="*/ 8 w 289"/>
              <a:gd name="T15" fmla="*/ 0 h 289"/>
              <a:gd name="T16" fmla="*/ 0 w 289"/>
              <a:gd name="T17" fmla="*/ 8 h 289"/>
              <a:gd name="T18" fmla="*/ 2 w 289"/>
              <a:gd name="T19" fmla="*/ 14 h 289"/>
              <a:gd name="T20" fmla="*/ 133 w 289"/>
              <a:gd name="T21" fmla="*/ 145 h 289"/>
              <a:gd name="T22" fmla="*/ 2 w 289"/>
              <a:gd name="T23" fmla="*/ 276 h 289"/>
              <a:gd name="T24" fmla="*/ 0 w 289"/>
              <a:gd name="T25" fmla="*/ 281 h 289"/>
              <a:gd name="T26" fmla="*/ 8 w 289"/>
              <a:gd name="T27" fmla="*/ 289 h 289"/>
              <a:gd name="T28" fmla="*/ 14 w 289"/>
              <a:gd name="T29" fmla="*/ 287 h 289"/>
              <a:gd name="T30" fmla="*/ 144 w 289"/>
              <a:gd name="T31" fmla="*/ 156 h 289"/>
              <a:gd name="T32" fmla="*/ 275 w 289"/>
              <a:gd name="T33" fmla="*/ 287 h 289"/>
              <a:gd name="T34" fmla="*/ 281 w 289"/>
              <a:gd name="T35" fmla="*/ 289 h 289"/>
              <a:gd name="T36" fmla="*/ 289 w 289"/>
              <a:gd name="T37" fmla="*/ 281 h 289"/>
              <a:gd name="T38" fmla="*/ 287 w 289"/>
              <a:gd name="T39" fmla="*/ 276 h 289"/>
              <a:gd name="T40" fmla="*/ 156 w 289"/>
              <a:gd name="T41" fmla="*/ 145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9" h="289">
                <a:moveTo>
                  <a:pt x="156" y="145"/>
                </a:moveTo>
                <a:cubicBezTo>
                  <a:pt x="287" y="14"/>
                  <a:pt x="287" y="14"/>
                  <a:pt x="287" y="14"/>
                </a:cubicBezTo>
                <a:cubicBezTo>
                  <a:pt x="288" y="12"/>
                  <a:pt x="289" y="10"/>
                  <a:pt x="289" y="8"/>
                </a:cubicBezTo>
                <a:cubicBezTo>
                  <a:pt x="289" y="4"/>
                  <a:pt x="285" y="0"/>
                  <a:pt x="281" y="0"/>
                </a:cubicBezTo>
                <a:cubicBezTo>
                  <a:pt x="279" y="0"/>
                  <a:pt x="277" y="1"/>
                  <a:pt x="275" y="3"/>
                </a:cubicBezTo>
                <a:cubicBezTo>
                  <a:pt x="144" y="133"/>
                  <a:pt x="144" y="133"/>
                  <a:pt x="144" y="133"/>
                </a:cubicBezTo>
                <a:cubicBezTo>
                  <a:pt x="14" y="3"/>
                  <a:pt x="14" y="3"/>
                  <a:pt x="14" y="3"/>
                </a:cubicBezTo>
                <a:cubicBezTo>
                  <a:pt x="12" y="1"/>
                  <a:pt x="10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10"/>
                  <a:pt x="1" y="12"/>
                  <a:pt x="2" y="14"/>
                </a:cubicBezTo>
                <a:cubicBezTo>
                  <a:pt x="133" y="145"/>
                  <a:pt x="133" y="145"/>
                  <a:pt x="133" y="145"/>
                </a:cubicBezTo>
                <a:cubicBezTo>
                  <a:pt x="2" y="276"/>
                  <a:pt x="2" y="276"/>
                  <a:pt x="2" y="276"/>
                </a:cubicBezTo>
                <a:cubicBezTo>
                  <a:pt x="1" y="277"/>
                  <a:pt x="0" y="279"/>
                  <a:pt x="0" y="281"/>
                </a:cubicBezTo>
                <a:cubicBezTo>
                  <a:pt x="0" y="286"/>
                  <a:pt x="4" y="289"/>
                  <a:pt x="8" y="289"/>
                </a:cubicBezTo>
                <a:cubicBezTo>
                  <a:pt x="10" y="289"/>
                  <a:pt x="12" y="288"/>
                  <a:pt x="14" y="287"/>
                </a:cubicBezTo>
                <a:cubicBezTo>
                  <a:pt x="144" y="156"/>
                  <a:pt x="144" y="156"/>
                  <a:pt x="144" y="156"/>
                </a:cubicBezTo>
                <a:cubicBezTo>
                  <a:pt x="275" y="287"/>
                  <a:pt x="275" y="287"/>
                  <a:pt x="275" y="287"/>
                </a:cubicBezTo>
                <a:cubicBezTo>
                  <a:pt x="277" y="288"/>
                  <a:pt x="279" y="289"/>
                  <a:pt x="281" y="289"/>
                </a:cubicBezTo>
                <a:cubicBezTo>
                  <a:pt x="285" y="289"/>
                  <a:pt x="289" y="286"/>
                  <a:pt x="289" y="281"/>
                </a:cubicBezTo>
                <a:cubicBezTo>
                  <a:pt x="289" y="279"/>
                  <a:pt x="288" y="277"/>
                  <a:pt x="287" y="276"/>
                </a:cubicBezTo>
                <a:lnTo>
                  <a:pt x="156" y="14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71488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291946" y="1543050"/>
            <a:ext cx="2560108" cy="131652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3660969" y="1947578"/>
            <a:ext cx="1818886" cy="508874"/>
            <a:chOff x="3660969" y="1947578"/>
            <a:chExt cx="1818886" cy="508874"/>
          </a:xfrm>
        </p:grpSpPr>
        <p:sp>
          <p:nvSpPr>
            <p:cNvPr id="9" name="TextBox 8"/>
            <p:cNvSpPr txBox="1"/>
            <p:nvPr/>
          </p:nvSpPr>
          <p:spPr>
            <a:xfrm>
              <a:off x="3660997" y="1947578"/>
              <a:ext cx="181881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Galeria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de imagens 1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660969" y="2153099"/>
              <a:ext cx="181888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sir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gum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ado e/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u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um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brev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xplicaçã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as imagen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qui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1630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3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serviç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3291946" y="1543050"/>
            <a:ext cx="2560108" cy="1316520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660969" y="1947578"/>
            <a:ext cx="1818886" cy="507463"/>
            <a:chOff x="3660969" y="1947578"/>
            <a:chExt cx="1818886" cy="507463"/>
          </a:xfrm>
        </p:grpSpPr>
        <p:sp>
          <p:nvSpPr>
            <p:cNvPr id="47" name="TextBox 46"/>
            <p:cNvSpPr txBox="1"/>
            <p:nvPr/>
          </p:nvSpPr>
          <p:spPr>
            <a:xfrm>
              <a:off x="3660997" y="1947578"/>
              <a:ext cx="181881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GALERIA DE IMAGENS 2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660969" y="2153099"/>
              <a:ext cx="1818886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sir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gum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ado e/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u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um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brev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xplicaçã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as imagen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qui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Picture Placeholder 3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5" name="Picture Placeholder 4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/>
      </p:sp>
    </p:spTree>
    <p:extLst>
      <p:ext uri="{BB962C8B-B14F-4D97-AF65-F5344CB8AC3E}">
        <p14:creationId xmlns:p14="http://schemas.microsoft.com/office/powerpoint/2010/main" val="407837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ortfóli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508125" y="2951467"/>
            <a:ext cx="2546117" cy="1334784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</p:txBody>
      </p:sp>
      <p:sp>
        <p:nvSpPr>
          <p:cNvPr id="5" name="Rectangle 4"/>
          <p:cNvSpPr/>
          <p:nvPr/>
        </p:nvSpPr>
        <p:spPr>
          <a:xfrm>
            <a:off x="5988465" y="2951467"/>
            <a:ext cx="2549112" cy="1334784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  <a:p>
            <a:pPr algn="ctr"/>
            <a:endParaRPr lang="en-US" sz="506" dirty="0"/>
          </a:p>
        </p:txBody>
      </p:sp>
      <p:grpSp>
        <p:nvGrpSpPr>
          <p:cNvPr id="6" name="Group 5"/>
          <p:cNvGrpSpPr/>
          <p:nvPr/>
        </p:nvGrpSpPr>
        <p:grpSpPr>
          <a:xfrm>
            <a:off x="593725" y="1543050"/>
            <a:ext cx="729192" cy="1383253"/>
            <a:chOff x="593725" y="1543050"/>
            <a:chExt cx="729192" cy="1383253"/>
          </a:xfrm>
        </p:grpSpPr>
        <p:sp>
          <p:nvSpPr>
            <p:cNvPr id="8" name="Shape 2792"/>
            <p:cNvSpPr/>
            <p:nvPr/>
          </p:nvSpPr>
          <p:spPr>
            <a:xfrm>
              <a:off x="593725" y="2574343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11949" y="13580"/>
                  </a:moveTo>
                  <a:cubicBezTo>
                    <a:pt x="11701" y="13784"/>
                    <a:pt x="11474" y="13901"/>
                    <a:pt x="11085" y="13931"/>
                  </a:cubicBezTo>
                  <a:lnTo>
                    <a:pt x="11085" y="11339"/>
                  </a:lnTo>
                  <a:cubicBezTo>
                    <a:pt x="11251" y="11383"/>
                    <a:pt x="11321" y="11435"/>
                    <a:pt x="11479" y="11494"/>
                  </a:cubicBezTo>
                  <a:cubicBezTo>
                    <a:pt x="11638" y="11554"/>
                    <a:pt x="11780" y="11632"/>
                    <a:pt x="11906" y="11728"/>
                  </a:cubicBezTo>
                  <a:cubicBezTo>
                    <a:pt x="12032" y="11824"/>
                    <a:pt x="12133" y="11943"/>
                    <a:pt x="12208" y="12084"/>
                  </a:cubicBezTo>
                  <a:cubicBezTo>
                    <a:pt x="12284" y="12225"/>
                    <a:pt x="12322" y="12399"/>
                    <a:pt x="12322" y="12607"/>
                  </a:cubicBezTo>
                  <a:cubicBezTo>
                    <a:pt x="12322" y="13052"/>
                    <a:pt x="12198" y="13376"/>
                    <a:pt x="11949" y="13580"/>
                  </a:cubicBezTo>
                  <a:moveTo>
                    <a:pt x="10437" y="9837"/>
                  </a:moveTo>
                  <a:cubicBezTo>
                    <a:pt x="10286" y="9800"/>
                    <a:pt x="10228" y="9753"/>
                    <a:pt x="10081" y="9698"/>
                  </a:cubicBezTo>
                  <a:cubicBezTo>
                    <a:pt x="9933" y="9642"/>
                    <a:pt x="9803" y="9570"/>
                    <a:pt x="9692" y="9481"/>
                  </a:cubicBezTo>
                  <a:cubicBezTo>
                    <a:pt x="9581" y="9392"/>
                    <a:pt x="9489" y="9285"/>
                    <a:pt x="9417" y="9159"/>
                  </a:cubicBezTo>
                  <a:cubicBezTo>
                    <a:pt x="9345" y="9032"/>
                    <a:pt x="9309" y="8880"/>
                    <a:pt x="9309" y="8702"/>
                  </a:cubicBezTo>
                  <a:cubicBezTo>
                    <a:pt x="9309" y="8309"/>
                    <a:pt x="9415" y="8030"/>
                    <a:pt x="9627" y="7862"/>
                  </a:cubicBezTo>
                  <a:cubicBezTo>
                    <a:pt x="9839" y="7696"/>
                    <a:pt x="10048" y="7612"/>
                    <a:pt x="10437" y="7612"/>
                  </a:cubicBezTo>
                  <a:cubicBezTo>
                    <a:pt x="10437" y="7612"/>
                    <a:pt x="10437" y="9837"/>
                    <a:pt x="10437" y="9837"/>
                  </a:cubicBezTo>
                  <a:close/>
                  <a:moveTo>
                    <a:pt x="12765" y="10727"/>
                  </a:moveTo>
                  <a:cubicBezTo>
                    <a:pt x="12527" y="10542"/>
                    <a:pt x="12253" y="10390"/>
                    <a:pt x="11944" y="10271"/>
                  </a:cubicBezTo>
                  <a:cubicBezTo>
                    <a:pt x="11634" y="10153"/>
                    <a:pt x="11410" y="10049"/>
                    <a:pt x="11085" y="9959"/>
                  </a:cubicBezTo>
                  <a:lnTo>
                    <a:pt x="11085" y="7612"/>
                  </a:lnTo>
                  <a:cubicBezTo>
                    <a:pt x="11474" y="7612"/>
                    <a:pt x="11665" y="7713"/>
                    <a:pt x="11841" y="7913"/>
                  </a:cubicBezTo>
                  <a:cubicBezTo>
                    <a:pt x="12017" y="8113"/>
                    <a:pt x="12113" y="8402"/>
                    <a:pt x="12127" y="8781"/>
                  </a:cubicBezTo>
                  <a:lnTo>
                    <a:pt x="13359" y="8781"/>
                  </a:lnTo>
                  <a:cubicBezTo>
                    <a:pt x="13359" y="8417"/>
                    <a:pt x="13295" y="8098"/>
                    <a:pt x="13170" y="7824"/>
                  </a:cubicBezTo>
                  <a:cubicBezTo>
                    <a:pt x="13043" y="7550"/>
                    <a:pt x="12875" y="7323"/>
                    <a:pt x="12662" y="7145"/>
                  </a:cubicBezTo>
                  <a:cubicBezTo>
                    <a:pt x="12449" y="6967"/>
                    <a:pt x="12200" y="6833"/>
                    <a:pt x="11911" y="6744"/>
                  </a:cubicBezTo>
                  <a:cubicBezTo>
                    <a:pt x="11623" y="6656"/>
                    <a:pt x="11410" y="6611"/>
                    <a:pt x="11085" y="6611"/>
                  </a:cubicBezTo>
                  <a:lnTo>
                    <a:pt x="11085" y="5881"/>
                  </a:lnTo>
                  <a:lnTo>
                    <a:pt x="10437" y="5881"/>
                  </a:lnTo>
                  <a:lnTo>
                    <a:pt x="10437" y="6611"/>
                  </a:lnTo>
                  <a:cubicBezTo>
                    <a:pt x="10113" y="6611"/>
                    <a:pt x="9895" y="6659"/>
                    <a:pt x="9600" y="6756"/>
                  </a:cubicBezTo>
                  <a:cubicBezTo>
                    <a:pt x="9305" y="6852"/>
                    <a:pt x="9044" y="6991"/>
                    <a:pt x="8817" y="7173"/>
                  </a:cubicBezTo>
                  <a:cubicBezTo>
                    <a:pt x="8590" y="7355"/>
                    <a:pt x="8410" y="7581"/>
                    <a:pt x="8277" y="7852"/>
                  </a:cubicBezTo>
                  <a:cubicBezTo>
                    <a:pt x="8144" y="8122"/>
                    <a:pt x="8077" y="8436"/>
                    <a:pt x="8077" y="8791"/>
                  </a:cubicBezTo>
                  <a:cubicBezTo>
                    <a:pt x="8077" y="9199"/>
                    <a:pt x="8150" y="9541"/>
                    <a:pt x="8293" y="9815"/>
                  </a:cubicBezTo>
                  <a:cubicBezTo>
                    <a:pt x="8438" y="10089"/>
                    <a:pt x="8626" y="10317"/>
                    <a:pt x="8860" y="10499"/>
                  </a:cubicBezTo>
                  <a:cubicBezTo>
                    <a:pt x="9094" y="10681"/>
                    <a:pt x="9357" y="10829"/>
                    <a:pt x="9649" y="10944"/>
                  </a:cubicBezTo>
                  <a:cubicBezTo>
                    <a:pt x="9940" y="11059"/>
                    <a:pt x="10142" y="11157"/>
                    <a:pt x="10437" y="11239"/>
                  </a:cubicBezTo>
                  <a:lnTo>
                    <a:pt x="10437" y="13931"/>
                  </a:lnTo>
                  <a:cubicBezTo>
                    <a:pt x="9940" y="13916"/>
                    <a:pt x="9676" y="13768"/>
                    <a:pt x="9460" y="13486"/>
                  </a:cubicBezTo>
                  <a:cubicBezTo>
                    <a:pt x="9244" y="13204"/>
                    <a:pt x="9139" y="12818"/>
                    <a:pt x="9147" y="12329"/>
                  </a:cubicBezTo>
                  <a:lnTo>
                    <a:pt x="7915" y="12329"/>
                  </a:lnTo>
                  <a:cubicBezTo>
                    <a:pt x="7908" y="12744"/>
                    <a:pt x="7967" y="13111"/>
                    <a:pt x="8094" y="13430"/>
                  </a:cubicBezTo>
                  <a:cubicBezTo>
                    <a:pt x="8220" y="13749"/>
                    <a:pt x="8397" y="14018"/>
                    <a:pt x="8628" y="14236"/>
                  </a:cubicBezTo>
                  <a:cubicBezTo>
                    <a:pt x="8858" y="14455"/>
                    <a:pt x="9136" y="14624"/>
                    <a:pt x="9460" y="14743"/>
                  </a:cubicBezTo>
                  <a:cubicBezTo>
                    <a:pt x="9784" y="14861"/>
                    <a:pt x="10048" y="14924"/>
                    <a:pt x="10437" y="14932"/>
                  </a:cubicBezTo>
                  <a:lnTo>
                    <a:pt x="10437" y="15692"/>
                  </a:lnTo>
                  <a:lnTo>
                    <a:pt x="11085" y="15692"/>
                  </a:lnTo>
                  <a:lnTo>
                    <a:pt x="11085" y="14932"/>
                  </a:lnTo>
                  <a:cubicBezTo>
                    <a:pt x="11446" y="14917"/>
                    <a:pt x="11688" y="14856"/>
                    <a:pt x="11998" y="14748"/>
                  </a:cubicBezTo>
                  <a:cubicBezTo>
                    <a:pt x="12307" y="14641"/>
                    <a:pt x="12578" y="14485"/>
                    <a:pt x="12808" y="14281"/>
                  </a:cubicBezTo>
                  <a:cubicBezTo>
                    <a:pt x="13038" y="14077"/>
                    <a:pt x="13220" y="13821"/>
                    <a:pt x="13353" y="13513"/>
                  </a:cubicBezTo>
                  <a:cubicBezTo>
                    <a:pt x="13486" y="13206"/>
                    <a:pt x="13553" y="12844"/>
                    <a:pt x="13553" y="12429"/>
                  </a:cubicBezTo>
                  <a:cubicBezTo>
                    <a:pt x="13553" y="12028"/>
                    <a:pt x="13481" y="11691"/>
                    <a:pt x="13337" y="11417"/>
                  </a:cubicBezTo>
                  <a:cubicBezTo>
                    <a:pt x="13193" y="11142"/>
                    <a:pt x="13002" y="10912"/>
                    <a:pt x="12765" y="10727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 dirty="0"/>
            </a:p>
          </p:txBody>
        </p:sp>
        <p:sp>
          <p:nvSpPr>
            <p:cNvPr id="9" name="Shape 2525"/>
            <p:cNvSpPr/>
            <p:nvPr/>
          </p:nvSpPr>
          <p:spPr>
            <a:xfrm>
              <a:off x="593725" y="1543050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7673"/>
                  </a:moveTo>
                  <a:cubicBezTo>
                    <a:pt x="11562" y="17673"/>
                    <a:pt x="11782" y="17453"/>
                    <a:pt x="11782" y="17182"/>
                  </a:cubicBezTo>
                  <a:cubicBezTo>
                    <a:pt x="11782" y="16911"/>
                    <a:pt x="11562" y="16691"/>
                    <a:pt x="11291" y="16691"/>
                  </a:cubicBezTo>
                  <a:cubicBezTo>
                    <a:pt x="11020" y="16691"/>
                    <a:pt x="10800" y="16911"/>
                    <a:pt x="10800" y="17182"/>
                  </a:cubicBezTo>
                  <a:cubicBezTo>
                    <a:pt x="10800" y="17453"/>
                    <a:pt x="11020" y="17673"/>
                    <a:pt x="11291" y="17673"/>
                  </a:cubicBezTo>
                  <a:moveTo>
                    <a:pt x="17673" y="18655"/>
                  </a:moveTo>
                  <a:lnTo>
                    <a:pt x="13745" y="18655"/>
                  </a:lnTo>
                  <a:lnTo>
                    <a:pt x="13745" y="12273"/>
                  </a:lnTo>
                  <a:cubicBezTo>
                    <a:pt x="13745" y="12002"/>
                    <a:pt x="13525" y="11782"/>
                    <a:pt x="13255" y="11782"/>
                  </a:cubicBezTo>
                  <a:lnTo>
                    <a:pt x="8345" y="11782"/>
                  </a:lnTo>
                  <a:cubicBezTo>
                    <a:pt x="8075" y="11782"/>
                    <a:pt x="7855" y="12002"/>
                    <a:pt x="7855" y="12273"/>
                  </a:cubicBezTo>
                  <a:lnTo>
                    <a:pt x="7855" y="18655"/>
                  </a:lnTo>
                  <a:lnTo>
                    <a:pt x="3927" y="18655"/>
                  </a:lnTo>
                  <a:lnTo>
                    <a:pt x="3927" y="8058"/>
                  </a:lnTo>
                  <a:lnTo>
                    <a:pt x="10800" y="1185"/>
                  </a:lnTo>
                  <a:lnTo>
                    <a:pt x="17673" y="8058"/>
                  </a:lnTo>
                  <a:cubicBezTo>
                    <a:pt x="17673" y="8058"/>
                    <a:pt x="17673" y="18655"/>
                    <a:pt x="17673" y="18655"/>
                  </a:cubicBezTo>
                  <a:close/>
                  <a:moveTo>
                    <a:pt x="17673" y="20618"/>
                  </a:moveTo>
                  <a:lnTo>
                    <a:pt x="13745" y="20618"/>
                  </a:lnTo>
                  <a:lnTo>
                    <a:pt x="13745" y="19636"/>
                  </a:lnTo>
                  <a:lnTo>
                    <a:pt x="17673" y="19636"/>
                  </a:lnTo>
                  <a:cubicBezTo>
                    <a:pt x="17673" y="19636"/>
                    <a:pt x="17673" y="20618"/>
                    <a:pt x="17673" y="20618"/>
                  </a:cubicBezTo>
                  <a:close/>
                  <a:moveTo>
                    <a:pt x="12764" y="20618"/>
                  </a:moveTo>
                  <a:lnTo>
                    <a:pt x="8836" y="20618"/>
                  </a:lnTo>
                  <a:lnTo>
                    <a:pt x="8836" y="12764"/>
                  </a:lnTo>
                  <a:lnTo>
                    <a:pt x="12764" y="12764"/>
                  </a:lnTo>
                  <a:cubicBezTo>
                    <a:pt x="12764" y="12764"/>
                    <a:pt x="12764" y="20618"/>
                    <a:pt x="12764" y="20618"/>
                  </a:cubicBezTo>
                  <a:close/>
                  <a:moveTo>
                    <a:pt x="7855" y="20618"/>
                  </a:moveTo>
                  <a:lnTo>
                    <a:pt x="3927" y="20618"/>
                  </a:lnTo>
                  <a:lnTo>
                    <a:pt x="3927" y="19636"/>
                  </a:lnTo>
                  <a:lnTo>
                    <a:pt x="7855" y="19636"/>
                  </a:lnTo>
                  <a:cubicBezTo>
                    <a:pt x="7855" y="19636"/>
                    <a:pt x="7855" y="20618"/>
                    <a:pt x="7855" y="20618"/>
                  </a:cubicBezTo>
                  <a:close/>
                  <a:moveTo>
                    <a:pt x="14727" y="1964"/>
                  </a:moveTo>
                  <a:lnTo>
                    <a:pt x="16691" y="1964"/>
                  </a:lnTo>
                  <a:lnTo>
                    <a:pt x="16691" y="5688"/>
                  </a:lnTo>
                  <a:lnTo>
                    <a:pt x="14727" y="3724"/>
                  </a:lnTo>
                  <a:cubicBezTo>
                    <a:pt x="14727" y="3724"/>
                    <a:pt x="14727" y="1964"/>
                    <a:pt x="14727" y="1964"/>
                  </a:cubicBezTo>
                  <a:close/>
                  <a:moveTo>
                    <a:pt x="21456" y="10453"/>
                  </a:moveTo>
                  <a:lnTo>
                    <a:pt x="17673" y="6670"/>
                  </a:lnTo>
                  <a:lnTo>
                    <a:pt x="17673" y="1473"/>
                  </a:lnTo>
                  <a:cubicBezTo>
                    <a:pt x="17673" y="1202"/>
                    <a:pt x="17453" y="982"/>
                    <a:pt x="17182" y="982"/>
                  </a:cubicBezTo>
                  <a:lnTo>
                    <a:pt x="14236" y="982"/>
                  </a:lnTo>
                  <a:cubicBezTo>
                    <a:pt x="13966" y="982"/>
                    <a:pt x="13745" y="1202"/>
                    <a:pt x="13745" y="1473"/>
                  </a:cubicBezTo>
                  <a:lnTo>
                    <a:pt x="13745" y="2742"/>
                  </a:lnTo>
                  <a:lnTo>
                    <a:pt x="11147" y="144"/>
                  </a:lnTo>
                  <a:cubicBezTo>
                    <a:pt x="11058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1072"/>
                    <a:pt x="220" y="11291"/>
                    <a:pt x="491" y="11291"/>
                  </a:cubicBezTo>
                  <a:cubicBezTo>
                    <a:pt x="626" y="11291"/>
                    <a:pt x="749" y="11236"/>
                    <a:pt x="838" y="11147"/>
                  </a:cubicBezTo>
                  <a:lnTo>
                    <a:pt x="2945" y="9040"/>
                  </a:lnTo>
                  <a:lnTo>
                    <a:pt x="2945" y="21109"/>
                  </a:lnTo>
                  <a:cubicBezTo>
                    <a:pt x="2945" y="21381"/>
                    <a:pt x="3166" y="21600"/>
                    <a:pt x="3436" y="21600"/>
                  </a:cubicBezTo>
                  <a:lnTo>
                    <a:pt x="18164" y="21600"/>
                  </a:lnTo>
                  <a:cubicBezTo>
                    <a:pt x="18434" y="21600"/>
                    <a:pt x="18655" y="21381"/>
                    <a:pt x="18655" y="21109"/>
                  </a:cubicBezTo>
                  <a:lnTo>
                    <a:pt x="18655" y="9040"/>
                  </a:lnTo>
                  <a:lnTo>
                    <a:pt x="20762" y="11147"/>
                  </a:lnTo>
                  <a:cubicBezTo>
                    <a:pt x="20851" y="11236"/>
                    <a:pt x="20974" y="11291"/>
                    <a:pt x="21109" y="11291"/>
                  </a:cubicBezTo>
                  <a:cubicBezTo>
                    <a:pt x="21380" y="11291"/>
                    <a:pt x="21600" y="11072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/>
            </a:p>
          </p:txBody>
        </p:sp>
        <p:sp>
          <p:nvSpPr>
            <p:cNvPr id="10" name="Shape 2526"/>
            <p:cNvSpPr/>
            <p:nvPr/>
          </p:nvSpPr>
          <p:spPr>
            <a:xfrm>
              <a:off x="593725" y="2053383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14236" y="16752"/>
                  </a:moveTo>
                  <a:cubicBezTo>
                    <a:pt x="14001" y="16887"/>
                    <a:pt x="13921" y="17188"/>
                    <a:pt x="14057" y="17422"/>
                  </a:cubicBezTo>
                  <a:cubicBezTo>
                    <a:pt x="14192" y="17658"/>
                    <a:pt x="14493" y="17738"/>
                    <a:pt x="14727" y="17602"/>
                  </a:cubicBezTo>
                  <a:cubicBezTo>
                    <a:pt x="14962" y="17467"/>
                    <a:pt x="15042" y="17167"/>
                    <a:pt x="14907" y="16932"/>
                  </a:cubicBezTo>
                  <a:cubicBezTo>
                    <a:pt x="14771" y="16697"/>
                    <a:pt x="14472" y="16617"/>
                    <a:pt x="14236" y="16752"/>
                  </a:cubicBezTo>
                  <a:moveTo>
                    <a:pt x="10800" y="11782"/>
                  </a:moveTo>
                  <a:cubicBezTo>
                    <a:pt x="10258" y="11782"/>
                    <a:pt x="9818" y="11342"/>
                    <a:pt x="9818" y="10800"/>
                  </a:cubicBezTo>
                  <a:cubicBezTo>
                    <a:pt x="9818" y="10258"/>
                    <a:pt x="10258" y="9818"/>
                    <a:pt x="10800" y="9818"/>
                  </a:cubicBezTo>
                  <a:cubicBezTo>
                    <a:pt x="11342" y="9818"/>
                    <a:pt x="11782" y="10258"/>
                    <a:pt x="11782" y="10800"/>
                  </a:cubicBezTo>
                  <a:cubicBezTo>
                    <a:pt x="11782" y="11342"/>
                    <a:pt x="11342" y="11782"/>
                    <a:pt x="10800" y="11782"/>
                  </a:cubicBezTo>
                  <a:moveTo>
                    <a:pt x="15218" y="10309"/>
                  </a:moveTo>
                  <a:lnTo>
                    <a:pt x="12694" y="10309"/>
                  </a:lnTo>
                  <a:cubicBezTo>
                    <a:pt x="12515" y="9624"/>
                    <a:pt x="11978" y="9084"/>
                    <a:pt x="11291" y="8906"/>
                  </a:cubicBezTo>
                  <a:lnTo>
                    <a:pt x="11291" y="3436"/>
                  </a:lnTo>
                  <a:cubicBezTo>
                    <a:pt x="11291" y="3166"/>
                    <a:pt x="11071" y="2945"/>
                    <a:pt x="10800" y="2945"/>
                  </a:cubicBezTo>
                  <a:cubicBezTo>
                    <a:pt x="10529" y="2945"/>
                    <a:pt x="10309" y="3166"/>
                    <a:pt x="10309" y="3436"/>
                  </a:cubicBezTo>
                  <a:lnTo>
                    <a:pt x="10309" y="8906"/>
                  </a:lnTo>
                  <a:cubicBezTo>
                    <a:pt x="9464" y="9125"/>
                    <a:pt x="8836" y="9886"/>
                    <a:pt x="8836" y="10800"/>
                  </a:cubicBezTo>
                  <a:cubicBezTo>
                    <a:pt x="8836" y="11885"/>
                    <a:pt x="9716" y="12764"/>
                    <a:pt x="10800" y="12764"/>
                  </a:cubicBezTo>
                  <a:cubicBezTo>
                    <a:pt x="11714" y="12764"/>
                    <a:pt x="12476" y="12137"/>
                    <a:pt x="12694" y="11291"/>
                  </a:cubicBezTo>
                  <a:lnTo>
                    <a:pt x="15218" y="11291"/>
                  </a:lnTo>
                  <a:cubicBezTo>
                    <a:pt x="15489" y="11291"/>
                    <a:pt x="15709" y="11072"/>
                    <a:pt x="15709" y="10800"/>
                  </a:cubicBezTo>
                  <a:cubicBezTo>
                    <a:pt x="15709" y="10529"/>
                    <a:pt x="15489" y="10309"/>
                    <a:pt x="15218" y="10309"/>
                  </a:cubicBezTo>
                  <a:moveTo>
                    <a:pt x="16932" y="6693"/>
                  </a:moveTo>
                  <a:cubicBezTo>
                    <a:pt x="16697" y="6829"/>
                    <a:pt x="16616" y="7129"/>
                    <a:pt x="16752" y="7364"/>
                  </a:cubicBezTo>
                  <a:cubicBezTo>
                    <a:pt x="16887" y="7599"/>
                    <a:pt x="17188" y="7679"/>
                    <a:pt x="17422" y="7543"/>
                  </a:cubicBezTo>
                  <a:cubicBezTo>
                    <a:pt x="17657" y="7408"/>
                    <a:pt x="17737" y="7108"/>
                    <a:pt x="17602" y="6873"/>
                  </a:cubicBezTo>
                  <a:cubicBezTo>
                    <a:pt x="17467" y="6638"/>
                    <a:pt x="17166" y="6557"/>
                    <a:pt x="16932" y="6693"/>
                  </a:cubicBezTo>
                  <a:moveTo>
                    <a:pt x="10800" y="17673"/>
                  </a:moveTo>
                  <a:cubicBezTo>
                    <a:pt x="10529" y="17673"/>
                    <a:pt x="10309" y="17893"/>
                    <a:pt x="10309" y="18164"/>
                  </a:cubicBezTo>
                  <a:cubicBezTo>
                    <a:pt x="10309" y="18435"/>
                    <a:pt x="10529" y="18655"/>
                    <a:pt x="10800" y="18655"/>
                  </a:cubicBezTo>
                  <a:cubicBezTo>
                    <a:pt x="11071" y="18655"/>
                    <a:pt x="11291" y="18435"/>
                    <a:pt x="11291" y="18164"/>
                  </a:cubicBezTo>
                  <a:cubicBezTo>
                    <a:pt x="11291" y="17893"/>
                    <a:pt x="11071" y="17673"/>
                    <a:pt x="10800" y="17673"/>
                  </a:cubicBezTo>
                  <a:moveTo>
                    <a:pt x="17422" y="14057"/>
                  </a:moveTo>
                  <a:cubicBezTo>
                    <a:pt x="17188" y="13921"/>
                    <a:pt x="16887" y="14001"/>
                    <a:pt x="16752" y="14236"/>
                  </a:cubicBezTo>
                  <a:cubicBezTo>
                    <a:pt x="16616" y="14472"/>
                    <a:pt x="16697" y="14772"/>
                    <a:pt x="16932" y="14907"/>
                  </a:cubicBezTo>
                  <a:cubicBezTo>
                    <a:pt x="17166" y="15043"/>
                    <a:pt x="17467" y="14962"/>
                    <a:pt x="17602" y="14727"/>
                  </a:cubicBezTo>
                  <a:cubicBezTo>
                    <a:pt x="17737" y="14492"/>
                    <a:pt x="17657" y="14192"/>
                    <a:pt x="17422" y="14057"/>
                  </a:cubicBezTo>
                  <a:moveTo>
                    <a:pt x="4668" y="6693"/>
                  </a:moveTo>
                  <a:cubicBezTo>
                    <a:pt x="4433" y="6557"/>
                    <a:pt x="4133" y="6638"/>
                    <a:pt x="3998" y="6873"/>
                  </a:cubicBezTo>
                  <a:cubicBezTo>
                    <a:pt x="3863" y="7108"/>
                    <a:pt x="3942" y="7408"/>
                    <a:pt x="4178" y="7543"/>
                  </a:cubicBezTo>
                  <a:cubicBezTo>
                    <a:pt x="4412" y="7679"/>
                    <a:pt x="4713" y="7599"/>
                    <a:pt x="4848" y="7364"/>
                  </a:cubicBezTo>
                  <a:cubicBezTo>
                    <a:pt x="4984" y="7129"/>
                    <a:pt x="4903" y="6829"/>
                    <a:pt x="4668" y="6693"/>
                  </a:cubicBezTo>
                  <a:moveTo>
                    <a:pt x="14236" y="4848"/>
                  </a:moveTo>
                  <a:cubicBezTo>
                    <a:pt x="14472" y="4984"/>
                    <a:pt x="14771" y="4903"/>
                    <a:pt x="14907" y="4669"/>
                  </a:cubicBezTo>
                  <a:cubicBezTo>
                    <a:pt x="15042" y="4434"/>
                    <a:pt x="14962" y="4134"/>
                    <a:pt x="14727" y="3998"/>
                  </a:cubicBezTo>
                  <a:cubicBezTo>
                    <a:pt x="14493" y="3863"/>
                    <a:pt x="14192" y="3943"/>
                    <a:pt x="14057" y="4178"/>
                  </a:cubicBezTo>
                  <a:cubicBezTo>
                    <a:pt x="13921" y="4412"/>
                    <a:pt x="14001" y="4713"/>
                    <a:pt x="14236" y="4848"/>
                  </a:cubicBezTo>
                  <a:moveTo>
                    <a:pt x="3436" y="10309"/>
                  </a:moveTo>
                  <a:cubicBezTo>
                    <a:pt x="3166" y="10309"/>
                    <a:pt x="2945" y="10529"/>
                    <a:pt x="2945" y="10800"/>
                  </a:cubicBezTo>
                  <a:cubicBezTo>
                    <a:pt x="2945" y="11072"/>
                    <a:pt x="3166" y="11291"/>
                    <a:pt x="3436" y="11291"/>
                  </a:cubicBezTo>
                  <a:cubicBezTo>
                    <a:pt x="3707" y="11291"/>
                    <a:pt x="3927" y="11072"/>
                    <a:pt x="3927" y="10800"/>
                  </a:cubicBezTo>
                  <a:cubicBezTo>
                    <a:pt x="3927" y="10529"/>
                    <a:pt x="3707" y="10309"/>
                    <a:pt x="3436" y="10309"/>
                  </a:cubicBezTo>
                  <a:moveTo>
                    <a:pt x="6873" y="3998"/>
                  </a:moveTo>
                  <a:cubicBezTo>
                    <a:pt x="6638" y="4134"/>
                    <a:pt x="6558" y="4434"/>
                    <a:pt x="6693" y="4669"/>
                  </a:cubicBezTo>
                  <a:cubicBezTo>
                    <a:pt x="6829" y="4903"/>
                    <a:pt x="7129" y="4984"/>
                    <a:pt x="7364" y="4848"/>
                  </a:cubicBezTo>
                  <a:cubicBezTo>
                    <a:pt x="7599" y="4713"/>
                    <a:pt x="7679" y="4412"/>
                    <a:pt x="7543" y="4178"/>
                  </a:cubicBezTo>
                  <a:cubicBezTo>
                    <a:pt x="7408" y="3943"/>
                    <a:pt x="7108" y="3863"/>
                    <a:pt x="6873" y="3998"/>
                  </a:cubicBezTo>
                  <a:moveTo>
                    <a:pt x="4178" y="14057"/>
                  </a:moveTo>
                  <a:cubicBezTo>
                    <a:pt x="3942" y="14192"/>
                    <a:pt x="3863" y="14492"/>
                    <a:pt x="3998" y="14727"/>
                  </a:cubicBezTo>
                  <a:cubicBezTo>
                    <a:pt x="4133" y="14962"/>
                    <a:pt x="4433" y="15043"/>
                    <a:pt x="4668" y="14907"/>
                  </a:cubicBezTo>
                  <a:cubicBezTo>
                    <a:pt x="4903" y="14772"/>
                    <a:pt x="4984" y="14472"/>
                    <a:pt x="4848" y="14236"/>
                  </a:cubicBezTo>
                  <a:cubicBezTo>
                    <a:pt x="4713" y="14001"/>
                    <a:pt x="4412" y="13921"/>
                    <a:pt x="4178" y="14057"/>
                  </a:cubicBezTo>
                  <a:moveTo>
                    <a:pt x="7364" y="16752"/>
                  </a:moveTo>
                  <a:cubicBezTo>
                    <a:pt x="7129" y="16617"/>
                    <a:pt x="6829" y="16697"/>
                    <a:pt x="6693" y="16932"/>
                  </a:cubicBezTo>
                  <a:cubicBezTo>
                    <a:pt x="6558" y="17167"/>
                    <a:pt x="6638" y="17467"/>
                    <a:pt x="6873" y="17602"/>
                  </a:cubicBezTo>
                  <a:cubicBezTo>
                    <a:pt x="7108" y="17738"/>
                    <a:pt x="7408" y="17658"/>
                    <a:pt x="7543" y="17422"/>
                  </a:cubicBezTo>
                  <a:cubicBezTo>
                    <a:pt x="7679" y="17188"/>
                    <a:pt x="7599" y="16887"/>
                    <a:pt x="7364" y="16752"/>
                  </a:cubicBezTo>
                  <a:moveTo>
                    <a:pt x="18164" y="10309"/>
                  </a:move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2"/>
                    <a:pt x="17893" y="11291"/>
                    <a:pt x="18164" y="11291"/>
                  </a:cubicBezTo>
                  <a:cubicBezTo>
                    <a:pt x="18434" y="11291"/>
                    <a:pt x="18655" y="11072"/>
                    <a:pt x="18655" y="10800"/>
                  </a:cubicBezTo>
                  <a:cubicBezTo>
                    <a:pt x="18655" y="10529"/>
                    <a:pt x="18434" y="10309"/>
                    <a:pt x="18164" y="10309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93725" y="1763927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Getnet</a:t>
              </a:r>
              <a:endParaRPr lang="en-US" sz="7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93725" y="2288455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3 </a:t>
              </a:r>
              <a:r>
                <a:rPr lang="en-US" sz="7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eses</a:t>
              </a:r>
              <a:endParaRPr lang="en-US" sz="7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93725" y="2800948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R$ 50k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077059" y="1543050"/>
            <a:ext cx="729192" cy="1383253"/>
            <a:chOff x="5077059" y="1543050"/>
            <a:chExt cx="729192" cy="1383253"/>
          </a:xfrm>
        </p:grpSpPr>
        <p:sp>
          <p:nvSpPr>
            <p:cNvPr id="14" name="Shape 2792"/>
            <p:cNvSpPr/>
            <p:nvPr/>
          </p:nvSpPr>
          <p:spPr>
            <a:xfrm>
              <a:off x="5077059" y="2574343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11949" y="13580"/>
                  </a:moveTo>
                  <a:cubicBezTo>
                    <a:pt x="11701" y="13784"/>
                    <a:pt x="11474" y="13901"/>
                    <a:pt x="11085" y="13931"/>
                  </a:cubicBezTo>
                  <a:lnTo>
                    <a:pt x="11085" y="11339"/>
                  </a:lnTo>
                  <a:cubicBezTo>
                    <a:pt x="11251" y="11383"/>
                    <a:pt x="11321" y="11435"/>
                    <a:pt x="11479" y="11494"/>
                  </a:cubicBezTo>
                  <a:cubicBezTo>
                    <a:pt x="11638" y="11554"/>
                    <a:pt x="11780" y="11632"/>
                    <a:pt x="11906" y="11728"/>
                  </a:cubicBezTo>
                  <a:cubicBezTo>
                    <a:pt x="12032" y="11824"/>
                    <a:pt x="12133" y="11943"/>
                    <a:pt x="12208" y="12084"/>
                  </a:cubicBezTo>
                  <a:cubicBezTo>
                    <a:pt x="12284" y="12225"/>
                    <a:pt x="12322" y="12399"/>
                    <a:pt x="12322" y="12607"/>
                  </a:cubicBezTo>
                  <a:cubicBezTo>
                    <a:pt x="12322" y="13052"/>
                    <a:pt x="12198" y="13376"/>
                    <a:pt x="11949" y="13580"/>
                  </a:cubicBezTo>
                  <a:moveTo>
                    <a:pt x="10437" y="9837"/>
                  </a:moveTo>
                  <a:cubicBezTo>
                    <a:pt x="10286" y="9800"/>
                    <a:pt x="10228" y="9753"/>
                    <a:pt x="10081" y="9698"/>
                  </a:cubicBezTo>
                  <a:cubicBezTo>
                    <a:pt x="9933" y="9642"/>
                    <a:pt x="9803" y="9570"/>
                    <a:pt x="9692" y="9481"/>
                  </a:cubicBezTo>
                  <a:cubicBezTo>
                    <a:pt x="9581" y="9392"/>
                    <a:pt x="9489" y="9285"/>
                    <a:pt x="9417" y="9159"/>
                  </a:cubicBezTo>
                  <a:cubicBezTo>
                    <a:pt x="9345" y="9032"/>
                    <a:pt x="9309" y="8880"/>
                    <a:pt x="9309" y="8702"/>
                  </a:cubicBezTo>
                  <a:cubicBezTo>
                    <a:pt x="9309" y="8309"/>
                    <a:pt x="9415" y="8030"/>
                    <a:pt x="9627" y="7862"/>
                  </a:cubicBezTo>
                  <a:cubicBezTo>
                    <a:pt x="9839" y="7696"/>
                    <a:pt x="10048" y="7612"/>
                    <a:pt x="10437" y="7612"/>
                  </a:cubicBezTo>
                  <a:cubicBezTo>
                    <a:pt x="10437" y="7612"/>
                    <a:pt x="10437" y="9837"/>
                    <a:pt x="10437" y="9837"/>
                  </a:cubicBezTo>
                  <a:close/>
                  <a:moveTo>
                    <a:pt x="12765" y="10727"/>
                  </a:moveTo>
                  <a:cubicBezTo>
                    <a:pt x="12527" y="10542"/>
                    <a:pt x="12253" y="10390"/>
                    <a:pt x="11944" y="10271"/>
                  </a:cubicBezTo>
                  <a:cubicBezTo>
                    <a:pt x="11634" y="10153"/>
                    <a:pt x="11410" y="10049"/>
                    <a:pt x="11085" y="9959"/>
                  </a:cubicBezTo>
                  <a:lnTo>
                    <a:pt x="11085" y="7612"/>
                  </a:lnTo>
                  <a:cubicBezTo>
                    <a:pt x="11474" y="7612"/>
                    <a:pt x="11665" y="7713"/>
                    <a:pt x="11841" y="7913"/>
                  </a:cubicBezTo>
                  <a:cubicBezTo>
                    <a:pt x="12017" y="8113"/>
                    <a:pt x="12113" y="8402"/>
                    <a:pt x="12127" y="8781"/>
                  </a:cubicBezTo>
                  <a:lnTo>
                    <a:pt x="13359" y="8781"/>
                  </a:lnTo>
                  <a:cubicBezTo>
                    <a:pt x="13359" y="8417"/>
                    <a:pt x="13295" y="8098"/>
                    <a:pt x="13170" y="7824"/>
                  </a:cubicBezTo>
                  <a:cubicBezTo>
                    <a:pt x="13043" y="7550"/>
                    <a:pt x="12875" y="7323"/>
                    <a:pt x="12662" y="7145"/>
                  </a:cubicBezTo>
                  <a:cubicBezTo>
                    <a:pt x="12449" y="6967"/>
                    <a:pt x="12200" y="6833"/>
                    <a:pt x="11911" y="6744"/>
                  </a:cubicBezTo>
                  <a:cubicBezTo>
                    <a:pt x="11623" y="6656"/>
                    <a:pt x="11410" y="6611"/>
                    <a:pt x="11085" y="6611"/>
                  </a:cubicBezTo>
                  <a:lnTo>
                    <a:pt x="11085" y="5881"/>
                  </a:lnTo>
                  <a:lnTo>
                    <a:pt x="10437" y="5881"/>
                  </a:lnTo>
                  <a:lnTo>
                    <a:pt x="10437" y="6611"/>
                  </a:lnTo>
                  <a:cubicBezTo>
                    <a:pt x="10113" y="6611"/>
                    <a:pt x="9895" y="6659"/>
                    <a:pt x="9600" y="6756"/>
                  </a:cubicBezTo>
                  <a:cubicBezTo>
                    <a:pt x="9305" y="6852"/>
                    <a:pt x="9044" y="6991"/>
                    <a:pt x="8817" y="7173"/>
                  </a:cubicBezTo>
                  <a:cubicBezTo>
                    <a:pt x="8590" y="7355"/>
                    <a:pt x="8410" y="7581"/>
                    <a:pt x="8277" y="7852"/>
                  </a:cubicBezTo>
                  <a:cubicBezTo>
                    <a:pt x="8144" y="8122"/>
                    <a:pt x="8077" y="8436"/>
                    <a:pt x="8077" y="8791"/>
                  </a:cubicBezTo>
                  <a:cubicBezTo>
                    <a:pt x="8077" y="9199"/>
                    <a:pt x="8150" y="9541"/>
                    <a:pt x="8293" y="9815"/>
                  </a:cubicBezTo>
                  <a:cubicBezTo>
                    <a:pt x="8438" y="10089"/>
                    <a:pt x="8626" y="10317"/>
                    <a:pt x="8860" y="10499"/>
                  </a:cubicBezTo>
                  <a:cubicBezTo>
                    <a:pt x="9094" y="10681"/>
                    <a:pt x="9357" y="10829"/>
                    <a:pt x="9649" y="10944"/>
                  </a:cubicBezTo>
                  <a:cubicBezTo>
                    <a:pt x="9940" y="11059"/>
                    <a:pt x="10142" y="11157"/>
                    <a:pt x="10437" y="11239"/>
                  </a:cubicBezTo>
                  <a:lnTo>
                    <a:pt x="10437" y="13931"/>
                  </a:lnTo>
                  <a:cubicBezTo>
                    <a:pt x="9940" y="13916"/>
                    <a:pt x="9676" y="13768"/>
                    <a:pt x="9460" y="13486"/>
                  </a:cubicBezTo>
                  <a:cubicBezTo>
                    <a:pt x="9244" y="13204"/>
                    <a:pt x="9139" y="12818"/>
                    <a:pt x="9147" y="12329"/>
                  </a:cubicBezTo>
                  <a:lnTo>
                    <a:pt x="7915" y="12329"/>
                  </a:lnTo>
                  <a:cubicBezTo>
                    <a:pt x="7908" y="12744"/>
                    <a:pt x="7967" y="13111"/>
                    <a:pt x="8094" y="13430"/>
                  </a:cubicBezTo>
                  <a:cubicBezTo>
                    <a:pt x="8220" y="13749"/>
                    <a:pt x="8397" y="14018"/>
                    <a:pt x="8628" y="14236"/>
                  </a:cubicBezTo>
                  <a:cubicBezTo>
                    <a:pt x="8858" y="14455"/>
                    <a:pt x="9136" y="14624"/>
                    <a:pt x="9460" y="14743"/>
                  </a:cubicBezTo>
                  <a:cubicBezTo>
                    <a:pt x="9784" y="14861"/>
                    <a:pt x="10048" y="14924"/>
                    <a:pt x="10437" y="14932"/>
                  </a:cubicBezTo>
                  <a:lnTo>
                    <a:pt x="10437" y="15692"/>
                  </a:lnTo>
                  <a:lnTo>
                    <a:pt x="11085" y="15692"/>
                  </a:lnTo>
                  <a:lnTo>
                    <a:pt x="11085" y="14932"/>
                  </a:lnTo>
                  <a:cubicBezTo>
                    <a:pt x="11446" y="14917"/>
                    <a:pt x="11688" y="14856"/>
                    <a:pt x="11998" y="14748"/>
                  </a:cubicBezTo>
                  <a:cubicBezTo>
                    <a:pt x="12307" y="14641"/>
                    <a:pt x="12578" y="14485"/>
                    <a:pt x="12808" y="14281"/>
                  </a:cubicBezTo>
                  <a:cubicBezTo>
                    <a:pt x="13038" y="14077"/>
                    <a:pt x="13220" y="13821"/>
                    <a:pt x="13353" y="13513"/>
                  </a:cubicBezTo>
                  <a:cubicBezTo>
                    <a:pt x="13486" y="13206"/>
                    <a:pt x="13553" y="12844"/>
                    <a:pt x="13553" y="12429"/>
                  </a:cubicBezTo>
                  <a:cubicBezTo>
                    <a:pt x="13553" y="12028"/>
                    <a:pt x="13481" y="11691"/>
                    <a:pt x="13337" y="11417"/>
                  </a:cubicBezTo>
                  <a:cubicBezTo>
                    <a:pt x="13193" y="11142"/>
                    <a:pt x="13002" y="10912"/>
                    <a:pt x="12765" y="10727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 dirty="0"/>
            </a:p>
          </p:txBody>
        </p:sp>
        <p:sp>
          <p:nvSpPr>
            <p:cNvPr id="15" name="Shape 2525"/>
            <p:cNvSpPr/>
            <p:nvPr/>
          </p:nvSpPr>
          <p:spPr>
            <a:xfrm>
              <a:off x="5077059" y="1543050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291" y="17673"/>
                  </a:moveTo>
                  <a:cubicBezTo>
                    <a:pt x="11562" y="17673"/>
                    <a:pt x="11782" y="17453"/>
                    <a:pt x="11782" y="17182"/>
                  </a:cubicBezTo>
                  <a:cubicBezTo>
                    <a:pt x="11782" y="16911"/>
                    <a:pt x="11562" y="16691"/>
                    <a:pt x="11291" y="16691"/>
                  </a:cubicBezTo>
                  <a:cubicBezTo>
                    <a:pt x="11020" y="16691"/>
                    <a:pt x="10800" y="16911"/>
                    <a:pt x="10800" y="17182"/>
                  </a:cubicBezTo>
                  <a:cubicBezTo>
                    <a:pt x="10800" y="17453"/>
                    <a:pt x="11020" y="17673"/>
                    <a:pt x="11291" y="17673"/>
                  </a:cubicBezTo>
                  <a:moveTo>
                    <a:pt x="17673" y="18655"/>
                  </a:moveTo>
                  <a:lnTo>
                    <a:pt x="13745" y="18655"/>
                  </a:lnTo>
                  <a:lnTo>
                    <a:pt x="13745" y="12273"/>
                  </a:lnTo>
                  <a:cubicBezTo>
                    <a:pt x="13745" y="12002"/>
                    <a:pt x="13525" y="11782"/>
                    <a:pt x="13255" y="11782"/>
                  </a:cubicBezTo>
                  <a:lnTo>
                    <a:pt x="8345" y="11782"/>
                  </a:lnTo>
                  <a:cubicBezTo>
                    <a:pt x="8075" y="11782"/>
                    <a:pt x="7855" y="12002"/>
                    <a:pt x="7855" y="12273"/>
                  </a:cubicBezTo>
                  <a:lnTo>
                    <a:pt x="7855" y="18655"/>
                  </a:lnTo>
                  <a:lnTo>
                    <a:pt x="3927" y="18655"/>
                  </a:lnTo>
                  <a:lnTo>
                    <a:pt x="3927" y="8058"/>
                  </a:lnTo>
                  <a:lnTo>
                    <a:pt x="10800" y="1185"/>
                  </a:lnTo>
                  <a:lnTo>
                    <a:pt x="17673" y="8058"/>
                  </a:lnTo>
                  <a:cubicBezTo>
                    <a:pt x="17673" y="8058"/>
                    <a:pt x="17673" y="18655"/>
                    <a:pt x="17673" y="18655"/>
                  </a:cubicBezTo>
                  <a:close/>
                  <a:moveTo>
                    <a:pt x="17673" y="20618"/>
                  </a:moveTo>
                  <a:lnTo>
                    <a:pt x="13745" y="20618"/>
                  </a:lnTo>
                  <a:lnTo>
                    <a:pt x="13745" y="19636"/>
                  </a:lnTo>
                  <a:lnTo>
                    <a:pt x="17673" y="19636"/>
                  </a:lnTo>
                  <a:cubicBezTo>
                    <a:pt x="17673" y="19636"/>
                    <a:pt x="17673" y="20618"/>
                    <a:pt x="17673" y="20618"/>
                  </a:cubicBezTo>
                  <a:close/>
                  <a:moveTo>
                    <a:pt x="12764" y="20618"/>
                  </a:moveTo>
                  <a:lnTo>
                    <a:pt x="8836" y="20618"/>
                  </a:lnTo>
                  <a:lnTo>
                    <a:pt x="8836" y="12764"/>
                  </a:lnTo>
                  <a:lnTo>
                    <a:pt x="12764" y="12764"/>
                  </a:lnTo>
                  <a:cubicBezTo>
                    <a:pt x="12764" y="12764"/>
                    <a:pt x="12764" y="20618"/>
                    <a:pt x="12764" y="20618"/>
                  </a:cubicBezTo>
                  <a:close/>
                  <a:moveTo>
                    <a:pt x="7855" y="20618"/>
                  </a:moveTo>
                  <a:lnTo>
                    <a:pt x="3927" y="20618"/>
                  </a:lnTo>
                  <a:lnTo>
                    <a:pt x="3927" y="19636"/>
                  </a:lnTo>
                  <a:lnTo>
                    <a:pt x="7855" y="19636"/>
                  </a:lnTo>
                  <a:cubicBezTo>
                    <a:pt x="7855" y="19636"/>
                    <a:pt x="7855" y="20618"/>
                    <a:pt x="7855" y="20618"/>
                  </a:cubicBezTo>
                  <a:close/>
                  <a:moveTo>
                    <a:pt x="14727" y="1964"/>
                  </a:moveTo>
                  <a:lnTo>
                    <a:pt x="16691" y="1964"/>
                  </a:lnTo>
                  <a:lnTo>
                    <a:pt x="16691" y="5688"/>
                  </a:lnTo>
                  <a:lnTo>
                    <a:pt x="14727" y="3724"/>
                  </a:lnTo>
                  <a:cubicBezTo>
                    <a:pt x="14727" y="3724"/>
                    <a:pt x="14727" y="1964"/>
                    <a:pt x="14727" y="1964"/>
                  </a:cubicBezTo>
                  <a:close/>
                  <a:moveTo>
                    <a:pt x="21456" y="10453"/>
                  </a:moveTo>
                  <a:lnTo>
                    <a:pt x="17673" y="6670"/>
                  </a:lnTo>
                  <a:lnTo>
                    <a:pt x="17673" y="1473"/>
                  </a:lnTo>
                  <a:cubicBezTo>
                    <a:pt x="17673" y="1202"/>
                    <a:pt x="17453" y="982"/>
                    <a:pt x="17182" y="982"/>
                  </a:cubicBezTo>
                  <a:lnTo>
                    <a:pt x="14236" y="982"/>
                  </a:lnTo>
                  <a:cubicBezTo>
                    <a:pt x="13966" y="982"/>
                    <a:pt x="13745" y="1202"/>
                    <a:pt x="13745" y="1473"/>
                  </a:cubicBezTo>
                  <a:lnTo>
                    <a:pt x="13745" y="2742"/>
                  </a:lnTo>
                  <a:lnTo>
                    <a:pt x="11147" y="144"/>
                  </a:lnTo>
                  <a:cubicBezTo>
                    <a:pt x="11058" y="55"/>
                    <a:pt x="10935" y="0"/>
                    <a:pt x="10800" y="0"/>
                  </a:cubicBezTo>
                  <a:cubicBezTo>
                    <a:pt x="10665" y="0"/>
                    <a:pt x="10542" y="55"/>
                    <a:pt x="10453" y="144"/>
                  </a:cubicBezTo>
                  <a:lnTo>
                    <a:pt x="144" y="10453"/>
                  </a:lnTo>
                  <a:cubicBezTo>
                    <a:pt x="55" y="10542"/>
                    <a:pt x="0" y="10665"/>
                    <a:pt x="0" y="10800"/>
                  </a:cubicBezTo>
                  <a:cubicBezTo>
                    <a:pt x="0" y="11072"/>
                    <a:pt x="220" y="11291"/>
                    <a:pt x="491" y="11291"/>
                  </a:cubicBezTo>
                  <a:cubicBezTo>
                    <a:pt x="626" y="11291"/>
                    <a:pt x="749" y="11236"/>
                    <a:pt x="838" y="11147"/>
                  </a:cubicBezTo>
                  <a:lnTo>
                    <a:pt x="2945" y="9040"/>
                  </a:lnTo>
                  <a:lnTo>
                    <a:pt x="2945" y="21109"/>
                  </a:lnTo>
                  <a:cubicBezTo>
                    <a:pt x="2945" y="21381"/>
                    <a:pt x="3166" y="21600"/>
                    <a:pt x="3436" y="21600"/>
                  </a:cubicBezTo>
                  <a:lnTo>
                    <a:pt x="18164" y="21600"/>
                  </a:lnTo>
                  <a:cubicBezTo>
                    <a:pt x="18434" y="21600"/>
                    <a:pt x="18655" y="21381"/>
                    <a:pt x="18655" y="21109"/>
                  </a:cubicBezTo>
                  <a:lnTo>
                    <a:pt x="18655" y="9040"/>
                  </a:lnTo>
                  <a:lnTo>
                    <a:pt x="20762" y="11147"/>
                  </a:lnTo>
                  <a:cubicBezTo>
                    <a:pt x="20851" y="11236"/>
                    <a:pt x="20974" y="11291"/>
                    <a:pt x="21109" y="11291"/>
                  </a:cubicBezTo>
                  <a:cubicBezTo>
                    <a:pt x="21380" y="11291"/>
                    <a:pt x="21600" y="11072"/>
                    <a:pt x="21600" y="10800"/>
                  </a:cubicBezTo>
                  <a:cubicBezTo>
                    <a:pt x="21600" y="10665"/>
                    <a:pt x="21545" y="10542"/>
                    <a:pt x="21456" y="10453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 dirty="0"/>
            </a:p>
          </p:txBody>
        </p:sp>
        <p:sp>
          <p:nvSpPr>
            <p:cNvPr id="16" name="Shape 2526"/>
            <p:cNvSpPr/>
            <p:nvPr/>
          </p:nvSpPr>
          <p:spPr>
            <a:xfrm>
              <a:off x="5077059" y="2053383"/>
              <a:ext cx="193471" cy="193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0618"/>
                  </a:moveTo>
                  <a:cubicBezTo>
                    <a:pt x="5377" y="20618"/>
                    <a:pt x="982" y="16223"/>
                    <a:pt x="982" y="10800"/>
                  </a:cubicBezTo>
                  <a:cubicBezTo>
                    <a:pt x="982" y="5377"/>
                    <a:pt x="5377" y="982"/>
                    <a:pt x="10800" y="982"/>
                  </a:cubicBezTo>
                  <a:cubicBezTo>
                    <a:pt x="16223" y="982"/>
                    <a:pt x="20618" y="5377"/>
                    <a:pt x="20618" y="10800"/>
                  </a:cubicBezTo>
                  <a:cubicBezTo>
                    <a:pt x="20618" y="16223"/>
                    <a:pt x="16223" y="20618"/>
                    <a:pt x="10800" y="20618"/>
                  </a:cubicBezTo>
                  <a:moveTo>
                    <a:pt x="10800" y="0"/>
                  </a:moveTo>
                  <a:cubicBezTo>
                    <a:pt x="4836" y="0"/>
                    <a:pt x="0" y="4836"/>
                    <a:pt x="0" y="10800"/>
                  </a:cubicBezTo>
                  <a:cubicBezTo>
                    <a:pt x="0" y="16765"/>
                    <a:pt x="4836" y="21600"/>
                    <a:pt x="10800" y="21600"/>
                  </a:cubicBezTo>
                  <a:cubicBezTo>
                    <a:pt x="16764" y="21600"/>
                    <a:pt x="21600" y="16765"/>
                    <a:pt x="21600" y="10800"/>
                  </a:cubicBezTo>
                  <a:cubicBezTo>
                    <a:pt x="21600" y="4836"/>
                    <a:pt x="16764" y="0"/>
                    <a:pt x="10800" y="0"/>
                  </a:cubicBezTo>
                  <a:moveTo>
                    <a:pt x="14236" y="16752"/>
                  </a:moveTo>
                  <a:cubicBezTo>
                    <a:pt x="14001" y="16887"/>
                    <a:pt x="13921" y="17188"/>
                    <a:pt x="14057" y="17422"/>
                  </a:cubicBezTo>
                  <a:cubicBezTo>
                    <a:pt x="14192" y="17658"/>
                    <a:pt x="14493" y="17738"/>
                    <a:pt x="14727" y="17602"/>
                  </a:cubicBezTo>
                  <a:cubicBezTo>
                    <a:pt x="14962" y="17467"/>
                    <a:pt x="15042" y="17167"/>
                    <a:pt x="14907" y="16932"/>
                  </a:cubicBezTo>
                  <a:cubicBezTo>
                    <a:pt x="14771" y="16697"/>
                    <a:pt x="14472" y="16617"/>
                    <a:pt x="14236" y="16752"/>
                  </a:cubicBezTo>
                  <a:moveTo>
                    <a:pt x="10800" y="11782"/>
                  </a:moveTo>
                  <a:cubicBezTo>
                    <a:pt x="10258" y="11782"/>
                    <a:pt x="9818" y="11342"/>
                    <a:pt x="9818" y="10800"/>
                  </a:cubicBezTo>
                  <a:cubicBezTo>
                    <a:pt x="9818" y="10258"/>
                    <a:pt x="10258" y="9818"/>
                    <a:pt x="10800" y="9818"/>
                  </a:cubicBezTo>
                  <a:cubicBezTo>
                    <a:pt x="11342" y="9818"/>
                    <a:pt x="11782" y="10258"/>
                    <a:pt x="11782" y="10800"/>
                  </a:cubicBezTo>
                  <a:cubicBezTo>
                    <a:pt x="11782" y="11342"/>
                    <a:pt x="11342" y="11782"/>
                    <a:pt x="10800" y="11782"/>
                  </a:cubicBezTo>
                  <a:moveTo>
                    <a:pt x="15218" y="10309"/>
                  </a:moveTo>
                  <a:lnTo>
                    <a:pt x="12694" y="10309"/>
                  </a:lnTo>
                  <a:cubicBezTo>
                    <a:pt x="12515" y="9624"/>
                    <a:pt x="11978" y="9084"/>
                    <a:pt x="11291" y="8906"/>
                  </a:cubicBezTo>
                  <a:lnTo>
                    <a:pt x="11291" y="3436"/>
                  </a:lnTo>
                  <a:cubicBezTo>
                    <a:pt x="11291" y="3166"/>
                    <a:pt x="11071" y="2945"/>
                    <a:pt x="10800" y="2945"/>
                  </a:cubicBezTo>
                  <a:cubicBezTo>
                    <a:pt x="10529" y="2945"/>
                    <a:pt x="10309" y="3166"/>
                    <a:pt x="10309" y="3436"/>
                  </a:cubicBezTo>
                  <a:lnTo>
                    <a:pt x="10309" y="8906"/>
                  </a:lnTo>
                  <a:cubicBezTo>
                    <a:pt x="9464" y="9125"/>
                    <a:pt x="8836" y="9886"/>
                    <a:pt x="8836" y="10800"/>
                  </a:cubicBezTo>
                  <a:cubicBezTo>
                    <a:pt x="8836" y="11885"/>
                    <a:pt x="9716" y="12764"/>
                    <a:pt x="10800" y="12764"/>
                  </a:cubicBezTo>
                  <a:cubicBezTo>
                    <a:pt x="11714" y="12764"/>
                    <a:pt x="12476" y="12137"/>
                    <a:pt x="12694" y="11291"/>
                  </a:cubicBezTo>
                  <a:lnTo>
                    <a:pt x="15218" y="11291"/>
                  </a:lnTo>
                  <a:cubicBezTo>
                    <a:pt x="15489" y="11291"/>
                    <a:pt x="15709" y="11072"/>
                    <a:pt x="15709" y="10800"/>
                  </a:cubicBezTo>
                  <a:cubicBezTo>
                    <a:pt x="15709" y="10529"/>
                    <a:pt x="15489" y="10309"/>
                    <a:pt x="15218" y="10309"/>
                  </a:cubicBezTo>
                  <a:moveTo>
                    <a:pt x="16932" y="6693"/>
                  </a:moveTo>
                  <a:cubicBezTo>
                    <a:pt x="16697" y="6829"/>
                    <a:pt x="16616" y="7129"/>
                    <a:pt x="16752" y="7364"/>
                  </a:cubicBezTo>
                  <a:cubicBezTo>
                    <a:pt x="16887" y="7599"/>
                    <a:pt x="17188" y="7679"/>
                    <a:pt x="17422" y="7543"/>
                  </a:cubicBezTo>
                  <a:cubicBezTo>
                    <a:pt x="17657" y="7408"/>
                    <a:pt x="17737" y="7108"/>
                    <a:pt x="17602" y="6873"/>
                  </a:cubicBezTo>
                  <a:cubicBezTo>
                    <a:pt x="17467" y="6638"/>
                    <a:pt x="17166" y="6557"/>
                    <a:pt x="16932" y="6693"/>
                  </a:cubicBezTo>
                  <a:moveTo>
                    <a:pt x="10800" y="17673"/>
                  </a:moveTo>
                  <a:cubicBezTo>
                    <a:pt x="10529" y="17673"/>
                    <a:pt x="10309" y="17893"/>
                    <a:pt x="10309" y="18164"/>
                  </a:cubicBezTo>
                  <a:cubicBezTo>
                    <a:pt x="10309" y="18435"/>
                    <a:pt x="10529" y="18655"/>
                    <a:pt x="10800" y="18655"/>
                  </a:cubicBezTo>
                  <a:cubicBezTo>
                    <a:pt x="11071" y="18655"/>
                    <a:pt x="11291" y="18435"/>
                    <a:pt x="11291" y="18164"/>
                  </a:cubicBezTo>
                  <a:cubicBezTo>
                    <a:pt x="11291" y="17893"/>
                    <a:pt x="11071" y="17673"/>
                    <a:pt x="10800" y="17673"/>
                  </a:cubicBezTo>
                  <a:moveTo>
                    <a:pt x="17422" y="14057"/>
                  </a:moveTo>
                  <a:cubicBezTo>
                    <a:pt x="17188" y="13921"/>
                    <a:pt x="16887" y="14001"/>
                    <a:pt x="16752" y="14236"/>
                  </a:cubicBezTo>
                  <a:cubicBezTo>
                    <a:pt x="16616" y="14472"/>
                    <a:pt x="16697" y="14772"/>
                    <a:pt x="16932" y="14907"/>
                  </a:cubicBezTo>
                  <a:cubicBezTo>
                    <a:pt x="17166" y="15043"/>
                    <a:pt x="17467" y="14962"/>
                    <a:pt x="17602" y="14727"/>
                  </a:cubicBezTo>
                  <a:cubicBezTo>
                    <a:pt x="17737" y="14492"/>
                    <a:pt x="17657" y="14192"/>
                    <a:pt x="17422" y="14057"/>
                  </a:cubicBezTo>
                  <a:moveTo>
                    <a:pt x="4668" y="6693"/>
                  </a:moveTo>
                  <a:cubicBezTo>
                    <a:pt x="4433" y="6557"/>
                    <a:pt x="4133" y="6638"/>
                    <a:pt x="3998" y="6873"/>
                  </a:cubicBezTo>
                  <a:cubicBezTo>
                    <a:pt x="3863" y="7108"/>
                    <a:pt x="3942" y="7408"/>
                    <a:pt x="4178" y="7543"/>
                  </a:cubicBezTo>
                  <a:cubicBezTo>
                    <a:pt x="4412" y="7679"/>
                    <a:pt x="4713" y="7599"/>
                    <a:pt x="4848" y="7364"/>
                  </a:cubicBezTo>
                  <a:cubicBezTo>
                    <a:pt x="4984" y="7129"/>
                    <a:pt x="4903" y="6829"/>
                    <a:pt x="4668" y="6693"/>
                  </a:cubicBezTo>
                  <a:moveTo>
                    <a:pt x="14236" y="4848"/>
                  </a:moveTo>
                  <a:cubicBezTo>
                    <a:pt x="14472" y="4984"/>
                    <a:pt x="14771" y="4903"/>
                    <a:pt x="14907" y="4669"/>
                  </a:cubicBezTo>
                  <a:cubicBezTo>
                    <a:pt x="15042" y="4434"/>
                    <a:pt x="14962" y="4134"/>
                    <a:pt x="14727" y="3998"/>
                  </a:cubicBezTo>
                  <a:cubicBezTo>
                    <a:pt x="14493" y="3863"/>
                    <a:pt x="14192" y="3943"/>
                    <a:pt x="14057" y="4178"/>
                  </a:cubicBezTo>
                  <a:cubicBezTo>
                    <a:pt x="13921" y="4412"/>
                    <a:pt x="14001" y="4713"/>
                    <a:pt x="14236" y="4848"/>
                  </a:cubicBezTo>
                  <a:moveTo>
                    <a:pt x="3436" y="10309"/>
                  </a:moveTo>
                  <a:cubicBezTo>
                    <a:pt x="3166" y="10309"/>
                    <a:pt x="2945" y="10529"/>
                    <a:pt x="2945" y="10800"/>
                  </a:cubicBezTo>
                  <a:cubicBezTo>
                    <a:pt x="2945" y="11072"/>
                    <a:pt x="3166" y="11291"/>
                    <a:pt x="3436" y="11291"/>
                  </a:cubicBezTo>
                  <a:cubicBezTo>
                    <a:pt x="3707" y="11291"/>
                    <a:pt x="3927" y="11072"/>
                    <a:pt x="3927" y="10800"/>
                  </a:cubicBezTo>
                  <a:cubicBezTo>
                    <a:pt x="3927" y="10529"/>
                    <a:pt x="3707" y="10309"/>
                    <a:pt x="3436" y="10309"/>
                  </a:cubicBezTo>
                  <a:moveTo>
                    <a:pt x="6873" y="3998"/>
                  </a:moveTo>
                  <a:cubicBezTo>
                    <a:pt x="6638" y="4134"/>
                    <a:pt x="6558" y="4434"/>
                    <a:pt x="6693" y="4669"/>
                  </a:cubicBezTo>
                  <a:cubicBezTo>
                    <a:pt x="6829" y="4903"/>
                    <a:pt x="7129" y="4984"/>
                    <a:pt x="7364" y="4848"/>
                  </a:cubicBezTo>
                  <a:cubicBezTo>
                    <a:pt x="7599" y="4713"/>
                    <a:pt x="7679" y="4412"/>
                    <a:pt x="7543" y="4178"/>
                  </a:cubicBezTo>
                  <a:cubicBezTo>
                    <a:pt x="7408" y="3943"/>
                    <a:pt x="7108" y="3863"/>
                    <a:pt x="6873" y="3998"/>
                  </a:cubicBezTo>
                  <a:moveTo>
                    <a:pt x="4178" y="14057"/>
                  </a:moveTo>
                  <a:cubicBezTo>
                    <a:pt x="3942" y="14192"/>
                    <a:pt x="3863" y="14492"/>
                    <a:pt x="3998" y="14727"/>
                  </a:cubicBezTo>
                  <a:cubicBezTo>
                    <a:pt x="4133" y="14962"/>
                    <a:pt x="4433" y="15043"/>
                    <a:pt x="4668" y="14907"/>
                  </a:cubicBezTo>
                  <a:cubicBezTo>
                    <a:pt x="4903" y="14772"/>
                    <a:pt x="4984" y="14472"/>
                    <a:pt x="4848" y="14236"/>
                  </a:cubicBezTo>
                  <a:cubicBezTo>
                    <a:pt x="4713" y="14001"/>
                    <a:pt x="4412" y="13921"/>
                    <a:pt x="4178" y="14057"/>
                  </a:cubicBezTo>
                  <a:moveTo>
                    <a:pt x="7364" y="16752"/>
                  </a:moveTo>
                  <a:cubicBezTo>
                    <a:pt x="7129" y="16617"/>
                    <a:pt x="6829" y="16697"/>
                    <a:pt x="6693" y="16932"/>
                  </a:cubicBezTo>
                  <a:cubicBezTo>
                    <a:pt x="6558" y="17167"/>
                    <a:pt x="6638" y="17467"/>
                    <a:pt x="6873" y="17602"/>
                  </a:cubicBezTo>
                  <a:cubicBezTo>
                    <a:pt x="7108" y="17738"/>
                    <a:pt x="7408" y="17658"/>
                    <a:pt x="7543" y="17422"/>
                  </a:cubicBezTo>
                  <a:cubicBezTo>
                    <a:pt x="7679" y="17188"/>
                    <a:pt x="7599" y="16887"/>
                    <a:pt x="7364" y="16752"/>
                  </a:cubicBezTo>
                  <a:moveTo>
                    <a:pt x="18164" y="10309"/>
                  </a:moveTo>
                  <a:cubicBezTo>
                    <a:pt x="17893" y="10309"/>
                    <a:pt x="17673" y="10529"/>
                    <a:pt x="17673" y="10800"/>
                  </a:cubicBezTo>
                  <a:cubicBezTo>
                    <a:pt x="17673" y="11072"/>
                    <a:pt x="17893" y="11291"/>
                    <a:pt x="18164" y="11291"/>
                  </a:cubicBezTo>
                  <a:cubicBezTo>
                    <a:pt x="18434" y="11291"/>
                    <a:pt x="18655" y="11072"/>
                    <a:pt x="18655" y="10800"/>
                  </a:cubicBezTo>
                  <a:cubicBezTo>
                    <a:pt x="18655" y="10529"/>
                    <a:pt x="18434" y="10309"/>
                    <a:pt x="18164" y="10309"/>
                  </a:cubicBezTo>
                </a:path>
              </a:pathLst>
            </a:custGeom>
            <a:solidFill>
              <a:srgbClr val="EC0000"/>
            </a:solidFill>
            <a:ln w="12700">
              <a:noFill/>
              <a:miter lim="400000"/>
            </a:ln>
          </p:spPr>
          <p:txBody>
            <a:bodyPr lIns="14284" tIns="14284" rIns="14284" bIns="14284" anchor="ctr"/>
            <a:lstStyle/>
            <a:p>
              <a:pPr defTabSz="171399">
                <a:defRPr sz="3000" cap="none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 sz="1125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077059" y="1763927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Getnet</a:t>
              </a:r>
              <a:endParaRPr lang="en-US" sz="7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077059" y="2288455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14 </a:t>
              </a:r>
              <a:r>
                <a:rPr lang="en-US" sz="700" b="1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manas</a:t>
              </a:r>
              <a:endParaRPr lang="en-US" sz="700" b="1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077059" y="2800948"/>
              <a:ext cx="729192" cy="1253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1125"/>
                </a:spcAft>
              </a:pPr>
              <a:r>
                <a:rPr lang="en-US" sz="700" b="1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R$ 10k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875868" y="3341255"/>
            <a:ext cx="1815600" cy="526928"/>
            <a:chOff x="1875868" y="3341255"/>
            <a:chExt cx="1815600" cy="526928"/>
          </a:xfrm>
        </p:grpSpPr>
        <p:sp>
          <p:nvSpPr>
            <p:cNvPr id="21" name="TextBox 20"/>
            <p:cNvSpPr txBox="1"/>
            <p:nvPr/>
          </p:nvSpPr>
          <p:spPr>
            <a:xfrm>
              <a:off x="1875868" y="3341255"/>
              <a:ext cx="1815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3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tapa 1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875868" y="3564830"/>
              <a:ext cx="181560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d dictum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odi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veli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lesuad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in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ellentesque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x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ellentesque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.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359202" y="3341256"/>
            <a:ext cx="1815600" cy="525517"/>
            <a:chOff x="6359202" y="3341256"/>
            <a:chExt cx="1815600" cy="525517"/>
          </a:xfrm>
        </p:grpSpPr>
        <p:sp>
          <p:nvSpPr>
            <p:cNvPr id="24" name="TextBox 23"/>
            <p:cNvSpPr txBox="1"/>
            <p:nvPr/>
          </p:nvSpPr>
          <p:spPr>
            <a:xfrm>
              <a:off x="6359202" y="3341256"/>
              <a:ext cx="18156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30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tapa 2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359202" y="3564831"/>
              <a:ext cx="1815600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ed dictum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odi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veli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lesuad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in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ellentesque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ex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pellentesque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.</a:t>
              </a:r>
            </a:p>
          </p:txBody>
        </p:sp>
      </p:grpSp>
      <p:sp>
        <p:nvSpPr>
          <p:cNvPr id="26" name="Picture Placeholder 25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27" name="Picture Placeholder 26"/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7302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Noss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ortfóli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593725" y="3921655"/>
            <a:ext cx="3821112" cy="3661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954618" y="4035497"/>
            <a:ext cx="3119966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Antes da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implementação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725988" y="3921655"/>
            <a:ext cx="3821112" cy="366182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5086881" y="4035497"/>
            <a:ext cx="3119966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Depois</a:t>
            </a:r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a </a:t>
            </a:r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implementação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84202" y="1200150"/>
            <a:ext cx="3821113" cy="2743200"/>
          </a:xfrm>
        </p:spPr>
      </p: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708525" y="1178455"/>
            <a:ext cx="3821113" cy="2743200"/>
          </a:xfrm>
        </p:spPr>
      </p:sp>
    </p:spTree>
    <p:extLst>
      <p:ext uri="{BB962C8B-B14F-4D97-AF65-F5344CB8AC3E}">
        <p14:creationId xmlns:p14="http://schemas.microsoft.com/office/powerpoint/2010/main" val="113278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ockup do </a:t>
            </a:r>
            <a:r>
              <a:rPr lang="en-US" dirty="0" err="1">
                <a:solidFill>
                  <a:srgbClr val="EC0000"/>
                </a:solidFill>
              </a:rPr>
              <a:t>superget</a:t>
            </a:r>
            <a:r>
              <a:rPr lang="en-US" dirty="0">
                <a:solidFill>
                  <a:srgbClr val="EC0000"/>
                </a:solidFill>
              </a:rPr>
              <a:t> mobi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898870" y="2224796"/>
            <a:ext cx="2225620" cy="1276480"/>
            <a:chOff x="898870" y="2224796"/>
            <a:chExt cx="2225620" cy="1276480"/>
          </a:xfrm>
        </p:grpSpPr>
        <p:sp>
          <p:nvSpPr>
            <p:cNvPr id="57" name="Freeform 56"/>
            <p:cNvSpPr>
              <a:spLocks noEditPoints="1"/>
            </p:cNvSpPr>
            <p:nvPr/>
          </p:nvSpPr>
          <p:spPr bwMode="auto">
            <a:xfrm>
              <a:off x="898870" y="2224796"/>
              <a:ext cx="270128" cy="270128"/>
            </a:xfrm>
            <a:custGeom>
              <a:avLst/>
              <a:gdLst>
                <a:gd name="T0" fmla="*/ 176 w 353"/>
                <a:gd name="T1" fmla="*/ 221 h 353"/>
                <a:gd name="T2" fmla="*/ 102 w 353"/>
                <a:gd name="T3" fmla="*/ 147 h 353"/>
                <a:gd name="T4" fmla="*/ 96 w 353"/>
                <a:gd name="T5" fmla="*/ 145 h 353"/>
                <a:gd name="T6" fmla="*/ 88 w 353"/>
                <a:gd name="T7" fmla="*/ 153 h 353"/>
                <a:gd name="T8" fmla="*/ 90 w 353"/>
                <a:gd name="T9" fmla="*/ 158 h 353"/>
                <a:gd name="T10" fmla="*/ 170 w 353"/>
                <a:gd name="T11" fmla="*/ 239 h 353"/>
                <a:gd name="T12" fmla="*/ 176 w 353"/>
                <a:gd name="T13" fmla="*/ 241 h 353"/>
                <a:gd name="T14" fmla="*/ 182 w 353"/>
                <a:gd name="T15" fmla="*/ 238 h 353"/>
                <a:gd name="T16" fmla="*/ 182 w 353"/>
                <a:gd name="T17" fmla="*/ 238 h 353"/>
                <a:gd name="T18" fmla="*/ 316 w 353"/>
                <a:gd name="T19" fmla="*/ 98 h 353"/>
                <a:gd name="T20" fmla="*/ 316 w 353"/>
                <a:gd name="T21" fmla="*/ 98 h 353"/>
                <a:gd name="T22" fmla="*/ 328 w 353"/>
                <a:gd name="T23" fmla="*/ 86 h 353"/>
                <a:gd name="T24" fmla="*/ 327 w 353"/>
                <a:gd name="T25" fmla="*/ 86 h 353"/>
                <a:gd name="T26" fmla="*/ 351 w 353"/>
                <a:gd name="T27" fmla="*/ 62 h 353"/>
                <a:gd name="T28" fmla="*/ 351 w 353"/>
                <a:gd name="T29" fmla="*/ 62 h 353"/>
                <a:gd name="T30" fmla="*/ 353 w 353"/>
                <a:gd name="T31" fmla="*/ 56 h 353"/>
                <a:gd name="T32" fmla="*/ 345 w 353"/>
                <a:gd name="T33" fmla="*/ 48 h 353"/>
                <a:gd name="T34" fmla="*/ 339 w 353"/>
                <a:gd name="T35" fmla="*/ 51 h 353"/>
                <a:gd name="T36" fmla="*/ 339 w 353"/>
                <a:gd name="T37" fmla="*/ 51 h 353"/>
                <a:gd name="T38" fmla="*/ 318 w 353"/>
                <a:gd name="T39" fmla="*/ 72 h 353"/>
                <a:gd name="T40" fmla="*/ 318 w 353"/>
                <a:gd name="T41" fmla="*/ 72 h 353"/>
                <a:gd name="T42" fmla="*/ 307 w 353"/>
                <a:gd name="T43" fmla="*/ 84 h 353"/>
                <a:gd name="T44" fmla="*/ 307 w 353"/>
                <a:gd name="T45" fmla="*/ 84 h 353"/>
                <a:gd name="T46" fmla="*/ 176 w 353"/>
                <a:gd name="T47" fmla="*/ 221 h 353"/>
                <a:gd name="T48" fmla="*/ 339 w 353"/>
                <a:gd name="T49" fmla="*/ 109 h 353"/>
                <a:gd name="T50" fmla="*/ 327 w 353"/>
                <a:gd name="T51" fmla="*/ 109 h 353"/>
                <a:gd name="T52" fmla="*/ 325 w 353"/>
                <a:gd name="T53" fmla="*/ 117 h 353"/>
                <a:gd name="T54" fmla="*/ 325 w 353"/>
                <a:gd name="T55" fmla="*/ 117 h 353"/>
                <a:gd name="T56" fmla="*/ 337 w 353"/>
                <a:gd name="T57" fmla="*/ 177 h 353"/>
                <a:gd name="T58" fmla="*/ 176 w 353"/>
                <a:gd name="T59" fmla="*/ 337 h 353"/>
                <a:gd name="T60" fmla="*/ 16 w 353"/>
                <a:gd name="T61" fmla="*/ 177 h 353"/>
                <a:gd name="T62" fmla="*/ 176 w 353"/>
                <a:gd name="T63" fmla="*/ 16 h 353"/>
                <a:gd name="T64" fmla="*/ 292 w 353"/>
                <a:gd name="T65" fmla="*/ 65 h 353"/>
                <a:gd name="T66" fmla="*/ 292 w 353"/>
                <a:gd name="T67" fmla="*/ 65 h 353"/>
                <a:gd name="T68" fmla="*/ 303 w 353"/>
                <a:gd name="T69" fmla="*/ 65 h 353"/>
                <a:gd name="T70" fmla="*/ 303 w 353"/>
                <a:gd name="T71" fmla="*/ 54 h 353"/>
                <a:gd name="T72" fmla="*/ 302 w 353"/>
                <a:gd name="T73" fmla="*/ 53 h 353"/>
                <a:gd name="T74" fmla="*/ 176 w 353"/>
                <a:gd name="T75" fmla="*/ 0 h 353"/>
                <a:gd name="T76" fmla="*/ 0 w 353"/>
                <a:gd name="T77" fmla="*/ 177 h 353"/>
                <a:gd name="T78" fmla="*/ 176 w 353"/>
                <a:gd name="T79" fmla="*/ 353 h 353"/>
                <a:gd name="T80" fmla="*/ 353 w 353"/>
                <a:gd name="T81" fmla="*/ 177 h 353"/>
                <a:gd name="T82" fmla="*/ 341 w 353"/>
                <a:gd name="T83" fmla="*/ 112 h 353"/>
                <a:gd name="T84" fmla="*/ 339 w 353"/>
                <a:gd name="T85" fmla="*/ 10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6" y="221"/>
                  </a:moveTo>
                  <a:cubicBezTo>
                    <a:pt x="102" y="147"/>
                    <a:pt x="102" y="147"/>
                    <a:pt x="102" y="147"/>
                  </a:cubicBezTo>
                  <a:cubicBezTo>
                    <a:pt x="100" y="146"/>
                    <a:pt x="98" y="145"/>
                    <a:pt x="96" y="145"/>
                  </a:cubicBezTo>
                  <a:cubicBezTo>
                    <a:pt x="91" y="145"/>
                    <a:pt x="88" y="148"/>
                    <a:pt x="88" y="153"/>
                  </a:cubicBezTo>
                  <a:cubicBezTo>
                    <a:pt x="88" y="155"/>
                    <a:pt x="89" y="157"/>
                    <a:pt x="90" y="158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72" y="240"/>
                    <a:pt x="174" y="241"/>
                    <a:pt x="176" y="241"/>
                  </a:cubicBezTo>
                  <a:cubicBezTo>
                    <a:pt x="178" y="241"/>
                    <a:pt x="180" y="240"/>
                    <a:pt x="182" y="238"/>
                  </a:cubicBezTo>
                  <a:cubicBezTo>
                    <a:pt x="182" y="238"/>
                    <a:pt x="182" y="238"/>
                    <a:pt x="182" y="23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28" y="86"/>
                    <a:pt x="328" y="86"/>
                    <a:pt x="328" y="86"/>
                  </a:cubicBezTo>
                  <a:cubicBezTo>
                    <a:pt x="328" y="86"/>
                    <a:pt x="328" y="86"/>
                    <a:pt x="327" y="86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2" y="60"/>
                    <a:pt x="353" y="58"/>
                    <a:pt x="353" y="56"/>
                  </a:cubicBezTo>
                  <a:cubicBezTo>
                    <a:pt x="353" y="52"/>
                    <a:pt x="349" y="48"/>
                    <a:pt x="345" y="48"/>
                  </a:cubicBezTo>
                  <a:cubicBezTo>
                    <a:pt x="342" y="48"/>
                    <a:pt x="340" y="49"/>
                    <a:pt x="339" y="51"/>
                  </a:cubicBezTo>
                  <a:cubicBezTo>
                    <a:pt x="339" y="51"/>
                    <a:pt x="339" y="51"/>
                    <a:pt x="339" y="51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07" y="84"/>
                    <a:pt x="307" y="84"/>
                    <a:pt x="307" y="84"/>
                  </a:cubicBezTo>
                  <a:cubicBezTo>
                    <a:pt x="307" y="84"/>
                    <a:pt x="307" y="84"/>
                    <a:pt x="307" y="84"/>
                  </a:cubicBezTo>
                  <a:lnTo>
                    <a:pt x="176" y="221"/>
                  </a:lnTo>
                  <a:close/>
                  <a:moveTo>
                    <a:pt x="339" y="109"/>
                  </a:moveTo>
                  <a:cubicBezTo>
                    <a:pt x="335" y="106"/>
                    <a:pt x="330" y="106"/>
                    <a:pt x="327" y="109"/>
                  </a:cubicBezTo>
                  <a:cubicBezTo>
                    <a:pt x="325" y="111"/>
                    <a:pt x="324" y="115"/>
                    <a:pt x="325" y="117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33" y="136"/>
                    <a:pt x="337" y="156"/>
                    <a:pt x="337" y="177"/>
                  </a:cubicBezTo>
                  <a:cubicBezTo>
                    <a:pt x="337" y="265"/>
                    <a:pt x="265" y="337"/>
                    <a:pt x="176" y="337"/>
                  </a:cubicBez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6" y="16"/>
                  </a:cubicBezTo>
                  <a:cubicBezTo>
                    <a:pt x="222" y="16"/>
                    <a:pt x="262" y="35"/>
                    <a:pt x="292" y="65"/>
                  </a:cubicBezTo>
                  <a:cubicBezTo>
                    <a:pt x="292" y="65"/>
                    <a:pt x="292" y="65"/>
                    <a:pt x="292" y="65"/>
                  </a:cubicBezTo>
                  <a:cubicBezTo>
                    <a:pt x="295" y="68"/>
                    <a:pt x="300" y="68"/>
                    <a:pt x="303" y="65"/>
                  </a:cubicBezTo>
                  <a:cubicBezTo>
                    <a:pt x="306" y="62"/>
                    <a:pt x="306" y="57"/>
                    <a:pt x="303" y="54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70" y="20"/>
                    <a:pt x="225" y="0"/>
                    <a:pt x="176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3"/>
                    <a:pt x="176" y="353"/>
                  </a:cubicBezTo>
                  <a:cubicBezTo>
                    <a:pt x="274" y="353"/>
                    <a:pt x="353" y="274"/>
                    <a:pt x="353" y="177"/>
                  </a:cubicBezTo>
                  <a:cubicBezTo>
                    <a:pt x="353" y="154"/>
                    <a:pt x="348" y="132"/>
                    <a:pt x="341" y="112"/>
                  </a:cubicBezTo>
                  <a:cubicBezTo>
                    <a:pt x="340" y="111"/>
                    <a:pt x="340" y="110"/>
                    <a:pt x="339" y="10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1305604" y="2224796"/>
              <a:ext cx="1818886" cy="468665"/>
              <a:chOff x="1211185" y="1954606"/>
              <a:chExt cx="1818886" cy="468665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211213" y="1954606"/>
                <a:ext cx="181881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Design </a:t>
                </a:r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funcional</a:t>
                </a:r>
                <a:endPara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1211185" y="2138962"/>
                <a:ext cx="1818886" cy="2843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Vivam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hendrer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pur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u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neque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fermentum,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qui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ullamcorper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l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</a:p>
            </p:txBody>
          </p:sp>
        </p:grp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898870" y="3032611"/>
              <a:ext cx="270128" cy="270128"/>
            </a:xfrm>
            <a:custGeom>
              <a:avLst/>
              <a:gdLst>
                <a:gd name="T0" fmla="*/ 176 w 353"/>
                <a:gd name="T1" fmla="*/ 221 h 353"/>
                <a:gd name="T2" fmla="*/ 102 w 353"/>
                <a:gd name="T3" fmla="*/ 147 h 353"/>
                <a:gd name="T4" fmla="*/ 96 w 353"/>
                <a:gd name="T5" fmla="*/ 145 h 353"/>
                <a:gd name="T6" fmla="*/ 88 w 353"/>
                <a:gd name="T7" fmla="*/ 153 h 353"/>
                <a:gd name="T8" fmla="*/ 90 w 353"/>
                <a:gd name="T9" fmla="*/ 158 h 353"/>
                <a:gd name="T10" fmla="*/ 170 w 353"/>
                <a:gd name="T11" fmla="*/ 239 h 353"/>
                <a:gd name="T12" fmla="*/ 176 w 353"/>
                <a:gd name="T13" fmla="*/ 241 h 353"/>
                <a:gd name="T14" fmla="*/ 182 w 353"/>
                <a:gd name="T15" fmla="*/ 238 h 353"/>
                <a:gd name="T16" fmla="*/ 182 w 353"/>
                <a:gd name="T17" fmla="*/ 238 h 353"/>
                <a:gd name="T18" fmla="*/ 316 w 353"/>
                <a:gd name="T19" fmla="*/ 98 h 353"/>
                <a:gd name="T20" fmla="*/ 316 w 353"/>
                <a:gd name="T21" fmla="*/ 98 h 353"/>
                <a:gd name="T22" fmla="*/ 328 w 353"/>
                <a:gd name="T23" fmla="*/ 86 h 353"/>
                <a:gd name="T24" fmla="*/ 327 w 353"/>
                <a:gd name="T25" fmla="*/ 86 h 353"/>
                <a:gd name="T26" fmla="*/ 351 w 353"/>
                <a:gd name="T27" fmla="*/ 62 h 353"/>
                <a:gd name="T28" fmla="*/ 351 w 353"/>
                <a:gd name="T29" fmla="*/ 62 h 353"/>
                <a:gd name="T30" fmla="*/ 353 w 353"/>
                <a:gd name="T31" fmla="*/ 56 h 353"/>
                <a:gd name="T32" fmla="*/ 345 w 353"/>
                <a:gd name="T33" fmla="*/ 48 h 353"/>
                <a:gd name="T34" fmla="*/ 339 w 353"/>
                <a:gd name="T35" fmla="*/ 51 h 353"/>
                <a:gd name="T36" fmla="*/ 339 w 353"/>
                <a:gd name="T37" fmla="*/ 51 h 353"/>
                <a:gd name="T38" fmla="*/ 318 w 353"/>
                <a:gd name="T39" fmla="*/ 72 h 353"/>
                <a:gd name="T40" fmla="*/ 318 w 353"/>
                <a:gd name="T41" fmla="*/ 72 h 353"/>
                <a:gd name="T42" fmla="*/ 307 w 353"/>
                <a:gd name="T43" fmla="*/ 84 h 353"/>
                <a:gd name="T44" fmla="*/ 307 w 353"/>
                <a:gd name="T45" fmla="*/ 84 h 353"/>
                <a:gd name="T46" fmla="*/ 176 w 353"/>
                <a:gd name="T47" fmla="*/ 221 h 353"/>
                <a:gd name="T48" fmla="*/ 339 w 353"/>
                <a:gd name="T49" fmla="*/ 109 h 353"/>
                <a:gd name="T50" fmla="*/ 327 w 353"/>
                <a:gd name="T51" fmla="*/ 109 h 353"/>
                <a:gd name="T52" fmla="*/ 325 w 353"/>
                <a:gd name="T53" fmla="*/ 117 h 353"/>
                <a:gd name="T54" fmla="*/ 325 w 353"/>
                <a:gd name="T55" fmla="*/ 117 h 353"/>
                <a:gd name="T56" fmla="*/ 337 w 353"/>
                <a:gd name="T57" fmla="*/ 177 h 353"/>
                <a:gd name="T58" fmla="*/ 176 w 353"/>
                <a:gd name="T59" fmla="*/ 337 h 353"/>
                <a:gd name="T60" fmla="*/ 16 w 353"/>
                <a:gd name="T61" fmla="*/ 177 h 353"/>
                <a:gd name="T62" fmla="*/ 176 w 353"/>
                <a:gd name="T63" fmla="*/ 16 h 353"/>
                <a:gd name="T64" fmla="*/ 292 w 353"/>
                <a:gd name="T65" fmla="*/ 65 h 353"/>
                <a:gd name="T66" fmla="*/ 292 w 353"/>
                <a:gd name="T67" fmla="*/ 65 h 353"/>
                <a:gd name="T68" fmla="*/ 303 w 353"/>
                <a:gd name="T69" fmla="*/ 65 h 353"/>
                <a:gd name="T70" fmla="*/ 303 w 353"/>
                <a:gd name="T71" fmla="*/ 54 h 353"/>
                <a:gd name="T72" fmla="*/ 302 w 353"/>
                <a:gd name="T73" fmla="*/ 53 h 353"/>
                <a:gd name="T74" fmla="*/ 176 w 353"/>
                <a:gd name="T75" fmla="*/ 0 h 353"/>
                <a:gd name="T76" fmla="*/ 0 w 353"/>
                <a:gd name="T77" fmla="*/ 177 h 353"/>
                <a:gd name="T78" fmla="*/ 176 w 353"/>
                <a:gd name="T79" fmla="*/ 353 h 353"/>
                <a:gd name="T80" fmla="*/ 353 w 353"/>
                <a:gd name="T81" fmla="*/ 177 h 353"/>
                <a:gd name="T82" fmla="*/ 341 w 353"/>
                <a:gd name="T83" fmla="*/ 112 h 353"/>
                <a:gd name="T84" fmla="*/ 339 w 353"/>
                <a:gd name="T85" fmla="*/ 10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6" y="221"/>
                  </a:moveTo>
                  <a:cubicBezTo>
                    <a:pt x="102" y="147"/>
                    <a:pt x="102" y="147"/>
                    <a:pt x="102" y="147"/>
                  </a:cubicBezTo>
                  <a:cubicBezTo>
                    <a:pt x="100" y="146"/>
                    <a:pt x="98" y="145"/>
                    <a:pt x="96" y="145"/>
                  </a:cubicBezTo>
                  <a:cubicBezTo>
                    <a:pt x="91" y="145"/>
                    <a:pt x="88" y="148"/>
                    <a:pt x="88" y="153"/>
                  </a:cubicBezTo>
                  <a:cubicBezTo>
                    <a:pt x="88" y="155"/>
                    <a:pt x="89" y="157"/>
                    <a:pt x="90" y="158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72" y="240"/>
                    <a:pt x="174" y="241"/>
                    <a:pt x="176" y="241"/>
                  </a:cubicBezTo>
                  <a:cubicBezTo>
                    <a:pt x="178" y="241"/>
                    <a:pt x="180" y="240"/>
                    <a:pt x="182" y="238"/>
                  </a:cubicBezTo>
                  <a:cubicBezTo>
                    <a:pt x="182" y="238"/>
                    <a:pt x="182" y="238"/>
                    <a:pt x="182" y="23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28" y="86"/>
                    <a:pt x="328" y="86"/>
                    <a:pt x="328" y="86"/>
                  </a:cubicBezTo>
                  <a:cubicBezTo>
                    <a:pt x="328" y="86"/>
                    <a:pt x="328" y="86"/>
                    <a:pt x="327" y="86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2" y="60"/>
                    <a:pt x="353" y="58"/>
                    <a:pt x="353" y="56"/>
                  </a:cubicBezTo>
                  <a:cubicBezTo>
                    <a:pt x="353" y="52"/>
                    <a:pt x="349" y="48"/>
                    <a:pt x="345" y="48"/>
                  </a:cubicBezTo>
                  <a:cubicBezTo>
                    <a:pt x="342" y="48"/>
                    <a:pt x="340" y="49"/>
                    <a:pt x="339" y="51"/>
                  </a:cubicBezTo>
                  <a:cubicBezTo>
                    <a:pt x="339" y="51"/>
                    <a:pt x="339" y="51"/>
                    <a:pt x="339" y="51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07" y="84"/>
                    <a:pt x="307" y="84"/>
                    <a:pt x="307" y="84"/>
                  </a:cubicBezTo>
                  <a:cubicBezTo>
                    <a:pt x="307" y="84"/>
                    <a:pt x="307" y="84"/>
                    <a:pt x="307" y="84"/>
                  </a:cubicBezTo>
                  <a:lnTo>
                    <a:pt x="176" y="221"/>
                  </a:lnTo>
                  <a:close/>
                  <a:moveTo>
                    <a:pt x="339" y="109"/>
                  </a:moveTo>
                  <a:cubicBezTo>
                    <a:pt x="335" y="106"/>
                    <a:pt x="330" y="106"/>
                    <a:pt x="327" y="109"/>
                  </a:cubicBezTo>
                  <a:cubicBezTo>
                    <a:pt x="325" y="111"/>
                    <a:pt x="324" y="115"/>
                    <a:pt x="325" y="117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33" y="136"/>
                    <a:pt x="337" y="156"/>
                    <a:pt x="337" y="177"/>
                  </a:cubicBezTo>
                  <a:cubicBezTo>
                    <a:pt x="337" y="265"/>
                    <a:pt x="265" y="337"/>
                    <a:pt x="176" y="337"/>
                  </a:cubicBez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6" y="16"/>
                  </a:cubicBezTo>
                  <a:cubicBezTo>
                    <a:pt x="222" y="16"/>
                    <a:pt x="262" y="35"/>
                    <a:pt x="292" y="65"/>
                  </a:cubicBezTo>
                  <a:cubicBezTo>
                    <a:pt x="292" y="65"/>
                    <a:pt x="292" y="65"/>
                    <a:pt x="292" y="65"/>
                  </a:cubicBezTo>
                  <a:cubicBezTo>
                    <a:pt x="295" y="68"/>
                    <a:pt x="300" y="68"/>
                    <a:pt x="303" y="65"/>
                  </a:cubicBezTo>
                  <a:cubicBezTo>
                    <a:pt x="306" y="62"/>
                    <a:pt x="306" y="57"/>
                    <a:pt x="303" y="54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70" y="20"/>
                    <a:pt x="225" y="0"/>
                    <a:pt x="176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3"/>
                    <a:pt x="176" y="353"/>
                  </a:cubicBezTo>
                  <a:cubicBezTo>
                    <a:pt x="274" y="353"/>
                    <a:pt x="353" y="274"/>
                    <a:pt x="353" y="177"/>
                  </a:cubicBezTo>
                  <a:cubicBezTo>
                    <a:pt x="353" y="154"/>
                    <a:pt x="348" y="132"/>
                    <a:pt x="341" y="112"/>
                  </a:cubicBezTo>
                  <a:cubicBezTo>
                    <a:pt x="340" y="111"/>
                    <a:pt x="340" y="110"/>
                    <a:pt x="339" y="10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1305604" y="3032611"/>
              <a:ext cx="1818886" cy="468665"/>
              <a:chOff x="1211185" y="1954606"/>
              <a:chExt cx="1818886" cy="468665"/>
            </a:xfrm>
          </p:grpSpPr>
          <p:sp>
            <p:nvSpPr>
              <p:cNvPr id="55" name="TextBox 54"/>
              <p:cNvSpPr txBox="1"/>
              <p:nvPr/>
            </p:nvSpPr>
            <p:spPr>
              <a:xfrm>
                <a:off x="1211213" y="1954606"/>
                <a:ext cx="181881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Interface </a:t>
                </a:r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amigável</a:t>
                </a:r>
                <a:endPara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211185" y="2138962"/>
                <a:ext cx="1818886" cy="2843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Vivam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hendrer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pur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u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neque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fermentum,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qui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ullamcorper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l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5865318" y="2224796"/>
            <a:ext cx="2225620" cy="1276480"/>
            <a:chOff x="5865318" y="2224796"/>
            <a:chExt cx="2225620" cy="1276480"/>
          </a:xfrm>
        </p:grpSpPr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5865318" y="2224796"/>
              <a:ext cx="270128" cy="270128"/>
            </a:xfrm>
            <a:custGeom>
              <a:avLst/>
              <a:gdLst>
                <a:gd name="T0" fmla="*/ 176 w 353"/>
                <a:gd name="T1" fmla="*/ 221 h 353"/>
                <a:gd name="T2" fmla="*/ 102 w 353"/>
                <a:gd name="T3" fmla="*/ 147 h 353"/>
                <a:gd name="T4" fmla="*/ 96 w 353"/>
                <a:gd name="T5" fmla="*/ 145 h 353"/>
                <a:gd name="T6" fmla="*/ 88 w 353"/>
                <a:gd name="T7" fmla="*/ 153 h 353"/>
                <a:gd name="T8" fmla="*/ 90 w 353"/>
                <a:gd name="T9" fmla="*/ 158 h 353"/>
                <a:gd name="T10" fmla="*/ 170 w 353"/>
                <a:gd name="T11" fmla="*/ 239 h 353"/>
                <a:gd name="T12" fmla="*/ 176 w 353"/>
                <a:gd name="T13" fmla="*/ 241 h 353"/>
                <a:gd name="T14" fmla="*/ 182 w 353"/>
                <a:gd name="T15" fmla="*/ 238 h 353"/>
                <a:gd name="T16" fmla="*/ 182 w 353"/>
                <a:gd name="T17" fmla="*/ 238 h 353"/>
                <a:gd name="T18" fmla="*/ 316 w 353"/>
                <a:gd name="T19" fmla="*/ 98 h 353"/>
                <a:gd name="T20" fmla="*/ 316 w 353"/>
                <a:gd name="T21" fmla="*/ 98 h 353"/>
                <a:gd name="T22" fmla="*/ 328 w 353"/>
                <a:gd name="T23" fmla="*/ 86 h 353"/>
                <a:gd name="T24" fmla="*/ 327 w 353"/>
                <a:gd name="T25" fmla="*/ 86 h 353"/>
                <a:gd name="T26" fmla="*/ 351 w 353"/>
                <a:gd name="T27" fmla="*/ 62 h 353"/>
                <a:gd name="T28" fmla="*/ 351 w 353"/>
                <a:gd name="T29" fmla="*/ 62 h 353"/>
                <a:gd name="T30" fmla="*/ 353 w 353"/>
                <a:gd name="T31" fmla="*/ 56 h 353"/>
                <a:gd name="T32" fmla="*/ 345 w 353"/>
                <a:gd name="T33" fmla="*/ 48 h 353"/>
                <a:gd name="T34" fmla="*/ 339 w 353"/>
                <a:gd name="T35" fmla="*/ 51 h 353"/>
                <a:gd name="T36" fmla="*/ 339 w 353"/>
                <a:gd name="T37" fmla="*/ 51 h 353"/>
                <a:gd name="T38" fmla="*/ 318 w 353"/>
                <a:gd name="T39" fmla="*/ 72 h 353"/>
                <a:gd name="T40" fmla="*/ 318 w 353"/>
                <a:gd name="T41" fmla="*/ 72 h 353"/>
                <a:gd name="T42" fmla="*/ 307 w 353"/>
                <a:gd name="T43" fmla="*/ 84 h 353"/>
                <a:gd name="T44" fmla="*/ 307 w 353"/>
                <a:gd name="T45" fmla="*/ 84 h 353"/>
                <a:gd name="T46" fmla="*/ 176 w 353"/>
                <a:gd name="T47" fmla="*/ 221 h 353"/>
                <a:gd name="T48" fmla="*/ 339 w 353"/>
                <a:gd name="T49" fmla="*/ 109 h 353"/>
                <a:gd name="T50" fmla="*/ 327 w 353"/>
                <a:gd name="T51" fmla="*/ 109 h 353"/>
                <a:gd name="T52" fmla="*/ 325 w 353"/>
                <a:gd name="T53" fmla="*/ 117 h 353"/>
                <a:gd name="T54" fmla="*/ 325 w 353"/>
                <a:gd name="T55" fmla="*/ 117 h 353"/>
                <a:gd name="T56" fmla="*/ 337 w 353"/>
                <a:gd name="T57" fmla="*/ 177 h 353"/>
                <a:gd name="T58" fmla="*/ 176 w 353"/>
                <a:gd name="T59" fmla="*/ 337 h 353"/>
                <a:gd name="T60" fmla="*/ 16 w 353"/>
                <a:gd name="T61" fmla="*/ 177 h 353"/>
                <a:gd name="T62" fmla="*/ 176 w 353"/>
                <a:gd name="T63" fmla="*/ 16 h 353"/>
                <a:gd name="T64" fmla="*/ 292 w 353"/>
                <a:gd name="T65" fmla="*/ 65 h 353"/>
                <a:gd name="T66" fmla="*/ 292 w 353"/>
                <a:gd name="T67" fmla="*/ 65 h 353"/>
                <a:gd name="T68" fmla="*/ 303 w 353"/>
                <a:gd name="T69" fmla="*/ 65 h 353"/>
                <a:gd name="T70" fmla="*/ 303 w 353"/>
                <a:gd name="T71" fmla="*/ 54 h 353"/>
                <a:gd name="T72" fmla="*/ 302 w 353"/>
                <a:gd name="T73" fmla="*/ 53 h 353"/>
                <a:gd name="T74" fmla="*/ 176 w 353"/>
                <a:gd name="T75" fmla="*/ 0 h 353"/>
                <a:gd name="T76" fmla="*/ 0 w 353"/>
                <a:gd name="T77" fmla="*/ 177 h 353"/>
                <a:gd name="T78" fmla="*/ 176 w 353"/>
                <a:gd name="T79" fmla="*/ 353 h 353"/>
                <a:gd name="T80" fmla="*/ 353 w 353"/>
                <a:gd name="T81" fmla="*/ 177 h 353"/>
                <a:gd name="T82" fmla="*/ 341 w 353"/>
                <a:gd name="T83" fmla="*/ 112 h 353"/>
                <a:gd name="T84" fmla="*/ 339 w 353"/>
                <a:gd name="T85" fmla="*/ 10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6" y="221"/>
                  </a:moveTo>
                  <a:cubicBezTo>
                    <a:pt x="102" y="147"/>
                    <a:pt x="102" y="147"/>
                    <a:pt x="102" y="147"/>
                  </a:cubicBezTo>
                  <a:cubicBezTo>
                    <a:pt x="100" y="146"/>
                    <a:pt x="98" y="145"/>
                    <a:pt x="96" y="145"/>
                  </a:cubicBezTo>
                  <a:cubicBezTo>
                    <a:pt x="91" y="145"/>
                    <a:pt x="88" y="148"/>
                    <a:pt x="88" y="153"/>
                  </a:cubicBezTo>
                  <a:cubicBezTo>
                    <a:pt x="88" y="155"/>
                    <a:pt x="89" y="157"/>
                    <a:pt x="90" y="158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72" y="240"/>
                    <a:pt x="174" y="241"/>
                    <a:pt x="176" y="241"/>
                  </a:cubicBezTo>
                  <a:cubicBezTo>
                    <a:pt x="178" y="241"/>
                    <a:pt x="180" y="240"/>
                    <a:pt x="182" y="238"/>
                  </a:cubicBezTo>
                  <a:cubicBezTo>
                    <a:pt x="182" y="238"/>
                    <a:pt x="182" y="238"/>
                    <a:pt x="182" y="23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28" y="86"/>
                    <a:pt x="328" y="86"/>
                    <a:pt x="328" y="86"/>
                  </a:cubicBezTo>
                  <a:cubicBezTo>
                    <a:pt x="328" y="86"/>
                    <a:pt x="328" y="86"/>
                    <a:pt x="327" y="86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2" y="60"/>
                    <a:pt x="353" y="58"/>
                    <a:pt x="353" y="56"/>
                  </a:cubicBezTo>
                  <a:cubicBezTo>
                    <a:pt x="353" y="52"/>
                    <a:pt x="349" y="48"/>
                    <a:pt x="345" y="48"/>
                  </a:cubicBezTo>
                  <a:cubicBezTo>
                    <a:pt x="342" y="48"/>
                    <a:pt x="340" y="49"/>
                    <a:pt x="339" y="51"/>
                  </a:cubicBezTo>
                  <a:cubicBezTo>
                    <a:pt x="339" y="51"/>
                    <a:pt x="339" y="51"/>
                    <a:pt x="339" y="51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07" y="84"/>
                    <a:pt x="307" y="84"/>
                    <a:pt x="307" y="84"/>
                  </a:cubicBezTo>
                  <a:cubicBezTo>
                    <a:pt x="307" y="84"/>
                    <a:pt x="307" y="84"/>
                    <a:pt x="307" y="84"/>
                  </a:cubicBezTo>
                  <a:lnTo>
                    <a:pt x="176" y="221"/>
                  </a:lnTo>
                  <a:close/>
                  <a:moveTo>
                    <a:pt x="339" y="109"/>
                  </a:moveTo>
                  <a:cubicBezTo>
                    <a:pt x="335" y="106"/>
                    <a:pt x="330" y="106"/>
                    <a:pt x="327" y="109"/>
                  </a:cubicBezTo>
                  <a:cubicBezTo>
                    <a:pt x="325" y="111"/>
                    <a:pt x="324" y="115"/>
                    <a:pt x="325" y="117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33" y="136"/>
                    <a:pt x="337" y="156"/>
                    <a:pt x="337" y="177"/>
                  </a:cubicBezTo>
                  <a:cubicBezTo>
                    <a:pt x="337" y="265"/>
                    <a:pt x="265" y="337"/>
                    <a:pt x="176" y="337"/>
                  </a:cubicBez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6" y="16"/>
                  </a:cubicBezTo>
                  <a:cubicBezTo>
                    <a:pt x="222" y="16"/>
                    <a:pt x="262" y="35"/>
                    <a:pt x="292" y="65"/>
                  </a:cubicBezTo>
                  <a:cubicBezTo>
                    <a:pt x="292" y="65"/>
                    <a:pt x="292" y="65"/>
                    <a:pt x="292" y="65"/>
                  </a:cubicBezTo>
                  <a:cubicBezTo>
                    <a:pt x="295" y="68"/>
                    <a:pt x="300" y="68"/>
                    <a:pt x="303" y="65"/>
                  </a:cubicBezTo>
                  <a:cubicBezTo>
                    <a:pt x="306" y="62"/>
                    <a:pt x="306" y="57"/>
                    <a:pt x="303" y="54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70" y="20"/>
                    <a:pt x="225" y="0"/>
                    <a:pt x="176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3"/>
                    <a:pt x="176" y="353"/>
                  </a:cubicBezTo>
                  <a:cubicBezTo>
                    <a:pt x="274" y="353"/>
                    <a:pt x="353" y="274"/>
                    <a:pt x="353" y="177"/>
                  </a:cubicBezTo>
                  <a:cubicBezTo>
                    <a:pt x="353" y="154"/>
                    <a:pt x="348" y="132"/>
                    <a:pt x="341" y="112"/>
                  </a:cubicBezTo>
                  <a:cubicBezTo>
                    <a:pt x="340" y="111"/>
                    <a:pt x="340" y="110"/>
                    <a:pt x="339" y="10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3" name="Group 72"/>
            <p:cNvGrpSpPr/>
            <p:nvPr/>
          </p:nvGrpSpPr>
          <p:grpSpPr>
            <a:xfrm>
              <a:off x="6272052" y="2224796"/>
              <a:ext cx="1818886" cy="468665"/>
              <a:chOff x="1211185" y="1954606"/>
              <a:chExt cx="1818886" cy="468665"/>
            </a:xfrm>
          </p:grpSpPr>
          <p:sp>
            <p:nvSpPr>
              <p:cNvPr id="78" name="TextBox 77"/>
              <p:cNvSpPr txBox="1"/>
              <p:nvPr/>
            </p:nvSpPr>
            <p:spPr>
              <a:xfrm>
                <a:off x="1211213" y="1954606"/>
                <a:ext cx="181881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Perspectiva</a:t>
                </a:r>
                <a:r>
                  <a:rPr lang="en-US" sz="900" b="1" cap="all" spc="2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3d</a:t>
                </a: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1211185" y="2138962"/>
                <a:ext cx="1818886" cy="2843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Vivam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hendrer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pur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u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neque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fermentum,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qui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ullamcorper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l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</a:p>
            </p:txBody>
          </p:sp>
        </p:grp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5865318" y="3032611"/>
              <a:ext cx="270128" cy="270128"/>
            </a:xfrm>
            <a:custGeom>
              <a:avLst/>
              <a:gdLst>
                <a:gd name="T0" fmla="*/ 176 w 353"/>
                <a:gd name="T1" fmla="*/ 221 h 353"/>
                <a:gd name="T2" fmla="*/ 102 w 353"/>
                <a:gd name="T3" fmla="*/ 147 h 353"/>
                <a:gd name="T4" fmla="*/ 96 w 353"/>
                <a:gd name="T5" fmla="*/ 145 h 353"/>
                <a:gd name="T6" fmla="*/ 88 w 353"/>
                <a:gd name="T7" fmla="*/ 153 h 353"/>
                <a:gd name="T8" fmla="*/ 90 w 353"/>
                <a:gd name="T9" fmla="*/ 158 h 353"/>
                <a:gd name="T10" fmla="*/ 170 w 353"/>
                <a:gd name="T11" fmla="*/ 239 h 353"/>
                <a:gd name="T12" fmla="*/ 176 w 353"/>
                <a:gd name="T13" fmla="*/ 241 h 353"/>
                <a:gd name="T14" fmla="*/ 182 w 353"/>
                <a:gd name="T15" fmla="*/ 238 h 353"/>
                <a:gd name="T16" fmla="*/ 182 w 353"/>
                <a:gd name="T17" fmla="*/ 238 h 353"/>
                <a:gd name="T18" fmla="*/ 316 w 353"/>
                <a:gd name="T19" fmla="*/ 98 h 353"/>
                <a:gd name="T20" fmla="*/ 316 w 353"/>
                <a:gd name="T21" fmla="*/ 98 h 353"/>
                <a:gd name="T22" fmla="*/ 328 w 353"/>
                <a:gd name="T23" fmla="*/ 86 h 353"/>
                <a:gd name="T24" fmla="*/ 327 w 353"/>
                <a:gd name="T25" fmla="*/ 86 h 353"/>
                <a:gd name="T26" fmla="*/ 351 w 353"/>
                <a:gd name="T27" fmla="*/ 62 h 353"/>
                <a:gd name="T28" fmla="*/ 351 w 353"/>
                <a:gd name="T29" fmla="*/ 62 h 353"/>
                <a:gd name="T30" fmla="*/ 353 w 353"/>
                <a:gd name="T31" fmla="*/ 56 h 353"/>
                <a:gd name="T32" fmla="*/ 345 w 353"/>
                <a:gd name="T33" fmla="*/ 48 h 353"/>
                <a:gd name="T34" fmla="*/ 339 w 353"/>
                <a:gd name="T35" fmla="*/ 51 h 353"/>
                <a:gd name="T36" fmla="*/ 339 w 353"/>
                <a:gd name="T37" fmla="*/ 51 h 353"/>
                <a:gd name="T38" fmla="*/ 318 w 353"/>
                <a:gd name="T39" fmla="*/ 72 h 353"/>
                <a:gd name="T40" fmla="*/ 318 w 353"/>
                <a:gd name="T41" fmla="*/ 72 h 353"/>
                <a:gd name="T42" fmla="*/ 307 w 353"/>
                <a:gd name="T43" fmla="*/ 84 h 353"/>
                <a:gd name="T44" fmla="*/ 307 w 353"/>
                <a:gd name="T45" fmla="*/ 84 h 353"/>
                <a:gd name="T46" fmla="*/ 176 w 353"/>
                <a:gd name="T47" fmla="*/ 221 h 353"/>
                <a:gd name="T48" fmla="*/ 339 w 353"/>
                <a:gd name="T49" fmla="*/ 109 h 353"/>
                <a:gd name="T50" fmla="*/ 327 w 353"/>
                <a:gd name="T51" fmla="*/ 109 h 353"/>
                <a:gd name="T52" fmla="*/ 325 w 353"/>
                <a:gd name="T53" fmla="*/ 117 h 353"/>
                <a:gd name="T54" fmla="*/ 325 w 353"/>
                <a:gd name="T55" fmla="*/ 117 h 353"/>
                <a:gd name="T56" fmla="*/ 337 w 353"/>
                <a:gd name="T57" fmla="*/ 177 h 353"/>
                <a:gd name="T58" fmla="*/ 176 w 353"/>
                <a:gd name="T59" fmla="*/ 337 h 353"/>
                <a:gd name="T60" fmla="*/ 16 w 353"/>
                <a:gd name="T61" fmla="*/ 177 h 353"/>
                <a:gd name="T62" fmla="*/ 176 w 353"/>
                <a:gd name="T63" fmla="*/ 16 h 353"/>
                <a:gd name="T64" fmla="*/ 292 w 353"/>
                <a:gd name="T65" fmla="*/ 65 h 353"/>
                <a:gd name="T66" fmla="*/ 292 w 353"/>
                <a:gd name="T67" fmla="*/ 65 h 353"/>
                <a:gd name="T68" fmla="*/ 303 w 353"/>
                <a:gd name="T69" fmla="*/ 65 h 353"/>
                <a:gd name="T70" fmla="*/ 303 w 353"/>
                <a:gd name="T71" fmla="*/ 54 h 353"/>
                <a:gd name="T72" fmla="*/ 302 w 353"/>
                <a:gd name="T73" fmla="*/ 53 h 353"/>
                <a:gd name="T74" fmla="*/ 176 w 353"/>
                <a:gd name="T75" fmla="*/ 0 h 353"/>
                <a:gd name="T76" fmla="*/ 0 w 353"/>
                <a:gd name="T77" fmla="*/ 177 h 353"/>
                <a:gd name="T78" fmla="*/ 176 w 353"/>
                <a:gd name="T79" fmla="*/ 353 h 353"/>
                <a:gd name="T80" fmla="*/ 353 w 353"/>
                <a:gd name="T81" fmla="*/ 177 h 353"/>
                <a:gd name="T82" fmla="*/ 341 w 353"/>
                <a:gd name="T83" fmla="*/ 112 h 353"/>
                <a:gd name="T84" fmla="*/ 339 w 353"/>
                <a:gd name="T85" fmla="*/ 10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6" y="221"/>
                  </a:moveTo>
                  <a:cubicBezTo>
                    <a:pt x="102" y="147"/>
                    <a:pt x="102" y="147"/>
                    <a:pt x="102" y="147"/>
                  </a:cubicBezTo>
                  <a:cubicBezTo>
                    <a:pt x="100" y="146"/>
                    <a:pt x="98" y="145"/>
                    <a:pt x="96" y="145"/>
                  </a:cubicBezTo>
                  <a:cubicBezTo>
                    <a:pt x="91" y="145"/>
                    <a:pt x="88" y="148"/>
                    <a:pt x="88" y="153"/>
                  </a:cubicBezTo>
                  <a:cubicBezTo>
                    <a:pt x="88" y="155"/>
                    <a:pt x="89" y="157"/>
                    <a:pt x="90" y="158"/>
                  </a:cubicBezTo>
                  <a:cubicBezTo>
                    <a:pt x="170" y="239"/>
                    <a:pt x="170" y="239"/>
                    <a:pt x="170" y="239"/>
                  </a:cubicBezTo>
                  <a:cubicBezTo>
                    <a:pt x="172" y="240"/>
                    <a:pt x="174" y="241"/>
                    <a:pt x="176" y="241"/>
                  </a:cubicBezTo>
                  <a:cubicBezTo>
                    <a:pt x="178" y="241"/>
                    <a:pt x="180" y="240"/>
                    <a:pt x="182" y="238"/>
                  </a:cubicBezTo>
                  <a:cubicBezTo>
                    <a:pt x="182" y="238"/>
                    <a:pt x="182" y="238"/>
                    <a:pt x="182" y="23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16" y="98"/>
                    <a:pt x="316" y="98"/>
                    <a:pt x="316" y="98"/>
                  </a:cubicBezTo>
                  <a:cubicBezTo>
                    <a:pt x="328" y="86"/>
                    <a:pt x="328" y="86"/>
                    <a:pt x="328" y="86"/>
                  </a:cubicBezTo>
                  <a:cubicBezTo>
                    <a:pt x="328" y="86"/>
                    <a:pt x="328" y="86"/>
                    <a:pt x="327" y="86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1" y="62"/>
                    <a:pt x="351" y="62"/>
                    <a:pt x="351" y="62"/>
                  </a:cubicBezTo>
                  <a:cubicBezTo>
                    <a:pt x="352" y="60"/>
                    <a:pt x="353" y="58"/>
                    <a:pt x="353" y="56"/>
                  </a:cubicBezTo>
                  <a:cubicBezTo>
                    <a:pt x="353" y="52"/>
                    <a:pt x="349" y="48"/>
                    <a:pt x="345" y="48"/>
                  </a:cubicBezTo>
                  <a:cubicBezTo>
                    <a:pt x="342" y="48"/>
                    <a:pt x="340" y="49"/>
                    <a:pt x="339" y="51"/>
                  </a:cubicBezTo>
                  <a:cubicBezTo>
                    <a:pt x="339" y="51"/>
                    <a:pt x="339" y="51"/>
                    <a:pt x="339" y="51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18" y="72"/>
                    <a:pt x="318" y="72"/>
                    <a:pt x="318" y="72"/>
                  </a:cubicBezTo>
                  <a:cubicBezTo>
                    <a:pt x="307" y="84"/>
                    <a:pt x="307" y="84"/>
                    <a:pt x="307" y="84"/>
                  </a:cubicBezTo>
                  <a:cubicBezTo>
                    <a:pt x="307" y="84"/>
                    <a:pt x="307" y="84"/>
                    <a:pt x="307" y="84"/>
                  </a:cubicBezTo>
                  <a:lnTo>
                    <a:pt x="176" y="221"/>
                  </a:lnTo>
                  <a:close/>
                  <a:moveTo>
                    <a:pt x="339" y="109"/>
                  </a:moveTo>
                  <a:cubicBezTo>
                    <a:pt x="335" y="106"/>
                    <a:pt x="330" y="106"/>
                    <a:pt x="327" y="109"/>
                  </a:cubicBezTo>
                  <a:cubicBezTo>
                    <a:pt x="325" y="111"/>
                    <a:pt x="324" y="115"/>
                    <a:pt x="325" y="117"/>
                  </a:cubicBezTo>
                  <a:cubicBezTo>
                    <a:pt x="325" y="117"/>
                    <a:pt x="325" y="117"/>
                    <a:pt x="325" y="117"/>
                  </a:cubicBezTo>
                  <a:cubicBezTo>
                    <a:pt x="333" y="136"/>
                    <a:pt x="337" y="156"/>
                    <a:pt x="337" y="177"/>
                  </a:cubicBezTo>
                  <a:cubicBezTo>
                    <a:pt x="337" y="265"/>
                    <a:pt x="265" y="337"/>
                    <a:pt x="176" y="337"/>
                  </a:cubicBez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6" y="16"/>
                  </a:cubicBezTo>
                  <a:cubicBezTo>
                    <a:pt x="222" y="16"/>
                    <a:pt x="262" y="35"/>
                    <a:pt x="292" y="65"/>
                  </a:cubicBezTo>
                  <a:cubicBezTo>
                    <a:pt x="292" y="65"/>
                    <a:pt x="292" y="65"/>
                    <a:pt x="292" y="65"/>
                  </a:cubicBezTo>
                  <a:cubicBezTo>
                    <a:pt x="295" y="68"/>
                    <a:pt x="300" y="68"/>
                    <a:pt x="303" y="65"/>
                  </a:cubicBezTo>
                  <a:cubicBezTo>
                    <a:pt x="306" y="62"/>
                    <a:pt x="306" y="57"/>
                    <a:pt x="303" y="54"/>
                  </a:cubicBezTo>
                  <a:cubicBezTo>
                    <a:pt x="302" y="53"/>
                    <a:pt x="302" y="53"/>
                    <a:pt x="302" y="53"/>
                  </a:cubicBezTo>
                  <a:cubicBezTo>
                    <a:pt x="270" y="20"/>
                    <a:pt x="225" y="0"/>
                    <a:pt x="176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3"/>
                    <a:pt x="176" y="353"/>
                  </a:cubicBezTo>
                  <a:cubicBezTo>
                    <a:pt x="274" y="353"/>
                    <a:pt x="353" y="274"/>
                    <a:pt x="353" y="177"/>
                  </a:cubicBezTo>
                  <a:cubicBezTo>
                    <a:pt x="353" y="154"/>
                    <a:pt x="348" y="132"/>
                    <a:pt x="341" y="112"/>
                  </a:cubicBezTo>
                  <a:cubicBezTo>
                    <a:pt x="340" y="111"/>
                    <a:pt x="340" y="110"/>
                    <a:pt x="339" y="10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6272052" y="3032611"/>
              <a:ext cx="1818886" cy="468665"/>
              <a:chOff x="1211185" y="1954606"/>
              <a:chExt cx="1818886" cy="468665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1211213" y="1954606"/>
                <a:ext cx="1818811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900" b="1" cap="all" spc="2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código</a:t>
                </a:r>
                <a:endParaRPr lang="en-US" sz="900" b="1" cap="all" spc="20" dirty="0">
                  <a:solidFill>
                    <a:schemeClr val="bg1"/>
                  </a:solidFill>
                  <a:latin typeface="Lato" panose="020F0502020204030203" pitchFamily="34" charset="0"/>
                </a:endParaRP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1211185" y="2138962"/>
                <a:ext cx="1818886" cy="28430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lnSpc>
                    <a:spcPct val="130000"/>
                  </a:lnSpc>
                </a:pP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Vivam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hendrer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puru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u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neque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fermentum,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quis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ullamcorper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  <a:r>
                  <a:rPr lang="en-US" sz="750" dirty="0" err="1">
                    <a:solidFill>
                      <a:schemeClr val="bg1"/>
                    </a:solidFill>
                    <a:latin typeface="Lato" panose="020F0502020204030203" pitchFamily="34" charset="0"/>
                  </a:rPr>
                  <a:t>elit</a:t>
                </a:r>
                <a:r>
                  <a:rPr lang="en-US" sz="750" dirty="0">
                    <a:solidFill>
                      <a:schemeClr val="bg1"/>
                    </a:solidFill>
                    <a:latin typeface="Lato" panose="020F0502020204030203" pitchFamily="34" charset="0"/>
                  </a:rPr>
                  <a:t> </a:t>
                </a:r>
              </a:p>
            </p:txBody>
          </p:sp>
        </p:grpSp>
      </p:grpSp>
      <p:sp>
        <p:nvSpPr>
          <p:cNvPr id="7" name="Picture Placeholder 6"/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93671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ockup do </a:t>
            </a:r>
            <a:r>
              <a:rPr lang="en-US" dirty="0" err="1">
                <a:solidFill>
                  <a:srgbClr val="EC0000"/>
                </a:solidFill>
              </a:rPr>
              <a:t>superget</a:t>
            </a:r>
            <a:r>
              <a:rPr lang="en-US" dirty="0">
                <a:solidFill>
                  <a:srgbClr val="EC0000"/>
                </a:solidFill>
              </a:rPr>
              <a:t> mobi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3" name="Picture Placeholder 2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/>
      </p:sp>
    </p:spTree>
    <p:extLst>
      <p:ext uri="{BB962C8B-B14F-4D97-AF65-F5344CB8AC3E}">
        <p14:creationId xmlns:p14="http://schemas.microsoft.com/office/powerpoint/2010/main" val="32835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ecursos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superget</a:t>
            </a:r>
            <a:r>
              <a:rPr lang="en-US" dirty="0">
                <a:solidFill>
                  <a:srgbClr val="EC0000"/>
                </a:solidFill>
              </a:rPr>
              <a:t> mobi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51" name="Group 50"/>
          <p:cNvGrpSpPr/>
          <p:nvPr/>
        </p:nvGrpSpPr>
        <p:grpSpPr>
          <a:xfrm>
            <a:off x="613432" y="1563628"/>
            <a:ext cx="478764" cy="478764"/>
            <a:chOff x="702336" y="1554853"/>
            <a:chExt cx="478764" cy="478764"/>
          </a:xfrm>
        </p:grpSpPr>
        <p:grpSp>
          <p:nvGrpSpPr>
            <p:cNvPr id="21" name="Group 20"/>
            <p:cNvGrpSpPr/>
            <p:nvPr/>
          </p:nvGrpSpPr>
          <p:grpSpPr>
            <a:xfrm>
              <a:off x="702336" y="1554853"/>
              <a:ext cx="478764" cy="478764"/>
              <a:chOff x="3477447" y="5587166"/>
              <a:chExt cx="3200400" cy="3200400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3477447" y="5587166"/>
                <a:ext cx="3200400" cy="3200400"/>
              </a:xfrm>
              <a:prstGeom prst="ellipse">
                <a:avLst/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3" name="Arc 22"/>
              <p:cNvSpPr/>
              <p:nvPr/>
            </p:nvSpPr>
            <p:spPr>
              <a:xfrm>
                <a:off x="3477447" y="5587166"/>
                <a:ext cx="3200400" cy="3200400"/>
              </a:xfrm>
              <a:prstGeom prst="arc">
                <a:avLst>
                  <a:gd name="adj1" fmla="val 16200000"/>
                  <a:gd name="adj2" fmla="val 21461525"/>
                </a:avLst>
              </a:prstGeom>
              <a:ln w="28575" cap="sq">
                <a:solidFill>
                  <a:srgbClr val="EC0000"/>
                </a:solidFill>
                <a:beve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817793" y="1680750"/>
              <a:ext cx="247850" cy="226969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376691" y="1547911"/>
            <a:ext cx="2412138" cy="510199"/>
            <a:chOff x="1465594" y="1535212"/>
            <a:chExt cx="2670373" cy="510199"/>
          </a:xfrm>
        </p:grpSpPr>
        <p:sp>
          <p:nvSpPr>
            <p:cNvPr id="42" name="TextBox 41"/>
            <p:cNvSpPr txBox="1"/>
            <p:nvPr/>
          </p:nvSpPr>
          <p:spPr>
            <a:xfrm>
              <a:off x="1465624" y="1535212"/>
              <a:ext cx="26702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otalment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socia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465594" y="1743469"/>
              <a:ext cx="2670373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fermentu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613432" y="2636925"/>
            <a:ext cx="478764" cy="478764"/>
            <a:chOff x="702336" y="2615948"/>
            <a:chExt cx="478764" cy="478764"/>
          </a:xfrm>
        </p:grpSpPr>
        <p:grpSp>
          <p:nvGrpSpPr>
            <p:cNvPr id="27" name="Group 26"/>
            <p:cNvGrpSpPr/>
            <p:nvPr/>
          </p:nvGrpSpPr>
          <p:grpSpPr>
            <a:xfrm>
              <a:off x="702336" y="2615948"/>
              <a:ext cx="478764" cy="478764"/>
              <a:chOff x="3477447" y="5587166"/>
              <a:chExt cx="3200400" cy="3200400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3477447" y="5587166"/>
                <a:ext cx="3200400" cy="3200400"/>
              </a:xfrm>
              <a:prstGeom prst="ellipse">
                <a:avLst/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29" name="Arc 28"/>
              <p:cNvSpPr/>
              <p:nvPr/>
            </p:nvSpPr>
            <p:spPr>
              <a:xfrm>
                <a:off x="3477447" y="5587166"/>
                <a:ext cx="3200400" cy="3200400"/>
              </a:xfrm>
              <a:prstGeom prst="arc">
                <a:avLst>
                  <a:gd name="adj1" fmla="val 16200000"/>
                  <a:gd name="adj2" fmla="val 5417782"/>
                </a:avLst>
              </a:prstGeom>
              <a:ln w="28575" cap="sq">
                <a:solidFill>
                  <a:srgbClr val="EC0000"/>
                </a:solidFill>
                <a:beve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</p:grpSp>
        <p:sp>
          <p:nvSpPr>
            <p:cNvPr id="40" name="Freeform 34"/>
            <p:cNvSpPr>
              <a:spLocks noEditPoints="1"/>
            </p:cNvSpPr>
            <p:nvPr/>
          </p:nvSpPr>
          <p:spPr bwMode="auto">
            <a:xfrm>
              <a:off x="850931" y="2730950"/>
              <a:ext cx="181575" cy="248759"/>
            </a:xfrm>
            <a:custGeom>
              <a:avLst/>
              <a:gdLst>
                <a:gd name="T0" fmla="*/ 96 w 257"/>
                <a:gd name="T1" fmla="*/ 64 h 353"/>
                <a:gd name="T2" fmla="*/ 112 w 257"/>
                <a:gd name="T3" fmla="*/ 64 h 353"/>
                <a:gd name="T4" fmla="*/ 153 w 257"/>
                <a:gd name="T5" fmla="*/ 56 h 353"/>
                <a:gd name="T6" fmla="*/ 153 w 257"/>
                <a:gd name="T7" fmla="*/ 72 h 353"/>
                <a:gd name="T8" fmla="*/ 153 w 257"/>
                <a:gd name="T9" fmla="*/ 56 h 353"/>
                <a:gd name="T10" fmla="*/ 225 w 257"/>
                <a:gd name="T11" fmla="*/ 90 h 353"/>
                <a:gd name="T12" fmla="*/ 224 w 257"/>
                <a:gd name="T13" fmla="*/ 88 h 353"/>
                <a:gd name="T14" fmla="*/ 191 w 257"/>
                <a:gd name="T15" fmla="*/ 13 h 353"/>
                <a:gd name="T16" fmla="*/ 193 w 257"/>
                <a:gd name="T17" fmla="*/ 8 h 353"/>
                <a:gd name="T18" fmla="*/ 178 w 257"/>
                <a:gd name="T19" fmla="*/ 4 h 353"/>
                <a:gd name="T20" fmla="*/ 166 w 257"/>
                <a:gd name="T21" fmla="*/ 22 h 353"/>
                <a:gd name="T22" fmla="*/ 91 w 257"/>
                <a:gd name="T23" fmla="*/ 22 h 353"/>
                <a:gd name="T24" fmla="*/ 79 w 257"/>
                <a:gd name="T25" fmla="*/ 4 h 353"/>
                <a:gd name="T26" fmla="*/ 64 w 257"/>
                <a:gd name="T27" fmla="*/ 8 h 353"/>
                <a:gd name="T28" fmla="*/ 66 w 257"/>
                <a:gd name="T29" fmla="*/ 13 h 353"/>
                <a:gd name="T30" fmla="*/ 33 w 257"/>
                <a:gd name="T31" fmla="*/ 88 h 353"/>
                <a:gd name="T32" fmla="*/ 32 w 257"/>
                <a:gd name="T33" fmla="*/ 90 h 353"/>
                <a:gd name="T34" fmla="*/ 0 w 257"/>
                <a:gd name="T35" fmla="*/ 112 h 353"/>
                <a:gd name="T36" fmla="*/ 24 w 257"/>
                <a:gd name="T37" fmla="*/ 249 h 353"/>
                <a:gd name="T38" fmla="*/ 32 w 257"/>
                <a:gd name="T39" fmla="*/ 273 h 353"/>
                <a:gd name="T40" fmla="*/ 64 w 257"/>
                <a:gd name="T41" fmla="*/ 289 h 353"/>
                <a:gd name="T42" fmla="*/ 88 w 257"/>
                <a:gd name="T43" fmla="*/ 353 h 353"/>
                <a:gd name="T44" fmla="*/ 112 w 257"/>
                <a:gd name="T45" fmla="*/ 289 h 353"/>
                <a:gd name="T46" fmla="*/ 145 w 257"/>
                <a:gd name="T47" fmla="*/ 329 h 353"/>
                <a:gd name="T48" fmla="*/ 193 w 257"/>
                <a:gd name="T49" fmla="*/ 329 h 353"/>
                <a:gd name="T50" fmla="*/ 209 w 257"/>
                <a:gd name="T51" fmla="*/ 289 h 353"/>
                <a:gd name="T52" fmla="*/ 225 w 257"/>
                <a:gd name="T53" fmla="*/ 247 h 353"/>
                <a:gd name="T54" fmla="*/ 257 w 257"/>
                <a:gd name="T55" fmla="*/ 225 h 353"/>
                <a:gd name="T56" fmla="*/ 233 w 257"/>
                <a:gd name="T57" fmla="*/ 88 h 353"/>
                <a:gd name="T58" fmla="*/ 24 w 257"/>
                <a:gd name="T59" fmla="*/ 233 h 353"/>
                <a:gd name="T60" fmla="*/ 16 w 257"/>
                <a:gd name="T61" fmla="*/ 112 h 353"/>
                <a:gd name="T62" fmla="*/ 32 w 257"/>
                <a:gd name="T63" fmla="*/ 112 h 353"/>
                <a:gd name="T64" fmla="*/ 128 w 257"/>
                <a:gd name="T65" fmla="*/ 32 h 353"/>
                <a:gd name="T66" fmla="*/ 49 w 257"/>
                <a:gd name="T67" fmla="*/ 88 h 353"/>
                <a:gd name="T68" fmla="*/ 96 w 257"/>
                <a:gd name="T69" fmla="*/ 329 h 353"/>
                <a:gd name="T70" fmla="*/ 80 w 257"/>
                <a:gd name="T71" fmla="*/ 329 h 353"/>
                <a:gd name="T72" fmla="*/ 96 w 257"/>
                <a:gd name="T73" fmla="*/ 289 h 353"/>
                <a:gd name="T74" fmla="*/ 177 w 257"/>
                <a:gd name="T75" fmla="*/ 329 h 353"/>
                <a:gd name="T76" fmla="*/ 161 w 257"/>
                <a:gd name="T77" fmla="*/ 329 h 353"/>
                <a:gd name="T78" fmla="*/ 177 w 257"/>
                <a:gd name="T79" fmla="*/ 289 h 353"/>
                <a:gd name="T80" fmla="*/ 209 w 257"/>
                <a:gd name="T81" fmla="*/ 273 h 353"/>
                <a:gd name="T82" fmla="*/ 48 w 257"/>
                <a:gd name="T83" fmla="*/ 104 h 353"/>
                <a:gd name="T84" fmla="*/ 209 w 257"/>
                <a:gd name="T85" fmla="*/ 273 h 353"/>
                <a:gd name="T86" fmla="*/ 233 w 257"/>
                <a:gd name="T87" fmla="*/ 233 h 353"/>
                <a:gd name="T88" fmla="*/ 225 w 257"/>
                <a:gd name="T89" fmla="*/ 112 h 353"/>
                <a:gd name="T90" fmla="*/ 241 w 257"/>
                <a:gd name="T91" fmla="*/ 11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57" h="353">
                  <a:moveTo>
                    <a:pt x="104" y="56"/>
                  </a:moveTo>
                  <a:cubicBezTo>
                    <a:pt x="100" y="56"/>
                    <a:pt x="96" y="60"/>
                    <a:pt x="96" y="64"/>
                  </a:cubicBezTo>
                  <a:cubicBezTo>
                    <a:pt x="96" y="69"/>
                    <a:pt x="100" y="72"/>
                    <a:pt x="104" y="72"/>
                  </a:cubicBezTo>
                  <a:cubicBezTo>
                    <a:pt x="109" y="72"/>
                    <a:pt x="112" y="69"/>
                    <a:pt x="112" y="64"/>
                  </a:cubicBezTo>
                  <a:cubicBezTo>
                    <a:pt x="112" y="60"/>
                    <a:pt x="109" y="56"/>
                    <a:pt x="104" y="56"/>
                  </a:cubicBezTo>
                  <a:moveTo>
                    <a:pt x="153" y="56"/>
                  </a:moveTo>
                  <a:cubicBezTo>
                    <a:pt x="148" y="56"/>
                    <a:pt x="145" y="60"/>
                    <a:pt x="145" y="64"/>
                  </a:cubicBezTo>
                  <a:cubicBezTo>
                    <a:pt x="145" y="69"/>
                    <a:pt x="148" y="72"/>
                    <a:pt x="153" y="72"/>
                  </a:cubicBezTo>
                  <a:cubicBezTo>
                    <a:pt x="157" y="72"/>
                    <a:pt x="161" y="69"/>
                    <a:pt x="161" y="64"/>
                  </a:cubicBezTo>
                  <a:cubicBezTo>
                    <a:pt x="161" y="60"/>
                    <a:pt x="157" y="56"/>
                    <a:pt x="153" y="56"/>
                  </a:cubicBezTo>
                  <a:moveTo>
                    <a:pt x="233" y="88"/>
                  </a:moveTo>
                  <a:cubicBezTo>
                    <a:pt x="230" y="88"/>
                    <a:pt x="227" y="89"/>
                    <a:pt x="225" y="90"/>
                  </a:cubicBezTo>
                  <a:cubicBezTo>
                    <a:pt x="225" y="88"/>
                    <a:pt x="225" y="88"/>
                    <a:pt x="225" y="88"/>
                  </a:cubicBezTo>
                  <a:cubicBezTo>
                    <a:pt x="224" y="88"/>
                    <a:pt x="224" y="88"/>
                    <a:pt x="224" y="88"/>
                  </a:cubicBezTo>
                  <a:cubicBezTo>
                    <a:pt x="221" y="63"/>
                    <a:pt x="205" y="42"/>
                    <a:pt x="180" y="29"/>
                  </a:cubicBezTo>
                  <a:cubicBezTo>
                    <a:pt x="191" y="13"/>
                    <a:pt x="191" y="13"/>
                    <a:pt x="191" y="13"/>
                  </a:cubicBezTo>
                  <a:cubicBezTo>
                    <a:pt x="191" y="12"/>
                    <a:pt x="191" y="12"/>
                    <a:pt x="191" y="12"/>
                  </a:cubicBezTo>
                  <a:cubicBezTo>
                    <a:pt x="192" y="11"/>
                    <a:pt x="193" y="10"/>
                    <a:pt x="193" y="8"/>
                  </a:cubicBezTo>
                  <a:cubicBezTo>
                    <a:pt x="193" y="4"/>
                    <a:pt x="189" y="0"/>
                    <a:pt x="185" y="0"/>
                  </a:cubicBezTo>
                  <a:cubicBezTo>
                    <a:pt x="182" y="0"/>
                    <a:pt x="180" y="2"/>
                    <a:pt x="178" y="4"/>
                  </a:cubicBezTo>
                  <a:cubicBezTo>
                    <a:pt x="178" y="4"/>
                    <a:pt x="178" y="4"/>
                    <a:pt x="178" y="4"/>
                  </a:cubicBezTo>
                  <a:cubicBezTo>
                    <a:pt x="166" y="22"/>
                    <a:pt x="166" y="22"/>
                    <a:pt x="166" y="22"/>
                  </a:cubicBezTo>
                  <a:cubicBezTo>
                    <a:pt x="154" y="18"/>
                    <a:pt x="142" y="16"/>
                    <a:pt x="128" y="16"/>
                  </a:cubicBezTo>
                  <a:cubicBezTo>
                    <a:pt x="115" y="16"/>
                    <a:pt x="103" y="18"/>
                    <a:pt x="91" y="22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7" y="2"/>
                    <a:pt x="75" y="0"/>
                    <a:pt x="72" y="0"/>
                  </a:cubicBezTo>
                  <a:cubicBezTo>
                    <a:pt x="68" y="0"/>
                    <a:pt x="64" y="4"/>
                    <a:pt x="64" y="8"/>
                  </a:cubicBezTo>
                  <a:cubicBezTo>
                    <a:pt x="64" y="10"/>
                    <a:pt x="65" y="11"/>
                    <a:pt x="66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52" y="42"/>
                    <a:pt x="36" y="63"/>
                    <a:pt x="33" y="88"/>
                  </a:cubicBezTo>
                  <a:cubicBezTo>
                    <a:pt x="32" y="88"/>
                    <a:pt x="32" y="88"/>
                    <a:pt x="32" y="88"/>
                  </a:cubicBezTo>
                  <a:cubicBezTo>
                    <a:pt x="32" y="90"/>
                    <a:pt x="32" y="90"/>
                    <a:pt x="32" y="90"/>
                  </a:cubicBezTo>
                  <a:cubicBezTo>
                    <a:pt x="30" y="89"/>
                    <a:pt x="27" y="88"/>
                    <a:pt x="24" y="88"/>
                  </a:cubicBezTo>
                  <a:cubicBezTo>
                    <a:pt x="11" y="88"/>
                    <a:pt x="0" y="99"/>
                    <a:pt x="0" y="112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8"/>
                    <a:pt x="11" y="249"/>
                    <a:pt x="24" y="249"/>
                  </a:cubicBezTo>
                  <a:cubicBezTo>
                    <a:pt x="27" y="249"/>
                    <a:pt x="30" y="248"/>
                    <a:pt x="32" y="247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2" y="282"/>
                    <a:pt x="39" y="289"/>
                    <a:pt x="48" y="289"/>
                  </a:cubicBezTo>
                  <a:cubicBezTo>
                    <a:pt x="64" y="289"/>
                    <a:pt x="64" y="289"/>
                    <a:pt x="64" y="289"/>
                  </a:cubicBezTo>
                  <a:cubicBezTo>
                    <a:pt x="64" y="329"/>
                    <a:pt x="64" y="329"/>
                    <a:pt x="64" y="329"/>
                  </a:cubicBezTo>
                  <a:cubicBezTo>
                    <a:pt x="64" y="343"/>
                    <a:pt x="75" y="353"/>
                    <a:pt x="88" y="353"/>
                  </a:cubicBezTo>
                  <a:cubicBezTo>
                    <a:pt x="102" y="353"/>
                    <a:pt x="112" y="343"/>
                    <a:pt x="112" y="329"/>
                  </a:cubicBezTo>
                  <a:cubicBezTo>
                    <a:pt x="112" y="289"/>
                    <a:pt x="112" y="289"/>
                    <a:pt x="112" y="289"/>
                  </a:cubicBezTo>
                  <a:cubicBezTo>
                    <a:pt x="145" y="289"/>
                    <a:pt x="145" y="289"/>
                    <a:pt x="145" y="289"/>
                  </a:cubicBezTo>
                  <a:cubicBezTo>
                    <a:pt x="145" y="329"/>
                    <a:pt x="145" y="329"/>
                    <a:pt x="145" y="329"/>
                  </a:cubicBezTo>
                  <a:cubicBezTo>
                    <a:pt x="145" y="343"/>
                    <a:pt x="155" y="353"/>
                    <a:pt x="169" y="353"/>
                  </a:cubicBezTo>
                  <a:cubicBezTo>
                    <a:pt x="182" y="353"/>
                    <a:pt x="193" y="343"/>
                    <a:pt x="193" y="329"/>
                  </a:cubicBezTo>
                  <a:cubicBezTo>
                    <a:pt x="193" y="289"/>
                    <a:pt x="193" y="289"/>
                    <a:pt x="193" y="289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18" y="289"/>
                    <a:pt x="225" y="282"/>
                    <a:pt x="225" y="273"/>
                  </a:cubicBezTo>
                  <a:cubicBezTo>
                    <a:pt x="225" y="247"/>
                    <a:pt x="225" y="247"/>
                    <a:pt x="225" y="247"/>
                  </a:cubicBezTo>
                  <a:cubicBezTo>
                    <a:pt x="227" y="248"/>
                    <a:pt x="230" y="249"/>
                    <a:pt x="233" y="249"/>
                  </a:cubicBezTo>
                  <a:cubicBezTo>
                    <a:pt x="246" y="249"/>
                    <a:pt x="257" y="238"/>
                    <a:pt x="257" y="225"/>
                  </a:cubicBezTo>
                  <a:cubicBezTo>
                    <a:pt x="257" y="112"/>
                    <a:pt x="257" y="112"/>
                    <a:pt x="257" y="112"/>
                  </a:cubicBezTo>
                  <a:cubicBezTo>
                    <a:pt x="257" y="99"/>
                    <a:pt x="246" y="88"/>
                    <a:pt x="233" y="88"/>
                  </a:cubicBezTo>
                  <a:moveTo>
                    <a:pt x="32" y="225"/>
                  </a:moveTo>
                  <a:cubicBezTo>
                    <a:pt x="32" y="229"/>
                    <a:pt x="29" y="233"/>
                    <a:pt x="24" y="233"/>
                  </a:cubicBezTo>
                  <a:cubicBezTo>
                    <a:pt x="20" y="233"/>
                    <a:pt x="16" y="229"/>
                    <a:pt x="16" y="225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08"/>
                    <a:pt x="20" y="104"/>
                    <a:pt x="24" y="104"/>
                  </a:cubicBezTo>
                  <a:cubicBezTo>
                    <a:pt x="29" y="104"/>
                    <a:pt x="32" y="108"/>
                    <a:pt x="32" y="112"/>
                  </a:cubicBezTo>
                  <a:lnTo>
                    <a:pt x="32" y="225"/>
                  </a:lnTo>
                  <a:close/>
                  <a:moveTo>
                    <a:pt x="128" y="32"/>
                  </a:moveTo>
                  <a:cubicBezTo>
                    <a:pt x="169" y="32"/>
                    <a:pt x="203" y="57"/>
                    <a:pt x="208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4" y="57"/>
                    <a:pt x="88" y="32"/>
                    <a:pt x="128" y="32"/>
                  </a:cubicBezTo>
                  <a:moveTo>
                    <a:pt x="96" y="329"/>
                  </a:moveTo>
                  <a:cubicBezTo>
                    <a:pt x="96" y="334"/>
                    <a:pt x="93" y="337"/>
                    <a:pt x="88" y="337"/>
                  </a:cubicBezTo>
                  <a:cubicBezTo>
                    <a:pt x="84" y="337"/>
                    <a:pt x="80" y="334"/>
                    <a:pt x="80" y="329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96" y="289"/>
                    <a:pt x="96" y="289"/>
                    <a:pt x="96" y="289"/>
                  </a:cubicBezTo>
                  <a:lnTo>
                    <a:pt x="96" y="329"/>
                  </a:lnTo>
                  <a:close/>
                  <a:moveTo>
                    <a:pt x="177" y="329"/>
                  </a:moveTo>
                  <a:cubicBezTo>
                    <a:pt x="177" y="334"/>
                    <a:pt x="173" y="337"/>
                    <a:pt x="169" y="337"/>
                  </a:cubicBezTo>
                  <a:cubicBezTo>
                    <a:pt x="164" y="337"/>
                    <a:pt x="161" y="334"/>
                    <a:pt x="161" y="329"/>
                  </a:cubicBezTo>
                  <a:cubicBezTo>
                    <a:pt x="161" y="289"/>
                    <a:pt x="161" y="289"/>
                    <a:pt x="161" y="289"/>
                  </a:cubicBezTo>
                  <a:cubicBezTo>
                    <a:pt x="177" y="289"/>
                    <a:pt x="177" y="289"/>
                    <a:pt x="177" y="289"/>
                  </a:cubicBezTo>
                  <a:lnTo>
                    <a:pt x="177" y="329"/>
                  </a:lnTo>
                  <a:close/>
                  <a:moveTo>
                    <a:pt x="209" y="273"/>
                  </a:moveTo>
                  <a:cubicBezTo>
                    <a:pt x="48" y="273"/>
                    <a:pt x="48" y="273"/>
                    <a:pt x="48" y="273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209" y="104"/>
                    <a:pt x="209" y="104"/>
                    <a:pt x="209" y="104"/>
                  </a:cubicBezTo>
                  <a:lnTo>
                    <a:pt x="209" y="273"/>
                  </a:lnTo>
                  <a:close/>
                  <a:moveTo>
                    <a:pt x="241" y="225"/>
                  </a:moveTo>
                  <a:cubicBezTo>
                    <a:pt x="241" y="229"/>
                    <a:pt x="237" y="233"/>
                    <a:pt x="233" y="233"/>
                  </a:cubicBezTo>
                  <a:cubicBezTo>
                    <a:pt x="228" y="233"/>
                    <a:pt x="225" y="229"/>
                    <a:pt x="225" y="225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108"/>
                    <a:pt x="228" y="104"/>
                    <a:pt x="233" y="104"/>
                  </a:cubicBezTo>
                  <a:cubicBezTo>
                    <a:pt x="237" y="104"/>
                    <a:pt x="241" y="108"/>
                    <a:pt x="241" y="112"/>
                  </a:cubicBezTo>
                  <a:lnTo>
                    <a:pt x="241" y="22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376691" y="2621208"/>
            <a:ext cx="2412138" cy="510199"/>
            <a:chOff x="1465594" y="1535212"/>
            <a:chExt cx="2670373" cy="510199"/>
          </a:xfrm>
        </p:grpSpPr>
        <p:sp>
          <p:nvSpPr>
            <p:cNvPr id="46" name="TextBox 45"/>
            <p:cNvSpPr txBox="1"/>
            <p:nvPr/>
          </p:nvSpPr>
          <p:spPr>
            <a:xfrm>
              <a:off x="1465624" y="1535212"/>
              <a:ext cx="26702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Funciona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no Android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465594" y="1743469"/>
              <a:ext cx="2670373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fermentu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13432" y="3710222"/>
            <a:ext cx="478764" cy="478764"/>
            <a:chOff x="702336" y="3681806"/>
            <a:chExt cx="478764" cy="478764"/>
          </a:xfrm>
        </p:grpSpPr>
        <p:grpSp>
          <p:nvGrpSpPr>
            <p:cNvPr id="33" name="Group 32"/>
            <p:cNvGrpSpPr/>
            <p:nvPr/>
          </p:nvGrpSpPr>
          <p:grpSpPr>
            <a:xfrm>
              <a:off x="702336" y="3681806"/>
              <a:ext cx="478764" cy="478764"/>
              <a:chOff x="3477447" y="5587166"/>
              <a:chExt cx="3200400" cy="3200400"/>
            </a:xfrm>
          </p:grpSpPr>
          <p:sp>
            <p:nvSpPr>
              <p:cNvPr id="34" name="Oval 33"/>
              <p:cNvSpPr/>
              <p:nvPr/>
            </p:nvSpPr>
            <p:spPr>
              <a:xfrm>
                <a:off x="3477447" y="5587166"/>
                <a:ext cx="3200400" cy="3200400"/>
              </a:xfrm>
              <a:prstGeom prst="ellipse">
                <a:avLst/>
              </a:prstGeom>
              <a:noFill/>
              <a:ln w="2857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5" name="Arc 34"/>
              <p:cNvSpPr/>
              <p:nvPr/>
            </p:nvSpPr>
            <p:spPr>
              <a:xfrm>
                <a:off x="3477447" y="5587166"/>
                <a:ext cx="3200400" cy="3200400"/>
              </a:xfrm>
              <a:prstGeom prst="arc">
                <a:avLst>
                  <a:gd name="adj1" fmla="val 16200000"/>
                  <a:gd name="adj2" fmla="val 10670505"/>
                </a:avLst>
              </a:prstGeom>
              <a:ln w="28575" cap="sq">
                <a:solidFill>
                  <a:srgbClr val="EC0000"/>
                </a:solidFill>
                <a:beve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</p:grpSp>
        <p:sp>
          <p:nvSpPr>
            <p:cNvPr id="39" name="Freeform 24"/>
            <p:cNvSpPr>
              <a:spLocks noEditPoints="1"/>
            </p:cNvSpPr>
            <p:nvPr/>
          </p:nvSpPr>
          <p:spPr bwMode="auto">
            <a:xfrm>
              <a:off x="817339" y="3796354"/>
              <a:ext cx="248758" cy="249666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1376691" y="3694505"/>
            <a:ext cx="2412138" cy="510199"/>
            <a:chOff x="1465594" y="1535212"/>
            <a:chExt cx="2670373" cy="510199"/>
          </a:xfrm>
        </p:grpSpPr>
        <p:sp>
          <p:nvSpPr>
            <p:cNvPr id="49" name="TextBox 48"/>
            <p:cNvSpPr txBox="1"/>
            <p:nvPr/>
          </p:nvSpPr>
          <p:spPr>
            <a:xfrm>
              <a:off x="1465624" y="1535212"/>
              <a:ext cx="26702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otalmente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gerenciáve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465594" y="1743469"/>
              <a:ext cx="2670373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fermentu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2" name="Picture Placeholder 1"/>
          <p:cNvSpPr>
            <a:spLocks noGrp="1"/>
          </p:cNvSpPr>
          <p:nvPr>
            <p:ph type="pic" sz="quarter" idx="17"/>
          </p:nvPr>
        </p:nvSpPr>
        <p:spPr/>
      </p:sp>
    </p:spTree>
    <p:extLst>
      <p:ext uri="{BB962C8B-B14F-4D97-AF65-F5344CB8AC3E}">
        <p14:creationId xmlns:p14="http://schemas.microsoft.com/office/powerpoint/2010/main" val="20056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ecursos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superget</a:t>
            </a:r>
            <a:r>
              <a:rPr lang="en-US" dirty="0">
                <a:solidFill>
                  <a:srgbClr val="EC0000"/>
                </a:solidFill>
              </a:rPr>
              <a:t> mobi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07228" y="1969188"/>
            <a:ext cx="3008556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pt-BR" sz="800" dirty="0">
                <a:solidFill>
                  <a:schemeClr val="bg1"/>
                </a:solidFill>
                <a:latin typeface="Lato" panose="020F0502020204030203" pitchFamily="34" charset="0"/>
              </a:rPr>
              <a:t>Insira alguns dados e informações aqui. A explicação deve ser pequena e breve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905714" y="1708000"/>
            <a:ext cx="3009924" cy="192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00"/>
              </a:lnSpc>
              <a:spcAft>
                <a:spcPts val="600"/>
              </a:spcAft>
            </a:pPr>
            <a:r>
              <a:rPr lang="en-US" sz="1000" cap="all" spc="20" dirty="0" err="1">
                <a:solidFill>
                  <a:schemeClr val="accent1"/>
                </a:solidFill>
                <a:latin typeface="Lato Black" panose="020F0A02020204030203" pitchFamily="34" charset="0"/>
              </a:rPr>
              <a:t>cliente</a:t>
            </a:r>
            <a:r>
              <a:rPr lang="en-US" sz="1000" cap="all" spc="20" dirty="0">
                <a:solidFill>
                  <a:schemeClr val="accent1"/>
                </a:solidFill>
                <a:latin typeface="Lato Black" panose="020F0A02020204030203" pitchFamily="34" charset="0"/>
              </a:rPr>
              <a:t>: </a:t>
            </a:r>
            <a:r>
              <a:rPr lang="en-US" sz="1000" cap="all" spc="20" dirty="0" err="1">
                <a:solidFill>
                  <a:schemeClr val="bg1"/>
                </a:solidFill>
                <a:latin typeface="Lato Black" panose="020F0A02020204030203" pitchFamily="34" charset="0"/>
              </a:rPr>
              <a:t>getnet</a:t>
            </a:r>
            <a:endParaRPr lang="en-US" sz="1000" cap="all" spc="20" dirty="0">
              <a:solidFill>
                <a:schemeClr val="bg1"/>
              </a:solidFill>
              <a:latin typeface="Lato Black" panose="020F0A0202020403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905713" y="2737067"/>
            <a:ext cx="3010071" cy="284309"/>
            <a:chOff x="905713" y="2737067"/>
            <a:chExt cx="3010071" cy="284309"/>
          </a:xfrm>
        </p:grpSpPr>
        <p:sp>
          <p:nvSpPr>
            <p:cNvPr id="11" name="TextBox 10"/>
            <p:cNvSpPr txBox="1"/>
            <p:nvPr/>
          </p:nvSpPr>
          <p:spPr>
            <a:xfrm>
              <a:off x="1324254" y="2737067"/>
              <a:ext cx="2591530" cy="2843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b="1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cialmente</a:t>
              </a: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b="1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igável</a:t>
              </a: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: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alguns dados e informações aqui. A explicação deve ser pequena e breve.</a:t>
              </a:r>
            </a:p>
          </p:txBody>
        </p:sp>
        <p:sp>
          <p:nvSpPr>
            <p:cNvPr id="32" name="Freeform 16"/>
            <p:cNvSpPr>
              <a:spLocks noEditPoints="1"/>
            </p:cNvSpPr>
            <p:nvPr/>
          </p:nvSpPr>
          <p:spPr bwMode="auto">
            <a:xfrm>
              <a:off x="905713" y="2751039"/>
              <a:ext cx="265386" cy="266355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905713" y="3751903"/>
            <a:ext cx="3010071" cy="283091"/>
            <a:chOff x="905713" y="3751903"/>
            <a:chExt cx="3010071" cy="283091"/>
          </a:xfrm>
        </p:grpSpPr>
        <p:sp>
          <p:nvSpPr>
            <p:cNvPr id="22" name="TextBox 21"/>
            <p:cNvSpPr txBox="1"/>
            <p:nvPr/>
          </p:nvSpPr>
          <p:spPr>
            <a:xfrm>
              <a:off x="1324254" y="3751903"/>
              <a:ext cx="2591530" cy="2830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b="1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uporte</a:t>
              </a: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 via </a:t>
              </a:r>
              <a:r>
                <a:rPr lang="en-US" sz="750" b="1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nsagem</a:t>
              </a: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: 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alguns dados e informações aqui. A explicação deve ser pequena e breve.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905713" y="3776882"/>
              <a:ext cx="264418" cy="242141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93887" y="3244485"/>
            <a:ext cx="3021897" cy="283091"/>
            <a:chOff x="893887" y="3244485"/>
            <a:chExt cx="3021897" cy="283091"/>
          </a:xfrm>
        </p:grpSpPr>
        <p:sp>
          <p:nvSpPr>
            <p:cNvPr id="18" name="TextBox 17"/>
            <p:cNvSpPr txBox="1"/>
            <p:nvPr/>
          </p:nvSpPr>
          <p:spPr>
            <a:xfrm>
              <a:off x="1324254" y="3244485"/>
              <a:ext cx="2591530" cy="2830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600"/>
                </a:spcAft>
              </a:pP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Interface </a:t>
              </a:r>
              <a:r>
                <a:rPr lang="en-US" sz="750" b="1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igável</a:t>
              </a:r>
              <a:r>
                <a:rPr lang="en-US" sz="75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: 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alguns dados e informações aqui. A explicação deve ser pequena e breve.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Freeform 109"/>
            <p:cNvSpPr>
              <a:spLocks noEditPoints="1"/>
            </p:cNvSpPr>
            <p:nvPr/>
          </p:nvSpPr>
          <p:spPr bwMode="auto">
            <a:xfrm>
              <a:off x="893887" y="3271764"/>
              <a:ext cx="263450" cy="239236"/>
            </a:xfrm>
            <a:custGeom>
              <a:avLst/>
              <a:gdLst>
                <a:gd name="T0" fmla="*/ 265 w 353"/>
                <a:gd name="T1" fmla="*/ 197 h 321"/>
                <a:gd name="T2" fmla="*/ 288 w 353"/>
                <a:gd name="T3" fmla="*/ 121 h 321"/>
                <a:gd name="T4" fmla="*/ 263 w 353"/>
                <a:gd name="T5" fmla="*/ 21 h 321"/>
                <a:gd name="T6" fmla="*/ 209 w 353"/>
                <a:gd name="T7" fmla="*/ 22 h 321"/>
                <a:gd name="T8" fmla="*/ 215 w 353"/>
                <a:gd name="T9" fmla="*/ 37 h 321"/>
                <a:gd name="T10" fmla="*/ 255 w 353"/>
                <a:gd name="T11" fmla="*/ 35 h 321"/>
                <a:gd name="T12" fmla="*/ 275 w 353"/>
                <a:gd name="T13" fmla="*/ 111 h 321"/>
                <a:gd name="T14" fmla="*/ 273 w 353"/>
                <a:gd name="T15" fmla="*/ 144 h 321"/>
                <a:gd name="T16" fmla="*/ 269 w 353"/>
                <a:gd name="T17" fmla="*/ 148 h 321"/>
                <a:gd name="T18" fmla="*/ 291 w 353"/>
                <a:gd name="T19" fmla="*/ 250 h 321"/>
                <a:gd name="T20" fmla="*/ 286 w 353"/>
                <a:gd name="T21" fmla="*/ 289 h 321"/>
                <a:gd name="T22" fmla="*/ 346 w 353"/>
                <a:gd name="T23" fmla="*/ 305 h 321"/>
                <a:gd name="T24" fmla="*/ 295 w 353"/>
                <a:gd name="T25" fmla="*/ 234 h 321"/>
                <a:gd name="T26" fmla="*/ 177 w 353"/>
                <a:gd name="T27" fmla="*/ 202 h 321"/>
                <a:gd name="T28" fmla="*/ 199 w 353"/>
                <a:gd name="T29" fmla="*/ 116 h 321"/>
                <a:gd name="T30" fmla="*/ 174 w 353"/>
                <a:gd name="T31" fmla="*/ 6 h 321"/>
                <a:gd name="T32" fmla="*/ 110 w 353"/>
                <a:gd name="T33" fmla="*/ 9 h 321"/>
                <a:gd name="T34" fmla="*/ 75 w 353"/>
                <a:gd name="T35" fmla="*/ 115 h 321"/>
                <a:gd name="T36" fmla="*/ 97 w 353"/>
                <a:gd name="T37" fmla="*/ 202 h 321"/>
                <a:gd name="T38" fmla="*/ 0 w 353"/>
                <a:gd name="T39" fmla="*/ 313 h 321"/>
                <a:gd name="T40" fmla="*/ 265 w 353"/>
                <a:gd name="T41" fmla="*/ 321 h 321"/>
                <a:gd name="T42" fmla="*/ 209 w 353"/>
                <a:gd name="T43" fmla="*/ 243 h 321"/>
                <a:gd name="T44" fmla="*/ 69 w 353"/>
                <a:gd name="T45" fmla="*/ 258 h 321"/>
                <a:gd name="T46" fmla="*/ 93 w 353"/>
                <a:gd name="T47" fmla="*/ 148 h 321"/>
                <a:gd name="T48" fmla="*/ 91 w 353"/>
                <a:gd name="T49" fmla="*/ 145 h 321"/>
                <a:gd name="T50" fmla="*/ 90 w 353"/>
                <a:gd name="T51" fmla="*/ 108 h 321"/>
                <a:gd name="T52" fmla="*/ 116 w 353"/>
                <a:gd name="T53" fmla="*/ 24 h 321"/>
                <a:gd name="T54" fmla="*/ 148 w 353"/>
                <a:gd name="T55" fmla="*/ 16 h 321"/>
                <a:gd name="T56" fmla="*/ 185 w 353"/>
                <a:gd name="T57" fmla="*/ 48 h 321"/>
                <a:gd name="T58" fmla="*/ 183 w 353"/>
                <a:gd name="T59" fmla="*/ 120 h 321"/>
                <a:gd name="T60" fmla="*/ 182 w 353"/>
                <a:gd name="T61" fmla="*/ 145 h 321"/>
                <a:gd name="T62" fmla="*/ 161 w 353"/>
                <a:gd name="T63" fmla="*/ 202 h 321"/>
                <a:gd name="T64" fmla="*/ 257 w 353"/>
                <a:gd name="T65" fmla="*/ 30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3" h="321">
                  <a:moveTo>
                    <a:pt x="295" y="234"/>
                  </a:moveTo>
                  <a:cubicBezTo>
                    <a:pt x="295" y="234"/>
                    <a:pt x="265" y="227"/>
                    <a:pt x="265" y="197"/>
                  </a:cubicBezTo>
                  <a:cubicBezTo>
                    <a:pt x="265" y="171"/>
                    <a:pt x="280" y="162"/>
                    <a:pt x="284" y="155"/>
                  </a:cubicBezTo>
                  <a:cubicBezTo>
                    <a:pt x="284" y="155"/>
                    <a:pt x="294" y="147"/>
                    <a:pt x="288" y="121"/>
                  </a:cubicBezTo>
                  <a:cubicBezTo>
                    <a:pt x="298" y="106"/>
                    <a:pt x="301" y="80"/>
                    <a:pt x="289" y="53"/>
                  </a:cubicBezTo>
                  <a:cubicBezTo>
                    <a:pt x="282" y="36"/>
                    <a:pt x="273" y="27"/>
                    <a:pt x="263" y="21"/>
                  </a:cubicBezTo>
                  <a:cubicBezTo>
                    <a:pt x="256" y="17"/>
                    <a:pt x="247" y="16"/>
                    <a:pt x="239" y="16"/>
                  </a:cubicBezTo>
                  <a:cubicBezTo>
                    <a:pt x="227" y="16"/>
                    <a:pt x="216" y="19"/>
                    <a:pt x="209" y="22"/>
                  </a:cubicBezTo>
                  <a:cubicBezTo>
                    <a:pt x="211" y="26"/>
                    <a:pt x="213" y="30"/>
                    <a:pt x="215" y="35"/>
                  </a:cubicBezTo>
                  <a:cubicBezTo>
                    <a:pt x="215" y="36"/>
                    <a:pt x="215" y="36"/>
                    <a:pt x="215" y="37"/>
                  </a:cubicBezTo>
                  <a:cubicBezTo>
                    <a:pt x="220" y="35"/>
                    <a:pt x="229" y="32"/>
                    <a:pt x="239" y="32"/>
                  </a:cubicBezTo>
                  <a:cubicBezTo>
                    <a:pt x="246" y="32"/>
                    <a:pt x="251" y="33"/>
                    <a:pt x="255" y="35"/>
                  </a:cubicBezTo>
                  <a:cubicBezTo>
                    <a:pt x="260" y="38"/>
                    <a:pt x="268" y="44"/>
                    <a:pt x="274" y="60"/>
                  </a:cubicBezTo>
                  <a:cubicBezTo>
                    <a:pt x="284" y="82"/>
                    <a:pt x="282" y="102"/>
                    <a:pt x="275" y="111"/>
                  </a:cubicBezTo>
                  <a:cubicBezTo>
                    <a:pt x="272" y="115"/>
                    <a:pt x="271" y="120"/>
                    <a:pt x="272" y="124"/>
                  </a:cubicBezTo>
                  <a:cubicBezTo>
                    <a:pt x="275" y="138"/>
                    <a:pt x="273" y="143"/>
                    <a:pt x="273" y="144"/>
                  </a:cubicBezTo>
                  <a:cubicBezTo>
                    <a:pt x="272" y="145"/>
                    <a:pt x="272" y="145"/>
                    <a:pt x="271" y="146"/>
                  </a:cubicBezTo>
                  <a:cubicBezTo>
                    <a:pt x="271" y="146"/>
                    <a:pt x="270" y="147"/>
                    <a:pt x="269" y="148"/>
                  </a:cubicBezTo>
                  <a:cubicBezTo>
                    <a:pt x="262" y="156"/>
                    <a:pt x="249" y="170"/>
                    <a:pt x="249" y="197"/>
                  </a:cubicBezTo>
                  <a:cubicBezTo>
                    <a:pt x="249" y="231"/>
                    <a:pt x="276" y="246"/>
                    <a:pt x="291" y="250"/>
                  </a:cubicBezTo>
                  <a:cubicBezTo>
                    <a:pt x="312" y="257"/>
                    <a:pt x="332" y="266"/>
                    <a:pt x="337" y="289"/>
                  </a:cubicBezTo>
                  <a:cubicBezTo>
                    <a:pt x="286" y="289"/>
                    <a:pt x="286" y="289"/>
                    <a:pt x="286" y="289"/>
                  </a:cubicBezTo>
                  <a:cubicBezTo>
                    <a:pt x="287" y="294"/>
                    <a:pt x="288" y="299"/>
                    <a:pt x="289" y="305"/>
                  </a:cubicBezTo>
                  <a:cubicBezTo>
                    <a:pt x="346" y="305"/>
                    <a:pt x="346" y="305"/>
                    <a:pt x="346" y="305"/>
                  </a:cubicBezTo>
                  <a:cubicBezTo>
                    <a:pt x="353" y="305"/>
                    <a:pt x="353" y="298"/>
                    <a:pt x="353" y="298"/>
                  </a:cubicBezTo>
                  <a:cubicBezTo>
                    <a:pt x="353" y="254"/>
                    <a:pt x="314" y="241"/>
                    <a:pt x="295" y="234"/>
                  </a:cubicBezTo>
                  <a:moveTo>
                    <a:pt x="209" y="243"/>
                  </a:moveTo>
                  <a:cubicBezTo>
                    <a:pt x="209" y="243"/>
                    <a:pt x="177" y="235"/>
                    <a:pt x="177" y="202"/>
                  </a:cubicBezTo>
                  <a:cubicBezTo>
                    <a:pt x="177" y="172"/>
                    <a:pt x="190" y="162"/>
                    <a:pt x="195" y="155"/>
                  </a:cubicBezTo>
                  <a:cubicBezTo>
                    <a:pt x="195" y="155"/>
                    <a:pt x="206" y="146"/>
                    <a:pt x="199" y="116"/>
                  </a:cubicBezTo>
                  <a:cubicBezTo>
                    <a:pt x="211" y="100"/>
                    <a:pt x="213" y="71"/>
                    <a:pt x="200" y="41"/>
                  </a:cubicBezTo>
                  <a:cubicBezTo>
                    <a:pt x="192" y="22"/>
                    <a:pt x="185" y="12"/>
                    <a:pt x="174" y="6"/>
                  </a:cubicBezTo>
                  <a:cubicBezTo>
                    <a:pt x="166" y="1"/>
                    <a:pt x="157" y="0"/>
                    <a:pt x="148" y="0"/>
                  </a:cubicBezTo>
                  <a:cubicBezTo>
                    <a:pt x="131" y="0"/>
                    <a:pt x="116" y="5"/>
                    <a:pt x="110" y="9"/>
                  </a:cubicBezTo>
                  <a:cubicBezTo>
                    <a:pt x="91" y="17"/>
                    <a:pt x="79" y="25"/>
                    <a:pt x="68" y="53"/>
                  </a:cubicBezTo>
                  <a:cubicBezTo>
                    <a:pt x="58" y="76"/>
                    <a:pt x="70" y="102"/>
                    <a:pt x="75" y="115"/>
                  </a:cubicBezTo>
                  <a:cubicBezTo>
                    <a:pt x="68" y="145"/>
                    <a:pt x="78" y="155"/>
                    <a:pt x="78" y="155"/>
                  </a:cubicBezTo>
                  <a:cubicBezTo>
                    <a:pt x="83" y="162"/>
                    <a:pt x="97" y="172"/>
                    <a:pt x="97" y="202"/>
                  </a:cubicBezTo>
                  <a:cubicBezTo>
                    <a:pt x="97" y="235"/>
                    <a:pt x="64" y="243"/>
                    <a:pt x="64" y="243"/>
                  </a:cubicBezTo>
                  <a:cubicBezTo>
                    <a:pt x="43" y="250"/>
                    <a:pt x="0" y="265"/>
                    <a:pt x="0" y="313"/>
                  </a:cubicBezTo>
                  <a:cubicBezTo>
                    <a:pt x="0" y="313"/>
                    <a:pt x="0" y="321"/>
                    <a:pt x="8" y="321"/>
                  </a:cubicBezTo>
                  <a:cubicBezTo>
                    <a:pt x="265" y="321"/>
                    <a:pt x="265" y="321"/>
                    <a:pt x="265" y="321"/>
                  </a:cubicBezTo>
                  <a:cubicBezTo>
                    <a:pt x="273" y="321"/>
                    <a:pt x="273" y="313"/>
                    <a:pt x="273" y="313"/>
                  </a:cubicBezTo>
                  <a:cubicBezTo>
                    <a:pt x="273" y="265"/>
                    <a:pt x="230" y="250"/>
                    <a:pt x="209" y="243"/>
                  </a:cubicBezTo>
                  <a:moveTo>
                    <a:pt x="17" y="305"/>
                  </a:moveTo>
                  <a:cubicBezTo>
                    <a:pt x="21" y="277"/>
                    <a:pt x="45" y="266"/>
                    <a:pt x="69" y="258"/>
                  </a:cubicBezTo>
                  <a:cubicBezTo>
                    <a:pt x="85" y="254"/>
                    <a:pt x="113" y="237"/>
                    <a:pt x="113" y="202"/>
                  </a:cubicBezTo>
                  <a:cubicBezTo>
                    <a:pt x="113" y="171"/>
                    <a:pt x="100" y="156"/>
                    <a:pt x="93" y="148"/>
                  </a:cubicBezTo>
                  <a:cubicBezTo>
                    <a:pt x="93" y="147"/>
                    <a:pt x="92" y="146"/>
                    <a:pt x="91" y="145"/>
                  </a:cubicBezTo>
                  <a:cubicBezTo>
                    <a:pt x="91" y="145"/>
                    <a:pt x="91" y="145"/>
                    <a:pt x="91" y="145"/>
                  </a:cubicBezTo>
                  <a:cubicBezTo>
                    <a:pt x="90" y="143"/>
                    <a:pt x="87" y="136"/>
                    <a:pt x="91" y="119"/>
                  </a:cubicBezTo>
                  <a:cubicBezTo>
                    <a:pt x="92" y="115"/>
                    <a:pt x="92" y="112"/>
                    <a:pt x="90" y="108"/>
                  </a:cubicBezTo>
                  <a:cubicBezTo>
                    <a:pt x="86" y="100"/>
                    <a:pt x="75" y="76"/>
                    <a:pt x="83" y="59"/>
                  </a:cubicBezTo>
                  <a:cubicBezTo>
                    <a:pt x="92" y="36"/>
                    <a:pt x="101" y="31"/>
                    <a:pt x="116" y="24"/>
                  </a:cubicBezTo>
                  <a:cubicBezTo>
                    <a:pt x="117" y="24"/>
                    <a:pt x="118" y="23"/>
                    <a:pt x="118" y="23"/>
                  </a:cubicBezTo>
                  <a:cubicBezTo>
                    <a:pt x="122" y="20"/>
                    <a:pt x="135" y="16"/>
                    <a:pt x="148" y="16"/>
                  </a:cubicBezTo>
                  <a:cubicBezTo>
                    <a:pt x="155" y="16"/>
                    <a:pt x="161" y="17"/>
                    <a:pt x="166" y="20"/>
                  </a:cubicBezTo>
                  <a:cubicBezTo>
                    <a:pt x="172" y="23"/>
                    <a:pt x="177" y="29"/>
                    <a:pt x="185" y="48"/>
                  </a:cubicBezTo>
                  <a:cubicBezTo>
                    <a:pt x="196" y="74"/>
                    <a:pt x="194" y="96"/>
                    <a:pt x="186" y="107"/>
                  </a:cubicBezTo>
                  <a:cubicBezTo>
                    <a:pt x="183" y="110"/>
                    <a:pt x="182" y="115"/>
                    <a:pt x="183" y="120"/>
                  </a:cubicBezTo>
                  <a:cubicBezTo>
                    <a:pt x="187" y="136"/>
                    <a:pt x="184" y="143"/>
                    <a:pt x="184" y="144"/>
                  </a:cubicBezTo>
                  <a:cubicBezTo>
                    <a:pt x="183" y="144"/>
                    <a:pt x="183" y="145"/>
                    <a:pt x="182" y="145"/>
                  </a:cubicBezTo>
                  <a:cubicBezTo>
                    <a:pt x="182" y="146"/>
                    <a:pt x="181" y="147"/>
                    <a:pt x="180" y="148"/>
                  </a:cubicBezTo>
                  <a:cubicBezTo>
                    <a:pt x="173" y="156"/>
                    <a:pt x="161" y="171"/>
                    <a:pt x="161" y="202"/>
                  </a:cubicBezTo>
                  <a:cubicBezTo>
                    <a:pt x="161" y="237"/>
                    <a:pt x="189" y="254"/>
                    <a:pt x="205" y="258"/>
                  </a:cubicBezTo>
                  <a:cubicBezTo>
                    <a:pt x="228" y="266"/>
                    <a:pt x="253" y="277"/>
                    <a:pt x="257" y="305"/>
                  </a:cubicBezTo>
                  <a:lnTo>
                    <a:pt x="17" y="305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" name="Picture Placeholder 3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37593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nosso</a:t>
            </a:r>
            <a:r>
              <a:rPr lang="en-US" dirty="0">
                <a:solidFill>
                  <a:srgbClr val="EC0000"/>
                </a:solidFill>
              </a:rPr>
              <a:t> websi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6" name="Straight Connector 5"/>
          <p:cNvCxnSpPr>
            <a:endCxn id="9" idx="6"/>
          </p:cNvCxnSpPr>
          <p:nvPr/>
        </p:nvCxnSpPr>
        <p:spPr>
          <a:xfrm flipH="1">
            <a:off x="2262460" y="1708513"/>
            <a:ext cx="876028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2161346" y="1657957"/>
            <a:ext cx="101114" cy="101112"/>
          </a:xfrm>
          <a:prstGeom prst="ellipse">
            <a:avLst/>
          </a:prstGeom>
          <a:solidFill>
            <a:srgbClr val="EC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242416" y="1587815"/>
            <a:ext cx="1251525" cy="366640"/>
            <a:chOff x="3242416" y="1587815"/>
            <a:chExt cx="1251525" cy="366640"/>
          </a:xfrm>
        </p:grpSpPr>
        <p:sp>
          <p:nvSpPr>
            <p:cNvPr id="7" name="TextBox 6"/>
            <p:cNvSpPr txBox="1"/>
            <p:nvPr/>
          </p:nvSpPr>
          <p:spPr>
            <a:xfrm>
              <a:off x="3242416" y="1831344"/>
              <a:ext cx="125152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scritos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242416" y="1587815"/>
              <a:ext cx="125152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655k</a:t>
              </a:r>
            </a:p>
          </p:txBody>
        </p:sp>
      </p:grpSp>
      <p:cxnSp>
        <p:nvCxnSpPr>
          <p:cNvPr id="12" name="Straight Connector 11"/>
          <p:cNvCxnSpPr>
            <a:endCxn id="14" idx="6"/>
          </p:cNvCxnSpPr>
          <p:nvPr/>
        </p:nvCxnSpPr>
        <p:spPr>
          <a:xfrm flipH="1">
            <a:off x="2262460" y="2458660"/>
            <a:ext cx="876028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/>
          <p:cNvSpPr/>
          <p:nvPr/>
        </p:nvSpPr>
        <p:spPr>
          <a:xfrm>
            <a:off x="2161346" y="2408104"/>
            <a:ext cx="101114" cy="101112"/>
          </a:xfrm>
          <a:prstGeom prst="ellipse">
            <a:avLst/>
          </a:prstGeom>
          <a:solidFill>
            <a:srgbClr val="EC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3242416" y="2337962"/>
            <a:ext cx="1251525" cy="366640"/>
            <a:chOff x="3242416" y="2337962"/>
            <a:chExt cx="1251525" cy="366640"/>
          </a:xfrm>
        </p:grpSpPr>
        <p:sp>
          <p:nvSpPr>
            <p:cNvPr id="13" name="TextBox 12"/>
            <p:cNvSpPr txBox="1"/>
            <p:nvPr/>
          </p:nvSpPr>
          <p:spPr>
            <a:xfrm>
              <a:off x="3242416" y="2581491"/>
              <a:ext cx="125152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nversão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242416" y="2337962"/>
              <a:ext cx="125152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42.3%</a:t>
              </a:r>
            </a:p>
          </p:txBody>
        </p:sp>
      </p:grpSp>
      <p:cxnSp>
        <p:nvCxnSpPr>
          <p:cNvPr id="16" name="Straight Connector 15"/>
          <p:cNvCxnSpPr>
            <a:endCxn id="18" idx="6"/>
          </p:cNvCxnSpPr>
          <p:nvPr/>
        </p:nvCxnSpPr>
        <p:spPr>
          <a:xfrm flipH="1">
            <a:off x="2262460" y="3325854"/>
            <a:ext cx="876028" cy="0"/>
          </a:xfrm>
          <a:prstGeom prst="line">
            <a:avLst/>
          </a:prstGeom>
          <a:ln w="9525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/>
          <p:cNvSpPr/>
          <p:nvPr/>
        </p:nvSpPr>
        <p:spPr>
          <a:xfrm>
            <a:off x="2161346" y="3275298"/>
            <a:ext cx="101114" cy="101112"/>
          </a:xfrm>
          <a:prstGeom prst="ellipse">
            <a:avLst/>
          </a:prstGeom>
          <a:solidFill>
            <a:srgbClr val="EC000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/>
        </p:nvGrpSpPr>
        <p:grpSpPr>
          <a:xfrm>
            <a:off x="3242416" y="3205156"/>
            <a:ext cx="1251525" cy="366640"/>
            <a:chOff x="3242416" y="3205156"/>
            <a:chExt cx="1251525" cy="366640"/>
          </a:xfrm>
        </p:grpSpPr>
        <p:sp>
          <p:nvSpPr>
            <p:cNvPr id="17" name="TextBox 16"/>
            <p:cNvSpPr txBox="1"/>
            <p:nvPr/>
          </p:nvSpPr>
          <p:spPr>
            <a:xfrm>
              <a:off x="3242416" y="3448685"/>
              <a:ext cx="125152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isualizações</a:t>
              </a:r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242416" y="3205156"/>
              <a:ext cx="1251525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>
                  <a:solidFill>
                    <a:srgbClr val="EC0000"/>
                  </a:solidFill>
                  <a:latin typeface="Lato Black" panose="020F0A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8.2m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635083" y="1508062"/>
            <a:ext cx="2902493" cy="1011609"/>
            <a:chOff x="5635083" y="1508062"/>
            <a:chExt cx="2902493" cy="1011609"/>
          </a:xfrm>
        </p:grpSpPr>
        <p:sp>
          <p:nvSpPr>
            <p:cNvPr id="20" name="TextBox 19"/>
            <p:cNvSpPr txBox="1"/>
            <p:nvPr/>
          </p:nvSpPr>
          <p:spPr>
            <a:xfrm>
              <a:off x="5635083" y="1780814"/>
              <a:ext cx="2902493" cy="73885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bibendu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t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apib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rc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</a:p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fermentum.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635083" y="1508062"/>
              <a:ext cx="290249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2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</a:rPr>
                <a:t>análise</a:t>
              </a:r>
              <a:r>
                <a:rPr lang="en-US" sz="1200" cap="all" spc="2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 do </a:t>
              </a:r>
              <a:r>
                <a:rPr lang="en-US" sz="1200" cap="all" spc="20" dirty="0" err="1">
                  <a:solidFill>
                    <a:srgbClr val="EC0000"/>
                  </a:solidFill>
                  <a:latin typeface="Lato Black" panose="020F0A02020204030203" pitchFamily="34" charset="0"/>
                </a:rPr>
                <a:t>consumidor</a:t>
              </a:r>
              <a:endParaRPr lang="en-US" sz="1200" cap="all" spc="20" dirty="0">
                <a:solidFill>
                  <a:srgbClr val="EC0000"/>
                </a:solidFill>
                <a:latin typeface="Lato Black" panose="020F0A02020204030203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635083" y="2928688"/>
            <a:ext cx="2902493" cy="920808"/>
            <a:chOff x="5635083" y="2928688"/>
            <a:chExt cx="2902493" cy="920808"/>
          </a:xfrm>
        </p:grpSpPr>
        <p:sp>
          <p:nvSpPr>
            <p:cNvPr id="36" name="Rectangle 35"/>
            <p:cNvSpPr/>
            <p:nvPr/>
          </p:nvSpPr>
          <p:spPr>
            <a:xfrm>
              <a:off x="6785362" y="2957958"/>
              <a:ext cx="1752214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961063" y="2986501"/>
              <a:ext cx="6532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</a:rPr>
                <a:t>São Paulo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785362" y="2957958"/>
              <a:ext cx="1424675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8292418" y="2986501"/>
              <a:ext cx="2415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34%</a:t>
              </a:r>
            </a:p>
          </p:txBody>
        </p:sp>
        <p:sp>
          <p:nvSpPr>
            <p:cNvPr id="40" name="Oval 39"/>
            <p:cNvSpPr/>
            <p:nvPr/>
          </p:nvSpPr>
          <p:spPr>
            <a:xfrm>
              <a:off x="5635083" y="2928688"/>
              <a:ext cx="238738" cy="2387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6785362" y="3298994"/>
              <a:ext cx="1752214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961063" y="3327537"/>
              <a:ext cx="6532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>
                  <a:solidFill>
                    <a:schemeClr val="accent3"/>
                  </a:solidFill>
                  <a:latin typeface="Lato" panose="020F0502020204030203" pitchFamily="34" charset="0"/>
                </a:rPr>
                <a:t>Rio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6785362" y="3298994"/>
              <a:ext cx="1070392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905686" y="3327537"/>
              <a:ext cx="2415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25%</a:t>
              </a:r>
            </a:p>
          </p:txBody>
        </p:sp>
        <p:sp>
          <p:nvSpPr>
            <p:cNvPr id="45" name="Oval 44"/>
            <p:cNvSpPr/>
            <p:nvPr/>
          </p:nvSpPr>
          <p:spPr>
            <a:xfrm>
              <a:off x="5635083" y="3269724"/>
              <a:ext cx="238738" cy="2387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785362" y="3640030"/>
              <a:ext cx="1752214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961063" y="3668573"/>
              <a:ext cx="65324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800" b="1" cap="all" spc="20" dirty="0" err="1">
                  <a:solidFill>
                    <a:schemeClr val="accent3"/>
                  </a:solidFill>
                  <a:latin typeface="Lato" panose="020F0502020204030203" pitchFamily="34" charset="0"/>
                </a:rPr>
                <a:t>fortaleza</a:t>
              </a:r>
              <a:endPara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785361" y="3640030"/>
              <a:ext cx="691251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526417" y="3668573"/>
              <a:ext cx="2415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18%</a:t>
              </a:r>
            </a:p>
          </p:txBody>
        </p:sp>
        <p:sp>
          <p:nvSpPr>
            <p:cNvPr id="50" name="Oval 49"/>
            <p:cNvSpPr/>
            <p:nvPr/>
          </p:nvSpPr>
          <p:spPr>
            <a:xfrm>
              <a:off x="5635083" y="3610760"/>
              <a:ext cx="238738" cy="23873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665303" y="2986501"/>
              <a:ext cx="17829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01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665303" y="3327537"/>
              <a:ext cx="17829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02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665303" y="3668573"/>
              <a:ext cx="178298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800" b="1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03</a:t>
              </a:r>
            </a:p>
          </p:txBody>
        </p:sp>
      </p:grpSp>
      <p:sp>
        <p:nvSpPr>
          <p:cNvPr id="24" name="Picture Placeholder 23"/>
          <p:cNvSpPr>
            <a:spLocks noGrp="1"/>
          </p:cNvSpPr>
          <p:nvPr>
            <p:ph type="pic" sz="quarter" idx="17"/>
          </p:nvPr>
        </p:nvSpPr>
        <p:spPr>
          <a:xfrm>
            <a:off x="777979" y="959101"/>
            <a:ext cx="1552896" cy="2917902"/>
          </a:xfrm>
        </p:spPr>
      </p:sp>
    </p:spTree>
    <p:extLst>
      <p:ext uri="{BB962C8B-B14F-4D97-AF65-F5344CB8AC3E}">
        <p14:creationId xmlns:p14="http://schemas.microsoft.com/office/powerpoint/2010/main" val="50291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rojeto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remiad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890711" y="2583057"/>
            <a:ext cx="575732" cy="575732"/>
            <a:chOff x="782453" y="2356962"/>
            <a:chExt cx="738028" cy="738028"/>
          </a:xfrm>
        </p:grpSpPr>
        <p:sp>
          <p:nvSpPr>
            <p:cNvPr id="19" name="Oval 18"/>
            <p:cNvSpPr/>
            <p:nvPr/>
          </p:nvSpPr>
          <p:spPr>
            <a:xfrm>
              <a:off x="782453" y="2356962"/>
              <a:ext cx="738028" cy="73802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57"/>
            <p:cNvSpPr>
              <a:spLocks noEditPoints="1"/>
            </p:cNvSpPr>
            <p:nvPr/>
          </p:nvSpPr>
          <p:spPr bwMode="auto">
            <a:xfrm>
              <a:off x="1010535" y="2522265"/>
              <a:ext cx="281864" cy="407422"/>
            </a:xfrm>
            <a:custGeom>
              <a:avLst/>
              <a:gdLst>
                <a:gd name="T0" fmla="*/ 170 w 213"/>
                <a:gd name="T1" fmla="*/ 275 h 306"/>
                <a:gd name="T2" fmla="*/ 71 w 213"/>
                <a:gd name="T3" fmla="*/ 306 h 306"/>
                <a:gd name="T4" fmla="*/ 41 w 213"/>
                <a:gd name="T5" fmla="*/ 194 h 306"/>
                <a:gd name="T6" fmla="*/ 58 w 213"/>
                <a:gd name="T7" fmla="*/ 211 h 306"/>
                <a:gd name="T8" fmla="*/ 89 w 213"/>
                <a:gd name="T9" fmla="*/ 216 h 306"/>
                <a:gd name="T10" fmla="*/ 127 w 213"/>
                <a:gd name="T11" fmla="*/ 211 h 306"/>
                <a:gd name="T12" fmla="*/ 165 w 213"/>
                <a:gd name="T13" fmla="*/ 201 h 306"/>
                <a:gd name="T14" fmla="*/ 172 w 213"/>
                <a:gd name="T15" fmla="*/ 194 h 306"/>
                <a:gd name="T16" fmla="*/ 174 w 213"/>
                <a:gd name="T17" fmla="*/ 117 h 306"/>
                <a:gd name="T18" fmla="*/ 202 w 213"/>
                <a:gd name="T19" fmla="*/ 131 h 306"/>
                <a:gd name="T20" fmla="*/ 164 w 213"/>
                <a:gd name="T21" fmla="*/ 142 h 306"/>
                <a:gd name="T22" fmla="*/ 184 w 213"/>
                <a:gd name="T23" fmla="*/ 166 h 306"/>
                <a:gd name="T24" fmla="*/ 144 w 213"/>
                <a:gd name="T25" fmla="*/ 161 h 306"/>
                <a:gd name="T26" fmla="*/ 154 w 213"/>
                <a:gd name="T27" fmla="*/ 192 h 306"/>
                <a:gd name="T28" fmla="*/ 119 w 213"/>
                <a:gd name="T29" fmla="*/ 172 h 306"/>
                <a:gd name="T30" fmla="*/ 116 w 213"/>
                <a:gd name="T31" fmla="*/ 203 h 306"/>
                <a:gd name="T32" fmla="*/ 92 w 213"/>
                <a:gd name="T33" fmla="*/ 172 h 306"/>
                <a:gd name="T34" fmla="*/ 74 w 213"/>
                <a:gd name="T35" fmla="*/ 200 h 306"/>
                <a:gd name="T36" fmla="*/ 66 w 213"/>
                <a:gd name="T37" fmla="*/ 162 h 306"/>
                <a:gd name="T38" fmla="*/ 45 w 213"/>
                <a:gd name="T39" fmla="*/ 182 h 306"/>
                <a:gd name="T40" fmla="*/ 46 w 213"/>
                <a:gd name="T41" fmla="*/ 142 h 306"/>
                <a:gd name="T42" fmla="*/ 24 w 213"/>
                <a:gd name="T43" fmla="*/ 154 h 306"/>
                <a:gd name="T44" fmla="*/ 36 w 213"/>
                <a:gd name="T45" fmla="*/ 117 h 306"/>
                <a:gd name="T46" fmla="*/ 5 w 213"/>
                <a:gd name="T47" fmla="*/ 113 h 306"/>
                <a:gd name="T48" fmla="*/ 36 w 213"/>
                <a:gd name="T49" fmla="*/ 90 h 306"/>
                <a:gd name="T50" fmla="*/ 8 w 213"/>
                <a:gd name="T51" fmla="*/ 74 h 306"/>
                <a:gd name="T52" fmla="*/ 46 w 213"/>
                <a:gd name="T53" fmla="*/ 64 h 306"/>
                <a:gd name="T54" fmla="*/ 27 w 213"/>
                <a:gd name="T55" fmla="*/ 39 h 306"/>
                <a:gd name="T56" fmla="*/ 65 w 213"/>
                <a:gd name="T57" fmla="*/ 44 h 306"/>
                <a:gd name="T58" fmla="*/ 57 w 213"/>
                <a:gd name="T59" fmla="*/ 14 h 306"/>
                <a:gd name="T60" fmla="*/ 91 w 213"/>
                <a:gd name="T61" fmla="*/ 34 h 306"/>
                <a:gd name="T62" fmla="*/ 95 w 213"/>
                <a:gd name="T63" fmla="*/ 2 h 306"/>
                <a:gd name="T64" fmla="*/ 119 w 213"/>
                <a:gd name="T65" fmla="*/ 34 h 306"/>
                <a:gd name="T66" fmla="*/ 136 w 213"/>
                <a:gd name="T67" fmla="*/ 6 h 306"/>
                <a:gd name="T68" fmla="*/ 144 w 213"/>
                <a:gd name="T69" fmla="*/ 44 h 306"/>
                <a:gd name="T70" fmla="*/ 165 w 213"/>
                <a:gd name="T71" fmla="*/ 24 h 306"/>
                <a:gd name="T72" fmla="*/ 163 w 213"/>
                <a:gd name="T73" fmla="*/ 63 h 306"/>
                <a:gd name="T74" fmla="*/ 186 w 213"/>
                <a:gd name="T75" fmla="*/ 52 h 306"/>
                <a:gd name="T76" fmla="*/ 174 w 213"/>
                <a:gd name="T77" fmla="*/ 89 h 306"/>
                <a:gd name="T78" fmla="*/ 206 w 213"/>
                <a:gd name="T79" fmla="*/ 92 h 306"/>
                <a:gd name="T80" fmla="*/ 105 w 213"/>
                <a:gd name="T81" fmla="*/ 36 h 306"/>
                <a:gd name="T82" fmla="*/ 172 w 213"/>
                <a:gd name="T83" fmla="*/ 103 h 306"/>
                <a:gd name="T84" fmla="*/ 53 w 213"/>
                <a:gd name="T85" fmla="*/ 103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3" h="306">
                  <a:moveTo>
                    <a:pt x="172" y="194"/>
                  </a:moveTo>
                  <a:cubicBezTo>
                    <a:pt x="213" y="271"/>
                    <a:pt x="213" y="271"/>
                    <a:pt x="213" y="271"/>
                  </a:cubicBezTo>
                  <a:cubicBezTo>
                    <a:pt x="170" y="275"/>
                    <a:pt x="170" y="275"/>
                    <a:pt x="170" y="275"/>
                  </a:cubicBezTo>
                  <a:cubicBezTo>
                    <a:pt x="142" y="306"/>
                    <a:pt x="142" y="306"/>
                    <a:pt x="142" y="306"/>
                  </a:cubicBezTo>
                  <a:cubicBezTo>
                    <a:pt x="107" y="250"/>
                    <a:pt x="107" y="250"/>
                    <a:pt x="107" y="250"/>
                  </a:cubicBezTo>
                  <a:cubicBezTo>
                    <a:pt x="71" y="306"/>
                    <a:pt x="71" y="306"/>
                    <a:pt x="71" y="306"/>
                  </a:cubicBezTo>
                  <a:cubicBezTo>
                    <a:pt x="42" y="274"/>
                    <a:pt x="42" y="274"/>
                    <a:pt x="42" y="274"/>
                  </a:cubicBezTo>
                  <a:cubicBezTo>
                    <a:pt x="0" y="271"/>
                    <a:pt x="0" y="271"/>
                    <a:pt x="0" y="271"/>
                  </a:cubicBezTo>
                  <a:cubicBezTo>
                    <a:pt x="41" y="194"/>
                    <a:pt x="41" y="194"/>
                    <a:pt x="41" y="194"/>
                  </a:cubicBezTo>
                  <a:cubicBezTo>
                    <a:pt x="41" y="194"/>
                    <a:pt x="41" y="194"/>
                    <a:pt x="41" y="194"/>
                  </a:cubicBezTo>
                  <a:cubicBezTo>
                    <a:pt x="42" y="197"/>
                    <a:pt x="43" y="199"/>
                    <a:pt x="45" y="201"/>
                  </a:cubicBezTo>
                  <a:cubicBezTo>
                    <a:pt x="48" y="206"/>
                    <a:pt x="52" y="208"/>
                    <a:pt x="58" y="211"/>
                  </a:cubicBezTo>
                  <a:cubicBezTo>
                    <a:pt x="63" y="213"/>
                    <a:pt x="67" y="214"/>
                    <a:pt x="71" y="214"/>
                  </a:cubicBezTo>
                  <a:cubicBezTo>
                    <a:pt x="75" y="214"/>
                    <a:pt x="80" y="213"/>
                    <a:pt x="82" y="211"/>
                  </a:cubicBezTo>
                  <a:cubicBezTo>
                    <a:pt x="84" y="213"/>
                    <a:pt x="86" y="215"/>
                    <a:pt x="89" y="216"/>
                  </a:cubicBezTo>
                  <a:cubicBezTo>
                    <a:pt x="93" y="219"/>
                    <a:pt x="99" y="221"/>
                    <a:pt x="105" y="221"/>
                  </a:cubicBezTo>
                  <a:cubicBezTo>
                    <a:pt x="111" y="221"/>
                    <a:pt x="117" y="219"/>
                    <a:pt x="121" y="216"/>
                  </a:cubicBezTo>
                  <a:cubicBezTo>
                    <a:pt x="124" y="215"/>
                    <a:pt x="126" y="213"/>
                    <a:pt x="127" y="211"/>
                  </a:cubicBezTo>
                  <a:cubicBezTo>
                    <a:pt x="131" y="213"/>
                    <a:pt x="135" y="214"/>
                    <a:pt x="139" y="214"/>
                  </a:cubicBezTo>
                  <a:cubicBezTo>
                    <a:pt x="143" y="214"/>
                    <a:pt x="147" y="213"/>
                    <a:pt x="152" y="211"/>
                  </a:cubicBezTo>
                  <a:cubicBezTo>
                    <a:pt x="158" y="208"/>
                    <a:pt x="162" y="206"/>
                    <a:pt x="165" y="201"/>
                  </a:cubicBezTo>
                  <a:cubicBezTo>
                    <a:pt x="167" y="199"/>
                    <a:pt x="169" y="197"/>
                    <a:pt x="170" y="194"/>
                  </a:cubicBezTo>
                  <a:cubicBezTo>
                    <a:pt x="170" y="194"/>
                    <a:pt x="170" y="194"/>
                    <a:pt x="171" y="194"/>
                  </a:cubicBezTo>
                  <a:cubicBezTo>
                    <a:pt x="172" y="194"/>
                    <a:pt x="172" y="194"/>
                    <a:pt x="172" y="194"/>
                  </a:cubicBezTo>
                  <a:close/>
                  <a:moveTo>
                    <a:pt x="208" y="103"/>
                  </a:moveTo>
                  <a:cubicBezTo>
                    <a:pt x="208" y="107"/>
                    <a:pt x="208" y="111"/>
                    <a:pt x="206" y="113"/>
                  </a:cubicBezTo>
                  <a:cubicBezTo>
                    <a:pt x="204" y="118"/>
                    <a:pt x="179" y="117"/>
                    <a:pt x="174" y="117"/>
                  </a:cubicBezTo>
                  <a:cubicBezTo>
                    <a:pt x="173" y="117"/>
                    <a:pt x="173" y="117"/>
                    <a:pt x="173" y="117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8" y="119"/>
                    <a:pt x="202" y="127"/>
                    <a:pt x="202" y="131"/>
                  </a:cubicBezTo>
                  <a:cubicBezTo>
                    <a:pt x="203" y="135"/>
                    <a:pt x="202" y="138"/>
                    <a:pt x="200" y="143"/>
                  </a:cubicBezTo>
                  <a:cubicBezTo>
                    <a:pt x="197" y="152"/>
                    <a:pt x="190" y="154"/>
                    <a:pt x="186" y="154"/>
                  </a:cubicBezTo>
                  <a:cubicBezTo>
                    <a:pt x="184" y="154"/>
                    <a:pt x="165" y="143"/>
                    <a:pt x="164" y="142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3" y="142"/>
                    <a:pt x="163" y="142"/>
                    <a:pt x="163" y="142"/>
                  </a:cubicBezTo>
                  <a:cubicBezTo>
                    <a:pt x="166" y="145"/>
                    <a:pt x="186" y="162"/>
                    <a:pt x="184" y="166"/>
                  </a:cubicBezTo>
                  <a:cubicBezTo>
                    <a:pt x="183" y="170"/>
                    <a:pt x="181" y="173"/>
                    <a:pt x="178" y="176"/>
                  </a:cubicBezTo>
                  <a:cubicBezTo>
                    <a:pt x="174" y="180"/>
                    <a:pt x="170" y="182"/>
                    <a:pt x="165" y="182"/>
                  </a:cubicBezTo>
                  <a:cubicBezTo>
                    <a:pt x="163" y="182"/>
                    <a:pt x="147" y="164"/>
                    <a:pt x="144" y="161"/>
                  </a:cubicBezTo>
                  <a:cubicBezTo>
                    <a:pt x="144" y="161"/>
                    <a:pt x="144" y="161"/>
                    <a:pt x="144" y="161"/>
                  </a:cubicBezTo>
                  <a:cubicBezTo>
                    <a:pt x="144" y="162"/>
                    <a:pt x="144" y="162"/>
                    <a:pt x="144" y="162"/>
                  </a:cubicBezTo>
                  <a:cubicBezTo>
                    <a:pt x="146" y="165"/>
                    <a:pt x="156" y="188"/>
                    <a:pt x="154" y="192"/>
                  </a:cubicBezTo>
                  <a:cubicBezTo>
                    <a:pt x="152" y="194"/>
                    <a:pt x="149" y="197"/>
                    <a:pt x="145" y="198"/>
                  </a:cubicBezTo>
                  <a:cubicBezTo>
                    <a:pt x="142" y="200"/>
                    <a:pt x="139" y="200"/>
                    <a:pt x="136" y="200"/>
                  </a:cubicBezTo>
                  <a:cubicBezTo>
                    <a:pt x="130" y="200"/>
                    <a:pt x="121" y="176"/>
                    <a:pt x="119" y="172"/>
                  </a:cubicBezTo>
                  <a:cubicBezTo>
                    <a:pt x="119" y="171"/>
                    <a:pt x="119" y="171"/>
                    <a:pt x="119" y="171"/>
                  </a:cubicBezTo>
                  <a:cubicBezTo>
                    <a:pt x="119" y="172"/>
                    <a:pt x="119" y="172"/>
                    <a:pt x="119" y="172"/>
                  </a:cubicBezTo>
                  <a:cubicBezTo>
                    <a:pt x="119" y="176"/>
                    <a:pt x="120" y="201"/>
                    <a:pt x="116" y="203"/>
                  </a:cubicBezTo>
                  <a:cubicBezTo>
                    <a:pt x="113" y="206"/>
                    <a:pt x="109" y="206"/>
                    <a:pt x="105" y="206"/>
                  </a:cubicBezTo>
                  <a:cubicBezTo>
                    <a:pt x="101" y="206"/>
                    <a:pt x="97" y="206"/>
                    <a:pt x="95" y="203"/>
                  </a:cubicBezTo>
                  <a:cubicBezTo>
                    <a:pt x="90" y="201"/>
                    <a:pt x="92" y="176"/>
                    <a:pt x="92" y="172"/>
                  </a:cubicBezTo>
                  <a:cubicBezTo>
                    <a:pt x="92" y="171"/>
                    <a:pt x="92" y="171"/>
                    <a:pt x="92" y="171"/>
                  </a:cubicBezTo>
                  <a:cubicBezTo>
                    <a:pt x="91" y="172"/>
                    <a:pt x="91" y="172"/>
                    <a:pt x="91" y="172"/>
                  </a:cubicBezTo>
                  <a:cubicBezTo>
                    <a:pt x="89" y="176"/>
                    <a:pt x="80" y="200"/>
                    <a:pt x="74" y="200"/>
                  </a:cubicBezTo>
                  <a:cubicBezTo>
                    <a:pt x="72" y="200"/>
                    <a:pt x="69" y="200"/>
                    <a:pt x="65" y="198"/>
                  </a:cubicBezTo>
                  <a:cubicBezTo>
                    <a:pt x="61" y="197"/>
                    <a:pt x="59" y="194"/>
                    <a:pt x="57" y="192"/>
                  </a:cubicBezTo>
                  <a:cubicBezTo>
                    <a:pt x="54" y="188"/>
                    <a:pt x="65" y="165"/>
                    <a:pt x="66" y="162"/>
                  </a:cubicBezTo>
                  <a:cubicBezTo>
                    <a:pt x="67" y="161"/>
                    <a:pt x="67" y="161"/>
                    <a:pt x="67" y="161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3" y="164"/>
                    <a:pt x="47" y="182"/>
                    <a:pt x="45" y="182"/>
                  </a:cubicBezTo>
                  <a:cubicBezTo>
                    <a:pt x="41" y="182"/>
                    <a:pt x="36" y="180"/>
                    <a:pt x="32" y="176"/>
                  </a:cubicBezTo>
                  <a:cubicBezTo>
                    <a:pt x="29" y="173"/>
                    <a:pt x="27" y="170"/>
                    <a:pt x="27" y="166"/>
                  </a:cubicBezTo>
                  <a:cubicBezTo>
                    <a:pt x="25" y="162"/>
                    <a:pt x="44" y="145"/>
                    <a:pt x="46" y="142"/>
                  </a:cubicBezTo>
                  <a:cubicBezTo>
                    <a:pt x="48" y="142"/>
                    <a:pt x="48" y="142"/>
                    <a:pt x="48" y="142"/>
                  </a:cubicBezTo>
                  <a:cubicBezTo>
                    <a:pt x="46" y="142"/>
                    <a:pt x="46" y="142"/>
                    <a:pt x="46" y="142"/>
                  </a:cubicBezTo>
                  <a:cubicBezTo>
                    <a:pt x="45" y="143"/>
                    <a:pt x="26" y="154"/>
                    <a:pt x="24" y="154"/>
                  </a:cubicBezTo>
                  <a:cubicBezTo>
                    <a:pt x="20" y="154"/>
                    <a:pt x="14" y="152"/>
                    <a:pt x="10" y="143"/>
                  </a:cubicBezTo>
                  <a:cubicBezTo>
                    <a:pt x="8" y="138"/>
                    <a:pt x="8" y="135"/>
                    <a:pt x="8" y="131"/>
                  </a:cubicBezTo>
                  <a:cubicBezTo>
                    <a:pt x="8" y="127"/>
                    <a:pt x="32" y="119"/>
                    <a:pt x="36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2" y="117"/>
                    <a:pt x="7" y="118"/>
                    <a:pt x="5" y="113"/>
                  </a:cubicBezTo>
                  <a:cubicBezTo>
                    <a:pt x="2" y="111"/>
                    <a:pt x="2" y="107"/>
                    <a:pt x="2" y="103"/>
                  </a:cubicBezTo>
                  <a:cubicBezTo>
                    <a:pt x="2" y="99"/>
                    <a:pt x="2" y="95"/>
                    <a:pt x="5" y="92"/>
                  </a:cubicBezTo>
                  <a:cubicBezTo>
                    <a:pt x="7" y="88"/>
                    <a:pt x="32" y="90"/>
                    <a:pt x="36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6" y="89"/>
                    <a:pt x="36" y="89"/>
                    <a:pt x="36" y="89"/>
                  </a:cubicBezTo>
                  <a:cubicBezTo>
                    <a:pt x="32" y="88"/>
                    <a:pt x="8" y="79"/>
                    <a:pt x="8" y="74"/>
                  </a:cubicBezTo>
                  <a:cubicBezTo>
                    <a:pt x="8" y="71"/>
                    <a:pt x="8" y="67"/>
                    <a:pt x="10" y="63"/>
                  </a:cubicBezTo>
                  <a:cubicBezTo>
                    <a:pt x="14" y="54"/>
                    <a:pt x="20" y="52"/>
                    <a:pt x="24" y="52"/>
                  </a:cubicBezTo>
                  <a:cubicBezTo>
                    <a:pt x="26" y="52"/>
                    <a:pt x="45" y="63"/>
                    <a:pt x="46" y="64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4" y="61"/>
                    <a:pt x="25" y="44"/>
                    <a:pt x="27" y="39"/>
                  </a:cubicBezTo>
                  <a:cubicBezTo>
                    <a:pt x="27" y="36"/>
                    <a:pt x="29" y="33"/>
                    <a:pt x="32" y="30"/>
                  </a:cubicBezTo>
                  <a:cubicBezTo>
                    <a:pt x="36" y="26"/>
                    <a:pt x="41" y="24"/>
                    <a:pt x="45" y="24"/>
                  </a:cubicBezTo>
                  <a:cubicBezTo>
                    <a:pt x="47" y="24"/>
                    <a:pt x="63" y="41"/>
                    <a:pt x="65" y="44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5" y="41"/>
                    <a:pt x="54" y="18"/>
                    <a:pt x="57" y="14"/>
                  </a:cubicBezTo>
                  <a:cubicBezTo>
                    <a:pt x="59" y="11"/>
                    <a:pt x="61" y="10"/>
                    <a:pt x="65" y="8"/>
                  </a:cubicBezTo>
                  <a:cubicBezTo>
                    <a:pt x="69" y="7"/>
                    <a:pt x="72" y="6"/>
                    <a:pt x="74" y="6"/>
                  </a:cubicBezTo>
                  <a:cubicBezTo>
                    <a:pt x="80" y="6"/>
                    <a:pt x="89" y="30"/>
                    <a:pt x="91" y="34"/>
                  </a:cubicBezTo>
                  <a:cubicBezTo>
                    <a:pt x="92" y="35"/>
                    <a:pt x="92" y="35"/>
                    <a:pt x="92" y="35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0"/>
                    <a:pt x="90" y="5"/>
                    <a:pt x="95" y="2"/>
                  </a:cubicBezTo>
                  <a:cubicBezTo>
                    <a:pt x="97" y="0"/>
                    <a:pt x="101" y="0"/>
                    <a:pt x="105" y="0"/>
                  </a:cubicBezTo>
                  <a:cubicBezTo>
                    <a:pt x="109" y="0"/>
                    <a:pt x="113" y="0"/>
                    <a:pt x="116" y="2"/>
                  </a:cubicBezTo>
                  <a:cubicBezTo>
                    <a:pt x="120" y="5"/>
                    <a:pt x="119" y="30"/>
                    <a:pt x="119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4"/>
                    <a:pt x="119" y="34"/>
                    <a:pt x="119" y="34"/>
                  </a:cubicBezTo>
                  <a:cubicBezTo>
                    <a:pt x="121" y="30"/>
                    <a:pt x="130" y="6"/>
                    <a:pt x="136" y="6"/>
                  </a:cubicBezTo>
                  <a:cubicBezTo>
                    <a:pt x="139" y="6"/>
                    <a:pt x="142" y="7"/>
                    <a:pt x="145" y="8"/>
                  </a:cubicBezTo>
                  <a:cubicBezTo>
                    <a:pt x="149" y="10"/>
                    <a:pt x="152" y="11"/>
                    <a:pt x="154" y="14"/>
                  </a:cubicBezTo>
                  <a:cubicBezTo>
                    <a:pt x="156" y="18"/>
                    <a:pt x="146" y="41"/>
                    <a:pt x="144" y="44"/>
                  </a:cubicBezTo>
                  <a:cubicBezTo>
                    <a:pt x="144" y="46"/>
                    <a:pt x="144" y="46"/>
                    <a:pt x="144" y="46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7" y="41"/>
                    <a:pt x="163" y="24"/>
                    <a:pt x="165" y="24"/>
                  </a:cubicBezTo>
                  <a:cubicBezTo>
                    <a:pt x="170" y="24"/>
                    <a:pt x="174" y="26"/>
                    <a:pt x="178" y="30"/>
                  </a:cubicBezTo>
                  <a:cubicBezTo>
                    <a:pt x="181" y="33"/>
                    <a:pt x="183" y="36"/>
                    <a:pt x="184" y="39"/>
                  </a:cubicBezTo>
                  <a:cubicBezTo>
                    <a:pt x="186" y="44"/>
                    <a:pt x="166" y="61"/>
                    <a:pt x="163" y="63"/>
                  </a:cubicBezTo>
                  <a:cubicBezTo>
                    <a:pt x="163" y="65"/>
                    <a:pt x="163" y="65"/>
                    <a:pt x="163" y="65"/>
                  </a:cubicBezTo>
                  <a:cubicBezTo>
                    <a:pt x="164" y="64"/>
                    <a:pt x="164" y="64"/>
                    <a:pt x="164" y="64"/>
                  </a:cubicBezTo>
                  <a:cubicBezTo>
                    <a:pt x="165" y="63"/>
                    <a:pt x="184" y="52"/>
                    <a:pt x="186" y="52"/>
                  </a:cubicBezTo>
                  <a:cubicBezTo>
                    <a:pt x="190" y="52"/>
                    <a:pt x="197" y="54"/>
                    <a:pt x="200" y="63"/>
                  </a:cubicBezTo>
                  <a:cubicBezTo>
                    <a:pt x="202" y="67"/>
                    <a:pt x="203" y="71"/>
                    <a:pt x="202" y="74"/>
                  </a:cubicBezTo>
                  <a:cubicBezTo>
                    <a:pt x="202" y="79"/>
                    <a:pt x="178" y="88"/>
                    <a:pt x="174" y="89"/>
                  </a:cubicBezTo>
                  <a:cubicBezTo>
                    <a:pt x="173" y="90"/>
                    <a:pt x="173" y="90"/>
                    <a:pt x="173" y="90"/>
                  </a:cubicBezTo>
                  <a:cubicBezTo>
                    <a:pt x="174" y="90"/>
                    <a:pt x="174" y="90"/>
                    <a:pt x="174" y="90"/>
                  </a:cubicBezTo>
                  <a:cubicBezTo>
                    <a:pt x="179" y="90"/>
                    <a:pt x="204" y="88"/>
                    <a:pt x="206" y="92"/>
                  </a:cubicBezTo>
                  <a:cubicBezTo>
                    <a:pt x="208" y="95"/>
                    <a:pt x="208" y="99"/>
                    <a:pt x="208" y="103"/>
                  </a:cubicBezTo>
                  <a:close/>
                  <a:moveTo>
                    <a:pt x="172" y="103"/>
                  </a:moveTo>
                  <a:cubicBezTo>
                    <a:pt x="172" y="66"/>
                    <a:pt x="142" y="36"/>
                    <a:pt x="105" y="36"/>
                  </a:cubicBezTo>
                  <a:cubicBezTo>
                    <a:pt x="68" y="36"/>
                    <a:pt x="38" y="66"/>
                    <a:pt x="38" y="103"/>
                  </a:cubicBezTo>
                  <a:cubicBezTo>
                    <a:pt x="38" y="140"/>
                    <a:pt x="68" y="170"/>
                    <a:pt x="105" y="170"/>
                  </a:cubicBezTo>
                  <a:cubicBezTo>
                    <a:pt x="142" y="170"/>
                    <a:pt x="172" y="140"/>
                    <a:pt x="172" y="103"/>
                  </a:cubicBezTo>
                  <a:close/>
                  <a:moveTo>
                    <a:pt x="156" y="103"/>
                  </a:moveTo>
                  <a:cubicBezTo>
                    <a:pt x="156" y="74"/>
                    <a:pt x="134" y="51"/>
                    <a:pt x="105" y="51"/>
                  </a:cubicBezTo>
                  <a:cubicBezTo>
                    <a:pt x="77" y="51"/>
                    <a:pt x="53" y="74"/>
                    <a:pt x="53" y="103"/>
                  </a:cubicBezTo>
                  <a:cubicBezTo>
                    <a:pt x="53" y="131"/>
                    <a:pt x="77" y="154"/>
                    <a:pt x="105" y="154"/>
                  </a:cubicBezTo>
                  <a:cubicBezTo>
                    <a:pt x="134" y="154"/>
                    <a:pt x="156" y="131"/>
                    <a:pt x="156" y="1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319101" y="2082999"/>
            <a:ext cx="1731653" cy="564541"/>
            <a:chOff x="6319101" y="2082999"/>
            <a:chExt cx="1731653" cy="564541"/>
          </a:xfrm>
        </p:grpSpPr>
        <p:sp>
          <p:nvSpPr>
            <p:cNvPr id="21" name="TextBox 20"/>
            <p:cNvSpPr txBox="1"/>
            <p:nvPr/>
          </p:nvSpPr>
          <p:spPr>
            <a:xfrm>
              <a:off x="6320615" y="2344187"/>
              <a:ext cx="1730139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sir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lgun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ados 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nformaçõe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bre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o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rêmio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aqu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319101" y="2082999"/>
              <a:ext cx="1730926" cy="192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1700"/>
                </a:lnSpc>
                <a:spcAft>
                  <a:spcPts val="600"/>
                </a:spcAft>
              </a:pPr>
              <a:r>
                <a:rPr lang="en-US" sz="10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</a:rPr>
                <a:t>cliente</a:t>
              </a:r>
              <a:r>
                <a:rPr lang="en-US" sz="1000" cap="all" spc="20" dirty="0">
                  <a:solidFill>
                    <a:schemeClr val="accent1"/>
                  </a:solidFill>
                  <a:latin typeface="Lato Black" panose="020F0A02020204030203" pitchFamily="34" charset="0"/>
                </a:rPr>
                <a:t>: </a:t>
              </a:r>
              <a:r>
                <a:rPr lang="en-US" sz="1000" cap="all" spc="20" dirty="0" err="1">
                  <a:solidFill>
                    <a:schemeClr val="bg1"/>
                  </a:solidFill>
                  <a:latin typeface="Lato Black" panose="020F0A02020204030203" pitchFamily="34" charset="0"/>
                </a:rPr>
                <a:t>lojas</a:t>
              </a:r>
              <a:r>
                <a:rPr lang="en-US" sz="1000" cap="all" spc="20" dirty="0">
                  <a:solidFill>
                    <a:schemeClr val="bg1"/>
                  </a:solidFill>
                  <a:latin typeface="Lato Black" panose="020F0A02020204030203" pitchFamily="34" charset="0"/>
                </a:rPr>
                <a:t> lorem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6728883" y="2858910"/>
            <a:ext cx="1321144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en-US" sz="750" b="1" dirty="0">
                <a:solidFill>
                  <a:schemeClr val="bg1"/>
                </a:solidFill>
                <a:latin typeface="Lato" panose="020F0502020204030203" pitchFamily="34" charset="0"/>
              </a:rPr>
              <a:t>Interface </a:t>
            </a:r>
            <a:r>
              <a:rPr lang="en-US" sz="750" b="1" dirty="0" err="1">
                <a:solidFill>
                  <a:schemeClr val="bg1"/>
                </a:solidFill>
                <a:latin typeface="Lato" panose="020F0502020204030203" pitchFamily="34" charset="0"/>
              </a:rPr>
              <a:t>Amigável</a:t>
            </a:r>
            <a:r>
              <a:rPr lang="en-US" sz="750" b="1" dirty="0">
                <a:solidFill>
                  <a:schemeClr val="bg1"/>
                </a:solidFill>
                <a:latin typeface="Lato" panose="020F0502020204030203" pitchFamily="34" charset="0"/>
              </a:rPr>
              <a:t>:</a:t>
            </a:r>
            <a:r>
              <a:rPr lang="en-US" sz="750" dirty="0">
                <a:solidFill>
                  <a:schemeClr val="bg1"/>
                </a:solidFill>
                <a:latin typeface="Lato" panose="020F0502020204030203" pitchFamily="34" charset="0"/>
              </a:rPr>
              <a:t> </a:t>
            </a:r>
            <a:r>
              <a:rPr lang="pt-BR" sz="750" dirty="0">
                <a:solidFill>
                  <a:schemeClr val="bg1"/>
                </a:solidFill>
                <a:latin typeface="Lato" panose="020F0502020204030203" pitchFamily="34" charset="0"/>
              </a:rPr>
              <a:t>Insira alguns dados e informações</a:t>
            </a:r>
            <a:endParaRPr lang="en-US" sz="75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728883" y="3319760"/>
            <a:ext cx="1321144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600"/>
              </a:spcAft>
            </a:pPr>
            <a:r>
              <a:rPr lang="en-US" sz="750" b="1" dirty="0" err="1">
                <a:solidFill>
                  <a:schemeClr val="bg1"/>
                </a:solidFill>
                <a:latin typeface="Lato" panose="020F0502020204030203" pitchFamily="34" charset="0"/>
              </a:rPr>
              <a:t>Usuários</a:t>
            </a:r>
            <a:r>
              <a:rPr lang="en-US" sz="750" b="1" dirty="0">
                <a:solidFill>
                  <a:schemeClr val="bg1"/>
                </a:solidFill>
                <a:latin typeface="Lato" panose="020F0502020204030203" pitchFamily="34" charset="0"/>
              </a:rPr>
              <a:t>: </a:t>
            </a:r>
            <a:r>
              <a:rPr lang="pt-BR" sz="750" dirty="0">
                <a:solidFill>
                  <a:schemeClr val="bg1"/>
                </a:solidFill>
                <a:latin typeface="Lato" panose="020F0502020204030203" pitchFamily="34" charset="0"/>
              </a:rPr>
              <a:t>Insira alguns dados e informações</a:t>
            </a:r>
            <a:endParaRPr lang="en-US" sz="75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32" name="Freeform 16"/>
          <p:cNvSpPr>
            <a:spLocks noEditPoints="1"/>
          </p:cNvSpPr>
          <p:nvPr/>
        </p:nvSpPr>
        <p:spPr bwMode="auto">
          <a:xfrm>
            <a:off x="6383646" y="2911743"/>
            <a:ext cx="216120" cy="216909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09"/>
          <p:cNvSpPr>
            <a:spLocks noEditPoints="1"/>
          </p:cNvSpPr>
          <p:nvPr/>
        </p:nvSpPr>
        <p:spPr bwMode="auto">
          <a:xfrm>
            <a:off x="6371820" y="3380866"/>
            <a:ext cx="214543" cy="194824"/>
          </a:xfrm>
          <a:custGeom>
            <a:avLst/>
            <a:gdLst>
              <a:gd name="T0" fmla="*/ 265 w 353"/>
              <a:gd name="T1" fmla="*/ 197 h 321"/>
              <a:gd name="T2" fmla="*/ 288 w 353"/>
              <a:gd name="T3" fmla="*/ 121 h 321"/>
              <a:gd name="T4" fmla="*/ 263 w 353"/>
              <a:gd name="T5" fmla="*/ 21 h 321"/>
              <a:gd name="T6" fmla="*/ 209 w 353"/>
              <a:gd name="T7" fmla="*/ 22 h 321"/>
              <a:gd name="T8" fmla="*/ 215 w 353"/>
              <a:gd name="T9" fmla="*/ 37 h 321"/>
              <a:gd name="T10" fmla="*/ 255 w 353"/>
              <a:gd name="T11" fmla="*/ 35 h 321"/>
              <a:gd name="T12" fmla="*/ 275 w 353"/>
              <a:gd name="T13" fmla="*/ 111 h 321"/>
              <a:gd name="T14" fmla="*/ 273 w 353"/>
              <a:gd name="T15" fmla="*/ 144 h 321"/>
              <a:gd name="T16" fmla="*/ 269 w 353"/>
              <a:gd name="T17" fmla="*/ 148 h 321"/>
              <a:gd name="T18" fmla="*/ 291 w 353"/>
              <a:gd name="T19" fmla="*/ 250 h 321"/>
              <a:gd name="T20" fmla="*/ 286 w 353"/>
              <a:gd name="T21" fmla="*/ 289 h 321"/>
              <a:gd name="T22" fmla="*/ 346 w 353"/>
              <a:gd name="T23" fmla="*/ 305 h 321"/>
              <a:gd name="T24" fmla="*/ 295 w 353"/>
              <a:gd name="T25" fmla="*/ 234 h 321"/>
              <a:gd name="T26" fmla="*/ 177 w 353"/>
              <a:gd name="T27" fmla="*/ 202 h 321"/>
              <a:gd name="T28" fmla="*/ 199 w 353"/>
              <a:gd name="T29" fmla="*/ 116 h 321"/>
              <a:gd name="T30" fmla="*/ 174 w 353"/>
              <a:gd name="T31" fmla="*/ 6 h 321"/>
              <a:gd name="T32" fmla="*/ 110 w 353"/>
              <a:gd name="T33" fmla="*/ 9 h 321"/>
              <a:gd name="T34" fmla="*/ 75 w 353"/>
              <a:gd name="T35" fmla="*/ 115 h 321"/>
              <a:gd name="T36" fmla="*/ 97 w 353"/>
              <a:gd name="T37" fmla="*/ 202 h 321"/>
              <a:gd name="T38" fmla="*/ 0 w 353"/>
              <a:gd name="T39" fmla="*/ 313 h 321"/>
              <a:gd name="T40" fmla="*/ 265 w 353"/>
              <a:gd name="T41" fmla="*/ 321 h 321"/>
              <a:gd name="T42" fmla="*/ 209 w 353"/>
              <a:gd name="T43" fmla="*/ 243 h 321"/>
              <a:gd name="T44" fmla="*/ 69 w 353"/>
              <a:gd name="T45" fmla="*/ 258 h 321"/>
              <a:gd name="T46" fmla="*/ 93 w 353"/>
              <a:gd name="T47" fmla="*/ 148 h 321"/>
              <a:gd name="T48" fmla="*/ 91 w 353"/>
              <a:gd name="T49" fmla="*/ 145 h 321"/>
              <a:gd name="T50" fmla="*/ 90 w 353"/>
              <a:gd name="T51" fmla="*/ 108 h 321"/>
              <a:gd name="T52" fmla="*/ 116 w 353"/>
              <a:gd name="T53" fmla="*/ 24 h 321"/>
              <a:gd name="T54" fmla="*/ 148 w 353"/>
              <a:gd name="T55" fmla="*/ 16 h 321"/>
              <a:gd name="T56" fmla="*/ 185 w 353"/>
              <a:gd name="T57" fmla="*/ 48 h 321"/>
              <a:gd name="T58" fmla="*/ 183 w 353"/>
              <a:gd name="T59" fmla="*/ 120 h 321"/>
              <a:gd name="T60" fmla="*/ 182 w 353"/>
              <a:gd name="T61" fmla="*/ 145 h 321"/>
              <a:gd name="T62" fmla="*/ 161 w 353"/>
              <a:gd name="T63" fmla="*/ 202 h 321"/>
              <a:gd name="T64" fmla="*/ 257 w 353"/>
              <a:gd name="T65" fmla="*/ 30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53" h="321">
                <a:moveTo>
                  <a:pt x="295" y="234"/>
                </a:moveTo>
                <a:cubicBezTo>
                  <a:pt x="295" y="234"/>
                  <a:pt x="265" y="227"/>
                  <a:pt x="265" y="197"/>
                </a:cubicBezTo>
                <a:cubicBezTo>
                  <a:pt x="265" y="171"/>
                  <a:pt x="280" y="162"/>
                  <a:pt x="284" y="155"/>
                </a:cubicBezTo>
                <a:cubicBezTo>
                  <a:pt x="284" y="155"/>
                  <a:pt x="294" y="147"/>
                  <a:pt x="288" y="121"/>
                </a:cubicBezTo>
                <a:cubicBezTo>
                  <a:pt x="298" y="106"/>
                  <a:pt x="301" y="80"/>
                  <a:pt x="289" y="53"/>
                </a:cubicBezTo>
                <a:cubicBezTo>
                  <a:pt x="282" y="36"/>
                  <a:pt x="273" y="27"/>
                  <a:pt x="263" y="21"/>
                </a:cubicBezTo>
                <a:cubicBezTo>
                  <a:pt x="256" y="17"/>
                  <a:pt x="247" y="16"/>
                  <a:pt x="239" y="16"/>
                </a:cubicBezTo>
                <a:cubicBezTo>
                  <a:pt x="227" y="16"/>
                  <a:pt x="216" y="19"/>
                  <a:pt x="209" y="22"/>
                </a:cubicBezTo>
                <a:cubicBezTo>
                  <a:pt x="211" y="26"/>
                  <a:pt x="213" y="30"/>
                  <a:pt x="215" y="35"/>
                </a:cubicBezTo>
                <a:cubicBezTo>
                  <a:pt x="215" y="36"/>
                  <a:pt x="215" y="36"/>
                  <a:pt x="215" y="37"/>
                </a:cubicBezTo>
                <a:cubicBezTo>
                  <a:pt x="220" y="35"/>
                  <a:pt x="229" y="32"/>
                  <a:pt x="239" y="32"/>
                </a:cubicBezTo>
                <a:cubicBezTo>
                  <a:pt x="246" y="32"/>
                  <a:pt x="251" y="33"/>
                  <a:pt x="255" y="35"/>
                </a:cubicBezTo>
                <a:cubicBezTo>
                  <a:pt x="260" y="38"/>
                  <a:pt x="268" y="44"/>
                  <a:pt x="274" y="60"/>
                </a:cubicBezTo>
                <a:cubicBezTo>
                  <a:pt x="284" y="82"/>
                  <a:pt x="282" y="102"/>
                  <a:pt x="275" y="111"/>
                </a:cubicBezTo>
                <a:cubicBezTo>
                  <a:pt x="272" y="115"/>
                  <a:pt x="271" y="120"/>
                  <a:pt x="272" y="124"/>
                </a:cubicBezTo>
                <a:cubicBezTo>
                  <a:pt x="275" y="138"/>
                  <a:pt x="273" y="143"/>
                  <a:pt x="273" y="144"/>
                </a:cubicBezTo>
                <a:cubicBezTo>
                  <a:pt x="272" y="145"/>
                  <a:pt x="272" y="145"/>
                  <a:pt x="271" y="146"/>
                </a:cubicBezTo>
                <a:cubicBezTo>
                  <a:pt x="271" y="146"/>
                  <a:pt x="270" y="147"/>
                  <a:pt x="269" y="148"/>
                </a:cubicBezTo>
                <a:cubicBezTo>
                  <a:pt x="262" y="156"/>
                  <a:pt x="249" y="170"/>
                  <a:pt x="249" y="197"/>
                </a:cubicBezTo>
                <a:cubicBezTo>
                  <a:pt x="249" y="231"/>
                  <a:pt x="276" y="246"/>
                  <a:pt x="291" y="250"/>
                </a:cubicBezTo>
                <a:cubicBezTo>
                  <a:pt x="312" y="257"/>
                  <a:pt x="332" y="266"/>
                  <a:pt x="337" y="289"/>
                </a:cubicBezTo>
                <a:cubicBezTo>
                  <a:pt x="286" y="289"/>
                  <a:pt x="286" y="289"/>
                  <a:pt x="286" y="289"/>
                </a:cubicBezTo>
                <a:cubicBezTo>
                  <a:pt x="287" y="294"/>
                  <a:pt x="288" y="299"/>
                  <a:pt x="289" y="305"/>
                </a:cubicBezTo>
                <a:cubicBezTo>
                  <a:pt x="346" y="305"/>
                  <a:pt x="346" y="305"/>
                  <a:pt x="346" y="305"/>
                </a:cubicBezTo>
                <a:cubicBezTo>
                  <a:pt x="353" y="305"/>
                  <a:pt x="353" y="298"/>
                  <a:pt x="353" y="298"/>
                </a:cubicBezTo>
                <a:cubicBezTo>
                  <a:pt x="353" y="254"/>
                  <a:pt x="314" y="241"/>
                  <a:pt x="295" y="234"/>
                </a:cubicBezTo>
                <a:moveTo>
                  <a:pt x="209" y="243"/>
                </a:moveTo>
                <a:cubicBezTo>
                  <a:pt x="209" y="243"/>
                  <a:pt x="177" y="235"/>
                  <a:pt x="177" y="202"/>
                </a:cubicBezTo>
                <a:cubicBezTo>
                  <a:pt x="177" y="172"/>
                  <a:pt x="190" y="162"/>
                  <a:pt x="195" y="155"/>
                </a:cubicBezTo>
                <a:cubicBezTo>
                  <a:pt x="195" y="155"/>
                  <a:pt x="206" y="146"/>
                  <a:pt x="199" y="116"/>
                </a:cubicBezTo>
                <a:cubicBezTo>
                  <a:pt x="211" y="100"/>
                  <a:pt x="213" y="71"/>
                  <a:pt x="200" y="41"/>
                </a:cubicBezTo>
                <a:cubicBezTo>
                  <a:pt x="192" y="22"/>
                  <a:pt x="185" y="12"/>
                  <a:pt x="174" y="6"/>
                </a:cubicBezTo>
                <a:cubicBezTo>
                  <a:pt x="166" y="1"/>
                  <a:pt x="157" y="0"/>
                  <a:pt x="148" y="0"/>
                </a:cubicBezTo>
                <a:cubicBezTo>
                  <a:pt x="131" y="0"/>
                  <a:pt x="116" y="5"/>
                  <a:pt x="110" y="9"/>
                </a:cubicBezTo>
                <a:cubicBezTo>
                  <a:pt x="91" y="17"/>
                  <a:pt x="79" y="25"/>
                  <a:pt x="68" y="53"/>
                </a:cubicBezTo>
                <a:cubicBezTo>
                  <a:pt x="58" y="76"/>
                  <a:pt x="70" y="102"/>
                  <a:pt x="75" y="115"/>
                </a:cubicBezTo>
                <a:cubicBezTo>
                  <a:pt x="68" y="145"/>
                  <a:pt x="78" y="155"/>
                  <a:pt x="78" y="155"/>
                </a:cubicBezTo>
                <a:cubicBezTo>
                  <a:pt x="83" y="162"/>
                  <a:pt x="97" y="172"/>
                  <a:pt x="97" y="202"/>
                </a:cubicBezTo>
                <a:cubicBezTo>
                  <a:pt x="97" y="235"/>
                  <a:pt x="64" y="243"/>
                  <a:pt x="64" y="243"/>
                </a:cubicBezTo>
                <a:cubicBezTo>
                  <a:pt x="43" y="250"/>
                  <a:pt x="0" y="265"/>
                  <a:pt x="0" y="313"/>
                </a:cubicBezTo>
                <a:cubicBezTo>
                  <a:pt x="0" y="313"/>
                  <a:pt x="0" y="321"/>
                  <a:pt x="8" y="321"/>
                </a:cubicBezTo>
                <a:cubicBezTo>
                  <a:pt x="265" y="321"/>
                  <a:pt x="265" y="321"/>
                  <a:pt x="265" y="321"/>
                </a:cubicBezTo>
                <a:cubicBezTo>
                  <a:pt x="273" y="321"/>
                  <a:pt x="273" y="313"/>
                  <a:pt x="273" y="313"/>
                </a:cubicBezTo>
                <a:cubicBezTo>
                  <a:pt x="273" y="265"/>
                  <a:pt x="230" y="250"/>
                  <a:pt x="209" y="243"/>
                </a:cubicBezTo>
                <a:moveTo>
                  <a:pt x="17" y="305"/>
                </a:moveTo>
                <a:cubicBezTo>
                  <a:pt x="21" y="277"/>
                  <a:pt x="45" y="266"/>
                  <a:pt x="69" y="258"/>
                </a:cubicBezTo>
                <a:cubicBezTo>
                  <a:pt x="85" y="254"/>
                  <a:pt x="113" y="237"/>
                  <a:pt x="113" y="202"/>
                </a:cubicBezTo>
                <a:cubicBezTo>
                  <a:pt x="113" y="171"/>
                  <a:pt x="100" y="156"/>
                  <a:pt x="93" y="148"/>
                </a:cubicBezTo>
                <a:cubicBezTo>
                  <a:pt x="93" y="147"/>
                  <a:pt x="92" y="146"/>
                  <a:pt x="91" y="145"/>
                </a:cubicBezTo>
                <a:cubicBezTo>
                  <a:pt x="91" y="145"/>
                  <a:pt x="91" y="145"/>
                  <a:pt x="91" y="145"/>
                </a:cubicBezTo>
                <a:cubicBezTo>
                  <a:pt x="90" y="143"/>
                  <a:pt x="87" y="136"/>
                  <a:pt x="91" y="119"/>
                </a:cubicBezTo>
                <a:cubicBezTo>
                  <a:pt x="92" y="115"/>
                  <a:pt x="92" y="112"/>
                  <a:pt x="90" y="108"/>
                </a:cubicBezTo>
                <a:cubicBezTo>
                  <a:pt x="86" y="100"/>
                  <a:pt x="75" y="76"/>
                  <a:pt x="83" y="59"/>
                </a:cubicBezTo>
                <a:cubicBezTo>
                  <a:pt x="92" y="36"/>
                  <a:pt x="101" y="31"/>
                  <a:pt x="116" y="24"/>
                </a:cubicBezTo>
                <a:cubicBezTo>
                  <a:pt x="117" y="24"/>
                  <a:pt x="118" y="23"/>
                  <a:pt x="118" y="23"/>
                </a:cubicBezTo>
                <a:cubicBezTo>
                  <a:pt x="122" y="20"/>
                  <a:pt x="135" y="16"/>
                  <a:pt x="148" y="16"/>
                </a:cubicBezTo>
                <a:cubicBezTo>
                  <a:pt x="155" y="16"/>
                  <a:pt x="161" y="17"/>
                  <a:pt x="166" y="20"/>
                </a:cubicBezTo>
                <a:cubicBezTo>
                  <a:pt x="172" y="23"/>
                  <a:pt x="177" y="29"/>
                  <a:pt x="185" y="48"/>
                </a:cubicBezTo>
                <a:cubicBezTo>
                  <a:pt x="196" y="74"/>
                  <a:pt x="194" y="96"/>
                  <a:pt x="186" y="107"/>
                </a:cubicBezTo>
                <a:cubicBezTo>
                  <a:pt x="183" y="110"/>
                  <a:pt x="182" y="115"/>
                  <a:pt x="183" y="120"/>
                </a:cubicBezTo>
                <a:cubicBezTo>
                  <a:pt x="187" y="136"/>
                  <a:pt x="184" y="143"/>
                  <a:pt x="184" y="144"/>
                </a:cubicBezTo>
                <a:cubicBezTo>
                  <a:pt x="183" y="144"/>
                  <a:pt x="183" y="145"/>
                  <a:pt x="182" y="145"/>
                </a:cubicBezTo>
                <a:cubicBezTo>
                  <a:pt x="182" y="146"/>
                  <a:pt x="181" y="147"/>
                  <a:pt x="180" y="148"/>
                </a:cubicBezTo>
                <a:cubicBezTo>
                  <a:pt x="173" y="156"/>
                  <a:pt x="161" y="171"/>
                  <a:pt x="161" y="202"/>
                </a:cubicBezTo>
                <a:cubicBezTo>
                  <a:pt x="161" y="237"/>
                  <a:pt x="189" y="254"/>
                  <a:pt x="205" y="258"/>
                </a:cubicBezTo>
                <a:cubicBezTo>
                  <a:pt x="228" y="266"/>
                  <a:pt x="253" y="277"/>
                  <a:pt x="257" y="305"/>
                </a:cubicBezTo>
                <a:lnTo>
                  <a:pt x="17" y="3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296450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0869" y="807498"/>
            <a:ext cx="7576231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3200" cap="all" spc="80" dirty="0" err="1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LETA</a:t>
            </a:r>
            <a:r>
              <a:rPr lang="en-US" sz="3200" cap="all" spc="80" dirty="0">
                <a:solidFill>
                  <a:srgbClr val="EC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cap="all" spc="80" dirty="0">
                <a:solidFill>
                  <a:schemeClr val="accent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 </a:t>
            </a:r>
            <a:r>
              <a:rPr lang="en-US" sz="3200" cap="all" spc="80" dirty="0">
                <a:solidFill>
                  <a:srgbClr val="FF0000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RE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0869" y="1353268"/>
            <a:ext cx="7046080" cy="10822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pt-BR" sz="1500" b="1" dirty="0">
                <a:solidFill>
                  <a:schemeClr val="accent3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 vermelho e o branco são nossas cores principais, ambas devem estar sempre presentes nas telas. As outras cores podem compor títulos, textos e ícones. Para auxiliar, deixamos a paleta ao lado de cada tela, basta usar o conta gotas para atingir o tom correto. </a:t>
            </a:r>
            <a:endParaRPr lang="pt-BR" sz="1500" b="1" dirty="0">
              <a:solidFill>
                <a:schemeClr val="accent3"/>
              </a:solidFill>
              <a:highlight>
                <a:srgbClr val="FFFF00"/>
              </a:highlight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593725" y="912517"/>
            <a:ext cx="0" cy="1423448"/>
          </a:xfrm>
          <a:prstGeom prst="line">
            <a:avLst/>
          </a:prstGeom>
          <a:ln w="28575">
            <a:solidFill>
              <a:srgbClr val="EC1C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>
            <a:extLst>
              <a:ext uri="{FF2B5EF4-FFF2-40B4-BE49-F238E27FC236}">
                <a16:creationId xmlns:a16="http://schemas.microsoft.com/office/drawing/2014/main" id="{938A4463-98D3-407E-B46F-1D5D79AC7A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4124" y="2639024"/>
            <a:ext cx="2228821" cy="590975"/>
          </a:xfrm>
          <a:prstGeom prst="rect">
            <a:avLst/>
          </a:prstGeom>
          <a:ln>
            <a:solidFill>
              <a:srgbClr val="EC0000"/>
            </a:solidFill>
          </a:ln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9095361B-5684-4677-AE11-65F4E67D16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1589" y="2934511"/>
            <a:ext cx="1468997" cy="2068415"/>
          </a:xfrm>
          <a:prstGeom prst="rect">
            <a:avLst/>
          </a:prstGeom>
          <a:ln>
            <a:solidFill>
              <a:srgbClr val="EC0000"/>
            </a:solidFill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9DABC2C4-08F4-4BE8-8E40-9496202EBF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91" t="88927" r="1165" b="818"/>
          <a:stretch/>
        </p:blipFill>
        <p:spPr>
          <a:xfrm>
            <a:off x="5112556" y="4336002"/>
            <a:ext cx="2253952" cy="332603"/>
          </a:xfrm>
          <a:prstGeom prst="rect">
            <a:avLst/>
          </a:prstGeom>
          <a:ln>
            <a:solidFill>
              <a:srgbClr val="EC0000"/>
            </a:solidFill>
          </a:ln>
        </p:spPr>
      </p:pic>
    </p:spTree>
    <p:extLst>
      <p:ext uri="{BB962C8B-B14F-4D97-AF65-F5344CB8AC3E}">
        <p14:creationId xmlns:p14="http://schemas.microsoft.com/office/powerpoint/2010/main" val="205978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rgbClr val="EC1C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427264" y="2260209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20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6101133" y="2231666"/>
            <a:ext cx="2435359" cy="180197"/>
            <a:chOff x="6101133" y="2231666"/>
            <a:chExt cx="2435359" cy="180197"/>
          </a:xfrm>
        </p:grpSpPr>
        <p:sp>
          <p:nvSpPr>
            <p:cNvPr id="5" name="Rectangle 4"/>
            <p:cNvSpPr/>
            <p:nvPr/>
          </p:nvSpPr>
          <p:spPr>
            <a:xfrm>
              <a:off x="6101133" y="2231666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6101133" y="2231666"/>
              <a:ext cx="2123305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8287906" y="2260209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34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427264" y="2601245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19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6101133" y="2572702"/>
            <a:ext cx="2435359" cy="180197"/>
            <a:chOff x="6101133" y="2572702"/>
            <a:chExt cx="2435359" cy="180197"/>
          </a:xfrm>
        </p:grpSpPr>
        <p:sp>
          <p:nvSpPr>
            <p:cNvPr id="10" name="Rectangle 9"/>
            <p:cNvSpPr/>
            <p:nvPr/>
          </p:nvSpPr>
          <p:spPr>
            <a:xfrm>
              <a:off x="6101133" y="2572702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101133" y="2572702"/>
              <a:ext cx="1456149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7628080" y="2601245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25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27264" y="2942281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18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101133" y="2913738"/>
            <a:ext cx="2435359" cy="180197"/>
            <a:chOff x="6101133" y="2913738"/>
            <a:chExt cx="2435359" cy="180197"/>
          </a:xfrm>
        </p:grpSpPr>
        <p:sp>
          <p:nvSpPr>
            <p:cNvPr id="15" name="Rectangle 14"/>
            <p:cNvSpPr/>
            <p:nvPr/>
          </p:nvSpPr>
          <p:spPr>
            <a:xfrm>
              <a:off x="6101133" y="2913738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101133" y="2913738"/>
              <a:ext cx="965385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7146817" y="2942281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18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427264" y="3283317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17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6101133" y="3254774"/>
            <a:ext cx="2435359" cy="180197"/>
            <a:chOff x="6101133" y="3254774"/>
            <a:chExt cx="2435359" cy="180197"/>
          </a:xfrm>
        </p:grpSpPr>
        <p:sp>
          <p:nvSpPr>
            <p:cNvPr id="20" name="Rectangle 19"/>
            <p:cNvSpPr/>
            <p:nvPr/>
          </p:nvSpPr>
          <p:spPr>
            <a:xfrm>
              <a:off x="6101133" y="3254774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101133" y="3254774"/>
              <a:ext cx="817317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7016836" y="3283317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15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427264" y="3624353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16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6101133" y="3595810"/>
            <a:ext cx="2435359" cy="180197"/>
            <a:chOff x="6101133" y="3595810"/>
            <a:chExt cx="2435359" cy="180197"/>
          </a:xfrm>
        </p:grpSpPr>
        <p:sp>
          <p:nvSpPr>
            <p:cNvPr id="25" name="Rectangle 24"/>
            <p:cNvSpPr/>
            <p:nvPr/>
          </p:nvSpPr>
          <p:spPr>
            <a:xfrm>
              <a:off x="6101133" y="3595810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101134" y="3595810"/>
              <a:ext cx="392020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8" name="TextBox 27"/>
          <p:cNvSpPr txBox="1"/>
          <p:nvPr/>
        </p:nvSpPr>
        <p:spPr>
          <a:xfrm>
            <a:off x="6576310" y="3624353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8.3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427264" y="3965390"/>
            <a:ext cx="53115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800" b="1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2015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6101133" y="3936847"/>
            <a:ext cx="2435359" cy="180197"/>
            <a:chOff x="6101133" y="3936847"/>
            <a:chExt cx="2435359" cy="180197"/>
          </a:xfrm>
        </p:grpSpPr>
        <p:sp>
          <p:nvSpPr>
            <p:cNvPr id="30" name="Rectangle 29"/>
            <p:cNvSpPr/>
            <p:nvPr/>
          </p:nvSpPr>
          <p:spPr>
            <a:xfrm>
              <a:off x="6101133" y="3936847"/>
              <a:ext cx="2435359" cy="1801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101134" y="3936847"/>
              <a:ext cx="177800" cy="180197"/>
            </a:xfrm>
            <a:prstGeom prst="rect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6365587" y="3965390"/>
            <a:ext cx="24152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dirty="0">
                <a:solidFill>
                  <a:schemeClr val="accent1"/>
                </a:solidFill>
                <a:latin typeface="Lato Black" panose="020F0A02020204030203" pitchFamily="34" charset="0"/>
              </a:rPr>
              <a:t>4.2%</a:t>
            </a:r>
          </a:p>
        </p:txBody>
      </p:sp>
      <p:sp>
        <p:nvSpPr>
          <p:cNvPr id="44" name="Oval 43"/>
          <p:cNvSpPr/>
          <p:nvPr/>
        </p:nvSpPr>
        <p:spPr>
          <a:xfrm>
            <a:off x="862012" y="1147762"/>
            <a:ext cx="2847975" cy="2847975"/>
          </a:xfrm>
          <a:prstGeom prst="ellipse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8" name="TextBox 47"/>
          <p:cNvSpPr txBox="1"/>
          <p:nvPr/>
        </p:nvSpPr>
        <p:spPr>
          <a:xfrm>
            <a:off x="1347239" y="2049572"/>
            <a:ext cx="1904660" cy="7036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4200" b="1" cap="all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$46M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347238" y="2809893"/>
            <a:ext cx="190466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cap="all" spc="20" dirty="0">
                <a:solidFill>
                  <a:schemeClr val="bg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SCIMENTO</a:t>
            </a:r>
          </a:p>
        </p:txBody>
      </p:sp>
      <p:sp>
        <p:nvSpPr>
          <p:cNvPr id="50" name="Text Placeholder 1"/>
          <p:cNvSpPr txBox="1">
            <a:spLocks/>
          </p:cNvSpPr>
          <p:nvPr/>
        </p:nvSpPr>
        <p:spPr>
          <a:xfrm>
            <a:off x="5434012" y="569549"/>
            <a:ext cx="363556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200" b="0" kern="1200" cap="all" spc="50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/>
              <a:t>Cresciment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vendas</a:t>
            </a:r>
            <a:endParaRPr lang="en-US" dirty="0">
              <a:solidFill>
                <a:srgbClr val="EC0000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5448011" y="485775"/>
            <a:ext cx="9144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2"/>
          <p:cNvSpPr txBox="1">
            <a:spLocks/>
          </p:cNvSpPr>
          <p:nvPr/>
        </p:nvSpPr>
        <p:spPr>
          <a:xfrm>
            <a:off x="5443051" y="960189"/>
            <a:ext cx="3104049" cy="1415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ts val="12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kern="120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3" name="TextBox 52"/>
          <p:cNvSpPr txBox="1"/>
          <p:nvPr/>
        </p:nvSpPr>
        <p:spPr>
          <a:xfrm>
            <a:off x="5434012" y="1509965"/>
            <a:ext cx="3102480" cy="3033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pt-BR" sz="800" dirty="0">
                <a:solidFill>
                  <a:schemeClr val="accent4"/>
                </a:solidFill>
                <a:latin typeface="Lato" panose="020F0502020204030203" pitchFamily="34" charset="0"/>
              </a:rPr>
              <a:t>Insira alguns dados e informações aqui. A explicação deve ser pequena e breve.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40" name="Espaço Reservado para Imagem 39">
            <a:extLst>
              <a:ext uri="{FF2B5EF4-FFF2-40B4-BE49-F238E27FC236}">
                <a16:creationId xmlns:a16="http://schemas.microsoft.com/office/drawing/2014/main" id="{8FF404AA-05D1-4ECE-85DF-B2DC54F2F81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31403" y="-1"/>
            <a:ext cx="4572000" cy="5143500"/>
          </a:xfrm>
          <a:solidFill>
            <a:srgbClr val="EC0000"/>
          </a:solidFill>
        </p:spPr>
      </p:sp>
    </p:spTree>
    <p:extLst>
      <p:ext uri="{BB962C8B-B14F-4D97-AF65-F5344CB8AC3E}">
        <p14:creationId xmlns:p14="http://schemas.microsoft.com/office/powerpoint/2010/main" val="137588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flecha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3840578" y="4829419"/>
            <a:ext cx="669036" cy="314081"/>
          </a:xfrm>
          <a:custGeom>
            <a:avLst/>
            <a:gdLst>
              <a:gd name="T0" fmla="*/ 1120 w 1244"/>
              <a:gd name="T1" fmla="*/ 584 h 584"/>
              <a:gd name="T2" fmla="*/ 1244 w 1244"/>
              <a:gd name="T3" fmla="*/ 584 h 584"/>
              <a:gd name="T4" fmla="*/ 680 w 1244"/>
              <a:gd name="T5" fmla="*/ 0 h 584"/>
              <a:gd name="T6" fmla="*/ 0 w 1244"/>
              <a:gd name="T7" fmla="*/ 0 h 584"/>
              <a:gd name="T8" fmla="*/ 1120 w 1244"/>
              <a:gd name="T9" fmla="*/ 584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44" h="584">
                <a:moveTo>
                  <a:pt x="1120" y="584"/>
                </a:moveTo>
                <a:lnTo>
                  <a:pt x="1244" y="584"/>
                </a:lnTo>
                <a:lnTo>
                  <a:pt x="680" y="0"/>
                </a:lnTo>
                <a:lnTo>
                  <a:pt x="0" y="0"/>
                </a:lnTo>
                <a:lnTo>
                  <a:pt x="1120" y="584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4206289" y="4829419"/>
            <a:ext cx="365711" cy="314081"/>
          </a:xfrm>
          <a:custGeom>
            <a:avLst/>
            <a:gdLst>
              <a:gd name="T0" fmla="*/ 556 w 680"/>
              <a:gd name="T1" fmla="*/ 584 h 584"/>
              <a:gd name="T2" fmla="*/ 680 w 680"/>
              <a:gd name="T3" fmla="*/ 584 h 584"/>
              <a:gd name="T4" fmla="*/ 680 w 680"/>
              <a:gd name="T5" fmla="*/ 0 h 584"/>
              <a:gd name="T6" fmla="*/ 0 w 680"/>
              <a:gd name="T7" fmla="*/ 0 h 584"/>
              <a:gd name="T8" fmla="*/ 556 w 680"/>
              <a:gd name="T9" fmla="*/ 584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0" h="584">
                <a:moveTo>
                  <a:pt x="556" y="584"/>
                </a:moveTo>
                <a:lnTo>
                  <a:pt x="680" y="584"/>
                </a:lnTo>
                <a:lnTo>
                  <a:pt x="680" y="0"/>
                </a:lnTo>
                <a:lnTo>
                  <a:pt x="0" y="0"/>
                </a:lnTo>
                <a:lnTo>
                  <a:pt x="556" y="584"/>
                </a:lnTo>
                <a:close/>
              </a:path>
            </a:pathLst>
          </a:custGeom>
          <a:solidFill>
            <a:srgbClr val="FF3F3F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4569848" y="4829419"/>
            <a:ext cx="370014" cy="314081"/>
          </a:xfrm>
          <a:custGeom>
            <a:avLst/>
            <a:gdLst>
              <a:gd name="T0" fmla="*/ 124 w 688"/>
              <a:gd name="T1" fmla="*/ 584 h 584"/>
              <a:gd name="T2" fmla="*/ 0 w 688"/>
              <a:gd name="T3" fmla="*/ 584 h 584"/>
              <a:gd name="T4" fmla="*/ 0 w 688"/>
              <a:gd name="T5" fmla="*/ 0 h 584"/>
              <a:gd name="T6" fmla="*/ 688 w 688"/>
              <a:gd name="T7" fmla="*/ 0 h 584"/>
              <a:gd name="T8" fmla="*/ 124 w 688"/>
              <a:gd name="T9" fmla="*/ 584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88" h="584">
                <a:moveTo>
                  <a:pt x="124" y="584"/>
                </a:moveTo>
                <a:lnTo>
                  <a:pt x="0" y="584"/>
                </a:lnTo>
                <a:lnTo>
                  <a:pt x="0" y="0"/>
                </a:lnTo>
                <a:lnTo>
                  <a:pt x="688" y="0"/>
                </a:lnTo>
                <a:lnTo>
                  <a:pt x="124" y="584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4634386" y="4829419"/>
            <a:ext cx="669036" cy="314081"/>
          </a:xfrm>
          <a:custGeom>
            <a:avLst/>
            <a:gdLst>
              <a:gd name="T0" fmla="*/ 124 w 1244"/>
              <a:gd name="T1" fmla="*/ 584 h 584"/>
              <a:gd name="T2" fmla="*/ 0 w 1244"/>
              <a:gd name="T3" fmla="*/ 584 h 584"/>
              <a:gd name="T4" fmla="*/ 564 w 1244"/>
              <a:gd name="T5" fmla="*/ 0 h 584"/>
              <a:gd name="T6" fmla="*/ 1244 w 1244"/>
              <a:gd name="T7" fmla="*/ 0 h 584"/>
              <a:gd name="T8" fmla="*/ 124 w 1244"/>
              <a:gd name="T9" fmla="*/ 584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44" h="584">
                <a:moveTo>
                  <a:pt x="124" y="584"/>
                </a:moveTo>
                <a:lnTo>
                  <a:pt x="0" y="584"/>
                </a:lnTo>
                <a:lnTo>
                  <a:pt x="564" y="0"/>
                </a:lnTo>
                <a:lnTo>
                  <a:pt x="1244" y="0"/>
                </a:lnTo>
                <a:lnTo>
                  <a:pt x="124" y="584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3840578" y="3101435"/>
            <a:ext cx="365711" cy="17279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4206289" y="2032268"/>
            <a:ext cx="365711" cy="2797151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4572000" y="2514684"/>
            <a:ext cx="365711" cy="23147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4937711" y="3526843"/>
            <a:ext cx="365711" cy="13025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3415707" y="1576398"/>
            <a:ext cx="1156293" cy="608802"/>
          </a:xfrm>
          <a:custGeom>
            <a:avLst/>
            <a:gdLst>
              <a:gd name="connsiteX0" fmla="*/ 876993 w 3132116"/>
              <a:gd name="connsiteY0" fmla="*/ 402076 h 1649095"/>
              <a:gd name="connsiteX1" fmla="*/ 2327964 w 3132116"/>
              <a:gd name="connsiteY1" fmla="*/ 402076 h 1649095"/>
              <a:gd name="connsiteX2" fmla="*/ 3132116 w 3132116"/>
              <a:gd name="connsiteY2" fmla="*/ 1241191 h 1649095"/>
              <a:gd name="connsiteX3" fmla="*/ 876993 w 3132116"/>
              <a:gd name="connsiteY3" fmla="*/ 1241191 h 1649095"/>
              <a:gd name="connsiteX4" fmla="*/ 876992 w 3132116"/>
              <a:gd name="connsiteY4" fmla="*/ 0 h 1649095"/>
              <a:gd name="connsiteX5" fmla="*/ 876992 w 3132116"/>
              <a:gd name="connsiteY5" fmla="*/ 824548 h 1649095"/>
              <a:gd name="connsiteX6" fmla="*/ 876992 w 3132116"/>
              <a:gd name="connsiteY6" fmla="*/ 1649095 h 1649095"/>
              <a:gd name="connsiteX7" fmla="*/ 0 w 3132116"/>
              <a:gd name="connsiteY7" fmla="*/ 824548 h 164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2116" h="1649095">
                <a:moveTo>
                  <a:pt x="876993" y="402076"/>
                </a:moveTo>
                <a:lnTo>
                  <a:pt x="2327964" y="402076"/>
                </a:lnTo>
                <a:lnTo>
                  <a:pt x="3132116" y="1241191"/>
                </a:lnTo>
                <a:lnTo>
                  <a:pt x="876993" y="1241191"/>
                </a:lnTo>
                <a:close/>
                <a:moveTo>
                  <a:pt x="876992" y="0"/>
                </a:moveTo>
                <a:lnTo>
                  <a:pt x="876992" y="824548"/>
                </a:lnTo>
                <a:lnTo>
                  <a:pt x="876992" y="1649095"/>
                </a:lnTo>
                <a:lnTo>
                  <a:pt x="0" y="824548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3049997" y="2648447"/>
            <a:ext cx="1156292" cy="608802"/>
          </a:xfrm>
          <a:custGeom>
            <a:avLst/>
            <a:gdLst>
              <a:gd name="connsiteX0" fmla="*/ 876992 w 3132115"/>
              <a:gd name="connsiteY0" fmla="*/ 0 h 1649095"/>
              <a:gd name="connsiteX1" fmla="*/ 876992 w 3132115"/>
              <a:gd name="connsiteY1" fmla="*/ 403534 h 1649095"/>
              <a:gd name="connsiteX2" fmla="*/ 2327963 w 3132115"/>
              <a:gd name="connsiteY2" fmla="*/ 403534 h 1649095"/>
              <a:gd name="connsiteX3" fmla="*/ 3132115 w 3132115"/>
              <a:gd name="connsiteY3" fmla="*/ 1239736 h 1649095"/>
              <a:gd name="connsiteX4" fmla="*/ 876992 w 3132115"/>
              <a:gd name="connsiteY4" fmla="*/ 1239736 h 1649095"/>
              <a:gd name="connsiteX5" fmla="*/ 876992 w 3132115"/>
              <a:gd name="connsiteY5" fmla="*/ 1649095 h 1649095"/>
              <a:gd name="connsiteX6" fmla="*/ 0 w 3132115"/>
              <a:gd name="connsiteY6" fmla="*/ 824548 h 164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2115" h="1649095">
                <a:moveTo>
                  <a:pt x="876992" y="0"/>
                </a:moveTo>
                <a:lnTo>
                  <a:pt x="876992" y="403534"/>
                </a:lnTo>
                <a:lnTo>
                  <a:pt x="2327963" y="403534"/>
                </a:lnTo>
                <a:lnTo>
                  <a:pt x="3132115" y="1239736"/>
                </a:lnTo>
                <a:lnTo>
                  <a:pt x="876992" y="1239736"/>
                </a:lnTo>
                <a:lnTo>
                  <a:pt x="876992" y="1649095"/>
                </a:lnTo>
                <a:lnTo>
                  <a:pt x="0" y="82454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4572000" y="2058620"/>
            <a:ext cx="1155754" cy="608802"/>
          </a:xfrm>
          <a:custGeom>
            <a:avLst/>
            <a:gdLst>
              <a:gd name="connsiteX0" fmla="*/ 2255122 w 3130658"/>
              <a:gd name="connsiteY0" fmla="*/ 0 h 1649095"/>
              <a:gd name="connsiteX1" fmla="*/ 3130658 w 3130658"/>
              <a:gd name="connsiteY1" fmla="*/ 824548 h 1649095"/>
              <a:gd name="connsiteX2" fmla="*/ 2255122 w 3130658"/>
              <a:gd name="connsiteY2" fmla="*/ 1649095 h 1649095"/>
              <a:gd name="connsiteX3" fmla="*/ 2255122 w 3130658"/>
              <a:gd name="connsiteY3" fmla="*/ 1239734 h 1649095"/>
              <a:gd name="connsiteX4" fmla="*/ 0 w 3130658"/>
              <a:gd name="connsiteY4" fmla="*/ 1239734 h 1649095"/>
              <a:gd name="connsiteX5" fmla="*/ 804152 w 3130658"/>
              <a:gd name="connsiteY5" fmla="*/ 402076 h 1649095"/>
              <a:gd name="connsiteX6" fmla="*/ 2255122 w 3130658"/>
              <a:gd name="connsiteY6" fmla="*/ 402076 h 1649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0658" h="1649095">
                <a:moveTo>
                  <a:pt x="2255122" y="0"/>
                </a:moveTo>
                <a:lnTo>
                  <a:pt x="3130658" y="824548"/>
                </a:lnTo>
                <a:lnTo>
                  <a:pt x="2255122" y="1649095"/>
                </a:lnTo>
                <a:lnTo>
                  <a:pt x="2255122" y="1239734"/>
                </a:lnTo>
                <a:lnTo>
                  <a:pt x="0" y="1239734"/>
                </a:lnTo>
                <a:lnTo>
                  <a:pt x="804152" y="402076"/>
                </a:lnTo>
                <a:lnTo>
                  <a:pt x="2255122" y="4020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4937711" y="3073421"/>
            <a:ext cx="1156292" cy="608263"/>
          </a:xfrm>
          <a:custGeom>
            <a:avLst/>
            <a:gdLst>
              <a:gd name="connsiteX0" fmla="*/ 2255123 w 3132115"/>
              <a:gd name="connsiteY0" fmla="*/ 0 h 1647638"/>
              <a:gd name="connsiteX1" fmla="*/ 3132115 w 3132115"/>
              <a:gd name="connsiteY1" fmla="*/ 824547 h 1647638"/>
              <a:gd name="connsiteX2" fmla="*/ 2255123 w 3132115"/>
              <a:gd name="connsiteY2" fmla="*/ 1647638 h 1647638"/>
              <a:gd name="connsiteX3" fmla="*/ 2255123 w 3132115"/>
              <a:gd name="connsiteY3" fmla="*/ 1239734 h 1647638"/>
              <a:gd name="connsiteX4" fmla="*/ 0 w 3132115"/>
              <a:gd name="connsiteY4" fmla="*/ 1239734 h 1647638"/>
              <a:gd name="connsiteX5" fmla="*/ 804152 w 3132115"/>
              <a:gd name="connsiteY5" fmla="*/ 402076 h 1647638"/>
              <a:gd name="connsiteX6" fmla="*/ 2255123 w 3132115"/>
              <a:gd name="connsiteY6" fmla="*/ 402076 h 164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2115" h="1647638">
                <a:moveTo>
                  <a:pt x="2255123" y="0"/>
                </a:moveTo>
                <a:lnTo>
                  <a:pt x="3132115" y="824547"/>
                </a:lnTo>
                <a:lnTo>
                  <a:pt x="2255123" y="1647638"/>
                </a:lnTo>
                <a:lnTo>
                  <a:pt x="2255123" y="1239734"/>
                </a:lnTo>
                <a:lnTo>
                  <a:pt x="0" y="1239734"/>
                </a:lnTo>
                <a:lnTo>
                  <a:pt x="804152" y="402076"/>
                </a:lnTo>
                <a:lnTo>
                  <a:pt x="2255123" y="40207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grpSp>
        <p:nvGrpSpPr>
          <p:cNvPr id="16" name="Group 15"/>
          <p:cNvGrpSpPr/>
          <p:nvPr/>
        </p:nvGrpSpPr>
        <p:grpSpPr>
          <a:xfrm>
            <a:off x="1217186" y="2715609"/>
            <a:ext cx="1538707" cy="533154"/>
            <a:chOff x="1217186" y="2715609"/>
            <a:chExt cx="1538707" cy="533154"/>
          </a:xfrm>
        </p:grpSpPr>
        <p:sp>
          <p:nvSpPr>
            <p:cNvPr id="41" name="TextBox 40"/>
            <p:cNvSpPr txBox="1"/>
            <p:nvPr/>
          </p:nvSpPr>
          <p:spPr>
            <a:xfrm>
              <a:off x="1217219" y="2715609"/>
              <a:ext cx="15386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 onlin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217186" y="2923866"/>
              <a:ext cx="1538707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4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587500" y="1637208"/>
            <a:ext cx="1538707" cy="533154"/>
            <a:chOff x="1587500" y="1637208"/>
            <a:chExt cx="1538707" cy="533154"/>
          </a:xfrm>
        </p:grpSpPr>
        <p:sp>
          <p:nvSpPr>
            <p:cNvPr id="45" name="TextBox 44"/>
            <p:cNvSpPr txBox="1"/>
            <p:nvPr/>
          </p:nvSpPr>
          <p:spPr>
            <a:xfrm>
              <a:off x="1587533" y="1637208"/>
              <a:ext cx="15386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íde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587500" y="1845465"/>
              <a:ext cx="1538707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4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016428" y="2125783"/>
            <a:ext cx="1537890" cy="533154"/>
            <a:chOff x="6016428" y="2125783"/>
            <a:chExt cx="1537890" cy="533154"/>
          </a:xfrm>
        </p:grpSpPr>
        <p:sp>
          <p:nvSpPr>
            <p:cNvPr id="48" name="TextBox 47"/>
            <p:cNvSpPr txBox="1"/>
            <p:nvPr/>
          </p:nvSpPr>
          <p:spPr>
            <a:xfrm>
              <a:off x="6016458" y="2125783"/>
              <a:ext cx="15378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end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016428" y="2334040"/>
              <a:ext cx="1537890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382677" y="3140313"/>
            <a:ext cx="1537890" cy="533154"/>
            <a:chOff x="6382677" y="3140313"/>
            <a:chExt cx="1537890" cy="533154"/>
          </a:xfrm>
        </p:grpSpPr>
        <p:sp>
          <p:nvSpPr>
            <p:cNvPr id="51" name="TextBox 50"/>
            <p:cNvSpPr txBox="1"/>
            <p:nvPr/>
          </p:nvSpPr>
          <p:spPr>
            <a:xfrm>
              <a:off x="6382707" y="3140313"/>
              <a:ext cx="153782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ursos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human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382677" y="3348570"/>
              <a:ext cx="1537890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3163292" y="2842049"/>
            <a:ext cx="279786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676525" y="3266753"/>
            <a:ext cx="279786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4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493923" y="1763646"/>
            <a:ext cx="279786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2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5290890" y="2252222"/>
            <a:ext cx="279786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731831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flecha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" name="Bent Arrow 4"/>
          <p:cNvSpPr/>
          <p:nvPr/>
        </p:nvSpPr>
        <p:spPr>
          <a:xfrm>
            <a:off x="4844532" y="3562329"/>
            <a:ext cx="1872556" cy="747941"/>
          </a:xfrm>
          <a:prstGeom prst="bentArrow">
            <a:avLst>
              <a:gd name="adj1" fmla="val 25352"/>
              <a:gd name="adj2" fmla="val 24484"/>
              <a:gd name="adj3" fmla="val 27177"/>
              <a:gd name="adj4" fmla="val 42898"/>
            </a:avLst>
          </a:prstGeom>
          <a:solidFill>
            <a:schemeClr val="accent5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1"/>
              </a:solidFill>
            </a:endParaRPr>
          </a:p>
        </p:txBody>
      </p:sp>
      <p:sp>
        <p:nvSpPr>
          <p:cNvPr id="6" name="Bent Arrow 5"/>
          <p:cNvSpPr/>
          <p:nvPr/>
        </p:nvSpPr>
        <p:spPr>
          <a:xfrm>
            <a:off x="4664549" y="2647608"/>
            <a:ext cx="1417170" cy="1662661"/>
          </a:xfrm>
          <a:prstGeom prst="bentArrow">
            <a:avLst>
              <a:gd name="adj1" fmla="val 12804"/>
              <a:gd name="adj2" fmla="val 13395"/>
              <a:gd name="adj3" fmla="val 13566"/>
              <a:gd name="adj4" fmla="val 22103"/>
            </a:avLst>
          </a:prstGeom>
          <a:solidFill>
            <a:schemeClr val="accent4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1"/>
              </a:solidFill>
            </a:endParaRPr>
          </a:p>
        </p:txBody>
      </p:sp>
      <p:sp>
        <p:nvSpPr>
          <p:cNvPr id="7" name="Up Arrow 6"/>
          <p:cNvSpPr/>
          <p:nvPr/>
        </p:nvSpPr>
        <p:spPr>
          <a:xfrm>
            <a:off x="4374359" y="2082727"/>
            <a:ext cx="387347" cy="2227543"/>
          </a:xfrm>
          <a:prstGeom prst="up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Bent Arrow 7"/>
          <p:cNvSpPr/>
          <p:nvPr/>
        </p:nvSpPr>
        <p:spPr>
          <a:xfrm flipH="1">
            <a:off x="2419350" y="3562328"/>
            <a:ext cx="1872555" cy="747941"/>
          </a:xfrm>
          <a:prstGeom prst="bentArrow">
            <a:avLst>
              <a:gd name="adj1" fmla="val 25352"/>
              <a:gd name="adj2" fmla="val 24484"/>
              <a:gd name="adj3" fmla="val 27177"/>
              <a:gd name="adj4" fmla="val 42898"/>
            </a:avLst>
          </a:prstGeom>
          <a:solidFill>
            <a:schemeClr val="accent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1"/>
              </a:solidFill>
            </a:endParaRPr>
          </a:p>
        </p:txBody>
      </p:sp>
      <p:sp>
        <p:nvSpPr>
          <p:cNvPr id="9" name="Bent Arrow 8"/>
          <p:cNvSpPr/>
          <p:nvPr/>
        </p:nvSpPr>
        <p:spPr>
          <a:xfrm flipH="1">
            <a:off x="3054719" y="2647609"/>
            <a:ext cx="1417170" cy="1662661"/>
          </a:xfrm>
          <a:prstGeom prst="bentArrow">
            <a:avLst>
              <a:gd name="adj1" fmla="val 12804"/>
              <a:gd name="adj2" fmla="val 13395"/>
              <a:gd name="adj3" fmla="val 13566"/>
              <a:gd name="adj4" fmla="val 22103"/>
            </a:avLst>
          </a:prstGeom>
          <a:solidFill>
            <a:srgbClr val="EC00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>
              <a:solidFill>
                <a:schemeClr val="tx1"/>
              </a:solidFill>
            </a:endParaRPr>
          </a:p>
        </p:txBody>
      </p:sp>
      <p:sp>
        <p:nvSpPr>
          <p:cNvPr id="25" name="Freeform 10"/>
          <p:cNvSpPr>
            <a:spLocks/>
          </p:cNvSpPr>
          <p:nvPr/>
        </p:nvSpPr>
        <p:spPr bwMode="auto">
          <a:xfrm>
            <a:off x="3487241" y="4310269"/>
            <a:ext cx="990203" cy="375630"/>
          </a:xfrm>
          <a:custGeom>
            <a:avLst/>
            <a:gdLst>
              <a:gd name="T0" fmla="*/ 1497 w 1497"/>
              <a:gd name="T1" fmla="*/ 0 h 954"/>
              <a:gd name="T2" fmla="*/ 1210 w 1497"/>
              <a:gd name="T3" fmla="*/ 0 h 954"/>
              <a:gd name="T4" fmla="*/ 0 w 1497"/>
              <a:gd name="T5" fmla="*/ 954 h 954"/>
              <a:gd name="T6" fmla="*/ 1094 w 1497"/>
              <a:gd name="T7" fmla="*/ 954 h 954"/>
              <a:gd name="T8" fmla="*/ 1497 w 1497"/>
              <a:gd name="T9" fmla="*/ 0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7" h="954">
                <a:moveTo>
                  <a:pt x="1497" y="0"/>
                </a:moveTo>
                <a:lnTo>
                  <a:pt x="1210" y="0"/>
                </a:lnTo>
                <a:lnTo>
                  <a:pt x="0" y="954"/>
                </a:lnTo>
                <a:lnTo>
                  <a:pt x="1094" y="954"/>
                </a:lnTo>
                <a:lnTo>
                  <a:pt x="1497" y="0"/>
                </a:lnTo>
                <a:close/>
              </a:path>
            </a:pathLst>
          </a:custGeom>
          <a:solidFill>
            <a:srgbClr val="EC0000"/>
          </a:solidFill>
          <a:ln w="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6" name="Freeform 11"/>
          <p:cNvSpPr>
            <a:spLocks/>
          </p:cNvSpPr>
          <p:nvPr/>
        </p:nvSpPr>
        <p:spPr bwMode="auto">
          <a:xfrm>
            <a:off x="2768600" y="4310269"/>
            <a:ext cx="1523339" cy="375630"/>
          </a:xfrm>
          <a:custGeom>
            <a:avLst/>
            <a:gdLst>
              <a:gd name="T0" fmla="*/ 2303 w 2303"/>
              <a:gd name="T1" fmla="*/ 0 h 954"/>
              <a:gd name="T2" fmla="*/ 2016 w 2303"/>
              <a:gd name="T3" fmla="*/ 0 h 954"/>
              <a:gd name="T4" fmla="*/ 0 w 2303"/>
              <a:gd name="T5" fmla="*/ 954 h 954"/>
              <a:gd name="T6" fmla="*/ 1093 w 2303"/>
              <a:gd name="T7" fmla="*/ 954 h 954"/>
              <a:gd name="T8" fmla="*/ 2303 w 2303"/>
              <a:gd name="T9" fmla="*/ 0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3" h="954">
                <a:moveTo>
                  <a:pt x="2303" y="0"/>
                </a:moveTo>
                <a:lnTo>
                  <a:pt x="2016" y="0"/>
                </a:lnTo>
                <a:lnTo>
                  <a:pt x="0" y="954"/>
                </a:lnTo>
                <a:lnTo>
                  <a:pt x="1093" y="954"/>
                </a:lnTo>
                <a:lnTo>
                  <a:pt x="2303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7" name="Freeform 12"/>
          <p:cNvSpPr>
            <a:spLocks/>
          </p:cNvSpPr>
          <p:nvPr/>
        </p:nvSpPr>
        <p:spPr bwMode="auto">
          <a:xfrm>
            <a:off x="4206544" y="4310269"/>
            <a:ext cx="722974" cy="375630"/>
          </a:xfrm>
          <a:custGeom>
            <a:avLst/>
            <a:gdLst>
              <a:gd name="T0" fmla="*/ 690 w 1093"/>
              <a:gd name="T1" fmla="*/ 0 h 954"/>
              <a:gd name="T2" fmla="*/ 403 w 1093"/>
              <a:gd name="T3" fmla="*/ 0 h 954"/>
              <a:gd name="T4" fmla="*/ 0 w 1093"/>
              <a:gd name="T5" fmla="*/ 954 h 954"/>
              <a:gd name="T6" fmla="*/ 1093 w 1093"/>
              <a:gd name="T7" fmla="*/ 954 h 954"/>
              <a:gd name="T8" fmla="*/ 690 w 1093"/>
              <a:gd name="T9" fmla="*/ 0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93" h="954">
                <a:moveTo>
                  <a:pt x="690" y="0"/>
                </a:moveTo>
                <a:lnTo>
                  <a:pt x="403" y="0"/>
                </a:lnTo>
                <a:lnTo>
                  <a:pt x="0" y="954"/>
                </a:lnTo>
                <a:lnTo>
                  <a:pt x="1093" y="954"/>
                </a:lnTo>
                <a:lnTo>
                  <a:pt x="69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8" name="Freeform 13"/>
          <p:cNvSpPr>
            <a:spLocks/>
          </p:cNvSpPr>
          <p:nvPr/>
        </p:nvSpPr>
        <p:spPr bwMode="auto">
          <a:xfrm>
            <a:off x="4658618" y="4310269"/>
            <a:ext cx="990203" cy="375630"/>
          </a:xfrm>
          <a:custGeom>
            <a:avLst/>
            <a:gdLst>
              <a:gd name="T0" fmla="*/ 287 w 1497"/>
              <a:gd name="T1" fmla="*/ 0 h 954"/>
              <a:gd name="T2" fmla="*/ 0 w 1497"/>
              <a:gd name="T3" fmla="*/ 0 h 954"/>
              <a:gd name="T4" fmla="*/ 403 w 1497"/>
              <a:gd name="T5" fmla="*/ 954 h 954"/>
              <a:gd name="T6" fmla="*/ 1497 w 1497"/>
              <a:gd name="T7" fmla="*/ 954 h 954"/>
              <a:gd name="T8" fmla="*/ 287 w 1497"/>
              <a:gd name="T9" fmla="*/ 0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7" h="954">
                <a:moveTo>
                  <a:pt x="287" y="0"/>
                </a:moveTo>
                <a:lnTo>
                  <a:pt x="0" y="0"/>
                </a:lnTo>
                <a:lnTo>
                  <a:pt x="403" y="954"/>
                </a:lnTo>
                <a:lnTo>
                  <a:pt x="1497" y="954"/>
                </a:lnTo>
                <a:lnTo>
                  <a:pt x="287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reeform 14"/>
          <p:cNvSpPr>
            <a:spLocks/>
          </p:cNvSpPr>
          <p:nvPr/>
        </p:nvSpPr>
        <p:spPr bwMode="auto">
          <a:xfrm>
            <a:off x="4844124" y="4310269"/>
            <a:ext cx="1523339" cy="375630"/>
          </a:xfrm>
          <a:custGeom>
            <a:avLst/>
            <a:gdLst>
              <a:gd name="T0" fmla="*/ 287 w 2303"/>
              <a:gd name="T1" fmla="*/ 0 h 954"/>
              <a:gd name="T2" fmla="*/ 0 w 2303"/>
              <a:gd name="T3" fmla="*/ 0 h 954"/>
              <a:gd name="T4" fmla="*/ 1210 w 2303"/>
              <a:gd name="T5" fmla="*/ 954 h 954"/>
              <a:gd name="T6" fmla="*/ 2303 w 2303"/>
              <a:gd name="T7" fmla="*/ 954 h 954"/>
              <a:gd name="T8" fmla="*/ 287 w 2303"/>
              <a:gd name="T9" fmla="*/ 0 h 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3" h="954">
                <a:moveTo>
                  <a:pt x="287" y="0"/>
                </a:moveTo>
                <a:lnTo>
                  <a:pt x="0" y="0"/>
                </a:lnTo>
                <a:lnTo>
                  <a:pt x="1210" y="954"/>
                </a:lnTo>
                <a:lnTo>
                  <a:pt x="2303" y="954"/>
                </a:lnTo>
                <a:lnTo>
                  <a:pt x="287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5" name="Group 14"/>
          <p:cNvGrpSpPr/>
          <p:nvPr/>
        </p:nvGrpSpPr>
        <p:grpSpPr>
          <a:xfrm>
            <a:off x="2768600" y="4685899"/>
            <a:ext cx="722974" cy="457601"/>
            <a:chOff x="2768600" y="4685899"/>
            <a:chExt cx="722974" cy="457601"/>
          </a:xfrm>
        </p:grpSpPr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2768600" y="4685899"/>
              <a:ext cx="722974" cy="457601"/>
            </a:xfrm>
            <a:prstGeom prst="rect">
              <a:avLst/>
            </a:prstGeom>
            <a:solidFill>
              <a:schemeClr val="accent1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910304" y="4825518"/>
              <a:ext cx="439565" cy="1989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1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487241" y="4685899"/>
            <a:ext cx="723635" cy="457601"/>
            <a:chOff x="3487241" y="4685899"/>
            <a:chExt cx="723635" cy="457601"/>
          </a:xfrm>
          <a:solidFill>
            <a:srgbClr val="EC0000"/>
          </a:solidFill>
        </p:grpSpPr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3487241" y="4685899"/>
              <a:ext cx="723635" cy="457601"/>
            </a:xfrm>
            <a:prstGeom prst="rect">
              <a:avLst/>
            </a:prstGeom>
            <a:grpFill/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629276" y="4825518"/>
              <a:ext cx="439565" cy="22159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2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206544" y="4685899"/>
            <a:ext cx="722974" cy="457601"/>
            <a:chOff x="4206544" y="4685899"/>
            <a:chExt cx="722974" cy="457601"/>
          </a:xfrm>
        </p:grpSpPr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4206544" y="4685899"/>
              <a:ext cx="722974" cy="457601"/>
            </a:xfrm>
            <a:prstGeom prst="rect">
              <a:avLst/>
            </a:prstGeom>
            <a:solidFill>
              <a:schemeClr val="accent3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348249" y="4825518"/>
              <a:ext cx="439565" cy="2215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3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925186" y="4685899"/>
            <a:ext cx="723635" cy="457601"/>
            <a:chOff x="4925186" y="4685899"/>
            <a:chExt cx="723635" cy="457601"/>
          </a:xfrm>
        </p:grpSpPr>
        <p:sp>
          <p:nvSpPr>
            <p:cNvPr id="23" name="Rectangle 8"/>
            <p:cNvSpPr>
              <a:spLocks noChangeArrowheads="1"/>
            </p:cNvSpPr>
            <p:nvPr/>
          </p:nvSpPr>
          <p:spPr bwMode="auto">
            <a:xfrm>
              <a:off x="4925186" y="4685899"/>
              <a:ext cx="723635" cy="457601"/>
            </a:xfrm>
            <a:prstGeom prst="rect">
              <a:avLst/>
            </a:prstGeom>
            <a:solidFill>
              <a:schemeClr val="accent4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067221" y="4825518"/>
              <a:ext cx="439565" cy="2215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4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5644489" y="4685899"/>
            <a:ext cx="722974" cy="457601"/>
            <a:chOff x="5644489" y="4685899"/>
            <a:chExt cx="722974" cy="457601"/>
          </a:xfrm>
        </p:grpSpPr>
        <p:sp>
          <p:nvSpPr>
            <p:cNvPr id="24" name="Rectangle 9"/>
            <p:cNvSpPr>
              <a:spLocks noChangeArrowheads="1"/>
            </p:cNvSpPr>
            <p:nvPr/>
          </p:nvSpPr>
          <p:spPr bwMode="auto">
            <a:xfrm>
              <a:off x="5644489" y="4685899"/>
              <a:ext cx="722974" cy="457601"/>
            </a:xfrm>
            <a:prstGeom prst="rect">
              <a:avLst/>
            </a:prstGeom>
            <a:solidFill>
              <a:schemeClr val="accent5"/>
            </a:solidFill>
            <a:ln w="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786193" y="4825518"/>
              <a:ext cx="439565" cy="1989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5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324208" y="2590599"/>
            <a:ext cx="1436758" cy="498846"/>
            <a:chOff x="1324208" y="2590599"/>
            <a:chExt cx="1436758" cy="498846"/>
          </a:xfrm>
        </p:grpSpPr>
        <p:sp>
          <p:nvSpPr>
            <p:cNvPr id="36" name="TextBox 35"/>
            <p:cNvSpPr txBox="1"/>
            <p:nvPr/>
          </p:nvSpPr>
          <p:spPr>
            <a:xfrm>
              <a:off x="1324237" y="2590599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MBI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324208" y="2786157"/>
              <a:ext cx="1436758" cy="3032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4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86219" y="3508867"/>
            <a:ext cx="1436758" cy="498846"/>
            <a:chOff x="686219" y="3508867"/>
            <a:chExt cx="1436758" cy="498846"/>
          </a:xfrm>
        </p:grpSpPr>
        <p:sp>
          <p:nvSpPr>
            <p:cNvPr id="39" name="TextBox 38"/>
            <p:cNvSpPr txBox="1"/>
            <p:nvPr/>
          </p:nvSpPr>
          <p:spPr>
            <a:xfrm>
              <a:off x="686248" y="350886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SUPORT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86219" y="3704425"/>
              <a:ext cx="1436758" cy="3032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4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854313" y="1385483"/>
            <a:ext cx="1436758" cy="498846"/>
            <a:chOff x="3854313" y="1385483"/>
            <a:chExt cx="1436758" cy="498846"/>
          </a:xfrm>
        </p:grpSpPr>
        <p:sp>
          <p:nvSpPr>
            <p:cNvPr id="43" name="TextBox 42"/>
            <p:cNvSpPr txBox="1"/>
            <p:nvPr/>
          </p:nvSpPr>
          <p:spPr>
            <a:xfrm>
              <a:off x="3854342" y="1385483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NTEGRIDAD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854313" y="1581041"/>
              <a:ext cx="1436758" cy="3032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382330" y="2590599"/>
            <a:ext cx="1436758" cy="500065"/>
            <a:chOff x="6382330" y="2590599"/>
            <a:chExt cx="1436758" cy="500065"/>
          </a:xfrm>
        </p:grpSpPr>
        <p:sp>
          <p:nvSpPr>
            <p:cNvPr id="46" name="TextBox 45"/>
            <p:cNvSpPr txBox="1"/>
            <p:nvPr/>
          </p:nvSpPr>
          <p:spPr>
            <a:xfrm>
              <a:off x="6382359" y="2590599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PRIEDADE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382330" y="2786157"/>
              <a:ext cx="1436758" cy="3045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003295" y="3508867"/>
            <a:ext cx="1436758" cy="500065"/>
            <a:chOff x="7003295" y="3508867"/>
            <a:chExt cx="1436758" cy="500065"/>
          </a:xfrm>
        </p:grpSpPr>
        <p:sp>
          <p:nvSpPr>
            <p:cNvPr id="49" name="TextBox 48"/>
            <p:cNvSpPr txBox="1"/>
            <p:nvPr/>
          </p:nvSpPr>
          <p:spPr>
            <a:xfrm>
              <a:off x="7003324" y="350886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RESPEI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003295" y="3704425"/>
              <a:ext cx="1436758" cy="3045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0042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OSSO </a:t>
            </a:r>
            <a:r>
              <a:rPr lang="en-US" dirty="0">
                <a:solidFill>
                  <a:srgbClr val="EC0000"/>
                </a:solidFill>
              </a:rPr>
              <a:t>PROCESSO DE NEGÓCI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75" name="Freeform 5"/>
          <p:cNvSpPr>
            <a:spLocks/>
          </p:cNvSpPr>
          <p:nvPr/>
        </p:nvSpPr>
        <p:spPr bwMode="auto">
          <a:xfrm>
            <a:off x="593725" y="1362953"/>
            <a:ext cx="554038" cy="762182"/>
          </a:xfrm>
          <a:custGeom>
            <a:avLst/>
            <a:gdLst>
              <a:gd name="T0" fmla="*/ 0 w 354"/>
              <a:gd name="T1" fmla="*/ 319 h 392"/>
              <a:gd name="T2" fmla="*/ 354 w 354"/>
              <a:gd name="T3" fmla="*/ 392 h 392"/>
              <a:gd name="T4" fmla="*/ 354 w 354"/>
              <a:gd name="T5" fmla="*/ 120 h 392"/>
              <a:gd name="T6" fmla="*/ 0 w 354"/>
              <a:gd name="T7" fmla="*/ 0 h 392"/>
              <a:gd name="T8" fmla="*/ 0 w 354"/>
              <a:gd name="T9" fmla="*/ 319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4" h="392">
                <a:moveTo>
                  <a:pt x="0" y="319"/>
                </a:moveTo>
                <a:lnTo>
                  <a:pt x="354" y="392"/>
                </a:lnTo>
                <a:lnTo>
                  <a:pt x="354" y="120"/>
                </a:lnTo>
                <a:lnTo>
                  <a:pt x="0" y="0"/>
                </a:lnTo>
                <a:lnTo>
                  <a:pt x="0" y="319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6" name="Freeform 6"/>
          <p:cNvSpPr>
            <a:spLocks/>
          </p:cNvSpPr>
          <p:nvPr/>
        </p:nvSpPr>
        <p:spPr bwMode="auto">
          <a:xfrm>
            <a:off x="593725" y="1982469"/>
            <a:ext cx="554038" cy="671304"/>
          </a:xfrm>
          <a:custGeom>
            <a:avLst/>
            <a:gdLst>
              <a:gd name="T0" fmla="*/ 0 w 354"/>
              <a:gd name="T1" fmla="*/ 320 h 344"/>
              <a:gd name="T2" fmla="*/ 354 w 354"/>
              <a:gd name="T3" fmla="*/ 344 h 344"/>
              <a:gd name="T4" fmla="*/ 354 w 354"/>
              <a:gd name="T5" fmla="*/ 73 h 344"/>
              <a:gd name="T6" fmla="*/ 0 w 354"/>
              <a:gd name="T7" fmla="*/ 0 h 344"/>
              <a:gd name="T8" fmla="*/ 0 w 354"/>
              <a:gd name="T9" fmla="*/ 320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4" h="344">
                <a:moveTo>
                  <a:pt x="0" y="320"/>
                </a:moveTo>
                <a:lnTo>
                  <a:pt x="354" y="344"/>
                </a:lnTo>
                <a:lnTo>
                  <a:pt x="354" y="73"/>
                </a:lnTo>
                <a:lnTo>
                  <a:pt x="0" y="0"/>
                </a:lnTo>
                <a:lnTo>
                  <a:pt x="0" y="320"/>
                </a:lnTo>
                <a:close/>
              </a:path>
            </a:pathLst>
          </a:custGeom>
          <a:solidFill>
            <a:srgbClr val="EC0000"/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7" name="Freeform 7"/>
          <p:cNvSpPr>
            <a:spLocks/>
          </p:cNvSpPr>
          <p:nvPr/>
        </p:nvSpPr>
        <p:spPr bwMode="auto">
          <a:xfrm>
            <a:off x="593725" y="2603927"/>
            <a:ext cx="554038" cy="621345"/>
          </a:xfrm>
          <a:custGeom>
            <a:avLst/>
            <a:gdLst>
              <a:gd name="T0" fmla="*/ 0 w 354"/>
              <a:gd name="T1" fmla="*/ 319 h 319"/>
              <a:gd name="T2" fmla="*/ 354 w 354"/>
              <a:gd name="T3" fmla="*/ 295 h 319"/>
              <a:gd name="T4" fmla="*/ 354 w 354"/>
              <a:gd name="T5" fmla="*/ 24 h 319"/>
              <a:gd name="T6" fmla="*/ 0 w 354"/>
              <a:gd name="T7" fmla="*/ 0 h 319"/>
              <a:gd name="T8" fmla="*/ 0 w 354"/>
              <a:gd name="T9" fmla="*/ 319 h 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4" h="319">
                <a:moveTo>
                  <a:pt x="0" y="319"/>
                </a:moveTo>
                <a:lnTo>
                  <a:pt x="354" y="295"/>
                </a:lnTo>
                <a:lnTo>
                  <a:pt x="354" y="24"/>
                </a:lnTo>
                <a:lnTo>
                  <a:pt x="0" y="0"/>
                </a:lnTo>
                <a:lnTo>
                  <a:pt x="0" y="319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8" name="Freeform 8"/>
          <p:cNvSpPr>
            <a:spLocks/>
          </p:cNvSpPr>
          <p:nvPr/>
        </p:nvSpPr>
        <p:spPr bwMode="auto">
          <a:xfrm>
            <a:off x="593725" y="3176836"/>
            <a:ext cx="554038" cy="669149"/>
          </a:xfrm>
          <a:custGeom>
            <a:avLst/>
            <a:gdLst>
              <a:gd name="T0" fmla="*/ 0 w 354"/>
              <a:gd name="T1" fmla="*/ 343 h 343"/>
              <a:gd name="T2" fmla="*/ 354 w 354"/>
              <a:gd name="T3" fmla="*/ 271 h 343"/>
              <a:gd name="T4" fmla="*/ 354 w 354"/>
              <a:gd name="T5" fmla="*/ 0 h 343"/>
              <a:gd name="T6" fmla="*/ 0 w 354"/>
              <a:gd name="T7" fmla="*/ 24 h 343"/>
              <a:gd name="T8" fmla="*/ 0 w 354"/>
              <a:gd name="T9" fmla="*/ 343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4" h="343">
                <a:moveTo>
                  <a:pt x="0" y="343"/>
                </a:moveTo>
                <a:lnTo>
                  <a:pt x="354" y="271"/>
                </a:lnTo>
                <a:lnTo>
                  <a:pt x="354" y="0"/>
                </a:lnTo>
                <a:lnTo>
                  <a:pt x="0" y="24"/>
                </a:lnTo>
                <a:lnTo>
                  <a:pt x="0" y="343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9" name="Freeform 9"/>
          <p:cNvSpPr>
            <a:spLocks/>
          </p:cNvSpPr>
          <p:nvPr/>
        </p:nvSpPr>
        <p:spPr bwMode="auto">
          <a:xfrm>
            <a:off x="593725" y="3703134"/>
            <a:ext cx="554038" cy="761287"/>
          </a:xfrm>
          <a:custGeom>
            <a:avLst/>
            <a:gdLst>
              <a:gd name="T0" fmla="*/ 0 w 354"/>
              <a:gd name="T1" fmla="*/ 392 h 392"/>
              <a:gd name="T2" fmla="*/ 354 w 354"/>
              <a:gd name="T3" fmla="*/ 271 h 392"/>
              <a:gd name="T4" fmla="*/ 354 w 354"/>
              <a:gd name="T5" fmla="*/ 0 h 392"/>
              <a:gd name="T6" fmla="*/ 0 w 354"/>
              <a:gd name="T7" fmla="*/ 72 h 392"/>
              <a:gd name="T8" fmla="*/ 0 w 354"/>
              <a:gd name="T9" fmla="*/ 392 h 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4" h="392">
                <a:moveTo>
                  <a:pt x="0" y="392"/>
                </a:moveTo>
                <a:lnTo>
                  <a:pt x="354" y="271"/>
                </a:lnTo>
                <a:lnTo>
                  <a:pt x="354" y="0"/>
                </a:lnTo>
                <a:lnTo>
                  <a:pt x="0" y="72"/>
                </a:lnTo>
                <a:lnTo>
                  <a:pt x="0" y="39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15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-1" y="1362952"/>
            <a:ext cx="593726" cy="624338"/>
            <a:chOff x="-1" y="1362952"/>
            <a:chExt cx="593726" cy="624338"/>
          </a:xfrm>
        </p:grpSpPr>
        <p:sp>
          <p:nvSpPr>
            <p:cNvPr id="80" name="Rectangle 5"/>
            <p:cNvSpPr>
              <a:spLocks noChangeArrowheads="1"/>
            </p:cNvSpPr>
            <p:nvPr/>
          </p:nvSpPr>
          <p:spPr bwMode="auto">
            <a:xfrm>
              <a:off x="-1" y="1362952"/>
              <a:ext cx="593726" cy="624338"/>
            </a:xfrm>
            <a:prstGeom prst="rect">
              <a:avLst/>
            </a:prstGeom>
            <a:solidFill>
              <a:schemeClr val="accent1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132778" y="1567399"/>
              <a:ext cx="32816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-1" y="1982235"/>
            <a:ext cx="593726" cy="624970"/>
            <a:chOff x="-1" y="1982235"/>
            <a:chExt cx="593726" cy="624970"/>
          </a:xfrm>
          <a:solidFill>
            <a:srgbClr val="EC0000"/>
          </a:solidFill>
        </p:grpSpPr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-1" y="1982235"/>
              <a:ext cx="593726" cy="624970"/>
            </a:xfrm>
            <a:prstGeom prst="rect">
              <a:avLst/>
            </a:prstGeom>
            <a:grpFill/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132778" y="2186998"/>
              <a:ext cx="328166" cy="215444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-1" y="2602150"/>
            <a:ext cx="593726" cy="623706"/>
            <a:chOff x="-1" y="2602150"/>
            <a:chExt cx="593726" cy="623706"/>
          </a:xfrm>
        </p:grpSpPr>
        <p:sp>
          <p:nvSpPr>
            <p:cNvPr id="82" name="Rectangle 7"/>
            <p:cNvSpPr>
              <a:spLocks noChangeArrowheads="1"/>
            </p:cNvSpPr>
            <p:nvPr/>
          </p:nvSpPr>
          <p:spPr bwMode="auto">
            <a:xfrm>
              <a:off x="-1" y="2602150"/>
              <a:ext cx="593726" cy="623706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32778" y="2806281"/>
              <a:ext cx="32816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-1" y="3220801"/>
            <a:ext cx="593726" cy="623706"/>
            <a:chOff x="-1" y="3220801"/>
            <a:chExt cx="593726" cy="623706"/>
          </a:xfrm>
        </p:grpSpPr>
        <p:sp>
          <p:nvSpPr>
            <p:cNvPr id="83" name="Rectangle 8"/>
            <p:cNvSpPr>
              <a:spLocks noChangeArrowheads="1"/>
            </p:cNvSpPr>
            <p:nvPr/>
          </p:nvSpPr>
          <p:spPr bwMode="auto">
            <a:xfrm>
              <a:off x="-1" y="3220801"/>
              <a:ext cx="593726" cy="623706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32778" y="3424932"/>
              <a:ext cx="32816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4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-1" y="3839451"/>
            <a:ext cx="593726" cy="624970"/>
            <a:chOff x="-1" y="3839451"/>
            <a:chExt cx="593726" cy="624970"/>
          </a:xfrm>
        </p:grpSpPr>
        <p:sp>
          <p:nvSpPr>
            <p:cNvPr id="84" name="Rectangle 9"/>
            <p:cNvSpPr>
              <a:spLocks noChangeArrowheads="1"/>
            </p:cNvSpPr>
            <p:nvPr/>
          </p:nvSpPr>
          <p:spPr bwMode="auto">
            <a:xfrm>
              <a:off x="-1" y="3839451"/>
              <a:ext cx="593726" cy="624970"/>
            </a:xfrm>
            <a:prstGeom prst="rect">
              <a:avLst/>
            </a:prstGeom>
            <a:solidFill>
              <a:schemeClr val="accent5"/>
            </a:solidFill>
            <a:ln w="1270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132778" y="4044214"/>
              <a:ext cx="32816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5</a:t>
              </a:r>
            </a:p>
          </p:txBody>
        </p:sp>
      </p:grpSp>
      <p:sp>
        <p:nvSpPr>
          <p:cNvPr id="90" name="Right Arrow 89"/>
          <p:cNvSpPr/>
          <p:nvPr/>
        </p:nvSpPr>
        <p:spPr>
          <a:xfrm>
            <a:off x="1147763" y="3582910"/>
            <a:ext cx="5120458" cy="768817"/>
          </a:xfrm>
          <a:prstGeom prst="rightArrow">
            <a:avLst>
              <a:gd name="adj1" fmla="val 68794"/>
              <a:gd name="adj2" fmla="val 4118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ight Arrow 90"/>
          <p:cNvSpPr/>
          <p:nvPr/>
        </p:nvSpPr>
        <p:spPr>
          <a:xfrm>
            <a:off x="1147762" y="3055576"/>
            <a:ext cx="4544777" cy="768817"/>
          </a:xfrm>
          <a:prstGeom prst="rightArrow">
            <a:avLst>
              <a:gd name="adj1" fmla="val 68794"/>
              <a:gd name="adj2" fmla="val 4118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ight Arrow 91"/>
          <p:cNvSpPr/>
          <p:nvPr/>
        </p:nvSpPr>
        <p:spPr>
          <a:xfrm>
            <a:off x="1147762" y="2529278"/>
            <a:ext cx="3970993" cy="768817"/>
          </a:xfrm>
          <a:prstGeom prst="rightArrow">
            <a:avLst>
              <a:gd name="adj1" fmla="val 68794"/>
              <a:gd name="adj2" fmla="val 4118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Right Arrow 92"/>
          <p:cNvSpPr/>
          <p:nvPr/>
        </p:nvSpPr>
        <p:spPr>
          <a:xfrm>
            <a:off x="1147762" y="2001944"/>
            <a:ext cx="3396577" cy="768817"/>
          </a:xfrm>
          <a:prstGeom prst="rightArrow">
            <a:avLst>
              <a:gd name="adj1" fmla="val 68794"/>
              <a:gd name="adj2" fmla="val 41180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Right Arrow 93"/>
          <p:cNvSpPr/>
          <p:nvPr/>
        </p:nvSpPr>
        <p:spPr>
          <a:xfrm>
            <a:off x="1147763" y="1475646"/>
            <a:ext cx="2822794" cy="768817"/>
          </a:xfrm>
          <a:prstGeom prst="rightArrow">
            <a:avLst>
              <a:gd name="adj1" fmla="val 68794"/>
              <a:gd name="adj2" fmla="val 4118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TextBox 94"/>
          <p:cNvSpPr txBox="1"/>
          <p:nvPr/>
        </p:nvSpPr>
        <p:spPr>
          <a:xfrm>
            <a:off x="1852828" y="2232107"/>
            <a:ext cx="1653199" cy="2641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Maecenas ferment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itae.</a:t>
            </a:r>
            <a:endParaRPr lang="en-US" sz="700" spc="19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852828" y="1705809"/>
            <a:ext cx="1393257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Maecenas ferment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itae.</a:t>
            </a:r>
            <a:endParaRPr lang="en-US" sz="700" spc="19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852828" y="2759441"/>
            <a:ext cx="2272556" cy="2641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Maecenas ferment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itae.</a:t>
            </a:r>
            <a:endParaRPr lang="en-US" sz="700" spc="19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852828" y="3285739"/>
            <a:ext cx="2783731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Maecenas ferment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itae nisi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e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gue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  <a:endParaRPr lang="en-US" sz="700" spc="19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1852828" y="3813073"/>
            <a:ext cx="3218086" cy="26539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ul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Maecenas ferment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itae nisi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e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gue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aesent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ctor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nte vitae ipsum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u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iverr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agna </a:t>
            </a:r>
            <a:r>
              <a:rPr lang="en-US" sz="700" dirty="0" err="1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r>
              <a:rPr lang="en-US" sz="70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  <a:endParaRPr lang="en-US" sz="700" spc="19" dirty="0">
              <a:solidFill>
                <a:schemeClr val="bg1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0" name="Freeform 26"/>
          <p:cNvSpPr>
            <a:spLocks noEditPoints="1"/>
          </p:cNvSpPr>
          <p:nvPr/>
        </p:nvSpPr>
        <p:spPr bwMode="auto">
          <a:xfrm>
            <a:off x="1321161" y="1710376"/>
            <a:ext cx="338412" cy="299356"/>
          </a:xfrm>
          <a:custGeom>
            <a:avLst/>
            <a:gdLst>
              <a:gd name="T0" fmla="*/ 268 w 2330"/>
              <a:gd name="T1" fmla="*/ 137 h 2061"/>
              <a:gd name="T2" fmla="*/ 311 w 2330"/>
              <a:gd name="T3" fmla="*/ 740 h 2061"/>
              <a:gd name="T4" fmla="*/ 2193 w 2330"/>
              <a:gd name="T5" fmla="*/ 42 h 2061"/>
              <a:gd name="T6" fmla="*/ 2193 w 2330"/>
              <a:gd name="T7" fmla="*/ 1640 h 2061"/>
              <a:gd name="T8" fmla="*/ 892 w 2330"/>
              <a:gd name="T9" fmla="*/ 1682 h 2061"/>
              <a:gd name="T10" fmla="*/ 984 w 2330"/>
              <a:gd name="T11" fmla="*/ 1892 h 2061"/>
              <a:gd name="T12" fmla="*/ 1615 w 2330"/>
              <a:gd name="T13" fmla="*/ 2061 h 2061"/>
              <a:gd name="T14" fmla="*/ 1565 w 2330"/>
              <a:gd name="T15" fmla="*/ 1892 h 2061"/>
              <a:gd name="T16" fmla="*/ 2330 w 2330"/>
              <a:gd name="T17" fmla="*/ 1546 h 2061"/>
              <a:gd name="T18" fmla="*/ 1656 w 2330"/>
              <a:gd name="T19" fmla="*/ 1977 h 2061"/>
              <a:gd name="T20" fmla="*/ 942 w 2330"/>
              <a:gd name="T21" fmla="*/ 1977 h 2061"/>
              <a:gd name="T22" fmla="*/ 1656 w 2330"/>
              <a:gd name="T23" fmla="*/ 1977 h 2061"/>
              <a:gd name="T24" fmla="*/ 1186 w 2330"/>
              <a:gd name="T25" fmla="*/ 1682 h 2061"/>
              <a:gd name="T26" fmla="*/ 2182 w 2330"/>
              <a:gd name="T27" fmla="*/ 1430 h 2061"/>
              <a:gd name="T28" fmla="*/ 1047 w 2330"/>
              <a:gd name="T29" fmla="*/ 1388 h 2061"/>
              <a:gd name="T30" fmla="*/ 437 w 2330"/>
              <a:gd name="T31" fmla="*/ 168 h 2061"/>
              <a:gd name="T32" fmla="*/ 395 w 2330"/>
              <a:gd name="T33" fmla="*/ 572 h 2061"/>
              <a:gd name="T34" fmla="*/ 2182 w 2330"/>
              <a:gd name="T35" fmla="*/ 126 h 2061"/>
              <a:gd name="T36" fmla="*/ 2182 w 2330"/>
              <a:gd name="T37" fmla="*/ 1430 h 2061"/>
              <a:gd name="T38" fmla="*/ 1374 w 2330"/>
              <a:gd name="T39" fmla="*/ 1535 h 2061"/>
              <a:gd name="T40" fmla="*/ 1332 w 2330"/>
              <a:gd name="T41" fmla="*/ 1535 h 2061"/>
              <a:gd name="T42" fmla="*/ 1299 w 2330"/>
              <a:gd name="T43" fmla="*/ 1502 h 2061"/>
              <a:gd name="T44" fmla="*/ 1205 w 2330"/>
              <a:gd name="T45" fmla="*/ 1083 h 2061"/>
              <a:gd name="T46" fmla="*/ 700 w 2330"/>
              <a:gd name="T47" fmla="*/ 578 h 2061"/>
              <a:gd name="T48" fmla="*/ 729 w 2330"/>
              <a:gd name="T49" fmla="*/ 608 h 2061"/>
              <a:gd name="T50" fmla="*/ 1175 w 2330"/>
              <a:gd name="T51" fmla="*/ 1053 h 2061"/>
              <a:gd name="T52" fmla="*/ 952 w 2330"/>
              <a:gd name="T53" fmla="*/ 1271 h 2061"/>
              <a:gd name="T54" fmla="*/ 640 w 2330"/>
              <a:gd name="T55" fmla="*/ 518 h 2061"/>
              <a:gd name="T56" fmla="*/ 505 w 2330"/>
              <a:gd name="T57" fmla="*/ 1060 h 2061"/>
              <a:gd name="T58" fmla="*/ 506 w 2330"/>
              <a:gd name="T59" fmla="*/ 1127 h 2061"/>
              <a:gd name="T60" fmla="*/ 48 w 2330"/>
              <a:gd name="T61" fmla="*/ 1747 h 2061"/>
              <a:gd name="T62" fmla="*/ 655 w 2330"/>
              <a:gd name="T63" fmla="*/ 1276 h 2061"/>
              <a:gd name="T64" fmla="*/ 722 w 2330"/>
              <a:gd name="T65" fmla="*/ 1276 h 2061"/>
              <a:gd name="T66" fmla="*/ 952 w 2330"/>
              <a:gd name="T67" fmla="*/ 1271 h 2061"/>
              <a:gd name="T68" fmla="*/ 1234 w 2330"/>
              <a:gd name="T69" fmla="*/ 548 h 2061"/>
              <a:gd name="T70" fmla="*/ 772 w 2330"/>
              <a:gd name="T71" fmla="*/ 1186 h 2061"/>
              <a:gd name="T72" fmla="*/ 596 w 2330"/>
              <a:gd name="T73" fmla="*/ 1009 h 2061"/>
              <a:gd name="T74" fmla="*/ 157 w 2330"/>
              <a:gd name="T75" fmla="*/ 1717 h 2061"/>
              <a:gd name="T76" fmla="*/ 68 w 2330"/>
              <a:gd name="T77" fmla="*/ 1628 h 2061"/>
              <a:gd name="T78" fmla="*/ 157 w 2330"/>
              <a:gd name="T79" fmla="*/ 1717 h 2061"/>
              <a:gd name="T80" fmla="*/ 685 w 2330"/>
              <a:gd name="T81" fmla="*/ 1246 h 2061"/>
              <a:gd name="T82" fmla="*/ 536 w 2330"/>
              <a:gd name="T83" fmla="*/ 1097 h 2061"/>
              <a:gd name="T84" fmla="*/ 572 w 2330"/>
              <a:gd name="T85" fmla="*/ 1053 h 2061"/>
              <a:gd name="T86" fmla="*/ 607 w 2330"/>
              <a:gd name="T87" fmla="*/ 1104 h 2061"/>
              <a:gd name="T88" fmla="*/ 686 w 2330"/>
              <a:gd name="T89" fmla="*/ 1182 h 2061"/>
              <a:gd name="T90" fmla="*/ 692 w 2330"/>
              <a:gd name="T91" fmla="*/ 1246 h 2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330" h="2061">
                <a:moveTo>
                  <a:pt x="2193" y="0"/>
                </a:moveTo>
                <a:cubicBezTo>
                  <a:pt x="405" y="0"/>
                  <a:pt x="405" y="0"/>
                  <a:pt x="405" y="0"/>
                </a:cubicBezTo>
                <a:cubicBezTo>
                  <a:pt x="330" y="0"/>
                  <a:pt x="268" y="61"/>
                  <a:pt x="268" y="137"/>
                </a:cubicBezTo>
                <a:cubicBezTo>
                  <a:pt x="268" y="740"/>
                  <a:pt x="268" y="740"/>
                  <a:pt x="268" y="740"/>
                </a:cubicBezTo>
                <a:cubicBezTo>
                  <a:pt x="268" y="752"/>
                  <a:pt x="278" y="762"/>
                  <a:pt x="290" y="762"/>
                </a:cubicBezTo>
                <a:cubicBezTo>
                  <a:pt x="301" y="762"/>
                  <a:pt x="311" y="752"/>
                  <a:pt x="311" y="740"/>
                </a:cubicBezTo>
                <a:cubicBezTo>
                  <a:pt x="311" y="137"/>
                  <a:pt x="311" y="137"/>
                  <a:pt x="311" y="137"/>
                </a:cubicBezTo>
                <a:cubicBezTo>
                  <a:pt x="311" y="84"/>
                  <a:pt x="353" y="42"/>
                  <a:pt x="405" y="42"/>
                </a:cubicBezTo>
                <a:cubicBezTo>
                  <a:pt x="2193" y="42"/>
                  <a:pt x="2193" y="42"/>
                  <a:pt x="2193" y="42"/>
                </a:cubicBezTo>
                <a:cubicBezTo>
                  <a:pt x="2245" y="42"/>
                  <a:pt x="2287" y="84"/>
                  <a:pt x="2287" y="137"/>
                </a:cubicBezTo>
                <a:cubicBezTo>
                  <a:pt x="2287" y="1546"/>
                  <a:pt x="2287" y="1546"/>
                  <a:pt x="2287" y="1546"/>
                </a:cubicBezTo>
                <a:cubicBezTo>
                  <a:pt x="2287" y="1598"/>
                  <a:pt x="2245" y="1640"/>
                  <a:pt x="2193" y="1640"/>
                </a:cubicBezTo>
                <a:cubicBezTo>
                  <a:pt x="892" y="1640"/>
                  <a:pt x="892" y="1640"/>
                  <a:pt x="892" y="1640"/>
                </a:cubicBezTo>
                <a:cubicBezTo>
                  <a:pt x="881" y="1640"/>
                  <a:pt x="871" y="1649"/>
                  <a:pt x="871" y="1661"/>
                </a:cubicBezTo>
                <a:cubicBezTo>
                  <a:pt x="871" y="1673"/>
                  <a:pt x="881" y="1682"/>
                  <a:pt x="892" y="1682"/>
                </a:cubicBezTo>
                <a:cubicBezTo>
                  <a:pt x="1139" y="1682"/>
                  <a:pt x="1139" y="1682"/>
                  <a:pt x="1139" y="1682"/>
                </a:cubicBezTo>
                <a:cubicBezTo>
                  <a:pt x="1034" y="1892"/>
                  <a:pt x="1034" y="1892"/>
                  <a:pt x="1034" y="1892"/>
                </a:cubicBezTo>
                <a:cubicBezTo>
                  <a:pt x="984" y="1892"/>
                  <a:pt x="984" y="1892"/>
                  <a:pt x="984" y="1892"/>
                </a:cubicBezTo>
                <a:cubicBezTo>
                  <a:pt x="937" y="1892"/>
                  <a:pt x="899" y="1930"/>
                  <a:pt x="899" y="1977"/>
                </a:cubicBezTo>
                <a:cubicBezTo>
                  <a:pt x="899" y="2023"/>
                  <a:pt x="937" y="2061"/>
                  <a:pt x="984" y="2061"/>
                </a:cubicBezTo>
                <a:cubicBezTo>
                  <a:pt x="1615" y="2061"/>
                  <a:pt x="1615" y="2061"/>
                  <a:pt x="1615" y="2061"/>
                </a:cubicBezTo>
                <a:cubicBezTo>
                  <a:pt x="1661" y="2061"/>
                  <a:pt x="1699" y="2023"/>
                  <a:pt x="1699" y="1977"/>
                </a:cubicBezTo>
                <a:cubicBezTo>
                  <a:pt x="1699" y="1930"/>
                  <a:pt x="1661" y="1892"/>
                  <a:pt x="1615" y="1892"/>
                </a:cubicBezTo>
                <a:cubicBezTo>
                  <a:pt x="1565" y="1892"/>
                  <a:pt x="1565" y="1892"/>
                  <a:pt x="1565" y="1892"/>
                </a:cubicBezTo>
                <a:cubicBezTo>
                  <a:pt x="1460" y="1682"/>
                  <a:pt x="1460" y="1682"/>
                  <a:pt x="1460" y="1682"/>
                </a:cubicBezTo>
                <a:cubicBezTo>
                  <a:pt x="2193" y="1682"/>
                  <a:pt x="2193" y="1682"/>
                  <a:pt x="2193" y="1682"/>
                </a:cubicBezTo>
                <a:cubicBezTo>
                  <a:pt x="2268" y="1682"/>
                  <a:pt x="2330" y="1621"/>
                  <a:pt x="2330" y="1546"/>
                </a:cubicBezTo>
                <a:cubicBezTo>
                  <a:pt x="2330" y="137"/>
                  <a:pt x="2330" y="137"/>
                  <a:pt x="2330" y="137"/>
                </a:cubicBezTo>
                <a:cubicBezTo>
                  <a:pt x="2330" y="61"/>
                  <a:pt x="2268" y="0"/>
                  <a:pt x="2193" y="0"/>
                </a:cubicBezTo>
                <a:close/>
                <a:moveTo>
                  <a:pt x="1656" y="1977"/>
                </a:moveTo>
                <a:cubicBezTo>
                  <a:pt x="1656" y="2000"/>
                  <a:pt x="1638" y="2018"/>
                  <a:pt x="1615" y="2018"/>
                </a:cubicBezTo>
                <a:cubicBezTo>
                  <a:pt x="984" y="2018"/>
                  <a:pt x="984" y="2018"/>
                  <a:pt x="984" y="2018"/>
                </a:cubicBezTo>
                <a:cubicBezTo>
                  <a:pt x="961" y="2018"/>
                  <a:pt x="942" y="2000"/>
                  <a:pt x="942" y="1977"/>
                </a:cubicBezTo>
                <a:cubicBezTo>
                  <a:pt x="942" y="1954"/>
                  <a:pt x="961" y="1935"/>
                  <a:pt x="984" y="1935"/>
                </a:cubicBezTo>
                <a:cubicBezTo>
                  <a:pt x="1615" y="1935"/>
                  <a:pt x="1615" y="1935"/>
                  <a:pt x="1615" y="1935"/>
                </a:cubicBezTo>
                <a:cubicBezTo>
                  <a:pt x="1638" y="1935"/>
                  <a:pt x="1656" y="1954"/>
                  <a:pt x="1656" y="1977"/>
                </a:cubicBezTo>
                <a:close/>
                <a:moveTo>
                  <a:pt x="1517" y="1892"/>
                </a:moveTo>
                <a:cubicBezTo>
                  <a:pt x="1081" y="1892"/>
                  <a:pt x="1081" y="1892"/>
                  <a:pt x="1081" y="1892"/>
                </a:cubicBezTo>
                <a:cubicBezTo>
                  <a:pt x="1186" y="1682"/>
                  <a:pt x="1186" y="1682"/>
                  <a:pt x="1186" y="1682"/>
                </a:cubicBezTo>
                <a:cubicBezTo>
                  <a:pt x="1412" y="1682"/>
                  <a:pt x="1412" y="1682"/>
                  <a:pt x="1412" y="1682"/>
                </a:cubicBezTo>
                <a:lnTo>
                  <a:pt x="1517" y="1892"/>
                </a:lnTo>
                <a:close/>
                <a:moveTo>
                  <a:pt x="2182" y="1430"/>
                </a:moveTo>
                <a:cubicBezTo>
                  <a:pt x="1047" y="1430"/>
                  <a:pt x="1047" y="1430"/>
                  <a:pt x="1047" y="1430"/>
                </a:cubicBezTo>
                <a:cubicBezTo>
                  <a:pt x="1035" y="1430"/>
                  <a:pt x="1026" y="1421"/>
                  <a:pt x="1026" y="1409"/>
                </a:cubicBezTo>
                <a:cubicBezTo>
                  <a:pt x="1026" y="1397"/>
                  <a:pt x="1035" y="1388"/>
                  <a:pt x="1047" y="1388"/>
                </a:cubicBezTo>
                <a:cubicBezTo>
                  <a:pt x="2161" y="1388"/>
                  <a:pt x="2161" y="1388"/>
                  <a:pt x="2161" y="1388"/>
                </a:cubicBezTo>
                <a:cubicBezTo>
                  <a:pt x="2161" y="168"/>
                  <a:pt x="2161" y="168"/>
                  <a:pt x="2161" y="168"/>
                </a:cubicBezTo>
                <a:cubicBezTo>
                  <a:pt x="437" y="168"/>
                  <a:pt x="437" y="168"/>
                  <a:pt x="437" y="168"/>
                </a:cubicBezTo>
                <a:cubicBezTo>
                  <a:pt x="437" y="572"/>
                  <a:pt x="437" y="572"/>
                  <a:pt x="437" y="572"/>
                </a:cubicBezTo>
                <a:cubicBezTo>
                  <a:pt x="437" y="583"/>
                  <a:pt x="428" y="593"/>
                  <a:pt x="416" y="593"/>
                </a:cubicBezTo>
                <a:cubicBezTo>
                  <a:pt x="404" y="593"/>
                  <a:pt x="395" y="583"/>
                  <a:pt x="395" y="572"/>
                </a:cubicBezTo>
                <a:cubicBezTo>
                  <a:pt x="395" y="147"/>
                  <a:pt x="395" y="147"/>
                  <a:pt x="395" y="147"/>
                </a:cubicBezTo>
                <a:cubicBezTo>
                  <a:pt x="395" y="135"/>
                  <a:pt x="404" y="126"/>
                  <a:pt x="416" y="126"/>
                </a:cubicBezTo>
                <a:cubicBezTo>
                  <a:pt x="2182" y="126"/>
                  <a:pt x="2182" y="126"/>
                  <a:pt x="2182" y="126"/>
                </a:cubicBezTo>
                <a:cubicBezTo>
                  <a:pt x="2194" y="126"/>
                  <a:pt x="2204" y="135"/>
                  <a:pt x="2204" y="147"/>
                </a:cubicBezTo>
                <a:cubicBezTo>
                  <a:pt x="2204" y="1409"/>
                  <a:pt x="2204" y="1409"/>
                  <a:pt x="2204" y="1409"/>
                </a:cubicBezTo>
                <a:cubicBezTo>
                  <a:pt x="2204" y="1421"/>
                  <a:pt x="2194" y="1430"/>
                  <a:pt x="2182" y="1430"/>
                </a:cubicBezTo>
                <a:close/>
                <a:moveTo>
                  <a:pt x="1224" y="1535"/>
                </a:moveTo>
                <a:cubicBezTo>
                  <a:pt x="1224" y="1576"/>
                  <a:pt x="1258" y="1610"/>
                  <a:pt x="1299" y="1610"/>
                </a:cubicBezTo>
                <a:cubicBezTo>
                  <a:pt x="1340" y="1610"/>
                  <a:pt x="1374" y="1576"/>
                  <a:pt x="1374" y="1535"/>
                </a:cubicBezTo>
                <a:cubicBezTo>
                  <a:pt x="1374" y="1494"/>
                  <a:pt x="1340" y="1460"/>
                  <a:pt x="1299" y="1460"/>
                </a:cubicBezTo>
                <a:cubicBezTo>
                  <a:pt x="1258" y="1460"/>
                  <a:pt x="1224" y="1494"/>
                  <a:pt x="1224" y="1535"/>
                </a:cubicBezTo>
                <a:close/>
                <a:moveTo>
                  <a:pt x="1332" y="1535"/>
                </a:moveTo>
                <a:cubicBezTo>
                  <a:pt x="1332" y="1553"/>
                  <a:pt x="1317" y="1568"/>
                  <a:pt x="1299" y="1568"/>
                </a:cubicBezTo>
                <a:cubicBezTo>
                  <a:pt x="1281" y="1568"/>
                  <a:pt x="1266" y="1553"/>
                  <a:pt x="1266" y="1535"/>
                </a:cubicBezTo>
                <a:cubicBezTo>
                  <a:pt x="1266" y="1517"/>
                  <a:pt x="1281" y="1502"/>
                  <a:pt x="1299" y="1502"/>
                </a:cubicBezTo>
                <a:cubicBezTo>
                  <a:pt x="1317" y="1502"/>
                  <a:pt x="1332" y="1517"/>
                  <a:pt x="1332" y="1535"/>
                </a:cubicBezTo>
                <a:close/>
                <a:moveTo>
                  <a:pt x="952" y="1187"/>
                </a:moveTo>
                <a:cubicBezTo>
                  <a:pt x="1043" y="1187"/>
                  <a:pt x="1135" y="1152"/>
                  <a:pt x="1205" y="1083"/>
                </a:cubicBezTo>
                <a:cubicBezTo>
                  <a:pt x="1205" y="1083"/>
                  <a:pt x="1205" y="1083"/>
                  <a:pt x="1205" y="1083"/>
                </a:cubicBezTo>
                <a:cubicBezTo>
                  <a:pt x="1344" y="944"/>
                  <a:pt x="1344" y="717"/>
                  <a:pt x="1205" y="578"/>
                </a:cubicBezTo>
                <a:cubicBezTo>
                  <a:pt x="1065" y="438"/>
                  <a:pt x="839" y="438"/>
                  <a:pt x="700" y="578"/>
                </a:cubicBezTo>
                <a:cubicBezTo>
                  <a:pt x="560" y="717"/>
                  <a:pt x="560" y="944"/>
                  <a:pt x="700" y="1083"/>
                </a:cubicBezTo>
                <a:cubicBezTo>
                  <a:pt x="769" y="1152"/>
                  <a:pt x="861" y="1187"/>
                  <a:pt x="952" y="1187"/>
                </a:cubicBezTo>
                <a:close/>
                <a:moveTo>
                  <a:pt x="729" y="608"/>
                </a:moveTo>
                <a:cubicBezTo>
                  <a:pt x="791" y="546"/>
                  <a:pt x="871" y="516"/>
                  <a:pt x="952" y="516"/>
                </a:cubicBezTo>
                <a:cubicBezTo>
                  <a:pt x="1033" y="516"/>
                  <a:pt x="1113" y="546"/>
                  <a:pt x="1175" y="608"/>
                </a:cubicBezTo>
                <a:cubicBezTo>
                  <a:pt x="1297" y="730"/>
                  <a:pt x="1297" y="930"/>
                  <a:pt x="1175" y="1053"/>
                </a:cubicBezTo>
                <a:cubicBezTo>
                  <a:pt x="1052" y="1175"/>
                  <a:pt x="852" y="1175"/>
                  <a:pt x="730" y="1053"/>
                </a:cubicBezTo>
                <a:cubicBezTo>
                  <a:pt x="607" y="930"/>
                  <a:pt x="607" y="730"/>
                  <a:pt x="729" y="608"/>
                </a:cubicBezTo>
                <a:close/>
                <a:moveTo>
                  <a:pt x="952" y="1271"/>
                </a:moveTo>
                <a:cubicBezTo>
                  <a:pt x="1067" y="1271"/>
                  <a:pt x="1180" y="1227"/>
                  <a:pt x="1264" y="1142"/>
                </a:cubicBezTo>
                <a:cubicBezTo>
                  <a:pt x="1436" y="970"/>
                  <a:pt x="1436" y="690"/>
                  <a:pt x="1264" y="518"/>
                </a:cubicBezTo>
                <a:cubicBezTo>
                  <a:pt x="1092" y="346"/>
                  <a:pt x="812" y="346"/>
                  <a:pt x="640" y="518"/>
                </a:cubicBezTo>
                <a:cubicBezTo>
                  <a:pt x="516" y="643"/>
                  <a:pt x="477" y="829"/>
                  <a:pt x="542" y="992"/>
                </a:cubicBezTo>
                <a:cubicBezTo>
                  <a:pt x="545" y="1000"/>
                  <a:pt x="548" y="1007"/>
                  <a:pt x="551" y="1014"/>
                </a:cubicBezTo>
                <a:cubicBezTo>
                  <a:pt x="505" y="1060"/>
                  <a:pt x="505" y="1060"/>
                  <a:pt x="505" y="1060"/>
                </a:cubicBezTo>
                <a:cubicBezTo>
                  <a:pt x="496" y="1069"/>
                  <a:pt x="491" y="1080"/>
                  <a:pt x="491" y="1093"/>
                </a:cubicBezTo>
                <a:cubicBezTo>
                  <a:pt x="491" y="1105"/>
                  <a:pt x="496" y="1117"/>
                  <a:pt x="505" y="1126"/>
                </a:cubicBezTo>
                <a:cubicBezTo>
                  <a:pt x="506" y="1127"/>
                  <a:pt x="506" y="1127"/>
                  <a:pt x="506" y="1127"/>
                </a:cubicBezTo>
                <a:cubicBezTo>
                  <a:pt x="38" y="1598"/>
                  <a:pt x="38" y="1598"/>
                  <a:pt x="38" y="1598"/>
                </a:cubicBezTo>
                <a:cubicBezTo>
                  <a:pt x="0" y="1636"/>
                  <a:pt x="0" y="1699"/>
                  <a:pt x="38" y="1737"/>
                </a:cubicBezTo>
                <a:cubicBezTo>
                  <a:pt x="48" y="1747"/>
                  <a:pt x="48" y="1747"/>
                  <a:pt x="48" y="1747"/>
                </a:cubicBezTo>
                <a:cubicBezTo>
                  <a:pt x="66" y="1765"/>
                  <a:pt x="91" y="1775"/>
                  <a:pt x="117" y="1775"/>
                </a:cubicBezTo>
                <a:cubicBezTo>
                  <a:pt x="143" y="1775"/>
                  <a:pt x="168" y="1765"/>
                  <a:pt x="187" y="1747"/>
                </a:cubicBezTo>
                <a:cubicBezTo>
                  <a:pt x="655" y="1276"/>
                  <a:pt x="655" y="1276"/>
                  <a:pt x="655" y="1276"/>
                </a:cubicBezTo>
                <a:cubicBezTo>
                  <a:pt x="655" y="1276"/>
                  <a:pt x="655" y="1276"/>
                  <a:pt x="655" y="1276"/>
                </a:cubicBezTo>
                <a:cubicBezTo>
                  <a:pt x="664" y="1285"/>
                  <a:pt x="676" y="1290"/>
                  <a:pt x="689" y="1290"/>
                </a:cubicBezTo>
                <a:cubicBezTo>
                  <a:pt x="701" y="1290"/>
                  <a:pt x="713" y="1285"/>
                  <a:pt x="722" y="1276"/>
                </a:cubicBezTo>
                <a:cubicBezTo>
                  <a:pt x="768" y="1230"/>
                  <a:pt x="768" y="1230"/>
                  <a:pt x="768" y="1230"/>
                </a:cubicBezTo>
                <a:cubicBezTo>
                  <a:pt x="775" y="1234"/>
                  <a:pt x="782" y="1237"/>
                  <a:pt x="790" y="1240"/>
                </a:cubicBezTo>
                <a:cubicBezTo>
                  <a:pt x="843" y="1261"/>
                  <a:pt x="898" y="1271"/>
                  <a:pt x="952" y="1271"/>
                </a:cubicBezTo>
                <a:close/>
                <a:moveTo>
                  <a:pt x="670" y="548"/>
                </a:moveTo>
                <a:cubicBezTo>
                  <a:pt x="748" y="471"/>
                  <a:pt x="850" y="432"/>
                  <a:pt x="952" y="432"/>
                </a:cubicBezTo>
                <a:cubicBezTo>
                  <a:pt x="1054" y="432"/>
                  <a:pt x="1156" y="471"/>
                  <a:pt x="1234" y="548"/>
                </a:cubicBezTo>
                <a:cubicBezTo>
                  <a:pt x="1389" y="704"/>
                  <a:pt x="1389" y="957"/>
                  <a:pt x="1234" y="1112"/>
                </a:cubicBezTo>
                <a:cubicBezTo>
                  <a:pt x="1122" y="1225"/>
                  <a:pt x="953" y="1259"/>
                  <a:pt x="805" y="1201"/>
                </a:cubicBezTo>
                <a:cubicBezTo>
                  <a:pt x="794" y="1197"/>
                  <a:pt x="783" y="1192"/>
                  <a:pt x="772" y="1186"/>
                </a:cubicBezTo>
                <a:cubicBezTo>
                  <a:pt x="735" y="1167"/>
                  <a:pt x="700" y="1142"/>
                  <a:pt x="670" y="1112"/>
                </a:cubicBezTo>
                <a:cubicBezTo>
                  <a:pt x="659" y="1101"/>
                  <a:pt x="649" y="1090"/>
                  <a:pt x="640" y="1078"/>
                </a:cubicBezTo>
                <a:cubicBezTo>
                  <a:pt x="623" y="1056"/>
                  <a:pt x="608" y="1033"/>
                  <a:pt x="596" y="1009"/>
                </a:cubicBezTo>
                <a:cubicBezTo>
                  <a:pt x="591" y="998"/>
                  <a:pt x="586" y="988"/>
                  <a:pt x="581" y="977"/>
                </a:cubicBezTo>
                <a:cubicBezTo>
                  <a:pt x="523" y="829"/>
                  <a:pt x="558" y="661"/>
                  <a:pt x="670" y="548"/>
                </a:cubicBezTo>
                <a:close/>
                <a:moveTo>
                  <a:pt x="157" y="1717"/>
                </a:moveTo>
                <a:cubicBezTo>
                  <a:pt x="135" y="1738"/>
                  <a:pt x="99" y="1738"/>
                  <a:pt x="78" y="1717"/>
                </a:cubicBezTo>
                <a:cubicBezTo>
                  <a:pt x="68" y="1707"/>
                  <a:pt x="68" y="1707"/>
                  <a:pt x="68" y="1707"/>
                </a:cubicBezTo>
                <a:cubicBezTo>
                  <a:pt x="46" y="1685"/>
                  <a:pt x="46" y="1650"/>
                  <a:pt x="68" y="1628"/>
                </a:cubicBezTo>
                <a:cubicBezTo>
                  <a:pt x="536" y="1157"/>
                  <a:pt x="536" y="1157"/>
                  <a:pt x="536" y="1157"/>
                </a:cubicBezTo>
                <a:cubicBezTo>
                  <a:pt x="625" y="1246"/>
                  <a:pt x="625" y="1246"/>
                  <a:pt x="625" y="1246"/>
                </a:cubicBezTo>
                <a:lnTo>
                  <a:pt x="157" y="1717"/>
                </a:lnTo>
                <a:close/>
                <a:moveTo>
                  <a:pt x="692" y="1246"/>
                </a:moveTo>
                <a:cubicBezTo>
                  <a:pt x="690" y="1248"/>
                  <a:pt x="687" y="1248"/>
                  <a:pt x="685" y="1246"/>
                </a:cubicBezTo>
                <a:cubicBezTo>
                  <a:pt x="685" y="1246"/>
                  <a:pt x="685" y="1246"/>
                  <a:pt x="685" y="1246"/>
                </a:cubicBezTo>
                <a:cubicBezTo>
                  <a:pt x="685" y="1246"/>
                  <a:pt x="685" y="1246"/>
                  <a:pt x="685" y="1246"/>
                </a:cubicBezTo>
                <a:cubicBezTo>
                  <a:pt x="536" y="1097"/>
                  <a:pt x="536" y="1097"/>
                  <a:pt x="536" y="1097"/>
                </a:cubicBezTo>
                <a:cubicBezTo>
                  <a:pt x="536" y="1097"/>
                  <a:pt x="536" y="1097"/>
                  <a:pt x="536" y="1097"/>
                </a:cubicBezTo>
                <a:cubicBezTo>
                  <a:pt x="535" y="1096"/>
                  <a:pt x="535" y="1096"/>
                  <a:pt x="535" y="1096"/>
                </a:cubicBezTo>
                <a:cubicBezTo>
                  <a:pt x="534" y="1095"/>
                  <a:pt x="534" y="1091"/>
                  <a:pt x="535" y="1090"/>
                </a:cubicBezTo>
                <a:cubicBezTo>
                  <a:pt x="572" y="1053"/>
                  <a:pt x="572" y="1053"/>
                  <a:pt x="572" y="1053"/>
                </a:cubicBezTo>
                <a:cubicBezTo>
                  <a:pt x="572" y="1054"/>
                  <a:pt x="572" y="1054"/>
                  <a:pt x="573" y="1055"/>
                </a:cubicBezTo>
                <a:cubicBezTo>
                  <a:pt x="581" y="1069"/>
                  <a:pt x="590" y="1083"/>
                  <a:pt x="600" y="1096"/>
                </a:cubicBezTo>
                <a:cubicBezTo>
                  <a:pt x="602" y="1099"/>
                  <a:pt x="605" y="1101"/>
                  <a:pt x="607" y="1104"/>
                </a:cubicBezTo>
                <a:cubicBezTo>
                  <a:pt x="617" y="1117"/>
                  <a:pt x="628" y="1130"/>
                  <a:pt x="640" y="1142"/>
                </a:cubicBezTo>
                <a:cubicBezTo>
                  <a:pt x="652" y="1154"/>
                  <a:pt x="664" y="1165"/>
                  <a:pt x="677" y="1175"/>
                </a:cubicBezTo>
                <a:cubicBezTo>
                  <a:pt x="680" y="1177"/>
                  <a:pt x="683" y="1179"/>
                  <a:pt x="686" y="1182"/>
                </a:cubicBezTo>
                <a:cubicBezTo>
                  <a:pt x="699" y="1191"/>
                  <a:pt x="712" y="1200"/>
                  <a:pt x="726" y="1209"/>
                </a:cubicBezTo>
                <a:cubicBezTo>
                  <a:pt x="727" y="1209"/>
                  <a:pt x="727" y="1210"/>
                  <a:pt x="728" y="1210"/>
                </a:cubicBezTo>
                <a:lnTo>
                  <a:pt x="692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1" name="Freeform 30"/>
          <p:cNvSpPr>
            <a:spLocks noEditPoints="1"/>
          </p:cNvSpPr>
          <p:nvPr/>
        </p:nvSpPr>
        <p:spPr bwMode="auto">
          <a:xfrm>
            <a:off x="1378042" y="2247793"/>
            <a:ext cx="224650" cy="277118"/>
          </a:xfrm>
          <a:custGeom>
            <a:avLst/>
            <a:gdLst>
              <a:gd name="T0" fmla="*/ 2013 w 2016"/>
              <a:gd name="T1" fmla="*/ 512 h 2493"/>
              <a:gd name="T2" fmla="*/ 1493 w 2016"/>
              <a:gd name="T3" fmla="*/ 3 h 2493"/>
              <a:gd name="T4" fmla="*/ 1482 w 2016"/>
              <a:gd name="T5" fmla="*/ 0 h 2493"/>
              <a:gd name="T6" fmla="*/ 536 w 2016"/>
              <a:gd name="T7" fmla="*/ 179 h 2493"/>
              <a:gd name="T8" fmla="*/ 357 w 2016"/>
              <a:gd name="T9" fmla="*/ 358 h 2493"/>
              <a:gd name="T10" fmla="*/ 178 w 2016"/>
              <a:gd name="T11" fmla="*/ 536 h 2493"/>
              <a:gd name="T12" fmla="*/ 0 w 2016"/>
              <a:gd name="T13" fmla="*/ 2421 h 2493"/>
              <a:gd name="T14" fmla="*/ 1480 w 2016"/>
              <a:gd name="T15" fmla="*/ 2421 h 2493"/>
              <a:gd name="T16" fmla="*/ 1659 w 2016"/>
              <a:gd name="T17" fmla="*/ 2242 h 2493"/>
              <a:gd name="T18" fmla="*/ 1837 w 2016"/>
              <a:gd name="T19" fmla="*/ 2064 h 2493"/>
              <a:gd name="T20" fmla="*/ 2016 w 2016"/>
              <a:gd name="T21" fmla="*/ 1885 h 2493"/>
              <a:gd name="T22" fmla="*/ 1928 w 2016"/>
              <a:gd name="T23" fmla="*/ 497 h 2493"/>
              <a:gd name="T24" fmla="*/ 1840 w 2016"/>
              <a:gd name="T25" fmla="*/ 411 h 2493"/>
              <a:gd name="T26" fmla="*/ 1407 w 2016"/>
              <a:gd name="T27" fmla="*/ 2442 h 2493"/>
              <a:gd name="T28" fmla="*/ 51 w 2016"/>
              <a:gd name="T29" fmla="*/ 608 h 2493"/>
              <a:gd name="T30" fmla="*/ 178 w 2016"/>
              <a:gd name="T31" fmla="*/ 2242 h 2493"/>
              <a:gd name="T32" fmla="*/ 1429 w 2016"/>
              <a:gd name="T33" fmla="*/ 2421 h 2493"/>
              <a:gd name="T34" fmla="*/ 251 w 2016"/>
              <a:gd name="T35" fmla="*/ 2263 h 2493"/>
              <a:gd name="T36" fmla="*/ 251 w 2016"/>
              <a:gd name="T37" fmla="*/ 409 h 2493"/>
              <a:gd name="T38" fmla="*/ 430 w 2016"/>
              <a:gd name="T39" fmla="*/ 2135 h 2493"/>
              <a:gd name="T40" fmla="*/ 1786 w 2016"/>
              <a:gd name="T41" fmla="*/ 2064 h 2493"/>
              <a:gd name="T42" fmla="*/ 408 w 2016"/>
              <a:gd name="T43" fmla="*/ 2064 h 2493"/>
              <a:gd name="T44" fmla="*/ 536 w 2016"/>
              <a:gd name="T45" fmla="*/ 230 h 2493"/>
              <a:gd name="T46" fmla="*/ 1786 w 2016"/>
              <a:gd name="T47" fmla="*/ 1957 h 2493"/>
              <a:gd name="T48" fmla="*/ 608 w 2016"/>
              <a:gd name="T49" fmla="*/ 1906 h 2493"/>
              <a:gd name="T50" fmla="*/ 608 w 2016"/>
              <a:gd name="T51" fmla="*/ 51 h 2493"/>
              <a:gd name="T52" fmla="*/ 1482 w 2016"/>
              <a:gd name="T53" fmla="*/ 548 h 2493"/>
              <a:gd name="T54" fmla="*/ 1943 w 2016"/>
              <a:gd name="T55" fmla="*/ 1906 h 2493"/>
              <a:gd name="T56" fmla="*/ 764 w 2016"/>
              <a:gd name="T57" fmla="*/ 1635 h 2493"/>
              <a:gd name="T58" fmla="*/ 1788 w 2016"/>
              <a:gd name="T59" fmla="*/ 1584 h 2493"/>
              <a:gd name="T60" fmla="*/ 1788 w 2016"/>
              <a:gd name="T61" fmla="*/ 1425 h 2493"/>
              <a:gd name="T62" fmla="*/ 764 w 2016"/>
              <a:gd name="T63" fmla="*/ 1374 h 2493"/>
              <a:gd name="T64" fmla="*/ 1813 w 2016"/>
              <a:gd name="T65" fmla="*/ 1189 h 2493"/>
              <a:gd name="T66" fmla="*/ 738 w 2016"/>
              <a:gd name="T67" fmla="*/ 1189 h 2493"/>
              <a:gd name="T68" fmla="*/ 1813 w 2016"/>
              <a:gd name="T69" fmla="*/ 1189 h 2493"/>
              <a:gd name="T70" fmla="*/ 764 w 2016"/>
              <a:gd name="T71" fmla="*/ 1004 h 2493"/>
              <a:gd name="T72" fmla="*/ 1788 w 2016"/>
              <a:gd name="T73" fmla="*/ 953 h 2493"/>
              <a:gd name="T74" fmla="*/ 1788 w 2016"/>
              <a:gd name="T75" fmla="*/ 794 h 2493"/>
              <a:gd name="T76" fmla="*/ 764 w 2016"/>
              <a:gd name="T77" fmla="*/ 743 h 2493"/>
              <a:gd name="T78" fmla="*/ 738 w 2016"/>
              <a:gd name="T79" fmla="*/ 558 h 2493"/>
              <a:gd name="T80" fmla="*/ 1389 w 2016"/>
              <a:gd name="T81" fmla="*/ 558 h 2493"/>
              <a:gd name="T82" fmla="*/ 738 w 2016"/>
              <a:gd name="T83" fmla="*/ 558 h 2493"/>
              <a:gd name="T84" fmla="*/ 1340 w 2016"/>
              <a:gd name="T85" fmla="*/ 322 h 2493"/>
              <a:gd name="T86" fmla="*/ 764 w 2016"/>
              <a:gd name="T87" fmla="*/ 373 h 2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16" h="2493">
                <a:moveTo>
                  <a:pt x="2016" y="521"/>
                </a:moveTo>
                <a:cubicBezTo>
                  <a:pt x="2015" y="518"/>
                  <a:pt x="2015" y="516"/>
                  <a:pt x="2014" y="514"/>
                </a:cubicBezTo>
                <a:cubicBezTo>
                  <a:pt x="2014" y="513"/>
                  <a:pt x="2014" y="512"/>
                  <a:pt x="2013" y="512"/>
                </a:cubicBezTo>
                <a:cubicBezTo>
                  <a:pt x="2012" y="509"/>
                  <a:pt x="2010" y="506"/>
                  <a:pt x="2008" y="504"/>
                </a:cubicBezTo>
                <a:cubicBezTo>
                  <a:pt x="1500" y="8"/>
                  <a:pt x="1500" y="8"/>
                  <a:pt x="1500" y="8"/>
                </a:cubicBezTo>
                <a:cubicBezTo>
                  <a:pt x="1498" y="5"/>
                  <a:pt x="1496" y="4"/>
                  <a:pt x="1493" y="3"/>
                </a:cubicBezTo>
                <a:cubicBezTo>
                  <a:pt x="1492" y="2"/>
                  <a:pt x="1491" y="2"/>
                  <a:pt x="1490" y="2"/>
                </a:cubicBezTo>
                <a:cubicBezTo>
                  <a:pt x="1488" y="1"/>
                  <a:pt x="1486" y="1"/>
                  <a:pt x="1484" y="1"/>
                </a:cubicBezTo>
                <a:cubicBezTo>
                  <a:pt x="1484" y="1"/>
                  <a:pt x="1483" y="0"/>
                  <a:pt x="1482" y="0"/>
                </a:cubicBezTo>
                <a:cubicBezTo>
                  <a:pt x="608" y="0"/>
                  <a:pt x="608" y="0"/>
                  <a:pt x="608" y="0"/>
                </a:cubicBezTo>
                <a:cubicBezTo>
                  <a:pt x="568" y="0"/>
                  <a:pt x="536" y="32"/>
                  <a:pt x="536" y="72"/>
                </a:cubicBezTo>
                <a:cubicBezTo>
                  <a:pt x="536" y="179"/>
                  <a:pt x="536" y="179"/>
                  <a:pt x="536" y="179"/>
                </a:cubicBezTo>
                <a:cubicBezTo>
                  <a:pt x="430" y="179"/>
                  <a:pt x="430" y="179"/>
                  <a:pt x="430" y="179"/>
                </a:cubicBezTo>
                <a:cubicBezTo>
                  <a:pt x="390" y="179"/>
                  <a:pt x="357" y="211"/>
                  <a:pt x="357" y="251"/>
                </a:cubicBezTo>
                <a:cubicBezTo>
                  <a:pt x="357" y="358"/>
                  <a:pt x="357" y="358"/>
                  <a:pt x="357" y="358"/>
                </a:cubicBezTo>
                <a:cubicBezTo>
                  <a:pt x="251" y="358"/>
                  <a:pt x="251" y="358"/>
                  <a:pt x="251" y="358"/>
                </a:cubicBezTo>
                <a:cubicBezTo>
                  <a:pt x="211" y="358"/>
                  <a:pt x="178" y="390"/>
                  <a:pt x="178" y="429"/>
                </a:cubicBezTo>
                <a:cubicBezTo>
                  <a:pt x="178" y="536"/>
                  <a:pt x="178" y="536"/>
                  <a:pt x="178" y="536"/>
                </a:cubicBezTo>
                <a:cubicBezTo>
                  <a:pt x="73" y="536"/>
                  <a:pt x="73" y="536"/>
                  <a:pt x="73" y="536"/>
                </a:cubicBezTo>
                <a:cubicBezTo>
                  <a:pt x="32" y="536"/>
                  <a:pt x="0" y="568"/>
                  <a:pt x="0" y="608"/>
                </a:cubicBezTo>
                <a:cubicBezTo>
                  <a:pt x="0" y="2421"/>
                  <a:pt x="0" y="2421"/>
                  <a:pt x="0" y="2421"/>
                </a:cubicBezTo>
                <a:cubicBezTo>
                  <a:pt x="0" y="2461"/>
                  <a:pt x="32" y="2493"/>
                  <a:pt x="73" y="2493"/>
                </a:cubicBezTo>
                <a:cubicBezTo>
                  <a:pt x="1407" y="2493"/>
                  <a:pt x="1407" y="2493"/>
                  <a:pt x="1407" y="2493"/>
                </a:cubicBezTo>
                <a:cubicBezTo>
                  <a:pt x="1447" y="2493"/>
                  <a:pt x="1480" y="2461"/>
                  <a:pt x="1480" y="2421"/>
                </a:cubicBezTo>
                <a:cubicBezTo>
                  <a:pt x="1480" y="2314"/>
                  <a:pt x="1480" y="2314"/>
                  <a:pt x="1480" y="2314"/>
                </a:cubicBezTo>
                <a:cubicBezTo>
                  <a:pt x="1586" y="2314"/>
                  <a:pt x="1586" y="2314"/>
                  <a:pt x="1586" y="2314"/>
                </a:cubicBezTo>
                <a:cubicBezTo>
                  <a:pt x="1626" y="2314"/>
                  <a:pt x="1659" y="2282"/>
                  <a:pt x="1659" y="2242"/>
                </a:cubicBezTo>
                <a:cubicBezTo>
                  <a:pt x="1659" y="2135"/>
                  <a:pt x="1659" y="2135"/>
                  <a:pt x="1659" y="2135"/>
                </a:cubicBezTo>
                <a:cubicBezTo>
                  <a:pt x="1764" y="2135"/>
                  <a:pt x="1764" y="2135"/>
                  <a:pt x="1764" y="2135"/>
                </a:cubicBezTo>
                <a:cubicBezTo>
                  <a:pt x="1805" y="2135"/>
                  <a:pt x="1837" y="2103"/>
                  <a:pt x="1837" y="2064"/>
                </a:cubicBezTo>
                <a:cubicBezTo>
                  <a:pt x="1837" y="1957"/>
                  <a:pt x="1837" y="1957"/>
                  <a:pt x="1837" y="1957"/>
                </a:cubicBezTo>
                <a:cubicBezTo>
                  <a:pt x="1943" y="1957"/>
                  <a:pt x="1943" y="1957"/>
                  <a:pt x="1943" y="1957"/>
                </a:cubicBezTo>
                <a:cubicBezTo>
                  <a:pt x="1983" y="1957"/>
                  <a:pt x="2016" y="1925"/>
                  <a:pt x="2016" y="1885"/>
                </a:cubicBezTo>
                <a:cubicBezTo>
                  <a:pt x="2016" y="522"/>
                  <a:pt x="2016" y="522"/>
                  <a:pt x="2016" y="522"/>
                </a:cubicBezTo>
                <a:cubicBezTo>
                  <a:pt x="2016" y="522"/>
                  <a:pt x="2016" y="521"/>
                  <a:pt x="2016" y="521"/>
                </a:cubicBezTo>
                <a:close/>
                <a:moveTo>
                  <a:pt x="1928" y="497"/>
                </a:moveTo>
                <a:cubicBezTo>
                  <a:pt x="1508" y="497"/>
                  <a:pt x="1508" y="497"/>
                  <a:pt x="1508" y="497"/>
                </a:cubicBezTo>
                <a:cubicBezTo>
                  <a:pt x="1508" y="87"/>
                  <a:pt x="1508" y="87"/>
                  <a:pt x="1508" y="87"/>
                </a:cubicBezTo>
                <a:cubicBezTo>
                  <a:pt x="1840" y="411"/>
                  <a:pt x="1840" y="411"/>
                  <a:pt x="1840" y="411"/>
                </a:cubicBezTo>
                <a:lnTo>
                  <a:pt x="1928" y="497"/>
                </a:lnTo>
                <a:close/>
                <a:moveTo>
                  <a:pt x="1429" y="2421"/>
                </a:moveTo>
                <a:cubicBezTo>
                  <a:pt x="1429" y="2432"/>
                  <a:pt x="1419" y="2442"/>
                  <a:pt x="1407" y="2442"/>
                </a:cubicBezTo>
                <a:cubicBezTo>
                  <a:pt x="73" y="2442"/>
                  <a:pt x="73" y="2442"/>
                  <a:pt x="73" y="2442"/>
                </a:cubicBezTo>
                <a:cubicBezTo>
                  <a:pt x="61" y="2442"/>
                  <a:pt x="51" y="2432"/>
                  <a:pt x="51" y="2421"/>
                </a:cubicBezTo>
                <a:cubicBezTo>
                  <a:pt x="51" y="608"/>
                  <a:pt x="51" y="608"/>
                  <a:pt x="51" y="608"/>
                </a:cubicBezTo>
                <a:cubicBezTo>
                  <a:pt x="51" y="597"/>
                  <a:pt x="61" y="587"/>
                  <a:pt x="73" y="587"/>
                </a:cubicBezTo>
                <a:cubicBezTo>
                  <a:pt x="178" y="587"/>
                  <a:pt x="178" y="587"/>
                  <a:pt x="178" y="587"/>
                </a:cubicBezTo>
                <a:cubicBezTo>
                  <a:pt x="178" y="2242"/>
                  <a:pt x="178" y="2242"/>
                  <a:pt x="178" y="2242"/>
                </a:cubicBezTo>
                <a:cubicBezTo>
                  <a:pt x="178" y="2282"/>
                  <a:pt x="211" y="2314"/>
                  <a:pt x="251" y="2314"/>
                </a:cubicBezTo>
                <a:cubicBezTo>
                  <a:pt x="1429" y="2314"/>
                  <a:pt x="1429" y="2314"/>
                  <a:pt x="1429" y="2314"/>
                </a:cubicBezTo>
                <a:lnTo>
                  <a:pt x="1429" y="2421"/>
                </a:lnTo>
                <a:close/>
                <a:moveTo>
                  <a:pt x="1607" y="2242"/>
                </a:moveTo>
                <a:cubicBezTo>
                  <a:pt x="1607" y="2254"/>
                  <a:pt x="1598" y="2263"/>
                  <a:pt x="1586" y="2263"/>
                </a:cubicBezTo>
                <a:cubicBezTo>
                  <a:pt x="251" y="2263"/>
                  <a:pt x="251" y="2263"/>
                  <a:pt x="251" y="2263"/>
                </a:cubicBezTo>
                <a:cubicBezTo>
                  <a:pt x="239" y="2263"/>
                  <a:pt x="230" y="2254"/>
                  <a:pt x="230" y="2242"/>
                </a:cubicBezTo>
                <a:cubicBezTo>
                  <a:pt x="230" y="429"/>
                  <a:pt x="230" y="429"/>
                  <a:pt x="230" y="429"/>
                </a:cubicBezTo>
                <a:cubicBezTo>
                  <a:pt x="230" y="418"/>
                  <a:pt x="239" y="409"/>
                  <a:pt x="251" y="409"/>
                </a:cubicBezTo>
                <a:cubicBezTo>
                  <a:pt x="357" y="409"/>
                  <a:pt x="357" y="409"/>
                  <a:pt x="357" y="409"/>
                </a:cubicBezTo>
                <a:cubicBezTo>
                  <a:pt x="357" y="2064"/>
                  <a:pt x="357" y="2064"/>
                  <a:pt x="357" y="2064"/>
                </a:cubicBezTo>
                <a:cubicBezTo>
                  <a:pt x="357" y="2103"/>
                  <a:pt x="390" y="2135"/>
                  <a:pt x="430" y="2135"/>
                </a:cubicBezTo>
                <a:cubicBezTo>
                  <a:pt x="1607" y="2135"/>
                  <a:pt x="1607" y="2135"/>
                  <a:pt x="1607" y="2135"/>
                </a:cubicBezTo>
                <a:lnTo>
                  <a:pt x="1607" y="2242"/>
                </a:lnTo>
                <a:close/>
                <a:moveTo>
                  <a:pt x="1786" y="2064"/>
                </a:moveTo>
                <a:cubicBezTo>
                  <a:pt x="1786" y="2075"/>
                  <a:pt x="1776" y="2084"/>
                  <a:pt x="1764" y="2084"/>
                </a:cubicBezTo>
                <a:cubicBezTo>
                  <a:pt x="430" y="2084"/>
                  <a:pt x="430" y="2084"/>
                  <a:pt x="430" y="2084"/>
                </a:cubicBezTo>
                <a:cubicBezTo>
                  <a:pt x="418" y="2084"/>
                  <a:pt x="408" y="2075"/>
                  <a:pt x="408" y="2064"/>
                </a:cubicBezTo>
                <a:cubicBezTo>
                  <a:pt x="408" y="251"/>
                  <a:pt x="408" y="251"/>
                  <a:pt x="408" y="251"/>
                </a:cubicBezTo>
                <a:cubicBezTo>
                  <a:pt x="408" y="239"/>
                  <a:pt x="418" y="230"/>
                  <a:pt x="430" y="230"/>
                </a:cubicBezTo>
                <a:cubicBezTo>
                  <a:pt x="536" y="230"/>
                  <a:pt x="536" y="230"/>
                  <a:pt x="536" y="230"/>
                </a:cubicBezTo>
                <a:cubicBezTo>
                  <a:pt x="536" y="1885"/>
                  <a:pt x="536" y="1885"/>
                  <a:pt x="536" y="1885"/>
                </a:cubicBezTo>
                <a:cubicBezTo>
                  <a:pt x="536" y="1925"/>
                  <a:pt x="568" y="1957"/>
                  <a:pt x="608" y="1957"/>
                </a:cubicBezTo>
                <a:cubicBezTo>
                  <a:pt x="1786" y="1957"/>
                  <a:pt x="1786" y="1957"/>
                  <a:pt x="1786" y="1957"/>
                </a:cubicBezTo>
                <a:lnTo>
                  <a:pt x="1786" y="2064"/>
                </a:lnTo>
                <a:close/>
                <a:moveTo>
                  <a:pt x="1943" y="1906"/>
                </a:moveTo>
                <a:cubicBezTo>
                  <a:pt x="608" y="1906"/>
                  <a:pt x="608" y="1906"/>
                  <a:pt x="608" y="1906"/>
                </a:cubicBezTo>
                <a:cubicBezTo>
                  <a:pt x="597" y="1906"/>
                  <a:pt x="587" y="1896"/>
                  <a:pt x="587" y="1885"/>
                </a:cubicBezTo>
                <a:cubicBezTo>
                  <a:pt x="587" y="72"/>
                  <a:pt x="587" y="72"/>
                  <a:pt x="587" y="72"/>
                </a:cubicBezTo>
                <a:cubicBezTo>
                  <a:pt x="587" y="61"/>
                  <a:pt x="597" y="51"/>
                  <a:pt x="608" y="51"/>
                </a:cubicBezTo>
                <a:cubicBezTo>
                  <a:pt x="1457" y="51"/>
                  <a:pt x="1457" y="51"/>
                  <a:pt x="1457" y="51"/>
                </a:cubicBezTo>
                <a:cubicBezTo>
                  <a:pt x="1457" y="522"/>
                  <a:pt x="1457" y="522"/>
                  <a:pt x="1457" y="522"/>
                </a:cubicBezTo>
                <a:cubicBezTo>
                  <a:pt x="1457" y="537"/>
                  <a:pt x="1468" y="548"/>
                  <a:pt x="1482" y="548"/>
                </a:cubicBezTo>
                <a:cubicBezTo>
                  <a:pt x="1965" y="548"/>
                  <a:pt x="1965" y="548"/>
                  <a:pt x="1965" y="548"/>
                </a:cubicBezTo>
                <a:cubicBezTo>
                  <a:pt x="1965" y="1885"/>
                  <a:pt x="1965" y="1885"/>
                  <a:pt x="1965" y="1885"/>
                </a:cubicBezTo>
                <a:cubicBezTo>
                  <a:pt x="1965" y="1896"/>
                  <a:pt x="1955" y="1906"/>
                  <a:pt x="1943" y="1906"/>
                </a:cubicBezTo>
                <a:close/>
                <a:moveTo>
                  <a:pt x="1813" y="1610"/>
                </a:moveTo>
                <a:cubicBezTo>
                  <a:pt x="1813" y="1624"/>
                  <a:pt x="1802" y="1635"/>
                  <a:pt x="1788" y="1635"/>
                </a:cubicBezTo>
                <a:cubicBezTo>
                  <a:pt x="764" y="1635"/>
                  <a:pt x="764" y="1635"/>
                  <a:pt x="764" y="1635"/>
                </a:cubicBezTo>
                <a:cubicBezTo>
                  <a:pt x="750" y="1635"/>
                  <a:pt x="738" y="1624"/>
                  <a:pt x="738" y="1610"/>
                </a:cubicBezTo>
                <a:cubicBezTo>
                  <a:pt x="738" y="1596"/>
                  <a:pt x="750" y="1584"/>
                  <a:pt x="764" y="1584"/>
                </a:cubicBezTo>
                <a:cubicBezTo>
                  <a:pt x="1788" y="1584"/>
                  <a:pt x="1788" y="1584"/>
                  <a:pt x="1788" y="1584"/>
                </a:cubicBezTo>
                <a:cubicBezTo>
                  <a:pt x="1802" y="1584"/>
                  <a:pt x="1813" y="1596"/>
                  <a:pt x="1813" y="1610"/>
                </a:cubicBezTo>
                <a:close/>
                <a:moveTo>
                  <a:pt x="1813" y="1399"/>
                </a:moveTo>
                <a:cubicBezTo>
                  <a:pt x="1813" y="1413"/>
                  <a:pt x="1802" y="1425"/>
                  <a:pt x="1788" y="1425"/>
                </a:cubicBezTo>
                <a:cubicBezTo>
                  <a:pt x="764" y="1425"/>
                  <a:pt x="764" y="1425"/>
                  <a:pt x="764" y="1425"/>
                </a:cubicBezTo>
                <a:cubicBezTo>
                  <a:pt x="750" y="1425"/>
                  <a:pt x="738" y="1413"/>
                  <a:pt x="738" y="1399"/>
                </a:cubicBezTo>
                <a:cubicBezTo>
                  <a:pt x="738" y="1385"/>
                  <a:pt x="750" y="1374"/>
                  <a:pt x="764" y="1374"/>
                </a:cubicBezTo>
                <a:cubicBezTo>
                  <a:pt x="1788" y="1374"/>
                  <a:pt x="1788" y="1374"/>
                  <a:pt x="1788" y="1374"/>
                </a:cubicBezTo>
                <a:cubicBezTo>
                  <a:pt x="1802" y="1374"/>
                  <a:pt x="1813" y="1385"/>
                  <a:pt x="1813" y="1399"/>
                </a:cubicBezTo>
                <a:close/>
                <a:moveTo>
                  <a:pt x="1813" y="1189"/>
                </a:moveTo>
                <a:cubicBezTo>
                  <a:pt x="1813" y="1203"/>
                  <a:pt x="1802" y="1215"/>
                  <a:pt x="1788" y="1215"/>
                </a:cubicBezTo>
                <a:cubicBezTo>
                  <a:pt x="764" y="1215"/>
                  <a:pt x="764" y="1215"/>
                  <a:pt x="764" y="1215"/>
                </a:cubicBezTo>
                <a:cubicBezTo>
                  <a:pt x="750" y="1215"/>
                  <a:pt x="738" y="1203"/>
                  <a:pt x="738" y="1189"/>
                </a:cubicBezTo>
                <a:cubicBezTo>
                  <a:pt x="738" y="1175"/>
                  <a:pt x="750" y="1163"/>
                  <a:pt x="764" y="1163"/>
                </a:cubicBezTo>
                <a:cubicBezTo>
                  <a:pt x="1788" y="1163"/>
                  <a:pt x="1788" y="1163"/>
                  <a:pt x="1788" y="1163"/>
                </a:cubicBezTo>
                <a:cubicBezTo>
                  <a:pt x="1802" y="1163"/>
                  <a:pt x="1813" y="1175"/>
                  <a:pt x="1813" y="1189"/>
                </a:cubicBezTo>
                <a:close/>
                <a:moveTo>
                  <a:pt x="1813" y="979"/>
                </a:moveTo>
                <a:cubicBezTo>
                  <a:pt x="1813" y="993"/>
                  <a:pt x="1802" y="1004"/>
                  <a:pt x="1788" y="1004"/>
                </a:cubicBezTo>
                <a:cubicBezTo>
                  <a:pt x="764" y="1004"/>
                  <a:pt x="764" y="1004"/>
                  <a:pt x="764" y="1004"/>
                </a:cubicBezTo>
                <a:cubicBezTo>
                  <a:pt x="750" y="1004"/>
                  <a:pt x="738" y="993"/>
                  <a:pt x="738" y="979"/>
                </a:cubicBezTo>
                <a:cubicBezTo>
                  <a:pt x="738" y="964"/>
                  <a:pt x="750" y="953"/>
                  <a:pt x="764" y="953"/>
                </a:cubicBezTo>
                <a:cubicBezTo>
                  <a:pt x="1788" y="953"/>
                  <a:pt x="1788" y="953"/>
                  <a:pt x="1788" y="953"/>
                </a:cubicBezTo>
                <a:cubicBezTo>
                  <a:pt x="1802" y="953"/>
                  <a:pt x="1813" y="964"/>
                  <a:pt x="1813" y="979"/>
                </a:cubicBezTo>
                <a:close/>
                <a:moveTo>
                  <a:pt x="1813" y="768"/>
                </a:moveTo>
                <a:cubicBezTo>
                  <a:pt x="1813" y="782"/>
                  <a:pt x="1802" y="794"/>
                  <a:pt x="1788" y="794"/>
                </a:cubicBezTo>
                <a:cubicBezTo>
                  <a:pt x="764" y="794"/>
                  <a:pt x="764" y="794"/>
                  <a:pt x="764" y="794"/>
                </a:cubicBezTo>
                <a:cubicBezTo>
                  <a:pt x="750" y="794"/>
                  <a:pt x="738" y="782"/>
                  <a:pt x="738" y="768"/>
                </a:cubicBezTo>
                <a:cubicBezTo>
                  <a:pt x="738" y="754"/>
                  <a:pt x="750" y="743"/>
                  <a:pt x="764" y="743"/>
                </a:cubicBezTo>
                <a:cubicBezTo>
                  <a:pt x="1788" y="743"/>
                  <a:pt x="1788" y="743"/>
                  <a:pt x="1788" y="743"/>
                </a:cubicBezTo>
                <a:cubicBezTo>
                  <a:pt x="1802" y="743"/>
                  <a:pt x="1813" y="754"/>
                  <a:pt x="1813" y="768"/>
                </a:cubicBezTo>
                <a:close/>
                <a:moveTo>
                  <a:pt x="738" y="558"/>
                </a:moveTo>
                <a:cubicBezTo>
                  <a:pt x="738" y="544"/>
                  <a:pt x="750" y="532"/>
                  <a:pt x="764" y="532"/>
                </a:cubicBezTo>
                <a:cubicBezTo>
                  <a:pt x="1363" y="532"/>
                  <a:pt x="1363" y="532"/>
                  <a:pt x="1363" y="532"/>
                </a:cubicBezTo>
                <a:cubicBezTo>
                  <a:pt x="1377" y="532"/>
                  <a:pt x="1389" y="544"/>
                  <a:pt x="1389" y="558"/>
                </a:cubicBezTo>
                <a:cubicBezTo>
                  <a:pt x="1389" y="572"/>
                  <a:pt x="1377" y="583"/>
                  <a:pt x="1363" y="583"/>
                </a:cubicBezTo>
                <a:cubicBezTo>
                  <a:pt x="764" y="583"/>
                  <a:pt x="764" y="583"/>
                  <a:pt x="764" y="583"/>
                </a:cubicBezTo>
                <a:cubicBezTo>
                  <a:pt x="750" y="583"/>
                  <a:pt x="738" y="572"/>
                  <a:pt x="738" y="558"/>
                </a:cubicBezTo>
                <a:close/>
                <a:moveTo>
                  <a:pt x="738" y="347"/>
                </a:moveTo>
                <a:cubicBezTo>
                  <a:pt x="738" y="333"/>
                  <a:pt x="750" y="322"/>
                  <a:pt x="764" y="322"/>
                </a:cubicBezTo>
                <a:cubicBezTo>
                  <a:pt x="1340" y="322"/>
                  <a:pt x="1340" y="322"/>
                  <a:pt x="1340" y="322"/>
                </a:cubicBezTo>
                <a:cubicBezTo>
                  <a:pt x="1354" y="322"/>
                  <a:pt x="1365" y="333"/>
                  <a:pt x="1365" y="347"/>
                </a:cubicBezTo>
                <a:cubicBezTo>
                  <a:pt x="1365" y="362"/>
                  <a:pt x="1354" y="373"/>
                  <a:pt x="1340" y="373"/>
                </a:cubicBezTo>
                <a:cubicBezTo>
                  <a:pt x="764" y="373"/>
                  <a:pt x="764" y="373"/>
                  <a:pt x="764" y="373"/>
                </a:cubicBezTo>
                <a:cubicBezTo>
                  <a:pt x="750" y="373"/>
                  <a:pt x="738" y="362"/>
                  <a:pt x="738" y="3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2" name="Freeform 34"/>
          <p:cNvSpPr>
            <a:spLocks noEditPoints="1"/>
          </p:cNvSpPr>
          <p:nvPr/>
        </p:nvSpPr>
        <p:spPr bwMode="auto">
          <a:xfrm>
            <a:off x="1367215" y="2789786"/>
            <a:ext cx="246304" cy="247800"/>
          </a:xfrm>
          <a:custGeom>
            <a:avLst/>
            <a:gdLst>
              <a:gd name="T0" fmla="*/ 620 w 694"/>
              <a:gd name="T1" fmla="*/ 217 h 698"/>
              <a:gd name="T2" fmla="*/ 683 w 694"/>
              <a:gd name="T3" fmla="*/ 128 h 698"/>
              <a:gd name="T4" fmla="*/ 525 w 694"/>
              <a:gd name="T5" fmla="*/ 34 h 698"/>
              <a:gd name="T6" fmla="*/ 116 w 694"/>
              <a:gd name="T7" fmla="*/ 444 h 698"/>
              <a:gd name="T8" fmla="*/ 54 w 694"/>
              <a:gd name="T9" fmla="*/ 643 h 698"/>
              <a:gd name="T10" fmla="*/ 149 w 694"/>
              <a:gd name="T11" fmla="*/ 617 h 698"/>
              <a:gd name="T12" fmla="*/ 254 w 694"/>
              <a:gd name="T13" fmla="*/ 582 h 698"/>
              <a:gd name="T14" fmla="*/ 521 w 694"/>
              <a:gd name="T15" fmla="*/ 219 h 698"/>
              <a:gd name="T16" fmla="*/ 479 w 694"/>
              <a:gd name="T17" fmla="*/ 177 h 698"/>
              <a:gd name="T18" fmla="*/ 226 w 694"/>
              <a:gd name="T19" fmla="*/ 537 h 698"/>
              <a:gd name="T20" fmla="*/ 251 w 694"/>
              <a:gd name="T21" fmla="*/ 562 h 698"/>
              <a:gd name="T22" fmla="*/ 652 w 694"/>
              <a:gd name="T23" fmla="*/ 95 h 698"/>
              <a:gd name="T24" fmla="*/ 614 w 694"/>
              <a:gd name="T25" fmla="*/ 200 h 698"/>
              <a:gd name="T26" fmla="*/ 487 w 694"/>
              <a:gd name="T27" fmla="*/ 96 h 698"/>
              <a:gd name="T28" fmla="*/ 539 w 694"/>
              <a:gd name="T29" fmla="*/ 213 h 698"/>
              <a:gd name="T30" fmla="*/ 454 w 694"/>
              <a:gd name="T31" fmla="*/ 128 h 698"/>
              <a:gd name="T32" fmla="*/ 467 w 694"/>
              <a:gd name="T33" fmla="*/ 165 h 698"/>
              <a:gd name="T34" fmla="*/ 442 w 694"/>
              <a:gd name="T35" fmla="*/ 140 h 698"/>
              <a:gd name="T36" fmla="*/ 73 w 694"/>
              <a:gd name="T37" fmla="*/ 625 h 698"/>
              <a:gd name="T38" fmla="*/ 98 w 694"/>
              <a:gd name="T39" fmla="*/ 549 h 698"/>
              <a:gd name="T40" fmla="*/ 148 w 694"/>
              <a:gd name="T41" fmla="*/ 599 h 698"/>
              <a:gd name="T42" fmla="*/ 595 w 694"/>
              <a:gd name="T43" fmla="*/ 688 h 698"/>
              <a:gd name="T44" fmla="*/ 514 w 694"/>
              <a:gd name="T45" fmla="*/ 657 h 698"/>
              <a:gd name="T46" fmla="*/ 458 w 694"/>
              <a:gd name="T47" fmla="*/ 601 h 698"/>
              <a:gd name="T48" fmla="*/ 403 w 694"/>
              <a:gd name="T49" fmla="*/ 546 h 698"/>
              <a:gd name="T50" fmla="*/ 365 w 694"/>
              <a:gd name="T51" fmla="*/ 508 h 698"/>
              <a:gd name="T52" fmla="*/ 408 w 694"/>
              <a:gd name="T53" fmla="*/ 528 h 698"/>
              <a:gd name="T54" fmla="*/ 478 w 694"/>
              <a:gd name="T55" fmla="*/ 482 h 698"/>
              <a:gd name="T56" fmla="*/ 502 w 694"/>
              <a:gd name="T57" fmla="*/ 546 h 698"/>
              <a:gd name="T58" fmla="*/ 476 w 694"/>
              <a:gd name="T59" fmla="*/ 596 h 698"/>
              <a:gd name="T60" fmla="*/ 589 w 694"/>
              <a:gd name="T61" fmla="*/ 582 h 698"/>
              <a:gd name="T62" fmla="*/ 556 w 694"/>
              <a:gd name="T63" fmla="*/ 676 h 698"/>
              <a:gd name="T64" fmla="*/ 677 w 694"/>
              <a:gd name="T65" fmla="*/ 574 h 698"/>
              <a:gd name="T66" fmla="*/ 491 w 694"/>
              <a:gd name="T67" fmla="*/ 368 h 698"/>
              <a:gd name="T68" fmla="*/ 694 w 694"/>
              <a:gd name="T69" fmla="*/ 574 h 698"/>
              <a:gd name="T70" fmla="*/ 10 w 694"/>
              <a:gd name="T71" fmla="*/ 153 h 698"/>
              <a:gd name="T72" fmla="*/ 99 w 694"/>
              <a:gd name="T73" fmla="*/ 14 h 698"/>
              <a:gd name="T74" fmla="*/ 323 w 694"/>
              <a:gd name="T75" fmla="*/ 200 h 698"/>
              <a:gd name="T76" fmla="*/ 110 w 694"/>
              <a:gd name="T77" fmla="*/ 26 h 698"/>
              <a:gd name="T78" fmla="*/ 22 w 694"/>
              <a:gd name="T79" fmla="*/ 142 h 698"/>
              <a:gd name="T80" fmla="*/ 116 w 694"/>
              <a:gd name="T81" fmla="*/ 109 h 698"/>
              <a:gd name="T82" fmla="*/ 102 w 694"/>
              <a:gd name="T83" fmla="*/ 222 h 698"/>
              <a:gd name="T84" fmla="*/ 152 w 694"/>
              <a:gd name="T85" fmla="*/ 195 h 698"/>
              <a:gd name="T86" fmla="*/ 216 w 694"/>
              <a:gd name="T87" fmla="*/ 220 h 698"/>
              <a:gd name="T88" fmla="*/ 170 w 694"/>
              <a:gd name="T89" fmla="*/ 289 h 698"/>
              <a:gd name="T90" fmla="*/ 192 w 694"/>
              <a:gd name="T91" fmla="*/ 331 h 698"/>
              <a:gd name="T92" fmla="*/ 152 w 694"/>
              <a:gd name="T93" fmla="*/ 295 h 698"/>
              <a:gd name="T94" fmla="*/ 96 w 694"/>
              <a:gd name="T95" fmla="*/ 240 h 698"/>
              <a:gd name="T96" fmla="*/ 41 w 694"/>
              <a:gd name="T97" fmla="*/ 184 h 6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94" h="698">
                <a:moveTo>
                  <a:pt x="576" y="261"/>
                </a:moveTo>
                <a:cubicBezTo>
                  <a:pt x="620" y="217"/>
                  <a:pt x="620" y="217"/>
                  <a:pt x="620" y="217"/>
                </a:cubicBezTo>
                <a:cubicBezTo>
                  <a:pt x="620" y="217"/>
                  <a:pt x="620" y="217"/>
                  <a:pt x="620" y="217"/>
                </a:cubicBezTo>
                <a:cubicBezTo>
                  <a:pt x="620" y="217"/>
                  <a:pt x="620" y="217"/>
                  <a:pt x="620" y="217"/>
                </a:cubicBezTo>
                <a:cubicBezTo>
                  <a:pt x="664" y="173"/>
                  <a:pt x="664" y="173"/>
                  <a:pt x="664" y="173"/>
                </a:cubicBezTo>
                <a:cubicBezTo>
                  <a:pt x="676" y="161"/>
                  <a:pt x="683" y="145"/>
                  <a:pt x="683" y="128"/>
                </a:cubicBezTo>
                <a:cubicBezTo>
                  <a:pt x="683" y="111"/>
                  <a:pt x="676" y="95"/>
                  <a:pt x="664" y="83"/>
                </a:cubicBezTo>
                <a:cubicBezTo>
                  <a:pt x="614" y="34"/>
                  <a:pt x="614" y="34"/>
                  <a:pt x="614" y="34"/>
                </a:cubicBezTo>
                <a:cubicBezTo>
                  <a:pt x="590" y="9"/>
                  <a:pt x="550" y="9"/>
                  <a:pt x="525" y="34"/>
                </a:cubicBezTo>
                <a:cubicBezTo>
                  <a:pt x="437" y="122"/>
                  <a:pt x="437" y="122"/>
                  <a:pt x="437" y="122"/>
                </a:cubicBezTo>
                <a:cubicBezTo>
                  <a:pt x="118" y="441"/>
                  <a:pt x="118" y="441"/>
                  <a:pt x="118" y="441"/>
                </a:cubicBezTo>
                <a:cubicBezTo>
                  <a:pt x="117" y="442"/>
                  <a:pt x="117" y="443"/>
                  <a:pt x="116" y="444"/>
                </a:cubicBezTo>
                <a:cubicBezTo>
                  <a:pt x="116" y="444"/>
                  <a:pt x="116" y="444"/>
                  <a:pt x="116" y="444"/>
                </a:cubicBezTo>
                <a:cubicBezTo>
                  <a:pt x="52" y="635"/>
                  <a:pt x="52" y="635"/>
                  <a:pt x="52" y="635"/>
                </a:cubicBezTo>
                <a:cubicBezTo>
                  <a:pt x="51" y="638"/>
                  <a:pt x="52" y="641"/>
                  <a:pt x="54" y="643"/>
                </a:cubicBezTo>
                <a:cubicBezTo>
                  <a:pt x="56" y="645"/>
                  <a:pt x="58" y="646"/>
                  <a:pt x="60" y="646"/>
                </a:cubicBezTo>
                <a:cubicBezTo>
                  <a:pt x="61" y="646"/>
                  <a:pt x="62" y="646"/>
                  <a:pt x="63" y="645"/>
                </a:cubicBezTo>
                <a:cubicBezTo>
                  <a:pt x="149" y="617"/>
                  <a:pt x="149" y="617"/>
                  <a:pt x="149" y="617"/>
                </a:cubicBezTo>
                <a:cubicBezTo>
                  <a:pt x="149" y="617"/>
                  <a:pt x="149" y="617"/>
                  <a:pt x="150" y="616"/>
                </a:cubicBezTo>
                <a:cubicBezTo>
                  <a:pt x="254" y="582"/>
                  <a:pt x="254" y="582"/>
                  <a:pt x="254" y="582"/>
                </a:cubicBezTo>
                <a:cubicBezTo>
                  <a:pt x="254" y="582"/>
                  <a:pt x="254" y="582"/>
                  <a:pt x="254" y="582"/>
                </a:cubicBezTo>
                <a:cubicBezTo>
                  <a:pt x="255" y="581"/>
                  <a:pt x="256" y="581"/>
                  <a:pt x="257" y="580"/>
                </a:cubicBezTo>
                <a:lnTo>
                  <a:pt x="576" y="261"/>
                </a:lnTo>
                <a:close/>
                <a:moveTo>
                  <a:pt x="521" y="219"/>
                </a:moveTo>
                <a:cubicBezTo>
                  <a:pt x="215" y="526"/>
                  <a:pt x="215" y="526"/>
                  <a:pt x="215" y="526"/>
                </a:cubicBezTo>
                <a:cubicBezTo>
                  <a:pt x="172" y="483"/>
                  <a:pt x="172" y="483"/>
                  <a:pt x="172" y="483"/>
                </a:cubicBezTo>
                <a:cubicBezTo>
                  <a:pt x="479" y="177"/>
                  <a:pt x="479" y="177"/>
                  <a:pt x="479" y="177"/>
                </a:cubicBezTo>
                <a:lnTo>
                  <a:pt x="521" y="219"/>
                </a:lnTo>
                <a:close/>
                <a:moveTo>
                  <a:pt x="251" y="562"/>
                </a:moveTo>
                <a:cubicBezTo>
                  <a:pt x="226" y="537"/>
                  <a:pt x="226" y="537"/>
                  <a:pt x="226" y="537"/>
                </a:cubicBezTo>
                <a:cubicBezTo>
                  <a:pt x="533" y="230"/>
                  <a:pt x="533" y="230"/>
                  <a:pt x="533" y="230"/>
                </a:cubicBezTo>
                <a:cubicBezTo>
                  <a:pt x="558" y="255"/>
                  <a:pt x="558" y="255"/>
                  <a:pt x="558" y="255"/>
                </a:cubicBezTo>
                <a:lnTo>
                  <a:pt x="251" y="562"/>
                </a:lnTo>
                <a:close/>
                <a:moveTo>
                  <a:pt x="537" y="46"/>
                </a:moveTo>
                <a:cubicBezTo>
                  <a:pt x="555" y="27"/>
                  <a:pt x="585" y="27"/>
                  <a:pt x="603" y="46"/>
                </a:cubicBezTo>
                <a:cubicBezTo>
                  <a:pt x="652" y="95"/>
                  <a:pt x="652" y="95"/>
                  <a:pt x="652" y="95"/>
                </a:cubicBezTo>
                <a:cubicBezTo>
                  <a:pt x="661" y="104"/>
                  <a:pt x="666" y="116"/>
                  <a:pt x="666" y="128"/>
                </a:cubicBezTo>
                <a:cubicBezTo>
                  <a:pt x="666" y="141"/>
                  <a:pt x="661" y="152"/>
                  <a:pt x="652" y="161"/>
                </a:cubicBezTo>
                <a:cubicBezTo>
                  <a:pt x="614" y="200"/>
                  <a:pt x="614" y="200"/>
                  <a:pt x="614" y="200"/>
                </a:cubicBezTo>
                <a:cubicBezTo>
                  <a:pt x="498" y="84"/>
                  <a:pt x="498" y="84"/>
                  <a:pt x="498" y="84"/>
                </a:cubicBezTo>
                <a:lnTo>
                  <a:pt x="537" y="46"/>
                </a:lnTo>
                <a:close/>
                <a:moveTo>
                  <a:pt x="487" y="96"/>
                </a:moveTo>
                <a:cubicBezTo>
                  <a:pt x="602" y="211"/>
                  <a:pt x="602" y="211"/>
                  <a:pt x="602" y="211"/>
                </a:cubicBezTo>
                <a:cubicBezTo>
                  <a:pt x="570" y="244"/>
                  <a:pt x="570" y="244"/>
                  <a:pt x="570" y="244"/>
                </a:cubicBezTo>
                <a:cubicBezTo>
                  <a:pt x="539" y="213"/>
                  <a:pt x="539" y="213"/>
                  <a:pt x="539" y="213"/>
                </a:cubicBezTo>
                <a:cubicBezTo>
                  <a:pt x="539" y="213"/>
                  <a:pt x="539" y="213"/>
                  <a:pt x="539" y="213"/>
                </a:cubicBezTo>
                <a:cubicBezTo>
                  <a:pt x="539" y="213"/>
                  <a:pt x="539" y="213"/>
                  <a:pt x="539" y="213"/>
                </a:cubicBezTo>
                <a:cubicBezTo>
                  <a:pt x="454" y="128"/>
                  <a:pt x="454" y="128"/>
                  <a:pt x="454" y="128"/>
                </a:cubicBezTo>
                <a:lnTo>
                  <a:pt x="487" y="96"/>
                </a:lnTo>
                <a:close/>
                <a:moveTo>
                  <a:pt x="442" y="140"/>
                </a:moveTo>
                <a:cubicBezTo>
                  <a:pt x="467" y="165"/>
                  <a:pt x="467" y="165"/>
                  <a:pt x="467" y="165"/>
                </a:cubicBezTo>
                <a:cubicBezTo>
                  <a:pt x="161" y="472"/>
                  <a:pt x="161" y="472"/>
                  <a:pt x="161" y="472"/>
                </a:cubicBezTo>
                <a:cubicBezTo>
                  <a:pt x="136" y="447"/>
                  <a:pt x="136" y="447"/>
                  <a:pt x="136" y="447"/>
                </a:cubicBezTo>
                <a:lnTo>
                  <a:pt x="442" y="140"/>
                </a:lnTo>
                <a:close/>
                <a:moveTo>
                  <a:pt x="93" y="567"/>
                </a:moveTo>
                <a:cubicBezTo>
                  <a:pt x="131" y="605"/>
                  <a:pt x="131" y="605"/>
                  <a:pt x="131" y="605"/>
                </a:cubicBezTo>
                <a:cubicBezTo>
                  <a:pt x="73" y="625"/>
                  <a:pt x="73" y="625"/>
                  <a:pt x="73" y="625"/>
                </a:cubicBezTo>
                <a:lnTo>
                  <a:pt x="93" y="567"/>
                </a:lnTo>
                <a:close/>
                <a:moveTo>
                  <a:pt x="148" y="599"/>
                </a:moveTo>
                <a:cubicBezTo>
                  <a:pt x="98" y="549"/>
                  <a:pt x="98" y="549"/>
                  <a:pt x="98" y="549"/>
                </a:cubicBezTo>
                <a:cubicBezTo>
                  <a:pt x="128" y="462"/>
                  <a:pt x="128" y="462"/>
                  <a:pt x="128" y="462"/>
                </a:cubicBezTo>
                <a:cubicBezTo>
                  <a:pt x="236" y="570"/>
                  <a:pt x="236" y="570"/>
                  <a:pt x="236" y="570"/>
                </a:cubicBezTo>
                <a:lnTo>
                  <a:pt x="148" y="599"/>
                </a:lnTo>
                <a:close/>
                <a:moveTo>
                  <a:pt x="694" y="574"/>
                </a:moveTo>
                <a:cubicBezTo>
                  <a:pt x="694" y="583"/>
                  <a:pt x="690" y="592"/>
                  <a:pt x="683" y="599"/>
                </a:cubicBezTo>
                <a:cubicBezTo>
                  <a:pt x="595" y="688"/>
                  <a:pt x="595" y="688"/>
                  <a:pt x="595" y="688"/>
                </a:cubicBezTo>
                <a:cubicBezTo>
                  <a:pt x="588" y="695"/>
                  <a:pt x="579" y="698"/>
                  <a:pt x="570" y="698"/>
                </a:cubicBezTo>
                <a:cubicBezTo>
                  <a:pt x="561" y="698"/>
                  <a:pt x="551" y="695"/>
                  <a:pt x="544" y="688"/>
                </a:cubicBezTo>
                <a:cubicBezTo>
                  <a:pt x="514" y="657"/>
                  <a:pt x="514" y="657"/>
                  <a:pt x="514" y="657"/>
                </a:cubicBezTo>
                <a:cubicBezTo>
                  <a:pt x="514" y="657"/>
                  <a:pt x="514" y="657"/>
                  <a:pt x="514" y="657"/>
                </a:cubicBezTo>
                <a:cubicBezTo>
                  <a:pt x="514" y="657"/>
                  <a:pt x="514" y="657"/>
                  <a:pt x="514" y="657"/>
                </a:cubicBezTo>
                <a:cubicBezTo>
                  <a:pt x="458" y="601"/>
                  <a:pt x="458" y="601"/>
                  <a:pt x="458" y="601"/>
                </a:cubicBezTo>
                <a:cubicBezTo>
                  <a:pt x="458" y="601"/>
                  <a:pt x="458" y="601"/>
                  <a:pt x="458" y="601"/>
                </a:cubicBezTo>
                <a:cubicBezTo>
                  <a:pt x="458" y="601"/>
                  <a:pt x="458" y="601"/>
                  <a:pt x="458" y="601"/>
                </a:cubicBezTo>
                <a:cubicBezTo>
                  <a:pt x="403" y="546"/>
                  <a:pt x="403" y="546"/>
                  <a:pt x="403" y="546"/>
                </a:cubicBezTo>
                <a:cubicBezTo>
                  <a:pt x="403" y="546"/>
                  <a:pt x="403" y="546"/>
                  <a:pt x="403" y="546"/>
                </a:cubicBezTo>
                <a:cubicBezTo>
                  <a:pt x="402" y="546"/>
                  <a:pt x="402" y="546"/>
                  <a:pt x="402" y="546"/>
                </a:cubicBezTo>
                <a:cubicBezTo>
                  <a:pt x="365" y="508"/>
                  <a:pt x="365" y="508"/>
                  <a:pt x="365" y="508"/>
                </a:cubicBezTo>
                <a:cubicBezTo>
                  <a:pt x="362" y="505"/>
                  <a:pt x="362" y="500"/>
                  <a:pt x="365" y="497"/>
                </a:cubicBezTo>
                <a:cubicBezTo>
                  <a:pt x="368" y="493"/>
                  <a:pt x="373" y="493"/>
                  <a:pt x="377" y="497"/>
                </a:cubicBezTo>
                <a:cubicBezTo>
                  <a:pt x="408" y="528"/>
                  <a:pt x="408" y="528"/>
                  <a:pt x="408" y="528"/>
                </a:cubicBezTo>
                <a:cubicBezTo>
                  <a:pt x="466" y="470"/>
                  <a:pt x="466" y="470"/>
                  <a:pt x="466" y="470"/>
                </a:cubicBezTo>
                <a:cubicBezTo>
                  <a:pt x="469" y="467"/>
                  <a:pt x="475" y="467"/>
                  <a:pt x="478" y="470"/>
                </a:cubicBezTo>
                <a:cubicBezTo>
                  <a:pt x="481" y="474"/>
                  <a:pt x="481" y="479"/>
                  <a:pt x="478" y="482"/>
                </a:cubicBezTo>
                <a:cubicBezTo>
                  <a:pt x="420" y="540"/>
                  <a:pt x="420" y="540"/>
                  <a:pt x="420" y="540"/>
                </a:cubicBezTo>
                <a:cubicBezTo>
                  <a:pt x="464" y="584"/>
                  <a:pt x="464" y="584"/>
                  <a:pt x="464" y="584"/>
                </a:cubicBezTo>
                <a:cubicBezTo>
                  <a:pt x="502" y="546"/>
                  <a:pt x="502" y="546"/>
                  <a:pt x="502" y="546"/>
                </a:cubicBezTo>
                <a:cubicBezTo>
                  <a:pt x="506" y="542"/>
                  <a:pt x="511" y="542"/>
                  <a:pt x="514" y="546"/>
                </a:cubicBezTo>
                <a:cubicBezTo>
                  <a:pt x="517" y="549"/>
                  <a:pt x="517" y="554"/>
                  <a:pt x="514" y="557"/>
                </a:cubicBezTo>
                <a:cubicBezTo>
                  <a:pt x="476" y="596"/>
                  <a:pt x="476" y="596"/>
                  <a:pt x="476" y="596"/>
                </a:cubicBezTo>
                <a:cubicBezTo>
                  <a:pt x="520" y="640"/>
                  <a:pt x="520" y="640"/>
                  <a:pt x="520" y="640"/>
                </a:cubicBezTo>
                <a:cubicBezTo>
                  <a:pt x="578" y="582"/>
                  <a:pt x="578" y="582"/>
                  <a:pt x="578" y="582"/>
                </a:cubicBezTo>
                <a:cubicBezTo>
                  <a:pt x="581" y="579"/>
                  <a:pt x="586" y="579"/>
                  <a:pt x="589" y="582"/>
                </a:cubicBezTo>
                <a:cubicBezTo>
                  <a:pt x="593" y="585"/>
                  <a:pt x="593" y="590"/>
                  <a:pt x="589" y="593"/>
                </a:cubicBezTo>
                <a:cubicBezTo>
                  <a:pt x="531" y="651"/>
                  <a:pt x="531" y="651"/>
                  <a:pt x="531" y="651"/>
                </a:cubicBezTo>
                <a:cubicBezTo>
                  <a:pt x="556" y="676"/>
                  <a:pt x="556" y="676"/>
                  <a:pt x="556" y="676"/>
                </a:cubicBezTo>
                <a:cubicBezTo>
                  <a:pt x="563" y="683"/>
                  <a:pt x="576" y="683"/>
                  <a:pt x="583" y="676"/>
                </a:cubicBezTo>
                <a:cubicBezTo>
                  <a:pt x="672" y="588"/>
                  <a:pt x="672" y="588"/>
                  <a:pt x="672" y="588"/>
                </a:cubicBezTo>
                <a:cubicBezTo>
                  <a:pt x="675" y="584"/>
                  <a:pt x="677" y="579"/>
                  <a:pt x="677" y="574"/>
                </a:cubicBezTo>
                <a:cubicBezTo>
                  <a:pt x="677" y="569"/>
                  <a:pt x="675" y="564"/>
                  <a:pt x="672" y="560"/>
                </a:cubicBezTo>
                <a:cubicBezTo>
                  <a:pt x="491" y="380"/>
                  <a:pt x="491" y="380"/>
                  <a:pt x="491" y="380"/>
                </a:cubicBezTo>
                <a:cubicBezTo>
                  <a:pt x="488" y="376"/>
                  <a:pt x="488" y="371"/>
                  <a:pt x="491" y="368"/>
                </a:cubicBezTo>
                <a:cubicBezTo>
                  <a:pt x="494" y="365"/>
                  <a:pt x="500" y="365"/>
                  <a:pt x="503" y="368"/>
                </a:cubicBezTo>
                <a:cubicBezTo>
                  <a:pt x="683" y="549"/>
                  <a:pt x="683" y="549"/>
                  <a:pt x="683" y="549"/>
                </a:cubicBezTo>
                <a:cubicBezTo>
                  <a:pt x="690" y="555"/>
                  <a:pt x="694" y="564"/>
                  <a:pt x="694" y="574"/>
                </a:cubicBezTo>
                <a:close/>
                <a:moveTo>
                  <a:pt x="41" y="184"/>
                </a:moveTo>
                <a:cubicBezTo>
                  <a:pt x="41" y="184"/>
                  <a:pt x="41" y="184"/>
                  <a:pt x="41" y="184"/>
                </a:cubicBezTo>
                <a:cubicBezTo>
                  <a:pt x="10" y="153"/>
                  <a:pt x="10" y="153"/>
                  <a:pt x="10" y="153"/>
                </a:cubicBezTo>
                <a:cubicBezTo>
                  <a:pt x="3" y="147"/>
                  <a:pt x="0" y="138"/>
                  <a:pt x="0" y="128"/>
                </a:cubicBezTo>
                <a:cubicBezTo>
                  <a:pt x="0" y="119"/>
                  <a:pt x="3" y="110"/>
                  <a:pt x="10" y="103"/>
                </a:cubicBezTo>
                <a:cubicBezTo>
                  <a:pt x="99" y="14"/>
                  <a:pt x="99" y="14"/>
                  <a:pt x="99" y="14"/>
                </a:cubicBezTo>
                <a:cubicBezTo>
                  <a:pt x="113" y="0"/>
                  <a:pt x="135" y="0"/>
                  <a:pt x="149" y="14"/>
                </a:cubicBezTo>
                <a:cubicBezTo>
                  <a:pt x="323" y="188"/>
                  <a:pt x="323" y="188"/>
                  <a:pt x="323" y="188"/>
                </a:cubicBezTo>
                <a:cubicBezTo>
                  <a:pt x="326" y="191"/>
                  <a:pt x="326" y="197"/>
                  <a:pt x="323" y="200"/>
                </a:cubicBezTo>
                <a:cubicBezTo>
                  <a:pt x="320" y="203"/>
                  <a:pt x="314" y="203"/>
                  <a:pt x="311" y="200"/>
                </a:cubicBezTo>
                <a:cubicBezTo>
                  <a:pt x="138" y="26"/>
                  <a:pt x="138" y="26"/>
                  <a:pt x="138" y="26"/>
                </a:cubicBezTo>
                <a:cubicBezTo>
                  <a:pt x="130" y="19"/>
                  <a:pt x="118" y="19"/>
                  <a:pt x="110" y="26"/>
                </a:cubicBezTo>
                <a:cubicBezTo>
                  <a:pt x="22" y="115"/>
                  <a:pt x="22" y="115"/>
                  <a:pt x="22" y="115"/>
                </a:cubicBezTo>
                <a:cubicBezTo>
                  <a:pt x="18" y="118"/>
                  <a:pt x="16" y="123"/>
                  <a:pt x="16" y="128"/>
                </a:cubicBezTo>
                <a:cubicBezTo>
                  <a:pt x="16" y="133"/>
                  <a:pt x="18" y="138"/>
                  <a:pt x="22" y="142"/>
                </a:cubicBezTo>
                <a:cubicBezTo>
                  <a:pt x="47" y="166"/>
                  <a:pt x="47" y="166"/>
                  <a:pt x="47" y="166"/>
                </a:cubicBezTo>
                <a:cubicBezTo>
                  <a:pt x="104" y="109"/>
                  <a:pt x="104" y="109"/>
                  <a:pt x="104" y="109"/>
                </a:cubicBezTo>
                <a:cubicBezTo>
                  <a:pt x="108" y="105"/>
                  <a:pt x="113" y="105"/>
                  <a:pt x="116" y="109"/>
                </a:cubicBezTo>
                <a:cubicBezTo>
                  <a:pt x="119" y="112"/>
                  <a:pt x="119" y="117"/>
                  <a:pt x="116" y="120"/>
                </a:cubicBezTo>
                <a:cubicBezTo>
                  <a:pt x="58" y="178"/>
                  <a:pt x="58" y="178"/>
                  <a:pt x="58" y="178"/>
                </a:cubicBezTo>
                <a:cubicBezTo>
                  <a:pt x="102" y="222"/>
                  <a:pt x="102" y="222"/>
                  <a:pt x="102" y="222"/>
                </a:cubicBezTo>
                <a:cubicBezTo>
                  <a:pt x="141" y="184"/>
                  <a:pt x="141" y="184"/>
                  <a:pt x="141" y="184"/>
                </a:cubicBezTo>
                <a:cubicBezTo>
                  <a:pt x="144" y="180"/>
                  <a:pt x="149" y="180"/>
                  <a:pt x="152" y="184"/>
                </a:cubicBezTo>
                <a:cubicBezTo>
                  <a:pt x="155" y="187"/>
                  <a:pt x="155" y="192"/>
                  <a:pt x="152" y="195"/>
                </a:cubicBezTo>
                <a:cubicBezTo>
                  <a:pt x="114" y="234"/>
                  <a:pt x="114" y="234"/>
                  <a:pt x="114" y="234"/>
                </a:cubicBezTo>
                <a:cubicBezTo>
                  <a:pt x="158" y="278"/>
                  <a:pt x="158" y="278"/>
                  <a:pt x="158" y="278"/>
                </a:cubicBezTo>
                <a:cubicBezTo>
                  <a:pt x="216" y="220"/>
                  <a:pt x="216" y="220"/>
                  <a:pt x="216" y="220"/>
                </a:cubicBezTo>
                <a:cubicBezTo>
                  <a:pt x="219" y="217"/>
                  <a:pt x="224" y="217"/>
                  <a:pt x="227" y="220"/>
                </a:cubicBezTo>
                <a:cubicBezTo>
                  <a:pt x="231" y="223"/>
                  <a:pt x="231" y="228"/>
                  <a:pt x="227" y="232"/>
                </a:cubicBezTo>
                <a:cubicBezTo>
                  <a:pt x="170" y="289"/>
                  <a:pt x="170" y="289"/>
                  <a:pt x="170" y="289"/>
                </a:cubicBezTo>
                <a:cubicBezTo>
                  <a:pt x="197" y="317"/>
                  <a:pt x="197" y="317"/>
                  <a:pt x="197" y="317"/>
                </a:cubicBezTo>
                <a:cubicBezTo>
                  <a:pt x="201" y="320"/>
                  <a:pt x="201" y="326"/>
                  <a:pt x="197" y="329"/>
                </a:cubicBezTo>
                <a:cubicBezTo>
                  <a:pt x="196" y="331"/>
                  <a:pt x="194" y="331"/>
                  <a:pt x="192" y="331"/>
                </a:cubicBezTo>
                <a:cubicBezTo>
                  <a:pt x="189" y="331"/>
                  <a:pt x="187" y="331"/>
                  <a:pt x="186" y="329"/>
                </a:cubicBezTo>
                <a:cubicBezTo>
                  <a:pt x="152" y="295"/>
                  <a:pt x="152" y="295"/>
                  <a:pt x="152" y="295"/>
                </a:cubicBezTo>
                <a:cubicBezTo>
                  <a:pt x="152" y="295"/>
                  <a:pt x="152" y="295"/>
                  <a:pt x="152" y="295"/>
                </a:cubicBezTo>
                <a:cubicBezTo>
                  <a:pt x="152" y="295"/>
                  <a:pt x="152" y="295"/>
                  <a:pt x="152" y="295"/>
                </a:cubicBezTo>
                <a:cubicBezTo>
                  <a:pt x="96" y="240"/>
                  <a:pt x="96" y="240"/>
                  <a:pt x="96" y="240"/>
                </a:cubicBezTo>
                <a:cubicBezTo>
                  <a:pt x="96" y="240"/>
                  <a:pt x="96" y="240"/>
                  <a:pt x="96" y="240"/>
                </a:cubicBezTo>
                <a:cubicBezTo>
                  <a:pt x="96" y="240"/>
                  <a:pt x="96" y="240"/>
                  <a:pt x="96" y="240"/>
                </a:cubicBezTo>
                <a:cubicBezTo>
                  <a:pt x="41" y="184"/>
                  <a:pt x="41" y="184"/>
                  <a:pt x="41" y="184"/>
                </a:cubicBezTo>
                <a:cubicBezTo>
                  <a:pt x="41" y="184"/>
                  <a:pt x="41" y="184"/>
                  <a:pt x="41" y="18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3" name="Freeform 38"/>
          <p:cNvSpPr>
            <a:spLocks noEditPoints="1"/>
          </p:cNvSpPr>
          <p:nvPr/>
        </p:nvSpPr>
        <p:spPr bwMode="auto">
          <a:xfrm>
            <a:off x="1342383" y="3292001"/>
            <a:ext cx="295968" cy="295966"/>
          </a:xfrm>
          <a:custGeom>
            <a:avLst/>
            <a:gdLst>
              <a:gd name="T0" fmla="*/ 130 w 1943"/>
              <a:gd name="T1" fmla="*/ 0 h 1943"/>
              <a:gd name="T2" fmla="*/ 0 w 1943"/>
              <a:gd name="T3" fmla="*/ 1456 h 1943"/>
              <a:gd name="T4" fmla="*/ 817 w 1943"/>
              <a:gd name="T5" fmla="*/ 1587 h 1943"/>
              <a:gd name="T6" fmla="*/ 675 w 1943"/>
              <a:gd name="T7" fmla="*/ 1781 h 1943"/>
              <a:gd name="T8" fmla="*/ 675 w 1943"/>
              <a:gd name="T9" fmla="*/ 1943 h 1943"/>
              <a:gd name="T10" fmla="*/ 1349 w 1943"/>
              <a:gd name="T11" fmla="*/ 1862 h 1943"/>
              <a:gd name="T12" fmla="*/ 1222 w 1943"/>
              <a:gd name="T13" fmla="*/ 1781 h 1943"/>
              <a:gd name="T14" fmla="*/ 1812 w 1943"/>
              <a:gd name="T15" fmla="*/ 1587 h 1943"/>
              <a:gd name="T16" fmla="*/ 1943 w 1943"/>
              <a:gd name="T17" fmla="*/ 130 h 1943"/>
              <a:gd name="T18" fmla="*/ 1306 w 1943"/>
              <a:gd name="T19" fmla="*/ 1862 h 1943"/>
              <a:gd name="T20" fmla="*/ 675 w 1943"/>
              <a:gd name="T21" fmla="*/ 1900 h 1943"/>
              <a:gd name="T22" fmla="*/ 675 w 1943"/>
              <a:gd name="T23" fmla="*/ 1824 h 1943"/>
              <a:gd name="T24" fmla="*/ 1306 w 1943"/>
              <a:gd name="T25" fmla="*/ 1862 h 1943"/>
              <a:gd name="T26" fmla="*/ 769 w 1943"/>
              <a:gd name="T27" fmla="*/ 1781 h 1943"/>
              <a:gd name="T28" fmla="*/ 1077 w 1943"/>
              <a:gd name="T29" fmla="*/ 1587 h 1943"/>
              <a:gd name="T30" fmla="*/ 1899 w 1943"/>
              <a:gd name="T31" fmla="*/ 1456 h 1943"/>
              <a:gd name="T32" fmla="*/ 130 w 1943"/>
              <a:gd name="T33" fmla="*/ 1543 h 1943"/>
              <a:gd name="T34" fmla="*/ 43 w 1943"/>
              <a:gd name="T35" fmla="*/ 130 h 1943"/>
              <a:gd name="T36" fmla="*/ 1812 w 1943"/>
              <a:gd name="T37" fmla="*/ 43 h 1943"/>
              <a:gd name="T38" fmla="*/ 1899 w 1943"/>
              <a:gd name="T39" fmla="*/ 1456 h 1943"/>
              <a:gd name="T40" fmla="*/ 1824 w 1943"/>
              <a:gd name="T41" fmla="*/ 1349 h 1943"/>
              <a:gd name="T42" fmla="*/ 119 w 1943"/>
              <a:gd name="T43" fmla="*/ 119 h 1943"/>
              <a:gd name="T44" fmla="*/ 162 w 1943"/>
              <a:gd name="T45" fmla="*/ 162 h 1943"/>
              <a:gd name="T46" fmla="*/ 1781 w 1943"/>
              <a:gd name="T47" fmla="*/ 1306 h 1943"/>
              <a:gd name="T48" fmla="*/ 162 w 1943"/>
              <a:gd name="T49" fmla="*/ 162 h 1943"/>
              <a:gd name="T50" fmla="*/ 899 w 1943"/>
              <a:gd name="T51" fmla="*/ 1446 h 1943"/>
              <a:gd name="T52" fmla="*/ 1044 w 1943"/>
              <a:gd name="T53" fmla="*/ 1446 h 1943"/>
              <a:gd name="T54" fmla="*/ 971 w 1943"/>
              <a:gd name="T55" fmla="*/ 1475 h 1943"/>
              <a:gd name="T56" fmla="*/ 971 w 1943"/>
              <a:gd name="T57" fmla="*/ 1418 h 1943"/>
              <a:gd name="T58" fmla="*/ 971 w 1943"/>
              <a:gd name="T59" fmla="*/ 1475 h 1943"/>
              <a:gd name="T60" fmla="*/ 1447 w 1943"/>
              <a:gd name="T61" fmla="*/ 734 h 1943"/>
              <a:gd name="T62" fmla="*/ 1169 w 1943"/>
              <a:gd name="T63" fmla="*/ 1003 h 1943"/>
              <a:gd name="T64" fmla="*/ 1154 w 1943"/>
              <a:gd name="T65" fmla="*/ 966 h 1943"/>
              <a:gd name="T66" fmla="*/ 1154 w 1943"/>
              <a:gd name="T67" fmla="*/ 502 h 1943"/>
              <a:gd name="T68" fmla="*/ 1185 w 1943"/>
              <a:gd name="T69" fmla="*/ 471 h 1943"/>
              <a:gd name="T70" fmla="*/ 557 w 1943"/>
              <a:gd name="T71" fmla="*/ 734 h 1943"/>
              <a:gd name="T72" fmla="*/ 789 w 1943"/>
              <a:gd name="T73" fmla="*/ 997 h 1943"/>
              <a:gd name="T74" fmla="*/ 758 w 1943"/>
              <a:gd name="T75" fmla="*/ 997 h 1943"/>
              <a:gd name="T76" fmla="*/ 758 w 1943"/>
              <a:gd name="T77" fmla="*/ 471 h 1943"/>
              <a:gd name="T78" fmla="*/ 789 w 1943"/>
              <a:gd name="T79" fmla="*/ 502 h 1943"/>
              <a:gd name="T80" fmla="*/ 893 w 1943"/>
              <a:gd name="T81" fmla="*/ 1038 h 1943"/>
              <a:gd name="T82" fmla="*/ 866 w 1943"/>
              <a:gd name="T83" fmla="*/ 1051 h 1943"/>
              <a:gd name="T84" fmla="*/ 1050 w 1943"/>
              <a:gd name="T85" fmla="*/ 430 h 1943"/>
              <a:gd name="T86" fmla="*/ 1091 w 1943"/>
              <a:gd name="T87" fmla="*/ 444 h 19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943" h="1943">
                <a:moveTo>
                  <a:pt x="1812" y="0"/>
                </a:moveTo>
                <a:cubicBezTo>
                  <a:pt x="130" y="0"/>
                  <a:pt x="130" y="0"/>
                  <a:pt x="130" y="0"/>
                </a:cubicBezTo>
                <a:cubicBezTo>
                  <a:pt x="58" y="0"/>
                  <a:pt x="0" y="58"/>
                  <a:pt x="0" y="130"/>
                </a:cubicBezTo>
                <a:cubicBezTo>
                  <a:pt x="0" y="1456"/>
                  <a:pt x="0" y="1456"/>
                  <a:pt x="0" y="1456"/>
                </a:cubicBezTo>
                <a:cubicBezTo>
                  <a:pt x="0" y="1528"/>
                  <a:pt x="58" y="1587"/>
                  <a:pt x="130" y="1587"/>
                </a:cubicBezTo>
                <a:cubicBezTo>
                  <a:pt x="817" y="1587"/>
                  <a:pt x="817" y="1587"/>
                  <a:pt x="817" y="1587"/>
                </a:cubicBezTo>
                <a:cubicBezTo>
                  <a:pt x="720" y="1781"/>
                  <a:pt x="720" y="1781"/>
                  <a:pt x="720" y="1781"/>
                </a:cubicBezTo>
                <a:cubicBezTo>
                  <a:pt x="675" y="1781"/>
                  <a:pt x="675" y="1781"/>
                  <a:pt x="675" y="1781"/>
                </a:cubicBezTo>
                <a:cubicBezTo>
                  <a:pt x="630" y="1781"/>
                  <a:pt x="593" y="1817"/>
                  <a:pt x="593" y="1862"/>
                </a:cubicBezTo>
                <a:cubicBezTo>
                  <a:pt x="593" y="1907"/>
                  <a:pt x="630" y="1943"/>
                  <a:pt x="675" y="1943"/>
                </a:cubicBezTo>
                <a:cubicBezTo>
                  <a:pt x="1268" y="1943"/>
                  <a:pt x="1268" y="1943"/>
                  <a:pt x="1268" y="1943"/>
                </a:cubicBezTo>
                <a:cubicBezTo>
                  <a:pt x="1313" y="1943"/>
                  <a:pt x="1349" y="1907"/>
                  <a:pt x="1349" y="1862"/>
                </a:cubicBezTo>
                <a:cubicBezTo>
                  <a:pt x="1349" y="1817"/>
                  <a:pt x="1313" y="1781"/>
                  <a:pt x="1268" y="1781"/>
                </a:cubicBezTo>
                <a:cubicBezTo>
                  <a:pt x="1222" y="1781"/>
                  <a:pt x="1222" y="1781"/>
                  <a:pt x="1222" y="1781"/>
                </a:cubicBezTo>
                <a:cubicBezTo>
                  <a:pt x="1125" y="1587"/>
                  <a:pt x="1125" y="1587"/>
                  <a:pt x="1125" y="1587"/>
                </a:cubicBezTo>
                <a:cubicBezTo>
                  <a:pt x="1812" y="1587"/>
                  <a:pt x="1812" y="1587"/>
                  <a:pt x="1812" y="1587"/>
                </a:cubicBezTo>
                <a:cubicBezTo>
                  <a:pt x="1884" y="1587"/>
                  <a:pt x="1943" y="1528"/>
                  <a:pt x="1943" y="1456"/>
                </a:cubicBezTo>
                <a:cubicBezTo>
                  <a:pt x="1943" y="130"/>
                  <a:pt x="1943" y="130"/>
                  <a:pt x="1943" y="130"/>
                </a:cubicBezTo>
                <a:cubicBezTo>
                  <a:pt x="1943" y="58"/>
                  <a:pt x="1884" y="0"/>
                  <a:pt x="1812" y="0"/>
                </a:cubicBezTo>
                <a:close/>
                <a:moveTo>
                  <a:pt x="1306" y="1862"/>
                </a:moveTo>
                <a:cubicBezTo>
                  <a:pt x="1306" y="1883"/>
                  <a:pt x="1289" y="1900"/>
                  <a:pt x="1268" y="1900"/>
                </a:cubicBezTo>
                <a:cubicBezTo>
                  <a:pt x="675" y="1900"/>
                  <a:pt x="675" y="1900"/>
                  <a:pt x="675" y="1900"/>
                </a:cubicBezTo>
                <a:cubicBezTo>
                  <a:pt x="654" y="1900"/>
                  <a:pt x="637" y="1883"/>
                  <a:pt x="637" y="1862"/>
                </a:cubicBezTo>
                <a:cubicBezTo>
                  <a:pt x="637" y="1841"/>
                  <a:pt x="654" y="1824"/>
                  <a:pt x="675" y="1824"/>
                </a:cubicBezTo>
                <a:cubicBezTo>
                  <a:pt x="1268" y="1824"/>
                  <a:pt x="1268" y="1824"/>
                  <a:pt x="1268" y="1824"/>
                </a:cubicBezTo>
                <a:cubicBezTo>
                  <a:pt x="1289" y="1824"/>
                  <a:pt x="1306" y="1841"/>
                  <a:pt x="1306" y="1862"/>
                </a:cubicBezTo>
                <a:close/>
                <a:moveTo>
                  <a:pt x="1174" y="1781"/>
                </a:moveTo>
                <a:cubicBezTo>
                  <a:pt x="769" y="1781"/>
                  <a:pt x="769" y="1781"/>
                  <a:pt x="769" y="1781"/>
                </a:cubicBezTo>
                <a:cubicBezTo>
                  <a:pt x="866" y="1587"/>
                  <a:pt x="866" y="1587"/>
                  <a:pt x="866" y="1587"/>
                </a:cubicBezTo>
                <a:cubicBezTo>
                  <a:pt x="1077" y="1587"/>
                  <a:pt x="1077" y="1587"/>
                  <a:pt x="1077" y="1587"/>
                </a:cubicBezTo>
                <a:lnTo>
                  <a:pt x="1174" y="1781"/>
                </a:lnTo>
                <a:close/>
                <a:moveTo>
                  <a:pt x="1899" y="1456"/>
                </a:moveTo>
                <a:cubicBezTo>
                  <a:pt x="1899" y="1504"/>
                  <a:pt x="1860" y="1543"/>
                  <a:pt x="1812" y="1543"/>
                </a:cubicBezTo>
                <a:cubicBezTo>
                  <a:pt x="130" y="1543"/>
                  <a:pt x="130" y="1543"/>
                  <a:pt x="130" y="1543"/>
                </a:cubicBezTo>
                <a:cubicBezTo>
                  <a:pt x="82" y="1543"/>
                  <a:pt x="43" y="1504"/>
                  <a:pt x="43" y="1456"/>
                </a:cubicBezTo>
                <a:cubicBezTo>
                  <a:pt x="43" y="130"/>
                  <a:pt x="43" y="130"/>
                  <a:pt x="43" y="130"/>
                </a:cubicBezTo>
                <a:cubicBezTo>
                  <a:pt x="43" y="82"/>
                  <a:pt x="82" y="43"/>
                  <a:pt x="130" y="43"/>
                </a:cubicBezTo>
                <a:cubicBezTo>
                  <a:pt x="1812" y="43"/>
                  <a:pt x="1812" y="43"/>
                  <a:pt x="1812" y="43"/>
                </a:cubicBezTo>
                <a:cubicBezTo>
                  <a:pt x="1860" y="43"/>
                  <a:pt x="1899" y="82"/>
                  <a:pt x="1899" y="130"/>
                </a:cubicBezTo>
                <a:lnTo>
                  <a:pt x="1899" y="1456"/>
                </a:lnTo>
                <a:close/>
                <a:moveTo>
                  <a:pt x="119" y="1349"/>
                </a:moveTo>
                <a:cubicBezTo>
                  <a:pt x="1824" y="1349"/>
                  <a:pt x="1824" y="1349"/>
                  <a:pt x="1824" y="1349"/>
                </a:cubicBezTo>
                <a:cubicBezTo>
                  <a:pt x="1824" y="119"/>
                  <a:pt x="1824" y="119"/>
                  <a:pt x="1824" y="119"/>
                </a:cubicBezTo>
                <a:cubicBezTo>
                  <a:pt x="119" y="119"/>
                  <a:pt x="119" y="119"/>
                  <a:pt x="119" y="119"/>
                </a:cubicBezTo>
                <a:lnTo>
                  <a:pt x="119" y="1349"/>
                </a:lnTo>
                <a:close/>
                <a:moveTo>
                  <a:pt x="162" y="162"/>
                </a:moveTo>
                <a:cubicBezTo>
                  <a:pt x="1781" y="162"/>
                  <a:pt x="1781" y="162"/>
                  <a:pt x="1781" y="162"/>
                </a:cubicBezTo>
                <a:cubicBezTo>
                  <a:pt x="1781" y="1306"/>
                  <a:pt x="1781" y="1306"/>
                  <a:pt x="1781" y="1306"/>
                </a:cubicBezTo>
                <a:cubicBezTo>
                  <a:pt x="162" y="1306"/>
                  <a:pt x="162" y="1306"/>
                  <a:pt x="162" y="1306"/>
                </a:cubicBezTo>
                <a:lnTo>
                  <a:pt x="162" y="162"/>
                </a:lnTo>
                <a:close/>
                <a:moveTo>
                  <a:pt x="971" y="1374"/>
                </a:moveTo>
                <a:cubicBezTo>
                  <a:pt x="931" y="1374"/>
                  <a:pt x="899" y="1406"/>
                  <a:pt x="899" y="1446"/>
                </a:cubicBezTo>
                <a:cubicBezTo>
                  <a:pt x="899" y="1486"/>
                  <a:pt x="931" y="1519"/>
                  <a:pt x="971" y="1519"/>
                </a:cubicBezTo>
                <a:cubicBezTo>
                  <a:pt x="1011" y="1519"/>
                  <a:pt x="1044" y="1486"/>
                  <a:pt x="1044" y="1446"/>
                </a:cubicBezTo>
                <a:cubicBezTo>
                  <a:pt x="1044" y="1406"/>
                  <a:pt x="1011" y="1374"/>
                  <a:pt x="971" y="1374"/>
                </a:cubicBezTo>
                <a:close/>
                <a:moveTo>
                  <a:pt x="971" y="1475"/>
                </a:moveTo>
                <a:cubicBezTo>
                  <a:pt x="955" y="1475"/>
                  <a:pt x="943" y="1462"/>
                  <a:pt x="943" y="1446"/>
                </a:cubicBezTo>
                <a:cubicBezTo>
                  <a:pt x="943" y="1430"/>
                  <a:pt x="955" y="1418"/>
                  <a:pt x="971" y="1418"/>
                </a:cubicBezTo>
                <a:cubicBezTo>
                  <a:pt x="987" y="1418"/>
                  <a:pt x="1000" y="1430"/>
                  <a:pt x="1000" y="1446"/>
                </a:cubicBezTo>
                <a:cubicBezTo>
                  <a:pt x="1000" y="1462"/>
                  <a:pt x="987" y="1475"/>
                  <a:pt x="971" y="1475"/>
                </a:cubicBezTo>
                <a:close/>
                <a:moveTo>
                  <a:pt x="1185" y="471"/>
                </a:moveTo>
                <a:cubicBezTo>
                  <a:pt x="1447" y="734"/>
                  <a:pt x="1447" y="734"/>
                  <a:pt x="1447" y="734"/>
                </a:cubicBezTo>
                <a:cubicBezTo>
                  <a:pt x="1185" y="997"/>
                  <a:pt x="1185" y="997"/>
                  <a:pt x="1185" y="997"/>
                </a:cubicBezTo>
                <a:cubicBezTo>
                  <a:pt x="1180" y="1001"/>
                  <a:pt x="1175" y="1003"/>
                  <a:pt x="1169" y="1003"/>
                </a:cubicBezTo>
                <a:cubicBezTo>
                  <a:pt x="1164" y="1003"/>
                  <a:pt x="1158" y="1001"/>
                  <a:pt x="1154" y="997"/>
                </a:cubicBezTo>
                <a:cubicBezTo>
                  <a:pt x="1145" y="988"/>
                  <a:pt x="1145" y="974"/>
                  <a:pt x="1154" y="966"/>
                </a:cubicBezTo>
                <a:cubicBezTo>
                  <a:pt x="1386" y="734"/>
                  <a:pt x="1386" y="734"/>
                  <a:pt x="1386" y="734"/>
                </a:cubicBezTo>
                <a:cubicBezTo>
                  <a:pt x="1154" y="502"/>
                  <a:pt x="1154" y="502"/>
                  <a:pt x="1154" y="502"/>
                </a:cubicBezTo>
                <a:cubicBezTo>
                  <a:pt x="1145" y="494"/>
                  <a:pt x="1145" y="480"/>
                  <a:pt x="1154" y="471"/>
                </a:cubicBezTo>
                <a:cubicBezTo>
                  <a:pt x="1162" y="463"/>
                  <a:pt x="1176" y="463"/>
                  <a:pt x="1185" y="471"/>
                </a:cubicBezTo>
                <a:close/>
                <a:moveTo>
                  <a:pt x="789" y="502"/>
                </a:moveTo>
                <a:cubicBezTo>
                  <a:pt x="557" y="734"/>
                  <a:pt x="557" y="734"/>
                  <a:pt x="557" y="734"/>
                </a:cubicBezTo>
                <a:cubicBezTo>
                  <a:pt x="789" y="966"/>
                  <a:pt x="789" y="966"/>
                  <a:pt x="789" y="966"/>
                </a:cubicBezTo>
                <a:cubicBezTo>
                  <a:pt x="797" y="974"/>
                  <a:pt x="797" y="988"/>
                  <a:pt x="789" y="997"/>
                </a:cubicBezTo>
                <a:cubicBezTo>
                  <a:pt x="785" y="1001"/>
                  <a:pt x="779" y="1003"/>
                  <a:pt x="774" y="1003"/>
                </a:cubicBezTo>
                <a:cubicBezTo>
                  <a:pt x="768" y="1003"/>
                  <a:pt x="762" y="1001"/>
                  <a:pt x="758" y="997"/>
                </a:cubicBezTo>
                <a:cubicBezTo>
                  <a:pt x="495" y="734"/>
                  <a:pt x="495" y="734"/>
                  <a:pt x="495" y="734"/>
                </a:cubicBezTo>
                <a:cubicBezTo>
                  <a:pt x="758" y="471"/>
                  <a:pt x="758" y="471"/>
                  <a:pt x="758" y="471"/>
                </a:cubicBezTo>
                <a:cubicBezTo>
                  <a:pt x="767" y="463"/>
                  <a:pt x="780" y="463"/>
                  <a:pt x="789" y="471"/>
                </a:cubicBezTo>
                <a:cubicBezTo>
                  <a:pt x="797" y="480"/>
                  <a:pt x="797" y="494"/>
                  <a:pt x="789" y="502"/>
                </a:cubicBezTo>
                <a:close/>
                <a:moveTo>
                  <a:pt x="1091" y="444"/>
                </a:moveTo>
                <a:cubicBezTo>
                  <a:pt x="893" y="1038"/>
                  <a:pt x="893" y="1038"/>
                  <a:pt x="893" y="1038"/>
                </a:cubicBezTo>
                <a:cubicBezTo>
                  <a:pt x="890" y="1047"/>
                  <a:pt x="882" y="1053"/>
                  <a:pt x="872" y="1053"/>
                </a:cubicBezTo>
                <a:cubicBezTo>
                  <a:pt x="870" y="1053"/>
                  <a:pt x="868" y="1052"/>
                  <a:pt x="866" y="1051"/>
                </a:cubicBezTo>
                <a:cubicBezTo>
                  <a:pt x="854" y="1048"/>
                  <a:pt x="848" y="1035"/>
                  <a:pt x="852" y="1024"/>
                </a:cubicBezTo>
                <a:cubicBezTo>
                  <a:pt x="1050" y="430"/>
                  <a:pt x="1050" y="430"/>
                  <a:pt x="1050" y="430"/>
                </a:cubicBezTo>
                <a:cubicBezTo>
                  <a:pt x="1054" y="419"/>
                  <a:pt x="1066" y="413"/>
                  <a:pt x="1077" y="417"/>
                </a:cubicBezTo>
                <a:cubicBezTo>
                  <a:pt x="1089" y="420"/>
                  <a:pt x="1095" y="433"/>
                  <a:pt x="1091" y="44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4" name="Freeform 42"/>
          <p:cNvSpPr>
            <a:spLocks noEditPoints="1"/>
          </p:cNvSpPr>
          <p:nvPr/>
        </p:nvSpPr>
        <p:spPr bwMode="auto">
          <a:xfrm>
            <a:off x="1334743" y="3811949"/>
            <a:ext cx="311250" cy="310738"/>
          </a:xfrm>
          <a:custGeom>
            <a:avLst/>
            <a:gdLst>
              <a:gd name="T0" fmla="*/ 2048 w 2069"/>
              <a:gd name="T1" fmla="*/ 1014 h 2070"/>
              <a:gd name="T2" fmla="*/ 1885 w 2069"/>
              <a:gd name="T3" fmla="*/ 1014 h 2070"/>
              <a:gd name="T4" fmla="*/ 1863 w 2069"/>
              <a:gd name="T5" fmla="*/ 1035 h 2070"/>
              <a:gd name="T6" fmla="*/ 1034 w 2069"/>
              <a:gd name="T7" fmla="*/ 1864 h 2070"/>
              <a:gd name="T8" fmla="*/ 205 w 2069"/>
              <a:gd name="T9" fmla="*/ 1035 h 2070"/>
              <a:gd name="T10" fmla="*/ 1034 w 2069"/>
              <a:gd name="T11" fmla="*/ 206 h 2070"/>
              <a:gd name="T12" fmla="*/ 1491 w 2069"/>
              <a:gd name="T13" fmla="*/ 344 h 2070"/>
              <a:gd name="T14" fmla="*/ 1034 w 2069"/>
              <a:gd name="T15" fmla="*/ 1058 h 2070"/>
              <a:gd name="T16" fmla="*/ 876 w 2069"/>
              <a:gd name="T17" fmla="*/ 813 h 2070"/>
              <a:gd name="T18" fmla="*/ 858 w 2069"/>
              <a:gd name="T19" fmla="*/ 804 h 2070"/>
              <a:gd name="T20" fmla="*/ 646 w 2069"/>
              <a:gd name="T21" fmla="*/ 804 h 2070"/>
              <a:gd name="T22" fmla="*/ 627 w 2069"/>
              <a:gd name="T23" fmla="*/ 815 h 2070"/>
              <a:gd name="T24" fmla="*/ 628 w 2069"/>
              <a:gd name="T25" fmla="*/ 837 h 2070"/>
              <a:gd name="T26" fmla="*/ 1016 w 2069"/>
              <a:gd name="T27" fmla="*/ 1435 h 2070"/>
              <a:gd name="T28" fmla="*/ 1052 w 2069"/>
              <a:gd name="T29" fmla="*/ 1435 h 2070"/>
              <a:gd name="T30" fmla="*/ 1769 w 2069"/>
              <a:gd name="T31" fmla="*/ 330 h 2070"/>
              <a:gd name="T32" fmla="*/ 1766 w 2069"/>
              <a:gd name="T33" fmla="*/ 303 h 2070"/>
              <a:gd name="T34" fmla="*/ 1034 w 2069"/>
              <a:gd name="T35" fmla="*/ 0 h 2070"/>
              <a:gd name="T36" fmla="*/ 0 w 2069"/>
              <a:gd name="T37" fmla="*/ 1035 h 2070"/>
              <a:gd name="T38" fmla="*/ 1034 w 2069"/>
              <a:gd name="T39" fmla="*/ 2070 h 2070"/>
              <a:gd name="T40" fmla="*/ 2069 w 2069"/>
              <a:gd name="T41" fmla="*/ 1035 h 2070"/>
              <a:gd name="T42" fmla="*/ 2048 w 2069"/>
              <a:gd name="T43" fmla="*/ 1014 h 2070"/>
              <a:gd name="T44" fmla="*/ 1034 w 2069"/>
              <a:gd name="T45" fmla="*/ 2027 h 2070"/>
              <a:gd name="T46" fmla="*/ 42 w 2069"/>
              <a:gd name="T47" fmla="*/ 1035 h 2070"/>
              <a:gd name="T48" fmla="*/ 1034 w 2069"/>
              <a:gd name="T49" fmla="*/ 43 h 2070"/>
              <a:gd name="T50" fmla="*/ 1724 w 2069"/>
              <a:gd name="T51" fmla="*/ 321 h 2070"/>
              <a:gd name="T52" fmla="*/ 1034 w 2069"/>
              <a:gd name="T53" fmla="*/ 1384 h 2070"/>
              <a:gd name="T54" fmla="*/ 685 w 2069"/>
              <a:gd name="T55" fmla="*/ 846 h 2070"/>
              <a:gd name="T56" fmla="*/ 847 w 2069"/>
              <a:gd name="T57" fmla="*/ 846 h 2070"/>
              <a:gd name="T58" fmla="*/ 1016 w 2069"/>
              <a:gd name="T59" fmla="*/ 1109 h 2070"/>
              <a:gd name="T60" fmla="*/ 1034 w 2069"/>
              <a:gd name="T61" fmla="*/ 1118 h 2070"/>
              <a:gd name="T62" fmla="*/ 1034 w 2069"/>
              <a:gd name="T63" fmla="*/ 1118 h 2070"/>
              <a:gd name="T64" fmla="*/ 1052 w 2069"/>
              <a:gd name="T65" fmla="*/ 1109 h 2070"/>
              <a:gd name="T66" fmla="*/ 1538 w 2069"/>
              <a:gd name="T67" fmla="*/ 350 h 2070"/>
              <a:gd name="T68" fmla="*/ 1533 w 2069"/>
              <a:gd name="T69" fmla="*/ 321 h 2070"/>
              <a:gd name="T70" fmla="*/ 1034 w 2069"/>
              <a:gd name="T71" fmla="*/ 163 h 2070"/>
              <a:gd name="T72" fmla="*/ 163 w 2069"/>
              <a:gd name="T73" fmla="*/ 1035 h 2070"/>
              <a:gd name="T74" fmla="*/ 1034 w 2069"/>
              <a:gd name="T75" fmla="*/ 1907 h 2070"/>
              <a:gd name="T76" fmla="*/ 1906 w 2069"/>
              <a:gd name="T77" fmla="*/ 1056 h 2070"/>
              <a:gd name="T78" fmla="*/ 2026 w 2069"/>
              <a:gd name="T79" fmla="*/ 1056 h 2070"/>
              <a:gd name="T80" fmla="*/ 1034 w 2069"/>
              <a:gd name="T81" fmla="*/ 2027 h 20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69" h="2070">
                <a:moveTo>
                  <a:pt x="2048" y="1014"/>
                </a:moveTo>
                <a:cubicBezTo>
                  <a:pt x="1885" y="1014"/>
                  <a:pt x="1885" y="1014"/>
                  <a:pt x="1885" y="1014"/>
                </a:cubicBezTo>
                <a:cubicBezTo>
                  <a:pt x="1873" y="1014"/>
                  <a:pt x="1863" y="1023"/>
                  <a:pt x="1863" y="1035"/>
                </a:cubicBezTo>
                <a:cubicBezTo>
                  <a:pt x="1863" y="1492"/>
                  <a:pt x="1491" y="1864"/>
                  <a:pt x="1034" y="1864"/>
                </a:cubicBezTo>
                <a:cubicBezTo>
                  <a:pt x="577" y="1864"/>
                  <a:pt x="205" y="1492"/>
                  <a:pt x="205" y="1035"/>
                </a:cubicBezTo>
                <a:cubicBezTo>
                  <a:pt x="205" y="578"/>
                  <a:pt x="577" y="206"/>
                  <a:pt x="1034" y="206"/>
                </a:cubicBezTo>
                <a:cubicBezTo>
                  <a:pt x="1194" y="206"/>
                  <a:pt x="1355" y="255"/>
                  <a:pt x="1491" y="344"/>
                </a:cubicBezTo>
                <a:cubicBezTo>
                  <a:pt x="1316" y="615"/>
                  <a:pt x="1097" y="958"/>
                  <a:pt x="1034" y="1058"/>
                </a:cubicBezTo>
                <a:cubicBezTo>
                  <a:pt x="876" y="813"/>
                  <a:pt x="876" y="813"/>
                  <a:pt x="876" y="813"/>
                </a:cubicBezTo>
                <a:cubicBezTo>
                  <a:pt x="872" y="807"/>
                  <a:pt x="865" y="804"/>
                  <a:pt x="858" y="804"/>
                </a:cubicBezTo>
                <a:cubicBezTo>
                  <a:pt x="646" y="804"/>
                  <a:pt x="646" y="804"/>
                  <a:pt x="646" y="804"/>
                </a:cubicBezTo>
                <a:cubicBezTo>
                  <a:pt x="638" y="804"/>
                  <a:pt x="631" y="808"/>
                  <a:pt x="627" y="815"/>
                </a:cubicBezTo>
                <a:cubicBezTo>
                  <a:pt x="623" y="822"/>
                  <a:pt x="624" y="830"/>
                  <a:pt x="628" y="837"/>
                </a:cubicBezTo>
                <a:cubicBezTo>
                  <a:pt x="1016" y="1435"/>
                  <a:pt x="1016" y="1435"/>
                  <a:pt x="1016" y="1435"/>
                </a:cubicBezTo>
                <a:cubicBezTo>
                  <a:pt x="1024" y="1447"/>
                  <a:pt x="1044" y="1447"/>
                  <a:pt x="1052" y="1435"/>
                </a:cubicBezTo>
                <a:cubicBezTo>
                  <a:pt x="1769" y="330"/>
                  <a:pt x="1769" y="330"/>
                  <a:pt x="1769" y="330"/>
                </a:cubicBezTo>
                <a:cubicBezTo>
                  <a:pt x="1774" y="322"/>
                  <a:pt x="1773" y="311"/>
                  <a:pt x="1766" y="303"/>
                </a:cubicBezTo>
                <a:cubicBezTo>
                  <a:pt x="1570" y="108"/>
                  <a:pt x="1311" y="0"/>
                  <a:pt x="1034" y="0"/>
                </a:cubicBezTo>
                <a:cubicBezTo>
                  <a:pt x="464" y="0"/>
                  <a:pt x="0" y="465"/>
                  <a:pt x="0" y="1035"/>
                </a:cubicBezTo>
                <a:cubicBezTo>
                  <a:pt x="0" y="1606"/>
                  <a:pt x="464" y="2070"/>
                  <a:pt x="1034" y="2070"/>
                </a:cubicBezTo>
                <a:cubicBezTo>
                  <a:pt x="1605" y="2070"/>
                  <a:pt x="2069" y="1606"/>
                  <a:pt x="2069" y="1035"/>
                </a:cubicBezTo>
                <a:cubicBezTo>
                  <a:pt x="2069" y="1023"/>
                  <a:pt x="2059" y="1014"/>
                  <a:pt x="2048" y="1014"/>
                </a:cubicBezTo>
                <a:close/>
                <a:moveTo>
                  <a:pt x="1034" y="2027"/>
                </a:moveTo>
                <a:cubicBezTo>
                  <a:pt x="487" y="2027"/>
                  <a:pt x="42" y="1582"/>
                  <a:pt x="42" y="1035"/>
                </a:cubicBezTo>
                <a:cubicBezTo>
                  <a:pt x="42" y="488"/>
                  <a:pt x="487" y="43"/>
                  <a:pt x="1034" y="43"/>
                </a:cubicBezTo>
                <a:cubicBezTo>
                  <a:pt x="1294" y="43"/>
                  <a:pt x="1538" y="142"/>
                  <a:pt x="1724" y="321"/>
                </a:cubicBezTo>
                <a:cubicBezTo>
                  <a:pt x="1034" y="1384"/>
                  <a:pt x="1034" y="1384"/>
                  <a:pt x="1034" y="1384"/>
                </a:cubicBezTo>
                <a:cubicBezTo>
                  <a:pt x="685" y="846"/>
                  <a:pt x="685" y="846"/>
                  <a:pt x="685" y="846"/>
                </a:cubicBezTo>
                <a:cubicBezTo>
                  <a:pt x="847" y="846"/>
                  <a:pt x="847" y="846"/>
                  <a:pt x="847" y="846"/>
                </a:cubicBezTo>
                <a:cubicBezTo>
                  <a:pt x="1016" y="1109"/>
                  <a:pt x="1016" y="1109"/>
                  <a:pt x="1016" y="1109"/>
                </a:cubicBezTo>
                <a:cubicBezTo>
                  <a:pt x="1020" y="1115"/>
                  <a:pt x="1027" y="1118"/>
                  <a:pt x="1034" y="1118"/>
                </a:cubicBezTo>
                <a:cubicBezTo>
                  <a:pt x="1034" y="1118"/>
                  <a:pt x="1034" y="1118"/>
                  <a:pt x="1034" y="1118"/>
                </a:cubicBezTo>
                <a:cubicBezTo>
                  <a:pt x="1042" y="1118"/>
                  <a:pt x="1048" y="1115"/>
                  <a:pt x="1052" y="1109"/>
                </a:cubicBezTo>
                <a:cubicBezTo>
                  <a:pt x="1055" y="1104"/>
                  <a:pt x="1331" y="670"/>
                  <a:pt x="1538" y="350"/>
                </a:cubicBezTo>
                <a:cubicBezTo>
                  <a:pt x="1545" y="340"/>
                  <a:pt x="1542" y="327"/>
                  <a:pt x="1533" y="321"/>
                </a:cubicBezTo>
                <a:cubicBezTo>
                  <a:pt x="1386" y="219"/>
                  <a:pt x="1209" y="163"/>
                  <a:pt x="1034" y="163"/>
                </a:cubicBezTo>
                <a:cubicBezTo>
                  <a:pt x="554" y="163"/>
                  <a:pt x="163" y="554"/>
                  <a:pt x="163" y="1035"/>
                </a:cubicBezTo>
                <a:cubicBezTo>
                  <a:pt x="163" y="1516"/>
                  <a:pt x="554" y="1907"/>
                  <a:pt x="1034" y="1907"/>
                </a:cubicBezTo>
                <a:cubicBezTo>
                  <a:pt x="1508" y="1907"/>
                  <a:pt x="1894" y="1527"/>
                  <a:pt x="1906" y="1056"/>
                </a:cubicBezTo>
                <a:cubicBezTo>
                  <a:pt x="2026" y="1056"/>
                  <a:pt x="2026" y="1056"/>
                  <a:pt x="2026" y="1056"/>
                </a:cubicBezTo>
                <a:cubicBezTo>
                  <a:pt x="2015" y="1594"/>
                  <a:pt x="1574" y="2027"/>
                  <a:pt x="1034" y="202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5" name="TextBox 104"/>
          <p:cNvSpPr txBox="1"/>
          <p:nvPr/>
        </p:nvSpPr>
        <p:spPr>
          <a:xfrm>
            <a:off x="4114596" y="1764072"/>
            <a:ext cx="180074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SQUISA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688378" y="2301714"/>
            <a:ext cx="178667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POSTA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5262794" y="2818931"/>
            <a:ext cx="178604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ESIGN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5836579" y="3347988"/>
            <a:ext cx="181391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NSTRUÇÃO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6412260" y="3890326"/>
            <a:ext cx="18185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EVISÃO E APROVAÇÃO</a:t>
            </a:r>
          </a:p>
        </p:txBody>
      </p:sp>
    </p:spTree>
    <p:extLst>
      <p:ext uri="{BB962C8B-B14F-4D97-AF65-F5344CB8AC3E}">
        <p14:creationId xmlns:p14="http://schemas.microsoft.com/office/powerpoint/2010/main" val="37681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FOGRÁFICO DE </a:t>
            </a:r>
            <a:r>
              <a:rPr lang="en-US" dirty="0">
                <a:solidFill>
                  <a:srgbClr val="EC0000"/>
                </a:solidFill>
              </a:rPr>
              <a:t>LÁP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Insert some short and brief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explanatory text about title here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3111181" y="2002163"/>
            <a:ext cx="2917272" cy="2864173"/>
            <a:chOff x="3111181" y="2002163"/>
            <a:chExt cx="2917272" cy="2864173"/>
          </a:xfrm>
        </p:grpSpPr>
        <p:sp>
          <p:nvSpPr>
            <p:cNvPr id="4" name="Up Arrow 3"/>
            <p:cNvSpPr/>
            <p:nvPr/>
          </p:nvSpPr>
          <p:spPr>
            <a:xfrm>
              <a:off x="4321770" y="2002163"/>
              <a:ext cx="496491" cy="2181744"/>
            </a:xfrm>
            <a:prstGeom prst="upArrow">
              <a:avLst>
                <a:gd name="adj1" fmla="val 36337"/>
                <a:gd name="adj2" fmla="val 58297"/>
              </a:avLst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" name="Bent Arrow 4"/>
            <p:cNvSpPr/>
            <p:nvPr/>
          </p:nvSpPr>
          <p:spPr>
            <a:xfrm>
              <a:off x="4657793" y="2821038"/>
              <a:ext cx="1370660" cy="1362869"/>
            </a:xfrm>
            <a:prstGeom prst="bentArrow">
              <a:avLst>
                <a:gd name="adj1" fmla="val 13152"/>
                <a:gd name="adj2" fmla="val 17868"/>
                <a:gd name="adj3" fmla="val 20834"/>
                <a:gd name="adj4" fmla="val 22566"/>
              </a:avLst>
            </a:prstGeom>
            <a:solidFill>
              <a:schemeClr val="accent3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tx1"/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4304568" y="4182320"/>
              <a:ext cx="532539" cy="684016"/>
              <a:chOff x="11478849" y="10856529"/>
              <a:chExt cx="1420104" cy="1824042"/>
            </a:xfrm>
          </p:grpSpPr>
          <p:sp>
            <p:nvSpPr>
              <p:cNvPr id="7" name="Freeform 23"/>
              <p:cNvSpPr>
                <a:spLocks/>
              </p:cNvSpPr>
              <p:nvPr/>
            </p:nvSpPr>
            <p:spPr bwMode="auto">
              <a:xfrm>
                <a:off x="11496961" y="10960098"/>
                <a:ext cx="1382427" cy="1247029"/>
              </a:xfrm>
              <a:custGeom>
                <a:avLst/>
                <a:gdLst>
                  <a:gd name="T0" fmla="*/ 395 w 791"/>
                  <a:gd name="T1" fmla="*/ 0 h 1171"/>
                  <a:gd name="T2" fmla="*/ 0 w 791"/>
                  <a:gd name="T3" fmla="*/ 149 h 1171"/>
                  <a:gd name="T4" fmla="*/ 271 w 791"/>
                  <a:gd name="T5" fmla="*/ 852 h 1171"/>
                  <a:gd name="T6" fmla="*/ 395 w 791"/>
                  <a:gd name="T7" fmla="*/ 814 h 1171"/>
                  <a:gd name="T8" fmla="*/ 515 w 791"/>
                  <a:gd name="T9" fmla="*/ 851 h 1171"/>
                  <a:gd name="T10" fmla="*/ 394 w 791"/>
                  <a:gd name="T11" fmla="*/ 1171 h 1171"/>
                  <a:gd name="T12" fmla="*/ 791 w 791"/>
                  <a:gd name="T13" fmla="*/ 129 h 1171"/>
                  <a:gd name="T14" fmla="*/ 395 w 791"/>
                  <a:gd name="T15" fmla="*/ 0 h 1171"/>
                  <a:gd name="connsiteX0" fmla="*/ 4994 w 10000"/>
                  <a:gd name="connsiteY0" fmla="*/ 0 h 7276"/>
                  <a:gd name="connsiteX1" fmla="*/ 0 w 10000"/>
                  <a:gd name="connsiteY1" fmla="*/ 1272 h 7276"/>
                  <a:gd name="connsiteX2" fmla="*/ 3426 w 10000"/>
                  <a:gd name="connsiteY2" fmla="*/ 7276 h 7276"/>
                  <a:gd name="connsiteX3" fmla="*/ 4994 w 10000"/>
                  <a:gd name="connsiteY3" fmla="*/ 6951 h 7276"/>
                  <a:gd name="connsiteX4" fmla="*/ 6511 w 10000"/>
                  <a:gd name="connsiteY4" fmla="*/ 7267 h 7276"/>
                  <a:gd name="connsiteX5" fmla="*/ 10000 w 10000"/>
                  <a:gd name="connsiteY5" fmla="*/ 1102 h 7276"/>
                  <a:gd name="connsiteX6" fmla="*/ 4994 w 10000"/>
                  <a:gd name="connsiteY6" fmla="*/ 0 h 7276"/>
                  <a:gd name="connsiteX0" fmla="*/ 4994 w 9932"/>
                  <a:gd name="connsiteY0" fmla="*/ 0 h 10000"/>
                  <a:gd name="connsiteX1" fmla="*/ 0 w 9932"/>
                  <a:gd name="connsiteY1" fmla="*/ 1748 h 10000"/>
                  <a:gd name="connsiteX2" fmla="*/ 3426 w 9932"/>
                  <a:gd name="connsiteY2" fmla="*/ 10000 h 10000"/>
                  <a:gd name="connsiteX3" fmla="*/ 4994 w 9932"/>
                  <a:gd name="connsiteY3" fmla="*/ 9553 h 10000"/>
                  <a:gd name="connsiteX4" fmla="*/ 6511 w 9932"/>
                  <a:gd name="connsiteY4" fmla="*/ 9988 h 10000"/>
                  <a:gd name="connsiteX5" fmla="*/ 9932 w 9932"/>
                  <a:gd name="connsiteY5" fmla="*/ 1744 h 10000"/>
                  <a:gd name="connsiteX6" fmla="*/ 4994 w 9932"/>
                  <a:gd name="connsiteY6" fmla="*/ 0 h 10000"/>
                  <a:gd name="connsiteX0" fmla="*/ 5028 w 10000"/>
                  <a:gd name="connsiteY0" fmla="*/ 0 h 10000"/>
                  <a:gd name="connsiteX1" fmla="*/ 0 w 10000"/>
                  <a:gd name="connsiteY1" fmla="*/ 1748 h 10000"/>
                  <a:gd name="connsiteX2" fmla="*/ 3449 w 10000"/>
                  <a:gd name="connsiteY2" fmla="*/ 10000 h 10000"/>
                  <a:gd name="connsiteX3" fmla="*/ 6556 w 10000"/>
                  <a:gd name="connsiteY3" fmla="*/ 9988 h 10000"/>
                  <a:gd name="connsiteX4" fmla="*/ 10000 w 10000"/>
                  <a:gd name="connsiteY4" fmla="*/ 1744 h 10000"/>
                  <a:gd name="connsiteX5" fmla="*/ 5028 w 10000"/>
                  <a:gd name="connsiteY5" fmla="*/ 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00" h="10000">
                    <a:moveTo>
                      <a:pt x="5028" y="0"/>
                    </a:moveTo>
                    <a:lnTo>
                      <a:pt x="0" y="1748"/>
                    </a:lnTo>
                    <a:lnTo>
                      <a:pt x="3449" y="10000"/>
                    </a:lnTo>
                    <a:lnTo>
                      <a:pt x="6556" y="9988"/>
                    </a:lnTo>
                    <a:lnTo>
                      <a:pt x="10000" y="1744"/>
                    </a:lnTo>
                    <a:lnTo>
                      <a:pt x="5028" y="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8" name="Freeform 36"/>
              <p:cNvSpPr>
                <a:spLocks/>
              </p:cNvSpPr>
              <p:nvPr/>
            </p:nvSpPr>
            <p:spPr bwMode="auto">
              <a:xfrm>
                <a:off x="11967726" y="12191257"/>
                <a:ext cx="443816" cy="489314"/>
              </a:xfrm>
              <a:custGeom>
                <a:avLst/>
                <a:gdLst>
                  <a:gd name="T0" fmla="*/ 124 w 244"/>
                  <a:gd name="T1" fmla="*/ 0 h 357"/>
                  <a:gd name="T2" fmla="*/ 0 w 244"/>
                  <a:gd name="T3" fmla="*/ 38 h 357"/>
                  <a:gd name="T4" fmla="*/ 123 w 244"/>
                  <a:gd name="T5" fmla="*/ 357 h 357"/>
                  <a:gd name="T6" fmla="*/ 244 w 244"/>
                  <a:gd name="T7" fmla="*/ 37 h 357"/>
                  <a:gd name="T8" fmla="*/ 124 w 244"/>
                  <a:gd name="T9" fmla="*/ 0 h 357"/>
                  <a:gd name="connsiteX0" fmla="*/ 10000 w 10000"/>
                  <a:gd name="connsiteY0" fmla="*/ 0 h 8964"/>
                  <a:gd name="connsiteX1" fmla="*/ 0 w 10000"/>
                  <a:gd name="connsiteY1" fmla="*/ 28 h 8964"/>
                  <a:gd name="connsiteX2" fmla="*/ 5041 w 10000"/>
                  <a:gd name="connsiteY2" fmla="*/ 8964 h 8964"/>
                  <a:gd name="connsiteX3" fmla="*/ 10000 w 10000"/>
                  <a:gd name="connsiteY3" fmla="*/ 0 h 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000" h="8964">
                    <a:moveTo>
                      <a:pt x="10000" y="0"/>
                    </a:moveTo>
                    <a:lnTo>
                      <a:pt x="0" y="28"/>
                    </a:lnTo>
                    <a:lnTo>
                      <a:pt x="5041" y="8964"/>
                    </a:lnTo>
                    <a:lnTo>
                      <a:pt x="1000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9" name="Round Same Side Corner Rectangle 8"/>
              <p:cNvSpPr/>
              <p:nvPr/>
            </p:nvSpPr>
            <p:spPr>
              <a:xfrm rot="10800000">
                <a:off x="11478849" y="10856529"/>
                <a:ext cx="476503" cy="4642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0" name="Round Same Side Corner Rectangle 9"/>
              <p:cNvSpPr/>
              <p:nvPr/>
            </p:nvSpPr>
            <p:spPr>
              <a:xfrm rot="10800000">
                <a:off x="11950650" y="10856529"/>
                <a:ext cx="476503" cy="4642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rgbClr val="EC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" name="Round Same Side Corner Rectangle 10"/>
              <p:cNvSpPr/>
              <p:nvPr/>
            </p:nvSpPr>
            <p:spPr>
              <a:xfrm rot="10800000">
                <a:off x="12422450" y="10856529"/>
                <a:ext cx="476503" cy="464213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</p:grpSp>
        <p:sp>
          <p:nvSpPr>
            <p:cNvPr id="12" name="Bent Arrow 11"/>
            <p:cNvSpPr/>
            <p:nvPr/>
          </p:nvSpPr>
          <p:spPr>
            <a:xfrm flipH="1">
              <a:off x="3111181" y="2821039"/>
              <a:ext cx="1370660" cy="1362869"/>
            </a:xfrm>
            <a:prstGeom prst="bentArrow">
              <a:avLst>
                <a:gd name="adj1" fmla="val 13021"/>
                <a:gd name="adj2" fmla="val 17868"/>
                <a:gd name="adj3" fmla="val 20834"/>
                <a:gd name="adj4" fmla="val 22566"/>
              </a:avLst>
            </a:prstGeom>
            <a:solidFill>
              <a:schemeClr val="accent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>
                <a:solidFill>
                  <a:schemeClr val="tx1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3117021" y="2988062"/>
            <a:ext cx="35801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395754" y="2114242"/>
            <a:ext cx="35801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2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54959" y="2988062"/>
            <a:ext cx="35801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3</a:t>
            </a:r>
          </a:p>
        </p:txBody>
      </p:sp>
      <p:sp>
        <p:nvSpPr>
          <p:cNvPr id="22" name="Freeform 21"/>
          <p:cNvSpPr>
            <a:spLocks noEditPoints="1"/>
          </p:cNvSpPr>
          <p:nvPr/>
        </p:nvSpPr>
        <p:spPr bwMode="auto">
          <a:xfrm>
            <a:off x="6321609" y="2881191"/>
            <a:ext cx="367630" cy="367630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3" name="Freeform 22"/>
          <p:cNvSpPr>
            <a:spLocks noEditPoints="1"/>
          </p:cNvSpPr>
          <p:nvPr/>
        </p:nvSpPr>
        <p:spPr bwMode="auto">
          <a:xfrm>
            <a:off x="2519824" y="2870218"/>
            <a:ext cx="300299" cy="367630"/>
          </a:xfrm>
          <a:custGeom>
            <a:avLst/>
            <a:gdLst>
              <a:gd name="T0" fmla="*/ 144 w 289"/>
              <a:gd name="T1" fmla="*/ 145 h 353"/>
              <a:gd name="T2" fmla="*/ 144 w 289"/>
              <a:gd name="T3" fmla="*/ 129 h 353"/>
              <a:gd name="T4" fmla="*/ 40 w 289"/>
              <a:gd name="T5" fmla="*/ 137 h 353"/>
              <a:gd name="T6" fmla="*/ 273 w 289"/>
              <a:gd name="T7" fmla="*/ 32 h 353"/>
              <a:gd name="T8" fmla="*/ 232 w 289"/>
              <a:gd name="T9" fmla="*/ 8 h 353"/>
              <a:gd name="T10" fmla="*/ 216 w 289"/>
              <a:gd name="T11" fmla="*/ 8 h 353"/>
              <a:gd name="T12" fmla="*/ 200 w 289"/>
              <a:gd name="T13" fmla="*/ 32 h 353"/>
              <a:gd name="T14" fmla="*/ 192 w 289"/>
              <a:gd name="T15" fmla="*/ 0 h 353"/>
              <a:gd name="T16" fmla="*/ 184 w 289"/>
              <a:gd name="T17" fmla="*/ 32 h 353"/>
              <a:gd name="T18" fmla="*/ 168 w 289"/>
              <a:gd name="T19" fmla="*/ 8 h 353"/>
              <a:gd name="T20" fmla="*/ 152 w 289"/>
              <a:gd name="T21" fmla="*/ 8 h 353"/>
              <a:gd name="T22" fmla="*/ 136 w 289"/>
              <a:gd name="T23" fmla="*/ 32 h 353"/>
              <a:gd name="T24" fmla="*/ 128 w 289"/>
              <a:gd name="T25" fmla="*/ 0 h 353"/>
              <a:gd name="T26" fmla="*/ 120 w 289"/>
              <a:gd name="T27" fmla="*/ 32 h 353"/>
              <a:gd name="T28" fmla="*/ 104 w 289"/>
              <a:gd name="T29" fmla="*/ 8 h 353"/>
              <a:gd name="T30" fmla="*/ 88 w 289"/>
              <a:gd name="T31" fmla="*/ 8 h 353"/>
              <a:gd name="T32" fmla="*/ 72 w 289"/>
              <a:gd name="T33" fmla="*/ 32 h 353"/>
              <a:gd name="T34" fmla="*/ 64 w 289"/>
              <a:gd name="T35" fmla="*/ 0 h 353"/>
              <a:gd name="T36" fmla="*/ 56 w 289"/>
              <a:gd name="T37" fmla="*/ 32 h 353"/>
              <a:gd name="T38" fmla="*/ 0 w 289"/>
              <a:gd name="T39" fmla="*/ 48 h 353"/>
              <a:gd name="T40" fmla="*/ 16 w 289"/>
              <a:gd name="T41" fmla="*/ 353 h 353"/>
              <a:gd name="T42" fmla="*/ 289 w 289"/>
              <a:gd name="T43" fmla="*/ 337 h 353"/>
              <a:gd name="T44" fmla="*/ 273 w 289"/>
              <a:gd name="T45" fmla="*/ 32 h 353"/>
              <a:gd name="T46" fmla="*/ 16 w 289"/>
              <a:gd name="T47" fmla="*/ 289 h 353"/>
              <a:gd name="T48" fmla="*/ 16 w 289"/>
              <a:gd name="T49" fmla="*/ 337 h 353"/>
              <a:gd name="T50" fmla="*/ 88 w 289"/>
              <a:gd name="T51" fmla="*/ 337 h 353"/>
              <a:gd name="T52" fmla="*/ 16 w 289"/>
              <a:gd name="T53" fmla="*/ 48 h 353"/>
              <a:gd name="T54" fmla="*/ 56 w 289"/>
              <a:gd name="T55" fmla="*/ 72 h 353"/>
              <a:gd name="T56" fmla="*/ 72 w 289"/>
              <a:gd name="T57" fmla="*/ 72 h 353"/>
              <a:gd name="T58" fmla="*/ 88 w 289"/>
              <a:gd name="T59" fmla="*/ 48 h 353"/>
              <a:gd name="T60" fmla="*/ 96 w 289"/>
              <a:gd name="T61" fmla="*/ 80 h 353"/>
              <a:gd name="T62" fmla="*/ 104 w 289"/>
              <a:gd name="T63" fmla="*/ 48 h 353"/>
              <a:gd name="T64" fmla="*/ 120 w 289"/>
              <a:gd name="T65" fmla="*/ 72 h 353"/>
              <a:gd name="T66" fmla="*/ 136 w 289"/>
              <a:gd name="T67" fmla="*/ 72 h 353"/>
              <a:gd name="T68" fmla="*/ 152 w 289"/>
              <a:gd name="T69" fmla="*/ 48 h 353"/>
              <a:gd name="T70" fmla="*/ 160 w 289"/>
              <a:gd name="T71" fmla="*/ 80 h 353"/>
              <a:gd name="T72" fmla="*/ 168 w 289"/>
              <a:gd name="T73" fmla="*/ 48 h 353"/>
              <a:gd name="T74" fmla="*/ 184 w 289"/>
              <a:gd name="T75" fmla="*/ 72 h 353"/>
              <a:gd name="T76" fmla="*/ 200 w 289"/>
              <a:gd name="T77" fmla="*/ 72 h 353"/>
              <a:gd name="T78" fmla="*/ 216 w 289"/>
              <a:gd name="T79" fmla="*/ 48 h 353"/>
              <a:gd name="T80" fmla="*/ 224 w 289"/>
              <a:gd name="T81" fmla="*/ 80 h 353"/>
              <a:gd name="T82" fmla="*/ 232 w 289"/>
              <a:gd name="T83" fmla="*/ 48 h 353"/>
              <a:gd name="T84" fmla="*/ 273 w 289"/>
              <a:gd name="T85" fmla="*/ 337 h 353"/>
              <a:gd name="T86" fmla="*/ 48 w 289"/>
              <a:gd name="T87" fmla="*/ 193 h 353"/>
              <a:gd name="T88" fmla="*/ 249 w 289"/>
              <a:gd name="T89" fmla="*/ 185 h 353"/>
              <a:gd name="T90" fmla="*/ 48 w 289"/>
              <a:gd name="T91" fmla="*/ 177 h 353"/>
              <a:gd name="T92" fmla="*/ 192 w 289"/>
              <a:gd name="T93" fmla="*/ 225 h 353"/>
              <a:gd name="T94" fmla="*/ 40 w 289"/>
              <a:gd name="T95" fmla="*/ 233 h 353"/>
              <a:gd name="T96" fmla="*/ 192 w 289"/>
              <a:gd name="T97" fmla="*/ 241 h 353"/>
              <a:gd name="T98" fmla="*/ 192 w 289"/>
              <a:gd name="T99" fmla="*/ 225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89" h="353">
                <a:moveTo>
                  <a:pt x="48" y="145"/>
                </a:moveTo>
                <a:cubicBezTo>
                  <a:pt x="144" y="145"/>
                  <a:pt x="144" y="145"/>
                  <a:pt x="144" y="145"/>
                </a:cubicBezTo>
                <a:cubicBezTo>
                  <a:pt x="149" y="145"/>
                  <a:pt x="152" y="141"/>
                  <a:pt x="152" y="137"/>
                </a:cubicBezTo>
                <a:cubicBezTo>
                  <a:pt x="152" y="132"/>
                  <a:pt x="149" y="129"/>
                  <a:pt x="144" y="129"/>
                </a:cubicBezTo>
                <a:cubicBezTo>
                  <a:pt x="48" y="129"/>
                  <a:pt x="48" y="129"/>
                  <a:pt x="48" y="129"/>
                </a:cubicBezTo>
                <a:cubicBezTo>
                  <a:pt x="43" y="129"/>
                  <a:pt x="40" y="132"/>
                  <a:pt x="40" y="137"/>
                </a:cubicBezTo>
                <a:cubicBezTo>
                  <a:pt x="40" y="141"/>
                  <a:pt x="43" y="145"/>
                  <a:pt x="48" y="145"/>
                </a:cubicBezTo>
                <a:moveTo>
                  <a:pt x="273" y="32"/>
                </a:moveTo>
                <a:cubicBezTo>
                  <a:pt x="232" y="32"/>
                  <a:pt x="232" y="32"/>
                  <a:pt x="232" y="32"/>
                </a:cubicBezTo>
                <a:cubicBezTo>
                  <a:pt x="232" y="8"/>
                  <a:pt x="232" y="8"/>
                  <a:pt x="232" y="8"/>
                </a:cubicBezTo>
                <a:cubicBezTo>
                  <a:pt x="232" y="4"/>
                  <a:pt x="229" y="0"/>
                  <a:pt x="224" y="0"/>
                </a:cubicBezTo>
                <a:cubicBezTo>
                  <a:pt x="220" y="0"/>
                  <a:pt x="216" y="4"/>
                  <a:pt x="216" y="8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200" y="32"/>
                  <a:pt x="200" y="32"/>
                  <a:pt x="200" y="32"/>
                </a:cubicBezTo>
                <a:cubicBezTo>
                  <a:pt x="200" y="8"/>
                  <a:pt x="200" y="8"/>
                  <a:pt x="200" y="8"/>
                </a:cubicBezTo>
                <a:cubicBezTo>
                  <a:pt x="200" y="4"/>
                  <a:pt x="197" y="0"/>
                  <a:pt x="192" y="0"/>
                </a:cubicBezTo>
                <a:cubicBezTo>
                  <a:pt x="188" y="0"/>
                  <a:pt x="184" y="4"/>
                  <a:pt x="184" y="8"/>
                </a:cubicBezTo>
                <a:cubicBezTo>
                  <a:pt x="184" y="32"/>
                  <a:pt x="184" y="32"/>
                  <a:pt x="184" y="32"/>
                </a:cubicBezTo>
                <a:cubicBezTo>
                  <a:pt x="168" y="32"/>
                  <a:pt x="168" y="32"/>
                  <a:pt x="168" y="32"/>
                </a:cubicBezTo>
                <a:cubicBezTo>
                  <a:pt x="168" y="8"/>
                  <a:pt x="168" y="8"/>
                  <a:pt x="168" y="8"/>
                </a:cubicBezTo>
                <a:cubicBezTo>
                  <a:pt x="168" y="4"/>
                  <a:pt x="165" y="0"/>
                  <a:pt x="160" y="0"/>
                </a:cubicBezTo>
                <a:cubicBezTo>
                  <a:pt x="156" y="0"/>
                  <a:pt x="152" y="4"/>
                  <a:pt x="152" y="8"/>
                </a:cubicBezTo>
                <a:cubicBezTo>
                  <a:pt x="152" y="32"/>
                  <a:pt x="152" y="32"/>
                  <a:pt x="152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4"/>
                  <a:pt x="133" y="0"/>
                  <a:pt x="128" y="0"/>
                </a:cubicBezTo>
                <a:cubicBezTo>
                  <a:pt x="124" y="0"/>
                  <a:pt x="120" y="4"/>
                  <a:pt x="120" y="8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8"/>
                  <a:pt x="104" y="8"/>
                  <a:pt x="104" y="8"/>
                </a:cubicBezTo>
                <a:cubicBezTo>
                  <a:pt x="104" y="4"/>
                  <a:pt x="100" y="0"/>
                  <a:pt x="96" y="0"/>
                </a:cubicBezTo>
                <a:cubicBezTo>
                  <a:pt x="92" y="0"/>
                  <a:pt x="88" y="4"/>
                  <a:pt x="88" y="8"/>
                </a:cubicBezTo>
                <a:cubicBezTo>
                  <a:pt x="88" y="32"/>
                  <a:pt x="88" y="32"/>
                  <a:pt x="88" y="32"/>
                </a:cubicBezTo>
                <a:cubicBezTo>
                  <a:pt x="72" y="32"/>
                  <a:pt x="72" y="32"/>
                  <a:pt x="72" y="32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4"/>
                  <a:pt x="68" y="0"/>
                  <a:pt x="64" y="0"/>
                </a:cubicBezTo>
                <a:cubicBezTo>
                  <a:pt x="59" y="0"/>
                  <a:pt x="56" y="4"/>
                  <a:pt x="56" y="8"/>
                </a:cubicBezTo>
                <a:cubicBezTo>
                  <a:pt x="56" y="32"/>
                  <a:pt x="56" y="32"/>
                  <a:pt x="5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39"/>
                  <a:pt x="0" y="48"/>
                </a:cubicBezTo>
                <a:cubicBezTo>
                  <a:pt x="0" y="337"/>
                  <a:pt x="0" y="337"/>
                  <a:pt x="0" y="337"/>
                </a:cubicBezTo>
                <a:cubicBezTo>
                  <a:pt x="0" y="346"/>
                  <a:pt x="7" y="353"/>
                  <a:pt x="16" y="353"/>
                </a:cubicBezTo>
                <a:cubicBezTo>
                  <a:pt x="273" y="353"/>
                  <a:pt x="273" y="353"/>
                  <a:pt x="273" y="353"/>
                </a:cubicBezTo>
                <a:cubicBezTo>
                  <a:pt x="281" y="353"/>
                  <a:pt x="289" y="346"/>
                  <a:pt x="289" y="337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289" y="39"/>
                  <a:pt x="281" y="32"/>
                  <a:pt x="273" y="32"/>
                </a:cubicBezTo>
                <a:moveTo>
                  <a:pt x="16" y="337"/>
                </a:moveTo>
                <a:cubicBezTo>
                  <a:pt x="16" y="289"/>
                  <a:pt x="16" y="289"/>
                  <a:pt x="16" y="289"/>
                </a:cubicBezTo>
                <a:cubicBezTo>
                  <a:pt x="64" y="337"/>
                  <a:pt x="64" y="337"/>
                  <a:pt x="64" y="337"/>
                </a:cubicBezTo>
                <a:lnTo>
                  <a:pt x="16" y="337"/>
                </a:lnTo>
                <a:close/>
                <a:moveTo>
                  <a:pt x="273" y="337"/>
                </a:moveTo>
                <a:cubicBezTo>
                  <a:pt x="88" y="337"/>
                  <a:pt x="88" y="337"/>
                  <a:pt x="88" y="337"/>
                </a:cubicBezTo>
                <a:cubicBezTo>
                  <a:pt x="16" y="265"/>
                  <a:pt x="16" y="265"/>
                  <a:pt x="16" y="265"/>
                </a:cubicBezTo>
                <a:cubicBezTo>
                  <a:pt x="16" y="48"/>
                  <a:pt x="16" y="48"/>
                  <a:pt x="16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72"/>
                  <a:pt x="56" y="72"/>
                  <a:pt x="56" y="72"/>
                </a:cubicBezTo>
                <a:cubicBezTo>
                  <a:pt x="56" y="77"/>
                  <a:pt x="59" y="80"/>
                  <a:pt x="64" y="80"/>
                </a:cubicBezTo>
                <a:cubicBezTo>
                  <a:pt x="68" y="80"/>
                  <a:pt x="72" y="77"/>
                  <a:pt x="72" y="72"/>
                </a:cubicBezTo>
                <a:cubicBezTo>
                  <a:pt x="72" y="48"/>
                  <a:pt x="72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77"/>
                  <a:pt x="92" y="80"/>
                  <a:pt x="96" y="80"/>
                </a:cubicBezTo>
                <a:cubicBezTo>
                  <a:pt x="100" y="80"/>
                  <a:pt x="104" y="77"/>
                  <a:pt x="104" y="72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72"/>
                  <a:pt x="120" y="72"/>
                  <a:pt x="120" y="72"/>
                </a:cubicBezTo>
                <a:cubicBezTo>
                  <a:pt x="120" y="77"/>
                  <a:pt x="124" y="80"/>
                  <a:pt x="128" y="80"/>
                </a:cubicBezTo>
                <a:cubicBezTo>
                  <a:pt x="133" y="80"/>
                  <a:pt x="136" y="77"/>
                  <a:pt x="136" y="72"/>
                </a:cubicBezTo>
                <a:cubicBezTo>
                  <a:pt x="136" y="48"/>
                  <a:pt x="136" y="48"/>
                  <a:pt x="136" y="48"/>
                </a:cubicBezTo>
                <a:cubicBezTo>
                  <a:pt x="152" y="48"/>
                  <a:pt x="152" y="48"/>
                  <a:pt x="152" y="48"/>
                </a:cubicBezTo>
                <a:cubicBezTo>
                  <a:pt x="152" y="72"/>
                  <a:pt x="152" y="72"/>
                  <a:pt x="152" y="72"/>
                </a:cubicBezTo>
                <a:cubicBezTo>
                  <a:pt x="152" y="77"/>
                  <a:pt x="156" y="80"/>
                  <a:pt x="160" y="80"/>
                </a:cubicBezTo>
                <a:cubicBezTo>
                  <a:pt x="165" y="80"/>
                  <a:pt x="168" y="77"/>
                  <a:pt x="168" y="72"/>
                </a:cubicBezTo>
                <a:cubicBezTo>
                  <a:pt x="168" y="48"/>
                  <a:pt x="168" y="48"/>
                  <a:pt x="168" y="48"/>
                </a:cubicBezTo>
                <a:cubicBezTo>
                  <a:pt x="184" y="48"/>
                  <a:pt x="184" y="48"/>
                  <a:pt x="184" y="48"/>
                </a:cubicBezTo>
                <a:cubicBezTo>
                  <a:pt x="184" y="72"/>
                  <a:pt x="184" y="72"/>
                  <a:pt x="184" y="72"/>
                </a:cubicBezTo>
                <a:cubicBezTo>
                  <a:pt x="184" y="77"/>
                  <a:pt x="188" y="80"/>
                  <a:pt x="192" y="80"/>
                </a:cubicBezTo>
                <a:cubicBezTo>
                  <a:pt x="197" y="80"/>
                  <a:pt x="200" y="77"/>
                  <a:pt x="200" y="72"/>
                </a:cubicBezTo>
                <a:cubicBezTo>
                  <a:pt x="200" y="48"/>
                  <a:pt x="200" y="48"/>
                  <a:pt x="200" y="48"/>
                </a:cubicBezTo>
                <a:cubicBezTo>
                  <a:pt x="216" y="48"/>
                  <a:pt x="216" y="48"/>
                  <a:pt x="216" y="48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16" y="77"/>
                  <a:pt x="220" y="80"/>
                  <a:pt x="224" y="80"/>
                </a:cubicBezTo>
                <a:cubicBezTo>
                  <a:pt x="229" y="80"/>
                  <a:pt x="232" y="77"/>
                  <a:pt x="232" y="72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73" y="48"/>
                  <a:pt x="273" y="48"/>
                  <a:pt x="273" y="48"/>
                </a:cubicBezTo>
                <a:lnTo>
                  <a:pt x="273" y="337"/>
                </a:lnTo>
                <a:close/>
                <a:moveTo>
                  <a:pt x="40" y="185"/>
                </a:moveTo>
                <a:cubicBezTo>
                  <a:pt x="40" y="189"/>
                  <a:pt x="43" y="193"/>
                  <a:pt x="48" y="193"/>
                </a:cubicBezTo>
                <a:cubicBezTo>
                  <a:pt x="241" y="193"/>
                  <a:pt x="241" y="193"/>
                  <a:pt x="241" y="193"/>
                </a:cubicBezTo>
                <a:cubicBezTo>
                  <a:pt x="245" y="193"/>
                  <a:pt x="249" y="189"/>
                  <a:pt x="249" y="185"/>
                </a:cubicBezTo>
                <a:cubicBezTo>
                  <a:pt x="249" y="180"/>
                  <a:pt x="245" y="177"/>
                  <a:pt x="241" y="177"/>
                </a:cubicBezTo>
                <a:cubicBezTo>
                  <a:pt x="48" y="177"/>
                  <a:pt x="48" y="177"/>
                  <a:pt x="48" y="177"/>
                </a:cubicBezTo>
                <a:cubicBezTo>
                  <a:pt x="43" y="177"/>
                  <a:pt x="40" y="180"/>
                  <a:pt x="40" y="185"/>
                </a:cubicBezTo>
                <a:moveTo>
                  <a:pt x="192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3" y="225"/>
                  <a:pt x="40" y="228"/>
                  <a:pt x="40" y="233"/>
                </a:cubicBezTo>
                <a:cubicBezTo>
                  <a:pt x="40" y="237"/>
                  <a:pt x="43" y="241"/>
                  <a:pt x="48" y="241"/>
                </a:cubicBezTo>
                <a:cubicBezTo>
                  <a:pt x="192" y="241"/>
                  <a:pt x="192" y="241"/>
                  <a:pt x="192" y="241"/>
                </a:cubicBezTo>
                <a:cubicBezTo>
                  <a:pt x="197" y="241"/>
                  <a:pt x="200" y="237"/>
                  <a:pt x="200" y="233"/>
                </a:cubicBezTo>
                <a:cubicBezTo>
                  <a:pt x="200" y="228"/>
                  <a:pt x="197" y="225"/>
                  <a:pt x="192" y="225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4" name="Freeform 27"/>
          <p:cNvSpPr>
            <a:spLocks noEditPoints="1"/>
          </p:cNvSpPr>
          <p:nvPr/>
        </p:nvSpPr>
        <p:spPr bwMode="auto">
          <a:xfrm>
            <a:off x="4384911" y="1525198"/>
            <a:ext cx="367629" cy="368976"/>
          </a:xfrm>
          <a:custGeom>
            <a:avLst/>
            <a:gdLst>
              <a:gd name="T0" fmla="*/ 193 w 353"/>
              <a:gd name="T1" fmla="*/ 226 h 354"/>
              <a:gd name="T2" fmla="*/ 159 w 353"/>
              <a:gd name="T3" fmla="*/ 192 h 354"/>
              <a:gd name="T4" fmla="*/ 170 w 353"/>
              <a:gd name="T5" fmla="*/ 203 h 354"/>
              <a:gd name="T6" fmla="*/ 182 w 353"/>
              <a:gd name="T7" fmla="*/ 215 h 354"/>
              <a:gd name="T8" fmla="*/ 170 w 353"/>
              <a:gd name="T9" fmla="*/ 203 h 354"/>
              <a:gd name="T10" fmla="*/ 240 w 353"/>
              <a:gd name="T11" fmla="*/ 209 h 354"/>
              <a:gd name="T12" fmla="*/ 153 w 353"/>
              <a:gd name="T13" fmla="*/ 269 h 354"/>
              <a:gd name="T14" fmla="*/ 176 w 353"/>
              <a:gd name="T15" fmla="*/ 289 h 354"/>
              <a:gd name="T16" fmla="*/ 246 w 353"/>
              <a:gd name="T17" fmla="*/ 170 h 354"/>
              <a:gd name="T18" fmla="*/ 116 w 353"/>
              <a:gd name="T19" fmla="*/ 232 h 354"/>
              <a:gd name="T20" fmla="*/ 176 w 353"/>
              <a:gd name="T21" fmla="*/ 145 h 354"/>
              <a:gd name="T22" fmla="*/ 216 w 353"/>
              <a:gd name="T23" fmla="*/ 139 h 354"/>
              <a:gd name="T24" fmla="*/ 96 w 353"/>
              <a:gd name="T25" fmla="*/ 209 h 354"/>
              <a:gd name="T26" fmla="*/ 116 w 353"/>
              <a:gd name="T27" fmla="*/ 232 h 354"/>
              <a:gd name="T28" fmla="*/ 32 w 353"/>
              <a:gd name="T29" fmla="*/ 41 h 354"/>
              <a:gd name="T30" fmla="*/ 48 w 353"/>
              <a:gd name="T31" fmla="*/ 41 h 354"/>
              <a:gd name="T32" fmla="*/ 321 w 353"/>
              <a:gd name="T33" fmla="*/ 0 h 354"/>
              <a:gd name="T34" fmla="*/ 0 w 353"/>
              <a:gd name="T35" fmla="*/ 32 h 354"/>
              <a:gd name="T36" fmla="*/ 32 w 353"/>
              <a:gd name="T37" fmla="*/ 354 h 354"/>
              <a:gd name="T38" fmla="*/ 353 w 353"/>
              <a:gd name="T39" fmla="*/ 321 h 354"/>
              <a:gd name="T40" fmla="*/ 321 w 353"/>
              <a:gd name="T41" fmla="*/ 0 h 354"/>
              <a:gd name="T42" fmla="*/ 321 w 353"/>
              <a:gd name="T43" fmla="*/ 338 h 354"/>
              <a:gd name="T44" fmla="*/ 16 w 353"/>
              <a:gd name="T45" fmla="*/ 321 h 354"/>
              <a:gd name="T46" fmla="*/ 337 w 353"/>
              <a:gd name="T47" fmla="*/ 81 h 354"/>
              <a:gd name="T48" fmla="*/ 337 w 353"/>
              <a:gd name="T49" fmla="*/ 65 h 354"/>
              <a:gd name="T50" fmla="*/ 16 w 353"/>
              <a:gd name="T51" fmla="*/ 32 h 354"/>
              <a:gd name="T52" fmla="*/ 321 w 353"/>
              <a:gd name="T53" fmla="*/ 16 h 354"/>
              <a:gd name="T54" fmla="*/ 337 w 353"/>
              <a:gd name="T55" fmla="*/ 65 h 354"/>
              <a:gd name="T56" fmla="*/ 136 w 353"/>
              <a:gd name="T57" fmla="*/ 32 h 354"/>
              <a:gd name="T58" fmla="*/ 136 w 353"/>
              <a:gd name="T59" fmla="*/ 49 h 354"/>
              <a:gd name="T60" fmla="*/ 321 w 353"/>
              <a:gd name="T61" fmla="*/ 41 h 354"/>
              <a:gd name="T62" fmla="*/ 72 w 353"/>
              <a:gd name="T63" fmla="*/ 32 h 354"/>
              <a:gd name="T64" fmla="*/ 72 w 353"/>
              <a:gd name="T65" fmla="*/ 49 h 354"/>
              <a:gd name="T66" fmla="*/ 72 w 353"/>
              <a:gd name="T67" fmla="*/ 32 h 354"/>
              <a:gd name="T68" fmla="*/ 96 w 353"/>
              <a:gd name="T69" fmla="*/ 41 h 354"/>
              <a:gd name="T70" fmla="*/ 112 w 353"/>
              <a:gd name="T71" fmla="*/ 41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4">
                <a:moveTo>
                  <a:pt x="100" y="285"/>
                </a:moveTo>
                <a:cubicBezTo>
                  <a:pt x="193" y="226"/>
                  <a:pt x="193" y="226"/>
                  <a:pt x="193" y="226"/>
                </a:cubicBezTo>
                <a:cubicBezTo>
                  <a:pt x="252" y="133"/>
                  <a:pt x="252" y="133"/>
                  <a:pt x="252" y="133"/>
                </a:cubicBezTo>
                <a:cubicBezTo>
                  <a:pt x="159" y="192"/>
                  <a:pt x="159" y="192"/>
                  <a:pt x="159" y="192"/>
                </a:cubicBezTo>
                <a:lnTo>
                  <a:pt x="100" y="285"/>
                </a:lnTo>
                <a:close/>
                <a:moveTo>
                  <a:pt x="170" y="203"/>
                </a:moveTo>
                <a:cubicBezTo>
                  <a:pt x="174" y="200"/>
                  <a:pt x="179" y="200"/>
                  <a:pt x="182" y="203"/>
                </a:cubicBezTo>
                <a:cubicBezTo>
                  <a:pt x="185" y="207"/>
                  <a:pt x="185" y="212"/>
                  <a:pt x="182" y="215"/>
                </a:cubicBezTo>
                <a:cubicBezTo>
                  <a:pt x="179" y="218"/>
                  <a:pt x="174" y="218"/>
                  <a:pt x="170" y="215"/>
                </a:cubicBezTo>
                <a:cubicBezTo>
                  <a:pt x="167" y="212"/>
                  <a:pt x="167" y="207"/>
                  <a:pt x="170" y="203"/>
                </a:cubicBezTo>
                <a:moveTo>
                  <a:pt x="236" y="186"/>
                </a:moveTo>
                <a:cubicBezTo>
                  <a:pt x="239" y="193"/>
                  <a:pt x="240" y="201"/>
                  <a:pt x="240" y="209"/>
                </a:cubicBezTo>
                <a:cubicBezTo>
                  <a:pt x="240" y="245"/>
                  <a:pt x="212" y="273"/>
                  <a:pt x="176" y="273"/>
                </a:cubicBezTo>
                <a:cubicBezTo>
                  <a:pt x="168" y="273"/>
                  <a:pt x="160" y="272"/>
                  <a:pt x="153" y="269"/>
                </a:cubicBezTo>
                <a:cubicBezTo>
                  <a:pt x="137" y="279"/>
                  <a:pt x="137" y="279"/>
                  <a:pt x="137" y="279"/>
                </a:cubicBezTo>
                <a:cubicBezTo>
                  <a:pt x="148" y="286"/>
                  <a:pt x="162" y="289"/>
                  <a:pt x="176" y="289"/>
                </a:cubicBezTo>
                <a:cubicBezTo>
                  <a:pt x="221" y="289"/>
                  <a:pt x="256" y="253"/>
                  <a:pt x="256" y="209"/>
                </a:cubicBezTo>
                <a:cubicBezTo>
                  <a:pt x="256" y="195"/>
                  <a:pt x="253" y="181"/>
                  <a:pt x="246" y="170"/>
                </a:cubicBezTo>
                <a:lnTo>
                  <a:pt x="236" y="186"/>
                </a:lnTo>
                <a:close/>
                <a:moveTo>
                  <a:pt x="116" y="232"/>
                </a:moveTo>
                <a:cubicBezTo>
                  <a:pt x="114" y="225"/>
                  <a:pt x="112" y="217"/>
                  <a:pt x="112" y="209"/>
                </a:cubicBezTo>
                <a:cubicBezTo>
                  <a:pt x="112" y="174"/>
                  <a:pt x="141" y="145"/>
                  <a:pt x="176" y="145"/>
                </a:cubicBezTo>
                <a:cubicBezTo>
                  <a:pt x="184" y="145"/>
                  <a:pt x="192" y="146"/>
                  <a:pt x="199" y="149"/>
                </a:cubicBezTo>
                <a:cubicBezTo>
                  <a:pt x="216" y="139"/>
                  <a:pt x="216" y="139"/>
                  <a:pt x="216" y="139"/>
                </a:cubicBezTo>
                <a:cubicBezTo>
                  <a:pt x="204" y="133"/>
                  <a:pt x="191" y="129"/>
                  <a:pt x="176" y="129"/>
                </a:cubicBezTo>
                <a:cubicBezTo>
                  <a:pt x="132" y="129"/>
                  <a:pt x="96" y="165"/>
                  <a:pt x="96" y="209"/>
                </a:cubicBezTo>
                <a:cubicBezTo>
                  <a:pt x="96" y="223"/>
                  <a:pt x="100" y="237"/>
                  <a:pt x="106" y="249"/>
                </a:cubicBezTo>
                <a:lnTo>
                  <a:pt x="116" y="232"/>
                </a:lnTo>
                <a:close/>
                <a:moveTo>
                  <a:pt x="40" y="32"/>
                </a:moveTo>
                <a:cubicBezTo>
                  <a:pt x="35" y="32"/>
                  <a:pt x="32" y="36"/>
                  <a:pt x="32" y="41"/>
                </a:cubicBezTo>
                <a:cubicBezTo>
                  <a:pt x="32" y="45"/>
                  <a:pt x="35" y="49"/>
                  <a:pt x="40" y="49"/>
                </a:cubicBezTo>
                <a:cubicBezTo>
                  <a:pt x="44" y="49"/>
                  <a:pt x="48" y="45"/>
                  <a:pt x="48" y="41"/>
                </a:cubicBezTo>
                <a:cubicBezTo>
                  <a:pt x="48" y="36"/>
                  <a:pt x="44" y="32"/>
                  <a:pt x="40" y="32"/>
                </a:cubicBezTo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5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4"/>
                  <a:pt x="32" y="354"/>
                </a:cubicBezTo>
                <a:cubicBezTo>
                  <a:pt x="321" y="354"/>
                  <a:pt x="321" y="354"/>
                  <a:pt x="321" y="354"/>
                </a:cubicBezTo>
                <a:cubicBezTo>
                  <a:pt x="338" y="354"/>
                  <a:pt x="353" y="339"/>
                  <a:pt x="353" y="321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5"/>
                  <a:pt x="338" y="0"/>
                  <a:pt x="321" y="0"/>
                </a:cubicBezTo>
                <a:moveTo>
                  <a:pt x="337" y="321"/>
                </a:moveTo>
                <a:cubicBezTo>
                  <a:pt x="337" y="330"/>
                  <a:pt x="330" y="338"/>
                  <a:pt x="321" y="338"/>
                </a:cubicBezTo>
                <a:cubicBezTo>
                  <a:pt x="32" y="338"/>
                  <a:pt x="32" y="338"/>
                  <a:pt x="32" y="338"/>
                </a:cubicBezTo>
                <a:cubicBezTo>
                  <a:pt x="23" y="338"/>
                  <a:pt x="16" y="330"/>
                  <a:pt x="16" y="321"/>
                </a:cubicBezTo>
                <a:cubicBezTo>
                  <a:pt x="16" y="81"/>
                  <a:pt x="16" y="81"/>
                  <a:pt x="16" y="81"/>
                </a:cubicBezTo>
                <a:cubicBezTo>
                  <a:pt x="337" y="81"/>
                  <a:pt x="337" y="81"/>
                  <a:pt x="337" y="81"/>
                </a:cubicBezTo>
                <a:lnTo>
                  <a:pt x="337" y="321"/>
                </a:lnTo>
                <a:close/>
                <a:moveTo>
                  <a:pt x="337" y="65"/>
                </a:moveTo>
                <a:cubicBezTo>
                  <a:pt x="16" y="65"/>
                  <a:pt x="16" y="65"/>
                  <a:pt x="16" y="65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4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4"/>
                  <a:pt x="337" y="32"/>
                </a:cubicBezTo>
                <a:lnTo>
                  <a:pt x="337" y="65"/>
                </a:lnTo>
                <a:close/>
                <a:moveTo>
                  <a:pt x="313" y="32"/>
                </a:moveTo>
                <a:cubicBezTo>
                  <a:pt x="136" y="32"/>
                  <a:pt x="136" y="32"/>
                  <a:pt x="136" y="32"/>
                </a:cubicBezTo>
                <a:cubicBezTo>
                  <a:pt x="132" y="32"/>
                  <a:pt x="128" y="36"/>
                  <a:pt x="128" y="41"/>
                </a:cubicBezTo>
                <a:cubicBezTo>
                  <a:pt x="128" y="45"/>
                  <a:pt x="132" y="49"/>
                  <a:pt x="136" y="49"/>
                </a:cubicBezTo>
                <a:cubicBezTo>
                  <a:pt x="313" y="49"/>
                  <a:pt x="313" y="49"/>
                  <a:pt x="313" y="49"/>
                </a:cubicBezTo>
                <a:cubicBezTo>
                  <a:pt x="317" y="49"/>
                  <a:pt x="321" y="45"/>
                  <a:pt x="321" y="41"/>
                </a:cubicBezTo>
                <a:cubicBezTo>
                  <a:pt x="321" y="36"/>
                  <a:pt x="317" y="32"/>
                  <a:pt x="313" y="32"/>
                </a:cubicBezTo>
                <a:moveTo>
                  <a:pt x="72" y="32"/>
                </a:moveTo>
                <a:cubicBezTo>
                  <a:pt x="67" y="32"/>
                  <a:pt x="64" y="36"/>
                  <a:pt x="64" y="41"/>
                </a:cubicBezTo>
                <a:cubicBezTo>
                  <a:pt x="64" y="45"/>
                  <a:pt x="67" y="49"/>
                  <a:pt x="72" y="49"/>
                </a:cubicBezTo>
                <a:cubicBezTo>
                  <a:pt x="76" y="49"/>
                  <a:pt x="80" y="45"/>
                  <a:pt x="80" y="41"/>
                </a:cubicBezTo>
                <a:cubicBezTo>
                  <a:pt x="80" y="36"/>
                  <a:pt x="76" y="32"/>
                  <a:pt x="72" y="32"/>
                </a:cubicBezTo>
                <a:moveTo>
                  <a:pt x="104" y="32"/>
                </a:moveTo>
                <a:cubicBezTo>
                  <a:pt x="99" y="32"/>
                  <a:pt x="96" y="36"/>
                  <a:pt x="96" y="41"/>
                </a:cubicBezTo>
                <a:cubicBezTo>
                  <a:pt x="96" y="45"/>
                  <a:pt x="99" y="49"/>
                  <a:pt x="104" y="49"/>
                </a:cubicBezTo>
                <a:cubicBezTo>
                  <a:pt x="108" y="49"/>
                  <a:pt x="112" y="45"/>
                  <a:pt x="112" y="41"/>
                </a:cubicBezTo>
                <a:cubicBezTo>
                  <a:pt x="112" y="36"/>
                  <a:pt x="108" y="32"/>
                  <a:pt x="104" y="32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7" name="Group 16"/>
          <p:cNvGrpSpPr/>
          <p:nvPr/>
        </p:nvGrpSpPr>
        <p:grpSpPr>
          <a:xfrm>
            <a:off x="593725" y="1506338"/>
            <a:ext cx="1552576" cy="735820"/>
            <a:chOff x="593725" y="1506338"/>
            <a:chExt cx="1552576" cy="735820"/>
          </a:xfrm>
        </p:grpSpPr>
        <p:sp>
          <p:nvSpPr>
            <p:cNvPr id="27" name="TextBox 26"/>
            <p:cNvSpPr txBox="1"/>
            <p:nvPr/>
          </p:nvSpPr>
          <p:spPr>
            <a:xfrm>
              <a:off x="593725" y="1506338"/>
              <a:ext cx="1552576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 err="1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Produtos</a:t>
              </a:r>
              <a:r>
                <a:rPr lang="en-US" sz="1400" cap="all" spc="20" dirty="0">
                  <a:solidFill>
                    <a:srgbClr val="EC1C24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4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chave</a:t>
              </a:r>
              <a:endParaRPr lang="en-US" sz="1400" cap="all" spc="20" dirty="0">
                <a:solidFill>
                  <a:schemeClr val="accent2"/>
                </a:solidFill>
                <a:latin typeface="Lato Black" panose="020F0A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93725" y="1776068"/>
              <a:ext cx="1552575" cy="46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fe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bibendum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sed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t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apib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rc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.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303867" y="3419271"/>
            <a:ext cx="1516054" cy="528921"/>
            <a:chOff x="1303867" y="3419271"/>
            <a:chExt cx="1516054" cy="528921"/>
          </a:xfrm>
        </p:grpSpPr>
        <p:sp>
          <p:nvSpPr>
            <p:cNvPr id="30" name="TextBox 29"/>
            <p:cNvSpPr txBox="1"/>
            <p:nvPr/>
          </p:nvSpPr>
          <p:spPr>
            <a:xfrm>
              <a:off x="1303899" y="3419271"/>
              <a:ext cx="151599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RTIG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303867" y="3623295"/>
              <a:ext cx="1516054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037134" y="1497829"/>
            <a:ext cx="1501057" cy="528921"/>
            <a:chOff x="5037134" y="1497829"/>
            <a:chExt cx="1501057" cy="528921"/>
          </a:xfrm>
        </p:grpSpPr>
        <p:sp>
          <p:nvSpPr>
            <p:cNvPr id="34" name="TextBox 33"/>
            <p:cNvSpPr txBox="1"/>
            <p:nvPr/>
          </p:nvSpPr>
          <p:spPr>
            <a:xfrm>
              <a:off x="5037164" y="1497829"/>
              <a:ext cx="150099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TUALIZ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5037134" y="1701853"/>
              <a:ext cx="1501057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364475" y="3419124"/>
            <a:ext cx="1501057" cy="528921"/>
            <a:chOff x="6364475" y="3419124"/>
            <a:chExt cx="1501057" cy="528921"/>
          </a:xfrm>
        </p:grpSpPr>
        <p:sp>
          <p:nvSpPr>
            <p:cNvPr id="37" name="TextBox 36"/>
            <p:cNvSpPr txBox="1"/>
            <p:nvPr/>
          </p:nvSpPr>
          <p:spPr>
            <a:xfrm>
              <a:off x="6364505" y="3419124"/>
              <a:ext cx="150099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NTREG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364475" y="3623148"/>
              <a:ext cx="1501057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241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FOGRÁFICO DE </a:t>
            </a:r>
            <a:r>
              <a:rPr lang="en-US" dirty="0">
                <a:solidFill>
                  <a:srgbClr val="EC0000"/>
                </a:solidFill>
              </a:rPr>
              <a:t>FLECH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12" name="Straight Connector 11"/>
          <p:cNvCxnSpPr>
            <a:stCxn id="7" idx="4"/>
            <a:endCxn id="8" idx="0"/>
          </p:cNvCxnSpPr>
          <p:nvPr/>
        </p:nvCxnSpPr>
        <p:spPr>
          <a:xfrm>
            <a:off x="4763337" y="2180815"/>
            <a:ext cx="1" cy="17226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8" idx="4"/>
            <a:endCxn id="10" idx="0"/>
          </p:cNvCxnSpPr>
          <p:nvPr/>
        </p:nvCxnSpPr>
        <p:spPr>
          <a:xfrm flipH="1">
            <a:off x="4763337" y="2802249"/>
            <a:ext cx="1" cy="172262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stCxn id="10" idx="4"/>
            <a:endCxn id="11" idx="0"/>
          </p:cNvCxnSpPr>
          <p:nvPr/>
        </p:nvCxnSpPr>
        <p:spPr>
          <a:xfrm>
            <a:off x="4763337" y="3423683"/>
            <a:ext cx="1" cy="172261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ight Arrow 3"/>
          <p:cNvSpPr/>
          <p:nvPr/>
        </p:nvSpPr>
        <p:spPr>
          <a:xfrm>
            <a:off x="4763337" y="2164484"/>
            <a:ext cx="1790857" cy="826358"/>
          </a:xfrm>
          <a:prstGeom prst="rightArrow">
            <a:avLst/>
          </a:pr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Oval 7"/>
          <p:cNvSpPr/>
          <p:nvPr/>
        </p:nvSpPr>
        <p:spPr>
          <a:xfrm>
            <a:off x="4538751" y="2353077"/>
            <a:ext cx="449174" cy="449172"/>
          </a:xfrm>
          <a:prstGeom prst="ellipse">
            <a:avLst/>
          </a:prstGeom>
          <a:solidFill>
            <a:srgbClr val="EC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6" name="Freeform 15"/>
          <p:cNvSpPr>
            <a:spLocks noEditPoints="1"/>
          </p:cNvSpPr>
          <p:nvPr/>
        </p:nvSpPr>
        <p:spPr bwMode="auto">
          <a:xfrm>
            <a:off x="6123322" y="2453940"/>
            <a:ext cx="246544" cy="247446"/>
          </a:xfrm>
          <a:custGeom>
            <a:avLst/>
            <a:gdLst>
              <a:gd name="T0" fmla="*/ 176 w 353"/>
              <a:gd name="T1" fmla="*/ 0 h 354"/>
              <a:gd name="T2" fmla="*/ 0 w 353"/>
              <a:gd name="T3" fmla="*/ 177 h 354"/>
              <a:gd name="T4" fmla="*/ 176 w 353"/>
              <a:gd name="T5" fmla="*/ 354 h 354"/>
              <a:gd name="T6" fmla="*/ 353 w 353"/>
              <a:gd name="T7" fmla="*/ 177 h 354"/>
              <a:gd name="T8" fmla="*/ 176 w 353"/>
              <a:gd name="T9" fmla="*/ 0 h 354"/>
              <a:gd name="T10" fmla="*/ 176 w 353"/>
              <a:gd name="T11" fmla="*/ 16 h 354"/>
              <a:gd name="T12" fmla="*/ 284 w 353"/>
              <a:gd name="T13" fmla="*/ 58 h 354"/>
              <a:gd name="T14" fmla="*/ 244 w 353"/>
              <a:gd name="T15" fmla="*/ 98 h 354"/>
              <a:gd name="T16" fmla="*/ 176 w 353"/>
              <a:gd name="T17" fmla="*/ 73 h 354"/>
              <a:gd name="T18" fmla="*/ 108 w 353"/>
              <a:gd name="T19" fmla="*/ 98 h 354"/>
              <a:gd name="T20" fmla="*/ 69 w 353"/>
              <a:gd name="T21" fmla="*/ 58 h 354"/>
              <a:gd name="T22" fmla="*/ 176 w 353"/>
              <a:gd name="T23" fmla="*/ 16 h 354"/>
              <a:gd name="T24" fmla="*/ 264 w 353"/>
              <a:gd name="T25" fmla="*/ 177 h 354"/>
              <a:gd name="T26" fmla="*/ 176 w 353"/>
              <a:gd name="T27" fmla="*/ 265 h 354"/>
              <a:gd name="T28" fmla="*/ 88 w 353"/>
              <a:gd name="T29" fmla="*/ 177 h 354"/>
              <a:gd name="T30" fmla="*/ 176 w 353"/>
              <a:gd name="T31" fmla="*/ 89 h 354"/>
              <a:gd name="T32" fmla="*/ 264 w 353"/>
              <a:gd name="T33" fmla="*/ 177 h 354"/>
              <a:gd name="T34" fmla="*/ 16 w 353"/>
              <a:gd name="T35" fmla="*/ 177 h 354"/>
              <a:gd name="T36" fmla="*/ 57 w 353"/>
              <a:gd name="T37" fmla="*/ 69 h 354"/>
              <a:gd name="T38" fmla="*/ 97 w 353"/>
              <a:gd name="T39" fmla="*/ 109 h 354"/>
              <a:gd name="T40" fmla="*/ 72 w 353"/>
              <a:gd name="T41" fmla="*/ 177 h 354"/>
              <a:gd name="T42" fmla="*/ 97 w 353"/>
              <a:gd name="T43" fmla="*/ 245 h 354"/>
              <a:gd name="T44" fmla="*/ 57 w 353"/>
              <a:gd name="T45" fmla="*/ 285 h 354"/>
              <a:gd name="T46" fmla="*/ 16 w 353"/>
              <a:gd name="T47" fmla="*/ 177 h 354"/>
              <a:gd name="T48" fmla="*/ 176 w 353"/>
              <a:gd name="T49" fmla="*/ 338 h 354"/>
              <a:gd name="T50" fmla="*/ 69 w 353"/>
              <a:gd name="T51" fmla="*/ 296 h 354"/>
              <a:gd name="T52" fmla="*/ 108 w 353"/>
              <a:gd name="T53" fmla="*/ 256 h 354"/>
              <a:gd name="T54" fmla="*/ 176 w 353"/>
              <a:gd name="T55" fmla="*/ 281 h 354"/>
              <a:gd name="T56" fmla="*/ 244 w 353"/>
              <a:gd name="T57" fmla="*/ 256 h 354"/>
              <a:gd name="T58" fmla="*/ 284 w 353"/>
              <a:gd name="T59" fmla="*/ 296 h 354"/>
              <a:gd name="T60" fmla="*/ 176 w 353"/>
              <a:gd name="T61" fmla="*/ 338 h 354"/>
              <a:gd name="T62" fmla="*/ 295 w 353"/>
              <a:gd name="T63" fmla="*/ 285 h 354"/>
              <a:gd name="T64" fmla="*/ 255 w 353"/>
              <a:gd name="T65" fmla="*/ 245 h 354"/>
              <a:gd name="T66" fmla="*/ 281 w 353"/>
              <a:gd name="T67" fmla="*/ 177 h 354"/>
              <a:gd name="T68" fmla="*/ 255 w 353"/>
              <a:gd name="T69" fmla="*/ 109 h 354"/>
              <a:gd name="T70" fmla="*/ 295 w 353"/>
              <a:gd name="T71" fmla="*/ 69 h 354"/>
              <a:gd name="T72" fmla="*/ 337 w 353"/>
              <a:gd name="T73" fmla="*/ 177 h 354"/>
              <a:gd name="T74" fmla="*/ 295 w 353"/>
              <a:gd name="T75" fmla="*/ 2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4">
                <a:moveTo>
                  <a:pt x="176" y="0"/>
                </a:moveTo>
                <a:cubicBezTo>
                  <a:pt x="79" y="0"/>
                  <a:pt x="0" y="79"/>
                  <a:pt x="0" y="177"/>
                </a:cubicBezTo>
                <a:cubicBezTo>
                  <a:pt x="0" y="275"/>
                  <a:pt x="79" y="354"/>
                  <a:pt x="176" y="354"/>
                </a:cubicBezTo>
                <a:cubicBezTo>
                  <a:pt x="274" y="354"/>
                  <a:pt x="353" y="275"/>
                  <a:pt x="353" y="177"/>
                </a:cubicBezTo>
                <a:cubicBezTo>
                  <a:pt x="353" y="79"/>
                  <a:pt x="274" y="0"/>
                  <a:pt x="176" y="0"/>
                </a:cubicBezTo>
                <a:moveTo>
                  <a:pt x="176" y="16"/>
                </a:moveTo>
                <a:cubicBezTo>
                  <a:pt x="218" y="16"/>
                  <a:pt x="255" y="32"/>
                  <a:pt x="284" y="58"/>
                </a:cubicBezTo>
                <a:cubicBezTo>
                  <a:pt x="244" y="98"/>
                  <a:pt x="244" y="98"/>
                  <a:pt x="244" y="98"/>
                </a:cubicBezTo>
                <a:cubicBezTo>
                  <a:pt x="226" y="82"/>
                  <a:pt x="202" y="73"/>
                  <a:pt x="176" y="73"/>
                </a:cubicBezTo>
                <a:cubicBezTo>
                  <a:pt x="150" y="73"/>
                  <a:pt x="127" y="82"/>
                  <a:pt x="108" y="98"/>
                </a:cubicBezTo>
                <a:cubicBezTo>
                  <a:pt x="69" y="58"/>
                  <a:pt x="69" y="58"/>
                  <a:pt x="69" y="58"/>
                </a:cubicBezTo>
                <a:cubicBezTo>
                  <a:pt x="97" y="32"/>
                  <a:pt x="135" y="16"/>
                  <a:pt x="176" y="16"/>
                </a:cubicBezTo>
                <a:moveTo>
                  <a:pt x="264" y="177"/>
                </a:moveTo>
                <a:cubicBezTo>
                  <a:pt x="264" y="226"/>
                  <a:pt x="225" y="265"/>
                  <a:pt x="176" y="265"/>
                </a:cubicBezTo>
                <a:cubicBezTo>
                  <a:pt x="127" y="265"/>
                  <a:pt x="88" y="226"/>
                  <a:pt x="88" y="177"/>
                </a:cubicBezTo>
                <a:cubicBezTo>
                  <a:pt x="88" y="128"/>
                  <a:pt x="127" y="89"/>
                  <a:pt x="176" y="89"/>
                </a:cubicBezTo>
                <a:cubicBezTo>
                  <a:pt x="225" y="89"/>
                  <a:pt x="264" y="128"/>
                  <a:pt x="264" y="177"/>
                </a:cubicBezTo>
                <a:moveTo>
                  <a:pt x="16" y="177"/>
                </a:moveTo>
                <a:cubicBezTo>
                  <a:pt x="16" y="136"/>
                  <a:pt x="31" y="98"/>
                  <a:pt x="57" y="69"/>
                </a:cubicBezTo>
                <a:cubicBezTo>
                  <a:pt x="97" y="109"/>
                  <a:pt x="97" y="109"/>
                  <a:pt x="97" y="109"/>
                </a:cubicBezTo>
                <a:cubicBezTo>
                  <a:pt x="81" y="127"/>
                  <a:pt x="72" y="151"/>
                  <a:pt x="72" y="177"/>
                </a:cubicBezTo>
                <a:cubicBezTo>
                  <a:pt x="72" y="203"/>
                  <a:pt x="81" y="227"/>
                  <a:pt x="97" y="245"/>
                </a:cubicBezTo>
                <a:cubicBezTo>
                  <a:pt x="57" y="285"/>
                  <a:pt x="57" y="285"/>
                  <a:pt x="57" y="285"/>
                </a:cubicBezTo>
                <a:cubicBezTo>
                  <a:pt x="31" y="256"/>
                  <a:pt x="16" y="218"/>
                  <a:pt x="16" y="177"/>
                </a:cubicBezTo>
                <a:moveTo>
                  <a:pt x="176" y="338"/>
                </a:moveTo>
                <a:cubicBezTo>
                  <a:pt x="135" y="338"/>
                  <a:pt x="97" y="322"/>
                  <a:pt x="69" y="296"/>
                </a:cubicBezTo>
                <a:cubicBezTo>
                  <a:pt x="108" y="256"/>
                  <a:pt x="108" y="256"/>
                  <a:pt x="108" y="256"/>
                </a:cubicBezTo>
                <a:cubicBezTo>
                  <a:pt x="127" y="272"/>
                  <a:pt x="150" y="281"/>
                  <a:pt x="176" y="281"/>
                </a:cubicBezTo>
                <a:cubicBezTo>
                  <a:pt x="202" y="281"/>
                  <a:pt x="226" y="272"/>
                  <a:pt x="244" y="256"/>
                </a:cubicBezTo>
                <a:cubicBezTo>
                  <a:pt x="284" y="296"/>
                  <a:pt x="284" y="296"/>
                  <a:pt x="284" y="296"/>
                </a:cubicBezTo>
                <a:cubicBezTo>
                  <a:pt x="255" y="322"/>
                  <a:pt x="218" y="338"/>
                  <a:pt x="176" y="338"/>
                </a:cubicBezTo>
                <a:moveTo>
                  <a:pt x="295" y="285"/>
                </a:moveTo>
                <a:cubicBezTo>
                  <a:pt x="255" y="245"/>
                  <a:pt x="255" y="245"/>
                  <a:pt x="255" y="245"/>
                </a:cubicBezTo>
                <a:cubicBezTo>
                  <a:pt x="271" y="227"/>
                  <a:pt x="281" y="203"/>
                  <a:pt x="281" y="177"/>
                </a:cubicBezTo>
                <a:cubicBezTo>
                  <a:pt x="281" y="151"/>
                  <a:pt x="271" y="127"/>
                  <a:pt x="255" y="109"/>
                </a:cubicBezTo>
                <a:cubicBezTo>
                  <a:pt x="295" y="69"/>
                  <a:pt x="295" y="69"/>
                  <a:pt x="295" y="69"/>
                </a:cubicBezTo>
                <a:cubicBezTo>
                  <a:pt x="321" y="98"/>
                  <a:pt x="337" y="136"/>
                  <a:pt x="337" y="177"/>
                </a:cubicBezTo>
                <a:cubicBezTo>
                  <a:pt x="337" y="218"/>
                  <a:pt x="321" y="256"/>
                  <a:pt x="295" y="285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TextBox 19"/>
          <p:cNvSpPr txBox="1"/>
          <p:nvPr/>
        </p:nvSpPr>
        <p:spPr>
          <a:xfrm>
            <a:off x="4594311" y="2485330"/>
            <a:ext cx="338052" cy="18466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2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038646" y="2508414"/>
            <a:ext cx="9592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</a:rPr>
              <a:t>paixão</a:t>
            </a:r>
            <a:endParaRPr lang="en-US" sz="9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50904" y="2390683"/>
            <a:ext cx="1677374" cy="3248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pt-B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ira alguns dados e informações. A explicação deve ser pequena e breve.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Right Arrow 4"/>
          <p:cNvSpPr/>
          <p:nvPr/>
        </p:nvSpPr>
        <p:spPr>
          <a:xfrm>
            <a:off x="4763337" y="3407351"/>
            <a:ext cx="1790857" cy="826358"/>
          </a:xfrm>
          <a:prstGeom prst="rightArrow">
            <a:avLst/>
          </a:pr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1" name="Oval 10"/>
          <p:cNvSpPr/>
          <p:nvPr/>
        </p:nvSpPr>
        <p:spPr>
          <a:xfrm>
            <a:off x="4538751" y="3595944"/>
            <a:ext cx="449174" cy="449172"/>
          </a:xfrm>
          <a:prstGeom prst="ellipse">
            <a:avLst/>
          </a:prstGeom>
          <a:solidFill>
            <a:srgbClr val="EC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8" name="Freeform 17"/>
          <p:cNvSpPr>
            <a:spLocks noEditPoints="1"/>
          </p:cNvSpPr>
          <p:nvPr/>
        </p:nvSpPr>
        <p:spPr bwMode="auto">
          <a:xfrm>
            <a:off x="6123322" y="3707644"/>
            <a:ext cx="246544" cy="225772"/>
          </a:xfrm>
          <a:custGeom>
            <a:avLst/>
            <a:gdLst>
              <a:gd name="T0" fmla="*/ 96 w 353"/>
              <a:gd name="T1" fmla="*/ 121 h 322"/>
              <a:gd name="T2" fmla="*/ 72 w 353"/>
              <a:gd name="T3" fmla="*/ 145 h 322"/>
              <a:gd name="T4" fmla="*/ 96 w 353"/>
              <a:gd name="T5" fmla="*/ 169 h 322"/>
              <a:gd name="T6" fmla="*/ 120 w 353"/>
              <a:gd name="T7" fmla="*/ 145 h 322"/>
              <a:gd name="T8" fmla="*/ 96 w 353"/>
              <a:gd name="T9" fmla="*/ 121 h 322"/>
              <a:gd name="T10" fmla="*/ 176 w 353"/>
              <a:gd name="T11" fmla="*/ 121 h 322"/>
              <a:gd name="T12" fmla="*/ 152 w 353"/>
              <a:gd name="T13" fmla="*/ 145 h 322"/>
              <a:gd name="T14" fmla="*/ 176 w 353"/>
              <a:gd name="T15" fmla="*/ 169 h 322"/>
              <a:gd name="T16" fmla="*/ 200 w 353"/>
              <a:gd name="T17" fmla="*/ 145 h 322"/>
              <a:gd name="T18" fmla="*/ 176 w 353"/>
              <a:gd name="T19" fmla="*/ 121 h 322"/>
              <a:gd name="T20" fmla="*/ 176 w 353"/>
              <a:gd name="T21" fmla="*/ 0 h 322"/>
              <a:gd name="T22" fmla="*/ 0 w 353"/>
              <a:gd name="T23" fmla="*/ 145 h 322"/>
              <a:gd name="T24" fmla="*/ 50 w 353"/>
              <a:gd name="T25" fmla="*/ 246 h 322"/>
              <a:gd name="T26" fmla="*/ 32 w 353"/>
              <a:gd name="T27" fmla="*/ 322 h 322"/>
              <a:gd name="T28" fmla="*/ 127 w 353"/>
              <a:gd name="T29" fmla="*/ 284 h 322"/>
              <a:gd name="T30" fmla="*/ 176 w 353"/>
              <a:gd name="T31" fmla="*/ 289 h 322"/>
              <a:gd name="T32" fmla="*/ 353 w 353"/>
              <a:gd name="T33" fmla="*/ 145 h 322"/>
              <a:gd name="T34" fmla="*/ 176 w 353"/>
              <a:gd name="T35" fmla="*/ 0 h 322"/>
              <a:gd name="T36" fmla="*/ 176 w 353"/>
              <a:gd name="T37" fmla="*/ 273 h 322"/>
              <a:gd name="T38" fmla="*/ 130 w 353"/>
              <a:gd name="T39" fmla="*/ 268 h 322"/>
              <a:gd name="T40" fmla="*/ 127 w 353"/>
              <a:gd name="T41" fmla="*/ 268 h 322"/>
              <a:gd name="T42" fmla="*/ 121 w 353"/>
              <a:gd name="T43" fmla="*/ 269 h 322"/>
              <a:gd name="T44" fmla="*/ 54 w 353"/>
              <a:gd name="T45" fmla="*/ 295 h 322"/>
              <a:gd name="T46" fmla="*/ 65 w 353"/>
              <a:gd name="T47" fmla="*/ 249 h 322"/>
              <a:gd name="T48" fmla="*/ 60 w 353"/>
              <a:gd name="T49" fmla="*/ 233 h 322"/>
              <a:gd name="T50" fmla="*/ 16 w 353"/>
              <a:gd name="T51" fmla="*/ 145 h 322"/>
              <a:gd name="T52" fmla="*/ 176 w 353"/>
              <a:gd name="T53" fmla="*/ 17 h 322"/>
              <a:gd name="T54" fmla="*/ 337 w 353"/>
              <a:gd name="T55" fmla="*/ 145 h 322"/>
              <a:gd name="T56" fmla="*/ 176 w 353"/>
              <a:gd name="T57" fmla="*/ 273 h 322"/>
              <a:gd name="T58" fmla="*/ 256 w 353"/>
              <a:gd name="T59" fmla="*/ 121 h 322"/>
              <a:gd name="T60" fmla="*/ 232 w 353"/>
              <a:gd name="T61" fmla="*/ 145 h 322"/>
              <a:gd name="T62" fmla="*/ 256 w 353"/>
              <a:gd name="T63" fmla="*/ 169 h 322"/>
              <a:gd name="T64" fmla="*/ 281 w 353"/>
              <a:gd name="T65" fmla="*/ 145 h 322"/>
              <a:gd name="T66" fmla="*/ 256 w 353"/>
              <a:gd name="T67" fmla="*/ 121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3" h="322">
                <a:moveTo>
                  <a:pt x="96" y="121"/>
                </a:moveTo>
                <a:cubicBezTo>
                  <a:pt x="83" y="121"/>
                  <a:pt x="72" y="132"/>
                  <a:pt x="72" y="145"/>
                </a:cubicBezTo>
                <a:cubicBezTo>
                  <a:pt x="72" y="158"/>
                  <a:pt x="83" y="169"/>
                  <a:pt x="96" y="169"/>
                </a:cubicBezTo>
                <a:cubicBezTo>
                  <a:pt x="109" y="169"/>
                  <a:pt x="120" y="158"/>
                  <a:pt x="120" y="145"/>
                </a:cubicBezTo>
                <a:cubicBezTo>
                  <a:pt x="120" y="132"/>
                  <a:pt x="109" y="121"/>
                  <a:pt x="96" y="121"/>
                </a:cubicBezTo>
                <a:moveTo>
                  <a:pt x="176" y="121"/>
                </a:moveTo>
                <a:cubicBezTo>
                  <a:pt x="163" y="121"/>
                  <a:pt x="152" y="132"/>
                  <a:pt x="152" y="145"/>
                </a:cubicBezTo>
                <a:cubicBezTo>
                  <a:pt x="152" y="158"/>
                  <a:pt x="163" y="169"/>
                  <a:pt x="176" y="169"/>
                </a:cubicBezTo>
                <a:cubicBezTo>
                  <a:pt x="189" y="169"/>
                  <a:pt x="200" y="158"/>
                  <a:pt x="200" y="145"/>
                </a:cubicBezTo>
                <a:cubicBezTo>
                  <a:pt x="200" y="132"/>
                  <a:pt x="189" y="121"/>
                  <a:pt x="176" y="121"/>
                </a:cubicBezTo>
                <a:moveTo>
                  <a:pt x="176" y="0"/>
                </a:moveTo>
                <a:cubicBezTo>
                  <a:pt x="79" y="0"/>
                  <a:pt x="0" y="65"/>
                  <a:pt x="0" y="145"/>
                </a:cubicBezTo>
                <a:cubicBezTo>
                  <a:pt x="0" y="184"/>
                  <a:pt x="19" y="220"/>
                  <a:pt x="50" y="246"/>
                </a:cubicBezTo>
                <a:cubicBezTo>
                  <a:pt x="32" y="322"/>
                  <a:pt x="32" y="322"/>
                  <a:pt x="32" y="322"/>
                </a:cubicBezTo>
                <a:cubicBezTo>
                  <a:pt x="127" y="284"/>
                  <a:pt x="127" y="284"/>
                  <a:pt x="127" y="284"/>
                </a:cubicBezTo>
                <a:cubicBezTo>
                  <a:pt x="142" y="287"/>
                  <a:pt x="159" y="289"/>
                  <a:pt x="176" y="289"/>
                </a:cubicBezTo>
                <a:cubicBezTo>
                  <a:pt x="274" y="289"/>
                  <a:pt x="353" y="225"/>
                  <a:pt x="353" y="145"/>
                </a:cubicBezTo>
                <a:cubicBezTo>
                  <a:pt x="353" y="65"/>
                  <a:pt x="274" y="0"/>
                  <a:pt x="176" y="0"/>
                </a:cubicBezTo>
                <a:moveTo>
                  <a:pt x="176" y="273"/>
                </a:moveTo>
                <a:cubicBezTo>
                  <a:pt x="161" y="273"/>
                  <a:pt x="145" y="272"/>
                  <a:pt x="130" y="268"/>
                </a:cubicBezTo>
                <a:cubicBezTo>
                  <a:pt x="129" y="268"/>
                  <a:pt x="128" y="268"/>
                  <a:pt x="127" y="268"/>
                </a:cubicBezTo>
                <a:cubicBezTo>
                  <a:pt x="125" y="268"/>
                  <a:pt x="123" y="268"/>
                  <a:pt x="121" y="269"/>
                </a:cubicBezTo>
                <a:cubicBezTo>
                  <a:pt x="54" y="295"/>
                  <a:pt x="54" y="295"/>
                  <a:pt x="54" y="295"/>
                </a:cubicBezTo>
                <a:cubicBezTo>
                  <a:pt x="65" y="249"/>
                  <a:pt x="65" y="249"/>
                  <a:pt x="65" y="249"/>
                </a:cubicBezTo>
                <a:cubicBezTo>
                  <a:pt x="67" y="243"/>
                  <a:pt x="65" y="237"/>
                  <a:pt x="60" y="233"/>
                </a:cubicBezTo>
                <a:cubicBezTo>
                  <a:pt x="31" y="209"/>
                  <a:pt x="16" y="178"/>
                  <a:pt x="16" y="145"/>
                </a:cubicBezTo>
                <a:cubicBezTo>
                  <a:pt x="16" y="74"/>
                  <a:pt x="88" y="17"/>
                  <a:pt x="176" y="17"/>
                </a:cubicBezTo>
                <a:cubicBezTo>
                  <a:pt x="265" y="17"/>
                  <a:pt x="337" y="74"/>
                  <a:pt x="337" y="145"/>
                </a:cubicBezTo>
                <a:cubicBezTo>
                  <a:pt x="337" y="216"/>
                  <a:pt x="265" y="273"/>
                  <a:pt x="176" y="273"/>
                </a:cubicBezTo>
                <a:moveTo>
                  <a:pt x="256" y="121"/>
                </a:moveTo>
                <a:cubicBezTo>
                  <a:pt x="243" y="121"/>
                  <a:pt x="232" y="132"/>
                  <a:pt x="232" y="145"/>
                </a:cubicBezTo>
                <a:cubicBezTo>
                  <a:pt x="232" y="158"/>
                  <a:pt x="243" y="169"/>
                  <a:pt x="256" y="169"/>
                </a:cubicBezTo>
                <a:cubicBezTo>
                  <a:pt x="270" y="169"/>
                  <a:pt x="281" y="158"/>
                  <a:pt x="281" y="145"/>
                </a:cubicBezTo>
                <a:cubicBezTo>
                  <a:pt x="281" y="132"/>
                  <a:pt x="270" y="121"/>
                  <a:pt x="256" y="121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TextBox 21"/>
          <p:cNvSpPr txBox="1"/>
          <p:nvPr/>
        </p:nvSpPr>
        <p:spPr>
          <a:xfrm>
            <a:off x="4594311" y="3728197"/>
            <a:ext cx="338052" cy="18466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4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038646" y="3751281"/>
            <a:ext cx="9592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b="1" cap="all" spc="20">
                <a:solidFill>
                  <a:schemeClr val="accent1"/>
                </a:solidFill>
                <a:latin typeface="Lato" panose="020F0502020204030203" pitchFamily="34" charset="0"/>
              </a:rPr>
              <a:t>atenção</a:t>
            </a:r>
            <a:endParaRPr lang="en-US" sz="9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50904" y="3633550"/>
            <a:ext cx="1677374" cy="3234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pt-B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ira alguns dados e informações. A explicação deve ser pequena e breve.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" name="Right Arrow 8"/>
          <p:cNvSpPr/>
          <p:nvPr/>
        </p:nvSpPr>
        <p:spPr>
          <a:xfrm rot="10800000">
            <a:off x="2972480" y="2785918"/>
            <a:ext cx="1790857" cy="826358"/>
          </a:xfrm>
          <a:prstGeom prst="rightArrow">
            <a:avLst/>
          </a:pr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0" name="Oval 9"/>
          <p:cNvSpPr/>
          <p:nvPr/>
        </p:nvSpPr>
        <p:spPr>
          <a:xfrm>
            <a:off x="4538750" y="2974511"/>
            <a:ext cx="449174" cy="449172"/>
          </a:xfrm>
          <a:prstGeom prst="ellipse">
            <a:avLst/>
          </a:prstGeom>
          <a:solidFill>
            <a:srgbClr val="EC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7" name="Freeform 16"/>
          <p:cNvSpPr>
            <a:spLocks noEditPoints="1"/>
          </p:cNvSpPr>
          <p:nvPr/>
        </p:nvSpPr>
        <p:spPr bwMode="auto">
          <a:xfrm>
            <a:off x="3176784" y="3090907"/>
            <a:ext cx="215592" cy="216380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1" name="TextBox 20"/>
          <p:cNvSpPr txBox="1"/>
          <p:nvPr/>
        </p:nvSpPr>
        <p:spPr>
          <a:xfrm>
            <a:off x="4594311" y="3106764"/>
            <a:ext cx="338052" cy="18466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3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491609" y="3129848"/>
            <a:ext cx="9592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</a:rPr>
              <a:t>inspiração</a:t>
            </a:r>
            <a:endParaRPr lang="en-US" sz="9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94834" y="3022055"/>
            <a:ext cx="1677374" cy="32348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pt-B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ira alguns dados e informações. A explicação deve ser pequena e breve.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Right Arrow 5"/>
          <p:cNvSpPr/>
          <p:nvPr/>
        </p:nvSpPr>
        <p:spPr>
          <a:xfrm rot="10800000">
            <a:off x="2972480" y="1543050"/>
            <a:ext cx="1790857" cy="826358"/>
          </a:xfrm>
          <a:prstGeom prst="rightArrow">
            <a:avLst/>
          </a:prstGeom>
          <a:noFill/>
          <a:ln w="12700">
            <a:solidFill>
              <a:srgbClr val="E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Oval 6"/>
          <p:cNvSpPr/>
          <p:nvPr/>
        </p:nvSpPr>
        <p:spPr>
          <a:xfrm>
            <a:off x="4538750" y="1731643"/>
            <a:ext cx="449174" cy="449172"/>
          </a:xfrm>
          <a:prstGeom prst="ellipse">
            <a:avLst/>
          </a:prstGeom>
          <a:solidFill>
            <a:srgbClr val="EC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9" name="TextBox 18"/>
          <p:cNvSpPr txBox="1"/>
          <p:nvPr/>
        </p:nvSpPr>
        <p:spPr>
          <a:xfrm>
            <a:off x="4594311" y="1863896"/>
            <a:ext cx="338052" cy="184666"/>
          </a:xfrm>
          <a:prstGeom prst="rect">
            <a:avLst/>
          </a:prstGeom>
          <a:solidFill>
            <a:srgbClr val="EC0000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cap="all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0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491609" y="1886980"/>
            <a:ext cx="9592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cap="all" spc="20" dirty="0" err="1">
                <a:solidFill>
                  <a:schemeClr val="accent1"/>
                </a:solidFill>
                <a:latin typeface="Lato" panose="020F0502020204030203" pitchFamily="34" charset="0"/>
              </a:rPr>
              <a:t>produto</a:t>
            </a:r>
            <a:endParaRPr lang="en-US" sz="900" b="1" cap="all" spc="2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sp>
        <p:nvSpPr>
          <p:cNvPr id="35" name="Freeform 34"/>
          <p:cNvSpPr>
            <a:spLocks noEditPoints="1"/>
          </p:cNvSpPr>
          <p:nvPr/>
        </p:nvSpPr>
        <p:spPr bwMode="auto">
          <a:xfrm>
            <a:off x="3176784" y="1848433"/>
            <a:ext cx="215592" cy="215592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2" name="TextBox 41"/>
          <p:cNvSpPr txBox="1"/>
          <p:nvPr/>
        </p:nvSpPr>
        <p:spPr>
          <a:xfrm>
            <a:off x="994834" y="1779187"/>
            <a:ext cx="1677374" cy="32489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pt-BR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sira alguns dados e informações. A explicação deve ser pequena e breve.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61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Comparação</a:t>
            </a:r>
            <a:r>
              <a:rPr lang="en-US" dirty="0">
                <a:solidFill>
                  <a:srgbClr val="EC1C24"/>
                </a:solidFill>
              </a:rPr>
              <a:t> </a:t>
            </a:r>
            <a:r>
              <a:rPr lang="en-US" dirty="0"/>
              <a:t>de </a:t>
            </a:r>
            <a:r>
              <a:rPr lang="en-US" dirty="0" err="1"/>
              <a:t>gasto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17" name="Oval 5"/>
          <p:cNvSpPr>
            <a:spLocks noChangeArrowheads="1"/>
          </p:cNvSpPr>
          <p:nvPr/>
        </p:nvSpPr>
        <p:spPr bwMode="auto">
          <a:xfrm>
            <a:off x="4003450" y="3233426"/>
            <a:ext cx="1115612" cy="378445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518" name="Group 517"/>
          <p:cNvGrpSpPr/>
          <p:nvPr/>
        </p:nvGrpSpPr>
        <p:grpSpPr>
          <a:xfrm>
            <a:off x="4120147" y="3112795"/>
            <a:ext cx="883039" cy="394059"/>
            <a:chOff x="15201900" y="5965825"/>
            <a:chExt cx="3411537" cy="1522413"/>
          </a:xfrm>
        </p:grpSpPr>
        <p:sp>
          <p:nvSpPr>
            <p:cNvPr id="564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65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66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67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19" name="Group 518"/>
          <p:cNvGrpSpPr/>
          <p:nvPr/>
        </p:nvGrpSpPr>
        <p:grpSpPr>
          <a:xfrm>
            <a:off x="4081899" y="2976083"/>
            <a:ext cx="883039" cy="394059"/>
            <a:chOff x="15201900" y="5965825"/>
            <a:chExt cx="3411537" cy="1522413"/>
          </a:xfrm>
        </p:grpSpPr>
        <p:sp>
          <p:nvSpPr>
            <p:cNvPr id="560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61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62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63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0" name="Group 519"/>
          <p:cNvGrpSpPr/>
          <p:nvPr/>
        </p:nvGrpSpPr>
        <p:grpSpPr>
          <a:xfrm>
            <a:off x="4203356" y="2830407"/>
            <a:ext cx="883039" cy="394059"/>
            <a:chOff x="15201900" y="5965825"/>
            <a:chExt cx="3411537" cy="1522413"/>
          </a:xfrm>
        </p:grpSpPr>
        <p:sp>
          <p:nvSpPr>
            <p:cNvPr id="556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7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8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59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1" name="Group 520"/>
          <p:cNvGrpSpPr/>
          <p:nvPr/>
        </p:nvGrpSpPr>
        <p:grpSpPr>
          <a:xfrm>
            <a:off x="4127442" y="2716921"/>
            <a:ext cx="883039" cy="394059"/>
            <a:chOff x="15201900" y="5965825"/>
            <a:chExt cx="3411537" cy="1522413"/>
          </a:xfrm>
        </p:grpSpPr>
        <p:sp>
          <p:nvSpPr>
            <p:cNvPr id="552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3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4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5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2" name="Group 521"/>
          <p:cNvGrpSpPr/>
          <p:nvPr/>
        </p:nvGrpSpPr>
        <p:grpSpPr>
          <a:xfrm>
            <a:off x="4169334" y="2574277"/>
            <a:ext cx="883039" cy="394059"/>
            <a:chOff x="15201900" y="5965825"/>
            <a:chExt cx="3411537" cy="1522413"/>
          </a:xfrm>
        </p:grpSpPr>
        <p:sp>
          <p:nvSpPr>
            <p:cNvPr id="548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49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50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51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3" name="Group 522"/>
          <p:cNvGrpSpPr/>
          <p:nvPr/>
        </p:nvGrpSpPr>
        <p:grpSpPr>
          <a:xfrm>
            <a:off x="4097598" y="2428143"/>
            <a:ext cx="883039" cy="394059"/>
            <a:chOff x="15201900" y="5965825"/>
            <a:chExt cx="3411537" cy="1522413"/>
          </a:xfrm>
        </p:grpSpPr>
        <p:sp>
          <p:nvSpPr>
            <p:cNvPr id="544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45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46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47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4" name="Group 523"/>
          <p:cNvGrpSpPr/>
          <p:nvPr/>
        </p:nvGrpSpPr>
        <p:grpSpPr>
          <a:xfrm>
            <a:off x="4147555" y="2310680"/>
            <a:ext cx="883039" cy="394059"/>
            <a:chOff x="15201900" y="5965825"/>
            <a:chExt cx="3411537" cy="1522413"/>
          </a:xfrm>
        </p:grpSpPr>
        <p:sp>
          <p:nvSpPr>
            <p:cNvPr id="540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41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42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43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5" name="Group 524"/>
          <p:cNvGrpSpPr/>
          <p:nvPr/>
        </p:nvGrpSpPr>
        <p:grpSpPr>
          <a:xfrm>
            <a:off x="4062945" y="2164546"/>
            <a:ext cx="883039" cy="394059"/>
            <a:chOff x="15201900" y="5965825"/>
            <a:chExt cx="3411537" cy="1522413"/>
          </a:xfrm>
        </p:grpSpPr>
        <p:sp>
          <p:nvSpPr>
            <p:cNvPr id="536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37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38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39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6" name="Group 525"/>
          <p:cNvGrpSpPr/>
          <p:nvPr/>
        </p:nvGrpSpPr>
        <p:grpSpPr>
          <a:xfrm>
            <a:off x="4164699" y="2009548"/>
            <a:ext cx="883039" cy="394059"/>
            <a:chOff x="15201900" y="5965825"/>
            <a:chExt cx="3411537" cy="1522413"/>
          </a:xfrm>
        </p:grpSpPr>
        <p:sp>
          <p:nvSpPr>
            <p:cNvPr id="532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33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34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35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27" name="Group 526"/>
          <p:cNvGrpSpPr/>
          <p:nvPr/>
        </p:nvGrpSpPr>
        <p:grpSpPr>
          <a:xfrm rot="20776284">
            <a:off x="4255952" y="1828870"/>
            <a:ext cx="883039" cy="394059"/>
            <a:chOff x="15201900" y="5965825"/>
            <a:chExt cx="3411537" cy="1522413"/>
          </a:xfrm>
        </p:grpSpPr>
        <p:sp>
          <p:nvSpPr>
            <p:cNvPr id="528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29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30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31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635" name="TextBox 634"/>
          <p:cNvSpPr txBox="1"/>
          <p:nvPr/>
        </p:nvSpPr>
        <p:spPr>
          <a:xfrm>
            <a:off x="3852870" y="1545338"/>
            <a:ext cx="143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spc="20" dirty="0">
                <a:solidFill>
                  <a:schemeClr val="accent1"/>
                </a:solidFill>
                <a:latin typeface="Lato Black" panose="020F0A02020204030203" pitchFamily="34" charset="0"/>
              </a:rPr>
              <a:t>R$693m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754671" y="3742571"/>
            <a:ext cx="1633098" cy="523551"/>
            <a:chOff x="3754671" y="3742571"/>
            <a:chExt cx="1633098" cy="523551"/>
          </a:xfrm>
        </p:grpSpPr>
        <p:sp>
          <p:nvSpPr>
            <p:cNvPr id="644" name="TextBox 643"/>
            <p:cNvSpPr txBox="1"/>
            <p:nvPr/>
          </p:nvSpPr>
          <p:spPr>
            <a:xfrm>
              <a:off x="3754704" y="3742571"/>
              <a:ext cx="16330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óvei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5" name="TextBox 644"/>
            <p:cNvSpPr txBox="1"/>
            <p:nvPr/>
          </p:nvSpPr>
          <p:spPr>
            <a:xfrm>
              <a:off x="3754671" y="3941225"/>
              <a:ext cx="1633098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sp>
        <p:nvSpPr>
          <p:cNvPr id="422" name="Oval 5"/>
          <p:cNvSpPr>
            <a:spLocks noChangeArrowheads="1"/>
          </p:cNvSpPr>
          <p:nvPr/>
        </p:nvSpPr>
        <p:spPr bwMode="auto">
          <a:xfrm>
            <a:off x="1670026" y="3233426"/>
            <a:ext cx="1115612" cy="378445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23" name="Group 422"/>
          <p:cNvGrpSpPr/>
          <p:nvPr/>
        </p:nvGrpSpPr>
        <p:grpSpPr>
          <a:xfrm>
            <a:off x="1786723" y="3112795"/>
            <a:ext cx="883039" cy="394059"/>
            <a:chOff x="15201900" y="5965825"/>
            <a:chExt cx="3411537" cy="1522413"/>
          </a:xfrm>
        </p:grpSpPr>
        <p:sp>
          <p:nvSpPr>
            <p:cNvPr id="449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50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51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52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4" name="Group 423"/>
          <p:cNvGrpSpPr/>
          <p:nvPr/>
        </p:nvGrpSpPr>
        <p:grpSpPr>
          <a:xfrm>
            <a:off x="1748475" y="2976083"/>
            <a:ext cx="883039" cy="394059"/>
            <a:chOff x="15201900" y="5965825"/>
            <a:chExt cx="3411537" cy="1522413"/>
          </a:xfrm>
        </p:grpSpPr>
        <p:sp>
          <p:nvSpPr>
            <p:cNvPr id="445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46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47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48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5" name="Group 424"/>
          <p:cNvGrpSpPr/>
          <p:nvPr/>
        </p:nvGrpSpPr>
        <p:grpSpPr>
          <a:xfrm>
            <a:off x="1869932" y="2830407"/>
            <a:ext cx="883039" cy="394059"/>
            <a:chOff x="15201900" y="5965825"/>
            <a:chExt cx="3411537" cy="1522413"/>
          </a:xfrm>
        </p:grpSpPr>
        <p:sp>
          <p:nvSpPr>
            <p:cNvPr id="441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42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43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44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6" name="Group 425"/>
          <p:cNvGrpSpPr/>
          <p:nvPr/>
        </p:nvGrpSpPr>
        <p:grpSpPr>
          <a:xfrm>
            <a:off x="1794018" y="2716921"/>
            <a:ext cx="883039" cy="394059"/>
            <a:chOff x="15201900" y="5965825"/>
            <a:chExt cx="3411537" cy="1522413"/>
          </a:xfrm>
        </p:grpSpPr>
        <p:sp>
          <p:nvSpPr>
            <p:cNvPr id="437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8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9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40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7" name="Group 426"/>
          <p:cNvGrpSpPr/>
          <p:nvPr/>
        </p:nvGrpSpPr>
        <p:grpSpPr>
          <a:xfrm>
            <a:off x="1835910" y="2574277"/>
            <a:ext cx="883039" cy="394059"/>
            <a:chOff x="15201900" y="5965825"/>
            <a:chExt cx="3411537" cy="1522413"/>
          </a:xfrm>
        </p:grpSpPr>
        <p:sp>
          <p:nvSpPr>
            <p:cNvPr id="433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4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35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36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8" name="Group 427"/>
          <p:cNvGrpSpPr/>
          <p:nvPr/>
        </p:nvGrpSpPr>
        <p:grpSpPr>
          <a:xfrm rot="20776284">
            <a:off x="1926772" y="2417934"/>
            <a:ext cx="883039" cy="394059"/>
            <a:chOff x="15201900" y="5965825"/>
            <a:chExt cx="3411537" cy="1522413"/>
          </a:xfrm>
        </p:grpSpPr>
        <p:sp>
          <p:nvSpPr>
            <p:cNvPr id="429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0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1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32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631" name="TextBox 630"/>
          <p:cNvSpPr txBox="1"/>
          <p:nvPr/>
        </p:nvSpPr>
        <p:spPr>
          <a:xfrm>
            <a:off x="1521568" y="2120353"/>
            <a:ext cx="143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spc="20" dirty="0">
                <a:solidFill>
                  <a:schemeClr val="accent1"/>
                </a:solidFill>
                <a:latin typeface="Lato Black" panose="020F0A02020204030203" pitchFamily="34" charset="0"/>
              </a:rPr>
              <a:t>R$478m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423369" y="3742571"/>
            <a:ext cx="1633098" cy="523551"/>
            <a:chOff x="1423369" y="3742571"/>
            <a:chExt cx="1633098" cy="523551"/>
          </a:xfrm>
        </p:grpSpPr>
        <p:sp>
          <p:nvSpPr>
            <p:cNvPr id="640" name="TextBox 639"/>
            <p:cNvSpPr txBox="1"/>
            <p:nvPr/>
          </p:nvSpPr>
          <p:spPr>
            <a:xfrm>
              <a:off x="1423402" y="3742571"/>
              <a:ext cx="16330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rasport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1" name="TextBox 640"/>
            <p:cNvSpPr txBox="1"/>
            <p:nvPr/>
          </p:nvSpPr>
          <p:spPr>
            <a:xfrm>
              <a:off x="1423369" y="3941225"/>
              <a:ext cx="1633098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sp>
        <p:nvSpPr>
          <p:cNvPr id="454" name="Oval 5"/>
          <p:cNvSpPr>
            <a:spLocks noChangeArrowheads="1"/>
          </p:cNvSpPr>
          <p:nvPr/>
        </p:nvSpPr>
        <p:spPr bwMode="auto">
          <a:xfrm>
            <a:off x="6326787" y="3233426"/>
            <a:ext cx="1115612" cy="378445"/>
          </a:xfrm>
          <a:prstGeom prst="ellipse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55" name="Group 454"/>
          <p:cNvGrpSpPr/>
          <p:nvPr/>
        </p:nvGrpSpPr>
        <p:grpSpPr>
          <a:xfrm>
            <a:off x="6443484" y="3112795"/>
            <a:ext cx="883039" cy="394059"/>
            <a:chOff x="15201900" y="5965825"/>
            <a:chExt cx="3411537" cy="1522413"/>
          </a:xfrm>
        </p:grpSpPr>
        <p:sp>
          <p:nvSpPr>
            <p:cNvPr id="511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12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13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14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6" name="Group 455"/>
          <p:cNvGrpSpPr/>
          <p:nvPr/>
        </p:nvGrpSpPr>
        <p:grpSpPr>
          <a:xfrm>
            <a:off x="6405236" y="2976083"/>
            <a:ext cx="883039" cy="394059"/>
            <a:chOff x="15201900" y="5965825"/>
            <a:chExt cx="3411537" cy="1522413"/>
          </a:xfrm>
        </p:grpSpPr>
        <p:sp>
          <p:nvSpPr>
            <p:cNvPr id="507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08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9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10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7" name="Group 456"/>
          <p:cNvGrpSpPr/>
          <p:nvPr/>
        </p:nvGrpSpPr>
        <p:grpSpPr>
          <a:xfrm>
            <a:off x="6526693" y="2830407"/>
            <a:ext cx="883039" cy="394059"/>
            <a:chOff x="15201900" y="5965825"/>
            <a:chExt cx="3411537" cy="1522413"/>
          </a:xfrm>
        </p:grpSpPr>
        <p:sp>
          <p:nvSpPr>
            <p:cNvPr id="503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04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5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6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8" name="Group 457"/>
          <p:cNvGrpSpPr/>
          <p:nvPr/>
        </p:nvGrpSpPr>
        <p:grpSpPr>
          <a:xfrm>
            <a:off x="6450779" y="2716921"/>
            <a:ext cx="883039" cy="394059"/>
            <a:chOff x="15201900" y="5965825"/>
            <a:chExt cx="3411537" cy="1522413"/>
          </a:xfrm>
        </p:grpSpPr>
        <p:sp>
          <p:nvSpPr>
            <p:cNvPr id="499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0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01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2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59" name="Group 458"/>
          <p:cNvGrpSpPr/>
          <p:nvPr/>
        </p:nvGrpSpPr>
        <p:grpSpPr>
          <a:xfrm>
            <a:off x="6492671" y="2574277"/>
            <a:ext cx="883039" cy="394059"/>
            <a:chOff x="15201900" y="5965825"/>
            <a:chExt cx="3411537" cy="1522413"/>
          </a:xfrm>
        </p:grpSpPr>
        <p:sp>
          <p:nvSpPr>
            <p:cNvPr id="495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96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7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8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0" name="Group 459"/>
          <p:cNvGrpSpPr/>
          <p:nvPr/>
        </p:nvGrpSpPr>
        <p:grpSpPr>
          <a:xfrm>
            <a:off x="6420935" y="2428143"/>
            <a:ext cx="883039" cy="394059"/>
            <a:chOff x="15201900" y="5965825"/>
            <a:chExt cx="3411537" cy="1522413"/>
          </a:xfrm>
        </p:grpSpPr>
        <p:sp>
          <p:nvSpPr>
            <p:cNvPr id="491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92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93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4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1" name="Group 460"/>
          <p:cNvGrpSpPr/>
          <p:nvPr/>
        </p:nvGrpSpPr>
        <p:grpSpPr>
          <a:xfrm>
            <a:off x="6470892" y="2310680"/>
            <a:ext cx="883039" cy="394059"/>
            <a:chOff x="15201900" y="5965825"/>
            <a:chExt cx="3411537" cy="1522413"/>
          </a:xfrm>
        </p:grpSpPr>
        <p:sp>
          <p:nvSpPr>
            <p:cNvPr id="487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8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9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0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2" name="Group 461"/>
          <p:cNvGrpSpPr/>
          <p:nvPr/>
        </p:nvGrpSpPr>
        <p:grpSpPr>
          <a:xfrm>
            <a:off x="6386282" y="2164546"/>
            <a:ext cx="883039" cy="394059"/>
            <a:chOff x="15201900" y="5965825"/>
            <a:chExt cx="3411537" cy="1522413"/>
          </a:xfrm>
        </p:grpSpPr>
        <p:sp>
          <p:nvSpPr>
            <p:cNvPr id="483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4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5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86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3" name="Group 462"/>
          <p:cNvGrpSpPr/>
          <p:nvPr/>
        </p:nvGrpSpPr>
        <p:grpSpPr>
          <a:xfrm>
            <a:off x="6488036" y="2009548"/>
            <a:ext cx="883039" cy="394059"/>
            <a:chOff x="15201900" y="5965825"/>
            <a:chExt cx="3411537" cy="1522413"/>
          </a:xfrm>
        </p:grpSpPr>
        <p:sp>
          <p:nvSpPr>
            <p:cNvPr id="479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0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81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82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4" name="Group 463"/>
          <p:cNvGrpSpPr/>
          <p:nvPr/>
        </p:nvGrpSpPr>
        <p:grpSpPr>
          <a:xfrm>
            <a:off x="6567031" y="1878240"/>
            <a:ext cx="883039" cy="394059"/>
            <a:chOff x="15201900" y="5965825"/>
            <a:chExt cx="3411537" cy="1522413"/>
          </a:xfrm>
        </p:grpSpPr>
        <p:sp>
          <p:nvSpPr>
            <p:cNvPr id="475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76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77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8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5" name="Group 464"/>
          <p:cNvGrpSpPr/>
          <p:nvPr/>
        </p:nvGrpSpPr>
        <p:grpSpPr>
          <a:xfrm>
            <a:off x="6482421" y="1732106"/>
            <a:ext cx="883039" cy="394059"/>
            <a:chOff x="15201900" y="5965825"/>
            <a:chExt cx="3411537" cy="1522413"/>
          </a:xfrm>
        </p:grpSpPr>
        <p:sp>
          <p:nvSpPr>
            <p:cNvPr id="471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72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3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4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66" name="Group 465"/>
          <p:cNvGrpSpPr/>
          <p:nvPr/>
        </p:nvGrpSpPr>
        <p:grpSpPr>
          <a:xfrm rot="20776284">
            <a:off x="6598338" y="1565352"/>
            <a:ext cx="883039" cy="394059"/>
            <a:chOff x="15201900" y="5965825"/>
            <a:chExt cx="3411537" cy="1522413"/>
          </a:xfrm>
        </p:grpSpPr>
        <p:sp>
          <p:nvSpPr>
            <p:cNvPr id="467" name="Freeform 50"/>
            <p:cNvSpPr>
              <a:spLocks/>
            </p:cNvSpPr>
            <p:nvPr/>
          </p:nvSpPr>
          <p:spPr bwMode="auto">
            <a:xfrm>
              <a:off x="15201900" y="6545263"/>
              <a:ext cx="3411537" cy="942975"/>
            </a:xfrm>
            <a:custGeom>
              <a:avLst/>
              <a:gdLst>
                <a:gd name="T0" fmla="*/ 0 w 1585"/>
                <a:gd name="T1" fmla="*/ 0 h 439"/>
                <a:gd name="T2" fmla="*/ 0 w 1585"/>
                <a:gd name="T3" fmla="*/ 170 h 439"/>
                <a:gd name="T4" fmla="*/ 792 w 1585"/>
                <a:gd name="T5" fmla="*/ 439 h 439"/>
                <a:gd name="T6" fmla="*/ 1585 w 1585"/>
                <a:gd name="T7" fmla="*/ 170 h 439"/>
                <a:gd name="T8" fmla="*/ 1585 w 1585"/>
                <a:gd name="T9" fmla="*/ 0 h 439"/>
                <a:gd name="T10" fmla="*/ 0 w 1585"/>
                <a:gd name="T11" fmla="*/ 0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5" h="439">
                  <a:moveTo>
                    <a:pt x="0" y="0"/>
                  </a:moveTo>
                  <a:cubicBezTo>
                    <a:pt x="0" y="170"/>
                    <a:pt x="0" y="170"/>
                    <a:pt x="0" y="170"/>
                  </a:cubicBezTo>
                  <a:cubicBezTo>
                    <a:pt x="0" y="319"/>
                    <a:pt x="354" y="439"/>
                    <a:pt x="792" y="439"/>
                  </a:cubicBezTo>
                  <a:cubicBezTo>
                    <a:pt x="1230" y="439"/>
                    <a:pt x="1585" y="319"/>
                    <a:pt x="1585" y="170"/>
                  </a:cubicBezTo>
                  <a:cubicBezTo>
                    <a:pt x="1585" y="0"/>
                    <a:pt x="1585" y="0"/>
                    <a:pt x="158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68" name="Oval 51"/>
            <p:cNvSpPr>
              <a:spLocks noChangeArrowheads="1"/>
            </p:cNvSpPr>
            <p:nvPr/>
          </p:nvSpPr>
          <p:spPr bwMode="auto">
            <a:xfrm>
              <a:off x="15201900" y="5965825"/>
              <a:ext cx="3411537" cy="1157288"/>
            </a:xfrm>
            <a:prstGeom prst="ellipse">
              <a:avLst/>
            </a:prstGeom>
            <a:solidFill>
              <a:srgbClr val="FF3F3F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69" name="Oval 52"/>
            <p:cNvSpPr>
              <a:spLocks noChangeArrowheads="1"/>
            </p:cNvSpPr>
            <p:nvPr/>
          </p:nvSpPr>
          <p:spPr bwMode="auto">
            <a:xfrm>
              <a:off x="15517813" y="6073775"/>
              <a:ext cx="2776537" cy="941388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0" name="Freeform 53"/>
            <p:cNvSpPr>
              <a:spLocks/>
            </p:cNvSpPr>
            <p:nvPr/>
          </p:nvSpPr>
          <p:spPr bwMode="auto">
            <a:xfrm>
              <a:off x="16381413" y="6232525"/>
              <a:ext cx="1050925" cy="623888"/>
            </a:xfrm>
            <a:custGeom>
              <a:avLst/>
              <a:gdLst>
                <a:gd name="T0" fmla="*/ 49 w 488"/>
                <a:gd name="T1" fmla="*/ 242 h 290"/>
                <a:gd name="T2" fmla="*/ 0 w 488"/>
                <a:gd name="T3" fmla="*/ 196 h 290"/>
                <a:gd name="T4" fmla="*/ 0 w 488"/>
                <a:gd name="T5" fmla="*/ 187 h 290"/>
                <a:gd name="T6" fmla="*/ 178 w 488"/>
                <a:gd name="T7" fmla="*/ 187 h 290"/>
                <a:gd name="T8" fmla="*/ 178 w 488"/>
                <a:gd name="T9" fmla="*/ 193 h 290"/>
                <a:gd name="T10" fmla="*/ 195 w 488"/>
                <a:gd name="T11" fmla="*/ 214 h 290"/>
                <a:gd name="T12" fmla="*/ 239 w 488"/>
                <a:gd name="T13" fmla="*/ 220 h 290"/>
                <a:gd name="T14" fmla="*/ 283 w 488"/>
                <a:gd name="T15" fmla="*/ 213 h 290"/>
                <a:gd name="T16" fmla="*/ 298 w 488"/>
                <a:gd name="T17" fmla="*/ 198 h 290"/>
                <a:gd name="T18" fmla="*/ 277 w 488"/>
                <a:gd name="T19" fmla="*/ 180 h 290"/>
                <a:gd name="T20" fmla="*/ 224 w 488"/>
                <a:gd name="T21" fmla="*/ 168 h 290"/>
                <a:gd name="T22" fmla="*/ 154 w 488"/>
                <a:gd name="T23" fmla="*/ 159 h 290"/>
                <a:gd name="T24" fmla="*/ 85 w 488"/>
                <a:gd name="T25" fmla="*/ 146 h 290"/>
                <a:gd name="T26" fmla="*/ 32 w 488"/>
                <a:gd name="T27" fmla="*/ 125 h 290"/>
                <a:gd name="T28" fmla="*/ 10 w 488"/>
                <a:gd name="T29" fmla="*/ 92 h 290"/>
                <a:gd name="T30" fmla="*/ 191 w 488"/>
                <a:gd name="T31" fmla="*/ 20 h 290"/>
                <a:gd name="T32" fmla="*/ 191 w 488"/>
                <a:gd name="T33" fmla="*/ 0 h 290"/>
                <a:gd name="T34" fmla="*/ 282 w 488"/>
                <a:gd name="T35" fmla="*/ 0 h 290"/>
                <a:gd name="T36" fmla="*/ 282 w 488"/>
                <a:gd name="T37" fmla="*/ 20 h 290"/>
                <a:gd name="T38" fmla="*/ 424 w 488"/>
                <a:gd name="T39" fmla="*/ 40 h 290"/>
                <a:gd name="T40" fmla="*/ 469 w 488"/>
                <a:gd name="T41" fmla="*/ 91 h 290"/>
                <a:gd name="T42" fmla="*/ 297 w 488"/>
                <a:gd name="T43" fmla="*/ 91 h 290"/>
                <a:gd name="T44" fmla="*/ 297 w 488"/>
                <a:gd name="T45" fmla="*/ 86 h 290"/>
                <a:gd name="T46" fmla="*/ 284 w 488"/>
                <a:gd name="T47" fmla="*/ 69 h 290"/>
                <a:gd name="T48" fmla="*/ 245 w 488"/>
                <a:gd name="T49" fmla="*/ 61 h 290"/>
                <a:gd name="T50" fmla="*/ 202 w 488"/>
                <a:gd name="T51" fmla="*/ 68 h 290"/>
                <a:gd name="T52" fmla="*/ 188 w 488"/>
                <a:gd name="T53" fmla="*/ 82 h 290"/>
                <a:gd name="T54" fmla="*/ 210 w 488"/>
                <a:gd name="T55" fmla="*/ 100 h 290"/>
                <a:gd name="T56" fmla="*/ 266 w 488"/>
                <a:gd name="T57" fmla="*/ 112 h 290"/>
                <a:gd name="T58" fmla="*/ 338 w 488"/>
                <a:gd name="T59" fmla="*/ 121 h 290"/>
                <a:gd name="T60" fmla="*/ 410 w 488"/>
                <a:gd name="T61" fmla="*/ 134 h 290"/>
                <a:gd name="T62" fmla="*/ 465 w 488"/>
                <a:gd name="T63" fmla="*/ 155 h 290"/>
                <a:gd name="T64" fmla="*/ 488 w 488"/>
                <a:gd name="T65" fmla="*/ 190 h 290"/>
                <a:gd name="T66" fmla="*/ 435 w 488"/>
                <a:gd name="T67" fmla="*/ 240 h 290"/>
                <a:gd name="T68" fmla="*/ 282 w 488"/>
                <a:gd name="T69" fmla="*/ 260 h 290"/>
                <a:gd name="T70" fmla="*/ 282 w 488"/>
                <a:gd name="T71" fmla="*/ 290 h 290"/>
                <a:gd name="T72" fmla="*/ 191 w 488"/>
                <a:gd name="T73" fmla="*/ 290 h 290"/>
                <a:gd name="T74" fmla="*/ 191 w 488"/>
                <a:gd name="T75" fmla="*/ 260 h 290"/>
                <a:gd name="T76" fmla="*/ 49 w 488"/>
                <a:gd name="T77" fmla="*/ 24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8" h="290">
                  <a:moveTo>
                    <a:pt x="49" y="242"/>
                  </a:moveTo>
                  <a:cubicBezTo>
                    <a:pt x="17" y="233"/>
                    <a:pt x="0" y="217"/>
                    <a:pt x="0" y="196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203"/>
                    <a:pt x="184" y="210"/>
                    <a:pt x="195" y="214"/>
                  </a:cubicBezTo>
                  <a:cubicBezTo>
                    <a:pt x="206" y="218"/>
                    <a:pt x="221" y="220"/>
                    <a:pt x="239" y="220"/>
                  </a:cubicBezTo>
                  <a:cubicBezTo>
                    <a:pt x="258" y="220"/>
                    <a:pt x="273" y="218"/>
                    <a:pt x="283" y="213"/>
                  </a:cubicBezTo>
                  <a:cubicBezTo>
                    <a:pt x="293" y="209"/>
                    <a:pt x="298" y="204"/>
                    <a:pt x="298" y="198"/>
                  </a:cubicBezTo>
                  <a:cubicBezTo>
                    <a:pt x="298" y="190"/>
                    <a:pt x="291" y="184"/>
                    <a:pt x="277" y="180"/>
                  </a:cubicBezTo>
                  <a:cubicBezTo>
                    <a:pt x="263" y="176"/>
                    <a:pt x="245" y="172"/>
                    <a:pt x="224" y="168"/>
                  </a:cubicBezTo>
                  <a:cubicBezTo>
                    <a:pt x="202" y="165"/>
                    <a:pt x="179" y="162"/>
                    <a:pt x="154" y="159"/>
                  </a:cubicBezTo>
                  <a:cubicBezTo>
                    <a:pt x="129" y="155"/>
                    <a:pt x="106" y="151"/>
                    <a:pt x="85" y="146"/>
                  </a:cubicBezTo>
                  <a:cubicBezTo>
                    <a:pt x="63" y="141"/>
                    <a:pt x="46" y="134"/>
                    <a:pt x="32" y="125"/>
                  </a:cubicBezTo>
                  <a:cubicBezTo>
                    <a:pt x="17" y="117"/>
                    <a:pt x="10" y="106"/>
                    <a:pt x="10" y="92"/>
                  </a:cubicBezTo>
                  <a:cubicBezTo>
                    <a:pt x="10" y="50"/>
                    <a:pt x="70" y="26"/>
                    <a:pt x="191" y="2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20"/>
                    <a:pt x="282" y="20"/>
                    <a:pt x="282" y="20"/>
                  </a:cubicBezTo>
                  <a:cubicBezTo>
                    <a:pt x="347" y="22"/>
                    <a:pt x="395" y="29"/>
                    <a:pt x="424" y="40"/>
                  </a:cubicBezTo>
                  <a:cubicBezTo>
                    <a:pt x="454" y="51"/>
                    <a:pt x="469" y="68"/>
                    <a:pt x="469" y="91"/>
                  </a:cubicBezTo>
                  <a:cubicBezTo>
                    <a:pt x="297" y="91"/>
                    <a:pt x="297" y="91"/>
                    <a:pt x="297" y="91"/>
                  </a:cubicBezTo>
                  <a:cubicBezTo>
                    <a:pt x="297" y="86"/>
                    <a:pt x="297" y="86"/>
                    <a:pt x="297" y="86"/>
                  </a:cubicBezTo>
                  <a:cubicBezTo>
                    <a:pt x="297" y="79"/>
                    <a:pt x="293" y="74"/>
                    <a:pt x="284" y="69"/>
                  </a:cubicBezTo>
                  <a:cubicBezTo>
                    <a:pt x="276" y="64"/>
                    <a:pt x="263" y="61"/>
                    <a:pt x="245" y="61"/>
                  </a:cubicBezTo>
                  <a:cubicBezTo>
                    <a:pt x="225" y="61"/>
                    <a:pt x="211" y="63"/>
                    <a:pt x="202" y="68"/>
                  </a:cubicBezTo>
                  <a:cubicBezTo>
                    <a:pt x="192" y="72"/>
                    <a:pt x="188" y="77"/>
                    <a:pt x="188" y="82"/>
                  </a:cubicBezTo>
                  <a:cubicBezTo>
                    <a:pt x="188" y="90"/>
                    <a:pt x="195" y="96"/>
                    <a:pt x="210" y="100"/>
                  </a:cubicBezTo>
                  <a:cubicBezTo>
                    <a:pt x="225" y="105"/>
                    <a:pt x="243" y="109"/>
                    <a:pt x="266" y="112"/>
                  </a:cubicBezTo>
                  <a:cubicBezTo>
                    <a:pt x="288" y="115"/>
                    <a:pt x="312" y="118"/>
                    <a:pt x="338" y="121"/>
                  </a:cubicBezTo>
                  <a:cubicBezTo>
                    <a:pt x="363" y="124"/>
                    <a:pt x="387" y="128"/>
                    <a:pt x="410" y="134"/>
                  </a:cubicBezTo>
                  <a:cubicBezTo>
                    <a:pt x="432" y="139"/>
                    <a:pt x="451" y="146"/>
                    <a:pt x="465" y="155"/>
                  </a:cubicBezTo>
                  <a:cubicBezTo>
                    <a:pt x="480" y="164"/>
                    <a:pt x="488" y="175"/>
                    <a:pt x="488" y="190"/>
                  </a:cubicBezTo>
                  <a:cubicBezTo>
                    <a:pt x="488" y="212"/>
                    <a:pt x="470" y="229"/>
                    <a:pt x="435" y="240"/>
                  </a:cubicBezTo>
                  <a:cubicBezTo>
                    <a:pt x="400" y="251"/>
                    <a:pt x="349" y="258"/>
                    <a:pt x="282" y="260"/>
                  </a:cubicBezTo>
                  <a:cubicBezTo>
                    <a:pt x="282" y="290"/>
                    <a:pt x="282" y="290"/>
                    <a:pt x="282" y="290"/>
                  </a:cubicBezTo>
                  <a:cubicBezTo>
                    <a:pt x="191" y="290"/>
                    <a:pt x="191" y="290"/>
                    <a:pt x="191" y="290"/>
                  </a:cubicBezTo>
                  <a:cubicBezTo>
                    <a:pt x="191" y="260"/>
                    <a:pt x="191" y="260"/>
                    <a:pt x="191" y="260"/>
                  </a:cubicBezTo>
                  <a:cubicBezTo>
                    <a:pt x="128" y="258"/>
                    <a:pt x="81" y="252"/>
                    <a:pt x="49" y="242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638" name="TextBox 637"/>
          <p:cNvSpPr txBox="1"/>
          <p:nvPr/>
        </p:nvSpPr>
        <p:spPr>
          <a:xfrm>
            <a:off x="6185732" y="1246249"/>
            <a:ext cx="14367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cap="all" spc="20" dirty="0">
                <a:solidFill>
                  <a:schemeClr val="accent1"/>
                </a:solidFill>
                <a:latin typeface="Lato Black" panose="020F0A02020204030203" pitchFamily="34" charset="0"/>
              </a:rPr>
              <a:t>R$856m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087533" y="3742571"/>
            <a:ext cx="1633098" cy="523551"/>
            <a:chOff x="6087533" y="3742571"/>
            <a:chExt cx="1633098" cy="523551"/>
          </a:xfrm>
        </p:grpSpPr>
        <p:sp>
          <p:nvSpPr>
            <p:cNvPr id="647" name="TextBox 646"/>
            <p:cNvSpPr txBox="1"/>
            <p:nvPr/>
          </p:nvSpPr>
          <p:spPr>
            <a:xfrm>
              <a:off x="6087566" y="3742571"/>
              <a:ext cx="163303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8" name="TextBox 647"/>
            <p:cNvSpPr txBox="1"/>
            <p:nvPr/>
          </p:nvSpPr>
          <p:spPr>
            <a:xfrm>
              <a:off x="6087533" y="3941225"/>
              <a:ext cx="1633098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4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901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ESTRATÉGIA</a:t>
            </a:r>
            <a:r>
              <a:rPr lang="en-US" dirty="0"/>
              <a:t> DE MARKETING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642990" y="2054821"/>
            <a:ext cx="628989" cy="527724"/>
          </a:xfrm>
          <a:custGeom>
            <a:avLst/>
            <a:gdLst>
              <a:gd name="T0" fmla="*/ 0 w 1970"/>
              <a:gd name="T1" fmla="*/ 0 h 1653"/>
              <a:gd name="T2" fmla="*/ 0 w 1970"/>
              <a:gd name="T3" fmla="*/ 1031 h 1653"/>
              <a:gd name="T4" fmla="*/ 1077 w 1970"/>
              <a:gd name="T5" fmla="*/ 1653 h 1653"/>
              <a:gd name="T6" fmla="*/ 1970 w 1970"/>
              <a:gd name="T7" fmla="*/ 1137 h 1653"/>
              <a:gd name="T8" fmla="*/ 0 w 1970"/>
              <a:gd name="T9" fmla="*/ 0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0" h="1653">
                <a:moveTo>
                  <a:pt x="0" y="0"/>
                </a:moveTo>
                <a:cubicBezTo>
                  <a:pt x="0" y="1031"/>
                  <a:pt x="0" y="1031"/>
                  <a:pt x="0" y="1031"/>
                </a:cubicBezTo>
                <a:cubicBezTo>
                  <a:pt x="437" y="1090"/>
                  <a:pt x="819" y="1321"/>
                  <a:pt x="1077" y="1653"/>
                </a:cubicBezTo>
                <a:cubicBezTo>
                  <a:pt x="1970" y="1137"/>
                  <a:pt x="1970" y="1137"/>
                  <a:pt x="1970" y="1137"/>
                </a:cubicBezTo>
                <a:cubicBezTo>
                  <a:pt x="1527" y="502"/>
                  <a:pt x="816" y="68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5057444" y="2540787"/>
            <a:ext cx="366432" cy="726600"/>
          </a:xfrm>
          <a:custGeom>
            <a:avLst/>
            <a:gdLst>
              <a:gd name="T0" fmla="*/ 122 w 1147"/>
              <a:gd name="T1" fmla="*/ 1137 h 2274"/>
              <a:gd name="T2" fmla="*/ 0 w 1147"/>
              <a:gd name="T3" fmla="*/ 1759 h 2274"/>
              <a:gd name="T4" fmla="*/ 893 w 1147"/>
              <a:gd name="T5" fmla="*/ 2274 h 2274"/>
              <a:gd name="T6" fmla="*/ 1147 w 1147"/>
              <a:gd name="T7" fmla="*/ 1137 h 2274"/>
              <a:gd name="T8" fmla="*/ 893 w 1147"/>
              <a:gd name="T9" fmla="*/ 0 h 2274"/>
              <a:gd name="T10" fmla="*/ 0 w 1147"/>
              <a:gd name="T11" fmla="*/ 515 h 2274"/>
              <a:gd name="T12" fmla="*/ 122 w 1147"/>
              <a:gd name="T13" fmla="*/ 1137 h 2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7" h="2274">
                <a:moveTo>
                  <a:pt x="122" y="1137"/>
                </a:moveTo>
                <a:cubicBezTo>
                  <a:pt x="122" y="1357"/>
                  <a:pt x="79" y="1567"/>
                  <a:pt x="0" y="1759"/>
                </a:cubicBezTo>
                <a:cubicBezTo>
                  <a:pt x="893" y="2274"/>
                  <a:pt x="893" y="2274"/>
                  <a:pt x="893" y="2274"/>
                </a:cubicBezTo>
                <a:cubicBezTo>
                  <a:pt x="1056" y="1929"/>
                  <a:pt x="1147" y="1544"/>
                  <a:pt x="1147" y="1137"/>
                </a:cubicBezTo>
                <a:cubicBezTo>
                  <a:pt x="1147" y="730"/>
                  <a:pt x="1056" y="345"/>
                  <a:pt x="893" y="0"/>
                </a:cubicBezTo>
                <a:cubicBezTo>
                  <a:pt x="0" y="515"/>
                  <a:pt x="0" y="515"/>
                  <a:pt x="0" y="515"/>
                </a:cubicBezTo>
                <a:cubicBezTo>
                  <a:pt x="79" y="707"/>
                  <a:pt x="122" y="917"/>
                  <a:pt x="122" y="113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7"/>
          <p:cNvSpPr>
            <a:spLocks/>
          </p:cNvSpPr>
          <p:nvPr/>
        </p:nvSpPr>
        <p:spPr bwMode="auto">
          <a:xfrm>
            <a:off x="4642990" y="3225629"/>
            <a:ext cx="628989" cy="527724"/>
          </a:xfrm>
          <a:custGeom>
            <a:avLst/>
            <a:gdLst>
              <a:gd name="T0" fmla="*/ 1970 w 1970"/>
              <a:gd name="T1" fmla="*/ 516 h 1653"/>
              <a:gd name="T2" fmla="*/ 1077 w 1970"/>
              <a:gd name="T3" fmla="*/ 0 h 1653"/>
              <a:gd name="T4" fmla="*/ 0 w 1970"/>
              <a:gd name="T5" fmla="*/ 622 h 1653"/>
              <a:gd name="T6" fmla="*/ 0 w 1970"/>
              <a:gd name="T7" fmla="*/ 1653 h 1653"/>
              <a:gd name="T8" fmla="*/ 1970 w 1970"/>
              <a:gd name="T9" fmla="*/ 516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0" h="1653">
                <a:moveTo>
                  <a:pt x="1970" y="516"/>
                </a:moveTo>
                <a:cubicBezTo>
                  <a:pt x="1077" y="0"/>
                  <a:pt x="1077" y="0"/>
                  <a:pt x="1077" y="0"/>
                </a:cubicBezTo>
                <a:cubicBezTo>
                  <a:pt x="819" y="332"/>
                  <a:pt x="437" y="563"/>
                  <a:pt x="0" y="622"/>
                </a:cubicBezTo>
                <a:cubicBezTo>
                  <a:pt x="0" y="1653"/>
                  <a:pt x="0" y="1653"/>
                  <a:pt x="0" y="1653"/>
                </a:cubicBezTo>
                <a:cubicBezTo>
                  <a:pt x="816" y="1585"/>
                  <a:pt x="1527" y="1151"/>
                  <a:pt x="1970" y="51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8"/>
          <p:cNvSpPr>
            <a:spLocks/>
          </p:cNvSpPr>
          <p:nvPr/>
        </p:nvSpPr>
        <p:spPr bwMode="auto">
          <a:xfrm>
            <a:off x="3872021" y="3225629"/>
            <a:ext cx="628989" cy="527724"/>
          </a:xfrm>
          <a:custGeom>
            <a:avLst/>
            <a:gdLst>
              <a:gd name="T0" fmla="*/ 893 w 1970"/>
              <a:gd name="T1" fmla="*/ 0 h 1653"/>
              <a:gd name="T2" fmla="*/ 0 w 1970"/>
              <a:gd name="T3" fmla="*/ 516 h 1653"/>
              <a:gd name="T4" fmla="*/ 1970 w 1970"/>
              <a:gd name="T5" fmla="*/ 1653 h 1653"/>
              <a:gd name="T6" fmla="*/ 1970 w 1970"/>
              <a:gd name="T7" fmla="*/ 622 h 1653"/>
              <a:gd name="T8" fmla="*/ 893 w 1970"/>
              <a:gd name="T9" fmla="*/ 0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0" h="1653">
                <a:moveTo>
                  <a:pt x="893" y="0"/>
                </a:moveTo>
                <a:cubicBezTo>
                  <a:pt x="0" y="516"/>
                  <a:pt x="0" y="516"/>
                  <a:pt x="0" y="516"/>
                </a:cubicBezTo>
                <a:cubicBezTo>
                  <a:pt x="443" y="1151"/>
                  <a:pt x="1154" y="1585"/>
                  <a:pt x="1970" y="1653"/>
                </a:cubicBezTo>
                <a:cubicBezTo>
                  <a:pt x="1970" y="622"/>
                  <a:pt x="1970" y="622"/>
                  <a:pt x="1970" y="622"/>
                </a:cubicBezTo>
                <a:cubicBezTo>
                  <a:pt x="1533" y="563"/>
                  <a:pt x="1151" y="332"/>
                  <a:pt x="893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9"/>
          <p:cNvSpPr>
            <a:spLocks/>
          </p:cNvSpPr>
          <p:nvPr/>
        </p:nvSpPr>
        <p:spPr bwMode="auto">
          <a:xfrm>
            <a:off x="3720124" y="2540787"/>
            <a:ext cx="366432" cy="726600"/>
          </a:xfrm>
          <a:custGeom>
            <a:avLst/>
            <a:gdLst>
              <a:gd name="T0" fmla="*/ 254 w 1147"/>
              <a:gd name="T1" fmla="*/ 0 h 2274"/>
              <a:gd name="T2" fmla="*/ 0 w 1147"/>
              <a:gd name="T3" fmla="*/ 1137 h 2274"/>
              <a:gd name="T4" fmla="*/ 254 w 1147"/>
              <a:gd name="T5" fmla="*/ 2274 h 2274"/>
              <a:gd name="T6" fmla="*/ 1147 w 1147"/>
              <a:gd name="T7" fmla="*/ 1759 h 2274"/>
              <a:gd name="T8" fmla="*/ 1025 w 1147"/>
              <a:gd name="T9" fmla="*/ 1137 h 2274"/>
              <a:gd name="T10" fmla="*/ 1147 w 1147"/>
              <a:gd name="T11" fmla="*/ 515 h 2274"/>
              <a:gd name="T12" fmla="*/ 254 w 1147"/>
              <a:gd name="T13" fmla="*/ 0 h 2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47" h="2274">
                <a:moveTo>
                  <a:pt x="254" y="0"/>
                </a:moveTo>
                <a:cubicBezTo>
                  <a:pt x="91" y="345"/>
                  <a:pt x="0" y="730"/>
                  <a:pt x="0" y="1137"/>
                </a:cubicBezTo>
                <a:cubicBezTo>
                  <a:pt x="0" y="1544"/>
                  <a:pt x="91" y="1929"/>
                  <a:pt x="254" y="2274"/>
                </a:cubicBezTo>
                <a:cubicBezTo>
                  <a:pt x="1147" y="1759"/>
                  <a:pt x="1147" y="1759"/>
                  <a:pt x="1147" y="1759"/>
                </a:cubicBezTo>
                <a:cubicBezTo>
                  <a:pt x="1068" y="1567"/>
                  <a:pt x="1025" y="1357"/>
                  <a:pt x="1025" y="1137"/>
                </a:cubicBezTo>
                <a:cubicBezTo>
                  <a:pt x="1025" y="917"/>
                  <a:pt x="1068" y="707"/>
                  <a:pt x="1147" y="515"/>
                </a:cubicBezTo>
                <a:lnTo>
                  <a:pt x="254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10"/>
          <p:cNvSpPr>
            <a:spLocks/>
          </p:cNvSpPr>
          <p:nvPr/>
        </p:nvSpPr>
        <p:spPr bwMode="auto">
          <a:xfrm>
            <a:off x="3872021" y="2054821"/>
            <a:ext cx="628989" cy="527724"/>
          </a:xfrm>
          <a:custGeom>
            <a:avLst/>
            <a:gdLst>
              <a:gd name="T0" fmla="*/ 0 w 1970"/>
              <a:gd name="T1" fmla="*/ 1137 h 1653"/>
              <a:gd name="T2" fmla="*/ 893 w 1970"/>
              <a:gd name="T3" fmla="*/ 1653 h 1653"/>
              <a:gd name="T4" fmla="*/ 1970 w 1970"/>
              <a:gd name="T5" fmla="*/ 1031 h 1653"/>
              <a:gd name="T6" fmla="*/ 1970 w 1970"/>
              <a:gd name="T7" fmla="*/ 0 h 1653"/>
              <a:gd name="T8" fmla="*/ 0 w 1970"/>
              <a:gd name="T9" fmla="*/ 1137 h 1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0" h="1653">
                <a:moveTo>
                  <a:pt x="0" y="1137"/>
                </a:moveTo>
                <a:cubicBezTo>
                  <a:pt x="893" y="1653"/>
                  <a:pt x="893" y="1653"/>
                  <a:pt x="893" y="1653"/>
                </a:cubicBezTo>
                <a:cubicBezTo>
                  <a:pt x="1151" y="1321"/>
                  <a:pt x="1533" y="1090"/>
                  <a:pt x="1970" y="1031"/>
                </a:cubicBezTo>
                <a:cubicBezTo>
                  <a:pt x="1970" y="0"/>
                  <a:pt x="1970" y="0"/>
                  <a:pt x="1970" y="0"/>
                </a:cubicBezTo>
                <a:cubicBezTo>
                  <a:pt x="1154" y="68"/>
                  <a:pt x="443" y="502"/>
                  <a:pt x="0" y="113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0" name="Freeform 11"/>
          <p:cNvSpPr>
            <a:spLocks noEditPoints="1"/>
          </p:cNvSpPr>
          <p:nvPr/>
        </p:nvSpPr>
        <p:spPr bwMode="auto">
          <a:xfrm>
            <a:off x="4140320" y="2497462"/>
            <a:ext cx="863360" cy="813249"/>
          </a:xfrm>
          <a:custGeom>
            <a:avLst/>
            <a:gdLst>
              <a:gd name="T0" fmla="*/ 2393 w 2704"/>
              <a:gd name="T1" fmla="*/ 997 h 2547"/>
              <a:gd name="T2" fmla="*/ 2112 w 2704"/>
              <a:gd name="T3" fmla="*/ 511 h 2547"/>
              <a:gd name="T4" fmla="*/ 2107 w 2704"/>
              <a:gd name="T5" fmla="*/ 488 h 2547"/>
              <a:gd name="T6" fmla="*/ 2206 w 2704"/>
              <a:gd name="T7" fmla="*/ 227 h 2547"/>
              <a:gd name="T8" fmla="*/ 2196 w 2704"/>
              <a:gd name="T9" fmla="*/ 200 h 2547"/>
              <a:gd name="T10" fmla="*/ 1860 w 2704"/>
              <a:gd name="T11" fmla="*/ 6 h 2547"/>
              <a:gd name="T12" fmla="*/ 1832 w 2704"/>
              <a:gd name="T13" fmla="*/ 11 h 2547"/>
              <a:gd name="T14" fmla="*/ 1656 w 2704"/>
              <a:gd name="T15" fmla="*/ 227 h 2547"/>
              <a:gd name="T16" fmla="*/ 1633 w 2704"/>
              <a:gd name="T17" fmla="*/ 234 h 2547"/>
              <a:gd name="T18" fmla="*/ 1352 w 2704"/>
              <a:gd name="T19" fmla="*/ 197 h 2547"/>
              <a:gd name="T20" fmla="*/ 1071 w 2704"/>
              <a:gd name="T21" fmla="*/ 234 h 2547"/>
              <a:gd name="T22" fmla="*/ 1048 w 2704"/>
              <a:gd name="T23" fmla="*/ 227 h 2547"/>
              <a:gd name="T24" fmla="*/ 872 w 2704"/>
              <a:gd name="T25" fmla="*/ 11 h 2547"/>
              <a:gd name="T26" fmla="*/ 844 w 2704"/>
              <a:gd name="T27" fmla="*/ 6 h 2547"/>
              <a:gd name="T28" fmla="*/ 508 w 2704"/>
              <a:gd name="T29" fmla="*/ 200 h 2547"/>
              <a:gd name="T30" fmla="*/ 498 w 2704"/>
              <a:gd name="T31" fmla="*/ 227 h 2547"/>
              <a:gd name="T32" fmla="*/ 597 w 2704"/>
              <a:gd name="T33" fmla="*/ 488 h 2547"/>
              <a:gd name="T34" fmla="*/ 592 w 2704"/>
              <a:gd name="T35" fmla="*/ 511 h 2547"/>
              <a:gd name="T36" fmla="*/ 311 w 2704"/>
              <a:gd name="T37" fmla="*/ 997 h 2547"/>
              <a:gd name="T38" fmla="*/ 294 w 2704"/>
              <a:gd name="T39" fmla="*/ 1013 h 2547"/>
              <a:gd name="T40" fmla="*/ 18 w 2704"/>
              <a:gd name="T41" fmla="*/ 1058 h 2547"/>
              <a:gd name="T42" fmla="*/ 0 w 2704"/>
              <a:gd name="T43" fmla="*/ 1080 h 2547"/>
              <a:gd name="T44" fmla="*/ 0 w 2704"/>
              <a:gd name="T45" fmla="*/ 1468 h 2547"/>
              <a:gd name="T46" fmla="*/ 18 w 2704"/>
              <a:gd name="T47" fmla="*/ 1490 h 2547"/>
              <a:gd name="T48" fmla="*/ 294 w 2704"/>
              <a:gd name="T49" fmla="*/ 1534 h 2547"/>
              <a:gd name="T50" fmla="*/ 311 w 2704"/>
              <a:gd name="T51" fmla="*/ 1550 h 2547"/>
              <a:gd name="T52" fmla="*/ 592 w 2704"/>
              <a:gd name="T53" fmla="*/ 2036 h 2547"/>
              <a:gd name="T54" fmla="*/ 597 w 2704"/>
              <a:gd name="T55" fmla="*/ 2060 h 2547"/>
              <a:gd name="T56" fmla="*/ 498 w 2704"/>
              <a:gd name="T57" fmla="*/ 2321 h 2547"/>
              <a:gd name="T58" fmla="*/ 508 w 2704"/>
              <a:gd name="T59" fmla="*/ 2348 h 2547"/>
              <a:gd name="T60" fmla="*/ 844 w 2704"/>
              <a:gd name="T61" fmla="*/ 2542 h 2547"/>
              <a:gd name="T62" fmla="*/ 872 w 2704"/>
              <a:gd name="T63" fmla="*/ 2537 h 2547"/>
              <a:gd name="T64" fmla="*/ 1048 w 2704"/>
              <a:gd name="T65" fmla="*/ 2321 h 2547"/>
              <a:gd name="T66" fmla="*/ 1071 w 2704"/>
              <a:gd name="T67" fmla="*/ 2313 h 2547"/>
              <a:gd name="T68" fmla="*/ 1352 w 2704"/>
              <a:gd name="T69" fmla="*/ 2350 h 2547"/>
              <a:gd name="T70" fmla="*/ 1633 w 2704"/>
              <a:gd name="T71" fmla="*/ 2313 h 2547"/>
              <a:gd name="T72" fmla="*/ 1656 w 2704"/>
              <a:gd name="T73" fmla="*/ 2321 h 2547"/>
              <a:gd name="T74" fmla="*/ 1832 w 2704"/>
              <a:gd name="T75" fmla="*/ 2537 h 2547"/>
              <a:gd name="T76" fmla="*/ 1860 w 2704"/>
              <a:gd name="T77" fmla="*/ 2542 h 2547"/>
              <a:gd name="T78" fmla="*/ 2196 w 2704"/>
              <a:gd name="T79" fmla="*/ 2348 h 2547"/>
              <a:gd name="T80" fmla="*/ 2206 w 2704"/>
              <a:gd name="T81" fmla="*/ 2321 h 2547"/>
              <a:gd name="T82" fmla="*/ 2107 w 2704"/>
              <a:gd name="T83" fmla="*/ 2060 h 2547"/>
              <a:gd name="T84" fmla="*/ 2112 w 2704"/>
              <a:gd name="T85" fmla="*/ 2036 h 2547"/>
              <a:gd name="T86" fmla="*/ 2393 w 2704"/>
              <a:gd name="T87" fmla="*/ 1550 h 2547"/>
              <a:gd name="T88" fmla="*/ 2410 w 2704"/>
              <a:gd name="T89" fmla="*/ 1534 h 2547"/>
              <a:gd name="T90" fmla="*/ 2686 w 2704"/>
              <a:gd name="T91" fmla="*/ 1490 h 2547"/>
              <a:gd name="T92" fmla="*/ 2704 w 2704"/>
              <a:gd name="T93" fmla="*/ 1468 h 2547"/>
              <a:gd name="T94" fmla="*/ 2704 w 2704"/>
              <a:gd name="T95" fmla="*/ 1080 h 2547"/>
              <a:gd name="T96" fmla="*/ 2686 w 2704"/>
              <a:gd name="T97" fmla="*/ 1058 h 2547"/>
              <a:gd name="T98" fmla="*/ 2410 w 2704"/>
              <a:gd name="T99" fmla="*/ 1013 h 2547"/>
              <a:gd name="T100" fmla="*/ 2393 w 2704"/>
              <a:gd name="T101" fmla="*/ 997 h 2547"/>
              <a:gd name="T102" fmla="*/ 1352 w 2704"/>
              <a:gd name="T103" fmla="*/ 2023 h 2547"/>
              <a:gd name="T104" fmla="*/ 602 w 2704"/>
              <a:gd name="T105" fmla="*/ 1274 h 2547"/>
              <a:gd name="T106" fmla="*/ 1352 w 2704"/>
              <a:gd name="T107" fmla="*/ 524 h 2547"/>
              <a:gd name="T108" fmla="*/ 2102 w 2704"/>
              <a:gd name="T109" fmla="*/ 1274 h 2547"/>
              <a:gd name="T110" fmla="*/ 1352 w 2704"/>
              <a:gd name="T111" fmla="*/ 2023 h 2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704" h="2547">
                <a:moveTo>
                  <a:pt x="2393" y="997"/>
                </a:moveTo>
                <a:cubicBezTo>
                  <a:pt x="2343" y="810"/>
                  <a:pt x="2245" y="643"/>
                  <a:pt x="2112" y="511"/>
                </a:cubicBezTo>
                <a:cubicBezTo>
                  <a:pt x="2106" y="505"/>
                  <a:pt x="2104" y="496"/>
                  <a:pt x="2107" y="488"/>
                </a:cubicBezTo>
                <a:cubicBezTo>
                  <a:pt x="2206" y="227"/>
                  <a:pt x="2206" y="227"/>
                  <a:pt x="2206" y="227"/>
                </a:cubicBezTo>
                <a:cubicBezTo>
                  <a:pt x="2210" y="216"/>
                  <a:pt x="2206" y="205"/>
                  <a:pt x="2196" y="200"/>
                </a:cubicBezTo>
                <a:cubicBezTo>
                  <a:pt x="1860" y="6"/>
                  <a:pt x="1860" y="6"/>
                  <a:pt x="1860" y="6"/>
                </a:cubicBezTo>
                <a:cubicBezTo>
                  <a:pt x="1851" y="0"/>
                  <a:pt x="1839" y="2"/>
                  <a:pt x="1832" y="11"/>
                </a:cubicBezTo>
                <a:cubicBezTo>
                  <a:pt x="1656" y="227"/>
                  <a:pt x="1656" y="227"/>
                  <a:pt x="1656" y="227"/>
                </a:cubicBezTo>
                <a:cubicBezTo>
                  <a:pt x="1650" y="234"/>
                  <a:pt x="1641" y="236"/>
                  <a:pt x="1633" y="234"/>
                </a:cubicBezTo>
                <a:cubicBezTo>
                  <a:pt x="1543" y="210"/>
                  <a:pt x="1449" y="197"/>
                  <a:pt x="1352" y="197"/>
                </a:cubicBezTo>
                <a:cubicBezTo>
                  <a:pt x="1255" y="197"/>
                  <a:pt x="1161" y="210"/>
                  <a:pt x="1071" y="234"/>
                </a:cubicBezTo>
                <a:cubicBezTo>
                  <a:pt x="1063" y="236"/>
                  <a:pt x="1054" y="234"/>
                  <a:pt x="1048" y="227"/>
                </a:cubicBezTo>
                <a:cubicBezTo>
                  <a:pt x="872" y="11"/>
                  <a:pt x="872" y="11"/>
                  <a:pt x="872" y="11"/>
                </a:cubicBezTo>
                <a:cubicBezTo>
                  <a:pt x="865" y="2"/>
                  <a:pt x="853" y="0"/>
                  <a:pt x="844" y="6"/>
                </a:cubicBezTo>
                <a:cubicBezTo>
                  <a:pt x="508" y="200"/>
                  <a:pt x="508" y="200"/>
                  <a:pt x="508" y="200"/>
                </a:cubicBezTo>
                <a:cubicBezTo>
                  <a:pt x="498" y="205"/>
                  <a:pt x="494" y="216"/>
                  <a:pt x="498" y="227"/>
                </a:cubicBezTo>
                <a:cubicBezTo>
                  <a:pt x="597" y="488"/>
                  <a:pt x="597" y="488"/>
                  <a:pt x="597" y="488"/>
                </a:cubicBezTo>
                <a:cubicBezTo>
                  <a:pt x="600" y="496"/>
                  <a:pt x="598" y="505"/>
                  <a:pt x="592" y="511"/>
                </a:cubicBezTo>
                <a:cubicBezTo>
                  <a:pt x="459" y="643"/>
                  <a:pt x="361" y="810"/>
                  <a:pt x="311" y="997"/>
                </a:cubicBezTo>
                <a:cubicBezTo>
                  <a:pt x="309" y="1005"/>
                  <a:pt x="302" y="1012"/>
                  <a:pt x="294" y="1013"/>
                </a:cubicBezTo>
                <a:cubicBezTo>
                  <a:pt x="18" y="1058"/>
                  <a:pt x="18" y="1058"/>
                  <a:pt x="18" y="1058"/>
                </a:cubicBezTo>
                <a:cubicBezTo>
                  <a:pt x="8" y="1060"/>
                  <a:pt x="0" y="1069"/>
                  <a:pt x="0" y="1080"/>
                </a:cubicBezTo>
                <a:cubicBezTo>
                  <a:pt x="0" y="1468"/>
                  <a:pt x="0" y="1468"/>
                  <a:pt x="0" y="1468"/>
                </a:cubicBezTo>
                <a:cubicBezTo>
                  <a:pt x="0" y="1479"/>
                  <a:pt x="8" y="1488"/>
                  <a:pt x="18" y="1490"/>
                </a:cubicBezTo>
                <a:cubicBezTo>
                  <a:pt x="294" y="1534"/>
                  <a:pt x="294" y="1534"/>
                  <a:pt x="294" y="1534"/>
                </a:cubicBezTo>
                <a:cubicBezTo>
                  <a:pt x="302" y="1536"/>
                  <a:pt x="309" y="1542"/>
                  <a:pt x="311" y="1550"/>
                </a:cubicBezTo>
                <a:cubicBezTo>
                  <a:pt x="361" y="1737"/>
                  <a:pt x="459" y="1904"/>
                  <a:pt x="592" y="2036"/>
                </a:cubicBezTo>
                <a:cubicBezTo>
                  <a:pt x="598" y="2042"/>
                  <a:pt x="600" y="2052"/>
                  <a:pt x="597" y="2060"/>
                </a:cubicBezTo>
                <a:cubicBezTo>
                  <a:pt x="498" y="2321"/>
                  <a:pt x="498" y="2321"/>
                  <a:pt x="498" y="2321"/>
                </a:cubicBezTo>
                <a:cubicBezTo>
                  <a:pt x="494" y="2331"/>
                  <a:pt x="498" y="2342"/>
                  <a:pt x="508" y="2348"/>
                </a:cubicBezTo>
                <a:cubicBezTo>
                  <a:pt x="844" y="2542"/>
                  <a:pt x="844" y="2542"/>
                  <a:pt x="844" y="2542"/>
                </a:cubicBezTo>
                <a:cubicBezTo>
                  <a:pt x="853" y="2547"/>
                  <a:pt x="865" y="2545"/>
                  <a:pt x="872" y="2537"/>
                </a:cubicBezTo>
                <a:cubicBezTo>
                  <a:pt x="1048" y="2321"/>
                  <a:pt x="1048" y="2321"/>
                  <a:pt x="1048" y="2321"/>
                </a:cubicBezTo>
                <a:cubicBezTo>
                  <a:pt x="1054" y="2314"/>
                  <a:pt x="1063" y="2311"/>
                  <a:pt x="1071" y="2313"/>
                </a:cubicBezTo>
                <a:cubicBezTo>
                  <a:pt x="1161" y="2337"/>
                  <a:pt x="1255" y="2350"/>
                  <a:pt x="1352" y="2350"/>
                </a:cubicBezTo>
                <a:cubicBezTo>
                  <a:pt x="1449" y="2350"/>
                  <a:pt x="1543" y="2337"/>
                  <a:pt x="1633" y="2313"/>
                </a:cubicBezTo>
                <a:cubicBezTo>
                  <a:pt x="1641" y="2311"/>
                  <a:pt x="1650" y="2314"/>
                  <a:pt x="1656" y="2321"/>
                </a:cubicBezTo>
                <a:cubicBezTo>
                  <a:pt x="1832" y="2537"/>
                  <a:pt x="1832" y="2537"/>
                  <a:pt x="1832" y="2537"/>
                </a:cubicBezTo>
                <a:cubicBezTo>
                  <a:pt x="1839" y="2545"/>
                  <a:pt x="1851" y="2547"/>
                  <a:pt x="1860" y="2542"/>
                </a:cubicBezTo>
                <a:cubicBezTo>
                  <a:pt x="2196" y="2348"/>
                  <a:pt x="2196" y="2348"/>
                  <a:pt x="2196" y="2348"/>
                </a:cubicBezTo>
                <a:cubicBezTo>
                  <a:pt x="2206" y="2342"/>
                  <a:pt x="2210" y="2331"/>
                  <a:pt x="2206" y="2321"/>
                </a:cubicBezTo>
                <a:cubicBezTo>
                  <a:pt x="2107" y="2060"/>
                  <a:pt x="2107" y="2060"/>
                  <a:pt x="2107" y="2060"/>
                </a:cubicBezTo>
                <a:cubicBezTo>
                  <a:pt x="2104" y="2052"/>
                  <a:pt x="2106" y="2042"/>
                  <a:pt x="2112" y="2036"/>
                </a:cubicBezTo>
                <a:cubicBezTo>
                  <a:pt x="2245" y="1904"/>
                  <a:pt x="2343" y="1737"/>
                  <a:pt x="2393" y="1550"/>
                </a:cubicBezTo>
                <a:cubicBezTo>
                  <a:pt x="2395" y="1542"/>
                  <a:pt x="2402" y="1536"/>
                  <a:pt x="2410" y="1534"/>
                </a:cubicBezTo>
                <a:cubicBezTo>
                  <a:pt x="2686" y="1490"/>
                  <a:pt x="2686" y="1490"/>
                  <a:pt x="2686" y="1490"/>
                </a:cubicBezTo>
                <a:cubicBezTo>
                  <a:pt x="2696" y="1488"/>
                  <a:pt x="2704" y="1479"/>
                  <a:pt x="2704" y="1468"/>
                </a:cubicBezTo>
                <a:cubicBezTo>
                  <a:pt x="2704" y="1080"/>
                  <a:pt x="2704" y="1080"/>
                  <a:pt x="2704" y="1080"/>
                </a:cubicBezTo>
                <a:cubicBezTo>
                  <a:pt x="2704" y="1069"/>
                  <a:pt x="2696" y="1060"/>
                  <a:pt x="2686" y="1058"/>
                </a:cubicBezTo>
                <a:cubicBezTo>
                  <a:pt x="2410" y="1013"/>
                  <a:pt x="2410" y="1013"/>
                  <a:pt x="2410" y="1013"/>
                </a:cubicBezTo>
                <a:cubicBezTo>
                  <a:pt x="2402" y="1012"/>
                  <a:pt x="2395" y="1005"/>
                  <a:pt x="2393" y="997"/>
                </a:cubicBezTo>
                <a:close/>
                <a:moveTo>
                  <a:pt x="1352" y="2023"/>
                </a:moveTo>
                <a:cubicBezTo>
                  <a:pt x="938" y="2023"/>
                  <a:pt x="602" y="1688"/>
                  <a:pt x="602" y="1274"/>
                </a:cubicBezTo>
                <a:cubicBezTo>
                  <a:pt x="602" y="860"/>
                  <a:pt x="938" y="524"/>
                  <a:pt x="1352" y="524"/>
                </a:cubicBezTo>
                <a:cubicBezTo>
                  <a:pt x="1766" y="524"/>
                  <a:pt x="2102" y="860"/>
                  <a:pt x="2102" y="1274"/>
                </a:cubicBezTo>
                <a:cubicBezTo>
                  <a:pt x="2102" y="1688"/>
                  <a:pt x="1766" y="2023"/>
                  <a:pt x="1352" y="202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5"/>
          <p:cNvSpPr>
            <a:spLocks/>
          </p:cNvSpPr>
          <p:nvPr/>
        </p:nvSpPr>
        <p:spPr bwMode="auto">
          <a:xfrm>
            <a:off x="3442429" y="1586603"/>
            <a:ext cx="1104516" cy="989157"/>
          </a:xfrm>
          <a:custGeom>
            <a:avLst/>
            <a:gdLst>
              <a:gd name="T0" fmla="*/ 3459 w 3459"/>
              <a:gd name="T1" fmla="*/ 0 h 3097"/>
              <a:gd name="T2" fmla="*/ 2018 w 3459"/>
              <a:gd name="T3" fmla="*/ 285 h 3097"/>
              <a:gd name="T4" fmla="*/ 1768 w 3459"/>
              <a:gd name="T5" fmla="*/ 1059 h 3097"/>
              <a:gd name="T6" fmla="*/ 971 w 3459"/>
              <a:gd name="T7" fmla="*/ 887 h 3097"/>
              <a:gd name="T8" fmla="*/ 0 w 3459"/>
              <a:gd name="T9" fmla="*/ 1991 h 3097"/>
              <a:gd name="T10" fmla="*/ 1917 w 3459"/>
              <a:gd name="T11" fmla="*/ 3097 h 3097"/>
              <a:gd name="T12" fmla="*/ 2459 w 3459"/>
              <a:gd name="T13" fmla="*/ 2537 h 3097"/>
              <a:gd name="T14" fmla="*/ 2552 w 3459"/>
              <a:gd name="T15" fmla="*/ 2698 h 3097"/>
              <a:gd name="T16" fmla="*/ 2466 w 3459"/>
              <a:gd name="T17" fmla="*/ 2748 h 3097"/>
              <a:gd name="T18" fmla="*/ 2784 w 3459"/>
              <a:gd name="T19" fmla="*/ 2821 h 3097"/>
              <a:gd name="T20" fmla="*/ 2880 w 3459"/>
              <a:gd name="T21" fmla="*/ 2509 h 3097"/>
              <a:gd name="T22" fmla="*/ 2795 w 3459"/>
              <a:gd name="T23" fmla="*/ 2558 h 3097"/>
              <a:gd name="T24" fmla="*/ 2701 w 3459"/>
              <a:gd name="T25" fmla="*/ 2397 h 3097"/>
              <a:gd name="T26" fmla="*/ 3459 w 3459"/>
              <a:gd name="T27" fmla="*/ 2207 h 3097"/>
              <a:gd name="T28" fmla="*/ 3459 w 3459"/>
              <a:gd name="T29" fmla="*/ 0 h 30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459" h="3097">
                <a:moveTo>
                  <a:pt x="3459" y="0"/>
                </a:moveTo>
                <a:cubicBezTo>
                  <a:pt x="2950" y="10"/>
                  <a:pt x="2464" y="110"/>
                  <a:pt x="2018" y="285"/>
                </a:cubicBezTo>
                <a:cubicBezTo>
                  <a:pt x="2144" y="566"/>
                  <a:pt x="2040" y="902"/>
                  <a:pt x="1768" y="1059"/>
                </a:cubicBezTo>
                <a:cubicBezTo>
                  <a:pt x="1495" y="1217"/>
                  <a:pt x="1151" y="1138"/>
                  <a:pt x="971" y="887"/>
                </a:cubicBezTo>
                <a:cubicBezTo>
                  <a:pt x="585" y="1192"/>
                  <a:pt x="255" y="1566"/>
                  <a:pt x="0" y="1991"/>
                </a:cubicBezTo>
                <a:cubicBezTo>
                  <a:pt x="1917" y="3097"/>
                  <a:pt x="1917" y="3097"/>
                  <a:pt x="1917" y="3097"/>
                </a:cubicBezTo>
                <a:cubicBezTo>
                  <a:pt x="2057" y="2876"/>
                  <a:pt x="2242" y="2685"/>
                  <a:pt x="2459" y="2537"/>
                </a:cubicBezTo>
                <a:cubicBezTo>
                  <a:pt x="2552" y="2698"/>
                  <a:pt x="2552" y="2698"/>
                  <a:pt x="2552" y="2698"/>
                </a:cubicBezTo>
                <a:cubicBezTo>
                  <a:pt x="2466" y="2748"/>
                  <a:pt x="2466" y="2748"/>
                  <a:pt x="2466" y="2748"/>
                </a:cubicBezTo>
                <a:cubicBezTo>
                  <a:pt x="2784" y="2821"/>
                  <a:pt x="2784" y="2821"/>
                  <a:pt x="2784" y="2821"/>
                </a:cubicBezTo>
                <a:cubicBezTo>
                  <a:pt x="2880" y="2509"/>
                  <a:pt x="2880" y="2509"/>
                  <a:pt x="2880" y="2509"/>
                </a:cubicBezTo>
                <a:cubicBezTo>
                  <a:pt x="2795" y="2558"/>
                  <a:pt x="2795" y="2558"/>
                  <a:pt x="2795" y="2558"/>
                </a:cubicBezTo>
                <a:cubicBezTo>
                  <a:pt x="2701" y="2397"/>
                  <a:pt x="2701" y="2397"/>
                  <a:pt x="2701" y="2397"/>
                </a:cubicBezTo>
                <a:cubicBezTo>
                  <a:pt x="2932" y="2285"/>
                  <a:pt x="3188" y="2218"/>
                  <a:pt x="3459" y="2207"/>
                </a:cubicBezTo>
                <a:lnTo>
                  <a:pt x="3459" y="0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Freeform 19"/>
          <p:cNvSpPr>
            <a:spLocks/>
          </p:cNvSpPr>
          <p:nvPr/>
        </p:nvSpPr>
        <p:spPr bwMode="auto">
          <a:xfrm>
            <a:off x="4597055" y="1586603"/>
            <a:ext cx="1104516" cy="989157"/>
          </a:xfrm>
          <a:custGeom>
            <a:avLst/>
            <a:gdLst>
              <a:gd name="T0" fmla="*/ 2488 w 3459"/>
              <a:gd name="T1" fmla="*/ 887 h 3097"/>
              <a:gd name="T2" fmla="*/ 2297 w 3459"/>
              <a:gd name="T3" fmla="*/ 1059 h 3097"/>
              <a:gd name="T4" fmla="*/ 1469 w 3459"/>
              <a:gd name="T5" fmla="*/ 837 h 3097"/>
              <a:gd name="T6" fmla="*/ 1441 w 3459"/>
              <a:gd name="T7" fmla="*/ 285 h 3097"/>
              <a:gd name="T8" fmla="*/ 0 w 3459"/>
              <a:gd name="T9" fmla="*/ 0 h 3097"/>
              <a:gd name="T10" fmla="*/ 0 w 3459"/>
              <a:gd name="T11" fmla="*/ 2207 h 3097"/>
              <a:gd name="T12" fmla="*/ 756 w 3459"/>
              <a:gd name="T13" fmla="*/ 2396 h 3097"/>
              <a:gd name="T14" fmla="*/ 663 w 3459"/>
              <a:gd name="T15" fmla="*/ 2558 h 3097"/>
              <a:gd name="T16" fmla="*/ 577 w 3459"/>
              <a:gd name="T17" fmla="*/ 2508 h 3097"/>
              <a:gd name="T18" fmla="*/ 673 w 3459"/>
              <a:gd name="T19" fmla="*/ 2820 h 3097"/>
              <a:gd name="T20" fmla="*/ 992 w 3459"/>
              <a:gd name="T21" fmla="*/ 2747 h 3097"/>
              <a:gd name="T22" fmla="*/ 906 w 3459"/>
              <a:gd name="T23" fmla="*/ 2698 h 3097"/>
              <a:gd name="T24" fmla="*/ 999 w 3459"/>
              <a:gd name="T25" fmla="*/ 2537 h 3097"/>
              <a:gd name="T26" fmla="*/ 1542 w 3459"/>
              <a:gd name="T27" fmla="*/ 3097 h 3097"/>
              <a:gd name="T28" fmla="*/ 3459 w 3459"/>
              <a:gd name="T29" fmla="*/ 1991 h 3097"/>
              <a:gd name="T30" fmla="*/ 2488 w 3459"/>
              <a:gd name="T31" fmla="*/ 887 h 30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59" h="3097">
                <a:moveTo>
                  <a:pt x="2488" y="887"/>
                </a:moveTo>
                <a:cubicBezTo>
                  <a:pt x="2439" y="955"/>
                  <a:pt x="2375" y="1014"/>
                  <a:pt x="2297" y="1059"/>
                </a:cubicBezTo>
                <a:cubicBezTo>
                  <a:pt x="2007" y="1227"/>
                  <a:pt x="1637" y="1127"/>
                  <a:pt x="1469" y="837"/>
                </a:cubicBezTo>
                <a:cubicBezTo>
                  <a:pt x="1368" y="662"/>
                  <a:pt x="1364" y="457"/>
                  <a:pt x="1441" y="285"/>
                </a:cubicBezTo>
                <a:cubicBezTo>
                  <a:pt x="995" y="110"/>
                  <a:pt x="509" y="10"/>
                  <a:pt x="0" y="0"/>
                </a:cubicBezTo>
                <a:cubicBezTo>
                  <a:pt x="0" y="2207"/>
                  <a:pt x="0" y="2207"/>
                  <a:pt x="0" y="2207"/>
                </a:cubicBezTo>
                <a:cubicBezTo>
                  <a:pt x="270" y="2218"/>
                  <a:pt x="526" y="2285"/>
                  <a:pt x="756" y="2396"/>
                </a:cubicBezTo>
                <a:cubicBezTo>
                  <a:pt x="663" y="2558"/>
                  <a:pt x="663" y="2558"/>
                  <a:pt x="663" y="2558"/>
                </a:cubicBezTo>
                <a:cubicBezTo>
                  <a:pt x="577" y="2508"/>
                  <a:pt x="577" y="2508"/>
                  <a:pt x="577" y="2508"/>
                </a:cubicBezTo>
                <a:cubicBezTo>
                  <a:pt x="673" y="2820"/>
                  <a:pt x="673" y="2820"/>
                  <a:pt x="673" y="2820"/>
                </a:cubicBezTo>
                <a:cubicBezTo>
                  <a:pt x="992" y="2747"/>
                  <a:pt x="992" y="2747"/>
                  <a:pt x="992" y="2747"/>
                </a:cubicBezTo>
                <a:cubicBezTo>
                  <a:pt x="906" y="2698"/>
                  <a:pt x="906" y="2698"/>
                  <a:pt x="906" y="2698"/>
                </a:cubicBezTo>
                <a:cubicBezTo>
                  <a:pt x="999" y="2537"/>
                  <a:pt x="999" y="2537"/>
                  <a:pt x="999" y="2537"/>
                </a:cubicBezTo>
                <a:cubicBezTo>
                  <a:pt x="1216" y="2684"/>
                  <a:pt x="1401" y="2875"/>
                  <a:pt x="1542" y="3097"/>
                </a:cubicBezTo>
                <a:cubicBezTo>
                  <a:pt x="3459" y="1991"/>
                  <a:pt x="3459" y="1991"/>
                  <a:pt x="3459" y="1991"/>
                </a:cubicBezTo>
                <a:cubicBezTo>
                  <a:pt x="3204" y="1566"/>
                  <a:pt x="2874" y="1192"/>
                  <a:pt x="2488" y="887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9" name="Freeform 20"/>
          <p:cNvSpPr>
            <a:spLocks/>
          </p:cNvSpPr>
          <p:nvPr/>
        </p:nvSpPr>
        <p:spPr bwMode="auto">
          <a:xfrm>
            <a:off x="4597055" y="3232414"/>
            <a:ext cx="1104516" cy="989157"/>
          </a:xfrm>
          <a:custGeom>
            <a:avLst/>
            <a:gdLst>
              <a:gd name="T0" fmla="*/ 1542 w 3459"/>
              <a:gd name="T1" fmla="*/ 0 h 3097"/>
              <a:gd name="T2" fmla="*/ 1000 w 3459"/>
              <a:gd name="T3" fmla="*/ 560 h 3097"/>
              <a:gd name="T4" fmla="*/ 907 w 3459"/>
              <a:gd name="T5" fmla="*/ 399 h 3097"/>
              <a:gd name="T6" fmla="*/ 993 w 3459"/>
              <a:gd name="T7" fmla="*/ 349 h 3097"/>
              <a:gd name="T8" fmla="*/ 675 w 3459"/>
              <a:gd name="T9" fmla="*/ 276 h 3097"/>
              <a:gd name="T10" fmla="*/ 579 w 3459"/>
              <a:gd name="T11" fmla="*/ 588 h 3097"/>
              <a:gd name="T12" fmla="*/ 664 w 3459"/>
              <a:gd name="T13" fmla="*/ 539 h 3097"/>
              <a:gd name="T14" fmla="*/ 758 w 3459"/>
              <a:gd name="T15" fmla="*/ 700 h 3097"/>
              <a:gd name="T16" fmla="*/ 0 w 3459"/>
              <a:gd name="T17" fmla="*/ 890 h 3097"/>
              <a:gd name="T18" fmla="*/ 0 w 3459"/>
              <a:gd name="T19" fmla="*/ 3097 h 3097"/>
              <a:gd name="T20" fmla="*/ 1441 w 3459"/>
              <a:gd name="T21" fmla="*/ 2812 h 3097"/>
              <a:gd name="T22" fmla="*/ 1691 w 3459"/>
              <a:gd name="T23" fmla="*/ 2038 h 3097"/>
              <a:gd name="T24" fmla="*/ 2488 w 3459"/>
              <a:gd name="T25" fmla="*/ 2210 h 3097"/>
              <a:gd name="T26" fmla="*/ 3459 w 3459"/>
              <a:gd name="T27" fmla="*/ 1106 h 3097"/>
              <a:gd name="T28" fmla="*/ 1542 w 3459"/>
              <a:gd name="T29" fmla="*/ 0 h 30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459" h="3097">
                <a:moveTo>
                  <a:pt x="1542" y="0"/>
                </a:moveTo>
                <a:cubicBezTo>
                  <a:pt x="1402" y="221"/>
                  <a:pt x="1217" y="412"/>
                  <a:pt x="1000" y="560"/>
                </a:cubicBezTo>
                <a:cubicBezTo>
                  <a:pt x="907" y="399"/>
                  <a:pt x="907" y="399"/>
                  <a:pt x="907" y="399"/>
                </a:cubicBezTo>
                <a:cubicBezTo>
                  <a:pt x="993" y="349"/>
                  <a:pt x="993" y="349"/>
                  <a:pt x="993" y="349"/>
                </a:cubicBezTo>
                <a:cubicBezTo>
                  <a:pt x="675" y="276"/>
                  <a:pt x="675" y="276"/>
                  <a:pt x="675" y="276"/>
                </a:cubicBezTo>
                <a:cubicBezTo>
                  <a:pt x="579" y="588"/>
                  <a:pt x="579" y="588"/>
                  <a:pt x="579" y="588"/>
                </a:cubicBezTo>
                <a:cubicBezTo>
                  <a:pt x="664" y="539"/>
                  <a:pt x="664" y="539"/>
                  <a:pt x="664" y="539"/>
                </a:cubicBezTo>
                <a:cubicBezTo>
                  <a:pt x="758" y="700"/>
                  <a:pt x="758" y="700"/>
                  <a:pt x="758" y="700"/>
                </a:cubicBezTo>
                <a:cubicBezTo>
                  <a:pt x="527" y="812"/>
                  <a:pt x="271" y="879"/>
                  <a:pt x="0" y="890"/>
                </a:cubicBezTo>
                <a:cubicBezTo>
                  <a:pt x="0" y="3097"/>
                  <a:pt x="0" y="3097"/>
                  <a:pt x="0" y="3097"/>
                </a:cubicBezTo>
                <a:cubicBezTo>
                  <a:pt x="509" y="3087"/>
                  <a:pt x="995" y="2987"/>
                  <a:pt x="1441" y="2812"/>
                </a:cubicBezTo>
                <a:cubicBezTo>
                  <a:pt x="1315" y="2531"/>
                  <a:pt x="1419" y="2195"/>
                  <a:pt x="1691" y="2038"/>
                </a:cubicBezTo>
                <a:cubicBezTo>
                  <a:pt x="1964" y="1880"/>
                  <a:pt x="2308" y="1959"/>
                  <a:pt x="2488" y="2210"/>
                </a:cubicBezTo>
                <a:cubicBezTo>
                  <a:pt x="2874" y="1905"/>
                  <a:pt x="3204" y="1531"/>
                  <a:pt x="3459" y="1106"/>
                </a:cubicBezTo>
                <a:lnTo>
                  <a:pt x="1542" y="0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Freeform 21"/>
          <p:cNvSpPr>
            <a:spLocks/>
          </p:cNvSpPr>
          <p:nvPr/>
        </p:nvSpPr>
        <p:spPr bwMode="auto">
          <a:xfrm>
            <a:off x="3442429" y="3232414"/>
            <a:ext cx="1104516" cy="989157"/>
          </a:xfrm>
          <a:custGeom>
            <a:avLst/>
            <a:gdLst>
              <a:gd name="T0" fmla="*/ 2703 w 3459"/>
              <a:gd name="T1" fmla="*/ 701 h 3097"/>
              <a:gd name="T2" fmla="*/ 2796 w 3459"/>
              <a:gd name="T3" fmla="*/ 539 h 3097"/>
              <a:gd name="T4" fmla="*/ 2882 w 3459"/>
              <a:gd name="T5" fmla="*/ 589 h 3097"/>
              <a:gd name="T6" fmla="*/ 2786 w 3459"/>
              <a:gd name="T7" fmla="*/ 277 h 3097"/>
              <a:gd name="T8" fmla="*/ 2467 w 3459"/>
              <a:gd name="T9" fmla="*/ 350 h 3097"/>
              <a:gd name="T10" fmla="*/ 2553 w 3459"/>
              <a:gd name="T11" fmla="*/ 399 h 3097"/>
              <a:gd name="T12" fmla="*/ 2460 w 3459"/>
              <a:gd name="T13" fmla="*/ 560 h 3097"/>
              <a:gd name="T14" fmla="*/ 1917 w 3459"/>
              <a:gd name="T15" fmla="*/ 0 h 3097"/>
              <a:gd name="T16" fmla="*/ 0 w 3459"/>
              <a:gd name="T17" fmla="*/ 1106 h 3097"/>
              <a:gd name="T18" fmla="*/ 971 w 3459"/>
              <a:gd name="T19" fmla="*/ 2210 h 3097"/>
              <a:gd name="T20" fmla="*/ 1162 w 3459"/>
              <a:gd name="T21" fmla="*/ 2038 h 3097"/>
              <a:gd name="T22" fmla="*/ 1990 w 3459"/>
              <a:gd name="T23" fmla="*/ 2260 h 3097"/>
              <a:gd name="T24" fmla="*/ 2018 w 3459"/>
              <a:gd name="T25" fmla="*/ 2812 h 3097"/>
              <a:gd name="T26" fmla="*/ 3459 w 3459"/>
              <a:gd name="T27" fmla="*/ 3097 h 3097"/>
              <a:gd name="T28" fmla="*/ 3459 w 3459"/>
              <a:gd name="T29" fmla="*/ 890 h 3097"/>
              <a:gd name="T30" fmla="*/ 2703 w 3459"/>
              <a:gd name="T31" fmla="*/ 701 h 30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459" h="3097">
                <a:moveTo>
                  <a:pt x="2703" y="701"/>
                </a:moveTo>
                <a:cubicBezTo>
                  <a:pt x="2796" y="539"/>
                  <a:pt x="2796" y="539"/>
                  <a:pt x="2796" y="539"/>
                </a:cubicBezTo>
                <a:cubicBezTo>
                  <a:pt x="2882" y="589"/>
                  <a:pt x="2882" y="589"/>
                  <a:pt x="2882" y="589"/>
                </a:cubicBezTo>
                <a:cubicBezTo>
                  <a:pt x="2786" y="277"/>
                  <a:pt x="2786" y="277"/>
                  <a:pt x="2786" y="277"/>
                </a:cubicBezTo>
                <a:cubicBezTo>
                  <a:pt x="2467" y="350"/>
                  <a:pt x="2467" y="350"/>
                  <a:pt x="2467" y="350"/>
                </a:cubicBezTo>
                <a:cubicBezTo>
                  <a:pt x="2553" y="399"/>
                  <a:pt x="2553" y="399"/>
                  <a:pt x="2553" y="399"/>
                </a:cubicBezTo>
                <a:cubicBezTo>
                  <a:pt x="2460" y="560"/>
                  <a:pt x="2460" y="560"/>
                  <a:pt x="2460" y="560"/>
                </a:cubicBezTo>
                <a:cubicBezTo>
                  <a:pt x="2243" y="413"/>
                  <a:pt x="2058" y="222"/>
                  <a:pt x="1917" y="0"/>
                </a:cubicBezTo>
                <a:cubicBezTo>
                  <a:pt x="0" y="1106"/>
                  <a:pt x="0" y="1106"/>
                  <a:pt x="0" y="1106"/>
                </a:cubicBezTo>
                <a:cubicBezTo>
                  <a:pt x="255" y="1531"/>
                  <a:pt x="585" y="1905"/>
                  <a:pt x="971" y="2210"/>
                </a:cubicBezTo>
                <a:cubicBezTo>
                  <a:pt x="1020" y="2142"/>
                  <a:pt x="1084" y="2083"/>
                  <a:pt x="1162" y="2038"/>
                </a:cubicBezTo>
                <a:cubicBezTo>
                  <a:pt x="1452" y="1870"/>
                  <a:pt x="1822" y="1970"/>
                  <a:pt x="1990" y="2260"/>
                </a:cubicBezTo>
                <a:cubicBezTo>
                  <a:pt x="2091" y="2435"/>
                  <a:pt x="2095" y="2640"/>
                  <a:pt x="2018" y="2812"/>
                </a:cubicBezTo>
                <a:cubicBezTo>
                  <a:pt x="2464" y="2987"/>
                  <a:pt x="2950" y="3087"/>
                  <a:pt x="3459" y="3097"/>
                </a:cubicBezTo>
                <a:cubicBezTo>
                  <a:pt x="3459" y="890"/>
                  <a:pt x="3459" y="890"/>
                  <a:pt x="3459" y="890"/>
                </a:cubicBezTo>
                <a:cubicBezTo>
                  <a:pt x="3189" y="879"/>
                  <a:pt x="2933" y="812"/>
                  <a:pt x="2703" y="701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1" name="Freeform 22"/>
          <p:cNvSpPr>
            <a:spLocks/>
          </p:cNvSpPr>
          <p:nvPr/>
        </p:nvSpPr>
        <p:spPr bwMode="auto">
          <a:xfrm>
            <a:off x="3268609" y="2266224"/>
            <a:ext cx="822645" cy="1275726"/>
          </a:xfrm>
          <a:custGeom>
            <a:avLst/>
            <a:gdLst>
              <a:gd name="T0" fmla="*/ 2353 w 2576"/>
              <a:gd name="T1" fmla="*/ 2137 h 3994"/>
              <a:gd name="T2" fmla="*/ 2353 w 2576"/>
              <a:gd name="T3" fmla="*/ 2236 h 3994"/>
              <a:gd name="T4" fmla="*/ 2576 w 2576"/>
              <a:gd name="T5" fmla="*/ 1997 h 3994"/>
              <a:gd name="T6" fmla="*/ 2353 w 2576"/>
              <a:gd name="T7" fmla="*/ 1758 h 3994"/>
              <a:gd name="T8" fmla="*/ 2353 w 2576"/>
              <a:gd name="T9" fmla="*/ 1857 h 3994"/>
              <a:gd name="T10" fmla="*/ 2168 w 2576"/>
              <a:gd name="T11" fmla="*/ 1857 h 3994"/>
              <a:gd name="T12" fmla="*/ 2381 w 2576"/>
              <a:gd name="T13" fmla="*/ 1107 h 3994"/>
              <a:gd name="T14" fmla="*/ 465 w 2576"/>
              <a:gd name="T15" fmla="*/ 0 h 3994"/>
              <a:gd name="T16" fmla="*/ 0 w 2576"/>
              <a:gd name="T17" fmla="*/ 1394 h 3994"/>
              <a:gd name="T18" fmla="*/ 461 w 2576"/>
              <a:gd name="T19" fmla="*/ 1694 h 3994"/>
              <a:gd name="T20" fmla="*/ 239 w 2576"/>
              <a:gd name="T21" fmla="*/ 2522 h 3994"/>
              <a:gd name="T22" fmla="*/ 0 w 2576"/>
              <a:gd name="T23" fmla="*/ 2600 h 3994"/>
              <a:gd name="T24" fmla="*/ 465 w 2576"/>
              <a:gd name="T25" fmla="*/ 3994 h 3994"/>
              <a:gd name="T26" fmla="*/ 2381 w 2576"/>
              <a:gd name="T27" fmla="*/ 2887 h 3994"/>
              <a:gd name="T28" fmla="*/ 2168 w 2576"/>
              <a:gd name="T29" fmla="*/ 2137 h 3994"/>
              <a:gd name="T30" fmla="*/ 2353 w 2576"/>
              <a:gd name="T31" fmla="*/ 2137 h 3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576" h="3994">
                <a:moveTo>
                  <a:pt x="2353" y="2137"/>
                </a:moveTo>
                <a:cubicBezTo>
                  <a:pt x="2353" y="2236"/>
                  <a:pt x="2353" y="2236"/>
                  <a:pt x="2353" y="2236"/>
                </a:cubicBezTo>
                <a:cubicBezTo>
                  <a:pt x="2576" y="1997"/>
                  <a:pt x="2576" y="1997"/>
                  <a:pt x="2576" y="1997"/>
                </a:cubicBezTo>
                <a:cubicBezTo>
                  <a:pt x="2353" y="1758"/>
                  <a:pt x="2353" y="1758"/>
                  <a:pt x="2353" y="1758"/>
                </a:cubicBezTo>
                <a:cubicBezTo>
                  <a:pt x="2353" y="1857"/>
                  <a:pt x="2353" y="1857"/>
                  <a:pt x="2353" y="1857"/>
                </a:cubicBezTo>
                <a:cubicBezTo>
                  <a:pt x="2168" y="1857"/>
                  <a:pt x="2168" y="1857"/>
                  <a:pt x="2168" y="1857"/>
                </a:cubicBezTo>
                <a:cubicBezTo>
                  <a:pt x="2187" y="1588"/>
                  <a:pt x="2262" y="1334"/>
                  <a:pt x="2381" y="1107"/>
                </a:cubicBezTo>
                <a:cubicBezTo>
                  <a:pt x="465" y="0"/>
                  <a:pt x="465" y="0"/>
                  <a:pt x="465" y="0"/>
                </a:cubicBezTo>
                <a:cubicBezTo>
                  <a:pt x="232" y="424"/>
                  <a:pt x="72" y="894"/>
                  <a:pt x="0" y="1394"/>
                </a:cubicBezTo>
                <a:cubicBezTo>
                  <a:pt x="186" y="1414"/>
                  <a:pt x="360" y="1519"/>
                  <a:pt x="461" y="1694"/>
                </a:cubicBezTo>
                <a:cubicBezTo>
                  <a:pt x="628" y="1984"/>
                  <a:pt x="529" y="2355"/>
                  <a:pt x="239" y="2522"/>
                </a:cubicBezTo>
                <a:cubicBezTo>
                  <a:pt x="163" y="2566"/>
                  <a:pt x="82" y="2591"/>
                  <a:pt x="0" y="2600"/>
                </a:cubicBezTo>
                <a:cubicBezTo>
                  <a:pt x="72" y="3100"/>
                  <a:pt x="232" y="3570"/>
                  <a:pt x="465" y="3994"/>
                </a:cubicBezTo>
                <a:cubicBezTo>
                  <a:pt x="2381" y="2887"/>
                  <a:pt x="2381" y="2887"/>
                  <a:pt x="2381" y="2887"/>
                </a:cubicBezTo>
                <a:cubicBezTo>
                  <a:pt x="2262" y="2660"/>
                  <a:pt x="2187" y="2406"/>
                  <a:pt x="2168" y="2137"/>
                </a:cubicBezTo>
                <a:lnTo>
                  <a:pt x="2353" y="2137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Freeform 23"/>
          <p:cNvSpPr>
            <a:spLocks/>
          </p:cNvSpPr>
          <p:nvPr/>
        </p:nvSpPr>
        <p:spPr bwMode="auto">
          <a:xfrm>
            <a:off x="5052746" y="2266224"/>
            <a:ext cx="822645" cy="1275726"/>
          </a:xfrm>
          <a:custGeom>
            <a:avLst/>
            <a:gdLst>
              <a:gd name="T0" fmla="*/ 2115 w 2576"/>
              <a:gd name="T1" fmla="*/ 2300 h 3994"/>
              <a:gd name="T2" fmla="*/ 2337 w 2576"/>
              <a:gd name="T3" fmla="*/ 1472 h 3994"/>
              <a:gd name="T4" fmla="*/ 2576 w 2576"/>
              <a:gd name="T5" fmla="*/ 1394 h 3994"/>
              <a:gd name="T6" fmla="*/ 2111 w 2576"/>
              <a:gd name="T7" fmla="*/ 0 h 3994"/>
              <a:gd name="T8" fmla="*/ 195 w 2576"/>
              <a:gd name="T9" fmla="*/ 1107 h 3994"/>
              <a:gd name="T10" fmla="*/ 408 w 2576"/>
              <a:gd name="T11" fmla="*/ 1857 h 3994"/>
              <a:gd name="T12" fmla="*/ 223 w 2576"/>
              <a:gd name="T13" fmla="*/ 1857 h 3994"/>
              <a:gd name="T14" fmla="*/ 223 w 2576"/>
              <a:gd name="T15" fmla="*/ 1758 h 3994"/>
              <a:gd name="T16" fmla="*/ 0 w 2576"/>
              <a:gd name="T17" fmla="*/ 1997 h 3994"/>
              <a:gd name="T18" fmla="*/ 223 w 2576"/>
              <a:gd name="T19" fmla="*/ 2236 h 3994"/>
              <a:gd name="T20" fmla="*/ 223 w 2576"/>
              <a:gd name="T21" fmla="*/ 2137 h 3994"/>
              <a:gd name="T22" fmla="*/ 408 w 2576"/>
              <a:gd name="T23" fmla="*/ 2137 h 3994"/>
              <a:gd name="T24" fmla="*/ 195 w 2576"/>
              <a:gd name="T25" fmla="*/ 2887 h 3994"/>
              <a:gd name="T26" fmla="*/ 2111 w 2576"/>
              <a:gd name="T27" fmla="*/ 3994 h 3994"/>
              <a:gd name="T28" fmla="*/ 2576 w 2576"/>
              <a:gd name="T29" fmla="*/ 2600 h 3994"/>
              <a:gd name="T30" fmla="*/ 2115 w 2576"/>
              <a:gd name="T31" fmla="*/ 2300 h 3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576" h="3994">
                <a:moveTo>
                  <a:pt x="2115" y="2300"/>
                </a:moveTo>
                <a:cubicBezTo>
                  <a:pt x="1948" y="2010"/>
                  <a:pt x="2047" y="1639"/>
                  <a:pt x="2337" y="1472"/>
                </a:cubicBezTo>
                <a:cubicBezTo>
                  <a:pt x="2413" y="1428"/>
                  <a:pt x="2494" y="1403"/>
                  <a:pt x="2576" y="1394"/>
                </a:cubicBezTo>
                <a:cubicBezTo>
                  <a:pt x="2504" y="894"/>
                  <a:pt x="2344" y="424"/>
                  <a:pt x="2111" y="0"/>
                </a:cubicBezTo>
                <a:cubicBezTo>
                  <a:pt x="195" y="1107"/>
                  <a:pt x="195" y="1107"/>
                  <a:pt x="195" y="1107"/>
                </a:cubicBezTo>
                <a:cubicBezTo>
                  <a:pt x="314" y="1334"/>
                  <a:pt x="389" y="1588"/>
                  <a:pt x="408" y="1857"/>
                </a:cubicBezTo>
                <a:cubicBezTo>
                  <a:pt x="223" y="1857"/>
                  <a:pt x="223" y="1857"/>
                  <a:pt x="223" y="1857"/>
                </a:cubicBezTo>
                <a:cubicBezTo>
                  <a:pt x="223" y="1758"/>
                  <a:pt x="223" y="1758"/>
                  <a:pt x="223" y="1758"/>
                </a:cubicBezTo>
                <a:cubicBezTo>
                  <a:pt x="0" y="1997"/>
                  <a:pt x="0" y="1997"/>
                  <a:pt x="0" y="1997"/>
                </a:cubicBezTo>
                <a:cubicBezTo>
                  <a:pt x="223" y="2236"/>
                  <a:pt x="223" y="2236"/>
                  <a:pt x="223" y="2236"/>
                </a:cubicBezTo>
                <a:cubicBezTo>
                  <a:pt x="223" y="2137"/>
                  <a:pt x="223" y="2137"/>
                  <a:pt x="223" y="2137"/>
                </a:cubicBezTo>
                <a:cubicBezTo>
                  <a:pt x="408" y="2137"/>
                  <a:pt x="408" y="2137"/>
                  <a:pt x="408" y="2137"/>
                </a:cubicBezTo>
                <a:cubicBezTo>
                  <a:pt x="389" y="2406"/>
                  <a:pt x="314" y="2660"/>
                  <a:pt x="195" y="2887"/>
                </a:cubicBezTo>
                <a:cubicBezTo>
                  <a:pt x="2111" y="3994"/>
                  <a:pt x="2111" y="3994"/>
                  <a:pt x="2111" y="3994"/>
                </a:cubicBezTo>
                <a:cubicBezTo>
                  <a:pt x="2344" y="3570"/>
                  <a:pt x="2504" y="3100"/>
                  <a:pt x="2576" y="2600"/>
                </a:cubicBezTo>
                <a:cubicBezTo>
                  <a:pt x="2390" y="2580"/>
                  <a:pt x="2216" y="2475"/>
                  <a:pt x="2115" y="230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3" name="Title 2"/>
          <p:cNvSpPr txBox="1">
            <a:spLocks/>
          </p:cNvSpPr>
          <p:nvPr/>
        </p:nvSpPr>
        <p:spPr>
          <a:xfrm rot="19800000" flipH="1">
            <a:off x="3560683" y="2053030"/>
            <a:ext cx="1053358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REVISÃO</a:t>
            </a:r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 rot="1800000">
            <a:off x="4541680" y="2053030"/>
            <a:ext cx="1012583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cUSTOS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25" name="Title 2"/>
          <p:cNvSpPr txBox="1">
            <a:spLocks/>
          </p:cNvSpPr>
          <p:nvPr/>
        </p:nvSpPr>
        <p:spPr>
          <a:xfrm rot="1800000">
            <a:off x="3673337" y="3615357"/>
            <a:ext cx="884901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CLIENTES</a:t>
            </a:r>
          </a:p>
        </p:txBody>
      </p:sp>
      <p:sp>
        <p:nvSpPr>
          <p:cNvPr id="26" name="Title 2"/>
          <p:cNvSpPr txBox="1">
            <a:spLocks/>
          </p:cNvSpPr>
          <p:nvPr/>
        </p:nvSpPr>
        <p:spPr>
          <a:xfrm rot="19800000" flipH="1">
            <a:off x="4583502" y="3615357"/>
            <a:ext cx="889424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GERENCIA</a:t>
            </a:r>
          </a:p>
        </p:txBody>
      </p:sp>
      <p:sp>
        <p:nvSpPr>
          <p:cNvPr id="27" name="Title 2"/>
          <p:cNvSpPr txBox="1">
            <a:spLocks/>
          </p:cNvSpPr>
          <p:nvPr/>
        </p:nvSpPr>
        <p:spPr>
          <a:xfrm rot="16200000">
            <a:off x="3169951" y="2824361"/>
            <a:ext cx="960122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SERVIÇOS</a:t>
            </a: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 rot="5400000">
            <a:off x="5031074" y="2824361"/>
            <a:ext cx="925832" cy="1384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PrODUTOS</a:t>
            </a:r>
            <a:endParaRPr lang="en-US" sz="900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719395" y="1581818"/>
            <a:ext cx="365714" cy="350958"/>
            <a:chOff x="3719395" y="1581818"/>
            <a:chExt cx="365714" cy="350958"/>
          </a:xfrm>
        </p:grpSpPr>
        <p:sp>
          <p:nvSpPr>
            <p:cNvPr id="46" name="Freeform 45"/>
            <p:cNvSpPr/>
            <p:nvPr/>
          </p:nvSpPr>
          <p:spPr>
            <a:xfrm>
              <a:off x="3734512" y="1581818"/>
              <a:ext cx="350597" cy="350958"/>
            </a:xfrm>
            <a:custGeom>
              <a:avLst/>
              <a:gdLst>
                <a:gd name="connsiteX0" fmla="*/ 153612 w 350597"/>
                <a:gd name="connsiteY0" fmla="*/ 1341 h 350958"/>
                <a:gd name="connsiteX1" fmla="*/ 327005 w 350597"/>
                <a:gd name="connsiteY1" fmla="*/ 87880 h 350958"/>
                <a:gd name="connsiteX2" fmla="*/ 262832 w 350597"/>
                <a:gd name="connsiteY2" fmla="*/ 327323 h 350958"/>
                <a:gd name="connsiteX3" fmla="*/ 23381 w 350597"/>
                <a:gd name="connsiteY3" fmla="*/ 263387 h 350958"/>
                <a:gd name="connsiteX4" fmla="*/ 87554 w 350597"/>
                <a:gd name="connsiteY4" fmla="*/ 23624 h 350958"/>
                <a:gd name="connsiteX5" fmla="*/ 153612 w 350597"/>
                <a:gd name="connsiteY5" fmla="*/ 1341 h 35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597" h="350958">
                  <a:moveTo>
                    <a:pt x="153612" y="1341"/>
                  </a:moveTo>
                  <a:cubicBezTo>
                    <a:pt x="221467" y="-7126"/>
                    <a:pt x="290847" y="24823"/>
                    <a:pt x="327005" y="87880"/>
                  </a:cubicBezTo>
                  <a:cubicBezTo>
                    <a:pt x="375533" y="171637"/>
                    <a:pt x="346799" y="279051"/>
                    <a:pt x="262832" y="327323"/>
                  </a:cubicBezTo>
                  <a:cubicBezTo>
                    <a:pt x="179184" y="375915"/>
                    <a:pt x="71910" y="347144"/>
                    <a:pt x="23381" y="263387"/>
                  </a:cubicBezTo>
                  <a:cubicBezTo>
                    <a:pt x="-24828" y="179310"/>
                    <a:pt x="3906" y="71896"/>
                    <a:pt x="87554" y="23624"/>
                  </a:cubicBezTo>
                  <a:cubicBezTo>
                    <a:pt x="108546" y="11476"/>
                    <a:pt x="130994" y="4163"/>
                    <a:pt x="153612" y="134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itle 2"/>
            <p:cNvSpPr txBox="1">
              <a:spLocks/>
            </p:cNvSpPr>
            <p:nvPr/>
          </p:nvSpPr>
          <p:spPr>
            <a:xfrm>
              <a:off x="3719395" y="1663222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6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056715" y="1581818"/>
            <a:ext cx="361539" cy="350958"/>
            <a:chOff x="5056715" y="1581818"/>
            <a:chExt cx="361539" cy="350958"/>
          </a:xfrm>
        </p:grpSpPr>
        <p:sp>
          <p:nvSpPr>
            <p:cNvPr id="44" name="Freeform 43"/>
            <p:cNvSpPr/>
            <p:nvPr/>
          </p:nvSpPr>
          <p:spPr>
            <a:xfrm>
              <a:off x="5058891" y="1581818"/>
              <a:ext cx="350597" cy="350958"/>
            </a:xfrm>
            <a:custGeom>
              <a:avLst/>
              <a:gdLst>
                <a:gd name="connsiteX0" fmla="*/ 196985 w 350597"/>
                <a:gd name="connsiteY0" fmla="*/ 1341 h 350958"/>
                <a:gd name="connsiteX1" fmla="*/ 263043 w 350597"/>
                <a:gd name="connsiteY1" fmla="*/ 23624 h 350958"/>
                <a:gd name="connsiteX2" fmla="*/ 327216 w 350597"/>
                <a:gd name="connsiteY2" fmla="*/ 263387 h 350958"/>
                <a:gd name="connsiteX3" fmla="*/ 87766 w 350597"/>
                <a:gd name="connsiteY3" fmla="*/ 327323 h 350958"/>
                <a:gd name="connsiteX4" fmla="*/ 23593 w 350597"/>
                <a:gd name="connsiteY4" fmla="*/ 87880 h 350958"/>
                <a:gd name="connsiteX5" fmla="*/ 196985 w 350597"/>
                <a:gd name="connsiteY5" fmla="*/ 1341 h 35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597" h="350958">
                  <a:moveTo>
                    <a:pt x="196985" y="1341"/>
                  </a:moveTo>
                  <a:cubicBezTo>
                    <a:pt x="219603" y="4163"/>
                    <a:pt x="242051" y="11476"/>
                    <a:pt x="263043" y="23624"/>
                  </a:cubicBezTo>
                  <a:cubicBezTo>
                    <a:pt x="346691" y="71896"/>
                    <a:pt x="375425" y="179310"/>
                    <a:pt x="327216" y="263387"/>
                  </a:cubicBezTo>
                  <a:cubicBezTo>
                    <a:pt x="278687" y="347144"/>
                    <a:pt x="171414" y="375915"/>
                    <a:pt x="87766" y="327323"/>
                  </a:cubicBezTo>
                  <a:cubicBezTo>
                    <a:pt x="3798" y="279051"/>
                    <a:pt x="-24936" y="171637"/>
                    <a:pt x="23593" y="87880"/>
                  </a:cubicBezTo>
                  <a:cubicBezTo>
                    <a:pt x="59750" y="24823"/>
                    <a:pt x="129131" y="-7126"/>
                    <a:pt x="196985" y="1341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Title 2"/>
            <p:cNvSpPr txBox="1">
              <a:spLocks/>
            </p:cNvSpPr>
            <p:nvPr/>
          </p:nvSpPr>
          <p:spPr>
            <a:xfrm>
              <a:off x="5056715" y="1665888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1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712065" y="2728701"/>
            <a:ext cx="361539" cy="350772"/>
            <a:chOff x="5712065" y="2728701"/>
            <a:chExt cx="361539" cy="350772"/>
          </a:xfrm>
        </p:grpSpPr>
        <p:sp>
          <p:nvSpPr>
            <p:cNvPr id="48" name="Freeform 47"/>
            <p:cNvSpPr/>
            <p:nvPr/>
          </p:nvSpPr>
          <p:spPr>
            <a:xfrm>
              <a:off x="5720884" y="2728701"/>
              <a:ext cx="350252" cy="350772"/>
            </a:xfrm>
            <a:custGeom>
              <a:avLst/>
              <a:gdLst>
                <a:gd name="connsiteX0" fmla="*/ 175126 w 350252"/>
                <a:gd name="connsiteY0" fmla="*/ 0 h 350772"/>
                <a:gd name="connsiteX1" fmla="*/ 350252 w 350252"/>
                <a:gd name="connsiteY1" fmla="*/ 175386 h 350772"/>
                <a:gd name="connsiteX2" fmla="*/ 175126 w 350252"/>
                <a:gd name="connsiteY2" fmla="*/ 350772 h 350772"/>
                <a:gd name="connsiteX3" fmla="*/ 0 w 350252"/>
                <a:gd name="connsiteY3" fmla="*/ 175386 h 350772"/>
                <a:gd name="connsiteX4" fmla="*/ 175126 w 350252"/>
                <a:gd name="connsiteY4" fmla="*/ 0 h 35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252" h="350772">
                  <a:moveTo>
                    <a:pt x="175126" y="0"/>
                  </a:moveTo>
                  <a:cubicBezTo>
                    <a:pt x="271845" y="0"/>
                    <a:pt x="350252" y="78523"/>
                    <a:pt x="350252" y="175386"/>
                  </a:cubicBezTo>
                  <a:cubicBezTo>
                    <a:pt x="350252" y="272249"/>
                    <a:pt x="271845" y="350772"/>
                    <a:pt x="175126" y="350772"/>
                  </a:cubicBezTo>
                  <a:cubicBezTo>
                    <a:pt x="78407" y="350772"/>
                    <a:pt x="0" y="272249"/>
                    <a:pt x="0" y="175386"/>
                  </a:cubicBezTo>
                  <a:cubicBezTo>
                    <a:pt x="0" y="78523"/>
                    <a:pt x="78407" y="0"/>
                    <a:pt x="175126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itle 2"/>
            <p:cNvSpPr txBox="1">
              <a:spLocks/>
            </p:cNvSpPr>
            <p:nvPr/>
          </p:nvSpPr>
          <p:spPr>
            <a:xfrm>
              <a:off x="5712065" y="2811754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2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050190" y="3875399"/>
            <a:ext cx="361539" cy="350958"/>
            <a:chOff x="5050190" y="3875399"/>
            <a:chExt cx="361539" cy="350958"/>
          </a:xfrm>
        </p:grpSpPr>
        <p:sp>
          <p:nvSpPr>
            <p:cNvPr id="52" name="Freeform 51"/>
            <p:cNvSpPr/>
            <p:nvPr/>
          </p:nvSpPr>
          <p:spPr>
            <a:xfrm>
              <a:off x="5058891" y="3875399"/>
              <a:ext cx="350597" cy="350958"/>
            </a:xfrm>
            <a:custGeom>
              <a:avLst/>
              <a:gdLst>
                <a:gd name="connsiteX0" fmla="*/ 153644 w 350597"/>
                <a:gd name="connsiteY0" fmla="*/ 1347 h 350958"/>
                <a:gd name="connsiteX1" fmla="*/ 327216 w 350597"/>
                <a:gd name="connsiteY1" fmla="*/ 87572 h 350958"/>
                <a:gd name="connsiteX2" fmla="*/ 263043 w 350597"/>
                <a:gd name="connsiteY2" fmla="*/ 327334 h 350958"/>
                <a:gd name="connsiteX3" fmla="*/ 23592 w 350597"/>
                <a:gd name="connsiteY3" fmla="*/ 263078 h 350958"/>
                <a:gd name="connsiteX4" fmla="*/ 87766 w 350597"/>
                <a:gd name="connsiteY4" fmla="*/ 23635 h 350958"/>
                <a:gd name="connsiteX5" fmla="*/ 153644 w 350597"/>
                <a:gd name="connsiteY5" fmla="*/ 1347 h 35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597" h="350958">
                  <a:moveTo>
                    <a:pt x="153644" y="1347"/>
                  </a:moveTo>
                  <a:cubicBezTo>
                    <a:pt x="221379" y="-7135"/>
                    <a:pt x="290819" y="24754"/>
                    <a:pt x="327216" y="87572"/>
                  </a:cubicBezTo>
                  <a:cubicBezTo>
                    <a:pt x="375425" y="171648"/>
                    <a:pt x="346691" y="279062"/>
                    <a:pt x="263043" y="327334"/>
                  </a:cubicBezTo>
                  <a:cubicBezTo>
                    <a:pt x="179076" y="375926"/>
                    <a:pt x="71802" y="347155"/>
                    <a:pt x="23592" y="263078"/>
                  </a:cubicBezTo>
                  <a:cubicBezTo>
                    <a:pt x="-24936" y="179321"/>
                    <a:pt x="3798" y="71907"/>
                    <a:pt x="87766" y="23635"/>
                  </a:cubicBezTo>
                  <a:cubicBezTo>
                    <a:pt x="108678" y="11487"/>
                    <a:pt x="131066" y="4174"/>
                    <a:pt x="153644" y="1347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itle 2"/>
            <p:cNvSpPr txBox="1">
              <a:spLocks/>
            </p:cNvSpPr>
            <p:nvPr/>
          </p:nvSpPr>
          <p:spPr>
            <a:xfrm>
              <a:off x="5050190" y="3959449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3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725920" y="3875399"/>
            <a:ext cx="361539" cy="350958"/>
            <a:chOff x="3725920" y="3875399"/>
            <a:chExt cx="361539" cy="350958"/>
          </a:xfrm>
        </p:grpSpPr>
        <p:sp>
          <p:nvSpPr>
            <p:cNvPr id="53" name="Freeform 52"/>
            <p:cNvSpPr/>
            <p:nvPr/>
          </p:nvSpPr>
          <p:spPr>
            <a:xfrm>
              <a:off x="3734512" y="3875399"/>
              <a:ext cx="350597" cy="350958"/>
            </a:xfrm>
            <a:custGeom>
              <a:avLst/>
              <a:gdLst>
                <a:gd name="connsiteX0" fmla="*/ 196953 w 350597"/>
                <a:gd name="connsiteY0" fmla="*/ 1347 h 350958"/>
                <a:gd name="connsiteX1" fmla="*/ 262832 w 350597"/>
                <a:gd name="connsiteY1" fmla="*/ 23635 h 350958"/>
                <a:gd name="connsiteX2" fmla="*/ 327005 w 350597"/>
                <a:gd name="connsiteY2" fmla="*/ 263078 h 350958"/>
                <a:gd name="connsiteX3" fmla="*/ 87554 w 350597"/>
                <a:gd name="connsiteY3" fmla="*/ 327334 h 350958"/>
                <a:gd name="connsiteX4" fmla="*/ 23381 w 350597"/>
                <a:gd name="connsiteY4" fmla="*/ 87572 h 350958"/>
                <a:gd name="connsiteX5" fmla="*/ 196953 w 350597"/>
                <a:gd name="connsiteY5" fmla="*/ 1347 h 350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597" h="350958">
                  <a:moveTo>
                    <a:pt x="196953" y="1347"/>
                  </a:moveTo>
                  <a:cubicBezTo>
                    <a:pt x="219531" y="4174"/>
                    <a:pt x="241920" y="11487"/>
                    <a:pt x="262832" y="23635"/>
                  </a:cubicBezTo>
                  <a:cubicBezTo>
                    <a:pt x="346799" y="71907"/>
                    <a:pt x="375533" y="179321"/>
                    <a:pt x="327005" y="263078"/>
                  </a:cubicBezTo>
                  <a:cubicBezTo>
                    <a:pt x="278795" y="347155"/>
                    <a:pt x="171521" y="375926"/>
                    <a:pt x="87554" y="327334"/>
                  </a:cubicBezTo>
                  <a:cubicBezTo>
                    <a:pt x="3906" y="279062"/>
                    <a:pt x="-24828" y="171648"/>
                    <a:pt x="23381" y="87572"/>
                  </a:cubicBezTo>
                  <a:cubicBezTo>
                    <a:pt x="59778" y="24754"/>
                    <a:pt x="129219" y="-7135"/>
                    <a:pt x="196953" y="1347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Title 2"/>
            <p:cNvSpPr txBox="1">
              <a:spLocks/>
            </p:cNvSpPr>
            <p:nvPr/>
          </p:nvSpPr>
          <p:spPr>
            <a:xfrm>
              <a:off x="3725920" y="3956243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4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063722" y="2728701"/>
            <a:ext cx="361539" cy="350772"/>
            <a:chOff x="3063722" y="2728701"/>
            <a:chExt cx="361539" cy="350772"/>
          </a:xfrm>
        </p:grpSpPr>
        <p:sp>
          <p:nvSpPr>
            <p:cNvPr id="50" name="Freeform 49"/>
            <p:cNvSpPr/>
            <p:nvPr/>
          </p:nvSpPr>
          <p:spPr>
            <a:xfrm>
              <a:off x="3072865" y="2728701"/>
              <a:ext cx="350252" cy="350772"/>
            </a:xfrm>
            <a:custGeom>
              <a:avLst/>
              <a:gdLst>
                <a:gd name="connsiteX0" fmla="*/ 175126 w 350252"/>
                <a:gd name="connsiteY0" fmla="*/ 0 h 350772"/>
                <a:gd name="connsiteX1" fmla="*/ 350252 w 350252"/>
                <a:gd name="connsiteY1" fmla="*/ 175386 h 350772"/>
                <a:gd name="connsiteX2" fmla="*/ 175126 w 350252"/>
                <a:gd name="connsiteY2" fmla="*/ 350772 h 350772"/>
                <a:gd name="connsiteX3" fmla="*/ 0 w 350252"/>
                <a:gd name="connsiteY3" fmla="*/ 175386 h 350772"/>
                <a:gd name="connsiteX4" fmla="*/ 175126 w 350252"/>
                <a:gd name="connsiteY4" fmla="*/ 0 h 350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0252" h="350772">
                  <a:moveTo>
                    <a:pt x="175126" y="0"/>
                  </a:moveTo>
                  <a:cubicBezTo>
                    <a:pt x="271845" y="0"/>
                    <a:pt x="350252" y="78523"/>
                    <a:pt x="350252" y="175386"/>
                  </a:cubicBezTo>
                  <a:cubicBezTo>
                    <a:pt x="350252" y="272249"/>
                    <a:pt x="271845" y="350772"/>
                    <a:pt x="175126" y="350772"/>
                  </a:cubicBezTo>
                  <a:cubicBezTo>
                    <a:pt x="78407" y="350772"/>
                    <a:pt x="0" y="272249"/>
                    <a:pt x="0" y="175386"/>
                  </a:cubicBezTo>
                  <a:cubicBezTo>
                    <a:pt x="0" y="78523"/>
                    <a:pt x="78407" y="0"/>
                    <a:pt x="175126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itle 2"/>
            <p:cNvSpPr txBox="1">
              <a:spLocks/>
            </p:cNvSpPr>
            <p:nvPr/>
          </p:nvSpPr>
          <p:spPr>
            <a:xfrm>
              <a:off x="3063722" y="2801276"/>
              <a:ext cx="361539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5</a:t>
              </a:r>
            </a:p>
          </p:txBody>
        </p:sp>
      </p:grpSp>
      <p:sp>
        <p:nvSpPr>
          <p:cNvPr id="35" name="Freeform 16"/>
          <p:cNvSpPr>
            <a:spLocks noEditPoints="1"/>
          </p:cNvSpPr>
          <p:nvPr/>
        </p:nvSpPr>
        <p:spPr bwMode="auto">
          <a:xfrm>
            <a:off x="4439963" y="2764783"/>
            <a:ext cx="264074" cy="265037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6" name="TextBox 35"/>
          <p:cNvSpPr txBox="1"/>
          <p:nvPr/>
        </p:nvSpPr>
        <p:spPr>
          <a:xfrm>
            <a:off x="6359811" y="2738038"/>
            <a:ext cx="1599581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697617" y="1607472"/>
            <a:ext cx="1599581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697617" y="3908929"/>
            <a:ext cx="1599581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844872" y="1607472"/>
            <a:ext cx="1599581" cy="3032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680614" y="3908929"/>
            <a:ext cx="1599581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1179042" y="2738038"/>
            <a:ext cx="1599581" cy="30450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4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49291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50"/>
          <p:cNvSpPr>
            <a:spLocks/>
          </p:cNvSpPr>
          <p:nvPr/>
        </p:nvSpPr>
        <p:spPr bwMode="auto">
          <a:xfrm>
            <a:off x="4514645" y="1704384"/>
            <a:ext cx="1056046" cy="1187717"/>
          </a:xfrm>
          <a:custGeom>
            <a:avLst/>
            <a:gdLst>
              <a:gd name="T0" fmla="*/ 3467 w 3927"/>
              <a:gd name="T1" fmla="*/ 1416 h 4417"/>
              <a:gd name="T2" fmla="*/ 3195 w 3927"/>
              <a:gd name="T3" fmla="*/ 1469 h 4417"/>
              <a:gd name="T4" fmla="*/ 2749 w 3927"/>
              <a:gd name="T5" fmla="*/ 1312 h 4417"/>
              <a:gd name="T6" fmla="*/ 2485 w 3927"/>
              <a:gd name="T7" fmla="*/ 832 h 4417"/>
              <a:gd name="T8" fmla="*/ 2490 w 3927"/>
              <a:gd name="T9" fmla="*/ 634 h 4417"/>
              <a:gd name="T10" fmla="*/ 179 w 3927"/>
              <a:gd name="T11" fmla="*/ 0 h 4417"/>
              <a:gd name="T12" fmla="*/ 0 w 3927"/>
              <a:gd name="T13" fmla="*/ 4 h 4417"/>
              <a:gd name="T14" fmla="*/ 2522 w 3927"/>
              <a:gd name="T15" fmla="*/ 4417 h 4417"/>
              <a:gd name="T16" fmla="*/ 3911 w 3927"/>
              <a:gd name="T17" fmla="*/ 2005 h 4417"/>
              <a:gd name="T18" fmla="*/ 3927 w 3927"/>
              <a:gd name="T19" fmla="*/ 1988 h 4417"/>
              <a:gd name="T20" fmla="*/ 3467 w 3927"/>
              <a:gd name="T21" fmla="*/ 1416 h 4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927" h="4417">
                <a:moveTo>
                  <a:pt x="3467" y="1416"/>
                </a:moveTo>
                <a:cubicBezTo>
                  <a:pt x="3382" y="1451"/>
                  <a:pt x="3290" y="1469"/>
                  <a:pt x="3195" y="1469"/>
                </a:cubicBezTo>
                <a:cubicBezTo>
                  <a:pt x="3034" y="1469"/>
                  <a:pt x="2875" y="1413"/>
                  <a:pt x="2749" y="1312"/>
                </a:cubicBezTo>
                <a:cubicBezTo>
                  <a:pt x="2600" y="1193"/>
                  <a:pt x="2506" y="1022"/>
                  <a:pt x="2485" y="832"/>
                </a:cubicBezTo>
                <a:cubicBezTo>
                  <a:pt x="2477" y="766"/>
                  <a:pt x="2480" y="699"/>
                  <a:pt x="2490" y="634"/>
                </a:cubicBezTo>
                <a:cubicBezTo>
                  <a:pt x="1814" y="232"/>
                  <a:pt x="1024" y="0"/>
                  <a:pt x="179" y="0"/>
                </a:cubicBezTo>
                <a:cubicBezTo>
                  <a:pt x="119" y="0"/>
                  <a:pt x="59" y="2"/>
                  <a:pt x="0" y="4"/>
                </a:cubicBezTo>
                <a:cubicBezTo>
                  <a:pt x="2522" y="4417"/>
                  <a:pt x="2522" y="4417"/>
                  <a:pt x="2522" y="4417"/>
                </a:cubicBezTo>
                <a:cubicBezTo>
                  <a:pt x="3911" y="2005"/>
                  <a:pt x="3911" y="2005"/>
                  <a:pt x="3911" y="2005"/>
                </a:cubicBezTo>
                <a:cubicBezTo>
                  <a:pt x="3915" y="1998"/>
                  <a:pt x="3920" y="1992"/>
                  <a:pt x="3927" y="1988"/>
                </a:cubicBezTo>
                <a:cubicBezTo>
                  <a:pt x="3789" y="1785"/>
                  <a:pt x="3635" y="1594"/>
                  <a:pt x="3467" y="1416"/>
                </a:cubicBez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4" name="Freeform 54"/>
          <p:cNvSpPr>
            <a:spLocks/>
          </p:cNvSpPr>
          <p:nvPr/>
        </p:nvSpPr>
        <p:spPr bwMode="auto">
          <a:xfrm>
            <a:off x="4902517" y="2264544"/>
            <a:ext cx="877510" cy="1190395"/>
          </a:xfrm>
          <a:custGeom>
            <a:avLst/>
            <a:gdLst>
              <a:gd name="T0" fmla="*/ 2947 w 3263"/>
              <a:gd name="T1" fmla="*/ 3591 h 4427"/>
              <a:gd name="T2" fmla="*/ 2813 w 3263"/>
              <a:gd name="T3" fmla="*/ 3060 h 4427"/>
              <a:gd name="T4" fmla="*/ 3263 w 3263"/>
              <a:gd name="T5" fmla="*/ 2497 h 4427"/>
              <a:gd name="T6" fmla="*/ 3263 w 3263"/>
              <a:gd name="T7" fmla="*/ 2445 h 4427"/>
              <a:gd name="T8" fmla="*/ 2546 w 3263"/>
              <a:gd name="T9" fmla="*/ 0 h 4427"/>
              <a:gd name="T10" fmla="*/ 1133 w 3263"/>
              <a:gd name="T11" fmla="*/ 2455 h 4427"/>
              <a:gd name="T12" fmla="*/ 1115 w 3263"/>
              <a:gd name="T13" fmla="*/ 2486 h 4427"/>
              <a:gd name="T14" fmla="*/ 0 w 3263"/>
              <a:gd name="T15" fmla="*/ 4423 h 4427"/>
              <a:gd name="T16" fmla="*/ 2787 w 3263"/>
              <a:gd name="T17" fmla="*/ 4423 h 4427"/>
              <a:gd name="T18" fmla="*/ 2808 w 3263"/>
              <a:gd name="T19" fmla="*/ 4427 h 4427"/>
              <a:gd name="T20" fmla="*/ 3079 w 3263"/>
              <a:gd name="T21" fmla="*/ 3727 h 4427"/>
              <a:gd name="T22" fmla="*/ 2947 w 3263"/>
              <a:gd name="T23" fmla="*/ 3591 h 4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63" h="4427">
                <a:moveTo>
                  <a:pt x="2947" y="3591"/>
                </a:moveTo>
                <a:cubicBezTo>
                  <a:pt x="2833" y="3438"/>
                  <a:pt x="2785" y="3249"/>
                  <a:pt x="2813" y="3060"/>
                </a:cubicBezTo>
                <a:cubicBezTo>
                  <a:pt x="2851" y="2800"/>
                  <a:pt x="3029" y="2588"/>
                  <a:pt x="3263" y="2497"/>
                </a:cubicBezTo>
                <a:cubicBezTo>
                  <a:pt x="3263" y="2480"/>
                  <a:pt x="3263" y="2463"/>
                  <a:pt x="3263" y="2445"/>
                </a:cubicBezTo>
                <a:cubicBezTo>
                  <a:pt x="3263" y="1545"/>
                  <a:pt x="3000" y="705"/>
                  <a:pt x="2546" y="0"/>
                </a:cubicBezTo>
                <a:cubicBezTo>
                  <a:pt x="1133" y="2455"/>
                  <a:pt x="1133" y="2455"/>
                  <a:pt x="1133" y="2455"/>
                </a:cubicBezTo>
                <a:cubicBezTo>
                  <a:pt x="1131" y="2467"/>
                  <a:pt x="1125" y="2478"/>
                  <a:pt x="1115" y="2486"/>
                </a:cubicBezTo>
                <a:cubicBezTo>
                  <a:pt x="0" y="4423"/>
                  <a:pt x="0" y="4423"/>
                  <a:pt x="0" y="4423"/>
                </a:cubicBezTo>
                <a:cubicBezTo>
                  <a:pt x="2787" y="4423"/>
                  <a:pt x="2787" y="4423"/>
                  <a:pt x="2787" y="4423"/>
                </a:cubicBezTo>
                <a:cubicBezTo>
                  <a:pt x="2794" y="4423"/>
                  <a:pt x="2801" y="4424"/>
                  <a:pt x="2808" y="4427"/>
                </a:cubicBezTo>
                <a:cubicBezTo>
                  <a:pt x="2917" y="4203"/>
                  <a:pt x="3008" y="3969"/>
                  <a:pt x="3079" y="3727"/>
                </a:cubicBezTo>
                <a:cubicBezTo>
                  <a:pt x="3030" y="3688"/>
                  <a:pt x="2985" y="3643"/>
                  <a:pt x="2947" y="3591"/>
                </a:cubicBez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5" name="Freeform 58"/>
          <p:cNvSpPr>
            <a:spLocks/>
          </p:cNvSpPr>
          <p:nvPr/>
        </p:nvSpPr>
        <p:spPr bwMode="auto">
          <a:xfrm>
            <a:off x="4269156" y="3482166"/>
            <a:ext cx="1374735" cy="654784"/>
          </a:xfrm>
          <a:custGeom>
            <a:avLst/>
            <a:gdLst>
              <a:gd name="T0" fmla="*/ 2265 w 5112"/>
              <a:gd name="T1" fmla="*/ 0 h 2434"/>
              <a:gd name="T2" fmla="*/ 2264 w 5112"/>
              <a:gd name="T3" fmla="*/ 0 h 2434"/>
              <a:gd name="T4" fmla="*/ 2264 w 5112"/>
              <a:gd name="T5" fmla="*/ 0 h 2434"/>
              <a:gd name="T6" fmla="*/ 0 w 5112"/>
              <a:gd name="T7" fmla="*/ 0 h 2434"/>
              <a:gd name="T8" fmla="*/ 1379 w 5112"/>
              <a:gd name="T9" fmla="*/ 2411 h 2434"/>
              <a:gd name="T10" fmla="*/ 1386 w 5112"/>
              <a:gd name="T11" fmla="*/ 2434 h 2434"/>
              <a:gd name="T12" fmla="*/ 2154 w 5112"/>
              <a:gd name="T13" fmla="*/ 2318 h 2434"/>
              <a:gd name="T14" fmla="*/ 2575 w 5112"/>
              <a:gd name="T15" fmla="*/ 1824 h 2434"/>
              <a:gd name="T16" fmla="*/ 3221 w 5112"/>
              <a:gd name="T17" fmla="*/ 1912 h 2434"/>
              <a:gd name="T18" fmla="*/ 5112 w 5112"/>
              <a:gd name="T19" fmla="*/ 0 h 2434"/>
              <a:gd name="T20" fmla="*/ 2265 w 5112"/>
              <a:gd name="T21" fmla="*/ 0 h 2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112" h="2434">
                <a:moveTo>
                  <a:pt x="2265" y="0"/>
                </a:moveTo>
                <a:cubicBezTo>
                  <a:pt x="2265" y="0"/>
                  <a:pt x="2265" y="0"/>
                  <a:pt x="2264" y="0"/>
                </a:cubicBezTo>
                <a:cubicBezTo>
                  <a:pt x="2264" y="0"/>
                  <a:pt x="2264" y="0"/>
                  <a:pt x="2264" y="0"/>
                </a:cubicBezTo>
                <a:cubicBezTo>
                  <a:pt x="0" y="0"/>
                  <a:pt x="0" y="0"/>
                  <a:pt x="0" y="0"/>
                </a:cubicBezTo>
                <a:cubicBezTo>
                  <a:pt x="1379" y="2411"/>
                  <a:pt x="1379" y="2411"/>
                  <a:pt x="1379" y="2411"/>
                </a:cubicBezTo>
                <a:cubicBezTo>
                  <a:pt x="1383" y="2418"/>
                  <a:pt x="1385" y="2426"/>
                  <a:pt x="1386" y="2434"/>
                </a:cubicBezTo>
                <a:cubicBezTo>
                  <a:pt x="1649" y="2417"/>
                  <a:pt x="1905" y="2378"/>
                  <a:pt x="2154" y="2318"/>
                </a:cubicBezTo>
                <a:cubicBezTo>
                  <a:pt x="2200" y="2100"/>
                  <a:pt x="2352" y="1909"/>
                  <a:pt x="2575" y="1824"/>
                </a:cubicBezTo>
                <a:cubicBezTo>
                  <a:pt x="2799" y="1738"/>
                  <a:pt x="3041" y="1779"/>
                  <a:pt x="3221" y="1912"/>
                </a:cubicBezTo>
                <a:cubicBezTo>
                  <a:pt x="4028" y="1481"/>
                  <a:pt x="4690" y="813"/>
                  <a:pt x="5112" y="0"/>
                </a:cubicBezTo>
                <a:lnTo>
                  <a:pt x="2265" y="0"/>
                </a:ln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6" name="Freeform 62"/>
          <p:cNvSpPr>
            <a:spLocks/>
          </p:cNvSpPr>
          <p:nvPr/>
        </p:nvSpPr>
        <p:spPr bwMode="auto">
          <a:xfrm>
            <a:off x="3548760" y="2946555"/>
            <a:ext cx="1062742" cy="1192627"/>
          </a:xfrm>
          <a:custGeom>
            <a:avLst/>
            <a:gdLst>
              <a:gd name="T0" fmla="*/ 1419 w 3953"/>
              <a:gd name="T1" fmla="*/ 0 h 4435"/>
              <a:gd name="T2" fmla="*/ 16 w 3953"/>
              <a:gd name="T3" fmla="*/ 2394 h 4435"/>
              <a:gd name="T4" fmla="*/ 0 w 3953"/>
              <a:gd name="T5" fmla="*/ 2411 h 4435"/>
              <a:gd name="T6" fmla="*/ 494 w 3953"/>
              <a:gd name="T7" fmla="*/ 3030 h 4435"/>
              <a:gd name="T8" fmla="*/ 728 w 3953"/>
              <a:gd name="T9" fmla="*/ 2991 h 4435"/>
              <a:gd name="T10" fmla="*/ 1174 w 3953"/>
              <a:gd name="T11" fmla="*/ 3148 h 4435"/>
              <a:gd name="T12" fmla="*/ 1438 w 3953"/>
              <a:gd name="T13" fmla="*/ 3788 h 4435"/>
              <a:gd name="T14" fmla="*/ 3772 w 3953"/>
              <a:gd name="T15" fmla="*/ 4435 h 4435"/>
              <a:gd name="T16" fmla="*/ 3953 w 3953"/>
              <a:gd name="T17" fmla="*/ 4431 h 4435"/>
              <a:gd name="T18" fmla="*/ 1419 w 3953"/>
              <a:gd name="T19" fmla="*/ 0 h 4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953" h="4435">
                <a:moveTo>
                  <a:pt x="1419" y="0"/>
                </a:moveTo>
                <a:cubicBezTo>
                  <a:pt x="16" y="2394"/>
                  <a:pt x="16" y="2394"/>
                  <a:pt x="16" y="2394"/>
                </a:cubicBezTo>
                <a:cubicBezTo>
                  <a:pt x="12" y="2401"/>
                  <a:pt x="6" y="2407"/>
                  <a:pt x="0" y="2411"/>
                </a:cubicBezTo>
                <a:cubicBezTo>
                  <a:pt x="146" y="2632"/>
                  <a:pt x="312" y="2839"/>
                  <a:pt x="494" y="3030"/>
                </a:cubicBezTo>
                <a:cubicBezTo>
                  <a:pt x="568" y="3004"/>
                  <a:pt x="647" y="2991"/>
                  <a:pt x="728" y="2991"/>
                </a:cubicBezTo>
                <a:cubicBezTo>
                  <a:pt x="889" y="2991"/>
                  <a:pt x="1048" y="3047"/>
                  <a:pt x="1174" y="3148"/>
                </a:cubicBezTo>
                <a:cubicBezTo>
                  <a:pt x="1373" y="3307"/>
                  <a:pt x="1464" y="3551"/>
                  <a:pt x="1438" y="3788"/>
                </a:cubicBezTo>
                <a:cubicBezTo>
                  <a:pt x="2119" y="4199"/>
                  <a:pt x="2918" y="4435"/>
                  <a:pt x="3772" y="4435"/>
                </a:cubicBezTo>
                <a:cubicBezTo>
                  <a:pt x="3833" y="4435"/>
                  <a:pt x="3893" y="4434"/>
                  <a:pt x="3953" y="4431"/>
                </a:cubicBezTo>
                <a:lnTo>
                  <a:pt x="1419" y="0"/>
                </a:ln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7" name="Freeform 76"/>
          <p:cNvSpPr>
            <a:spLocks/>
          </p:cNvSpPr>
          <p:nvPr/>
        </p:nvSpPr>
        <p:spPr bwMode="auto">
          <a:xfrm>
            <a:off x="3345674" y="2389074"/>
            <a:ext cx="877063" cy="1180576"/>
          </a:xfrm>
          <a:custGeom>
            <a:avLst/>
            <a:gdLst>
              <a:gd name="T0" fmla="*/ 480 w 3262"/>
              <a:gd name="T1" fmla="*/ 5 h 4390"/>
              <a:gd name="T2" fmla="*/ 457 w 3262"/>
              <a:gd name="T3" fmla="*/ 0 h 4390"/>
              <a:gd name="T4" fmla="*/ 173 w 3262"/>
              <a:gd name="T5" fmla="*/ 739 h 4390"/>
              <a:gd name="T6" fmla="*/ 288 w 3262"/>
              <a:gd name="T7" fmla="*/ 861 h 4390"/>
              <a:gd name="T8" fmla="*/ 422 w 3262"/>
              <a:gd name="T9" fmla="*/ 1392 h 4390"/>
              <a:gd name="T10" fmla="*/ 0 w 3262"/>
              <a:gd name="T11" fmla="*/ 1943 h 4390"/>
              <a:gd name="T12" fmla="*/ 0 w 3262"/>
              <a:gd name="T13" fmla="*/ 1982 h 4390"/>
              <a:gd name="T14" fmla="*/ 693 w 3262"/>
              <a:gd name="T15" fmla="*/ 4390 h 4390"/>
              <a:gd name="T16" fmla="*/ 3262 w 3262"/>
              <a:gd name="T17" fmla="*/ 5 h 4390"/>
              <a:gd name="T18" fmla="*/ 480 w 3262"/>
              <a:gd name="T19" fmla="*/ 5 h 4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62" h="4390">
                <a:moveTo>
                  <a:pt x="480" y="5"/>
                </a:moveTo>
                <a:cubicBezTo>
                  <a:pt x="472" y="5"/>
                  <a:pt x="464" y="3"/>
                  <a:pt x="457" y="0"/>
                </a:cubicBezTo>
                <a:cubicBezTo>
                  <a:pt x="342" y="235"/>
                  <a:pt x="247" y="483"/>
                  <a:pt x="173" y="739"/>
                </a:cubicBezTo>
                <a:cubicBezTo>
                  <a:pt x="216" y="775"/>
                  <a:pt x="254" y="815"/>
                  <a:pt x="288" y="861"/>
                </a:cubicBezTo>
                <a:cubicBezTo>
                  <a:pt x="402" y="1014"/>
                  <a:pt x="450" y="1203"/>
                  <a:pt x="422" y="1392"/>
                </a:cubicBezTo>
                <a:cubicBezTo>
                  <a:pt x="386" y="1641"/>
                  <a:pt x="220" y="1846"/>
                  <a:pt x="0" y="1943"/>
                </a:cubicBezTo>
                <a:cubicBezTo>
                  <a:pt x="0" y="1956"/>
                  <a:pt x="0" y="1969"/>
                  <a:pt x="0" y="1982"/>
                </a:cubicBezTo>
                <a:cubicBezTo>
                  <a:pt x="0" y="2867"/>
                  <a:pt x="254" y="3693"/>
                  <a:pt x="693" y="4390"/>
                </a:cubicBezTo>
                <a:cubicBezTo>
                  <a:pt x="3262" y="5"/>
                  <a:pt x="3262" y="5"/>
                  <a:pt x="3262" y="5"/>
                </a:cubicBezTo>
                <a:lnTo>
                  <a:pt x="480" y="5"/>
                </a:ln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8" name="Freeform 70"/>
          <p:cNvSpPr>
            <a:spLocks/>
          </p:cNvSpPr>
          <p:nvPr/>
        </p:nvSpPr>
        <p:spPr bwMode="auto">
          <a:xfrm>
            <a:off x="3482255" y="1707063"/>
            <a:ext cx="1374289" cy="654784"/>
          </a:xfrm>
          <a:custGeom>
            <a:avLst/>
            <a:gdLst>
              <a:gd name="T0" fmla="*/ 3730 w 5112"/>
              <a:gd name="T1" fmla="*/ 17 h 2434"/>
              <a:gd name="T2" fmla="*/ 3724 w 5112"/>
              <a:gd name="T3" fmla="*/ 0 h 2434"/>
              <a:gd name="T4" fmla="*/ 2973 w 5112"/>
              <a:gd name="T5" fmla="*/ 112 h 2434"/>
              <a:gd name="T6" fmla="*/ 2919 w 5112"/>
              <a:gd name="T7" fmla="*/ 293 h 2434"/>
              <a:gd name="T8" fmla="*/ 2522 w 5112"/>
              <a:gd name="T9" fmla="*/ 670 h 2434"/>
              <a:gd name="T10" fmla="*/ 2266 w 5112"/>
              <a:gd name="T11" fmla="*/ 717 h 2434"/>
              <a:gd name="T12" fmla="*/ 1820 w 5112"/>
              <a:gd name="T13" fmla="*/ 560 h 2434"/>
              <a:gd name="T14" fmla="*/ 0 w 5112"/>
              <a:gd name="T15" fmla="*/ 2434 h 2434"/>
              <a:gd name="T16" fmla="*/ 5112 w 5112"/>
              <a:gd name="T17" fmla="*/ 2434 h 2434"/>
              <a:gd name="T18" fmla="*/ 3730 w 5112"/>
              <a:gd name="T19" fmla="*/ 17 h 24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112" h="2434">
                <a:moveTo>
                  <a:pt x="3730" y="17"/>
                </a:moveTo>
                <a:cubicBezTo>
                  <a:pt x="3727" y="12"/>
                  <a:pt x="3725" y="6"/>
                  <a:pt x="3724" y="0"/>
                </a:cubicBezTo>
                <a:cubicBezTo>
                  <a:pt x="3467" y="17"/>
                  <a:pt x="3216" y="55"/>
                  <a:pt x="2973" y="112"/>
                </a:cubicBezTo>
                <a:cubicBezTo>
                  <a:pt x="2963" y="174"/>
                  <a:pt x="2945" y="235"/>
                  <a:pt x="2919" y="293"/>
                </a:cubicBezTo>
                <a:cubicBezTo>
                  <a:pt x="2841" y="468"/>
                  <a:pt x="2700" y="601"/>
                  <a:pt x="2522" y="670"/>
                </a:cubicBezTo>
                <a:cubicBezTo>
                  <a:pt x="2439" y="701"/>
                  <a:pt x="2353" y="717"/>
                  <a:pt x="2266" y="717"/>
                </a:cubicBezTo>
                <a:cubicBezTo>
                  <a:pt x="2101" y="717"/>
                  <a:pt x="1944" y="659"/>
                  <a:pt x="1820" y="560"/>
                </a:cubicBezTo>
                <a:cubicBezTo>
                  <a:pt x="1045" y="992"/>
                  <a:pt x="409" y="1645"/>
                  <a:pt x="0" y="2434"/>
                </a:cubicBezTo>
                <a:cubicBezTo>
                  <a:pt x="5112" y="2434"/>
                  <a:pt x="5112" y="2434"/>
                  <a:pt x="5112" y="2434"/>
                </a:cubicBezTo>
                <a:lnTo>
                  <a:pt x="3730" y="17"/>
                </a:lnTo>
                <a:close/>
              </a:path>
            </a:pathLst>
          </a:custGeom>
          <a:solidFill>
            <a:srgbClr val="EC0000"/>
          </a:solidFill>
          <a:ln w="9525">
            <a:noFill/>
            <a:round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9" name="Hexagon 78"/>
          <p:cNvSpPr/>
          <p:nvPr/>
        </p:nvSpPr>
        <p:spPr>
          <a:xfrm>
            <a:off x="4015195" y="2436813"/>
            <a:ext cx="1095310" cy="969940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CESSO DE </a:t>
            </a:r>
            <a:r>
              <a:rPr lang="en-US" dirty="0">
                <a:solidFill>
                  <a:srgbClr val="EC0000"/>
                </a:solidFill>
              </a:rPr>
              <a:t>NEGÓCI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70" name="TextBox 69"/>
          <p:cNvSpPr txBox="1"/>
          <p:nvPr/>
        </p:nvSpPr>
        <p:spPr>
          <a:xfrm>
            <a:off x="4122424" y="2760761"/>
            <a:ext cx="90677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Estratégia</a:t>
            </a:r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 de </a:t>
            </a:r>
            <a:r>
              <a:rPr lang="en-US" sz="1000" b="1" cap="all" spc="20" dirty="0" err="1">
                <a:solidFill>
                  <a:schemeClr val="bg1"/>
                </a:solidFill>
                <a:latin typeface="Lato" panose="020F0502020204030203" pitchFamily="34" charset="0"/>
              </a:rPr>
              <a:t>vendas</a:t>
            </a:r>
            <a:endParaRPr lang="en-US" sz="1000" b="1" cap="all" spc="2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3685069" y="2153492"/>
            <a:ext cx="104621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GERENCIAMENTO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856544" y="2223183"/>
            <a:ext cx="65674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USTOS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039828" y="3267957"/>
            <a:ext cx="65674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PRODUTOS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379407" y="3592547"/>
            <a:ext cx="104621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DISTRIBUIÇÃO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606355" y="3551595"/>
            <a:ext cx="65674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ECEITA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431996" y="2491103"/>
            <a:ext cx="656749" cy="10772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CLIENT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899615" y="1516058"/>
            <a:ext cx="383348" cy="383348"/>
            <a:chOff x="3899615" y="1516058"/>
            <a:chExt cx="383348" cy="383348"/>
          </a:xfrm>
        </p:grpSpPr>
        <p:sp>
          <p:nvSpPr>
            <p:cNvPr id="69" name="Freeform 71"/>
            <p:cNvSpPr>
              <a:spLocks/>
            </p:cNvSpPr>
            <p:nvPr/>
          </p:nvSpPr>
          <p:spPr bwMode="auto">
            <a:xfrm>
              <a:off x="3899615" y="1516058"/>
              <a:ext cx="383348" cy="383348"/>
            </a:xfrm>
            <a:custGeom>
              <a:avLst/>
              <a:gdLst>
                <a:gd name="T0" fmla="*/ 855 w 1300"/>
                <a:gd name="T1" fmla="*/ 1186 h 1299"/>
                <a:gd name="T2" fmla="*/ 114 w 1300"/>
                <a:gd name="T3" fmla="*/ 855 h 1299"/>
                <a:gd name="T4" fmla="*/ 445 w 1300"/>
                <a:gd name="T5" fmla="*/ 114 h 1299"/>
                <a:gd name="T6" fmla="*/ 1186 w 1300"/>
                <a:gd name="T7" fmla="*/ 444 h 1299"/>
                <a:gd name="T8" fmla="*/ 855 w 1300"/>
                <a:gd name="T9" fmla="*/ 1186 h 1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00" h="1299">
                  <a:moveTo>
                    <a:pt x="855" y="1186"/>
                  </a:moveTo>
                  <a:cubicBezTo>
                    <a:pt x="559" y="1299"/>
                    <a:pt x="227" y="1151"/>
                    <a:pt x="114" y="855"/>
                  </a:cubicBezTo>
                  <a:cubicBezTo>
                    <a:pt x="0" y="559"/>
                    <a:pt x="148" y="227"/>
                    <a:pt x="445" y="114"/>
                  </a:cubicBezTo>
                  <a:cubicBezTo>
                    <a:pt x="741" y="0"/>
                    <a:pt x="1073" y="148"/>
                    <a:pt x="1186" y="444"/>
                  </a:cubicBezTo>
                  <a:cubicBezTo>
                    <a:pt x="1300" y="740"/>
                    <a:pt x="1151" y="1073"/>
                    <a:pt x="855" y="118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6" name="Title 2"/>
            <p:cNvSpPr txBox="1">
              <a:spLocks/>
            </p:cNvSpPr>
            <p:nvPr/>
          </p:nvSpPr>
          <p:spPr>
            <a:xfrm>
              <a:off x="3946170" y="1615399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1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183383" y="1716554"/>
            <a:ext cx="381390" cy="381388"/>
            <a:chOff x="5183383" y="1716554"/>
            <a:chExt cx="381390" cy="381388"/>
          </a:xfrm>
        </p:grpSpPr>
        <p:sp>
          <p:nvSpPr>
            <p:cNvPr id="57" name="Freeform 51"/>
            <p:cNvSpPr>
              <a:spLocks/>
            </p:cNvSpPr>
            <p:nvPr/>
          </p:nvSpPr>
          <p:spPr bwMode="auto">
            <a:xfrm>
              <a:off x="5183383" y="1716554"/>
              <a:ext cx="381390" cy="381388"/>
            </a:xfrm>
            <a:custGeom>
              <a:avLst/>
              <a:gdLst>
                <a:gd name="T0" fmla="*/ 288 w 1293"/>
                <a:gd name="T1" fmla="*/ 1095 h 1293"/>
                <a:gd name="T2" fmla="*/ 199 w 1293"/>
                <a:gd name="T3" fmla="*/ 288 h 1293"/>
                <a:gd name="T4" fmla="*/ 1006 w 1293"/>
                <a:gd name="T5" fmla="*/ 198 h 1293"/>
                <a:gd name="T6" fmla="*/ 1095 w 1293"/>
                <a:gd name="T7" fmla="*/ 1006 h 1293"/>
                <a:gd name="T8" fmla="*/ 288 w 1293"/>
                <a:gd name="T9" fmla="*/ 1095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3" h="1293">
                  <a:moveTo>
                    <a:pt x="288" y="1095"/>
                  </a:moveTo>
                  <a:cubicBezTo>
                    <a:pt x="40" y="897"/>
                    <a:pt x="0" y="535"/>
                    <a:pt x="199" y="288"/>
                  </a:cubicBezTo>
                  <a:cubicBezTo>
                    <a:pt x="397" y="40"/>
                    <a:pt x="758" y="0"/>
                    <a:pt x="1006" y="198"/>
                  </a:cubicBezTo>
                  <a:cubicBezTo>
                    <a:pt x="1253" y="397"/>
                    <a:pt x="1293" y="758"/>
                    <a:pt x="1095" y="1006"/>
                  </a:cubicBezTo>
                  <a:cubicBezTo>
                    <a:pt x="897" y="1253"/>
                    <a:pt x="536" y="1293"/>
                    <a:pt x="288" y="109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7" name="Title 2"/>
            <p:cNvSpPr txBox="1">
              <a:spLocks/>
            </p:cNvSpPr>
            <p:nvPr/>
          </p:nvSpPr>
          <p:spPr>
            <a:xfrm>
              <a:off x="5228959" y="1814915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2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668508" y="2934126"/>
            <a:ext cx="362296" cy="362294"/>
            <a:chOff x="5668508" y="2934126"/>
            <a:chExt cx="362296" cy="362294"/>
          </a:xfrm>
        </p:grpSpPr>
        <p:sp>
          <p:nvSpPr>
            <p:cNvPr id="58" name="Freeform 55"/>
            <p:cNvSpPr>
              <a:spLocks/>
            </p:cNvSpPr>
            <p:nvPr/>
          </p:nvSpPr>
          <p:spPr bwMode="auto">
            <a:xfrm>
              <a:off x="5668508" y="2934126"/>
              <a:ext cx="362296" cy="362294"/>
            </a:xfrm>
            <a:custGeom>
              <a:avLst/>
              <a:gdLst>
                <a:gd name="T0" fmla="*/ 45 w 1228"/>
                <a:gd name="T1" fmla="*/ 531 h 1228"/>
                <a:gd name="T2" fmla="*/ 697 w 1228"/>
                <a:gd name="T3" fmla="*/ 45 h 1228"/>
                <a:gd name="T4" fmla="*/ 1182 w 1228"/>
                <a:gd name="T5" fmla="*/ 697 h 1228"/>
                <a:gd name="T6" fmla="*/ 531 w 1228"/>
                <a:gd name="T7" fmla="*/ 1182 h 1228"/>
                <a:gd name="T8" fmla="*/ 45 w 1228"/>
                <a:gd name="T9" fmla="*/ 531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8" h="1228">
                  <a:moveTo>
                    <a:pt x="45" y="531"/>
                  </a:moveTo>
                  <a:cubicBezTo>
                    <a:pt x="91" y="217"/>
                    <a:pt x="383" y="0"/>
                    <a:pt x="697" y="45"/>
                  </a:cubicBezTo>
                  <a:cubicBezTo>
                    <a:pt x="1010" y="91"/>
                    <a:pt x="1228" y="383"/>
                    <a:pt x="1182" y="697"/>
                  </a:cubicBezTo>
                  <a:cubicBezTo>
                    <a:pt x="1136" y="1010"/>
                    <a:pt x="844" y="1228"/>
                    <a:pt x="531" y="1182"/>
                  </a:cubicBezTo>
                  <a:cubicBezTo>
                    <a:pt x="217" y="1136"/>
                    <a:pt x="0" y="844"/>
                    <a:pt x="45" y="53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8" name="Title 2"/>
            <p:cNvSpPr txBox="1">
              <a:spLocks/>
            </p:cNvSpPr>
            <p:nvPr/>
          </p:nvSpPr>
          <p:spPr>
            <a:xfrm>
              <a:off x="5704537" y="3022940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3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839384" y="3961419"/>
            <a:ext cx="383346" cy="383836"/>
            <a:chOff x="4839384" y="3961419"/>
            <a:chExt cx="383346" cy="383836"/>
          </a:xfrm>
        </p:grpSpPr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4839384" y="3961419"/>
              <a:ext cx="383346" cy="383836"/>
            </a:xfrm>
            <a:custGeom>
              <a:avLst/>
              <a:gdLst>
                <a:gd name="T0" fmla="*/ 444 w 1299"/>
                <a:gd name="T1" fmla="*/ 114 h 1300"/>
                <a:gd name="T2" fmla="*/ 1186 w 1299"/>
                <a:gd name="T3" fmla="*/ 445 h 1300"/>
                <a:gd name="T4" fmla="*/ 855 w 1299"/>
                <a:gd name="T5" fmla="*/ 1186 h 1300"/>
                <a:gd name="T6" fmla="*/ 113 w 1299"/>
                <a:gd name="T7" fmla="*/ 855 h 1300"/>
                <a:gd name="T8" fmla="*/ 444 w 1299"/>
                <a:gd name="T9" fmla="*/ 114 h 1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9" h="1300">
                  <a:moveTo>
                    <a:pt x="444" y="114"/>
                  </a:moveTo>
                  <a:cubicBezTo>
                    <a:pt x="740" y="0"/>
                    <a:pt x="1072" y="149"/>
                    <a:pt x="1186" y="445"/>
                  </a:cubicBezTo>
                  <a:cubicBezTo>
                    <a:pt x="1299" y="741"/>
                    <a:pt x="1151" y="1073"/>
                    <a:pt x="855" y="1186"/>
                  </a:cubicBezTo>
                  <a:cubicBezTo>
                    <a:pt x="559" y="1300"/>
                    <a:pt x="227" y="1152"/>
                    <a:pt x="113" y="855"/>
                  </a:cubicBezTo>
                  <a:cubicBezTo>
                    <a:pt x="0" y="559"/>
                    <a:pt x="148" y="227"/>
                    <a:pt x="444" y="1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9" name="Title 2"/>
            <p:cNvSpPr txBox="1">
              <a:spLocks/>
            </p:cNvSpPr>
            <p:nvPr/>
          </p:nvSpPr>
          <p:spPr>
            <a:xfrm>
              <a:off x="4885938" y="4061004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4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553340" y="3752767"/>
            <a:ext cx="381390" cy="381388"/>
            <a:chOff x="3553340" y="3752767"/>
            <a:chExt cx="381390" cy="381388"/>
          </a:xfrm>
        </p:grpSpPr>
        <p:sp>
          <p:nvSpPr>
            <p:cNvPr id="60" name="Freeform 63"/>
            <p:cNvSpPr>
              <a:spLocks/>
            </p:cNvSpPr>
            <p:nvPr/>
          </p:nvSpPr>
          <p:spPr bwMode="auto">
            <a:xfrm>
              <a:off x="3553340" y="3752767"/>
              <a:ext cx="381390" cy="381388"/>
            </a:xfrm>
            <a:custGeom>
              <a:avLst/>
              <a:gdLst>
                <a:gd name="T0" fmla="*/ 1005 w 1293"/>
                <a:gd name="T1" fmla="*/ 198 h 1293"/>
                <a:gd name="T2" fmla="*/ 1095 w 1293"/>
                <a:gd name="T3" fmla="*/ 1005 h 1293"/>
                <a:gd name="T4" fmla="*/ 288 w 1293"/>
                <a:gd name="T5" fmla="*/ 1094 h 1293"/>
                <a:gd name="T6" fmla="*/ 198 w 1293"/>
                <a:gd name="T7" fmla="*/ 287 h 1293"/>
                <a:gd name="T8" fmla="*/ 1005 w 1293"/>
                <a:gd name="T9" fmla="*/ 198 h 1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93" h="1293">
                  <a:moveTo>
                    <a:pt x="1005" y="198"/>
                  </a:moveTo>
                  <a:cubicBezTo>
                    <a:pt x="1253" y="396"/>
                    <a:pt x="1293" y="757"/>
                    <a:pt x="1095" y="1005"/>
                  </a:cubicBezTo>
                  <a:cubicBezTo>
                    <a:pt x="896" y="1253"/>
                    <a:pt x="535" y="1293"/>
                    <a:pt x="288" y="1094"/>
                  </a:cubicBezTo>
                  <a:cubicBezTo>
                    <a:pt x="40" y="896"/>
                    <a:pt x="0" y="535"/>
                    <a:pt x="198" y="287"/>
                  </a:cubicBezTo>
                  <a:cubicBezTo>
                    <a:pt x="396" y="40"/>
                    <a:pt x="758" y="0"/>
                    <a:pt x="1005" y="198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0" name="Title 2"/>
            <p:cNvSpPr txBox="1">
              <a:spLocks/>
            </p:cNvSpPr>
            <p:nvPr/>
          </p:nvSpPr>
          <p:spPr>
            <a:xfrm>
              <a:off x="3598916" y="3851128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5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087755" y="2554289"/>
            <a:ext cx="362296" cy="362294"/>
            <a:chOff x="3087755" y="2554289"/>
            <a:chExt cx="362296" cy="362294"/>
          </a:xfrm>
        </p:grpSpPr>
        <p:sp>
          <p:nvSpPr>
            <p:cNvPr id="61" name="Freeform 67"/>
            <p:cNvSpPr>
              <a:spLocks/>
            </p:cNvSpPr>
            <p:nvPr/>
          </p:nvSpPr>
          <p:spPr bwMode="auto">
            <a:xfrm>
              <a:off x="3087755" y="2554289"/>
              <a:ext cx="362296" cy="362294"/>
            </a:xfrm>
            <a:custGeom>
              <a:avLst/>
              <a:gdLst>
                <a:gd name="T0" fmla="*/ 1182 w 1228"/>
                <a:gd name="T1" fmla="*/ 697 h 1228"/>
                <a:gd name="T2" fmla="*/ 530 w 1228"/>
                <a:gd name="T3" fmla="*/ 1182 h 1228"/>
                <a:gd name="T4" fmla="*/ 45 w 1228"/>
                <a:gd name="T5" fmla="*/ 531 h 1228"/>
                <a:gd name="T6" fmla="*/ 697 w 1228"/>
                <a:gd name="T7" fmla="*/ 46 h 1228"/>
                <a:gd name="T8" fmla="*/ 1182 w 1228"/>
                <a:gd name="T9" fmla="*/ 697 h 1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8" h="1228">
                  <a:moveTo>
                    <a:pt x="1182" y="697"/>
                  </a:moveTo>
                  <a:cubicBezTo>
                    <a:pt x="1136" y="1011"/>
                    <a:pt x="844" y="1228"/>
                    <a:pt x="530" y="1182"/>
                  </a:cubicBezTo>
                  <a:cubicBezTo>
                    <a:pt x="217" y="1137"/>
                    <a:pt x="0" y="845"/>
                    <a:pt x="45" y="531"/>
                  </a:cubicBezTo>
                  <a:cubicBezTo>
                    <a:pt x="91" y="217"/>
                    <a:pt x="383" y="0"/>
                    <a:pt x="697" y="46"/>
                  </a:cubicBezTo>
                  <a:cubicBezTo>
                    <a:pt x="1010" y="92"/>
                    <a:pt x="1228" y="384"/>
                    <a:pt x="1182" y="69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1" name="Title 2"/>
            <p:cNvSpPr txBox="1">
              <a:spLocks/>
            </p:cNvSpPr>
            <p:nvPr/>
          </p:nvSpPr>
          <p:spPr>
            <a:xfrm>
              <a:off x="3123784" y="2643103"/>
              <a:ext cx="290238" cy="184666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200" cap="all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06</a:t>
              </a:r>
            </a:p>
          </p:txBody>
        </p:sp>
      </p:grpSp>
      <p:sp>
        <p:nvSpPr>
          <p:cNvPr id="95" name="TextBox 94"/>
          <p:cNvSpPr txBox="1"/>
          <p:nvPr/>
        </p:nvSpPr>
        <p:spPr>
          <a:xfrm>
            <a:off x="5830149" y="1745666"/>
            <a:ext cx="1599581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311928" y="2953691"/>
            <a:ext cx="1599581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5490612" y="3993728"/>
            <a:ext cx="1599581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1673666" y="3791817"/>
            <a:ext cx="1599581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1198965" y="2571682"/>
            <a:ext cx="1599581" cy="28430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2023763" y="1556088"/>
            <a:ext cx="1599581" cy="28309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30000"/>
              </a:lnSpc>
            </a:pP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enean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eugiat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ringilla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onvallis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auris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75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mmodo</a:t>
            </a:r>
            <a:r>
              <a: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.</a:t>
            </a:r>
          </a:p>
        </p:txBody>
      </p:sp>
    </p:spTree>
    <p:extLst>
      <p:ext uri="{BB962C8B-B14F-4D97-AF65-F5344CB8AC3E}">
        <p14:creationId xmlns:p14="http://schemas.microsoft.com/office/powerpoint/2010/main" val="1501538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roje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convallis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sed.</a:t>
            </a:r>
          </a:p>
        </p:txBody>
      </p:sp>
      <p:sp>
        <p:nvSpPr>
          <p:cNvPr id="4" name="Freeform 3"/>
          <p:cNvSpPr>
            <a:spLocks noEditPoints="1"/>
          </p:cNvSpPr>
          <p:nvPr/>
        </p:nvSpPr>
        <p:spPr bwMode="auto">
          <a:xfrm>
            <a:off x="3655243" y="1997156"/>
            <a:ext cx="1833132" cy="1832513"/>
          </a:xfrm>
          <a:custGeom>
            <a:avLst/>
            <a:gdLst>
              <a:gd name="T0" fmla="*/ 3254 w 6508"/>
              <a:gd name="T1" fmla="*/ 137 h 6508"/>
              <a:gd name="T2" fmla="*/ 5458 w 6508"/>
              <a:gd name="T3" fmla="*/ 1050 h 6508"/>
              <a:gd name="T4" fmla="*/ 6371 w 6508"/>
              <a:gd name="T5" fmla="*/ 3254 h 6508"/>
              <a:gd name="T6" fmla="*/ 5458 w 6508"/>
              <a:gd name="T7" fmla="*/ 5458 h 6508"/>
              <a:gd name="T8" fmla="*/ 3254 w 6508"/>
              <a:gd name="T9" fmla="*/ 6371 h 6508"/>
              <a:gd name="T10" fmla="*/ 1050 w 6508"/>
              <a:gd name="T11" fmla="*/ 5458 h 6508"/>
              <a:gd name="T12" fmla="*/ 137 w 6508"/>
              <a:gd name="T13" fmla="*/ 3254 h 6508"/>
              <a:gd name="T14" fmla="*/ 1050 w 6508"/>
              <a:gd name="T15" fmla="*/ 1050 h 6508"/>
              <a:gd name="T16" fmla="*/ 3254 w 6508"/>
              <a:gd name="T17" fmla="*/ 137 h 6508"/>
              <a:gd name="T18" fmla="*/ 3254 w 6508"/>
              <a:gd name="T19" fmla="*/ 0 h 6508"/>
              <a:gd name="T20" fmla="*/ 0 w 6508"/>
              <a:gd name="T21" fmla="*/ 3254 h 6508"/>
              <a:gd name="T22" fmla="*/ 3254 w 6508"/>
              <a:gd name="T23" fmla="*/ 6508 h 6508"/>
              <a:gd name="T24" fmla="*/ 6508 w 6508"/>
              <a:gd name="T25" fmla="*/ 3254 h 6508"/>
              <a:gd name="T26" fmla="*/ 3254 w 6508"/>
              <a:gd name="T27" fmla="*/ 0 h 65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508" h="6508">
                <a:moveTo>
                  <a:pt x="3254" y="137"/>
                </a:moveTo>
                <a:cubicBezTo>
                  <a:pt x="4086" y="137"/>
                  <a:pt x="4869" y="461"/>
                  <a:pt x="5458" y="1050"/>
                </a:cubicBezTo>
                <a:cubicBezTo>
                  <a:pt x="6047" y="1639"/>
                  <a:pt x="6371" y="2421"/>
                  <a:pt x="6371" y="3254"/>
                </a:cubicBezTo>
                <a:cubicBezTo>
                  <a:pt x="6371" y="4087"/>
                  <a:pt x="6047" y="4869"/>
                  <a:pt x="5458" y="5458"/>
                </a:cubicBezTo>
                <a:cubicBezTo>
                  <a:pt x="4869" y="6047"/>
                  <a:pt x="4086" y="6371"/>
                  <a:pt x="3254" y="6371"/>
                </a:cubicBezTo>
                <a:cubicBezTo>
                  <a:pt x="2421" y="6371"/>
                  <a:pt x="1638" y="6047"/>
                  <a:pt x="1050" y="5458"/>
                </a:cubicBezTo>
                <a:cubicBezTo>
                  <a:pt x="461" y="4869"/>
                  <a:pt x="137" y="4087"/>
                  <a:pt x="137" y="3254"/>
                </a:cubicBezTo>
                <a:cubicBezTo>
                  <a:pt x="137" y="2421"/>
                  <a:pt x="461" y="1639"/>
                  <a:pt x="1050" y="1050"/>
                </a:cubicBezTo>
                <a:cubicBezTo>
                  <a:pt x="1638" y="461"/>
                  <a:pt x="2421" y="137"/>
                  <a:pt x="3254" y="137"/>
                </a:cubicBezTo>
                <a:moveTo>
                  <a:pt x="3254" y="0"/>
                </a:moveTo>
                <a:cubicBezTo>
                  <a:pt x="1457" y="0"/>
                  <a:pt x="0" y="1457"/>
                  <a:pt x="0" y="3254"/>
                </a:cubicBezTo>
                <a:cubicBezTo>
                  <a:pt x="0" y="5051"/>
                  <a:pt x="1457" y="6508"/>
                  <a:pt x="3254" y="6508"/>
                </a:cubicBezTo>
                <a:cubicBezTo>
                  <a:pt x="5051" y="6508"/>
                  <a:pt x="6508" y="5051"/>
                  <a:pt x="6508" y="3254"/>
                </a:cubicBezTo>
                <a:cubicBezTo>
                  <a:pt x="6508" y="1457"/>
                  <a:pt x="5051" y="0"/>
                  <a:pt x="3254" y="0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solidFill>
                <a:srgbClr val="EC0000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3657718" y="2267516"/>
            <a:ext cx="292014" cy="1291792"/>
          </a:xfrm>
          <a:custGeom>
            <a:avLst/>
            <a:gdLst>
              <a:gd name="T0" fmla="*/ 952 w 1036"/>
              <a:gd name="T1" fmla="*/ 4588 h 4588"/>
              <a:gd name="T2" fmla="*/ 1036 w 1036"/>
              <a:gd name="T3" fmla="*/ 4504 h 4588"/>
              <a:gd name="T4" fmla="*/ 119 w 1036"/>
              <a:gd name="T5" fmla="*/ 2294 h 4588"/>
              <a:gd name="T6" fmla="*/ 1036 w 1036"/>
              <a:gd name="T7" fmla="*/ 84 h 4588"/>
              <a:gd name="T8" fmla="*/ 952 w 1036"/>
              <a:gd name="T9" fmla="*/ 0 h 4588"/>
              <a:gd name="T10" fmla="*/ 0 w 1036"/>
              <a:gd name="T11" fmla="*/ 2294 h 4588"/>
              <a:gd name="T12" fmla="*/ 952 w 1036"/>
              <a:gd name="T13" fmla="*/ 4588 h 4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36" h="4588">
                <a:moveTo>
                  <a:pt x="952" y="4588"/>
                </a:moveTo>
                <a:cubicBezTo>
                  <a:pt x="1036" y="4504"/>
                  <a:pt x="1036" y="4504"/>
                  <a:pt x="1036" y="4504"/>
                </a:cubicBezTo>
                <a:cubicBezTo>
                  <a:pt x="470" y="3938"/>
                  <a:pt x="119" y="3156"/>
                  <a:pt x="119" y="2294"/>
                </a:cubicBezTo>
                <a:cubicBezTo>
                  <a:pt x="119" y="1432"/>
                  <a:pt x="470" y="650"/>
                  <a:pt x="1036" y="84"/>
                </a:cubicBezTo>
                <a:cubicBezTo>
                  <a:pt x="952" y="0"/>
                  <a:pt x="952" y="0"/>
                  <a:pt x="952" y="0"/>
                </a:cubicBezTo>
                <a:cubicBezTo>
                  <a:pt x="364" y="588"/>
                  <a:pt x="0" y="1399"/>
                  <a:pt x="0" y="2294"/>
                </a:cubicBezTo>
                <a:cubicBezTo>
                  <a:pt x="0" y="3189"/>
                  <a:pt x="364" y="4000"/>
                  <a:pt x="952" y="45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3764749" y="2108517"/>
            <a:ext cx="243139" cy="242520"/>
          </a:xfrm>
          <a:custGeom>
            <a:avLst/>
            <a:gdLst>
              <a:gd name="T0" fmla="*/ 777 w 863"/>
              <a:gd name="T1" fmla="*/ 460 h 861"/>
              <a:gd name="T2" fmla="*/ 505 w 863"/>
              <a:gd name="T3" fmla="*/ 427 h 861"/>
              <a:gd name="T4" fmla="*/ 75 w 863"/>
              <a:gd name="T5" fmla="*/ 0 h 861"/>
              <a:gd name="T6" fmla="*/ 0 w 863"/>
              <a:gd name="T7" fmla="*/ 75 h 861"/>
              <a:gd name="T8" fmla="*/ 430 w 863"/>
              <a:gd name="T9" fmla="*/ 503 h 861"/>
              <a:gd name="T10" fmla="*/ 463 w 863"/>
              <a:gd name="T11" fmla="*/ 774 h 861"/>
              <a:gd name="T12" fmla="*/ 777 w 863"/>
              <a:gd name="T13" fmla="*/ 774 h 861"/>
              <a:gd name="T14" fmla="*/ 777 w 863"/>
              <a:gd name="T15" fmla="*/ 46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3" h="861">
                <a:moveTo>
                  <a:pt x="777" y="460"/>
                </a:moveTo>
                <a:cubicBezTo>
                  <a:pt x="703" y="386"/>
                  <a:pt x="590" y="376"/>
                  <a:pt x="505" y="427"/>
                </a:cubicBezTo>
                <a:cubicBezTo>
                  <a:pt x="75" y="0"/>
                  <a:pt x="75" y="0"/>
                  <a:pt x="75" y="0"/>
                </a:cubicBezTo>
                <a:cubicBezTo>
                  <a:pt x="0" y="75"/>
                  <a:pt x="0" y="75"/>
                  <a:pt x="0" y="75"/>
                </a:cubicBezTo>
                <a:cubicBezTo>
                  <a:pt x="430" y="503"/>
                  <a:pt x="430" y="503"/>
                  <a:pt x="430" y="503"/>
                </a:cubicBezTo>
                <a:cubicBezTo>
                  <a:pt x="378" y="588"/>
                  <a:pt x="389" y="700"/>
                  <a:pt x="463" y="774"/>
                </a:cubicBezTo>
                <a:cubicBezTo>
                  <a:pt x="549" y="861"/>
                  <a:pt x="690" y="861"/>
                  <a:pt x="777" y="774"/>
                </a:cubicBezTo>
                <a:cubicBezTo>
                  <a:pt x="863" y="687"/>
                  <a:pt x="863" y="547"/>
                  <a:pt x="777" y="4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3458505" y="2867012"/>
            <a:ext cx="279022" cy="124972"/>
          </a:xfrm>
          <a:custGeom>
            <a:avLst/>
            <a:gdLst>
              <a:gd name="T0" fmla="*/ 770 w 992"/>
              <a:gd name="T1" fmla="*/ 0 h 444"/>
              <a:gd name="T2" fmla="*/ 555 w 992"/>
              <a:gd name="T3" fmla="*/ 169 h 444"/>
              <a:gd name="T4" fmla="*/ 0 w 992"/>
              <a:gd name="T5" fmla="*/ 169 h 444"/>
              <a:gd name="T6" fmla="*/ 0 w 992"/>
              <a:gd name="T7" fmla="*/ 275 h 444"/>
              <a:gd name="T8" fmla="*/ 555 w 992"/>
              <a:gd name="T9" fmla="*/ 275 h 444"/>
              <a:gd name="T10" fmla="*/ 770 w 992"/>
              <a:gd name="T11" fmla="*/ 444 h 444"/>
              <a:gd name="T12" fmla="*/ 992 w 992"/>
              <a:gd name="T13" fmla="*/ 222 h 444"/>
              <a:gd name="T14" fmla="*/ 770 w 992"/>
              <a:gd name="T15" fmla="*/ 0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92" h="444">
                <a:moveTo>
                  <a:pt x="770" y="0"/>
                </a:moveTo>
                <a:cubicBezTo>
                  <a:pt x="666" y="0"/>
                  <a:pt x="578" y="72"/>
                  <a:pt x="555" y="169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275"/>
                  <a:pt x="0" y="275"/>
                  <a:pt x="0" y="275"/>
                </a:cubicBezTo>
                <a:cubicBezTo>
                  <a:pt x="555" y="275"/>
                  <a:pt x="555" y="275"/>
                  <a:pt x="555" y="275"/>
                </a:cubicBezTo>
                <a:cubicBezTo>
                  <a:pt x="578" y="372"/>
                  <a:pt x="666" y="444"/>
                  <a:pt x="770" y="444"/>
                </a:cubicBezTo>
                <a:cubicBezTo>
                  <a:pt x="892" y="444"/>
                  <a:pt x="992" y="344"/>
                  <a:pt x="992" y="222"/>
                </a:cubicBezTo>
                <a:cubicBezTo>
                  <a:pt x="992" y="99"/>
                  <a:pt x="892" y="0"/>
                  <a:pt x="77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137"/>
          <p:cNvSpPr>
            <a:spLocks/>
          </p:cNvSpPr>
          <p:nvPr/>
        </p:nvSpPr>
        <p:spPr bwMode="auto">
          <a:xfrm>
            <a:off x="3757324" y="3480117"/>
            <a:ext cx="249326" cy="249326"/>
          </a:xfrm>
          <a:custGeom>
            <a:avLst/>
            <a:gdLst>
              <a:gd name="T0" fmla="*/ 797 w 884"/>
              <a:gd name="T1" fmla="*/ 87 h 886"/>
              <a:gd name="T2" fmla="*/ 483 w 884"/>
              <a:gd name="T3" fmla="*/ 87 h 886"/>
              <a:gd name="T4" fmla="*/ 450 w 884"/>
              <a:gd name="T5" fmla="*/ 358 h 886"/>
              <a:gd name="T6" fmla="*/ 0 w 884"/>
              <a:gd name="T7" fmla="*/ 811 h 886"/>
              <a:gd name="T8" fmla="*/ 75 w 884"/>
              <a:gd name="T9" fmla="*/ 886 h 886"/>
              <a:gd name="T10" fmla="*/ 525 w 884"/>
              <a:gd name="T11" fmla="*/ 434 h 886"/>
              <a:gd name="T12" fmla="*/ 797 w 884"/>
              <a:gd name="T13" fmla="*/ 401 h 886"/>
              <a:gd name="T14" fmla="*/ 797 w 884"/>
              <a:gd name="T15" fmla="*/ 87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4" h="886">
                <a:moveTo>
                  <a:pt x="797" y="87"/>
                </a:moveTo>
                <a:cubicBezTo>
                  <a:pt x="710" y="0"/>
                  <a:pt x="570" y="0"/>
                  <a:pt x="483" y="87"/>
                </a:cubicBezTo>
                <a:cubicBezTo>
                  <a:pt x="409" y="161"/>
                  <a:pt x="399" y="273"/>
                  <a:pt x="450" y="358"/>
                </a:cubicBezTo>
                <a:cubicBezTo>
                  <a:pt x="0" y="811"/>
                  <a:pt x="0" y="811"/>
                  <a:pt x="0" y="811"/>
                </a:cubicBezTo>
                <a:cubicBezTo>
                  <a:pt x="75" y="886"/>
                  <a:pt x="75" y="886"/>
                  <a:pt x="75" y="886"/>
                </a:cubicBezTo>
                <a:cubicBezTo>
                  <a:pt x="525" y="434"/>
                  <a:pt x="525" y="434"/>
                  <a:pt x="525" y="434"/>
                </a:cubicBezTo>
                <a:cubicBezTo>
                  <a:pt x="611" y="485"/>
                  <a:pt x="723" y="475"/>
                  <a:pt x="797" y="401"/>
                </a:cubicBezTo>
                <a:cubicBezTo>
                  <a:pt x="884" y="314"/>
                  <a:pt x="884" y="174"/>
                  <a:pt x="797" y="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 flipH="1">
            <a:off x="5194270" y="2267516"/>
            <a:ext cx="292014" cy="1291792"/>
          </a:xfrm>
          <a:custGeom>
            <a:avLst/>
            <a:gdLst>
              <a:gd name="T0" fmla="*/ 952 w 1036"/>
              <a:gd name="T1" fmla="*/ 4588 h 4588"/>
              <a:gd name="T2" fmla="*/ 1036 w 1036"/>
              <a:gd name="T3" fmla="*/ 4504 h 4588"/>
              <a:gd name="T4" fmla="*/ 119 w 1036"/>
              <a:gd name="T5" fmla="*/ 2294 h 4588"/>
              <a:gd name="T6" fmla="*/ 1036 w 1036"/>
              <a:gd name="T7" fmla="*/ 84 h 4588"/>
              <a:gd name="T8" fmla="*/ 952 w 1036"/>
              <a:gd name="T9" fmla="*/ 0 h 4588"/>
              <a:gd name="T10" fmla="*/ 0 w 1036"/>
              <a:gd name="T11" fmla="*/ 2294 h 4588"/>
              <a:gd name="T12" fmla="*/ 952 w 1036"/>
              <a:gd name="T13" fmla="*/ 4588 h 4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36" h="4588">
                <a:moveTo>
                  <a:pt x="952" y="4588"/>
                </a:moveTo>
                <a:cubicBezTo>
                  <a:pt x="1036" y="4504"/>
                  <a:pt x="1036" y="4504"/>
                  <a:pt x="1036" y="4504"/>
                </a:cubicBezTo>
                <a:cubicBezTo>
                  <a:pt x="470" y="3938"/>
                  <a:pt x="119" y="3156"/>
                  <a:pt x="119" y="2294"/>
                </a:cubicBezTo>
                <a:cubicBezTo>
                  <a:pt x="119" y="1432"/>
                  <a:pt x="470" y="650"/>
                  <a:pt x="1036" y="84"/>
                </a:cubicBezTo>
                <a:cubicBezTo>
                  <a:pt x="952" y="0"/>
                  <a:pt x="952" y="0"/>
                  <a:pt x="952" y="0"/>
                </a:cubicBezTo>
                <a:cubicBezTo>
                  <a:pt x="364" y="588"/>
                  <a:pt x="0" y="1399"/>
                  <a:pt x="0" y="2294"/>
                </a:cubicBezTo>
                <a:cubicBezTo>
                  <a:pt x="0" y="3189"/>
                  <a:pt x="364" y="4000"/>
                  <a:pt x="952" y="45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 flipH="1">
            <a:off x="5136114" y="2108517"/>
            <a:ext cx="243139" cy="242520"/>
          </a:xfrm>
          <a:custGeom>
            <a:avLst/>
            <a:gdLst>
              <a:gd name="T0" fmla="*/ 777 w 863"/>
              <a:gd name="T1" fmla="*/ 460 h 861"/>
              <a:gd name="T2" fmla="*/ 505 w 863"/>
              <a:gd name="T3" fmla="*/ 427 h 861"/>
              <a:gd name="T4" fmla="*/ 75 w 863"/>
              <a:gd name="T5" fmla="*/ 0 h 861"/>
              <a:gd name="T6" fmla="*/ 0 w 863"/>
              <a:gd name="T7" fmla="*/ 75 h 861"/>
              <a:gd name="T8" fmla="*/ 430 w 863"/>
              <a:gd name="T9" fmla="*/ 503 h 861"/>
              <a:gd name="T10" fmla="*/ 463 w 863"/>
              <a:gd name="T11" fmla="*/ 774 h 861"/>
              <a:gd name="T12" fmla="*/ 777 w 863"/>
              <a:gd name="T13" fmla="*/ 774 h 861"/>
              <a:gd name="T14" fmla="*/ 777 w 863"/>
              <a:gd name="T15" fmla="*/ 460 h 8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63" h="861">
                <a:moveTo>
                  <a:pt x="777" y="460"/>
                </a:moveTo>
                <a:cubicBezTo>
                  <a:pt x="703" y="386"/>
                  <a:pt x="590" y="376"/>
                  <a:pt x="505" y="427"/>
                </a:cubicBezTo>
                <a:cubicBezTo>
                  <a:pt x="75" y="0"/>
                  <a:pt x="75" y="0"/>
                  <a:pt x="75" y="0"/>
                </a:cubicBezTo>
                <a:cubicBezTo>
                  <a:pt x="0" y="75"/>
                  <a:pt x="0" y="75"/>
                  <a:pt x="0" y="75"/>
                </a:cubicBezTo>
                <a:cubicBezTo>
                  <a:pt x="430" y="503"/>
                  <a:pt x="430" y="503"/>
                  <a:pt x="430" y="503"/>
                </a:cubicBezTo>
                <a:cubicBezTo>
                  <a:pt x="378" y="588"/>
                  <a:pt x="389" y="700"/>
                  <a:pt x="463" y="774"/>
                </a:cubicBezTo>
                <a:cubicBezTo>
                  <a:pt x="549" y="861"/>
                  <a:pt x="690" y="861"/>
                  <a:pt x="777" y="774"/>
                </a:cubicBezTo>
                <a:cubicBezTo>
                  <a:pt x="863" y="687"/>
                  <a:pt x="863" y="547"/>
                  <a:pt x="777" y="46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 flipH="1">
            <a:off x="5406474" y="2867012"/>
            <a:ext cx="279022" cy="124972"/>
          </a:xfrm>
          <a:custGeom>
            <a:avLst/>
            <a:gdLst>
              <a:gd name="T0" fmla="*/ 770 w 992"/>
              <a:gd name="T1" fmla="*/ 0 h 444"/>
              <a:gd name="T2" fmla="*/ 555 w 992"/>
              <a:gd name="T3" fmla="*/ 169 h 444"/>
              <a:gd name="T4" fmla="*/ 0 w 992"/>
              <a:gd name="T5" fmla="*/ 169 h 444"/>
              <a:gd name="T6" fmla="*/ 0 w 992"/>
              <a:gd name="T7" fmla="*/ 275 h 444"/>
              <a:gd name="T8" fmla="*/ 555 w 992"/>
              <a:gd name="T9" fmla="*/ 275 h 444"/>
              <a:gd name="T10" fmla="*/ 770 w 992"/>
              <a:gd name="T11" fmla="*/ 444 h 444"/>
              <a:gd name="T12" fmla="*/ 992 w 992"/>
              <a:gd name="T13" fmla="*/ 222 h 444"/>
              <a:gd name="T14" fmla="*/ 770 w 992"/>
              <a:gd name="T15" fmla="*/ 0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992" h="444">
                <a:moveTo>
                  <a:pt x="770" y="0"/>
                </a:moveTo>
                <a:cubicBezTo>
                  <a:pt x="666" y="0"/>
                  <a:pt x="578" y="72"/>
                  <a:pt x="555" y="169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275"/>
                  <a:pt x="0" y="275"/>
                  <a:pt x="0" y="275"/>
                </a:cubicBezTo>
                <a:cubicBezTo>
                  <a:pt x="555" y="275"/>
                  <a:pt x="555" y="275"/>
                  <a:pt x="555" y="275"/>
                </a:cubicBezTo>
                <a:cubicBezTo>
                  <a:pt x="578" y="372"/>
                  <a:pt x="666" y="444"/>
                  <a:pt x="770" y="444"/>
                </a:cubicBezTo>
                <a:cubicBezTo>
                  <a:pt x="892" y="444"/>
                  <a:pt x="992" y="344"/>
                  <a:pt x="992" y="222"/>
                </a:cubicBezTo>
                <a:cubicBezTo>
                  <a:pt x="992" y="99"/>
                  <a:pt x="892" y="0"/>
                  <a:pt x="77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Freeform 137"/>
          <p:cNvSpPr>
            <a:spLocks/>
          </p:cNvSpPr>
          <p:nvPr/>
        </p:nvSpPr>
        <p:spPr bwMode="auto">
          <a:xfrm flipH="1">
            <a:off x="5137351" y="3480117"/>
            <a:ext cx="249326" cy="249326"/>
          </a:xfrm>
          <a:custGeom>
            <a:avLst/>
            <a:gdLst>
              <a:gd name="T0" fmla="*/ 797 w 884"/>
              <a:gd name="T1" fmla="*/ 87 h 886"/>
              <a:gd name="T2" fmla="*/ 483 w 884"/>
              <a:gd name="T3" fmla="*/ 87 h 886"/>
              <a:gd name="T4" fmla="*/ 450 w 884"/>
              <a:gd name="T5" fmla="*/ 358 h 886"/>
              <a:gd name="T6" fmla="*/ 0 w 884"/>
              <a:gd name="T7" fmla="*/ 811 h 886"/>
              <a:gd name="T8" fmla="*/ 75 w 884"/>
              <a:gd name="T9" fmla="*/ 886 h 886"/>
              <a:gd name="T10" fmla="*/ 525 w 884"/>
              <a:gd name="T11" fmla="*/ 434 h 886"/>
              <a:gd name="T12" fmla="*/ 797 w 884"/>
              <a:gd name="T13" fmla="*/ 401 h 886"/>
              <a:gd name="T14" fmla="*/ 797 w 884"/>
              <a:gd name="T15" fmla="*/ 87 h 8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84" h="886">
                <a:moveTo>
                  <a:pt x="797" y="87"/>
                </a:moveTo>
                <a:cubicBezTo>
                  <a:pt x="710" y="0"/>
                  <a:pt x="570" y="0"/>
                  <a:pt x="483" y="87"/>
                </a:cubicBezTo>
                <a:cubicBezTo>
                  <a:pt x="409" y="161"/>
                  <a:pt x="399" y="273"/>
                  <a:pt x="450" y="358"/>
                </a:cubicBezTo>
                <a:cubicBezTo>
                  <a:pt x="0" y="811"/>
                  <a:pt x="0" y="811"/>
                  <a:pt x="0" y="811"/>
                </a:cubicBezTo>
                <a:cubicBezTo>
                  <a:pt x="75" y="886"/>
                  <a:pt x="75" y="886"/>
                  <a:pt x="75" y="886"/>
                </a:cubicBezTo>
                <a:cubicBezTo>
                  <a:pt x="525" y="434"/>
                  <a:pt x="525" y="434"/>
                  <a:pt x="525" y="434"/>
                </a:cubicBezTo>
                <a:cubicBezTo>
                  <a:pt x="611" y="485"/>
                  <a:pt x="723" y="475"/>
                  <a:pt x="797" y="401"/>
                </a:cubicBezTo>
                <a:cubicBezTo>
                  <a:pt x="884" y="314"/>
                  <a:pt x="884" y="174"/>
                  <a:pt x="797" y="8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31" name="Group 30"/>
          <p:cNvGrpSpPr/>
          <p:nvPr/>
        </p:nvGrpSpPr>
        <p:grpSpPr>
          <a:xfrm>
            <a:off x="5669411" y="2563243"/>
            <a:ext cx="700958" cy="700339"/>
            <a:chOff x="5669411" y="2563243"/>
            <a:chExt cx="700958" cy="700339"/>
          </a:xfrm>
        </p:grpSpPr>
        <p:sp>
          <p:nvSpPr>
            <p:cNvPr id="18" name="Freeform 133"/>
            <p:cNvSpPr>
              <a:spLocks/>
            </p:cNvSpPr>
            <p:nvPr/>
          </p:nvSpPr>
          <p:spPr bwMode="auto">
            <a:xfrm>
              <a:off x="5669411" y="2563243"/>
              <a:ext cx="700958" cy="700339"/>
            </a:xfrm>
            <a:custGeom>
              <a:avLst/>
              <a:gdLst>
                <a:gd name="T0" fmla="*/ 2489 w 2489"/>
                <a:gd name="T1" fmla="*/ 1225 h 2486"/>
                <a:gd name="T2" fmla="*/ 2172 w 2489"/>
                <a:gd name="T3" fmla="*/ 390 h 2486"/>
                <a:gd name="T4" fmla="*/ 1260 w 2489"/>
                <a:gd name="T5" fmla="*/ 0 h 2486"/>
                <a:gd name="T6" fmla="*/ 0 w 2489"/>
                <a:gd name="T7" fmla="*/ 1261 h 2486"/>
                <a:gd name="T8" fmla="*/ 316 w 2489"/>
                <a:gd name="T9" fmla="*/ 2096 h 2486"/>
                <a:gd name="T10" fmla="*/ 1228 w 2489"/>
                <a:gd name="T11" fmla="*/ 2486 h 2486"/>
                <a:gd name="T12" fmla="*/ 2489 w 2489"/>
                <a:gd name="T13" fmla="*/ 1225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5"/>
                  </a:moveTo>
                  <a:cubicBezTo>
                    <a:pt x="2489" y="905"/>
                    <a:pt x="2369" y="613"/>
                    <a:pt x="2172" y="390"/>
                  </a:cubicBezTo>
                  <a:cubicBezTo>
                    <a:pt x="1943" y="150"/>
                    <a:pt x="1619" y="0"/>
                    <a:pt x="1260" y="0"/>
                  </a:cubicBezTo>
                  <a:cubicBezTo>
                    <a:pt x="564" y="0"/>
                    <a:pt x="0" y="564"/>
                    <a:pt x="0" y="1261"/>
                  </a:cubicBezTo>
                  <a:cubicBezTo>
                    <a:pt x="0" y="1581"/>
                    <a:pt x="119" y="1873"/>
                    <a:pt x="316" y="2096"/>
                  </a:cubicBezTo>
                  <a:cubicBezTo>
                    <a:pt x="546" y="2336"/>
                    <a:pt x="869" y="2486"/>
                    <a:pt x="1228" y="2486"/>
                  </a:cubicBezTo>
                  <a:cubicBezTo>
                    <a:pt x="1924" y="2486"/>
                    <a:pt x="2489" y="1922"/>
                    <a:pt x="2489" y="12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9" name="Oval 135"/>
            <p:cNvSpPr>
              <a:spLocks noChangeArrowheads="1"/>
            </p:cNvSpPr>
            <p:nvPr/>
          </p:nvSpPr>
          <p:spPr bwMode="auto">
            <a:xfrm>
              <a:off x="5716191" y="2610056"/>
              <a:ext cx="599974" cy="599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8" name="Freeform 50"/>
            <p:cNvSpPr>
              <a:spLocks noEditPoints="1"/>
            </p:cNvSpPr>
            <p:nvPr/>
          </p:nvSpPr>
          <p:spPr bwMode="auto">
            <a:xfrm>
              <a:off x="5894147" y="2804089"/>
              <a:ext cx="244061" cy="211223"/>
            </a:xfrm>
            <a:custGeom>
              <a:avLst/>
              <a:gdLst>
                <a:gd name="T0" fmla="*/ 348 w 353"/>
                <a:gd name="T1" fmla="*/ 145 h 305"/>
                <a:gd name="T2" fmla="*/ 296 w 353"/>
                <a:gd name="T3" fmla="*/ 121 h 305"/>
                <a:gd name="T4" fmla="*/ 348 w 353"/>
                <a:gd name="T5" fmla="*/ 96 h 305"/>
                <a:gd name="T6" fmla="*/ 348 w 353"/>
                <a:gd name="T7" fmla="*/ 81 h 305"/>
                <a:gd name="T8" fmla="*/ 180 w 353"/>
                <a:gd name="T9" fmla="*/ 1 h 305"/>
                <a:gd name="T10" fmla="*/ 176 w 353"/>
                <a:gd name="T11" fmla="*/ 0 h 305"/>
                <a:gd name="T12" fmla="*/ 173 w 353"/>
                <a:gd name="T13" fmla="*/ 1 h 305"/>
                <a:gd name="T14" fmla="*/ 4 w 353"/>
                <a:gd name="T15" fmla="*/ 81 h 305"/>
                <a:gd name="T16" fmla="*/ 4 w 353"/>
                <a:gd name="T17" fmla="*/ 96 h 305"/>
                <a:gd name="T18" fmla="*/ 56 w 353"/>
                <a:gd name="T19" fmla="*/ 121 h 305"/>
                <a:gd name="T20" fmla="*/ 4 w 353"/>
                <a:gd name="T21" fmla="*/ 145 h 305"/>
                <a:gd name="T22" fmla="*/ 4 w 353"/>
                <a:gd name="T23" fmla="*/ 160 h 305"/>
                <a:gd name="T24" fmla="*/ 56 w 353"/>
                <a:gd name="T25" fmla="*/ 185 h 305"/>
                <a:gd name="T26" fmla="*/ 4 w 353"/>
                <a:gd name="T27" fmla="*/ 210 h 305"/>
                <a:gd name="T28" fmla="*/ 4 w 353"/>
                <a:gd name="T29" fmla="*/ 224 h 305"/>
                <a:gd name="T30" fmla="*/ 173 w 353"/>
                <a:gd name="T31" fmla="*/ 304 h 305"/>
                <a:gd name="T32" fmla="*/ 176 w 353"/>
                <a:gd name="T33" fmla="*/ 305 h 305"/>
                <a:gd name="T34" fmla="*/ 180 w 353"/>
                <a:gd name="T35" fmla="*/ 304 h 305"/>
                <a:gd name="T36" fmla="*/ 348 w 353"/>
                <a:gd name="T37" fmla="*/ 224 h 305"/>
                <a:gd name="T38" fmla="*/ 348 w 353"/>
                <a:gd name="T39" fmla="*/ 210 h 305"/>
                <a:gd name="T40" fmla="*/ 296 w 353"/>
                <a:gd name="T41" fmla="*/ 185 h 305"/>
                <a:gd name="T42" fmla="*/ 348 w 353"/>
                <a:gd name="T43" fmla="*/ 160 h 305"/>
                <a:gd name="T44" fmla="*/ 26 w 353"/>
                <a:gd name="T45" fmla="*/ 88 h 305"/>
                <a:gd name="T46" fmla="*/ 326 w 353"/>
                <a:gd name="T47" fmla="*/ 88 h 305"/>
                <a:gd name="T48" fmla="*/ 26 w 353"/>
                <a:gd name="T49" fmla="*/ 88 h 305"/>
                <a:gd name="T50" fmla="*/ 176 w 353"/>
                <a:gd name="T51" fmla="*/ 288 h 305"/>
                <a:gd name="T52" fmla="*/ 75 w 353"/>
                <a:gd name="T53" fmla="*/ 194 h 305"/>
                <a:gd name="T54" fmla="*/ 173 w 353"/>
                <a:gd name="T55" fmla="*/ 240 h 305"/>
                <a:gd name="T56" fmla="*/ 180 w 353"/>
                <a:gd name="T57" fmla="*/ 240 h 305"/>
                <a:gd name="T58" fmla="*/ 277 w 353"/>
                <a:gd name="T59" fmla="*/ 194 h 305"/>
                <a:gd name="T60" fmla="*/ 176 w 353"/>
                <a:gd name="T61" fmla="*/ 224 h 305"/>
                <a:gd name="T62" fmla="*/ 75 w 353"/>
                <a:gd name="T63" fmla="*/ 129 h 305"/>
                <a:gd name="T64" fmla="*/ 173 w 353"/>
                <a:gd name="T65" fmla="*/ 176 h 305"/>
                <a:gd name="T66" fmla="*/ 180 w 353"/>
                <a:gd name="T67" fmla="*/ 176 h 305"/>
                <a:gd name="T68" fmla="*/ 277 w 353"/>
                <a:gd name="T69" fmla="*/ 129 h 305"/>
                <a:gd name="T70" fmla="*/ 176 w 353"/>
                <a:gd name="T71" fmla="*/ 224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05">
                  <a:moveTo>
                    <a:pt x="353" y="153"/>
                  </a:moveTo>
                  <a:cubicBezTo>
                    <a:pt x="353" y="149"/>
                    <a:pt x="351" y="147"/>
                    <a:pt x="348" y="145"/>
                  </a:cubicBezTo>
                  <a:cubicBezTo>
                    <a:pt x="348" y="145"/>
                    <a:pt x="348" y="145"/>
                    <a:pt x="348" y="145"/>
                  </a:cubicBezTo>
                  <a:cubicBezTo>
                    <a:pt x="296" y="121"/>
                    <a:pt x="296" y="121"/>
                    <a:pt x="296" y="12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351" y="94"/>
                    <a:pt x="353" y="92"/>
                    <a:pt x="353" y="88"/>
                  </a:cubicBezTo>
                  <a:cubicBezTo>
                    <a:pt x="353" y="85"/>
                    <a:pt x="351" y="83"/>
                    <a:pt x="348" y="81"/>
                  </a:cubicBezTo>
                  <a:cubicBezTo>
                    <a:pt x="348" y="81"/>
                    <a:pt x="348" y="81"/>
                    <a:pt x="348" y="8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79" y="0"/>
                    <a:pt x="177" y="0"/>
                    <a:pt x="176" y="0"/>
                  </a:cubicBezTo>
                  <a:cubicBezTo>
                    <a:pt x="175" y="0"/>
                    <a:pt x="174" y="0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1" y="83"/>
                    <a:pt x="0" y="85"/>
                    <a:pt x="0" y="88"/>
                  </a:cubicBezTo>
                  <a:cubicBezTo>
                    <a:pt x="0" y="92"/>
                    <a:pt x="1" y="94"/>
                    <a:pt x="4" y="96"/>
                  </a:cubicBezTo>
                  <a:cubicBezTo>
                    <a:pt x="4" y="96"/>
                    <a:pt x="4" y="96"/>
                    <a:pt x="4" y="96"/>
                  </a:cubicBezTo>
                  <a:cubicBezTo>
                    <a:pt x="56" y="121"/>
                    <a:pt x="56" y="121"/>
                    <a:pt x="56" y="121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4" y="145"/>
                    <a:pt x="4" y="145"/>
                    <a:pt x="4" y="145"/>
                  </a:cubicBezTo>
                  <a:cubicBezTo>
                    <a:pt x="1" y="147"/>
                    <a:pt x="0" y="149"/>
                    <a:pt x="0" y="153"/>
                  </a:cubicBezTo>
                  <a:cubicBezTo>
                    <a:pt x="0" y="156"/>
                    <a:pt x="1" y="159"/>
                    <a:pt x="4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56" y="185"/>
                    <a:pt x="56" y="185"/>
                    <a:pt x="56" y="185"/>
                  </a:cubicBezTo>
                  <a:cubicBezTo>
                    <a:pt x="4" y="210"/>
                    <a:pt x="4" y="210"/>
                    <a:pt x="4" y="210"/>
                  </a:cubicBezTo>
                  <a:cubicBezTo>
                    <a:pt x="4" y="210"/>
                    <a:pt x="4" y="210"/>
                    <a:pt x="4" y="210"/>
                  </a:cubicBezTo>
                  <a:cubicBezTo>
                    <a:pt x="1" y="211"/>
                    <a:pt x="0" y="214"/>
                    <a:pt x="0" y="217"/>
                  </a:cubicBezTo>
                  <a:cubicBezTo>
                    <a:pt x="0" y="220"/>
                    <a:pt x="1" y="223"/>
                    <a:pt x="4" y="224"/>
                  </a:cubicBezTo>
                  <a:cubicBezTo>
                    <a:pt x="4" y="224"/>
                    <a:pt x="4" y="224"/>
                    <a:pt x="4" y="224"/>
                  </a:cubicBezTo>
                  <a:cubicBezTo>
                    <a:pt x="173" y="304"/>
                    <a:pt x="173" y="304"/>
                    <a:pt x="173" y="304"/>
                  </a:cubicBezTo>
                  <a:cubicBezTo>
                    <a:pt x="173" y="304"/>
                    <a:pt x="173" y="304"/>
                    <a:pt x="173" y="304"/>
                  </a:cubicBezTo>
                  <a:cubicBezTo>
                    <a:pt x="174" y="305"/>
                    <a:pt x="175" y="305"/>
                    <a:pt x="176" y="305"/>
                  </a:cubicBezTo>
                  <a:cubicBezTo>
                    <a:pt x="177" y="305"/>
                    <a:pt x="179" y="305"/>
                    <a:pt x="180" y="304"/>
                  </a:cubicBezTo>
                  <a:cubicBezTo>
                    <a:pt x="180" y="304"/>
                    <a:pt x="180" y="304"/>
                    <a:pt x="180" y="304"/>
                  </a:cubicBezTo>
                  <a:cubicBezTo>
                    <a:pt x="348" y="224"/>
                    <a:pt x="348" y="224"/>
                    <a:pt x="348" y="224"/>
                  </a:cubicBezTo>
                  <a:cubicBezTo>
                    <a:pt x="348" y="224"/>
                    <a:pt x="348" y="224"/>
                    <a:pt x="348" y="224"/>
                  </a:cubicBezTo>
                  <a:cubicBezTo>
                    <a:pt x="351" y="223"/>
                    <a:pt x="353" y="220"/>
                    <a:pt x="353" y="217"/>
                  </a:cubicBezTo>
                  <a:cubicBezTo>
                    <a:pt x="353" y="214"/>
                    <a:pt x="351" y="211"/>
                    <a:pt x="348" y="210"/>
                  </a:cubicBezTo>
                  <a:cubicBezTo>
                    <a:pt x="348" y="210"/>
                    <a:pt x="348" y="210"/>
                    <a:pt x="348" y="210"/>
                  </a:cubicBezTo>
                  <a:cubicBezTo>
                    <a:pt x="296" y="185"/>
                    <a:pt x="296" y="185"/>
                    <a:pt x="296" y="185"/>
                  </a:cubicBezTo>
                  <a:cubicBezTo>
                    <a:pt x="348" y="160"/>
                    <a:pt x="348" y="160"/>
                    <a:pt x="348" y="160"/>
                  </a:cubicBezTo>
                  <a:cubicBezTo>
                    <a:pt x="348" y="160"/>
                    <a:pt x="348" y="160"/>
                    <a:pt x="348" y="160"/>
                  </a:cubicBezTo>
                  <a:cubicBezTo>
                    <a:pt x="351" y="159"/>
                    <a:pt x="353" y="156"/>
                    <a:pt x="353" y="153"/>
                  </a:cubicBezTo>
                  <a:moveTo>
                    <a:pt x="26" y="88"/>
                  </a:moveTo>
                  <a:cubicBezTo>
                    <a:pt x="176" y="17"/>
                    <a:pt x="176" y="17"/>
                    <a:pt x="176" y="17"/>
                  </a:cubicBezTo>
                  <a:cubicBezTo>
                    <a:pt x="326" y="88"/>
                    <a:pt x="326" y="88"/>
                    <a:pt x="326" y="88"/>
                  </a:cubicBezTo>
                  <a:cubicBezTo>
                    <a:pt x="176" y="160"/>
                    <a:pt x="176" y="160"/>
                    <a:pt x="176" y="160"/>
                  </a:cubicBezTo>
                  <a:lnTo>
                    <a:pt x="26" y="88"/>
                  </a:lnTo>
                  <a:close/>
                  <a:moveTo>
                    <a:pt x="326" y="217"/>
                  </a:moveTo>
                  <a:cubicBezTo>
                    <a:pt x="176" y="288"/>
                    <a:pt x="176" y="288"/>
                    <a:pt x="176" y="288"/>
                  </a:cubicBezTo>
                  <a:cubicBezTo>
                    <a:pt x="26" y="217"/>
                    <a:pt x="26" y="217"/>
                    <a:pt x="26" y="217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173" y="240"/>
                    <a:pt x="173" y="240"/>
                    <a:pt x="173" y="240"/>
                  </a:cubicBezTo>
                  <a:cubicBezTo>
                    <a:pt x="173" y="240"/>
                    <a:pt x="173" y="240"/>
                    <a:pt x="173" y="240"/>
                  </a:cubicBezTo>
                  <a:cubicBezTo>
                    <a:pt x="174" y="241"/>
                    <a:pt x="175" y="241"/>
                    <a:pt x="176" y="241"/>
                  </a:cubicBezTo>
                  <a:cubicBezTo>
                    <a:pt x="177" y="241"/>
                    <a:pt x="179" y="241"/>
                    <a:pt x="180" y="240"/>
                  </a:cubicBezTo>
                  <a:cubicBezTo>
                    <a:pt x="180" y="240"/>
                    <a:pt x="180" y="240"/>
                    <a:pt x="180" y="240"/>
                  </a:cubicBezTo>
                  <a:cubicBezTo>
                    <a:pt x="277" y="194"/>
                    <a:pt x="277" y="194"/>
                    <a:pt x="277" y="194"/>
                  </a:cubicBezTo>
                  <a:lnTo>
                    <a:pt x="326" y="217"/>
                  </a:lnTo>
                  <a:close/>
                  <a:moveTo>
                    <a:pt x="176" y="224"/>
                  </a:moveTo>
                  <a:cubicBezTo>
                    <a:pt x="26" y="153"/>
                    <a:pt x="26" y="153"/>
                    <a:pt x="26" y="153"/>
                  </a:cubicBezTo>
                  <a:cubicBezTo>
                    <a:pt x="75" y="129"/>
                    <a:pt x="75" y="129"/>
                    <a:pt x="75" y="12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4" y="176"/>
                    <a:pt x="175" y="177"/>
                    <a:pt x="176" y="177"/>
                  </a:cubicBezTo>
                  <a:cubicBezTo>
                    <a:pt x="177" y="177"/>
                    <a:pt x="179" y="176"/>
                    <a:pt x="180" y="176"/>
                  </a:cubicBezTo>
                  <a:cubicBezTo>
                    <a:pt x="180" y="176"/>
                    <a:pt x="180" y="176"/>
                    <a:pt x="180" y="176"/>
                  </a:cubicBezTo>
                  <a:cubicBezTo>
                    <a:pt x="277" y="129"/>
                    <a:pt x="277" y="129"/>
                    <a:pt x="277" y="129"/>
                  </a:cubicBezTo>
                  <a:cubicBezTo>
                    <a:pt x="326" y="153"/>
                    <a:pt x="326" y="153"/>
                    <a:pt x="326" y="153"/>
                  </a:cubicBezTo>
                  <a:lnTo>
                    <a:pt x="176" y="2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5246237" y="3585911"/>
            <a:ext cx="700958" cy="700339"/>
            <a:chOff x="5246237" y="3585911"/>
            <a:chExt cx="700958" cy="700339"/>
          </a:xfrm>
        </p:grpSpPr>
        <p:sp>
          <p:nvSpPr>
            <p:cNvPr id="23" name="Freeform 130"/>
            <p:cNvSpPr>
              <a:spLocks/>
            </p:cNvSpPr>
            <p:nvPr/>
          </p:nvSpPr>
          <p:spPr bwMode="auto">
            <a:xfrm>
              <a:off x="5246237" y="3585911"/>
              <a:ext cx="700958" cy="700339"/>
            </a:xfrm>
            <a:custGeom>
              <a:avLst/>
              <a:gdLst>
                <a:gd name="T0" fmla="*/ 2489 w 2489"/>
                <a:gd name="T1" fmla="*/ 1226 h 2486"/>
                <a:gd name="T2" fmla="*/ 2173 w 2489"/>
                <a:gd name="T3" fmla="*/ 390 h 2486"/>
                <a:gd name="T4" fmla="*/ 1261 w 2489"/>
                <a:gd name="T5" fmla="*/ 0 h 2486"/>
                <a:gd name="T6" fmla="*/ 0 w 2489"/>
                <a:gd name="T7" fmla="*/ 1261 h 2486"/>
                <a:gd name="T8" fmla="*/ 317 w 2489"/>
                <a:gd name="T9" fmla="*/ 2096 h 2486"/>
                <a:gd name="T10" fmla="*/ 1229 w 2489"/>
                <a:gd name="T11" fmla="*/ 2486 h 2486"/>
                <a:gd name="T12" fmla="*/ 2489 w 2489"/>
                <a:gd name="T13" fmla="*/ 1226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6"/>
                  </a:moveTo>
                  <a:cubicBezTo>
                    <a:pt x="2489" y="905"/>
                    <a:pt x="2370" y="613"/>
                    <a:pt x="2173" y="390"/>
                  </a:cubicBezTo>
                  <a:cubicBezTo>
                    <a:pt x="1943" y="150"/>
                    <a:pt x="1619" y="0"/>
                    <a:pt x="1261" y="0"/>
                  </a:cubicBezTo>
                  <a:cubicBezTo>
                    <a:pt x="565" y="0"/>
                    <a:pt x="0" y="565"/>
                    <a:pt x="0" y="1261"/>
                  </a:cubicBezTo>
                  <a:cubicBezTo>
                    <a:pt x="0" y="1581"/>
                    <a:pt x="120" y="1874"/>
                    <a:pt x="317" y="2096"/>
                  </a:cubicBezTo>
                  <a:cubicBezTo>
                    <a:pt x="546" y="2337"/>
                    <a:pt x="870" y="2486"/>
                    <a:pt x="1229" y="2486"/>
                  </a:cubicBezTo>
                  <a:cubicBezTo>
                    <a:pt x="1925" y="2486"/>
                    <a:pt x="2489" y="1922"/>
                    <a:pt x="2489" y="1226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4" name="Oval 132"/>
            <p:cNvSpPr>
              <a:spLocks noChangeArrowheads="1"/>
            </p:cNvSpPr>
            <p:nvPr/>
          </p:nvSpPr>
          <p:spPr bwMode="auto">
            <a:xfrm>
              <a:off x="5293670" y="3632691"/>
              <a:ext cx="599288" cy="599973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9" name="Freeform 52"/>
            <p:cNvSpPr>
              <a:spLocks noEditPoints="1"/>
            </p:cNvSpPr>
            <p:nvPr/>
          </p:nvSpPr>
          <p:spPr bwMode="auto">
            <a:xfrm>
              <a:off x="5471283" y="3832835"/>
              <a:ext cx="244061" cy="199686"/>
            </a:xfrm>
            <a:custGeom>
              <a:avLst/>
              <a:gdLst>
                <a:gd name="T0" fmla="*/ 32 w 353"/>
                <a:gd name="T1" fmla="*/ 209 h 289"/>
                <a:gd name="T2" fmla="*/ 48 w 353"/>
                <a:gd name="T3" fmla="*/ 209 h 289"/>
                <a:gd name="T4" fmla="*/ 89 w 353"/>
                <a:gd name="T5" fmla="*/ 169 h 289"/>
                <a:gd name="T6" fmla="*/ 273 w 353"/>
                <a:gd name="T7" fmla="*/ 161 h 289"/>
                <a:gd name="T8" fmla="*/ 233 w 353"/>
                <a:gd name="T9" fmla="*/ 217 h 289"/>
                <a:gd name="T10" fmla="*/ 273 w 353"/>
                <a:gd name="T11" fmla="*/ 177 h 289"/>
                <a:gd name="T12" fmla="*/ 273 w 353"/>
                <a:gd name="T13" fmla="*/ 161 h 289"/>
                <a:gd name="T14" fmla="*/ 286 w 353"/>
                <a:gd name="T15" fmla="*/ 32 h 289"/>
                <a:gd name="T16" fmla="*/ 241 w 353"/>
                <a:gd name="T17" fmla="*/ 0 h 289"/>
                <a:gd name="T18" fmla="*/ 161 w 353"/>
                <a:gd name="T19" fmla="*/ 48 h 289"/>
                <a:gd name="T20" fmla="*/ 67 w 353"/>
                <a:gd name="T21" fmla="*/ 32 h 289"/>
                <a:gd name="T22" fmla="*/ 8 w 353"/>
                <a:gd name="T23" fmla="*/ 174 h 289"/>
                <a:gd name="T24" fmla="*/ 80 w 353"/>
                <a:gd name="T25" fmla="*/ 289 h 289"/>
                <a:gd name="T26" fmla="*/ 195 w 353"/>
                <a:gd name="T27" fmla="*/ 225 h 289"/>
                <a:gd name="T28" fmla="*/ 353 w 353"/>
                <a:gd name="T29" fmla="*/ 209 h 289"/>
                <a:gd name="T30" fmla="*/ 80 w 353"/>
                <a:gd name="T31" fmla="*/ 273 h 289"/>
                <a:gd name="T32" fmla="*/ 80 w 353"/>
                <a:gd name="T33" fmla="*/ 145 h 289"/>
                <a:gd name="T34" fmla="*/ 80 w 353"/>
                <a:gd name="T35" fmla="*/ 273 h 289"/>
                <a:gd name="T36" fmla="*/ 80 w 353"/>
                <a:gd name="T37" fmla="*/ 129 h 289"/>
                <a:gd name="T38" fmla="*/ 83 w 353"/>
                <a:gd name="T39" fmla="*/ 35 h 289"/>
                <a:gd name="T40" fmla="*/ 113 w 353"/>
                <a:gd name="T41" fmla="*/ 16 h 289"/>
                <a:gd name="T42" fmla="*/ 145 w 353"/>
                <a:gd name="T43" fmla="*/ 46 h 289"/>
                <a:gd name="T44" fmla="*/ 193 w 353"/>
                <a:gd name="T45" fmla="*/ 209 h 289"/>
                <a:gd name="T46" fmla="*/ 161 w 353"/>
                <a:gd name="T47" fmla="*/ 193 h 289"/>
                <a:gd name="T48" fmla="*/ 193 w 353"/>
                <a:gd name="T49" fmla="*/ 209 h 289"/>
                <a:gd name="T50" fmla="*/ 161 w 353"/>
                <a:gd name="T51" fmla="*/ 177 h 289"/>
                <a:gd name="T52" fmla="*/ 193 w 353"/>
                <a:gd name="T53" fmla="*/ 64 h 289"/>
                <a:gd name="T54" fmla="*/ 209 w 353"/>
                <a:gd name="T55" fmla="*/ 46 h 289"/>
                <a:gd name="T56" fmla="*/ 241 w 353"/>
                <a:gd name="T57" fmla="*/ 16 h 289"/>
                <a:gd name="T58" fmla="*/ 270 w 353"/>
                <a:gd name="T59" fmla="*/ 35 h 289"/>
                <a:gd name="T60" fmla="*/ 273 w 353"/>
                <a:gd name="T61" fmla="*/ 129 h 289"/>
                <a:gd name="T62" fmla="*/ 209 w 353"/>
                <a:gd name="T63" fmla="*/ 46 h 289"/>
                <a:gd name="T64" fmla="*/ 209 w 353"/>
                <a:gd name="T65" fmla="*/ 209 h 289"/>
                <a:gd name="T66" fmla="*/ 337 w 353"/>
                <a:gd name="T67" fmla="*/ 20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289">
                  <a:moveTo>
                    <a:pt x="80" y="161"/>
                  </a:moveTo>
                  <a:cubicBezTo>
                    <a:pt x="54" y="161"/>
                    <a:pt x="32" y="182"/>
                    <a:pt x="32" y="209"/>
                  </a:cubicBezTo>
                  <a:cubicBezTo>
                    <a:pt x="32" y="213"/>
                    <a:pt x="36" y="217"/>
                    <a:pt x="40" y="217"/>
                  </a:cubicBezTo>
                  <a:cubicBezTo>
                    <a:pt x="45" y="217"/>
                    <a:pt x="48" y="213"/>
                    <a:pt x="48" y="209"/>
                  </a:cubicBezTo>
                  <a:cubicBezTo>
                    <a:pt x="48" y="191"/>
                    <a:pt x="63" y="177"/>
                    <a:pt x="80" y="177"/>
                  </a:cubicBezTo>
                  <a:cubicBezTo>
                    <a:pt x="85" y="177"/>
                    <a:pt x="89" y="173"/>
                    <a:pt x="89" y="169"/>
                  </a:cubicBezTo>
                  <a:cubicBezTo>
                    <a:pt x="89" y="164"/>
                    <a:pt x="85" y="161"/>
                    <a:pt x="80" y="161"/>
                  </a:cubicBezTo>
                  <a:moveTo>
                    <a:pt x="273" y="161"/>
                  </a:moveTo>
                  <a:cubicBezTo>
                    <a:pt x="247" y="161"/>
                    <a:pt x="225" y="182"/>
                    <a:pt x="225" y="209"/>
                  </a:cubicBezTo>
                  <a:cubicBezTo>
                    <a:pt x="225" y="213"/>
                    <a:pt x="229" y="217"/>
                    <a:pt x="233" y="217"/>
                  </a:cubicBezTo>
                  <a:cubicBezTo>
                    <a:pt x="237" y="217"/>
                    <a:pt x="241" y="213"/>
                    <a:pt x="241" y="209"/>
                  </a:cubicBezTo>
                  <a:cubicBezTo>
                    <a:pt x="241" y="191"/>
                    <a:pt x="255" y="177"/>
                    <a:pt x="273" y="177"/>
                  </a:cubicBezTo>
                  <a:cubicBezTo>
                    <a:pt x="278" y="177"/>
                    <a:pt x="281" y="173"/>
                    <a:pt x="281" y="169"/>
                  </a:cubicBezTo>
                  <a:cubicBezTo>
                    <a:pt x="281" y="164"/>
                    <a:pt x="278" y="161"/>
                    <a:pt x="273" y="161"/>
                  </a:cubicBezTo>
                  <a:moveTo>
                    <a:pt x="345" y="174"/>
                  </a:moveTo>
                  <a:cubicBezTo>
                    <a:pt x="286" y="32"/>
                    <a:pt x="286" y="32"/>
                    <a:pt x="286" y="32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0" y="14"/>
                    <a:pt x="262" y="0"/>
                    <a:pt x="241" y="0"/>
                  </a:cubicBezTo>
                  <a:cubicBezTo>
                    <a:pt x="214" y="0"/>
                    <a:pt x="193" y="22"/>
                    <a:pt x="193" y="48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1" y="22"/>
                    <a:pt x="139" y="0"/>
                    <a:pt x="113" y="0"/>
                  </a:cubicBezTo>
                  <a:cubicBezTo>
                    <a:pt x="92" y="0"/>
                    <a:pt x="74" y="14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3" y="184"/>
                    <a:pt x="0" y="196"/>
                    <a:pt x="0" y="209"/>
                  </a:cubicBezTo>
                  <a:cubicBezTo>
                    <a:pt x="0" y="253"/>
                    <a:pt x="36" y="289"/>
                    <a:pt x="80" y="289"/>
                  </a:cubicBezTo>
                  <a:cubicBezTo>
                    <a:pt x="119" y="289"/>
                    <a:pt x="152" y="262"/>
                    <a:pt x="159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202" y="262"/>
                    <a:pt x="234" y="289"/>
                    <a:pt x="273" y="289"/>
                  </a:cubicBezTo>
                  <a:cubicBezTo>
                    <a:pt x="318" y="289"/>
                    <a:pt x="353" y="253"/>
                    <a:pt x="353" y="209"/>
                  </a:cubicBezTo>
                  <a:cubicBezTo>
                    <a:pt x="353" y="196"/>
                    <a:pt x="350" y="184"/>
                    <a:pt x="345" y="174"/>
                  </a:cubicBezTo>
                  <a:moveTo>
                    <a:pt x="80" y="273"/>
                  </a:moveTo>
                  <a:cubicBezTo>
                    <a:pt x="45" y="273"/>
                    <a:pt x="16" y="244"/>
                    <a:pt x="16" y="209"/>
                  </a:cubicBezTo>
                  <a:cubicBezTo>
                    <a:pt x="16" y="173"/>
                    <a:pt x="45" y="145"/>
                    <a:pt x="80" y="145"/>
                  </a:cubicBezTo>
                  <a:cubicBezTo>
                    <a:pt x="116" y="145"/>
                    <a:pt x="145" y="173"/>
                    <a:pt x="145" y="209"/>
                  </a:cubicBezTo>
                  <a:cubicBezTo>
                    <a:pt x="145" y="244"/>
                    <a:pt x="116" y="273"/>
                    <a:pt x="80" y="273"/>
                  </a:cubicBezTo>
                  <a:moveTo>
                    <a:pt x="145" y="161"/>
                  </a:moveTo>
                  <a:cubicBezTo>
                    <a:pt x="130" y="141"/>
                    <a:pt x="107" y="129"/>
                    <a:pt x="80" y="129"/>
                  </a:cubicBezTo>
                  <a:cubicBezTo>
                    <a:pt x="66" y="129"/>
                    <a:pt x="52" y="133"/>
                    <a:pt x="40" y="140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8" y="24"/>
                    <a:pt x="100" y="16"/>
                    <a:pt x="113" y="16"/>
                  </a:cubicBezTo>
                  <a:cubicBezTo>
                    <a:pt x="129" y="16"/>
                    <a:pt x="143" y="29"/>
                    <a:pt x="144" y="45"/>
                  </a:cubicBezTo>
                  <a:cubicBezTo>
                    <a:pt x="145" y="46"/>
                    <a:pt x="145" y="46"/>
                    <a:pt x="145" y="46"/>
                  </a:cubicBezTo>
                  <a:lnTo>
                    <a:pt x="145" y="161"/>
                  </a:lnTo>
                  <a:close/>
                  <a:moveTo>
                    <a:pt x="193" y="209"/>
                  </a:moveTo>
                  <a:cubicBezTo>
                    <a:pt x="161" y="209"/>
                    <a:pt x="161" y="209"/>
                    <a:pt x="161" y="209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93" y="193"/>
                    <a:pt x="193" y="193"/>
                    <a:pt x="193" y="193"/>
                  </a:cubicBezTo>
                  <a:lnTo>
                    <a:pt x="193" y="209"/>
                  </a:lnTo>
                  <a:close/>
                  <a:moveTo>
                    <a:pt x="193" y="177"/>
                  </a:moveTo>
                  <a:cubicBezTo>
                    <a:pt x="161" y="177"/>
                    <a:pt x="161" y="177"/>
                    <a:pt x="161" y="177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93" y="64"/>
                    <a:pt x="193" y="64"/>
                    <a:pt x="193" y="64"/>
                  </a:cubicBezTo>
                  <a:lnTo>
                    <a:pt x="193" y="177"/>
                  </a:lnTo>
                  <a:close/>
                  <a:moveTo>
                    <a:pt x="209" y="46"/>
                  </a:moveTo>
                  <a:cubicBezTo>
                    <a:pt x="209" y="45"/>
                    <a:pt x="209" y="45"/>
                    <a:pt x="209" y="45"/>
                  </a:cubicBezTo>
                  <a:cubicBezTo>
                    <a:pt x="211" y="29"/>
                    <a:pt x="224" y="16"/>
                    <a:pt x="241" y="16"/>
                  </a:cubicBezTo>
                  <a:cubicBezTo>
                    <a:pt x="254" y="16"/>
                    <a:pt x="265" y="24"/>
                    <a:pt x="270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314" y="140"/>
                    <a:pt x="314" y="140"/>
                    <a:pt x="314" y="140"/>
                  </a:cubicBezTo>
                  <a:cubicBezTo>
                    <a:pt x="302" y="133"/>
                    <a:pt x="288" y="129"/>
                    <a:pt x="273" y="129"/>
                  </a:cubicBezTo>
                  <a:cubicBezTo>
                    <a:pt x="247" y="129"/>
                    <a:pt x="224" y="141"/>
                    <a:pt x="209" y="161"/>
                  </a:cubicBezTo>
                  <a:lnTo>
                    <a:pt x="209" y="46"/>
                  </a:lnTo>
                  <a:close/>
                  <a:moveTo>
                    <a:pt x="273" y="273"/>
                  </a:moveTo>
                  <a:cubicBezTo>
                    <a:pt x="238" y="273"/>
                    <a:pt x="209" y="244"/>
                    <a:pt x="209" y="209"/>
                  </a:cubicBezTo>
                  <a:cubicBezTo>
                    <a:pt x="209" y="173"/>
                    <a:pt x="238" y="145"/>
                    <a:pt x="273" y="145"/>
                  </a:cubicBezTo>
                  <a:cubicBezTo>
                    <a:pt x="309" y="145"/>
                    <a:pt x="337" y="173"/>
                    <a:pt x="337" y="209"/>
                  </a:cubicBezTo>
                  <a:cubicBezTo>
                    <a:pt x="337" y="244"/>
                    <a:pt x="309" y="273"/>
                    <a:pt x="273" y="27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3200517" y="1543049"/>
            <a:ext cx="700958" cy="699721"/>
            <a:chOff x="3200517" y="1543049"/>
            <a:chExt cx="700958" cy="699721"/>
          </a:xfrm>
        </p:grpSpPr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200517" y="1543049"/>
              <a:ext cx="700958" cy="699721"/>
            </a:xfrm>
            <a:custGeom>
              <a:avLst/>
              <a:gdLst>
                <a:gd name="T0" fmla="*/ 2489 w 2489"/>
                <a:gd name="T1" fmla="*/ 1225 h 2486"/>
                <a:gd name="T2" fmla="*/ 2172 w 2489"/>
                <a:gd name="T3" fmla="*/ 390 h 2486"/>
                <a:gd name="T4" fmla="*/ 1260 w 2489"/>
                <a:gd name="T5" fmla="*/ 0 h 2486"/>
                <a:gd name="T6" fmla="*/ 0 w 2489"/>
                <a:gd name="T7" fmla="*/ 1260 h 2486"/>
                <a:gd name="T8" fmla="*/ 316 w 2489"/>
                <a:gd name="T9" fmla="*/ 2096 h 2486"/>
                <a:gd name="T10" fmla="*/ 1228 w 2489"/>
                <a:gd name="T11" fmla="*/ 2486 h 2486"/>
                <a:gd name="T12" fmla="*/ 2489 w 2489"/>
                <a:gd name="T13" fmla="*/ 1225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5"/>
                  </a:moveTo>
                  <a:cubicBezTo>
                    <a:pt x="2489" y="905"/>
                    <a:pt x="2369" y="612"/>
                    <a:pt x="2172" y="390"/>
                  </a:cubicBezTo>
                  <a:cubicBezTo>
                    <a:pt x="1942" y="149"/>
                    <a:pt x="1619" y="0"/>
                    <a:pt x="1260" y="0"/>
                  </a:cubicBezTo>
                  <a:cubicBezTo>
                    <a:pt x="564" y="0"/>
                    <a:pt x="0" y="564"/>
                    <a:pt x="0" y="1260"/>
                  </a:cubicBezTo>
                  <a:cubicBezTo>
                    <a:pt x="0" y="1581"/>
                    <a:pt x="119" y="1873"/>
                    <a:pt x="316" y="2096"/>
                  </a:cubicBezTo>
                  <a:cubicBezTo>
                    <a:pt x="546" y="2336"/>
                    <a:pt x="869" y="2486"/>
                    <a:pt x="1228" y="2486"/>
                  </a:cubicBezTo>
                  <a:cubicBezTo>
                    <a:pt x="1924" y="2486"/>
                    <a:pt x="2489" y="1921"/>
                    <a:pt x="2489" y="12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Oval 128"/>
            <p:cNvSpPr>
              <a:spLocks noChangeArrowheads="1"/>
            </p:cNvSpPr>
            <p:nvPr/>
          </p:nvSpPr>
          <p:spPr bwMode="auto">
            <a:xfrm>
              <a:off x="3247331" y="1589244"/>
              <a:ext cx="599288" cy="599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0" name="Freeform 54"/>
            <p:cNvSpPr>
              <a:spLocks noEditPoints="1"/>
            </p:cNvSpPr>
            <p:nvPr/>
          </p:nvSpPr>
          <p:spPr bwMode="auto">
            <a:xfrm>
              <a:off x="3421838" y="1766858"/>
              <a:ext cx="250274" cy="244060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2773632" y="2563243"/>
            <a:ext cx="700958" cy="700339"/>
            <a:chOff x="2773632" y="2563243"/>
            <a:chExt cx="700958" cy="700339"/>
          </a:xfrm>
        </p:grpSpPr>
        <p:sp>
          <p:nvSpPr>
            <p:cNvPr id="10" name="Freeform 133"/>
            <p:cNvSpPr>
              <a:spLocks/>
            </p:cNvSpPr>
            <p:nvPr/>
          </p:nvSpPr>
          <p:spPr bwMode="auto">
            <a:xfrm>
              <a:off x="2773632" y="2563243"/>
              <a:ext cx="700958" cy="700339"/>
            </a:xfrm>
            <a:custGeom>
              <a:avLst/>
              <a:gdLst>
                <a:gd name="T0" fmla="*/ 2489 w 2489"/>
                <a:gd name="T1" fmla="*/ 1225 h 2486"/>
                <a:gd name="T2" fmla="*/ 2172 w 2489"/>
                <a:gd name="T3" fmla="*/ 390 h 2486"/>
                <a:gd name="T4" fmla="*/ 1260 w 2489"/>
                <a:gd name="T5" fmla="*/ 0 h 2486"/>
                <a:gd name="T6" fmla="*/ 0 w 2489"/>
                <a:gd name="T7" fmla="*/ 1261 h 2486"/>
                <a:gd name="T8" fmla="*/ 316 w 2489"/>
                <a:gd name="T9" fmla="*/ 2096 h 2486"/>
                <a:gd name="T10" fmla="*/ 1228 w 2489"/>
                <a:gd name="T11" fmla="*/ 2486 h 2486"/>
                <a:gd name="T12" fmla="*/ 2489 w 2489"/>
                <a:gd name="T13" fmla="*/ 1225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5"/>
                  </a:moveTo>
                  <a:cubicBezTo>
                    <a:pt x="2489" y="905"/>
                    <a:pt x="2369" y="613"/>
                    <a:pt x="2172" y="390"/>
                  </a:cubicBezTo>
                  <a:cubicBezTo>
                    <a:pt x="1943" y="150"/>
                    <a:pt x="1619" y="0"/>
                    <a:pt x="1260" y="0"/>
                  </a:cubicBezTo>
                  <a:cubicBezTo>
                    <a:pt x="564" y="0"/>
                    <a:pt x="0" y="564"/>
                    <a:pt x="0" y="1261"/>
                  </a:cubicBezTo>
                  <a:cubicBezTo>
                    <a:pt x="0" y="1581"/>
                    <a:pt x="119" y="1873"/>
                    <a:pt x="316" y="2096"/>
                  </a:cubicBezTo>
                  <a:cubicBezTo>
                    <a:pt x="546" y="2336"/>
                    <a:pt x="869" y="2486"/>
                    <a:pt x="1228" y="2486"/>
                  </a:cubicBezTo>
                  <a:cubicBezTo>
                    <a:pt x="1924" y="2486"/>
                    <a:pt x="2489" y="1922"/>
                    <a:pt x="2489" y="12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Oval 135"/>
            <p:cNvSpPr>
              <a:spLocks noChangeArrowheads="1"/>
            </p:cNvSpPr>
            <p:nvPr/>
          </p:nvSpPr>
          <p:spPr bwMode="auto">
            <a:xfrm>
              <a:off x="2820413" y="2610056"/>
              <a:ext cx="599974" cy="599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1" name="Freeform 45"/>
            <p:cNvSpPr>
              <a:spLocks noEditPoints="1"/>
            </p:cNvSpPr>
            <p:nvPr/>
          </p:nvSpPr>
          <p:spPr bwMode="auto">
            <a:xfrm>
              <a:off x="3000144" y="2789001"/>
              <a:ext cx="240512" cy="241397"/>
            </a:xfrm>
            <a:custGeom>
              <a:avLst/>
              <a:gdLst>
                <a:gd name="T0" fmla="*/ 0 w 353"/>
                <a:gd name="T1" fmla="*/ 177 h 354"/>
                <a:gd name="T2" fmla="*/ 353 w 353"/>
                <a:gd name="T3" fmla="*/ 177 h 354"/>
                <a:gd name="T4" fmla="*/ 129 w 353"/>
                <a:gd name="T5" fmla="*/ 24 h 354"/>
                <a:gd name="T6" fmla="*/ 118 w 353"/>
                <a:gd name="T7" fmla="*/ 37 h 354"/>
                <a:gd name="T8" fmla="*/ 100 w 353"/>
                <a:gd name="T9" fmla="*/ 69 h 354"/>
                <a:gd name="T10" fmla="*/ 73 w 353"/>
                <a:gd name="T11" fmla="*/ 55 h 354"/>
                <a:gd name="T12" fmla="*/ 61 w 353"/>
                <a:gd name="T13" fmla="*/ 65 h 354"/>
                <a:gd name="T14" fmla="*/ 93 w 353"/>
                <a:gd name="T15" fmla="*/ 89 h 354"/>
                <a:gd name="T16" fmla="*/ 83 w 353"/>
                <a:gd name="T17" fmla="*/ 133 h 354"/>
                <a:gd name="T18" fmla="*/ 81 w 353"/>
                <a:gd name="T19" fmla="*/ 155 h 354"/>
                <a:gd name="T20" fmla="*/ 16 w 353"/>
                <a:gd name="T21" fmla="*/ 169 h 354"/>
                <a:gd name="T22" fmla="*/ 16 w 353"/>
                <a:gd name="T23" fmla="*/ 185 h 354"/>
                <a:gd name="T24" fmla="*/ 81 w 353"/>
                <a:gd name="T25" fmla="*/ 199 h 354"/>
                <a:gd name="T26" fmla="*/ 83 w 353"/>
                <a:gd name="T27" fmla="*/ 221 h 354"/>
                <a:gd name="T28" fmla="*/ 93 w 353"/>
                <a:gd name="T29" fmla="*/ 265 h 354"/>
                <a:gd name="T30" fmla="*/ 61 w 353"/>
                <a:gd name="T31" fmla="*/ 288 h 354"/>
                <a:gd name="T32" fmla="*/ 73 w 353"/>
                <a:gd name="T33" fmla="*/ 299 h 354"/>
                <a:gd name="T34" fmla="*/ 100 w 353"/>
                <a:gd name="T35" fmla="*/ 284 h 354"/>
                <a:gd name="T36" fmla="*/ 118 w 353"/>
                <a:gd name="T37" fmla="*/ 317 h 354"/>
                <a:gd name="T38" fmla="*/ 129 w 353"/>
                <a:gd name="T39" fmla="*/ 330 h 354"/>
                <a:gd name="T40" fmla="*/ 168 w 353"/>
                <a:gd name="T41" fmla="*/ 337 h 354"/>
                <a:gd name="T42" fmla="*/ 168 w 353"/>
                <a:gd name="T43" fmla="*/ 266 h 354"/>
                <a:gd name="T44" fmla="*/ 168 w 353"/>
                <a:gd name="T45" fmla="*/ 250 h 354"/>
                <a:gd name="T46" fmla="*/ 96 w 353"/>
                <a:gd name="T47" fmla="*/ 185 h 354"/>
                <a:gd name="T48" fmla="*/ 168 w 353"/>
                <a:gd name="T49" fmla="*/ 250 h 354"/>
                <a:gd name="T50" fmla="*/ 96 w 353"/>
                <a:gd name="T51" fmla="*/ 169 h 354"/>
                <a:gd name="T52" fmla="*/ 168 w 353"/>
                <a:gd name="T53" fmla="*/ 104 h 354"/>
                <a:gd name="T54" fmla="*/ 168 w 353"/>
                <a:gd name="T55" fmla="*/ 88 h 354"/>
                <a:gd name="T56" fmla="*/ 168 w 353"/>
                <a:gd name="T57" fmla="*/ 17 h 354"/>
                <a:gd name="T58" fmla="*/ 337 w 353"/>
                <a:gd name="T59" fmla="*/ 169 h 354"/>
                <a:gd name="T60" fmla="*/ 272 w 353"/>
                <a:gd name="T61" fmla="*/ 155 h 354"/>
                <a:gd name="T62" fmla="*/ 270 w 353"/>
                <a:gd name="T63" fmla="*/ 133 h 354"/>
                <a:gd name="T64" fmla="*/ 260 w 353"/>
                <a:gd name="T65" fmla="*/ 89 h 354"/>
                <a:gd name="T66" fmla="*/ 292 w 353"/>
                <a:gd name="T67" fmla="*/ 65 h 354"/>
                <a:gd name="T68" fmla="*/ 280 w 353"/>
                <a:gd name="T69" fmla="*/ 55 h 354"/>
                <a:gd name="T70" fmla="*/ 253 w 353"/>
                <a:gd name="T71" fmla="*/ 69 h 354"/>
                <a:gd name="T72" fmla="*/ 235 w 353"/>
                <a:gd name="T73" fmla="*/ 37 h 354"/>
                <a:gd name="T74" fmla="*/ 224 w 353"/>
                <a:gd name="T75" fmla="*/ 24 h 354"/>
                <a:gd name="T76" fmla="*/ 185 w 353"/>
                <a:gd name="T77" fmla="*/ 17 h 354"/>
                <a:gd name="T78" fmla="*/ 185 w 353"/>
                <a:gd name="T79" fmla="*/ 88 h 354"/>
                <a:gd name="T80" fmla="*/ 185 w 353"/>
                <a:gd name="T81" fmla="*/ 104 h 354"/>
                <a:gd name="T82" fmla="*/ 257 w 353"/>
                <a:gd name="T83" fmla="*/ 169 h 354"/>
                <a:gd name="T84" fmla="*/ 185 w 353"/>
                <a:gd name="T85" fmla="*/ 104 h 354"/>
                <a:gd name="T86" fmla="*/ 257 w 353"/>
                <a:gd name="T87" fmla="*/ 185 h 354"/>
                <a:gd name="T88" fmla="*/ 185 w 353"/>
                <a:gd name="T89" fmla="*/ 250 h 354"/>
                <a:gd name="T90" fmla="*/ 185 w 353"/>
                <a:gd name="T91" fmla="*/ 337 h 354"/>
                <a:gd name="T92" fmla="*/ 240 w 353"/>
                <a:gd name="T93" fmla="*/ 276 h 354"/>
                <a:gd name="T94" fmla="*/ 224 w 353"/>
                <a:gd name="T95" fmla="*/ 330 h 354"/>
                <a:gd name="T96" fmla="*/ 235 w 353"/>
                <a:gd name="T97" fmla="*/ 317 h 354"/>
                <a:gd name="T98" fmla="*/ 253 w 353"/>
                <a:gd name="T99" fmla="*/ 284 h 354"/>
                <a:gd name="T100" fmla="*/ 280 w 353"/>
                <a:gd name="T101" fmla="*/ 299 h 354"/>
                <a:gd name="T102" fmla="*/ 292 w 353"/>
                <a:gd name="T103" fmla="*/ 288 h 354"/>
                <a:gd name="T104" fmla="*/ 260 w 353"/>
                <a:gd name="T105" fmla="*/ 265 h 354"/>
                <a:gd name="T106" fmla="*/ 270 w 353"/>
                <a:gd name="T107" fmla="*/ 221 h 354"/>
                <a:gd name="T108" fmla="*/ 272 w 353"/>
                <a:gd name="T109" fmla="*/ 199 h 354"/>
                <a:gd name="T110" fmla="*/ 337 w 353"/>
                <a:gd name="T111" fmla="*/ 185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3" h="354">
                  <a:moveTo>
                    <a:pt x="177" y="0"/>
                  </a:move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4"/>
                    <a:pt x="177" y="354"/>
                  </a:cubicBezTo>
                  <a:cubicBezTo>
                    <a:pt x="274" y="354"/>
                    <a:pt x="353" y="274"/>
                    <a:pt x="353" y="177"/>
                  </a:cubicBezTo>
                  <a:cubicBezTo>
                    <a:pt x="353" y="79"/>
                    <a:pt x="274" y="0"/>
                    <a:pt x="177" y="0"/>
                  </a:cubicBezTo>
                  <a:moveTo>
                    <a:pt x="129" y="24"/>
                  </a:moveTo>
                  <a:cubicBezTo>
                    <a:pt x="125" y="27"/>
                    <a:pt x="122" y="31"/>
                    <a:pt x="119" y="36"/>
                  </a:cubicBezTo>
                  <a:cubicBezTo>
                    <a:pt x="119" y="36"/>
                    <a:pt x="118" y="36"/>
                    <a:pt x="118" y="37"/>
                  </a:cubicBezTo>
                  <a:cubicBezTo>
                    <a:pt x="112" y="46"/>
                    <a:pt x="106" y="56"/>
                    <a:pt x="101" y="68"/>
                  </a:cubicBezTo>
                  <a:cubicBezTo>
                    <a:pt x="101" y="68"/>
                    <a:pt x="100" y="69"/>
                    <a:pt x="100" y="69"/>
                  </a:cubicBezTo>
                  <a:cubicBezTo>
                    <a:pt x="100" y="70"/>
                    <a:pt x="100" y="71"/>
                    <a:pt x="99" y="72"/>
                  </a:cubicBezTo>
                  <a:cubicBezTo>
                    <a:pt x="89" y="67"/>
                    <a:pt x="81" y="61"/>
                    <a:pt x="73" y="55"/>
                  </a:cubicBezTo>
                  <a:cubicBezTo>
                    <a:pt x="89" y="41"/>
                    <a:pt x="108" y="30"/>
                    <a:pt x="129" y="24"/>
                  </a:cubicBezTo>
                  <a:moveTo>
                    <a:pt x="61" y="65"/>
                  </a:moveTo>
                  <a:cubicBezTo>
                    <a:pt x="71" y="74"/>
                    <a:pt x="82" y="81"/>
                    <a:pt x="94" y="87"/>
                  </a:cubicBezTo>
                  <a:cubicBezTo>
                    <a:pt x="94" y="87"/>
                    <a:pt x="93" y="88"/>
                    <a:pt x="93" y="89"/>
                  </a:cubicBezTo>
                  <a:cubicBezTo>
                    <a:pt x="89" y="101"/>
                    <a:pt x="86" y="114"/>
                    <a:pt x="84" y="128"/>
                  </a:cubicBezTo>
                  <a:cubicBezTo>
                    <a:pt x="84" y="129"/>
                    <a:pt x="84" y="131"/>
                    <a:pt x="83" y="133"/>
                  </a:cubicBezTo>
                  <a:cubicBezTo>
                    <a:pt x="83" y="138"/>
                    <a:pt x="82" y="144"/>
                    <a:pt x="81" y="149"/>
                  </a:cubicBezTo>
                  <a:cubicBezTo>
                    <a:pt x="81" y="151"/>
                    <a:pt x="81" y="153"/>
                    <a:pt x="81" y="155"/>
                  </a:cubicBezTo>
                  <a:cubicBezTo>
                    <a:pt x="81" y="160"/>
                    <a:pt x="81" y="164"/>
                    <a:pt x="80" y="169"/>
                  </a:cubicBezTo>
                  <a:cubicBezTo>
                    <a:pt x="16" y="169"/>
                    <a:pt x="16" y="169"/>
                    <a:pt x="16" y="169"/>
                  </a:cubicBezTo>
                  <a:cubicBezTo>
                    <a:pt x="18" y="129"/>
                    <a:pt x="35" y="93"/>
                    <a:pt x="61" y="65"/>
                  </a:cubicBezTo>
                  <a:moveTo>
                    <a:pt x="16" y="185"/>
                  </a:moveTo>
                  <a:cubicBezTo>
                    <a:pt x="80" y="185"/>
                    <a:pt x="80" y="185"/>
                    <a:pt x="80" y="185"/>
                  </a:cubicBezTo>
                  <a:cubicBezTo>
                    <a:pt x="81" y="190"/>
                    <a:pt x="81" y="194"/>
                    <a:pt x="81" y="199"/>
                  </a:cubicBezTo>
                  <a:cubicBezTo>
                    <a:pt x="81" y="201"/>
                    <a:pt x="81" y="203"/>
                    <a:pt x="81" y="205"/>
                  </a:cubicBezTo>
                  <a:cubicBezTo>
                    <a:pt x="82" y="210"/>
                    <a:pt x="83" y="216"/>
                    <a:pt x="83" y="221"/>
                  </a:cubicBezTo>
                  <a:cubicBezTo>
                    <a:pt x="84" y="223"/>
                    <a:pt x="84" y="224"/>
                    <a:pt x="84" y="226"/>
                  </a:cubicBezTo>
                  <a:cubicBezTo>
                    <a:pt x="86" y="240"/>
                    <a:pt x="89" y="253"/>
                    <a:pt x="93" y="265"/>
                  </a:cubicBezTo>
                  <a:cubicBezTo>
                    <a:pt x="93" y="266"/>
                    <a:pt x="94" y="267"/>
                    <a:pt x="94" y="267"/>
                  </a:cubicBezTo>
                  <a:cubicBezTo>
                    <a:pt x="82" y="273"/>
                    <a:pt x="71" y="280"/>
                    <a:pt x="61" y="288"/>
                  </a:cubicBezTo>
                  <a:cubicBezTo>
                    <a:pt x="35" y="261"/>
                    <a:pt x="18" y="225"/>
                    <a:pt x="16" y="185"/>
                  </a:cubicBezTo>
                  <a:moveTo>
                    <a:pt x="73" y="299"/>
                  </a:moveTo>
                  <a:cubicBezTo>
                    <a:pt x="81" y="293"/>
                    <a:pt x="89" y="287"/>
                    <a:pt x="99" y="282"/>
                  </a:cubicBezTo>
                  <a:cubicBezTo>
                    <a:pt x="100" y="283"/>
                    <a:pt x="100" y="284"/>
                    <a:pt x="100" y="284"/>
                  </a:cubicBezTo>
                  <a:cubicBezTo>
                    <a:pt x="100" y="285"/>
                    <a:pt x="101" y="286"/>
                    <a:pt x="101" y="286"/>
                  </a:cubicBezTo>
                  <a:cubicBezTo>
                    <a:pt x="106" y="298"/>
                    <a:pt x="112" y="308"/>
                    <a:pt x="118" y="317"/>
                  </a:cubicBezTo>
                  <a:cubicBezTo>
                    <a:pt x="118" y="317"/>
                    <a:pt x="119" y="318"/>
                    <a:pt x="119" y="318"/>
                  </a:cubicBezTo>
                  <a:cubicBezTo>
                    <a:pt x="122" y="323"/>
                    <a:pt x="125" y="327"/>
                    <a:pt x="129" y="330"/>
                  </a:cubicBezTo>
                  <a:cubicBezTo>
                    <a:pt x="108" y="324"/>
                    <a:pt x="89" y="313"/>
                    <a:pt x="73" y="299"/>
                  </a:cubicBezTo>
                  <a:moveTo>
                    <a:pt x="168" y="337"/>
                  </a:moveTo>
                  <a:cubicBezTo>
                    <a:pt x="146" y="332"/>
                    <a:pt x="127" y="310"/>
                    <a:pt x="113" y="276"/>
                  </a:cubicBezTo>
                  <a:cubicBezTo>
                    <a:pt x="130" y="270"/>
                    <a:pt x="149" y="266"/>
                    <a:pt x="168" y="266"/>
                  </a:cubicBezTo>
                  <a:lnTo>
                    <a:pt x="168" y="337"/>
                  </a:lnTo>
                  <a:close/>
                  <a:moveTo>
                    <a:pt x="168" y="250"/>
                  </a:moveTo>
                  <a:cubicBezTo>
                    <a:pt x="147" y="250"/>
                    <a:pt x="127" y="254"/>
                    <a:pt x="108" y="261"/>
                  </a:cubicBezTo>
                  <a:cubicBezTo>
                    <a:pt x="101" y="239"/>
                    <a:pt x="97" y="213"/>
                    <a:pt x="96" y="185"/>
                  </a:cubicBezTo>
                  <a:cubicBezTo>
                    <a:pt x="168" y="185"/>
                    <a:pt x="168" y="185"/>
                    <a:pt x="168" y="185"/>
                  </a:cubicBezTo>
                  <a:lnTo>
                    <a:pt x="168" y="250"/>
                  </a:lnTo>
                  <a:close/>
                  <a:moveTo>
                    <a:pt x="168" y="169"/>
                  </a:moveTo>
                  <a:cubicBezTo>
                    <a:pt x="96" y="169"/>
                    <a:pt x="96" y="169"/>
                    <a:pt x="96" y="169"/>
                  </a:cubicBezTo>
                  <a:cubicBezTo>
                    <a:pt x="97" y="141"/>
                    <a:pt x="101" y="115"/>
                    <a:pt x="108" y="93"/>
                  </a:cubicBezTo>
                  <a:cubicBezTo>
                    <a:pt x="127" y="100"/>
                    <a:pt x="147" y="103"/>
                    <a:pt x="168" y="104"/>
                  </a:cubicBezTo>
                  <a:lnTo>
                    <a:pt x="168" y="169"/>
                  </a:lnTo>
                  <a:close/>
                  <a:moveTo>
                    <a:pt x="168" y="88"/>
                  </a:moveTo>
                  <a:cubicBezTo>
                    <a:pt x="149" y="87"/>
                    <a:pt x="130" y="84"/>
                    <a:pt x="113" y="78"/>
                  </a:cubicBezTo>
                  <a:cubicBezTo>
                    <a:pt x="127" y="44"/>
                    <a:pt x="146" y="22"/>
                    <a:pt x="168" y="17"/>
                  </a:cubicBezTo>
                  <a:lnTo>
                    <a:pt x="168" y="88"/>
                  </a:lnTo>
                  <a:close/>
                  <a:moveTo>
                    <a:pt x="337" y="169"/>
                  </a:moveTo>
                  <a:cubicBezTo>
                    <a:pt x="273" y="169"/>
                    <a:pt x="273" y="169"/>
                    <a:pt x="273" y="169"/>
                  </a:cubicBezTo>
                  <a:cubicBezTo>
                    <a:pt x="272" y="164"/>
                    <a:pt x="272" y="160"/>
                    <a:pt x="272" y="155"/>
                  </a:cubicBezTo>
                  <a:cubicBezTo>
                    <a:pt x="272" y="153"/>
                    <a:pt x="272" y="151"/>
                    <a:pt x="272" y="149"/>
                  </a:cubicBezTo>
                  <a:cubicBezTo>
                    <a:pt x="271" y="144"/>
                    <a:pt x="270" y="138"/>
                    <a:pt x="270" y="133"/>
                  </a:cubicBezTo>
                  <a:cubicBezTo>
                    <a:pt x="269" y="131"/>
                    <a:pt x="269" y="129"/>
                    <a:pt x="269" y="128"/>
                  </a:cubicBezTo>
                  <a:cubicBezTo>
                    <a:pt x="267" y="114"/>
                    <a:pt x="264" y="101"/>
                    <a:pt x="260" y="89"/>
                  </a:cubicBezTo>
                  <a:cubicBezTo>
                    <a:pt x="260" y="88"/>
                    <a:pt x="259" y="87"/>
                    <a:pt x="259" y="87"/>
                  </a:cubicBezTo>
                  <a:cubicBezTo>
                    <a:pt x="271" y="81"/>
                    <a:pt x="282" y="74"/>
                    <a:pt x="292" y="65"/>
                  </a:cubicBezTo>
                  <a:cubicBezTo>
                    <a:pt x="318" y="93"/>
                    <a:pt x="335" y="129"/>
                    <a:pt x="337" y="169"/>
                  </a:cubicBezTo>
                  <a:moveTo>
                    <a:pt x="280" y="55"/>
                  </a:moveTo>
                  <a:cubicBezTo>
                    <a:pt x="272" y="61"/>
                    <a:pt x="264" y="67"/>
                    <a:pt x="254" y="72"/>
                  </a:cubicBezTo>
                  <a:cubicBezTo>
                    <a:pt x="253" y="71"/>
                    <a:pt x="253" y="70"/>
                    <a:pt x="253" y="69"/>
                  </a:cubicBezTo>
                  <a:cubicBezTo>
                    <a:pt x="253" y="69"/>
                    <a:pt x="252" y="68"/>
                    <a:pt x="252" y="68"/>
                  </a:cubicBezTo>
                  <a:cubicBezTo>
                    <a:pt x="247" y="56"/>
                    <a:pt x="241" y="46"/>
                    <a:pt x="235" y="37"/>
                  </a:cubicBezTo>
                  <a:cubicBezTo>
                    <a:pt x="235" y="36"/>
                    <a:pt x="234" y="36"/>
                    <a:pt x="234" y="36"/>
                  </a:cubicBezTo>
                  <a:cubicBezTo>
                    <a:pt x="231" y="31"/>
                    <a:pt x="228" y="27"/>
                    <a:pt x="224" y="24"/>
                  </a:cubicBezTo>
                  <a:cubicBezTo>
                    <a:pt x="245" y="30"/>
                    <a:pt x="264" y="41"/>
                    <a:pt x="280" y="55"/>
                  </a:cubicBezTo>
                  <a:moveTo>
                    <a:pt x="185" y="17"/>
                  </a:moveTo>
                  <a:cubicBezTo>
                    <a:pt x="207" y="22"/>
                    <a:pt x="226" y="44"/>
                    <a:pt x="240" y="78"/>
                  </a:cubicBezTo>
                  <a:cubicBezTo>
                    <a:pt x="223" y="84"/>
                    <a:pt x="204" y="87"/>
                    <a:pt x="185" y="88"/>
                  </a:cubicBezTo>
                  <a:lnTo>
                    <a:pt x="185" y="17"/>
                  </a:lnTo>
                  <a:close/>
                  <a:moveTo>
                    <a:pt x="185" y="104"/>
                  </a:moveTo>
                  <a:cubicBezTo>
                    <a:pt x="206" y="103"/>
                    <a:pt x="226" y="100"/>
                    <a:pt x="245" y="93"/>
                  </a:cubicBezTo>
                  <a:cubicBezTo>
                    <a:pt x="252" y="115"/>
                    <a:pt x="256" y="141"/>
                    <a:pt x="257" y="169"/>
                  </a:cubicBezTo>
                  <a:cubicBezTo>
                    <a:pt x="185" y="169"/>
                    <a:pt x="185" y="169"/>
                    <a:pt x="185" y="169"/>
                  </a:cubicBezTo>
                  <a:lnTo>
                    <a:pt x="185" y="104"/>
                  </a:lnTo>
                  <a:close/>
                  <a:moveTo>
                    <a:pt x="185" y="185"/>
                  </a:moveTo>
                  <a:cubicBezTo>
                    <a:pt x="257" y="185"/>
                    <a:pt x="257" y="185"/>
                    <a:pt x="257" y="185"/>
                  </a:cubicBezTo>
                  <a:cubicBezTo>
                    <a:pt x="256" y="213"/>
                    <a:pt x="252" y="239"/>
                    <a:pt x="245" y="261"/>
                  </a:cubicBezTo>
                  <a:cubicBezTo>
                    <a:pt x="226" y="254"/>
                    <a:pt x="206" y="250"/>
                    <a:pt x="185" y="250"/>
                  </a:cubicBezTo>
                  <a:lnTo>
                    <a:pt x="185" y="185"/>
                  </a:lnTo>
                  <a:close/>
                  <a:moveTo>
                    <a:pt x="185" y="337"/>
                  </a:moveTo>
                  <a:cubicBezTo>
                    <a:pt x="185" y="266"/>
                    <a:pt x="185" y="266"/>
                    <a:pt x="185" y="266"/>
                  </a:cubicBezTo>
                  <a:cubicBezTo>
                    <a:pt x="204" y="266"/>
                    <a:pt x="223" y="270"/>
                    <a:pt x="240" y="276"/>
                  </a:cubicBezTo>
                  <a:cubicBezTo>
                    <a:pt x="226" y="310"/>
                    <a:pt x="207" y="332"/>
                    <a:pt x="185" y="337"/>
                  </a:cubicBezTo>
                  <a:moveTo>
                    <a:pt x="224" y="330"/>
                  </a:moveTo>
                  <a:cubicBezTo>
                    <a:pt x="228" y="327"/>
                    <a:pt x="231" y="323"/>
                    <a:pt x="234" y="318"/>
                  </a:cubicBezTo>
                  <a:cubicBezTo>
                    <a:pt x="234" y="318"/>
                    <a:pt x="235" y="317"/>
                    <a:pt x="235" y="317"/>
                  </a:cubicBezTo>
                  <a:cubicBezTo>
                    <a:pt x="241" y="308"/>
                    <a:pt x="247" y="298"/>
                    <a:pt x="252" y="286"/>
                  </a:cubicBezTo>
                  <a:cubicBezTo>
                    <a:pt x="252" y="286"/>
                    <a:pt x="253" y="285"/>
                    <a:pt x="253" y="284"/>
                  </a:cubicBezTo>
                  <a:cubicBezTo>
                    <a:pt x="253" y="284"/>
                    <a:pt x="253" y="283"/>
                    <a:pt x="254" y="282"/>
                  </a:cubicBezTo>
                  <a:cubicBezTo>
                    <a:pt x="264" y="287"/>
                    <a:pt x="272" y="293"/>
                    <a:pt x="280" y="299"/>
                  </a:cubicBezTo>
                  <a:cubicBezTo>
                    <a:pt x="264" y="313"/>
                    <a:pt x="245" y="324"/>
                    <a:pt x="224" y="330"/>
                  </a:cubicBezTo>
                  <a:moveTo>
                    <a:pt x="292" y="288"/>
                  </a:moveTo>
                  <a:cubicBezTo>
                    <a:pt x="282" y="280"/>
                    <a:pt x="271" y="273"/>
                    <a:pt x="259" y="267"/>
                  </a:cubicBezTo>
                  <a:cubicBezTo>
                    <a:pt x="259" y="267"/>
                    <a:pt x="260" y="266"/>
                    <a:pt x="260" y="265"/>
                  </a:cubicBezTo>
                  <a:cubicBezTo>
                    <a:pt x="264" y="253"/>
                    <a:pt x="267" y="240"/>
                    <a:pt x="269" y="226"/>
                  </a:cubicBezTo>
                  <a:cubicBezTo>
                    <a:pt x="269" y="224"/>
                    <a:pt x="269" y="223"/>
                    <a:pt x="270" y="221"/>
                  </a:cubicBezTo>
                  <a:cubicBezTo>
                    <a:pt x="270" y="216"/>
                    <a:pt x="271" y="210"/>
                    <a:pt x="272" y="205"/>
                  </a:cubicBezTo>
                  <a:cubicBezTo>
                    <a:pt x="272" y="203"/>
                    <a:pt x="272" y="201"/>
                    <a:pt x="272" y="199"/>
                  </a:cubicBezTo>
                  <a:cubicBezTo>
                    <a:pt x="272" y="194"/>
                    <a:pt x="272" y="190"/>
                    <a:pt x="273" y="185"/>
                  </a:cubicBezTo>
                  <a:cubicBezTo>
                    <a:pt x="337" y="185"/>
                    <a:pt x="337" y="185"/>
                    <a:pt x="337" y="185"/>
                  </a:cubicBezTo>
                  <a:cubicBezTo>
                    <a:pt x="335" y="225"/>
                    <a:pt x="318" y="261"/>
                    <a:pt x="292" y="28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242525" y="1543049"/>
            <a:ext cx="700958" cy="699721"/>
            <a:chOff x="5242525" y="1543049"/>
            <a:chExt cx="700958" cy="699721"/>
          </a:xfrm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242525" y="1543049"/>
              <a:ext cx="700958" cy="699721"/>
            </a:xfrm>
            <a:custGeom>
              <a:avLst/>
              <a:gdLst>
                <a:gd name="T0" fmla="*/ 2489 w 2489"/>
                <a:gd name="T1" fmla="*/ 1225 h 2486"/>
                <a:gd name="T2" fmla="*/ 2172 w 2489"/>
                <a:gd name="T3" fmla="*/ 390 h 2486"/>
                <a:gd name="T4" fmla="*/ 1260 w 2489"/>
                <a:gd name="T5" fmla="*/ 0 h 2486"/>
                <a:gd name="T6" fmla="*/ 0 w 2489"/>
                <a:gd name="T7" fmla="*/ 1260 h 2486"/>
                <a:gd name="T8" fmla="*/ 316 w 2489"/>
                <a:gd name="T9" fmla="*/ 2096 h 2486"/>
                <a:gd name="T10" fmla="*/ 1228 w 2489"/>
                <a:gd name="T11" fmla="*/ 2486 h 2486"/>
                <a:gd name="T12" fmla="*/ 2489 w 2489"/>
                <a:gd name="T13" fmla="*/ 1225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5"/>
                  </a:moveTo>
                  <a:cubicBezTo>
                    <a:pt x="2489" y="905"/>
                    <a:pt x="2369" y="612"/>
                    <a:pt x="2172" y="390"/>
                  </a:cubicBezTo>
                  <a:cubicBezTo>
                    <a:pt x="1942" y="149"/>
                    <a:pt x="1619" y="0"/>
                    <a:pt x="1260" y="0"/>
                  </a:cubicBezTo>
                  <a:cubicBezTo>
                    <a:pt x="564" y="0"/>
                    <a:pt x="0" y="564"/>
                    <a:pt x="0" y="1260"/>
                  </a:cubicBezTo>
                  <a:cubicBezTo>
                    <a:pt x="0" y="1581"/>
                    <a:pt x="119" y="1873"/>
                    <a:pt x="316" y="2096"/>
                  </a:cubicBezTo>
                  <a:cubicBezTo>
                    <a:pt x="546" y="2336"/>
                    <a:pt x="869" y="2486"/>
                    <a:pt x="1228" y="2486"/>
                  </a:cubicBezTo>
                  <a:cubicBezTo>
                    <a:pt x="1924" y="2486"/>
                    <a:pt x="2489" y="1921"/>
                    <a:pt x="2489" y="12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Oval 128"/>
            <p:cNvSpPr>
              <a:spLocks noChangeArrowheads="1"/>
            </p:cNvSpPr>
            <p:nvPr/>
          </p:nvSpPr>
          <p:spPr bwMode="auto">
            <a:xfrm>
              <a:off x="5289339" y="1589244"/>
              <a:ext cx="599288" cy="59928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2" name="Freeform 29"/>
            <p:cNvSpPr>
              <a:spLocks noEditPoints="1"/>
            </p:cNvSpPr>
            <p:nvPr/>
          </p:nvSpPr>
          <p:spPr bwMode="auto">
            <a:xfrm>
              <a:off x="5467840" y="1767301"/>
              <a:ext cx="242287" cy="243173"/>
            </a:xfrm>
            <a:custGeom>
              <a:avLst/>
              <a:gdLst>
                <a:gd name="T0" fmla="*/ 32 w 353"/>
                <a:gd name="T1" fmla="*/ 65 h 354"/>
                <a:gd name="T2" fmla="*/ 0 w 353"/>
                <a:gd name="T3" fmla="*/ 321 h 354"/>
                <a:gd name="T4" fmla="*/ 257 w 353"/>
                <a:gd name="T5" fmla="*/ 354 h 354"/>
                <a:gd name="T6" fmla="*/ 289 w 353"/>
                <a:gd name="T7" fmla="*/ 97 h 354"/>
                <a:gd name="T8" fmla="*/ 273 w 353"/>
                <a:gd name="T9" fmla="*/ 321 h 354"/>
                <a:gd name="T10" fmla="*/ 32 w 353"/>
                <a:gd name="T11" fmla="*/ 338 h 354"/>
                <a:gd name="T12" fmla="*/ 16 w 353"/>
                <a:gd name="T13" fmla="*/ 145 h 354"/>
                <a:gd name="T14" fmla="*/ 273 w 353"/>
                <a:gd name="T15" fmla="*/ 321 h 354"/>
                <a:gd name="T16" fmla="*/ 16 w 353"/>
                <a:gd name="T17" fmla="*/ 129 h 354"/>
                <a:gd name="T18" fmla="*/ 32 w 353"/>
                <a:gd name="T19" fmla="*/ 81 h 354"/>
                <a:gd name="T20" fmla="*/ 273 w 353"/>
                <a:gd name="T21" fmla="*/ 97 h 354"/>
                <a:gd name="T22" fmla="*/ 72 w 353"/>
                <a:gd name="T23" fmla="*/ 97 h 354"/>
                <a:gd name="T24" fmla="*/ 72 w 353"/>
                <a:gd name="T25" fmla="*/ 113 h 354"/>
                <a:gd name="T26" fmla="*/ 72 w 353"/>
                <a:gd name="T27" fmla="*/ 97 h 354"/>
                <a:gd name="T28" fmla="*/ 32 w 353"/>
                <a:gd name="T29" fmla="*/ 105 h 354"/>
                <a:gd name="T30" fmla="*/ 48 w 353"/>
                <a:gd name="T31" fmla="*/ 105 h 354"/>
                <a:gd name="T32" fmla="*/ 321 w 353"/>
                <a:gd name="T33" fmla="*/ 0 h 354"/>
                <a:gd name="T34" fmla="*/ 64 w 353"/>
                <a:gd name="T35" fmla="*/ 32 h 354"/>
                <a:gd name="T36" fmla="*/ 72 w 353"/>
                <a:gd name="T37" fmla="*/ 49 h 354"/>
                <a:gd name="T38" fmla="*/ 81 w 353"/>
                <a:gd name="T39" fmla="*/ 32 h 354"/>
                <a:gd name="T40" fmla="*/ 321 w 353"/>
                <a:gd name="T41" fmla="*/ 16 h 354"/>
                <a:gd name="T42" fmla="*/ 337 w 353"/>
                <a:gd name="T43" fmla="*/ 257 h 354"/>
                <a:gd name="T44" fmla="*/ 313 w 353"/>
                <a:gd name="T45" fmla="*/ 273 h 354"/>
                <a:gd name="T46" fmla="*/ 313 w 353"/>
                <a:gd name="T47" fmla="*/ 289 h 354"/>
                <a:gd name="T48" fmla="*/ 353 w 353"/>
                <a:gd name="T49" fmla="*/ 257 h 354"/>
                <a:gd name="T50" fmla="*/ 321 w 353"/>
                <a:gd name="T51" fmla="*/ 0 h 354"/>
                <a:gd name="T52" fmla="*/ 97 w 353"/>
                <a:gd name="T53" fmla="*/ 105 h 354"/>
                <a:gd name="T54" fmla="*/ 113 w 353"/>
                <a:gd name="T55" fmla="*/ 105 h 354"/>
                <a:gd name="T56" fmla="*/ 249 w 353"/>
                <a:gd name="T57" fmla="*/ 97 h 354"/>
                <a:gd name="T58" fmla="*/ 129 w 353"/>
                <a:gd name="T59" fmla="*/ 105 h 354"/>
                <a:gd name="T60" fmla="*/ 249 w 353"/>
                <a:gd name="T61" fmla="*/ 113 h 354"/>
                <a:gd name="T62" fmla="*/ 249 w 353"/>
                <a:gd name="T63" fmla="*/ 9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3" h="354">
                  <a:moveTo>
                    <a:pt x="257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15" y="65"/>
                    <a:pt x="0" y="79"/>
                    <a:pt x="0" y="97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4"/>
                    <a:pt x="32" y="354"/>
                  </a:cubicBezTo>
                  <a:cubicBezTo>
                    <a:pt x="257" y="354"/>
                    <a:pt x="257" y="354"/>
                    <a:pt x="257" y="354"/>
                  </a:cubicBezTo>
                  <a:cubicBezTo>
                    <a:pt x="275" y="354"/>
                    <a:pt x="289" y="339"/>
                    <a:pt x="289" y="321"/>
                  </a:cubicBezTo>
                  <a:cubicBezTo>
                    <a:pt x="289" y="97"/>
                    <a:pt x="289" y="97"/>
                    <a:pt x="289" y="97"/>
                  </a:cubicBezTo>
                  <a:cubicBezTo>
                    <a:pt x="289" y="79"/>
                    <a:pt x="275" y="65"/>
                    <a:pt x="257" y="65"/>
                  </a:cubicBezTo>
                  <a:moveTo>
                    <a:pt x="273" y="321"/>
                  </a:moveTo>
                  <a:cubicBezTo>
                    <a:pt x="273" y="330"/>
                    <a:pt x="266" y="338"/>
                    <a:pt x="257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23" y="338"/>
                    <a:pt x="16" y="330"/>
                    <a:pt x="16" y="321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273" y="145"/>
                    <a:pt x="273" y="145"/>
                    <a:pt x="273" y="145"/>
                  </a:cubicBezTo>
                  <a:lnTo>
                    <a:pt x="273" y="321"/>
                  </a:lnTo>
                  <a:close/>
                  <a:moveTo>
                    <a:pt x="273" y="129"/>
                  </a:moveTo>
                  <a:cubicBezTo>
                    <a:pt x="16" y="129"/>
                    <a:pt x="16" y="129"/>
                    <a:pt x="16" y="129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88"/>
                    <a:pt x="23" y="81"/>
                    <a:pt x="32" y="81"/>
                  </a:cubicBezTo>
                  <a:cubicBezTo>
                    <a:pt x="257" y="81"/>
                    <a:pt x="257" y="81"/>
                    <a:pt x="257" y="81"/>
                  </a:cubicBezTo>
                  <a:cubicBezTo>
                    <a:pt x="266" y="81"/>
                    <a:pt x="273" y="88"/>
                    <a:pt x="273" y="97"/>
                  </a:cubicBezTo>
                  <a:lnTo>
                    <a:pt x="273" y="129"/>
                  </a:lnTo>
                  <a:close/>
                  <a:moveTo>
                    <a:pt x="72" y="97"/>
                  </a:moveTo>
                  <a:cubicBezTo>
                    <a:pt x="68" y="97"/>
                    <a:pt x="64" y="100"/>
                    <a:pt x="64" y="105"/>
                  </a:cubicBezTo>
                  <a:cubicBezTo>
                    <a:pt x="64" y="109"/>
                    <a:pt x="68" y="113"/>
                    <a:pt x="72" y="113"/>
                  </a:cubicBezTo>
                  <a:cubicBezTo>
                    <a:pt x="77" y="113"/>
                    <a:pt x="81" y="109"/>
                    <a:pt x="81" y="105"/>
                  </a:cubicBezTo>
                  <a:cubicBezTo>
                    <a:pt x="81" y="100"/>
                    <a:pt x="77" y="97"/>
                    <a:pt x="72" y="97"/>
                  </a:cubicBezTo>
                  <a:moveTo>
                    <a:pt x="40" y="97"/>
                  </a:moveTo>
                  <a:cubicBezTo>
                    <a:pt x="36" y="97"/>
                    <a:pt x="32" y="100"/>
                    <a:pt x="32" y="105"/>
                  </a:cubicBezTo>
                  <a:cubicBezTo>
                    <a:pt x="32" y="109"/>
                    <a:pt x="36" y="113"/>
                    <a:pt x="40" y="113"/>
                  </a:cubicBezTo>
                  <a:cubicBezTo>
                    <a:pt x="45" y="113"/>
                    <a:pt x="48" y="109"/>
                    <a:pt x="48" y="105"/>
                  </a:cubicBezTo>
                  <a:cubicBezTo>
                    <a:pt x="48" y="100"/>
                    <a:pt x="45" y="97"/>
                    <a:pt x="40" y="97"/>
                  </a:cubicBezTo>
                  <a:moveTo>
                    <a:pt x="321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79" y="0"/>
                    <a:pt x="64" y="15"/>
                    <a:pt x="64" y="32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45"/>
                    <a:pt x="68" y="49"/>
                    <a:pt x="72" y="49"/>
                  </a:cubicBezTo>
                  <a:cubicBezTo>
                    <a:pt x="77" y="49"/>
                    <a:pt x="81" y="45"/>
                    <a:pt x="81" y="41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24"/>
                    <a:pt x="88" y="16"/>
                    <a:pt x="97" y="16"/>
                  </a:cubicBezTo>
                  <a:cubicBezTo>
                    <a:pt x="321" y="16"/>
                    <a:pt x="321" y="16"/>
                    <a:pt x="321" y="16"/>
                  </a:cubicBezTo>
                  <a:cubicBezTo>
                    <a:pt x="330" y="16"/>
                    <a:pt x="337" y="24"/>
                    <a:pt x="337" y="32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37" y="266"/>
                    <a:pt x="330" y="273"/>
                    <a:pt x="321" y="273"/>
                  </a:cubicBezTo>
                  <a:cubicBezTo>
                    <a:pt x="313" y="273"/>
                    <a:pt x="313" y="273"/>
                    <a:pt x="313" y="273"/>
                  </a:cubicBezTo>
                  <a:cubicBezTo>
                    <a:pt x="309" y="273"/>
                    <a:pt x="305" y="277"/>
                    <a:pt x="305" y="281"/>
                  </a:cubicBezTo>
                  <a:cubicBezTo>
                    <a:pt x="305" y="286"/>
                    <a:pt x="309" y="289"/>
                    <a:pt x="313" y="289"/>
                  </a:cubicBezTo>
                  <a:cubicBezTo>
                    <a:pt x="321" y="289"/>
                    <a:pt x="321" y="289"/>
                    <a:pt x="321" y="289"/>
                  </a:cubicBezTo>
                  <a:cubicBezTo>
                    <a:pt x="339" y="289"/>
                    <a:pt x="353" y="275"/>
                    <a:pt x="353" y="257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15"/>
                    <a:pt x="339" y="0"/>
                    <a:pt x="321" y="0"/>
                  </a:cubicBezTo>
                  <a:moveTo>
                    <a:pt x="105" y="97"/>
                  </a:moveTo>
                  <a:cubicBezTo>
                    <a:pt x="100" y="97"/>
                    <a:pt x="97" y="100"/>
                    <a:pt x="97" y="105"/>
                  </a:cubicBezTo>
                  <a:cubicBezTo>
                    <a:pt x="97" y="109"/>
                    <a:pt x="100" y="113"/>
                    <a:pt x="105" y="113"/>
                  </a:cubicBezTo>
                  <a:cubicBezTo>
                    <a:pt x="109" y="113"/>
                    <a:pt x="113" y="109"/>
                    <a:pt x="113" y="105"/>
                  </a:cubicBezTo>
                  <a:cubicBezTo>
                    <a:pt x="113" y="100"/>
                    <a:pt x="109" y="97"/>
                    <a:pt x="105" y="97"/>
                  </a:cubicBezTo>
                  <a:moveTo>
                    <a:pt x="249" y="97"/>
                  </a:moveTo>
                  <a:cubicBezTo>
                    <a:pt x="137" y="97"/>
                    <a:pt x="137" y="97"/>
                    <a:pt x="137" y="97"/>
                  </a:cubicBezTo>
                  <a:cubicBezTo>
                    <a:pt x="132" y="97"/>
                    <a:pt x="129" y="100"/>
                    <a:pt x="129" y="105"/>
                  </a:cubicBezTo>
                  <a:cubicBezTo>
                    <a:pt x="129" y="109"/>
                    <a:pt x="132" y="113"/>
                    <a:pt x="137" y="113"/>
                  </a:cubicBezTo>
                  <a:cubicBezTo>
                    <a:pt x="249" y="113"/>
                    <a:pt x="249" y="113"/>
                    <a:pt x="249" y="113"/>
                  </a:cubicBezTo>
                  <a:cubicBezTo>
                    <a:pt x="254" y="113"/>
                    <a:pt x="257" y="109"/>
                    <a:pt x="257" y="105"/>
                  </a:cubicBezTo>
                  <a:cubicBezTo>
                    <a:pt x="257" y="100"/>
                    <a:pt x="254" y="97"/>
                    <a:pt x="249" y="9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196805" y="3585911"/>
            <a:ext cx="700958" cy="700339"/>
            <a:chOff x="3196805" y="3585911"/>
            <a:chExt cx="700958" cy="700339"/>
          </a:xfrm>
        </p:grpSpPr>
        <p:sp>
          <p:nvSpPr>
            <p:cNvPr id="21" name="Freeform 130"/>
            <p:cNvSpPr>
              <a:spLocks/>
            </p:cNvSpPr>
            <p:nvPr/>
          </p:nvSpPr>
          <p:spPr bwMode="auto">
            <a:xfrm>
              <a:off x="3196805" y="3585911"/>
              <a:ext cx="700958" cy="700339"/>
            </a:xfrm>
            <a:custGeom>
              <a:avLst/>
              <a:gdLst>
                <a:gd name="T0" fmla="*/ 2489 w 2489"/>
                <a:gd name="T1" fmla="*/ 1226 h 2486"/>
                <a:gd name="T2" fmla="*/ 2173 w 2489"/>
                <a:gd name="T3" fmla="*/ 390 h 2486"/>
                <a:gd name="T4" fmla="*/ 1261 w 2489"/>
                <a:gd name="T5" fmla="*/ 0 h 2486"/>
                <a:gd name="T6" fmla="*/ 0 w 2489"/>
                <a:gd name="T7" fmla="*/ 1261 h 2486"/>
                <a:gd name="T8" fmla="*/ 317 w 2489"/>
                <a:gd name="T9" fmla="*/ 2096 h 2486"/>
                <a:gd name="T10" fmla="*/ 1229 w 2489"/>
                <a:gd name="T11" fmla="*/ 2486 h 2486"/>
                <a:gd name="T12" fmla="*/ 2489 w 2489"/>
                <a:gd name="T13" fmla="*/ 1226 h 2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89" h="2486">
                  <a:moveTo>
                    <a:pt x="2489" y="1226"/>
                  </a:moveTo>
                  <a:cubicBezTo>
                    <a:pt x="2489" y="905"/>
                    <a:pt x="2370" y="613"/>
                    <a:pt x="2173" y="390"/>
                  </a:cubicBezTo>
                  <a:cubicBezTo>
                    <a:pt x="1943" y="150"/>
                    <a:pt x="1619" y="0"/>
                    <a:pt x="1261" y="0"/>
                  </a:cubicBezTo>
                  <a:cubicBezTo>
                    <a:pt x="565" y="0"/>
                    <a:pt x="0" y="565"/>
                    <a:pt x="0" y="1261"/>
                  </a:cubicBezTo>
                  <a:cubicBezTo>
                    <a:pt x="0" y="1581"/>
                    <a:pt x="120" y="1874"/>
                    <a:pt x="317" y="2096"/>
                  </a:cubicBezTo>
                  <a:cubicBezTo>
                    <a:pt x="546" y="2337"/>
                    <a:pt x="870" y="2486"/>
                    <a:pt x="1229" y="2486"/>
                  </a:cubicBezTo>
                  <a:cubicBezTo>
                    <a:pt x="1925" y="2486"/>
                    <a:pt x="2489" y="1922"/>
                    <a:pt x="2489" y="1226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2" name="Oval 132"/>
            <p:cNvSpPr>
              <a:spLocks noChangeArrowheads="1"/>
            </p:cNvSpPr>
            <p:nvPr/>
          </p:nvSpPr>
          <p:spPr bwMode="auto">
            <a:xfrm>
              <a:off x="3244238" y="3632691"/>
              <a:ext cx="599288" cy="599973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43" name="Freeform 51"/>
            <p:cNvSpPr>
              <a:spLocks noEditPoints="1"/>
            </p:cNvSpPr>
            <p:nvPr/>
          </p:nvSpPr>
          <p:spPr bwMode="auto">
            <a:xfrm>
              <a:off x="3422740" y="3811536"/>
              <a:ext cx="242285" cy="242285"/>
            </a:xfrm>
            <a:custGeom>
              <a:avLst/>
              <a:gdLst>
                <a:gd name="T0" fmla="*/ 0 w 353"/>
                <a:gd name="T1" fmla="*/ 177 h 353"/>
                <a:gd name="T2" fmla="*/ 353 w 353"/>
                <a:gd name="T3" fmla="*/ 177 h 353"/>
                <a:gd name="T4" fmla="*/ 265 w 353"/>
                <a:gd name="T5" fmla="*/ 43 h 353"/>
                <a:gd name="T6" fmla="*/ 260 w 353"/>
                <a:gd name="T7" fmla="*/ 97 h 353"/>
                <a:gd name="T8" fmla="*/ 248 w 353"/>
                <a:gd name="T9" fmla="*/ 137 h 353"/>
                <a:gd name="T10" fmla="*/ 171 w 353"/>
                <a:gd name="T11" fmla="*/ 52 h 353"/>
                <a:gd name="T12" fmla="*/ 265 w 353"/>
                <a:gd name="T13" fmla="*/ 43 h 353"/>
                <a:gd name="T14" fmla="*/ 278 w 353"/>
                <a:gd name="T15" fmla="*/ 236 h 353"/>
                <a:gd name="T16" fmla="*/ 200 w 353"/>
                <a:gd name="T17" fmla="*/ 240 h 353"/>
                <a:gd name="T18" fmla="*/ 231 w 353"/>
                <a:gd name="T19" fmla="*/ 201 h 353"/>
                <a:gd name="T20" fmla="*/ 203 w 353"/>
                <a:gd name="T21" fmla="*/ 18 h 353"/>
                <a:gd name="T22" fmla="*/ 168 w 353"/>
                <a:gd name="T23" fmla="*/ 17 h 353"/>
                <a:gd name="T24" fmla="*/ 219 w 353"/>
                <a:gd name="T25" fmla="*/ 189 h 353"/>
                <a:gd name="T26" fmla="*/ 176 w 353"/>
                <a:gd name="T27" fmla="*/ 217 h 353"/>
                <a:gd name="T28" fmla="*/ 64 w 353"/>
                <a:gd name="T29" fmla="*/ 195 h 353"/>
                <a:gd name="T30" fmla="*/ 104 w 353"/>
                <a:gd name="T31" fmla="*/ 120 h 353"/>
                <a:gd name="T32" fmla="*/ 126 w 353"/>
                <a:gd name="T33" fmla="*/ 87 h 353"/>
                <a:gd name="T34" fmla="*/ 219 w 353"/>
                <a:gd name="T35" fmla="*/ 189 h 353"/>
                <a:gd name="T36" fmla="*/ 16 w 353"/>
                <a:gd name="T37" fmla="*/ 180 h 353"/>
                <a:gd name="T38" fmla="*/ 40 w 353"/>
                <a:gd name="T39" fmla="*/ 257 h 353"/>
                <a:gd name="T40" fmla="*/ 50 w 353"/>
                <a:gd name="T41" fmla="*/ 186 h 353"/>
                <a:gd name="T42" fmla="*/ 152 w 353"/>
                <a:gd name="T43" fmla="*/ 18 h 353"/>
                <a:gd name="T44" fmla="*/ 115 w 353"/>
                <a:gd name="T45" fmla="*/ 75 h 353"/>
                <a:gd name="T46" fmla="*/ 80 w 353"/>
                <a:gd name="T47" fmla="*/ 96 h 353"/>
                <a:gd name="T48" fmla="*/ 50 w 353"/>
                <a:gd name="T49" fmla="*/ 186 h 353"/>
                <a:gd name="T50" fmla="*/ 56 w 353"/>
                <a:gd name="T51" fmla="*/ 257 h 353"/>
                <a:gd name="T52" fmla="*/ 154 w 353"/>
                <a:gd name="T53" fmla="*/ 249 h 353"/>
                <a:gd name="T54" fmla="*/ 59 w 353"/>
                <a:gd name="T55" fmla="*/ 286 h 353"/>
                <a:gd name="T56" fmla="*/ 176 w 353"/>
                <a:gd name="T57" fmla="*/ 337 h 353"/>
                <a:gd name="T58" fmla="*/ 166 w 353"/>
                <a:gd name="T59" fmla="*/ 262 h 353"/>
                <a:gd name="T60" fmla="*/ 195 w 353"/>
                <a:gd name="T61" fmla="*/ 256 h 353"/>
                <a:gd name="T62" fmla="*/ 300 w 353"/>
                <a:gd name="T63" fmla="*/ 248 h 353"/>
                <a:gd name="T64" fmla="*/ 176 w 353"/>
                <a:gd name="T65" fmla="*/ 337 h 353"/>
                <a:gd name="T66" fmla="*/ 240 w 353"/>
                <a:gd name="T67" fmla="*/ 187 h 353"/>
                <a:gd name="T68" fmla="*/ 265 w 353"/>
                <a:gd name="T69" fmla="*/ 145 h 353"/>
                <a:gd name="T70" fmla="*/ 276 w 353"/>
                <a:gd name="T71" fmla="*/ 99 h 353"/>
                <a:gd name="T72" fmla="*/ 337 w 353"/>
                <a:gd name="T73" fmla="*/ 177 h 353"/>
                <a:gd name="T74" fmla="*/ 301 w 353"/>
                <a:gd name="T75" fmla="*/ 23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3" h="353">
                  <a:moveTo>
                    <a:pt x="176" y="0"/>
                  </a:moveTo>
                  <a:cubicBezTo>
                    <a:pt x="79" y="0"/>
                    <a:pt x="0" y="79"/>
                    <a:pt x="0" y="177"/>
                  </a:cubicBezTo>
                  <a:cubicBezTo>
                    <a:pt x="0" y="274"/>
                    <a:pt x="79" y="353"/>
                    <a:pt x="176" y="353"/>
                  </a:cubicBezTo>
                  <a:cubicBezTo>
                    <a:pt x="274" y="353"/>
                    <a:pt x="353" y="274"/>
                    <a:pt x="353" y="177"/>
                  </a:cubicBezTo>
                  <a:cubicBezTo>
                    <a:pt x="353" y="79"/>
                    <a:pt x="274" y="0"/>
                    <a:pt x="176" y="0"/>
                  </a:cubicBezTo>
                  <a:moveTo>
                    <a:pt x="265" y="43"/>
                  </a:moveTo>
                  <a:cubicBezTo>
                    <a:pt x="265" y="44"/>
                    <a:pt x="265" y="46"/>
                    <a:pt x="265" y="48"/>
                  </a:cubicBezTo>
                  <a:cubicBezTo>
                    <a:pt x="265" y="65"/>
                    <a:pt x="263" y="81"/>
                    <a:pt x="260" y="97"/>
                  </a:cubicBezTo>
                  <a:cubicBezTo>
                    <a:pt x="249" y="99"/>
                    <a:pt x="241" y="109"/>
                    <a:pt x="241" y="120"/>
                  </a:cubicBezTo>
                  <a:cubicBezTo>
                    <a:pt x="241" y="127"/>
                    <a:pt x="243" y="133"/>
                    <a:pt x="248" y="137"/>
                  </a:cubicBezTo>
                  <a:cubicBezTo>
                    <a:pt x="242" y="150"/>
                    <a:pt x="236" y="163"/>
                    <a:pt x="229" y="175"/>
                  </a:cubicBezTo>
                  <a:cubicBezTo>
                    <a:pt x="199" y="141"/>
                    <a:pt x="178" y="99"/>
                    <a:pt x="171" y="52"/>
                  </a:cubicBezTo>
                  <a:cubicBezTo>
                    <a:pt x="189" y="40"/>
                    <a:pt x="209" y="32"/>
                    <a:pt x="231" y="26"/>
                  </a:cubicBezTo>
                  <a:cubicBezTo>
                    <a:pt x="243" y="30"/>
                    <a:pt x="254" y="36"/>
                    <a:pt x="265" y="43"/>
                  </a:cubicBezTo>
                  <a:moveTo>
                    <a:pt x="231" y="201"/>
                  </a:moveTo>
                  <a:cubicBezTo>
                    <a:pt x="245" y="214"/>
                    <a:pt x="261" y="226"/>
                    <a:pt x="278" y="236"/>
                  </a:cubicBezTo>
                  <a:cubicBezTo>
                    <a:pt x="260" y="239"/>
                    <a:pt x="243" y="241"/>
                    <a:pt x="225" y="241"/>
                  </a:cubicBezTo>
                  <a:cubicBezTo>
                    <a:pt x="217" y="241"/>
                    <a:pt x="208" y="240"/>
                    <a:pt x="200" y="240"/>
                  </a:cubicBezTo>
                  <a:cubicBezTo>
                    <a:pt x="200" y="238"/>
                    <a:pt x="200" y="237"/>
                    <a:pt x="200" y="235"/>
                  </a:cubicBezTo>
                  <a:cubicBezTo>
                    <a:pt x="211" y="225"/>
                    <a:pt x="222" y="213"/>
                    <a:pt x="231" y="201"/>
                  </a:cubicBezTo>
                  <a:moveTo>
                    <a:pt x="176" y="16"/>
                  </a:moveTo>
                  <a:cubicBezTo>
                    <a:pt x="185" y="16"/>
                    <a:pt x="194" y="17"/>
                    <a:pt x="203" y="18"/>
                  </a:cubicBezTo>
                  <a:cubicBezTo>
                    <a:pt x="191" y="23"/>
                    <a:pt x="180" y="28"/>
                    <a:pt x="169" y="34"/>
                  </a:cubicBezTo>
                  <a:cubicBezTo>
                    <a:pt x="169" y="28"/>
                    <a:pt x="169" y="22"/>
                    <a:pt x="168" y="17"/>
                  </a:cubicBezTo>
                  <a:cubicBezTo>
                    <a:pt x="171" y="16"/>
                    <a:pt x="174" y="16"/>
                    <a:pt x="176" y="16"/>
                  </a:cubicBezTo>
                  <a:moveTo>
                    <a:pt x="219" y="189"/>
                  </a:moveTo>
                  <a:cubicBezTo>
                    <a:pt x="211" y="201"/>
                    <a:pt x="201" y="212"/>
                    <a:pt x="191" y="222"/>
                  </a:cubicBezTo>
                  <a:cubicBezTo>
                    <a:pt x="187" y="219"/>
                    <a:pt x="182" y="217"/>
                    <a:pt x="176" y="217"/>
                  </a:cubicBezTo>
                  <a:cubicBezTo>
                    <a:pt x="166" y="217"/>
                    <a:pt x="157" y="223"/>
                    <a:pt x="154" y="233"/>
                  </a:cubicBezTo>
                  <a:cubicBezTo>
                    <a:pt x="122" y="225"/>
                    <a:pt x="92" y="212"/>
                    <a:pt x="64" y="195"/>
                  </a:cubicBezTo>
                  <a:cubicBezTo>
                    <a:pt x="71" y="168"/>
                    <a:pt x="83" y="142"/>
                    <a:pt x="99" y="120"/>
                  </a:cubicBezTo>
                  <a:cubicBezTo>
                    <a:pt x="101" y="120"/>
                    <a:pt x="102" y="120"/>
                    <a:pt x="104" y="120"/>
                  </a:cubicBezTo>
                  <a:cubicBezTo>
                    <a:pt x="118" y="120"/>
                    <a:pt x="128" y="110"/>
                    <a:pt x="128" y="96"/>
                  </a:cubicBezTo>
                  <a:cubicBezTo>
                    <a:pt x="128" y="93"/>
                    <a:pt x="128" y="90"/>
                    <a:pt x="126" y="87"/>
                  </a:cubicBezTo>
                  <a:cubicBezTo>
                    <a:pt x="136" y="78"/>
                    <a:pt x="146" y="69"/>
                    <a:pt x="156" y="61"/>
                  </a:cubicBezTo>
                  <a:cubicBezTo>
                    <a:pt x="165" y="110"/>
                    <a:pt x="188" y="154"/>
                    <a:pt x="219" y="189"/>
                  </a:cubicBezTo>
                  <a:moveTo>
                    <a:pt x="40" y="261"/>
                  </a:moveTo>
                  <a:cubicBezTo>
                    <a:pt x="25" y="237"/>
                    <a:pt x="17" y="210"/>
                    <a:pt x="16" y="180"/>
                  </a:cubicBezTo>
                  <a:cubicBezTo>
                    <a:pt x="26" y="188"/>
                    <a:pt x="36" y="196"/>
                    <a:pt x="46" y="203"/>
                  </a:cubicBezTo>
                  <a:cubicBezTo>
                    <a:pt x="42" y="220"/>
                    <a:pt x="40" y="238"/>
                    <a:pt x="40" y="257"/>
                  </a:cubicBezTo>
                  <a:cubicBezTo>
                    <a:pt x="40" y="258"/>
                    <a:pt x="40" y="260"/>
                    <a:pt x="40" y="261"/>
                  </a:cubicBezTo>
                  <a:moveTo>
                    <a:pt x="50" y="186"/>
                  </a:moveTo>
                  <a:cubicBezTo>
                    <a:pt x="38" y="178"/>
                    <a:pt x="27" y="169"/>
                    <a:pt x="17" y="159"/>
                  </a:cubicBezTo>
                  <a:cubicBezTo>
                    <a:pt x="25" y="87"/>
                    <a:pt x="81" y="29"/>
                    <a:pt x="152" y="18"/>
                  </a:cubicBezTo>
                  <a:cubicBezTo>
                    <a:pt x="153" y="27"/>
                    <a:pt x="153" y="35"/>
                    <a:pt x="154" y="44"/>
                  </a:cubicBezTo>
                  <a:cubicBezTo>
                    <a:pt x="140" y="53"/>
                    <a:pt x="127" y="63"/>
                    <a:pt x="115" y="75"/>
                  </a:cubicBezTo>
                  <a:cubicBezTo>
                    <a:pt x="112" y="73"/>
                    <a:pt x="108" y="72"/>
                    <a:pt x="104" y="72"/>
                  </a:cubicBezTo>
                  <a:cubicBezTo>
                    <a:pt x="91" y="72"/>
                    <a:pt x="80" y="83"/>
                    <a:pt x="80" y="96"/>
                  </a:cubicBezTo>
                  <a:cubicBezTo>
                    <a:pt x="80" y="102"/>
                    <a:pt x="82" y="107"/>
                    <a:pt x="85" y="111"/>
                  </a:cubicBezTo>
                  <a:cubicBezTo>
                    <a:pt x="70" y="134"/>
                    <a:pt x="58" y="159"/>
                    <a:pt x="50" y="186"/>
                  </a:cubicBezTo>
                  <a:moveTo>
                    <a:pt x="58" y="284"/>
                  </a:moveTo>
                  <a:cubicBezTo>
                    <a:pt x="57" y="275"/>
                    <a:pt x="56" y="266"/>
                    <a:pt x="56" y="257"/>
                  </a:cubicBezTo>
                  <a:cubicBezTo>
                    <a:pt x="56" y="241"/>
                    <a:pt x="58" y="226"/>
                    <a:pt x="61" y="212"/>
                  </a:cubicBezTo>
                  <a:cubicBezTo>
                    <a:pt x="89" y="229"/>
                    <a:pt x="121" y="242"/>
                    <a:pt x="154" y="249"/>
                  </a:cubicBezTo>
                  <a:cubicBezTo>
                    <a:pt x="154" y="249"/>
                    <a:pt x="154" y="250"/>
                    <a:pt x="154" y="250"/>
                  </a:cubicBezTo>
                  <a:cubicBezTo>
                    <a:pt x="126" y="269"/>
                    <a:pt x="94" y="281"/>
                    <a:pt x="59" y="286"/>
                  </a:cubicBezTo>
                  <a:cubicBezTo>
                    <a:pt x="59" y="286"/>
                    <a:pt x="58" y="285"/>
                    <a:pt x="58" y="284"/>
                  </a:cubicBezTo>
                  <a:moveTo>
                    <a:pt x="176" y="337"/>
                  </a:moveTo>
                  <a:cubicBezTo>
                    <a:pt x="137" y="337"/>
                    <a:pt x="101" y="323"/>
                    <a:pt x="74" y="300"/>
                  </a:cubicBezTo>
                  <a:cubicBezTo>
                    <a:pt x="107" y="293"/>
                    <a:pt x="138" y="280"/>
                    <a:pt x="166" y="262"/>
                  </a:cubicBezTo>
                  <a:cubicBezTo>
                    <a:pt x="169" y="264"/>
                    <a:pt x="173" y="265"/>
                    <a:pt x="176" y="265"/>
                  </a:cubicBezTo>
                  <a:cubicBezTo>
                    <a:pt x="184" y="265"/>
                    <a:pt x="191" y="261"/>
                    <a:pt x="195" y="256"/>
                  </a:cubicBezTo>
                  <a:cubicBezTo>
                    <a:pt x="205" y="256"/>
                    <a:pt x="215" y="257"/>
                    <a:pt x="225" y="257"/>
                  </a:cubicBezTo>
                  <a:cubicBezTo>
                    <a:pt x="250" y="257"/>
                    <a:pt x="275" y="254"/>
                    <a:pt x="300" y="248"/>
                  </a:cubicBezTo>
                  <a:cubicBezTo>
                    <a:pt x="305" y="251"/>
                    <a:pt x="311" y="253"/>
                    <a:pt x="316" y="255"/>
                  </a:cubicBezTo>
                  <a:cubicBezTo>
                    <a:pt x="289" y="304"/>
                    <a:pt x="237" y="337"/>
                    <a:pt x="176" y="337"/>
                  </a:cubicBezTo>
                  <a:moveTo>
                    <a:pt x="301" y="231"/>
                  </a:moveTo>
                  <a:cubicBezTo>
                    <a:pt x="279" y="220"/>
                    <a:pt x="258" y="205"/>
                    <a:pt x="240" y="187"/>
                  </a:cubicBezTo>
                  <a:cubicBezTo>
                    <a:pt x="249" y="174"/>
                    <a:pt x="256" y="159"/>
                    <a:pt x="262" y="144"/>
                  </a:cubicBezTo>
                  <a:cubicBezTo>
                    <a:pt x="263" y="144"/>
                    <a:pt x="264" y="145"/>
                    <a:pt x="265" y="145"/>
                  </a:cubicBezTo>
                  <a:cubicBezTo>
                    <a:pt x="278" y="145"/>
                    <a:pt x="289" y="134"/>
                    <a:pt x="289" y="120"/>
                  </a:cubicBezTo>
                  <a:cubicBezTo>
                    <a:pt x="289" y="111"/>
                    <a:pt x="283" y="103"/>
                    <a:pt x="276" y="99"/>
                  </a:cubicBezTo>
                  <a:cubicBezTo>
                    <a:pt x="278" y="85"/>
                    <a:pt x="280" y="70"/>
                    <a:pt x="281" y="55"/>
                  </a:cubicBezTo>
                  <a:cubicBezTo>
                    <a:pt x="315" y="84"/>
                    <a:pt x="337" y="128"/>
                    <a:pt x="337" y="177"/>
                  </a:cubicBezTo>
                  <a:cubicBezTo>
                    <a:pt x="337" y="192"/>
                    <a:pt x="335" y="208"/>
                    <a:pt x="330" y="222"/>
                  </a:cubicBezTo>
                  <a:cubicBezTo>
                    <a:pt x="321" y="225"/>
                    <a:pt x="311" y="229"/>
                    <a:pt x="301" y="23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361992" y="1625107"/>
            <a:ext cx="1519201" cy="468716"/>
            <a:chOff x="1361992" y="1625107"/>
            <a:chExt cx="1519201" cy="468716"/>
          </a:xfrm>
        </p:grpSpPr>
        <p:sp>
          <p:nvSpPr>
            <p:cNvPr id="45" name="TextBox 44"/>
            <p:cNvSpPr txBox="1"/>
            <p:nvPr/>
          </p:nvSpPr>
          <p:spPr>
            <a:xfrm>
              <a:off x="1362004" y="1625107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NUTEN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1361992" y="1809514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940373" y="2680358"/>
            <a:ext cx="1519201" cy="468716"/>
            <a:chOff x="940373" y="2680358"/>
            <a:chExt cx="1519201" cy="468716"/>
          </a:xfrm>
        </p:grpSpPr>
        <p:sp>
          <p:nvSpPr>
            <p:cNvPr id="50" name="TextBox 49"/>
            <p:cNvSpPr txBox="1"/>
            <p:nvPr/>
          </p:nvSpPr>
          <p:spPr>
            <a:xfrm>
              <a:off x="940385" y="2680358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LCANCE GLOBAL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40373" y="2864765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361992" y="3702361"/>
            <a:ext cx="1519201" cy="468716"/>
            <a:chOff x="1361992" y="3702361"/>
            <a:chExt cx="1519201" cy="468716"/>
          </a:xfrm>
        </p:grpSpPr>
        <p:sp>
          <p:nvSpPr>
            <p:cNvPr id="54" name="TextBox 53"/>
            <p:cNvSpPr txBox="1"/>
            <p:nvPr/>
          </p:nvSpPr>
          <p:spPr>
            <a:xfrm>
              <a:off x="1362004" y="3702361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ONEX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361992" y="3886768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6260488" y="3702361"/>
            <a:ext cx="1519201" cy="468716"/>
            <a:chOff x="6260488" y="3702361"/>
            <a:chExt cx="1519201" cy="468716"/>
          </a:xfrm>
        </p:grpSpPr>
        <p:sp>
          <p:nvSpPr>
            <p:cNvPr id="59" name="TextBox 58"/>
            <p:cNvSpPr txBox="1"/>
            <p:nvPr/>
          </p:nvSpPr>
          <p:spPr>
            <a:xfrm>
              <a:off x="6260500" y="3702361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VISÃO &amp; MISS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260488" y="3886768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672666" y="2680358"/>
            <a:ext cx="1519201" cy="468716"/>
            <a:chOff x="6672666" y="2680358"/>
            <a:chExt cx="1519201" cy="468716"/>
          </a:xfrm>
        </p:grpSpPr>
        <p:sp>
          <p:nvSpPr>
            <p:cNvPr id="63" name="TextBox 62"/>
            <p:cNvSpPr txBox="1"/>
            <p:nvPr/>
          </p:nvSpPr>
          <p:spPr>
            <a:xfrm>
              <a:off x="6672678" y="2680358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IDEI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672666" y="2864765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260438" y="1625107"/>
            <a:ext cx="1519201" cy="468716"/>
            <a:chOff x="6260438" y="1625107"/>
            <a:chExt cx="1519201" cy="468716"/>
          </a:xfrm>
        </p:grpSpPr>
        <p:sp>
          <p:nvSpPr>
            <p:cNvPr id="67" name="TextBox 66"/>
            <p:cNvSpPr txBox="1"/>
            <p:nvPr/>
          </p:nvSpPr>
          <p:spPr>
            <a:xfrm>
              <a:off x="6260450" y="1625107"/>
              <a:ext cx="151913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NÁLISE WEB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6260438" y="1809514"/>
              <a:ext cx="1519201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ed.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883796" y="2664679"/>
            <a:ext cx="1376408" cy="535884"/>
            <a:chOff x="3883796" y="2664679"/>
            <a:chExt cx="1376408" cy="535884"/>
          </a:xfrm>
        </p:grpSpPr>
        <p:sp>
          <p:nvSpPr>
            <p:cNvPr id="69" name="TextBox 68"/>
            <p:cNvSpPr txBox="1"/>
            <p:nvPr/>
          </p:nvSpPr>
          <p:spPr>
            <a:xfrm>
              <a:off x="3883796" y="2917472"/>
              <a:ext cx="137640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  <a:spcAft>
                  <a:spcPts val="600"/>
                </a:spcAft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breve explicação sobre os dado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3900166" y="2664679"/>
              <a:ext cx="134476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accent3"/>
                  </a:solidFill>
                  <a:latin typeface="Lato" panose="020F0502020204030203" pitchFamily="34" charset="0"/>
                </a:rPr>
                <a:t>Projeto</a:t>
              </a:r>
              <a:r>
                <a:rPr lang="en-US" sz="1200" b="1" dirty="0">
                  <a:solidFill>
                    <a:schemeClr val="accent3"/>
                  </a:solidFill>
                  <a:latin typeface="Lato" panose="020F0502020204030203" pitchFamily="34" charset="0"/>
                </a:rPr>
                <a:t> </a:t>
              </a:r>
              <a:r>
                <a:rPr lang="en-US" sz="1200" b="1" dirty="0" err="1">
                  <a:solidFill>
                    <a:schemeClr val="accent3"/>
                  </a:solidFill>
                  <a:latin typeface="Lato" panose="020F0502020204030203" pitchFamily="34" charset="0"/>
                </a:rPr>
                <a:t>Fase</a:t>
              </a:r>
              <a:r>
                <a:rPr lang="en-US" sz="1200" b="1" dirty="0">
                  <a:solidFill>
                    <a:schemeClr val="accent3"/>
                  </a:solidFill>
                  <a:latin typeface="Lato" panose="020F0502020204030203" pitchFamily="34" charset="0"/>
                </a:rPr>
                <a:t> I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76276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4322618"/>
            <a:ext cx="9144000" cy="820882"/>
          </a:xfrm>
          <a:prstGeom prst="rect">
            <a:avLst/>
          </a:prstGeom>
          <a:solidFill>
            <a:srgbClr val="EC0000"/>
          </a:solidFill>
          <a:ln>
            <a:solidFill>
              <a:srgbClr val="EC1C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882775" y="2153959"/>
            <a:ext cx="5378450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400" cap="all" spc="50" dirty="0">
                <a:solidFill>
                  <a:schemeClr val="accent1"/>
                </a:solidFill>
                <a:latin typeface="Lato Black" panose="020F0A02020204030203" pitchFamily="34" charset="0"/>
              </a:rPr>
              <a:t>PROPOSTA</a:t>
            </a:r>
            <a:r>
              <a:rPr lang="en-US" sz="3400" cap="all" spc="50" dirty="0">
                <a:solidFill>
                  <a:schemeClr val="accent2"/>
                </a:solidFill>
                <a:latin typeface="Lato Black" panose="020F0A02020204030203" pitchFamily="34" charset="0"/>
              </a:rPr>
              <a:t> </a:t>
            </a:r>
            <a:r>
              <a:rPr lang="en-US" sz="3400" cap="all" spc="50" dirty="0">
                <a:solidFill>
                  <a:srgbClr val="EC0000"/>
                </a:solidFill>
                <a:latin typeface="Lato Black" panose="020F0A02020204030203" pitchFamily="34" charset="0"/>
              </a:rPr>
              <a:t>COMERCIAL</a:t>
            </a:r>
          </a:p>
        </p:txBody>
      </p:sp>
      <p:cxnSp>
        <p:nvCxnSpPr>
          <p:cNvPr id="4" name="Straight Connector 3"/>
          <p:cNvCxnSpPr/>
          <p:nvPr/>
        </p:nvCxnSpPr>
        <p:spPr>
          <a:xfrm>
            <a:off x="4114800" y="2069513"/>
            <a:ext cx="914400" cy="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1882775" y="2776692"/>
            <a:ext cx="53784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spc="70" dirty="0">
                <a:solidFill>
                  <a:schemeClr val="accent1"/>
                </a:solidFill>
                <a:latin typeface="Lato" panose="020F0502020204030203" pitchFamily="34" charset="0"/>
              </a:rPr>
              <a:t>(Autor – </a:t>
            </a:r>
            <a:r>
              <a:rPr lang="en-US" sz="1200" b="1" spc="70" dirty="0" err="1">
                <a:solidFill>
                  <a:schemeClr val="accent1"/>
                </a:solidFill>
                <a:latin typeface="Lato" panose="020F0502020204030203" pitchFamily="34" charset="0"/>
              </a:rPr>
              <a:t>mês</a:t>
            </a:r>
            <a:r>
              <a:rPr lang="en-US" sz="1200" b="1" spc="70" dirty="0">
                <a:solidFill>
                  <a:schemeClr val="accent1"/>
                </a:solidFill>
                <a:latin typeface="Lato" panose="020F0502020204030203" pitchFamily="34" charset="0"/>
              </a:rPr>
              <a:t>/</a:t>
            </a:r>
            <a:r>
              <a:rPr lang="en-US" sz="1200" b="1" spc="70" dirty="0" err="1">
                <a:solidFill>
                  <a:schemeClr val="accent1"/>
                </a:solidFill>
                <a:latin typeface="Lato" panose="020F0502020204030203" pitchFamily="34" charset="0"/>
              </a:rPr>
              <a:t>ano</a:t>
            </a:r>
            <a:r>
              <a:rPr lang="en-US" sz="1200" b="1" spc="70" dirty="0">
                <a:solidFill>
                  <a:schemeClr val="accent1"/>
                </a:solidFill>
                <a:latin typeface="Lato" panose="020F0502020204030203" pitchFamily="34" charset="0"/>
              </a:rPr>
              <a:t>)</a:t>
            </a:r>
            <a:endParaRPr lang="en-US" sz="1200" b="1" spc="70" dirty="0">
              <a:solidFill>
                <a:schemeClr val="accent2"/>
              </a:solidFill>
              <a:latin typeface="Lato" panose="020F0502020204030203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0F42EBEC-F4CE-4C83-836C-9D08428A36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71624" y="4626983"/>
            <a:ext cx="456809" cy="334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790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INFOGRÁFICO DE </a:t>
            </a:r>
            <a:r>
              <a:rPr lang="en-US" dirty="0">
                <a:solidFill>
                  <a:srgbClr val="EC0000"/>
                </a:solidFill>
              </a:rPr>
              <a:t>ÁRVO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fringilla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convallis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sed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4596057" y="1462683"/>
            <a:ext cx="3355777" cy="3680817"/>
            <a:chOff x="4596057" y="1462683"/>
            <a:chExt cx="3355777" cy="3680817"/>
          </a:xfrm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4596057" y="1462683"/>
              <a:ext cx="3355777" cy="3680817"/>
            </a:xfrm>
            <a:custGeom>
              <a:avLst/>
              <a:gdLst>
                <a:gd name="T0" fmla="*/ 5177 w 5647"/>
                <a:gd name="T1" fmla="*/ 2154 h 6194"/>
                <a:gd name="T2" fmla="*/ 4623 w 5647"/>
                <a:gd name="T3" fmla="*/ 2408 h 6194"/>
                <a:gd name="T4" fmla="*/ 4879 w 5647"/>
                <a:gd name="T5" fmla="*/ 1859 h 6194"/>
                <a:gd name="T6" fmla="*/ 4450 w 5647"/>
                <a:gd name="T7" fmla="*/ 2010 h 6194"/>
                <a:gd name="T8" fmla="*/ 3847 w 5647"/>
                <a:gd name="T9" fmla="*/ 3055 h 6194"/>
                <a:gd name="T10" fmla="*/ 4466 w 5647"/>
                <a:gd name="T11" fmla="*/ 2390 h 6194"/>
                <a:gd name="T12" fmla="*/ 4158 w 5647"/>
                <a:gd name="T13" fmla="*/ 2529 h 6194"/>
                <a:gd name="T14" fmla="*/ 3695 w 5647"/>
                <a:gd name="T15" fmla="*/ 3084 h 6194"/>
                <a:gd name="T16" fmla="*/ 3653 w 5647"/>
                <a:gd name="T17" fmla="*/ 2420 h 6194"/>
                <a:gd name="T18" fmla="*/ 5104 w 5647"/>
                <a:gd name="T19" fmla="*/ 1251 h 6194"/>
                <a:gd name="T20" fmla="*/ 5103 w 5647"/>
                <a:gd name="T21" fmla="*/ 1206 h 6194"/>
                <a:gd name="T22" fmla="*/ 5104 w 5647"/>
                <a:gd name="T23" fmla="*/ 524 h 6194"/>
                <a:gd name="T24" fmla="*/ 4612 w 5647"/>
                <a:gd name="T25" fmla="*/ 448 h 6194"/>
                <a:gd name="T26" fmla="*/ 4870 w 5647"/>
                <a:gd name="T27" fmla="*/ 983 h 6194"/>
                <a:gd name="T28" fmla="*/ 4644 w 5647"/>
                <a:gd name="T29" fmla="*/ 1163 h 6194"/>
                <a:gd name="T30" fmla="*/ 4331 w 5647"/>
                <a:gd name="T31" fmla="*/ 434 h 6194"/>
                <a:gd name="T32" fmla="*/ 4390 w 5647"/>
                <a:gd name="T33" fmla="*/ 1484 h 6194"/>
                <a:gd name="T34" fmla="*/ 3732 w 5647"/>
                <a:gd name="T35" fmla="*/ 1909 h 6194"/>
                <a:gd name="T36" fmla="*/ 3723 w 5647"/>
                <a:gd name="T37" fmla="*/ 1024 h 6194"/>
                <a:gd name="T38" fmla="*/ 4132 w 5647"/>
                <a:gd name="T39" fmla="*/ 143 h 6194"/>
                <a:gd name="T40" fmla="*/ 3973 w 5647"/>
                <a:gd name="T41" fmla="*/ 315 h 6194"/>
                <a:gd name="T42" fmla="*/ 3344 w 5647"/>
                <a:gd name="T43" fmla="*/ 637 h 6194"/>
                <a:gd name="T44" fmla="*/ 3102 w 5647"/>
                <a:gd name="T45" fmla="*/ 645 h 6194"/>
                <a:gd name="T46" fmla="*/ 3463 w 5647"/>
                <a:gd name="T47" fmla="*/ 1446 h 6194"/>
                <a:gd name="T48" fmla="*/ 3263 w 5647"/>
                <a:gd name="T49" fmla="*/ 1275 h 6194"/>
                <a:gd name="T50" fmla="*/ 3244 w 5647"/>
                <a:gd name="T51" fmla="*/ 1391 h 6194"/>
                <a:gd name="T52" fmla="*/ 3708 w 5647"/>
                <a:gd name="T53" fmla="*/ 2005 h 6194"/>
                <a:gd name="T54" fmla="*/ 3182 w 5647"/>
                <a:gd name="T55" fmla="*/ 1806 h 6194"/>
                <a:gd name="T56" fmla="*/ 3091 w 5647"/>
                <a:gd name="T57" fmla="*/ 2513 h 6194"/>
                <a:gd name="T58" fmla="*/ 2534 w 5647"/>
                <a:gd name="T59" fmla="*/ 2893 h 6194"/>
                <a:gd name="T60" fmla="*/ 2637 w 5647"/>
                <a:gd name="T61" fmla="*/ 1044 h 6194"/>
                <a:gd name="T62" fmla="*/ 2609 w 5647"/>
                <a:gd name="T63" fmla="*/ 1374 h 6194"/>
                <a:gd name="T64" fmla="*/ 2242 w 5647"/>
                <a:gd name="T65" fmla="*/ 16 h 6194"/>
                <a:gd name="T66" fmla="*/ 1974 w 5647"/>
                <a:gd name="T67" fmla="*/ 360 h 6194"/>
                <a:gd name="T68" fmla="*/ 2747 w 5647"/>
                <a:gd name="T69" fmla="*/ 1850 h 6194"/>
                <a:gd name="T70" fmla="*/ 1986 w 5647"/>
                <a:gd name="T71" fmla="*/ 2818 h 6194"/>
                <a:gd name="T72" fmla="*/ 2280 w 5647"/>
                <a:gd name="T73" fmla="*/ 2053 h 6194"/>
                <a:gd name="T74" fmla="*/ 2320 w 5647"/>
                <a:gd name="T75" fmla="*/ 1983 h 6194"/>
                <a:gd name="T76" fmla="*/ 2029 w 5647"/>
                <a:gd name="T77" fmla="*/ 1918 h 6194"/>
                <a:gd name="T78" fmla="*/ 1987 w 5647"/>
                <a:gd name="T79" fmla="*/ 1403 h 6194"/>
                <a:gd name="T80" fmla="*/ 1873 w 5647"/>
                <a:gd name="T81" fmla="*/ 1273 h 6194"/>
                <a:gd name="T82" fmla="*/ 1487 w 5647"/>
                <a:gd name="T83" fmla="*/ 1044 h 6194"/>
                <a:gd name="T84" fmla="*/ 1893 w 5647"/>
                <a:gd name="T85" fmla="*/ 1724 h 6194"/>
                <a:gd name="T86" fmla="*/ 1659 w 5647"/>
                <a:gd name="T87" fmla="*/ 1908 h 6194"/>
                <a:gd name="T88" fmla="*/ 1964 w 5647"/>
                <a:gd name="T89" fmla="*/ 2182 h 6194"/>
                <a:gd name="T90" fmla="*/ 1119 w 5647"/>
                <a:gd name="T91" fmla="*/ 1313 h 6194"/>
                <a:gd name="T92" fmla="*/ 1279 w 5647"/>
                <a:gd name="T93" fmla="*/ 1533 h 6194"/>
                <a:gd name="T94" fmla="*/ 1867 w 5647"/>
                <a:gd name="T95" fmla="*/ 2625 h 6194"/>
                <a:gd name="T96" fmla="*/ 1248 w 5647"/>
                <a:gd name="T97" fmla="*/ 2150 h 6194"/>
                <a:gd name="T98" fmla="*/ 635 w 5647"/>
                <a:gd name="T99" fmla="*/ 1918 h 6194"/>
                <a:gd name="T100" fmla="*/ 969 w 5647"/>
                <a:gd name="T101" fmla="*/ 2515 h 6194"/>
                <a:gd name="T102" fmla="*/ 614 w 5647"/>
                <a:gd name="T103" fmla="*/ 2317 h 6194"/>
                <a:gd name="T104" fmla="*/ 1109 w 5647"/>
                <a:gd name="T105" fmla="*/ 2613 h 6194"/>
                <a:gd name="T106" fmla="*/ 2186 w 5647"/>
                <a:gd name="T107" fmla="*/ 3293 h 6194"/>
                <a:gd name="T108" fmla="*/ 948 w 5647"/>
                <a:gd name="T109" fmla="*/ 3141 h 6194"/>
                <a:gd name="T110" fmla="*/ 9 w 5647"/>
                <a:gd name="T111" fmla="*/ 2767 h 6194"/>
                <a:gd name="T112" fmla="*/ 862 w 5647"/>
                <a:gd name="T113" fmla="*/ 3190 h 6194"/>
                <a:gd name="T114" fmla="*/ 3147 w 5647"/>
                <a:gd name="T115" fmla="*/ 4231 h 6194"/>
                <a:gd name="T116" fmla="*/ 4887 w 5647"/>
                <a:gd name="T117" fmla="*/ 2732 h 6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47" h="6194">
                  <a:moveTo>
                    <a:pt x="5639" y="2282"/>
                  </a:moveTo>
                  <a:cubicBezTo>
                    <a:pt x="5604" y="2438"/>
                    <a:pt x="5373" y="2488"/>
                    <a:pt x="5246" y="2537"/>
                  </a:cubicBezTo>
                  <a:cubicBezTo>
                    <a:pt x="5159" y="2571"/>
                    <a:pt x="5069" y="2601"/>
                    <a:pt x="4980" y="2635"/>
                  </a:cubicBezTo>
                  <a:cubicBezTo>
                    <a:pt x="5026" y="2581"/>
                    <a:pt x="5067" y="2524"/>
                    <a:pt x="5101" y="2462"/>
                  </a:cubicBezTo>
                  <a:cubicBezTo>
                    <a:pt x="5154" y="2368"/>
                    <a:pt x="5193" y="2263"/>
                    <a:pt x="5177" y="2154"/>
                  </a:cubicBezTo>
                  <a:cubicBezTo>
                    <a:pt x="5174" y="2135"/>
                    <a:pt x="5172" y="2234"/>
                    <a:pt x="5041" y="2442"/>
                  </a:cubicBezTo>
                  <a:cubicBezTo>
                    <a:pt x="4986" y="2530"/>
                    <a:pt x="4907" y="2605"/>
                    <a:pt x="4820" y="2663"/>
                  </a:cubicBezTo>
                  <a:cubicBezTo>
                    <a:pt x="4785" y="2687"/>
                    <a:pt x="4748" y="2709"/>
                    <a:pt x="4710" y="2729"/>
                  </a:cubicBezTo>
                  <a:cubicBezTo>
                    <a:pt x="4627" y="2648"/>
                    <a:pt x="4619" y="2525"/>
                    <a:pt x="4616" y="2410"/>
                  </a:cubicBezTo>
                  <a:cubicBezTo>
                    <a:pt x="4618" y="2410"/>
                    <a:pt x="4621" y="2409"/>
                    <a:pt x="4623" y="2408"/>
                  </a:cubicBezTo>
                  <a:cubicBezTo>
                    <a:pt x="4728" y="2353"/>
                    <a:pt x="4808" y="2247"/>
                    <a:pt x="4854" y="2139"/>
                  </a:cubicBezTo>
                  <a:cubicBezTo>
                    <a:pt x="4877" y="2084"/>
                    <a:pt x="4891" y="2025"/>
                    <a:pt x="4895" y="1966"/>
                  </a:cubicBezTo>
                  <a:cubicBezTo>
                    <a:pt x="4901" y="1874"/>
                    <a:pt x="4898" y="1799"/>
                    <a:pt x="4958" y="1724"/>
                  </a:cubicBezTo>
                  <a:cubicBezTo>
                    <a:pt x="4962" y="1718"/>
                    <a:pt x="4957" y="1708"/>
                    <a:pt x="4950" y="1713"/>
                  </a:cubicBezTo>
                  <a:cubicBezTo>
                    <a:pt x="4904" y="1746"/>
                    <a:pt x="4886" y="1806"/>
                    <a:pt x="4879" y="1859"/>
                  </a:cubicBezTo>
                  <a:cubicBezTo>
                    <a:pt x="4870" y="1930"/>
                    <a:pt x="4869" y="2002"/>
                    <a:pt x="4848" y="2071"/>
                  </a:cubicBezTo>
                  <a:cubicBezTo>
                    <a:pt x="4809" y="2200"/>
                    <a:pt x="4725" y="2290"/>
                    <a:pt x="4615" y="2362"/>
                  </a:cubicBezTo>
                  <a:cubicBezTo>
                    <a:pt x="4615" y="2348"/>
                    <a:pt x="4615" y="2335"/>
                    <a:pt x="4614" y="2321"/>
                  </a:cubicBezTo>
                  <a:cubicBezTo>
                    <a:pt x="4610" y="2194"/>
                    <a:pt x="4580" y="2057"/>
                    <a:pt x="4467" y="1982"/>
                  </a:cubicBezTo>
                  <a:cubicBezTo>
                    <a:pt x="4449" y="1971"/>
                    <a:pt x="4434" y="1998"/>
                    <a:pt x="4450" y="2010"/>
                  </a:cubicBezTo>
                  <a:cubicBezTo>
                    <a:pt x="4590" y="2108"/>
                    <a:pt x="4573" y="2300"/>
                    <a:pt x="4577" y="2449"/>
                  </a:cubicBezTo>
                  <a:cubicBezTo>
                    <a:pt x="4579" y="2559"/>
                    <a:pt x="4594" y="2670"/>
                    <a:pt x="4662" y="2754"/>
                  </a:cubicBezTo>
                  <a:cubicBezTo>
                    <a:pt x="4509" y="2830"/>
                    <a:pt x="4345" y="2887"/>
                    <a:pt x="4192" y="2959"/>
                  </a:cubicBezTo>
                  <a:cubicBezTo>
                    <a:pt x="4061" y="3020"/>
                    <a:pt x="3936" y="3094"/>
                    <a:pt x="3819" y="3178"/>
                  </a:cubicBezTo>
                  <a:cubicBezTo>
                    <a:pt x="3822" y="3136"/>
                    <a:pt x="3833" y="3095"/>
                    <a:pt x="3847" y="3055"/>
                  </a:cubicBezTo>
                  <a:cubicBezTo>
                    <a:pt x="3880" y="2958"/>
                    <a:pt x="3931" y="2871"/>
                    <a:pt x="3987" y="2786"/>
                  </a:cubicBezTo>
                  <a:cubicBezTo>
                    <a:pt x="3990" y="2781"/>
                    <a:pt x="3993" y="2776"/>
                    <a:pt x="3997" y="2771"/>
                  </a:cubicBezTo>
                  <a:cubicBezTo>
                    <a:pt x="4038" y="2768"/>
                    <a:pt x="4082" y="2754"/>
                    <a:pt x="4116" y="2744"/>
                  </a:cubicBezTo>
                  <a:cubicBezTo>
                    <a:pt x="4175" y="2725"/>
                    <a:pt x="4231" y="2697"/>
                    <a:pt x="4281" y="2660"/>
                  </a:cubicBezTo>
                  <a:cubicBezTo>
                    <a:pt x="4368" y="2595"/>
                    <a:pt x="4444" y="2498"/>
                    <a:pt x="4466" y="2390"/>
                  </a:cubicBezTo>
                  <a:cubicBezTo>
                    <a:pt x="4468" y="2384"/>
                    <a:pt x="4459" y="2379"/>
                    <a:pt x="4455" y="2386"/>
                  </a:cubicBezTo>
                  <a:cubicBezTo>
                    <a:pt x="4405" y="2482"/>
                    <a:pt x="4349" y="2570"/>
                    <a:pt x="4257" y="2633"/>
                  </a:cubicBezTo>
                  <a:cubicBezTo>
                    <a:pt x="4211" y="2665"/>
                    <a:pt x="4160" y="2690"/>
                    <a:pt x="4105" y="2705"/>
                  </a:cubicBezTo>
                  <a:cubicBezTo>
                    <a:pt x="4081" y="2712"/>
                    <a:pt x="4058" y="2717"/>
                    <a:pt x="4033" y="2720"/>
                  </a:cubicBezTo>
                  <a:cubicBezTo>
                    <a:pt x="4079" y="2659"/>
                    <a:pt x="4127" y="2600"/>
                    <a:pt x="4158" y="2529"/>
                  </a:cubicBezTo>
                  <a:cubicBezTo>
                    <a:pt x="4196" y="2442"/>
                    <a:pt x="4199" y="2329"/>
                    <a:pt x="4125" y="2261"/>
                  </a:cubicBezTo>
                  <a:cubicBezTo>
                    <a:pt x="4110" y="2247"/>
                    <a:pt x="4086" y="2264"/>
                    <a:pt x="4097" y="2282"/>
                  </a:cubicBezTo>
                  <a:cubicBezTo>
                    <a:pt x="4163" y="2392"/>
                    <a:pt x="4074" y="2487"/>
                    <a:pt x="4005" y="2565"/>
                  </a:cubicBezTo>
                  <a:cubicBezTo>
                    <a:pt x="3937" y="2640"/>
                    <a:pt x="3872" y="2715"/>
                    <a:pt x="3819" y="2801"/>
                  </a:cubicBezTo>
                  <a:cubicBezTo>
                    <a:pt x="3765" y="2888"/>
                    <a:pt x="3717" y="2984"/>
                    <a:pt x="3695" y="3084"/>
                  </a:cubicBezTo>
                  <a:cubicBezTo>
                    <a:pt x="3682" y="3143"/>
                    <a:pt x="3673" y="3215"/>
                    <a:pt x="3685" y="3279"/>
                  </a:cubicBezTo>
                  <a:cubicBezTo>
                    <a:pt x="3516" y="3416"/>
                    <a:pt x="3363" y="3574"/>
                    <a:pt x="3225" y="3743"/>
                  </a:cubicBezTo>
                  <a:cubicBezTo>
                    <a:pt x="3151" y="3833"/>
                    <a:pt x="3086" y="3931"/>
                    <a:pt x="3027" y="4032"/>
                  </a:cubicBezTo>
                  <a:cubicBezTo>
                    <a:pt x="3021" y="4041"/>
                    <a:pt x="3016" y="4051"/>
                    <a:pt x="3010" y="4061"/>
                  </a:cubicBezTo>
                  <a:cubicBezTo>
                    <a:pt x="3043" y="3724"/>
                    <a:pt x="3169" y="3036"/>
                    <a:pt x="3653" y="2420"/>
                  </a:cubicBezTo>
                  <a:cubicBezTo>
                    <a:pt x="3836" y="2186"/>
                    <a:pt x="3946" y="1974"/>
                    <a:pt x="4006" y="1786"/>
                  </a:cubicBezTo>
                  <a:cubicBezTo>
                    <a:pt x="4081" y="1759"/>
                    <a:pt x="4154" y="1726"/>
                    <a:pt x="4224" y="1693"/>
                  </a:cubicBezTo>
                  <a:cubicBezTo>
                    <a:pt x="4333" y="1642"/>
                    <a:pt x="4436" y="1578"/>
                    <a:pt x="4524" y="1495"/>
                  </a:cubicBezTo>
                  <a:cubicBezTo>
                    <a:pt x="4581" y="1441"/>
                    <a:pt x="4628" y="1380"/>
                    <a:pt x="4665" y="1313"/>
                  </a:cubicBezTo>
                  <a:cubicBezTo>
                    <a:pt x="4814" y="1327"/>
                    <a:pt x="4973" y="1334"/>
                    <a:pt x="5104" y="1251"/>
                  </a:cubicBezTo>
                  <a:cubicBezTo>
                    <a:pt x="5156" y="1219"/>
                    <a:pt x="5202" y="1177"/>
                    <a:pt x="5233" y="1124"/>
                  </a:cubicBezTo>
                  <a:cubicBezTo>
                    <a:pt x="5269" y="1063"/>
                    <a:pt x="5288" y="992"/>
                    <a:pt x="5339" y="940"/>
                  </a:cubicBezTo>
                  <a:cubicBezTo>
                    <a:pt x="5346" y="934"/>
                    <a:pt x="5337" y="921"/>
                    <a:pt x="5328" y="927"/>
                  </a:cubicBezTo>
                  <a:cubicBezTo>
                    <a:pt x="5280" y="959"/>
                    <a:pt x="5257" y="1005"/>
                    <a:pt x="5232" y="1056"/>
                  </a:cubicBezTo>
                  <a:cubicBezTo>
                    <a:pt x="5202" y="1118"/>
                    <a:pt x="5165" y="1172"/>
                    <a:pt x="5103" y="1206"/>
                  </a:cubicBezTo>
                  <a:cubicBezTo>
                    <a:pt x="4979" y="1275"/>
                    <a:pt x="4831" y="1268"/>
                    <a:pt x="4693" y="1256"/>
                  </a:cubicBezTo>
                  <a:cubicBezTo>
                    <a:pt x="4704" y="1233"/>
                    <a:pt x="4713" y="1209"/>
                    <a:pt x="4721" y="1184"/>
                  </a:cubicBezTo>
                  <a:cubicBezTo>
                    <a:pt x="4732" y="1152"/>
                    <a:pt x="4740" y="1120"/>
                    <a:pt x="4745" y="1088"/>
                  </a:cubicBezTo>
                  <a:cubicBezTo>
                    <a:pt x="4859" y="1078"/>
                    <a:pt x="4973" y="997"/>
                    <a:pt x="5038" y="910"/>
                  </a:cubicBezTo>
                  <a:cubicBezTo>
                    <a:pt x="5119" y="802"/>
                    <a:pt x="5147" y="653"/>
                    <a:pt x="5104" y="524"/>
                  </a:cubicBezTo>
                  <a:cubicBezTo>
                    <a:pt x="5100" y="510"/>
                    <a:pt x="5121" y="658"/>
                    <a:pt x="5035" y="815"/>
                  </a:cubicBezTo>
                  <a:cubicBezTo>
                    <a:pt x="4994" y="742"/>
                    <a:pt x="4932" y="680"/>
                    <a:pt x="4865" y="630"/>
                  </a:cubicBezTo>
                  <a:cubicBezTo>
                    <a:pt x="4825" y="601"/>
                    <a:pt x="4783" y="579"/>
                    <a:pt x="4738" y="558"/>
                  </a:cubicBezTo>
                  <a:cubicBezTo>
                    <a:pt x="4688" y="535"/>
                    <a:pt x="4635" y="504"/>
                    <a:pt x="4619" y="447"/>
                  </a:cubicBezTo>
                  <a:cubicBezTo>
                    <a:pt x="4618" y="443"/>
                    <a:pt x="4612" y="444"/>
                    <a:pt x="4612" y="448"/>
                  </a:cubicBezTo>
                  <a:cubicBezTo>
                    <a:pt x="4615" y="546"/>
                    <a:pt x="4719" y="573"/>
                    <a:pt x="4790" y="615"/>
                  </a:cubicBezTo>
                  <a:cubicBezTo>
                    <a:pt x="4888" y="673"/>
                    <a:pt x="4952" y="757"/>
                    <a:pt x="5003" y="857"/>
                  </a:cubicBezTo>
                  <a:cubicBezTo>
                    <a:pt x="5004" y="859"/>
                    <a:pt x="5005" y="861"/>
                    <a:pt x="5007" y="863"/>
                  </a:cubicBezTo>
                  <a:cubicBezTo>
                    <a:pt x="5002" y="869"/>
                    <a:pt x="4997" y="876"/>
                    <a:pt x="4992" y="883"/>
                  </a:cubicBezTo>
                  <a:cubicBezTo>
                    <a:pt x="4960" y="925"/>
                    <a:pt x="4916" y="958"/>
                    <a:pt x="4870" y="983"/>
                  </a:cubicBezTo>
                  <a:cubicBezTo>
                    <a:pt x="4832" y="1004"/>
                    <a:pt x="4794" y="1014"/>
                    <a:pt x="4754" y="1024"/>
                  </a:cubicBezTo>
                  <a:cubicBezTo>
                    <a:pt x="4755" y="1015"/>
                    <a:pt x="4756" y="1007"/>
                    <a:pt x="4756" y="999"/>
                  </a:cubicBezTo>
                  <a:cubicBezTo>
                    <a:pt x="4761" y="930"/>
                    <a:pt x="4749" y="869"/>
                    <a:pt x="4735" y="802"/>
                  </a:cubicBezTo>
                  <a:cubicBezTo>
                    <a:pt x="4731" y="783"/>
                    <a:pt x="4699" y="787"/>
                    <a:pt x="4701" y="807"/>
                  </a:cubicBezTo>
                  <a:cubicBezTo>
                    <a:pt x="4712" y="924"/>
                    <a:pt x="4687" y="1054"/>
                    <a:pt x="4644" y="1163"/>
                  </a:cubicBezTo>
                  <a:cubicBezTo>
                    <a:pt x="4600" y="1272"/>
                    <a:pt x="4526" y="1368"/>
                    <a:pt x="4438" y="1445"/>
                  </a:cubicBezTo>
                  <a:cubicBezTo>
                    <a:pt x="4438" y="1446"/>
                    <a:pt x="4437" y="1446"/>
                    <a:pt x="4436" y="1447"/>
                  </a:cubicBezTo>
                  <a:cubicBezTo>
                    <a:pt x="4438" y="1401"/>
                    <a:pt x="4437" y="1355"/>
                    <a:pt x="4433" y="1309"/>
                  </a:cubicBezTo>
                  <a:cubicBezTo>
                    <a:pt x="4425" y="1214"/>
                    <a:pt x="4403" y="1122"/>
                    <a:pt x="4378" y="1031"/>
                  </a:cubicBezTo>
                  <a:cubicBezTo>
                    <a:pt x="4325" y="842"/>
                    <a:pt x="4251" y="626"/>
                    <a:pt x="4331" y="434"/>
                  </a:cubicBezTo>
                  <a:cubicBezTo>
                    <a:pt x="4332" y="433"/>
                    <a:pt x="4331" y="433"/>
                    <a:pt x="4330" y="433"/>
                  </a:cubicBezTo>
                  <a:cubicBezTo>
                    <a:pt x="4292" y="517"/>
                    <a:pt x="4275" y="598"/>
                    <a:pt x="4280" y="691"/>
                  </a:cubicBezTo>
                  <a:cubicBezTo>
                    <a:pt x="4284" y="789"/>
                    <a:pt x="4302" y="883"/>
                    <a:pt x="4327" y="979"/>
                  </a:cubicBezTo>
                  <a:cubicBezTo>
                    <a:pt x="4353" y="1078"/>
                    <a:pt x="4379" y="1177"/>
                    <a:pt x="4389" y="1280"/>
                  </a:cubicBezTo>
                  <a:cubicBezTo>
                    <a:pt x="4396" y="1348"/>
                    <a:pt x="4396" y="1417"/>
                    <a:pt x="4390" y="1484"/>
                  </a:cubicBezTo>
                  <a:cubicBezTo>
                    <a:pt x="4316" y="1540"/>
                    <a:pt x="4235" y="1584"/>
                    <a:pt x="4152" y="1623"/>
                  </a:cubicBezTo>
                  <a:cubicBezTo>
                    <a:pt x="4115" y="1640"/>
                    <a:pt x="4077" y="1655"/>
                    <a:pt x="4039" y="1669"/>
                  </a:cubicBezTo>
                  <a:cubicBezTo>
                    <a:pt x="4125" y="1295"/>
                    <a:pt x="4016" y="1034"/>
                    <a:pt x="3948" y="916"/>
                  </a:cubicBezTo>
                  <a:cubicBezTo>
                    <a:pt x="3942" y="906"/>
                    <a:pt x="4157" y="1398"/>
                    <a:pt x="3758" y="1941"/>
                  </a:cubicBezTo>
                  <a:cubicBezTo>
                    <a:pt x="3749" y="1931"/>
                    <a:pt x="3740" y="1920"/>
                    <a:pt x="3732" y="1909"/>
                  </a:cubicBezTo>
                  <a:cubicBezTo>
                    <a:pt x="3713" y="1884"/>
                    <a:pt x="3696" y="1857"/>
                    <a:pt x="3679" y="1830"/>
                  </a:cubicBezTo>
                  <a:cubicBezTo>
                    <a:pt x="3646" y="1774"/>
                    <a:pt x="3619" y="1715"/>
                    <a:pt x="3597" y="1654"/>
                  </a:cubicBezTo>
                  <a:cubicBezTo>
                    <a:pt x="3553" y="1532"/>
                    <a:pt x="3534" y="1405"/>
                    <a:pt x="3540" y="1275"/>
                  </a:cubicBezTo>
                  <a:cubicBezTo>
                    <a:pt x="3543" y="1220"/>
                    <a:pt x="3548" y="1160"/>
                    <a:pt x="3550" y="1099"/>
                  </a:cubicBezTo>
                  <a:cubicBezTo>
                    <a:pt x="3613" y="1091"/>
                    <a:pt x="3675" y="1062"/>
                    <a:pt x="3723" y="1024"/>
                  </a:cubicBezTo>
                  <a:cubicBezTo>
                    <a:pt x="3805" y="959"/>
                    <a:pt x="3858" y="864"/>
                    <a:pt x="3896" y="768"/>
                  </a:cubicBezTo>
                  <a:cubicBezTo>
                    <a:pt x="3940" y="654"/>
                    <a:pt x="3961" y="532"/>
                    <a:pt x="3998" y="415"/>
                  </a:cubicBezTo>
                  <a:cubicBezTo>
                    <a:pt x="4017" y="357"/>
                    <a:pt x="4037" y="299"/>
                    <a:pt x="4066" y="245"/>
                  </a:cubicBezTo>
                  <a:cubicBezTo>
                    <a:pt x="4080" y="220"/>
                    <a:pt x="4095" y="196"/>
                    <a:pt x="4112" y="172"/>
                  </a:cubicBezTo>
                  <a:cubicBezTo>
                    <a:pt x="4118" y="162"/>
                    <a:pt x="4125" y="152"/>
                    <a:pt x="4132" y="143"/>
                  </a:cubicBezTo>
                  <a:cubicBezTo>
                    <a:pt x="4141" y="130"/>
                    <a:pt x="4148" y="112"/>
                    <a:pt x="4157" y="101"/>
                  </a:cubicBezTo>
                  <a:cubicBezTo>
                    <a:pt x="4160" y="96"/>
                    <a:pt x="4154" y="90"/>
                    <a:pt x="4150" y="93"/>
                  </a:cubicBezTo>
                  <a:cubicBezTo>
                    <a:pt x="4126" y="106"/>
                    <a:pt x="4114" y="108"/>
                    <a:pt x="4092" y="127"/>
                  </a:cubicBezTo>
                  <a:cubicBezTo>
                    <a:pt x="4074" y="143"/>
                    <a:pt x="4060" y="161"/>
                    <a:pt x="4046" y="181"/>
                  </a:cubicBezTo>
                  <a:cubicBezTo>
                    <a:pt x="4016" y="222"/>
                    <a:pt x="3993" y="268"/>
                    <a:pt x="3973" y="315"/>
                  </a:cubicBezTo>
                  <a:cubicBezTo>
                    <a:pt x="3930" y="418"/>
                    <a:pt x="3913" y="530"/>
                    <a:pt x="3881" y="636"/>
                  </a:cubicBezTo>
                  <a:cubicBezTo>
                    <a:pt x="3849" y="742"/>
                    <a:pt x="3808" y="847"/>
                    <a:pt x="3725" y="923"/>
                  </a:cubicBezTo>
                  <a:cubicBezTo>
                    <a:pt x="3671" y="972"/>
                    <a:pt x="3616" y="1000"/>
                    <a:pt x="3552" y="1013"/>
                  </a:cubicBezTo>
                  <a:cubicBezTo>
                    <a:pt x="3550" y="851"/>
                    <a:pt x="3517" y="693"/>
                    <a:pt x="3363" y="606"/>
                  </a:cubicBezTo>
                  <a:cubicBezTo>
                    <a:pt x="3342" y="594"/>
                    <a:pt x="3327" y="623"/>
                    <a:pt x="3344" y="637"/>
                  </a:cubicBezTo>
                  <a:cubicBezTo>
                    <a:pt x="3439" y="709"/>
                    <a:pt x="3475" y="836"/>
                    <a:pt x="3479" y="950"/>
                  </a:cubicBezTo>
                  <a:cubicBezTo>
                    <a:pt x="3480" y="995"/>
                    <a:pt x="3478" y="1039"/>
                    <a:pt x="3475" y="1083"/>
                  </a:cubicBezTo>
                  <a:cubicBezTo>
                    <a:pt x="3441" y="1061"/>
                    <a:pt x="3406" y="1041"/>
                    <a:pt x="3373" y="1015"/>
                  </a:cubicBezTo>
                  <a:cubicBezTo>
                    <a:pt x="3333" y="984"/>
                    <a:pt x="3297" y="950"/>
                    <a:pt x="3263" y="912"/>
                  </a:cubicBezTo>
                  <a:cubicBezTo>
                    <a:pt x="3190" y="833"/>
                    <a:pt x="3137" y="746"/>
                    <a:pt x="3102" y="645"/>
                  </a:cubicBezTo>
                  <a:cubicBezTo>
                    <a:pt x="3098" y="632"/>
                    <a:pt x="3077" y="637"/>
                    <a:pt x="3082" y="650"/>
                  </a:cubicBezTo>
                  <a:cubicBezTo>
                    <a:pt x="3115" y="751"/>
                    <a:pt x="3167" y="849"/>
                    <a:pt x="3233" y="932"/>
                  </a:cubicBezTo>
                  <a:cubicBezTo>
                    <a:pt x="3295" y="1009"/>
                    <a:pt x="3379" y="1086"/>
                    <a:pt x="3471" y="1125"/>
                  </a:cubicBezTo>
                  <a:cubicBezTo>
                    <a:pt x="3463" y="1209"/>
                    <a:pt x="3453" y="1294"/>
                    <a:pt x="3457" y="1379"/>
                  </a:cubicBezTo>
                  <a:cubicBezTo>
                    <a:pt x="3458" y="1401"/>
                    <a:pt x="3460" y="1424"/>
                    <a:pt x="3463" y="1446"/>
                  </a:cubicBezTo>
                  <a:cubicBezTo>
                    <a:pt x="3413" y="1438"/>
                    <a:pt x="3364" y="1425"/>
                    <a:pt x="3318" y="1403"/>
                  </a:cubicBezTo>
                  <a:cubicBezTo>
                    <a:pt x="3314" y="1361"/>
                    <a:pt x="3298" y="1318"/>
                    <a:pt x="3286" y="1277"/>
                  </a:cubicBezTo>
                  <a:cubicBezTo>
                    <a:pt x="3272" y="1231"/>
                    <a:pt x="3260" y="1184"/>
                    <a:pt x="3248" y="1137"/>
                  </a:cubicBezTo>
                  <a:cubicBezTo>
                    <a:pt x="3246" y="1128"/>
                    <a:pt x="3234" y="1132"/>
                    <a:pt x="3235" y="1140"/>
                  </a:cubicBezTo>
                  <a:cubicBezTo>
                    <a:pt x="3245" y="1185"/>
                    <a:pt x="3255" y="1230"/>
                    <a:pt x="3263" y="1275"/>
                  </a:cubicBezTo>
                  <a:cubicBezTo>
                    <a:pt x="3269" y="1310"/>
                    <a:pt x="3273" y="1348"/>
                    <a:pt x="3282" y="1384"/>
                  </a:cubicBezTo>
                  <a:cubicBezTo>
                    <a:pt x="3277" y="1381"/>
                    <a:pt x="3272" y="1378"/>
                    <a:pt x="3268" y="1375"/>
                  </a:cubicBezTo>
                  <a:cubicBezTo>
                    <a:pt x="3204" y="1332"/>
                    <a:pt x="3164" y="1277"/>
                    <a:pt x="3115" y="1220"/>
                  </a:cubicBezTo>
                  <a:cubicBezTo>
                    <a:pt x="3110" y="1216"/>
                    <a:pt x="3101" y="1221"/>
                    <a:pt x="3103" y="1227"/>
                  </a:cubicBezTo>
                  <a:cubicBezTo>
                    <a:pt x="3129" y="1292"/>
                    <a:pt x="3189" y="1349"/>
                    <a:pt x="3244" y="1391"/>
                  </a:cubicBezTo>
                  <a:cubicBezTo>
                    <a:pt x="3308" y="1440"/>
                    <a:pt x="3378" y="1479"/>
                    <a:pt x="3457" y="1498"/>
                  </a:cubicBezTo>
                  <a:cubicBezTo>
                    <a:pt x="3462" y="1499"/>
                    <a:pt x="3466" y="1499"/>
                    <a:pt x="3470" y="1498"/>
                  </a:cubicBezTo>
                  <a:cubicBezTo>
                    <a:pt x="3483" y="1578"/>
                    <a:pt x="3505" y="1657"/>
                    <a:pt x="3537" y="1732"/>
                  </a:cubicBezTo>
                  <a:cubicBezTo>
                    <a:pt x="3561" y="1788"/>
                    <a:pt x="3590" y="1843"/>
                    <a:pt x="3624" y="1894"/>
                  </a:cubicBezTo>
                  <a:cubicBezTo>
                    <a:pt x="3648" y="1929"/>
                    <a:pt x="3675" y="1973"/>
                    <a:pt x="3708" y="2005"/>
                  </a:cubicBezTo>
                  <a:cubicBezTo>
                    <a:pt x="3708" y="2005"/>
                    <a:pt x="3708" y="2005"/>
                    <a:pt x="3708" y="2005"/>
                  </a:cubicBezTo>
                  <a:cubicBezTo>
                    <a:pt x="3529" y="2222"/>
                    <a:pt x="3370" y="2426"/>
                    <a:pt x="3230" y="2612"/>
                  </a:cubicBezTo>
                  <a:cubicBezTo>
                    <a:pt x="3212" y="2567"/>
                    <a:pt x="3197" y="2520"/>
                    <a:pt x="3184" y="2473"/>
                  </a:cubicBezTo>
                  <a:cubicBezTo>
                    <a:pt x="3155" y="2365"/>
                    <a:pt x="3141" y="2254"/>
                    <a:pt x="3142" y="2143"/>
                  </a:cubicBezTo>
                  <a:cubicBezTo>
                    <a:pt x="3144" y="2030"/>
                    <a:pt x="3165" y="1918"/>
                    <a:pt x="3182" y="1806"/>
                  </a:cubicBezTo>
                  <a:cubicBezTo>
                    <a:pt x="3199" y="1702"/>
                    <a:pt x="3207" y="1597"/>
                    <a:pt x="3161" y="1499"/>
                  </a:cubicBezTo>
                  <a:cubicBezTo>
                    <a:pt x="3153" y="1481"/>
                    <a:pt x="3121" y="1494"/>
                    <a:pt x="3128" y="1513"/>
                  </a:cubicBezTo>
                  <a:cubicBezTo>
                    <a:pt x="3176" y="1629"/>
                    <a:pt x="3148" y="1750"/>
                    <a:pt x="3110" y="1864"/>
                  </a:cubicBezTo>
                  <a:cubicBezTo>
                    <a:pt x="3075" y="1972"/>
                    <a:pt x="3054" y="2079"/>
                    <a:pt x="3051" y="2192"/>
                  </a:cubicBezTo>
                  <a:cubicBezTo>
                    <a:pt x="3048" y="2300"/>
                    <a:pt x="3061" y="2410"/>
                    <a:pt x="3091" y="2513"/>
                  </a:cubicBezTo>
                  <a:cubicBezTo>
                    <a:pt x="3106" y="2568"/>
                    <a:pt x="3125" y="2621"/>
                    <a:pt x="3148" y="2672"/>
                  </a:cubicBezTo>
                  <a:cubicBezTo>
                    <a:pt x="3152" y="2682"/>
                    <a:pt x="3157" y="2693"/>
                    <a:pt x="3162" y="2704"/>
                  </a:cubicBezTo>
                  <a:cubicBezTo>
                    <a:pt x="2903" y="3055"/>
                    <a:pt x="2722" y="3331"/>
                    <a:pt x="2626" y="3492"/>
                  </a:cubicBezTo>
                  <a:cubicBezTo>
                    <a:pt x="2613" y="3464"/>
                    <a:pt x="2601" y="3436"/>
                    <a:pt x="2587" y="3409"/>
                  </a:cubicBezTo>
                  <a:cubicBezTo>
                    <a:pt x="2412" y="3066"/>
                    <a:pt x="2514" y="2935"/>
                    <a:pt x="2534" y="2893"/>
                  </a:cubicBezTo>
                  <a:cubicBezTo>
                    <a:pt x="2575" y="2805"/>
                    <a:pt x="2625" y="2723"/>
                    <a:pt x="2675" y="2641"/>
                  </a:cubicBezTo>
                  <a:cubicBezTo>
                    <a:pt x="2725" y="2558"/>
                    <a:pt x="2768" y="2471"/>
                    <a:pt x="2811" y="2385"/>
                  </a:cubicBezTo>
                  <a:cubicBezTo>
                    <a:pt x="2894" y="2217"/>
                    <a:pt x="2956" y="2030"/>
                    <a:pt x="2936" y="1841"/>
                  </a:cubicBezTo>
                  <a:cubicBezTo>
                    <a:pt x="2917" y="1649"/>
                    <a:pt x="2804" y="1496"/>
                    <a:pt x="2718" y="1330"/>
                  </a:cubicBezTo>
                  <a:cubicBezTo>
                    <a:pt x="2672" y="1241"/>
                    <a:pt x="2635" y="1145"/>
                    <a:pt x="2637" y="1044"/>
                  </a:cubicBezTo>
                  <a:cubicBezTo>
                    <a:pt x="2638" y="999"/>
                    <a:pt x="2647" y="957"/>
                    <a:pt x="2664" y="916"/>
                  </a:cubicBezTo>
                  <a:cubicBezTo>
                    <a:pt x="2680" y="876"/>
                    <a:pt x="2706" y="779"/>
                    <a:pt x="2706" y="779"/>
                  </a:cubicBezTo>
                  <a:cubicBezTo>
                    <a:pt x="2706" y="779"/>
                    <a:pt x="2701" y="783"/>
                    <a:pt x="2694" y="790"/>
                  </a:cubicBezTo>
                  <a:cubicBezTo>
                    <a:pt x="2659" y="822"/>
                    <a:pt x="2633" y="856"/>
                    <a:pt x="2613" y="890"/>
                  </a:cubicBezTo>
                  <a:cubicBezTo>
                    <a:pt x="2548" y="994"/>
                    <a:pt x="2491" y="1165"/>
                    <a:pt x="2609" y="1374"/>
                  </a:cubicBezTo>
                  <a:cubicBezTo>
                    <a:pt x="2666" y="1475"/>
                    <a:pt x="2713" y="1581"/>
                    <a:pt x="2741" y="1691"/>
                  </a:cubicBezTo>
                  <a:cubicBezTo>
                    <a:pt x="2685" y="1649"/>
                    <a:pt x="2632" y="1602"/>
                    <a:pt x="2585" y="1550"/>
                  </a:cubicBezTo>
                  <a:cubicBezTo>
                    <a:pt x="2461" y="1416"/>
                    <a:pt x="2370" y="1245"/>
                    <a:pt x="2323" y="1060"/>
                  </a:cubicBezTo>
                  <a:cubicBezTo>
                    <a:pt x="2276" y="875"/>
                    <a:pt x="2272" y="687"/>
                    <a:pt x="2293" y="496"/>
                  </a:cubicBezTo>
                  <a:cubicBezTo>
                    <a:pt x="2311" y="337"/>
                    <a:pt x="2335" y="151"/>
                    <a:pt x="2242" y="16"/>
                  </a:cubicBezTo>
                  <a:cubicBezTo>
                    <a:pt x="2232" y="0"/>
                    <a:pt x="2208" y="17"/>
                    <a:pt x="2216" y="34"/>
                  </a:cubicBezTo>
                  <a:cubicBezTo>
                    <a:pt x="2272" y="164"/>
                    <a:pt x="2268" y="295"/>
                    <a:pt x="2250" y="429"/>
                  </a:cubicBezTo>
                  <a:cubicBezTo>
                    <a:pt x="2216" y="411"/>
                    <a:pt x="2180" y="394"/>
                    <a:pt x="2144" y="379"/>
                  </a:cubicBezTo>
                  <a:cubicBezTo>
                    <a:pt x="1969" y="303"/>
                    <a:pt x="1804" y="233"/>
                    <a:pt x="1714" y="47"/>
                  </a:cubicBezTo>
                  <a:cubicBezTo>
                    <a:pt x="1706" y="29"/>
                    <a:pt x="1731" y="217"/>
                    <a:pt x="1974" y="360"/>
                  </a:cubicBezTo>
                  <a:cubicBezTo>
                    <a:pt x="2058" y="409"/>
                    <a:pt x="2157" y="441"/>
                    <a:pt x="2240" y="494"/>
                  </a:cubicBezTo>
                  <a:cubicBezTo>
                    <a:pt x="2233" y="533"/>
                    <a:pt x="2226" y="573"/>
                    <a:pt x="2219" y="613"/>
                  </a:cubicBezTo>
                  <a:cubicBezTo>
                    <a:pt x="2187" y="806"/>
                    <a:pt x="2200" y="1002"/>
                    <a:pt x="2254" y="1187"/>
                  </a:cubicBezTo>
                  <a:cubicBezTo>
                    <a:pt x="2309" y="1373"/>
                    <a:pt x="2406" y="1541"/>
                    <a:pt x="2534" y="1677"/>
                  </a:cubicBezTo>
                  <a:cubicBezTo>
                    <a:pt x="2598" y="1744"/>
                    <a:pt x="2670" y="1802"/>
                    <a:pt x="2747" y="1850"/>
                  </a:cubicBezTo>
                  <a:cubicBezTo>
                    <a:pt x="2754" y="1854"/>
                    <a:pt x="2760" y="1858"/>
                    <a:pt x="2767" y="1863"/>
                  </a:cubicBezTo>
                  <a:cubicBezTo>
                    <a:pt x="2777" y="2082"/>
                    <a:pt x="2693" y="2313"/>
                    <a:pt x="2441" y="2543"/>
                  </a:cubicBezTo>
                  <a:cubicBezTo>
                    <a:pt x="2441" y="2543"/>
                    <a:pt x="2175" y="2842"/>
                    <a:pt x="2202" y="3082"/>
                  </a:cubicBezTo>
                  <a:cubicBezTo>
                    <a:pt x="2150" y="3039"/>
                    <a:pt x="2095" y="3001"/>
                    <a:pt x="2037" y="2967"/>
                  </a:cubicBezTo>
                  <a:cubicBezTo>
                    <a:pt x="2013" y="2920"/>
                    <a:pt x="1995" y="2872"/>
                    <a:pt x="1986" y="2818"/>
                  </a:cubicBezTo>
                  <a:cubicBezTo>
                    <a:pt x="1975" y="2750"/>
                    <a:pt x="1979" y="2680"/>
                    <a:pt x="1984" y="2612"/>
                  </a:cubicBezTo>
                  <a:cubicBezTo>
                    <a:pt x="1994" y="2498"/>
                    <a:pt x="2014" y="2386"/>
                    <a:pt x="2027" y="2273"/>
                  </a:cubicBezTo>
                  <a:cubicBezTo>
                    <a:pt x="2036" y="2260"/>
                    <a:pt x="2046" y="2248"/>
                    <a:pt x="2056" y="2237"/>
                  </a:cubicBezTo>
                  <a:cubicBezTo>
                    <a:pt x="2089" y="2205"/>
                    <a:pt x="2131" y="2182"/>
                    <a:pt x="2165" y="2151"/>
                  </a:cubicBezTo>
                  <a:cubicBezTo>
                    <a:pt x="2202" y="2117"/>
                    <a:pt x="2240" y="2084"/>
                    <a:pt x="2280" y="2053"/>
                  </a:cubicBezTo>
                  <a:cubicBezTo>
                    <a:pt x="2316" y="2026"/>
                    <a:pt x="2352" y="1996"/>
                    <a:pt x="2381" y="1961"/>
                  </a:cubicBezTo>
                  <a:cubicBezTo>
                    <a:pt x="2442" y="1890"/>
                    <a:pt x="2458" y="1801"/>
                    <a:pt x="2478" y="1712"/>
                  </a:cubicBezTo>
                  <a:cubicBezTo>
                    <a:pt x="2479" y="1705"/>
                    <a:pt x="2469" y="1704"/>
                    <a:pt x="2467" y="1710"/>
                  </a:cubicBezTo>
                  <a:cubicBezTo>
                    <a:pt x="2453" y="1761"/>
                    <a:pt x="2441" y="1812"/>
                    <a:pt x="2419" y="1860"/>
                  </a:cubicBezTo>
                  <a:cubicBezTo>
                    <a:pt x="2396" y="1908"/>
                    <a:pt x="2360" y="1949"/>
                    <a:pt x="2320" y="1983"/>
                  </a:cubicBezTo>
                  <a:cubicBezTo>
                    <a:pt x="2279" y="2018"/>
                    <a:pt x="2232" y="2045"/>
                    <a:pt x="2191" y="2079"/>
                  </a:cubicBezTo>
                  <a:cubicBezTo>
                    <a:pt x="2150" y="2112"/>
                    <a:pt x="2111" y="2148"/>
                    <a:pt x="2067" y="2178"/>
                  </a:cubicBezTo>
                  <a:cubicBezTo>
                    <a:pt x="2055" y="2186"/>
                    <a:pt x="2044" y="2194"/>
                    <a:pt x="2034" y="2204"/>
                  </a:cubicBezTo>
                  <a:cubicBezTo>
                    <a:pt x="2036" y="2187"/>
                    <a:pt x="2037" y="2170"/>
                    <a:pt x="2038" y="2153"/>
                  </a:cubicBezTo>
                  <a:cubicBezTo>
                    <a:pt x="2043" y="2075"/>
                    <a:pt x="2044" y="1996"/>
                    <a:pt x="2029" y="1918"/>
                  </a:cubicBezTo>
                  <a:cubicBezTo>
                    <a:pt x="2015" y="1848"/>
                    <a:pt x="1985" y="1784"/>
                    <a:pt x="1951" y="1721"/>
                  </a:cubicBezTo>
                  <a:cubicBezTo>
                    <a:pt x="1926" y="1675"/>
                    <a:pt x="1900" y="1628"/>
                    <a:pt x="1883" y="1578"/>
                  </a:cubicBezTo>
                  <a:cubicBezTo>
                    <a:pt x="1884" y="1578"/>
                    <a:pt x="1884" y="1578"/>
                    <a:pt x="1884" y="1578"/>
                  </a:cubicBezTo>
                  <a:cubicBezTo>
                    <a:pt x="1987" y="1496"/>
                    <a:pt x="2055" y="1362"/>
                    <a:pt x="2092" y="1239"/>
                  </a:cubicBezTo>
                  <a:cubicBezTo>
                    <a:pt x="2095" y="1230"/>
                    <a:pt x="2048" y="1335"/>
                    <a:pt x="1987" y="1403"/>
                  </a:cubicBezTo>
                  <a:cubicBezTo>
                    <a:pt x="1949" y="1445"/>
                    <a:pt x="1910" y="1483"/>
                    <a:pt x="1868" y="1519"/>
                  </a:cubicBezTo>
                  <a:cubicBezTo>
                    <a:pt x="1868" y="1519"/>
                    <a:pt x="1868" y="1518"/>
                    <a:pt x="1868" y="1517"/>
                  </a:cubicBezTo>
                  <a:cubicBezTo>
                    <a:pt x="1856" y="1440"/>
                    <a:pt x="1884" y="1367"/>
                    <a:pt x="1911" y="1296"/>
                  </a:cubicBezTo>
                  <a:cubicBezTo>
                    <a:pt x="1956" y="1177"/>
                    <a:pt x="1995" y="1023"/>
                    <a:pt x="1873" y="937"/>
                  </a:cubicBezTo>
                  <a:cubicBezTo>
                    <a:pt x="1865" y="932"/>
                    <a:pt x="1967" y="1055"/>
                    <a:pt x="1873" y="1273"/>
                  </a:cubicBezTo>
                  <a:cubicBezTo>
                    <a:pt x="1824" y="1208"/>
                    <a:pt x="1758" y="1154"/>
                    <a:pt x="1682" y="1119"/>
                  </a:cubicBezTo>
                  <a:cubicBezTo>
                    <a:pt x="1646" y="1103"/>
                    <a:pt x="1609" y="1090"/>
                    <a:pt x="1574" y="1072"/>
                  </a:cubicBezTo>
                  <a:cubicBezTo>
                    <a:pt x="1532" y="1049"/>
                    <a:pt x="1505" y="1018"/>
                    <a:pt x="1477" y="979"/>
                  </a:cubicBezTo>
                  <a:cubicBezTo>
                    <a:pt x="1439" y="925"/>
                    <a:pt x="1389" y="873"/>
                    <a:pt x="1316" y="893"/>
                  </a:cubicBezTo>
                  <a:cubicBezTo>
                    <a:pt x="1301" y="897"/>
                    <a:pt x="1419" y="886"/>
                    <a:pt x="1487" y="1044"/>
                  </a:cubicBezTo>
                  <a:cubicBezTo>
                    <a:pt x="1513" y="1104"/>
                    <a:pt x="1598" y="1139"/>
                    <a:pt x="1655" y="1168"/>
                  </a:cubicBezTo>
                  <a:cubicBezTo>
                    <a:pt x="1723" y="1203"/>
                    <a:pt x="1797" y="1273"/>
                    <a:pt x="1842" y="1336"/>
                  </a:cubicBezTo>
                  <a:cubicBezTo>
                    <a:pt x="1842" y="1336"/>
                    <a:pt x="1842" y="1336"/>
                    <a:pt x="1842" y="1336"/>
                  </a:cubicBezTo>
                  <a:cubicBezTo>
                    <a:pt x="1807" y="1397"/>
                    <a:pt x="1807" y="1470"/>
                    <a:pt x="1820" y="1540"/>
                  </a:cubicBezTo>
                  <a:cubicBezTo>
                    <a:pt x="1832" y="1605"/>
                    <a:pt x="1864" y="1665"/>
                    <a:pt x="1893" y="1724"/>
                  </a:cubicBezTo>
                  <a:cubicBezTo>
                    <a:pt x="1927" y="1791"/>
                    <a:pt x="1957" y="1859"/>
                    <a:pt x="1969" y="1934"/>
                  </a:cubicBezTo>
                  <a:cubicBezTo>
                    <a:pt x="1978" y="1987"/>
                    <a:pt x="1980" y="2040"/>
                    <a:pt x="1976" y="2093"/>
                  </a:cubicBezTo>
                  <a:cubicBezTo>
                    <a:pt x="1943" y="2059"/>
                    <a:pt x="1893" y="2034"/>
                    <a:pt x="1857" y="2015"/>
                  </a:cubicBezTo>
                  <a:cubicBezTo>
                    <a:pt x="1832" y="2003"/>
                    <a:pt x="1805" y="1992"/>
                    <a:pt x="1777" y="1984"/>
                  </a:cubicBezTo>
                  <a:cubicBezTo>
                    <a:pt x="1665" y="1955"/>
                    <a:pt x="1659" y="1895"/>
                    <a:pt x="1659" y="1908"/>
                  </a:cubicBezTo>
                  <a:cubicBezTo>
                    <a:pt x="1659" y="1976"/>
                    <a:pt x="1731" y="2000"/>
                    <a:pt x="1783" y="2021"/>
                  </a:cubicBezTo>
                  <a:cubicBezTo>
                    <a:pt x="1820" y="2037"/>
                    <a:pt x="1854" y="2057"/>
                    <a:pt x="1884" y="2083"/>
                  </a:cubicBezTo>
                  <a:cubicBezTo>
                    <a:pt x="1912" y="2107"/>
                    <a:pt x="1932" y="2141"/>
                    <a:pt x="1962" y="2162"/>
                  </a:cubicBezTo>
                  <a:cubicBezTo>
                    <a:pt x="1963" y="2164"/>
                    <a:pt x="1965" y="2165"/>
                    <a:pt x="1967" y="2165"/>
                  </a:cubicBezTo>
                  <a:cubicBezTo>
                    <a:pt x="1966" y="2171"/>
                    <a:pt x="1965" y="2177"/>
                    <a:pt x="1964" y="2182"/>
                  </a:cubicBezTo>
                  <a:cubicBezTo>
                    <a:pt x="1953" y="2245"/>
                    <a:pt x="1936" y="2306"/>
                    <a:pt x="1920" y="2368"/>
                  </a:cubicBezTo>
                  <a:cubicBezTo>
                    <a:pt x="1700" y="2308"/>
                    <a:pt x="1584" y="2086"/>
                    <a:pt x="1506" y="1888"/>
                  </a:cubicBezTo>
                  <a:cubicBezTo>
                    <a:pt x="1415" y="1660"/>
                    <a:pt x="1338" y="1410"/>
                    <a:pt x="1139" y="1250"/>
                  </a:cubicBezTo>
                  <a:cubicBezTo>
                    <a:pt x="1062" y="1188"/>
                    <a:pt x="934" y="1115"/>
                    <a:pt x="833" y="1154"/>
                  </a:cubicBezTo>
                  <a:cubicBezTo>
                    <a:pt x="823" y="1158"/>
                    <a:pt x="1000" y="1182"/>
                    <a:pt x="1119" y="1313"/>
                  </a:cubicBezTo>
                  <a:cubicBezTo>
                    <a:pt x="1167" y="1366"/>
                    <a:pt x="1210" y="1420"/>
                    <a:pt x="1248" y="1478"/>
                  </a:cubicBezTo>
                  <a:cubicBezTo>
                    <a:pt x="1203" y="1490"/>
                    <a:pt x="1159" y="1503"/>
                    <a:pt x="1113" y="1509"/>
                  </a:cubicBezTo>
                  <a:cubicBezTo>
                    <a:pt x="1034" y="1518"/>
                    <a:pt x="946" y="1508"/>
                    <a:pt x="954" y="1511"/>
                  </a:cubicBezTo>
                  <a:cubicBezTo>
                    <a:pt x="1005" y="1531"/>
                    <a:pt x="1060" y="1535"/>
                    <a:pt x="1114" y="1539"/>
                  </a:cubicBezTo>
                  <a:cubicBezTo>
                    <a:pt x="1169" y="1544"/>
                    <a:pt x="1225" y="1548"/>
                    <a:pt x="1279" y="1533"/>
                  </a:cubicBezTo>
                  <a:cubicBezTo>
                    <a:pt x="1279" y="1533"/>
                    <a:pt x="1280" y="1533"/>
                    <a:pt x="1280" y="1533"/>
                  </a:cubicBezTo>
                  <a:cubicBezTo>
                    <a:pt x="1292" y="1555"/>
                    <a:pt x="1303" y="1577"/>
                    <a:pt x="1313" y="1600"/>
                  </a:cubicBezTo>
                  <a:cubicBezTo>
                    <a:pt x="1411" y="1827"/>
                    <a:pt x="1454" y="2075"/>
                    <a:pt x="1618" y="2270"/>
                  </a:cubicBezTo>
                  <a:cubicBezTo>
                    <a:pt x="1692" y="2357"/>
                    <a:pt x="1787" y="2428"/>
                    <a:pt x="1896" y="2462"/>
                  </a:cubicBezTo>
                  <a:cubicBezTo>
                    <a:pt x="1883" y="2516"/>
                    <a:pt x="1873" y="2570"/>
                    <a:pt x="1867" y="2625"/>
                  </a:cubicBezTo>
                  <a:cubicBezTo>
                    <a:pt x="1859" y="2712"/>
                    <a:pt x="1861" y="2805"/>
                    <a:pt x="1882" y="2893"/>
                  </a:cubicBezTo>
                  <a:cubicBezTo>
                    <a:pt x="1804" y="2862"/>
                    <a:pt x="1724" y="2841"/>
                    <a:pt x="1641" y="2823"/>
                  </a:cubicBezTo>
                  <a:cubicBezTo>
                    <a:pt x="1563" y="2804"/>
                    <a:pt x="1472" y="2784"/>
                    <a:pt x="1429" y="2708"/>
                  </a:cubicBezTo>
                  <a:cubicBezTo>
                    <a:pt x="1382" y="2625"/>
                    <a:pt x="1395" y="2515"/>
                    <a:pt x="1378" y="2423"/>
                  </a:cubicBezTo>
                  <a:cubicBezTo>
                    <a:pt x="1360" y="2323"/>
                    <a:pt x="1311" y="2228"/>
                    <a:pt x="1248" y="2150"/>
                  </a:cubicBezTo>
                  <a:cubicBezTo>
                    <a:pt x="1158" y="2039"/>
                    <a:pt x="1027" y="1948"/>
                    <a:pt x="886" y="1913"/>
                  </a:cubicBezTo>
                  <a:cubicBezTo>
                    <a:pt x="820" y="1683"/>
                    <a:pt x="526" y="1660"/>
                    <a:pt x="360" y="1531"/>
                  </a:cubicBezTo>
                  <a:cubicBezTo>
                    <a:pt x="351" y="1524"/>
                    <a:pt x="339" y="1535"/>
                    <a:pt x="347" y="1544"/>
                  </a:cubicBezTo>
                  <a:cubicBezTo>
                    <a:pt x="469" y="1680"/>
                    <a:pt x="774" y="1701"/>
                    <a:pt x="817" y="1901"/>
                  </a:cubicBezTo>
                  <a:cubicBezTo>
                    <a:pt x="756" y="1895"/>
                    <a:pt x="695" y="1900"/>
                    <a:pt x="635" y="1918"/>
                  </a:cubicBezTo>
                  <a:cubicBezTo>
                    <a:pt x="611" y="1926"/>
                    <a:pt x="616" y="1960"/>
                    <a:pt x="641" y="1961"/>
                  </a:cubicBezTo>
                  <a:cubicBezTo>
                    <a:pt x="843" y="1970"/>
                    <a:pt x="1053" y="2030"/>
                    <a:pt x="1159" y="2218"/>
                  </a:cubicBezTo>
                  <a:cubicBezTo>
                    <a:pt x="1206" y="2301"/>
                    <a:pt x="1227" y="2388"/>
                    <a:pt x="1234" y="2482"/>
                  </a:cubicBezTo>
                  <a:cubicBezTo>
                    <a:pt x="1236" y="2509"/>
                    <a:pt x="1238" y="2537"/>
                    <a:pt x="1240" y="2564"/>
                  </a:cubicBezTo>
                  <a:cubicBezTo>
                    <a:pt x="1155" y="2536"/>
                    <a:pt x="1049" y="2550"/>
                    <a:pt x="969" y="2515"/>
                  </a:cubicBezTo>
                  <a:cubicBezTo>
                    <a:pt x="950" y="2507"/>
                    <a:pt x="932" y="2496"/>
                    <a:pt x="914" y="2483"/>
                  </a:cubicBezTo>
                  <a:cubicBezTo>
                    <a:pt x="920" y="2389"/>
                    <a:pt x="892" y="2294"/>
                    <a:pt x="855" y="2209"/>
                  </a:cubicBezTo>
                  <a:cubicBezTo>
                    <a:pt x="852" y="2202"/>
                    <a:pt x="839" y="2207"/>
                    <a:pt x="842" y="2215"/>
                  </a:cubicBezTo>
                  <a:cubicBezTo>
                    <a:pt x="874" y="2296"/>
                    <a:pt x="882" y="2377"/>
                    <a:pt x="885" y="2461"/>
                  </a:cubicBezTo>
                  <a:cubicBezTo>
                    <a:pt x="802" y="2395"/>
                    <a:pt x="727" y="2307"/>
                    <a:pt x="614" y="2317"/>
                  </a:cubicBezTo>
                  <a:cubicBezTo>
                    <a:pt x="606" y="2318"/>
                    <a:pt x="687" y="2342"/>
                    <a:pt x="761" y="2398"/>
                  </a:cubicBezTo>
                  <a:cubicBezTo>
                    <a:pt x="806" y="2433"/>
                    <a:pt x="847" y="2480"/>
                    <a:pt x="887" y="2517"/>
                  </a:cubicBezTo>
                  <a:cubicBezTo>
                    <a:pt x="888" y="2522"/>
                    <a:pt x="892" y="2525"/>
                    <a:pt x="897" y="2526"/>
                  </a:cubicBezTo>
                  <a:cubicBezTo>
                    <a:pt x="913" y="2541"/>
                    <a:pt x="930" y="2554"/>
                    <a:pt x="946" y="2563"/>
                  </a:cubicBezTo>
                  <a:cubicBezTo>
                    <a:pt x="997" y="2591"/>
                    <a:pt x="1052" y="2602"/>
                    <a:pt x="1109" y="2613"/>
                  </a:cubicBezTo>
                  <a:cubicBezTo>
                    <a:pt x="1138" y="2619"/>
                    <a:pt x="1166" y="2625"/>
                    <a:pt x="1194" y="2633"/>
                  </a:cubicBezTo>
                  <a:cubicBezTo>
                    <a:pt x="1215" y="2639"/>
                    <a:pt x="1232" y="2648"/>
                    <a:pt x="1250" y="2658"/>
                  </a:cubicBezTo>
                  <a:cubicBezTo>
                    <a:pt x="1257" y="2699"/>
                    <a:pt x="1268" y="2739"/>
                    <a:pt x="1287" y="2777"/>
                  </a:cubicBezTo>
                  <a:cubicBezTo>
                    <a:pt x="1377" y="2961"/>
                    <a:pt x="1591" y="2969"/>
                    <a:pt x="1762" y="3025"/>
                  </a:cubicBezTo>
                  <a:cubicBezTo>
                    <a:pt x="1923" y="3077"/>
                    <a:pt x="2068" y="3172"/>
                    <a:pt x="2186" y="3293"/>
                  </a:cubicBezTo>
                  <a:cubicBezTo>
                    <a:pt x="2272" y="3381"/>
                    <a:pt x="2342" y="3483"/>
                    <a:pt x="2393" y="3595"/>
                  </a:cubicBezTo>
                  <a:cubicBezTo>
                    <a:pt x="2221" y="3521"/>
                    <a:pt x="2044" y="3460"/>
                    <a:pt x="1863" y="3416"/>
                  </a:cubicBezTo>
                  <a:cubicBezTo>
                    <a:pt x="1697" y="3375"/>
                    <a:pt x="1532" y="3353"/>
                    <a:pt x="1363" y="3335"/>
                  </a:cubicBezTo>
                  <a:cubicBezTo>
                    <a:pt x="1285" y="3327"/>
                    <a:pt x="1207" y="3317"/>
                    <a:pt x="1133" y="3289"/>
                  </a:cubicBezTo>
                  <a:cubicBezTo>
                    <a:pt x="1055" y="3260"/>
                    <a:pt x="997" y="3207"/>
                    <a:pt x="948" y="3141"/>
                  </a:cubicBezTo>
                  <a:cubicBezTo>
                    <a:pt x="853" y="3013"/>
                    <a:pt x="782" y="2841"/>
                    <a:pt x="610" y="2803"/>
                  </a:cubicBezTo>
                  <a:cubicBezTo>
                    <a:pt x="607" y="2802"/>
                    <a:pt x="610" y="2805"/>
                    <a:pt x="620" y="2813"/>
                  </a:cubicBezTo>
                  <a:cubicBezTo>
                    <a:pt x="644" y="2839"/>
                    <a:pt x="713" y="2918"/>
                    <a:pt x="784" y="3038"/>
                  </a:cubicBezTo>
                  <a:cubicBezTo>
                    <a:pt x="660" y="3001"/>
                    <a:pt x="528" y="2980"/>
                    <a:pt x="403" y="2951"/>
                  </a:cubicBezTo>
                  <a:cubicBezTo>
                    <a:pt x="280" y="2922"/>
                    <a:pt x="61" y="2906"/>
                    <a:pt x="9" y="2767"/>
                  </a:cubicBezTo>
                  <a:cubicBezTo>
                    <a:pt x="7" y="2763"/>
                    <a:pt x="0" y="2765"/>
                    <a:pt x="2" y="2769"/>
                  </a:cubicBezTo>
                  <a:cubicBezTo>
                    <a:pt x="46" y="2906"/>
                    <a:pt x="173" y="2933"/>
                    <a:pt x="299" y="2964"/>
                  </a:cubicBezTo>
                  <a:cubicBezTo>
                    <a:pt x="385" y="2986"/>
                    <a:pt x="471" y="3008"/>
                    <a:pt x="558" y="3030"/>
                  </a:cubicBezTo>
                  <a:cubicBezTo>
                    <a:pt x="643" y="3051"/>
                    <a:pt x="729" y="3080"/>
                    <a:pt x="815" y="3094"/>
                  </a:cubicBezTo>
                  <a:cubicBezTo>
                    <a:pt x="831" y="3124"/>
                    <a:pt x="847" y="3156"/>
                    <a:pt x="862" y="3190"/>
                  </a:cubicBezTo>
                  <a:cubicBezTo>
                    <a:pt x="968" y="3431"/>
                    <a:pt x="1074" y="3472"/>
                    <a:pt x="1212" y="3492"/>
                  </a:cubicBezTo>
                  <a:cubicBezTo>
                    <a:pt x="1746" y="3569"/>
                    <a:pt x="2199" y="3760"/>
                    <a:pt x="2476" y="3901"/>
                  </a:cubicBezTo>
                  <a:cubicBezTo>
                    <a:pt x="2504" y="4270"/>
                    <a:pt x="2574" y="5611"/>
                    <a:pt x="2153" y="6194"/>
                  </a:cubicBezTo>
                  <a:cubicBezTo>
                    <a:pt x="3405" y="6194"/>
                    <a:pt x="3405" y="6194"/>
                    <a:pt x="3405" y="6194"/>
                  </a:cubicBezTo>
                  <a:cubicBezTo>
                    <a:pt x="3405" y="6194"/>
                    <a:pt x="2871" y="5370"/>
                    <a:pt x="3147" y="4231"/>
                  </a:cubicBezTo>
                  <a:cubicBezTo>
                    <a:pt x="3159" y="4206"/>
                    <a:pt x="3172" y="4180"/>
                    <a:pt x="3186" y="4155"/>
                  </a:cubicBezTo>
                  <a:cubicBezTo>
                    <a:pt x="3237" y="4064"/>
                    <a:pt x="3295" y="3977"/>
                    <a:pt x="3354" y="3891"/>
                  </a:cubicBezTo>
                  <a:cubicBezTo>
                    <a:pt x="3472" y="3722"/>
                    <a:pt x="3611" y="3573"/>
                    <a:pt x="3769" y="3440"/>
                  </a:cubicBezTo>
                  <a:cubicBezTo>
                    <a:pt x="3929" y="3305"/>
                    <a:pt x="4105" y="3193"/>
                    <a:pt x="4291" y="3098"/>
                  </a:cubicBezTo>
                  <a:cubicBezTo>
                    <a:pt x="4499" y="2990"/>
                    <a:pt x="4713" y="2892"/>
                    <a:pt x="4887" y="2732"/>
                  </a:cubicBezTo>
                  <a:cubicBezTo>
                    <a:pt x="4956" y="2705"/>
                    <a:pt x="5024" y="2672"/>
                    <a:pt x="5092" y="2645"/>
                  </a:cubicBezTo>
                  <a:cubicBezTo>
                    <a:pt x="5181" y="2608"/>
                    <a:pt x="5270" y="2572"/>
                    <a:pt x="5359" y="2536"/>
                  </a:cubicBezTo>
                  <a:cubicBezTo>
                    <a:pt x="5488" y="2483"/>
                    <a:pt x="5620" y="2435"/>
                    <a:pt x="5646" y="2283"/>
                  </a:cubicBezTo>
                  <a:cubicBezTo>
                    <a:pt x="5647" y="2278"/>
                    <a:pt x="5640" y="2277"/>
                    <a:pt x="5639" y="228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2" name="Oval 11"/>
            <p:cNvSpPr/>
            <p:nvPr/>
          </p:nvSpPr>
          <p:spPr>
            <a:xfrm>
              <a:off x="5628961" y="3030010"/>
              <a:ext cx="346969" cy="346969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5452780" y="2485061"/>
              <a:ext cx="264140" cy="264140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6045798" y="2326482"/>
              <a:ext cx="338924" cy="338923"/>
            </a:xfrm>
            <a:prstGeom prst="ellipse">
              <a:avLst/>
            </a:prstGeom>
            <a:solidFill>
              <a:schemeClr val="accent4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6485905" y="3006932"/>
              <a:ext cx="221580" cy="221580"/>
            </a:xfrm>
            <a:prstGeom prst="ellipse">
              <a:avLst/>
            </a:prstGeom>
            <a:solidFill>
              <a:schemeClr val="accent4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6868253" y="2678735"/>
              <a:ext cx="221580" cy="221580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6405379" y="2334843"/>
              <a:ext cx="156535" cy="156534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5823104" y="2608352"/>
              <a:ext cx="221580" cy="221580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5572185" y="3442644"/>
              <a:ext cx="221580" cy="221580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6316639" y="2750344"/>
              <a:ext cx="266333" cy="266332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6598933" y="2580464"/>
              <a:ext cx="221580" cy="221580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6784250" y="3057236"/>
              <a:ext cx="221580" cy="221580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5985572" y="2862948"/>
              <a:ext cx="259226" cy="259226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6718480" y="3367368"/>
              <a:ext cx="221580" cy="221580"/>
            </a:xfrm>
            <a:prstGeom prst="ellipse">
              <a:avLst/>
            </a:prstGeom>
            <a:solidFill>
              <a:schemeClr val="accent4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4748056" y="2263895"/>
              <a:ext cx="274440" cy="274439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5035325" y="2082992"/>
              <a:ext cx="181577" cy="181577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7570273" y="1986386"/>
              <a:ext cx="221580" cy="221580"/>
            </a:xfrm>
            <a:prstGeom prst="ellipse">
              <a:avLst/>
            </a:prstGeom>
            <a:solidFill>
              <a:schemeClr val="accent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5134232" y="2310098"/>
              <a:ext cx="147353" cy="147352"/>
            </a:xfrm>
            <a:prstGeom prst="ellipse">
              <a:avLst/>
            </a:prstGeom>
            <a:solidFill>
              <a:schemeClr val="accent4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7546099" y="1724442"/>
              <a:ext cx="180182" cy="180182"/>
            </a:xfrm>
            <a:prstGeom prst="ellipse">
              <a:avLst/>
            </a:prstGeom>
            <a:solidFill>
              <a:schemeClr val="accent3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6364471" y="2114645"/>
              <a:ext cx="156535" cy="156534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6273536" y="1686127"/>
              <a:ext cx="187575" cy="187575"/>
            </a:xfrm>
            <a:prstGeom prst="ellipse">
              <a:avLst/>
            </a:prstGeom>
            <a:solidFill>
              <a:srgbClr val="EC0000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5187" y="1546310"/>
            <a:ext cx="357790" cy="357790"/>
            <a:chOff x="595187" y="1546310"/>
            <a:chExt cx="357790" cy="357790"/>
          </a:xfrm>
        </p:grpSpPr>
        <p:sp>
          <p:nvSpPr>
            <p:cNvPr id="53" name="Oval 52"/>
            <p:cNvSpPr/>
            <p:nvPr/>
          </p:nvSpPr>
          <p:spPr>
            <a:xfrm>
              <a:off x="595187" y="1546310"/>
              <a:ext cx="357790" cy="35779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30487" y="162706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1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5187" y="2310027"/>
            <a:ext cx="357790" cy="357790"/>
            <a:chOff x="595187" y="2310027"/>
            <a:chExt cx="357790" cy="357790"/>
          </a:xfrm>
          <a:solidFill>
            <a:srgbClr val="EC0000"/>
          </a:solidFill>
        </p:grpSpPr>
        <p:sp>
          <p:nvSpPr>
            <p:cNvPr id="59" name="Oval 58"/>
            <p:cNvSpPr/>
            <p:nvPr/>
          </p:nvSpPr>
          <p:spPr>
            <a:xfrm>
              <a:off x="595187" y="2310027"/>
              <a:ext cx="357790" cy="357790"/>
            </a:xfrm>
            <a:prstGeom prst="ellipse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30487" y="2390782"/>
              <a:ext cx="280805" cy="183663"/>
            </a:xfrm>
            <a:prstGeom prst="rect">
              <a:avLst/>
            </a:prstGeom>
            <a:grp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2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95187" y="3837460"/>
            <a:ext cx="357790" cy="357790"/>
            <a:chOff x="595187" y="3837460"/>
            <a:chExt cx="357790" cy="357790"/>
          </a:xfrm>
        </p:grpSpPr>
        <p:sp>
          <p:nvSpPr>
            <p:cNvPr id="65" name="Oval 64"/>
            <p:cNvSpPr/>
            <p:nvPr/>
          </p:nvSpPr>
          <p:spPr>
            <a:xfrm>
              <a:off x="595187" y="3837460"/>
              <a:ext cx="357790" cy="35779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30487" y="3918215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4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95187" y="3073744"/>
            <a:ext cx="357790" cy="357790"/>
            <a:chOff x="595187" y="3073744"/>
            <a:chExt cx="357790" cy="357790"/>
          </a:xfrm>
        </p:grpSpPr>
        <p:sp>
          <p:nvSpPr>
            <p:cNvPr id="71" name="Oval 70"/>
            <p:cNvSpPr/>
            <p:nvPr/>
          </p:nvSpPr>
          <p:spPr>
            <a:xfrm>
              <a:off x="595187" y="3073744"/>
              <a:ext cx="357790" cy="35779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630487" y="3154499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3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232381" y="1512585"/>
            <a:ext cx="1964301" cy="481229"/>
            <a:chOff x="1232381" y="1512585"/>
            <a:chExt cx="1964301" cy="481229"/>
          </a:xfrm>
        </p:grpSpPr>
        <p:sp>
          <p:nvSpPr>
            <p:cNvPr id="76" name="TextBox 75"/>
            <p:cNvSpPr txBox="1"/>
            <p:nvPr/>
          </p:nvSpPr>
          <p:spPr>
            <a:xfrm>
              <a:off x="1232410" y="1512585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LCANCE GLOBAL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232381" y="1710723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g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232381" y="2301561"/>
            <a:ext cx="1964301" cy="481229"/>
            <a:chOff x="1232381" y="2301561"/>
            <a:chExt cx="1964301" cy="481229"/>
          </a:xfrm>
        </p:grpSpPr>
        <p:sp>
          <p:nvSpPr>
            <p:cNvPr id="80" name="TextBox 79"/>
            <p:cNvSpPr txBox="1"/>
            <p:nvPr/>
          </p:nvSpPr>
          <p:spPr>
            <a:xfrm>
              <a:off x="1232410" y="2301561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1232381" y="2499699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g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1232381" y="3070334"/>
            <a:ext cx="1964301" cy="481229"/>
            <a:chOff x="1232381" y="3070334"/>
            <a:chExt cx="1964301" cy="481229"/>
          </a:xfrm>
        </p:grpSpPr>
        <p:sp>
          <p:nvSpPr>
            <p:cNvPr id="83" name="TextBox 82"/>
            <p:cNvSpPr txBox="1"/>
            <p:nvPr/>
          </p:nvSpPr>
          <p:spPr>
            <a:xfrm>
              <a:off x="1232410" y="307033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LANO DE NEGÓCIO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232381" y="326847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g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232381" y="3828994"/>
            <a:ext cx="1964301" cy="481229"/>
            <a:chOff x="1232381" y="3828994"/>
            <a:chExt cx="1964301" cy="481229"/>
          </a:xfrm>
        </p:grpSpPr>
        <p:sp>
          <p:nvSpPr>
            <p:cNvPr id="86" name="TextBox 85"/>
            <p:cNvSpPr txBox="1"/>
            <p:nvPr/>
          </p:nvSpPr>
          <p:spPr>
            <a:xfrm>
              <a:off x="1232410" y="3828994"/>
              <a:ext cx="196422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OPERAÇÕ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232381" y="4027132"/>
              <a:ext cx="196430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u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olutp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. Maecenas fermen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nibh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vitae nisi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g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.</a:t>
              </a:r>
            </a:p>
          </p:txBody>
        </p:sp>
      </p:grpSp>
      <p:sp>
        <p:nvSpPr>
          <p:cNvPr id="61" name="Oval 60"/>
          <p:cNvSpPr/>
          <p:nvPr/>
        </p:nvSpPr>
        <p:spPr>
          <a:xfrm>
            <a:off x="4558241" y="2559353"/>
            <a:ext cx="1022378" cy="102237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2" name="Oval 61"/>
          <p:cNvSpPr/>
          <p:nvPr/>
        </p:nvSpPr>
        <p:spPr>
          <a:xfrm>
            <a:off x="5216902" y="1392635"/>
            <a:ext cx="1022378" cy="1022378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6480097" y="1386486"/>
            <a:ext cx="1022378" cy="102237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7053117" y="2511308"/>
            <a:ext cx="1022378" cy="102237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7" name="Freeform 84"/>
          <p:cNvSpPr>
            <a:spLocks noEditPoints="1"/>
          </p:cNvSpPr>
          <p:nvPr/>
        </p:nvSpPr>
        <p:spPr bwMode="auto">
          <a:xfrm>
            <a:off x="7375594" y="2833786"/>
            <a:ext cx="377423" cy="377423"/>
          </a:xfrm>
          <a:custGeom>
            <a:avLst/>
            <a:gdLst>
              <a:gd name="T0" fmla="*/ 324 w 353"/>
              <a:gd name="T1" fmla="*/ 137 h 353"/>
              <a:gd name="T2" fmla="*/ 318 w 353"/>
              <a:gd name="T3" fmla="*/ 85 h 353"/>
              <a:gd name="T4" fmla="*/ 285 w 353"/>
              <a:gd name="T5" fmla="*/ 35 h 353"/>
              <a:gd name="T6" fmla="*/ 268 w 353"/>
              <a:gd name="T7" fmla="*/ 35 h 353"/>
              <a:gd name="T8" fmla="*/ 216 w 353"/>
              <a:gd name="T9" fmla="*/ 29 h 353"/>
              <a:gd name="T10" fmla="*/ 200 w 353"/>
              <a:gd name="T11" fmla="*/ 0 h 353"/>
              <a:gd name="T12" fmla="*/ 141 w 353"/>
              <a:gd name="T13" fmla="*/ 12 h 353"/>
              <a:gd name="T14" fmla="*/ 100 w 353"/>
              <a:gd name="T15" fmla="*/ 44 h 353"/>
              <a:gd name="T16" fmla="*/ 76 w 353"/>
              <a:gd name="T17" fmla="*/ 32 h 353"/>
              <a:gd name="T18" fmla="*/ 35 w 353"/>
              <a:gd name="T19" fmla="*/ 68 h 353"/>
              <a:gd name="T20" fmla="*/ 44 w 353"/>
              <a:gd name="T21" fmla="*/ 100 h 353"/>
              <a:gd name="T22" fmla="*/ 12 w 353"/>
              <a:gd name="T23" fmla="*/ 141 h 353"/>
              <a:gd name="T24" fmla="*/ 0 w 353"/>
              <a:gd name="T25" fmla="*/ 200 h 353"/>
              <a:gd name="T26" fmla="*/ 29 w 353"/>
              <a:gd name="T27" fmla="*/ 216 h 353"/>
              <a:gd name="T28" fmla="*/ 35 w 353"/>
              <a:gd name="T29" fmla="*/ 268 h 353"/>
              <a:gd name="T30" fmla="*/ 68 w 353"/>
              <a:gd name="T31" fmla="*/ 318 h 353"/>
              <a:gd name="T32" fmla="*/ 85 w 353"/>
              <a:gd name="T33" fmla="*/ 318 h 353"/>
              <a:gd name="T34" fmla="*/ 137 w 353"/>
              <a:gd name="T35" fmla="*/ 324 h 353"/>
              <a:gd name="T36" fmla="*/ 153 w 353"/>
              <a:gd name="T37" fmla="*/ 353 h 353"/>
              <a:gd name="T38" fmla="*/ 212 w 353"/>
              <a:gd name="T39" fmla="*/ 341 h 353"/>
              <a:gd name="T40" fmla="*/ 253 w 353"/>
              <a:gd name="T41" fmla="*/ 309 h 353"/>
              <a:gd name="T42" fmla="*/ 278 w 353"/>
              <a:gd name="T43" fmla="*/ 321 h 353"/>
              <a:gd name="T44" fmla="*/ 318 w 353"/>
              <a:gd name="T45" fmla="*/ 285 h 353"/>
              <a:gd name="T46" fmla="*/ 309 w 353"/>
              <a:gd name="T47" fmla="*/ 253 h 353"/>
              <a:gd name="T48" fmla="*/ 341 w 353"/>
              <a:gd name="T49" fmla="*/ 212 h 353"/>
              <a:gd name="T50" fmla="*/ 353 w 353"/>
              <a:gd name="T51" fmla="*/ 153 h 353"/>
              <a:gd name="T52" fmla="*/ 337 w 353"/>
              <a:gd name="T53" fmla="*/ 196 h 353"/>
              <a:gd name="T54" fmla="*/ 320 w 353"/>
              <a:gd name="T55" fmla="*/ 200 h 353"/>
              <a:gd name="T56" fmla="*/ 295 w 353"/>
              <a:gd name="T57" fmla="*/ 245 h 353"/>
              <a:gd name="T58" fmla="*/ 304 w 353"/>
              <a:gd name="T59" fmla="*/ 276 h 353"/>
              <a:gd name="T60" fmla="*/ 276 w 353"/>
              <a:gd name="T61" fmla="*/ 304 h 353"/>
              <a:gd name="T62" fmla="*/ 253 w 353"/>
              <a:gd name="T63" fmla="*/ 293 h 353"/>
              <a:gd name="T64" fmla="*/ 212 w 353"/>
              <a:gd name="T65" fmla="*/ 309 h 353"/>
              <a:gd name="T66" fmla="*/ 196 w 353"/>
              <a:gd name="T67" fmla="*/ 337 h 353"/>
              <a:gd name="T68" fmla="*/ 157 w 353"/>
              <a:gd name="T69" fmla="*/ 337 h 353"/>
              <a:gd name="T70" fmla="*/ 141 w 353"/>
              <a:gd name="T71" fmla="*/ 309 h 353"/>
              <a:gd name="T72" fmla="*/ 100 w 353"/>
              <a:gd name="T73" fmla="*/ 293 h 353"/>
              <a:gd name="T74" fmla="*/ 77 w 353"/>
              <a:gd name="T75" fmla="*/ 304 h 353"/>
              <a:gd name="T76" fmla="*/ 49 w 353"/>
              <a:gd name="T77" fmla="*/ 276 h 353"/>
              <a:gd name="T78" fmla="*/ 58 w 353"/>
              <a:gd name="T79" fmla="*/ 245 h 353"/>
              <a:gd name="T80" fmla="*/ 33 w 353"/>
              <a:gd name="T81" fmla="*/ 200 h 353"/>
              <a:gd name="T82" fmla="*/ 16 w 353"/>
              <a:gd name="T83" fmla="*/ 196 h 353"/>
              <a:gd name="T84" fmla="*/ 33 w 353"/>
              <a:gd name="T85" fmla="*/ 152 h 353"/>
              <a:gd name="T86" fmla="*/ 58 w 353"/>
              <a:gd name="T87" fmla="*/ 108 h 353"/>
              <a:gd name="T88" fmla="*/ 49 w 353"/>
              <a:gd name="T89" fmla="*/ 77 h 353"/>
              <a:gd name="T90" fmla="*/ 77 w 353"/>
              <a:gd name="T91" fmla="*/ 49 h 353"/>
              <a:gd name="T92" fmla="*/ 100 w 353"/>
              <a:gd name="T93" fmla="*/ 60 h 353"/>
              <a:gd name="T94" fmla="*/ 141 w 353"/>
              <a:gd name="T95" fmla="*/ 44 h 353"/>
              <a:gd name="T96" fmla="*/ 157 w 353"/>
              <a:gd name="T97" fmla="*/ 16 h 353"/>
              <a:gd name="T98" fmla="*/ 196 w 353"/>
              <a:gd name="T99" fmla="*/ 16 h 353"/>
              <a:gd name="T100" fmla="*/ 212 w 353"/>
              <a:gd name="T101" fmla="*/ 44 h 353"/>
              <a:gd name="T102" fmla="*/ 253 w 353"/>
              <a:gd name="T103" fmla="*/ 60 h 353"/>
              <a:gd name="T104" fmla="*/ 276 w 353"/>
              <a:gd name="T105" fmla="*/ 49 h 353"/>
              <a:gd name="T106" fmla="*/ 304 w 353"/>
              <a:gd name="T107" fmla="*/ 77 h 353"/>
              <a:gd name="T108" fmla="*/ 295 w 353"/>
              <a:gd name="T109" fmla="*/ 108 h 353"/>
              <a:gd name="T110" fmla="*/ 320 w 353"/>
              <a:gd name="T111" fmla="*/ 152 h 353"/>
              <a:gd name="T112" fmla="*/ 337 w 353"/>
              <a:gd name="T113" fmla="*/ 196 h 353"/>
              <a:gd name="T114" fmla="*/ 96 w 353"/>
              <a:gd name="T115" fmla="*/ 176 h 353"/>
              <a:gd name="T116" fmla="*/ 257 w 353"/>
              <a:gd name="T117" fmla="*/ 176 h 353"/>
              <a:gd name="T118" fmla="*/ 176 w 353"/>
              <a:gd name="T119" fmla="*/ 241 h 353"/>
              <a:gd name="T120" fmla="*/ 176 w 353"/>
              <a:gd name="T121" fmla="*/ 112 h 353"/>
              <a:gd name="T122" fmla="*/ 176 w 353"/>
              <a:gd name="T123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41" y="141"/>
                </a:moveTo>
                <a:cubicBezTo>
                  <a:pt x="324" y="137"/>
                  <a:pt x="324" y="137"/>
                  <a:pt x="324" y="137"/>
                </a:cubicBezTo>
                <a:cubicBezTo>
                  <a:pt x="321" y="124"/>
                  <a:pt x="316" y="111"/>
                  <a:pt x="309" y="100"/>
                </a:cubicBezTo>
                <a:cubicBezTo>
                  <a:pt x="318" y="85"/>
                  <a:pt x="318" y="85"/>
                  <a:pt x="318" y="85"/>
                </a:cubicBezTo>
                <a:cubicBezTo>
                  <a:pt x="321" y="79"/>
                  <a:pt x="323" y="73"/>
                  <a:pt x="318" y="68"/>
                </a:cubicBezTo>
                <a:cubicBezTo>
                  <a:pt x="285" y="35"/>
                  <a:pt x="285" y="35"/>
                  <a:pt x="285" y="35"/>
                </a:cubicBezTo>
                <a:cubicBezTo>
                  <a:pt x="283" y="33"/>
                  <a:pt x="280" y="32"/>
                  <a:pt x="277" y="32"/>
                </a:cubicBezTo>
                <a:cubicBezTo>
                  <a:pt x="274" y="32"/>
                  <a:pt x="271" y="33"/>
                  <a:pt x="268" y="35"/>
                </a:cubicBezTo>
                <a:cubicBezTo>
                  <a:pt x="253" y="44"/>
                  <a:pt x="253" y="44"/>
                  <a:pt x="253" y="44"/>
                </a:cubicBezTo>
                <a:cubicBezTo>
                  <a:pt x="241" y="37"/>
                  <a:pt x="229" y="32"/>
                  <a:pt x="216" y="29"/>
                </a:cubicBezTo>
                <a:cubicBezTo>
                  <a:pt x="212" y="12"/>
                  <a:pt x="212" y="12"/>
                  <a:pt x="212" y="12"/>
                </a:cubicBezTo>
                <a:cubicBezTo>
                  <a:pt x="210" y="6"/>
                  <a:pt x="207" y="0"/>
                  <a:pt x="200" y="0"/>
                </a:cubicBezTo>
                <a:cubicBezTo>
                  <a:pt x="153" y="0"/>
                  <a:pt x="153" y="0"/>
                  <a:pt x="153" y="0"/>
                </a:cubicBezTo>
                <a:cubicBezTo>
                  <a:pt x="146" y="0"/>
                  <a:pt x="143" y="6"/>
                  <a:pt x="141" y="12"/>
                </a:cubicBezTo>
                <a:cubicBezTo>
                  <a:pt x="137" y="29"/>
                  <a:pt x="137" y="29"/>
                  <a:pt x="137" y="29"/>
                </a:cubicBezTo>
                <a:cubicBezTo>
                  <a:pt x="124" y="32"/>
                  <a:pt x="112" y="37"/>
                  <a:pt x="100" y="44"/>
                </a:cubicBezTo>
                <a:cubicBezTo>
                  <a:pt x="85" y="35"/>
                  <a:pt x="85" y="35"/>
                  <a:pt x="85" y="35"/>
                </a:cubicBezTo>
                <a:cubicBezTo>
                  <a:pt x="82" y="33"/>
                  <a:pt x="79" y="32"/>
                  <a:pt x="76" y="32"/>
                </a:cubicBezTo>
                <a:cubicBezTo>
                  <a:pt x="73" y="32"/>
                  <a:pt x="70" y="33"/>
                  <a:pt x="68" y="35"/>
                </a:cubicBezTo>
                <a:cubicBezTo>
                  <a:pt x="35" y="68"/>
                  <a:pt x="35" y="68"/>
                  <a:pt x="35" y="68"/>
                </a:cubicBezTo>
                <a:cubicBezTo>
                  <a:pt x="30" y="73"/>
                  <a:pt x="32" y="79"/>
                  <a:pt x="35" y="85"/>
                </a:cubicBezTo>
                <a:cubicBezTo>
                  <a:pt x="44" y="100"/>
                  <a:pt x="44" y="100"/>
                  <a:pt x="44" y="100"/>
                </a:cubicBezTo>
                <a:cubicBezTo>
                  <a:pt x="37" y="111"/>
                  <a:pt x="32" y="124"/>
                  <a:pt x="29" y="137"/>
                </a:cubicBezTo>
                <a:cubicBezTo>
                  <a:pt x="12" y="141"/>
                  <a:pt x="12" y="141"/>
                  <a:pt x="12" y="141"/>
                </a:cubicBezTo>
                <a:cubicBezTo>
                  <a:pt x="6" y="143"/>
                  <a:pt x="0" y="146"/>
                  <a:pt x="0" y="153"/>
                </a:cubicBezTo>
                <a:cubicBezTo>
                  <a:pt x="0" y="200"/>
                  <a:pt x="0" y="200"/>
                  <a:pt x="0" y="200"/>
                </a:cubicBezTo>
                <a:cubicBezTo>
                  <a:pt x="0" y="206"/>
                  <a:pt x="6" y="210"/>
                  <a:pt x="12" y="212"/>
                </a:cubicBezTo>
                <a:cubicBezTo>
                  <a:pt x="29" y="216"/>
                  <a:pt x="29" y="216"/>
                  <a:pt x="29" y="216"/>
                </a:cubicBezTo>
                <a:cubicBezTo>
                  <a:pt x="32" y="229"/>
                  <a:pt x="37" y="241"/>
                  <a:pt x="44" y="253"/>
                </a:cubicBezTo>
                <a:cubicBezTo>
                  <a:pt x="35" y="268"/>
                  <a:pt x="35" y="268"/>
                  <a:pt x="35" y="268"/>
                </a:cubicBezTo>
                <a:cubicBezTo>
                  <a:pt x="32" y="273"/>
                  <a:pt x="30" y="280"/>
                  <a:pt x="35" y="285"/>
                </a:cubicBezTo>
                <a:cubicBezTo>
                  <a:pt x="68" y="318"/>
                  <a:pt x="68" y="318"/>
                  <a:pt x="68" y="318"/>
                </a:cubicBezTo>
                <a:cubicBezTo>
                  <a:pt x="70" y="320"/>
                  <a:pt x="73" y="321"/>
                  <a:pt x="75" y="321"/>
                </a:cubicBezTo>
                <a:cubicBezTo>
                  <a:pt x="79" y="321"/>
                  <a:pt x="82" y="319"/>
                  <a:pt x="85" y="318"/>
                </a:cubicBezTo>
                <a:cubicBezTo>
                  <a:pt x="100" y="309"/>
                  <a:pt x="100" y="309"/>
                  <a:pt x="100" y="309"/>
                </a:cubicBezTo>
                <a:cubicBezTo>
                  <a:pt x="112" y="315"/>
                  <a:pt x="124" y="321"/>
                  <a:pt x="137" y="324"/>
                </a:cubicBezTo>
                <a:cubicBezTo>
                  <a:pt x="141" y="341"/>
                  <a:pt x="141" y="341"/>
                  <a:pt x="141" y="341"/>
                </a:cubicBezTo>
                <a:cubicBezTo>
                  <a:pt x="143" y="347"/>
                  <a:pt x="146" y="353"/>
                  <a:pt x="153" y="353"/>
                </a:cubicBezTo>
                <a:cubicBezTo>
                  <a:pt x="200" y="353"/>
                  <a:pt x="200" y="353"/>
                  <a:pt x="200" y="353"/>
                </a:cubicBezTo>
                <a:cubicBezTo>
                  <a:pt x="207" y="353"/>
                  <a:pt x="210" y="347"/>
                  <a:pt x="212" y="341"/>
                </a:cubicBezTo>
                <a:cubicBezTo>
                  <a:pt x="216" y="324"/>
                  <a:pt x="216" y="324"/>
                  <a:pt x="216" y="324"/>
                </a:cubicBezTo>
                <a:cubicBezTo>
                  <a:pt x="229" y="321"/>
                  <a:pt x="241" y="315"/>
                  <a:pt x="253" y="309"/>
                </a:cubicBezTo>
                <a:cubicBezTo>
                  <a:pt x="268" y="318"/>
                  <a:pt x="268" y="318"/>
                  <a:pt x="268" y="318"/>
                </a:cubicBezTo>
                <a:cubicBezTo>
                  <a:pt x="271" y="319"/>
                  <a:pt x="275" y="321"/>
                  <a:pt x="278" y="321"/>
                </a:cubicBezTo>
                <a:cubicBezTo>
                  <a:pt x="280" y="321"/>
                  <a:pt x="283" y="320"/>
                  <a:pt x="285" y="318"/>
                </a:cubicBezTo>
                <a:cubicBezTo>
                  <a:pt x="318" y="285"/>
                  <a:pt x="318" y="285"/>
                  <a:pt x="318" y="285"/>
                </a:cubicBezTo>
                <a:cubicBezTo>
                  <a:pt x="323" y="280"/>
                  <a:pt x="321" y="273"/>
                  <a:pt x="318" y="268"/>
                </a:cubicBezTo>
                <a:cubicBezTo>
                  <a:pt x="309" y="253"/>
                  <a:pt x="309" y="253"/>
                  <a:pt x="309" y="253"/>
                </a:cubicBezTo>
                <a:cubicBezTo>
                  <a:pt x="316" y="241"/>
                  <a:pt x="321" y="229"/>
                  <a:pt x="324" y="216"/>
                </a:cubicBezTo>
                <a:cubicBezTo>
                  <a:pt x="341" y="212"/>
                  <a:pt x="341" y="212"/>
                  <a:pt x="341" y="212"/>
                </a:cubicBezTo>
                <a:cubicBezTo>
                  <a:pt x="347" y="210"/>
                  <a:pt x="353" y="206"/>
                  <a:pt x="353" y="200"/>
                </a:cubicBezTo>
                <a:cubicBezTo>
                  <a:pt x="353" y="153"/>
                  <a:pt x="353" y="153"/>
                  <a:pt x="353" y="153"/>
                </a:cubicBezTo>
                <a:cubicBezTo>
                  <a:pt x="353" y="146"/>
                  <a:pt x="347" y="143"/>
                  <a:pt x="341" y="141"/>
                </a:cubicBezTo>
                <a:moveTo>
                  <a:pt x="337" y="196"/>
                </a:moveTo>
                <a:cubicBezTo>
                  <a:pt x="337" y="196"/>
                  <a:pt x="337" y="196"/>
                  <a:pt x="337" y="196"/>
                </a:cubicBezTo>
                <a:cubicBezTo>
                  <a:pt x="320" y="200"/>
                  <a:pt x="320" y="200"/>
                  <a:pt x="320" y="200"/>
                </a:cubicBezTo>
                <a:cubicBezTo>
                  <a:pt x="315" y="202"/>
                  <a:pt x="310" y="206"/>
                  <a:pt x="309" y="212"/>
                </a:cubicBezTo>
                <a:cubicBezTo>
                  <a:pt x="306" y="223"/>
                  <a:pt x="301" y="234"/>
                  <a:pt x="295" y="245"/>
                </a:cubicBezTo>
                <a:cubicBezTo>
                  <a:pt x="292" y="250"/>
                  <a:pt x="292" y="256"/>
                  <a:pt x="295" y="261"/>
                </a:cubicBezTo>
                <a:cubicBezTo>
                  <a:pt x="304" y="276"/>
                  <a:pt x="304" y="276"/>
                  <a:pt x="304" y="276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76" y="304"/>
                  <a:pt x="276" y="304"/>
                  <a:pt x="276" y="304"/>
                </a:cubicBezTo>
                <a:cubicBezTo>
                  <a:pt x="261" y="295"/>
                  <a:pt x="261" y="295"/>
                  <a:pt x="261" y="295"/>
                </a:cubicBezTo>
                <a:cubicBezTo>
                  <a:pt x="259" y="294"/>
                  <a:pt x="256" y="293"/>
                  <a:pt x="253" y="293"/>
                </a:cubicBezTo>
                <a:cubicBezTo>
                  <a:pt x="250" y="293"/>
                  <a:pt x="247" y="293"/>
                  <a:pt x="245" y="295"/>
                </a:cubicBezTo>
                <a:cubicBezTo>
                  <a:pt x="235" y="301"/>
                  <a:pt x="223" y="305"/>
                  <a:pt x="212" y="309"/>
                </a:cubicBezTo>
                <a:cubicBezTo>
                  <a:pt x="206" y="310"/>
                  <a:pt x="202" y="315"/>
                  <a:pt x="201" y="320"/>
                </a:cubicBezTo>
                <a:cubicBezTo>
                  <a:pt x="196" y="337"/>
                  <a:pt x="196" y="337"/>
                  <a:pt x="196" y="337"/>
                </a:cubicBezTo>
                <a:cubicBezTo>
                  <a:pt x="196" y="337"/>
                  <a:pt x="196" y="337"/>
                  <a:pt x="196" y="337"/>
                </a:cubicBezTo>
                <a:cubicBezTo>
                  <a:pt x="157" y="337"/>
                  <a:pt x="157" y="337"/>
                  <a:pt x="157" y="337"/>
                </a:cubicBezTo>
                <a:cubicBezTo>
                  <a:pt x="152" y="320"/>
                  <a:pt x="152" y="320"/>
                  <a:pt x="152" y="320"/>
                </a:cubicBezTo>
                <a:cubicBezTo>
                  <a:pt x="151" y="315"/>
                  <a:pt x="147" y="310"/>
                  <a:pt x="141" y="309"/>
                </a:cubicBezTo>
                <a:cubicBezTo>
                  <a:pt x="130" y="305"/>
                  <a:pt x="118" y="301"/>
                  <a:pt x="108" y="295"/>
                </a:cubicBezTo>
                <a:cubicBezTo>
                  <a:pt x="106" y="293"/>
                  <a:pt x="103" y="293"/>
                  <a:pt x="100" y="293"/>
                </a:cubicBezTo>
                <a:cubicBezTo>
                  <a:pt x="97" y="293"/>
                  <a:pt x="94" y="294"/>
                  <a:pt x="92" y="295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77" y="304"/>
                  <a:pt x="77" y="304"/>
                  <a:pt x="77" y="304"/>
                </a:cubicBezTo>
                <a:cubicBezTo>
                  <a:pt x="49" y="276"/>
                  <a:pt x="49" y="276"/>
                  <a:pt x="49" y="276"/>
                </a:cubicBezTo>
                <a:cubicBezTo>
                  <a:pt x="58" y="261"/>
                  <a:pt x="58" y="261"/>
                  <a:pt x="58" y="261"/>
                </a:cubicBezTo>
                <a:cubicBezTo>
                  <a:pt x="61" y="256"/>
                  <a:pt x="61" y="250"/>
                  <a:pt x="58" y="245"/>
                </a:cubicBezTo>
                <a:cubicBezTo>
                  <a:pt x="52" y="234"/>
                  <a:pt x="47" y="223"/>
                  <a:pt x="44" y="212"/>
                </a:cubicBezTo>
                <a:cubicBezTo>
                  <a:pt x="43" y="206"/>
                  <a:pt x="38" y="202"/>
                  <a:pt x="33" y="20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157"/>
                  <a:pt x="16" y="157"/>
                  <a:pt x="16" y="157"/>
                </a:cubicBezTo>
                <a:cubicBezTo>
                  <a:pt x="33" y="152"/>
                  <a:pt x="33" y="152"/>
                  <a:pt x="33" y="152"/>
                </a:cubicBezTo>
                <a:cubicBezTo>
                  <a:pt x="38" y="151"/>
                  <a:pt x="43" y="147"/>
                  <a:pt x="44" y="141"/>
                </a:cubicBezTo>
                <a:cubicBezTo>
                  <a:pt x="47" y="129"/>
                  <a:pt x="52" y="118"/>
                  <a:pt x="58" y="108"/>
                </a:cubicBezTo>
                <a:cubicBezTo>
                  <a:pt x="61" y="103"/>
                  <a:pt x="61" y="97"/>
                  <a:pt x="58" y="92"/>
                </a:cubicBezTo>
                <a:cubicBezTo>
                  <a:pt x="49" y="77"/>
                  <a:pt x="49" y="77"/>
                  <a:pt x="49" y="77"/>
                </a:cubicBezTo>
                <a:cubicBezTo>
                  <a:pt x="49" y="77"/>
                  <a:pt x="49" y="77"/>
                  <a:pt x="49" y="77"/>
                </a:cubicBezTo>
                <a:cubicBezTo>
                  <a:pt x="77" y="49"/>
                  <a:pt x="77" y="49"/>
                  <a:pt x="77" y="49"/>
                </a:cubicBezTo>
                <a:cubicBezTo>
                  <a:pt x="92" y="58"/>
                  <a:pt x="92" y="58"/>
                  <a:pt x="92" y="58"/>
                </a:cubicBezTo>
                <a:cubicBezTo>
                  <a:pt x="94" y="59"/>
                  <a:pt x="97" y="60"/>
                  <a:pt x="100" y="60"/>
                </a:cubicBezTo>
                <a:cubicBezTo>
                  <a:pt x="103" y="60"/>
                  <a:pt x="106" y="59"/>
                  <a:pt x="108" y="58"/>
                </a:cubicBezTo>
                <a:cubicBezTo>
                  <a:pt x="118" y="52"/>
                  <a:pt x="130" y="47"/>
                  <a:pt x="141" y="44"/>
                </a:cubicBezTo>
                <a:cubicBezTo>
                  <a:pt x="147" y="43"/>
                  <a:pt x="151" y="38"/>
                  <a:pt x="152" y="33"/>
                </a:cubicBezTo>
                <a:cubicBezTo>
                  <a:pt x="157" y="16"/>
                  <a:pt x="157" y="16"/>
                  <a:pt x="157" y="16"/>
                </a:cubicBezTo>
                <a:cubicBezTo>
                  <a:pt x="196" y="16"/>
                  <a:pt x="196" y="16"/>
                  <a:pt x="196" y="16"/>
                </a:cubicBezTo>
                <a:cubicBezTo>
                  <a:pt x="196" y="16"/>
                  <a:pt x="196" y="16"/>
                  <a:pt x="196" y="16"/>
                </a:cubicBezTo>
                <a:cubicBezTo>
                  <a:pt x="201" y="33"/>
                  <a:pt x="201" y="33"/>
                  <a:pt x="201" y="33"/>
                </a:cubicBezTo>
                <a:cubicBezTo>
                  <a:pt x="202" y="38"/>
                  <a:pt x="206" y="43"/>
                  <a:pt x="212" y="44"/>
                </a:cubicBezTo>
                <a:cubicBezTo>
                  <a:pt x="223" y="47"/>
                  <a:pt x="235" y="52"/>
                  <a:pt x="245" y="58"/>
                </a:cubicBezTo>
                <a:cubicBezTo>
                  <a:pt x="247" y="59"/>
                  <a:pt x="250" y="60"/>
                  <a:pt x="253" y="60"/>
                </a:cubicBezTo>
                <a:cubicBezTo>
                  <a:pt x="256" y="60"/>
                  <a:pt x="259" y="59"/>
                  <a:pt x="261" y="58"/>
                </a:cubicBezTo>
                <a:cubicBezTo>
                  <a:pt x="276" y="49"/>
                  <a:pt x="276" y="49"/>
                  <a:pt x="276" y="49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304" y="77"/>
                  <a:pt x="304" y="77"/>
                  <a:pt x="304" y="77"/>
                </a:cubicBezTo>
                <a:cubicBezTo>
                  <a:pt x="295" y="92"/>
                  <a:pt x="295" y="92"/>
                  <a:pt x="295" y="92"/>
                </a:cubicBezTo>
                <a:cubicBezTo>
                  <a:pt x="292" y="97"/>
                  <a:pt x="292" y="103"/>
                  <a:pt x="295" y="108"/>
                </a:cubicBezTo>
                <a:cubicBezTo>
                  <a:pt x="301" y="118"/>
                  <a:pt x="306" y="129"/>
                  <a:pt x="309" y="141"/>
                </a:cubicBezTo>
                <a:cubicBezTo>
                  <a:pt x="310" y="147"/>
                  <a:pt x="315" y="151"/>
                  <a:pt x="320" y="152"/>
                </a:cubicBezTo>
                <a:cubicBezTo>
                  <a:pt x="337" y="157"/>
                  <a:pt x="337" y="157"/>
                  <a:pt x="337" y="157"/>
                </a:cubicBezTo>
                <a:lnTo>
                  <a:pt x="337" y="196"/>
                </a:lnTo>
                <a:close/>
                <a:moveTo>
                  <a:pt x="176" y="96"/>
                </a:moveTo>
                <a:cubicBezTo>
                  <a:pt x="132" y="96"/>
                  <a:pt x="96" y="132"/>
                  <a:pt x="96" y="176"/>
                </a:cubicBezTo>
                <a:cubicBezTo>
                  <a:pt x="96" y="221"/>
                  <a:pt x="132" y="257"/>
                  <a:pt x="176" y="257"/>
                </a:cubicBezTo>
                <a:cubicBezTo>
                  <a:pt x="221" y="257"/>
                  <a:pt x="257" y="221"/>
                  <a:pt x="257" y="176"/>
                </a:cubicBezTo>
                <a:cubicBezTo>
                  <a:pt x="257" y="132"/>
                  <a:pt x="221" y="96"/>
                  <a:pt x="176" y="96"/>
                </a:cubicBezTo>
                <a:moveTo>
                  <a:pt x="176" y="241"/>
                </a:moveTo>
                <a:cubicBezTo>
                  <a:pt x="141" y="241"/>
                  <a:pt x="112" y="212"/>
                  <a:pt x="112" y="176"/>
                </a:cubicBezTo>
                <a:cubicBezTo>
                  <a:pt x="112" y="141"/>
                  <a:pt x="141" y="112"/>
                  <a:pt x="176" y="112"/>
                </a:cubicBezTo>
                <a:cubicBezTo>
                  <a:pt x="212" y="112"/>
                  <a:pt x="241" y="141"/>
                  <a:pt x="241" y="176"/>
                </a:cubicBezTo>
                <a:cubicBezTo>
                  <a:pt x="241" y="212"/>
                  <a:pt x="212" y="241"/>
                  <a:pt x="176" y="241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8" name="Freeform 115"/>
          <p:cNvSpPr>
            <a:spLocks noEditPoints="1"/>
          </p:cNvSpPr>
          <p:nvPr/>
        </p:nvSpPr>
        <p:spPr bwMode="auto">
          <a:xfrm>
            <a:off x="6802575" y="1708964"/>
            <a:ext cx="377423" cy="377423"/>
          </a:xfrm>
          <a:custGeom>
            <a:avLst/>
            <a:gdLst>
              <a:gd name="T0" fmla="*/ 289 w 353"/>
              <a:gd name="T1" fmla="*/ 32 h 353"/>
              <a:gd name="T2" fmla="*/ 281 w 353"/>
              <a:gd name="T3" fmla="*/ 0 h 353"/>
              <a:gd name="T4" fmla="*/ 273 w 353"/>
              <a:gd name="T5" fmla="*/ 32 h 353"/>
              <a:gd name="T6" fmla="*/ 80 w 353"/>
              <a:gd name="T7" fmla="*/ 8 h 353"/>
              <a:gd name="T8" fmla="*/ 64 w 353"/>
              <a:gd name="T9" fmla="*/ 8 h 353"/>
              <a:gd name="T10" fmla="*/ 32 w 353"/>
              <a:gd name="T11" fmla="*/ 32 h 353"/>
              <a:gd name="T12" fmla="*/ 0 w 353"/>
              <a:gd name="T13" fmla="*/ 321 h 353"/>
              <a:gd name="T14" fmla="*/ 321 w 353"/>
              <a:gd name="T15" fmla="*/ 353 h 353"/>
              <a:gd name="T16" fmla="*/ 353 w 353"/>
              <a:gd name="T17" fmla="*/ 64 h 353"/>
              <a:gd name="T18" fmla="*/ 337 w 353"/>
              <a:gd name="T19" fmla="*/ 321 h 353"/>
              <a:gd name="T20" fmla="*/ 32 w 353"/>
              <a:gd name="T21" fmla="*/ 337 h 353"/>
              <a:gd name="T22" fmla="*/ 16 w 353"/>
              <a:gd name="T23" fmla="*/ 128 h 353"/>
              <a:gd name="T24" fmla="*/ 337 w 353"/>
              <a:gd name="T25" fmla="*/ 321 h 353"/>
              <a:gd name="T26" fmla="*/ 16 w 353"/>
              <a:gd name="T27" fmla="*/ 112 h 353"/>
              <a:gd name="T28" fmla="*/ 32 w 353"/>
              <a:gd name="T29" fmla="*/ 48 h 353"/>
              <a:gd name="T30" fmla="*/ 64 w 353"/>
              <a:gd name="T31" fmla="*/ 72 h 353"/>
              <a:gd name="T32" fmla="*/ 80 w 353"/>
              <a:gd name="T33" fmla="*/ 72 h 353"/>
              <a:gd name="T34" fmla="*/ 273 w 353"/>
              <a:gd name="T35" fmla="*/ 48 h 353"/>
              <a:gd name="T36" fmla="*/ 281 w 353"/>
              <a:gd name="T37" fmla="*/ 80 h 353"/>
              <a:gd name="T38" fmla="*/ 289 w 353"/>
              <a:gd name="T39" fmla="*/ 48 h 353"/>
              <a:gd name="T40" fmla="*/ 337 w 353"/>
              <a:gd name="T41" fmla="*/ 64 h 353"/>
              <a:gd name="T42" fmla="*/ 233 w 353"/>
              <a:gd name="T43" fmla="*/ 297 h 353"/>
              <a:gd name="T44" fmla="*/ 248 w 353"/>
              <a:gd name="T45" fmla="*/ 168 h 353"/>
              <a:gd name="T46" fmla="*/ 232 w 353"/>
              <a:gd name="T47" fmla="*/ 180 h 353"/>
              <a:gd name="T48" fmla="*/ 213 w 353"/>
              <a:gd name="T49" fmla="*/ 191 h 353"/>
              <a:gd name="T50" fmla="*/ 201 w 353"/>
              <a:gd name="T51" fmla="*/ 204 h 353"/>
              <a:gd name="T52" fmla="*/ 233 w 353"/>
              <a:gd name="T53" fmla="*/ 297 h 353"/>
              <a:gd name="T54" fmla="*/ 148 w 353"/>
              <a:gd name="T55" fmla="*/ 283 h 353"/>
              <a:gd name="T56" fmla="*/ 118 w 353"/>
              <a:gd name="T57" fmla="*/ 277 h 353"/>
              <a:gd name="T58" fmla="*/ 96 w 353"/>
              <a:gd name="T59" fmla="*/ 257 h 353"/>
              <a:gd name="T60" fmla="*/ 107 w 353"/>
              <a:gd name="T61" fmla="*/ 288 h 353"/>
              <a:gd name="T62" fmla="*/ 138 w 353"/>
              <a:gd name="T63" fmla="*/ 299 h 353"/>
              <a:gd name="T64" fmla="*/ 168 w 353"/>
              <a:gd name="T65" fmla="*/ 289 h 353"/>
              <a:gd name="T66" fmla="*/ 181 w 353"/>
              <a:gd name="T67" fmla="*/ 259 h 353"/>
              <a:gd name="T68" fmla="*/ 158 w 353"/>
              <a:gd name="T69" fmla="*/ 228 h 353"/>
              <a:gd name="T70" fmla="*/ 171 w 353"/>
              <a:gd name="T71" fmla="*/ 218 h 353"/>
              <a:gd name="T72" fmla="*/ 173 w 353"/>
              <a:gd name="T73" fmla="*/ 187 h 353"/>
              <a:gd name="T74" fmla="*/ 153 w 353"/>
              <a:gd name="T75" fmla="*/ 170 h 353"/>
              <a:gd name="T76" fmla="*/ 121 w 353"/>
              <a:gd name="T77" fmla="*/ 171 h 353"/>
              <a:gd name="T78" fmla="*/ 102 w 353"/>
              <a:gd name="T79" fmla="*/ 192 h 353"/>
              <a:gd name="T80" fmla="*/ 114 w 353"/>
              <a:gd name="T81" fmla="*/ 209 h 353"/>
              <a:gd name="T82" fmla="*/ 120 w 353"/>
              <a:gd name="T83" fmla="*/ 190 h 353"/>
              <a:gd name="T84" fmla="*/ 137 w 353"/>
              <a:gd name="T85" fmla="*/ 181 h 353"/>
              <a:gd name="T86" fmla="*/ 160 w 353"/>
              <a:gd name="T87" fmla="*/ 202 h 353"/>
              <a:gd name="T88" fmla="*/ 153 w 353"/>
              <a:gd name="T89" fmla="*/ 218 h 353"/>
              <a:gd name="T90" fmla="*/ 136 w 353"/>
              <a:gd name="T91" fmla="*/ 223 h 353"/>
              <a:gd name="T92" fmla="*/ 129 w 353"/>
              <a:gd name="T93" fmla="*/ 223 h 353"/>
              <a:gd name="T94" fmla="*/ 138 w 353"/>
              <a:gd name="T95" fmla="*/ 235 h 353"/>
              <a:gd name="T96" fmla="*/ 157 w 353"/>
              <a:gd name="T97" fmla="*/ 242 h 353"/>
              <a:gd name="T98" fmla="*/ 165 w 353"/>
              <a:gd name="T99" fmla="*/ 260 h 353"/>
              <a:gd name="T100" fmla="*/ 157 w 353"/>
              <a:gd name="T101" fmla="*/ 27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53" h="353">
                <a:moveTo>
                  <a:pt x="321" y="32"/>
                </a:moveTo>
                <a:cubicBezTo>
                  <a:pt x="289" y="32"/>
                  <a:pt x="289" y="32"/>
                  <a:pt x="289" y="32"/>
                </a:cubicBezTo>
                <a:cubicBezTo>
                  <a:pt x="289" y="8"/>
                  <a:pt x="289" y="8"/>
                  <a:pt x="289" y="8"/>
                </a:cubicBezTo>
                <a:cubicBezTo>
                  <a:pt x="289" y="3"/>
                  <a:pt x="286" y="0"/>
                  <a:pt x="281" y="0"/>
                </a:cubicBezTo>
                <a:cubicBezTo>
                  <a:pt x="277" y="0"/>
                  <a:pt x="273" y="3"/>
                  <a:pt x="273" y="8"/>
                </a:cubicBezTo>
                <a:cubicBezTo>
                  <a:pt x="273" y="32"/>
                  <a:pt x="273" y="32"/>
                  <a:pt x="273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80" y="8"/>
                  <a:pt x="80" y="8"/>
                  <a:pt x="80" y="8"/>
                </a:cubicBezTo>
                <a:cubicBezTo>
                  <a:pt x="80" y="3"/>
                  <a:pt x="77" y="0"/>
                  <a:pt x="72" y="0"/>
                </a:cubicBezTo>
                <a:cubicBezTo>
                  <a:pt x="68" y="0"/>
                  <a:pt x="64" y="3"/>
                  <a:pt x="64" y="8"/>
                </a:cubicBezTo>
                <a:cubicBezTo>
                  <a:pt x="64" y="32"/>
                  <a:pt x="64" y="32"/>
                  <a:pt x="64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15" y="32"/>
                  <a:pt x="0" y="46"/>
                  <a:pt x="0" y="64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9" y="353"/>
                  <a:pt x="353" y="339"/>
                  <a:pt x="353" y="321"/>
                </a:cubicBezTo>
                <a:cubicBezTo>
                  <a:pt x="353" y="64"/>
                  <a:pt x="353" y="64"/>
                  <a:pt x="353" y="64"/>
                </a:cubicBezTo>
                <a:cubicBezTo>
                  <a:pt x="353" y="46"/>
                  <a:pt x="339" y="32"/>
                  <a:pt x="321" y="32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337" y="128"/>
                  <a:pt x="337" y="128"/>
                  <a:pt x="337" y="128"/>
                </a:cubicBezTo>
                <a:lnTo>
                  <a:pt x="337" y="321"/>
                </a:lnTo>
                <a:close/>
                <a:moveTo>
                  <a:pt x="337" y="112"/>
                </a:moveTo>
                <a:cubicBezTo>
                  <a:pt x="16" y="112"/>
                  <a:pt x="16" y="112"/>
                  <a:pt x="16" y="112"/>
                </a:cubicBezTo>
                <a:cubicBezTo>
                  <a:pt x="16" y="64"/>
                  <a:pt x="16" y="64"/>
                  <a:pt x="16" y="64"/>
                </a:cubicBezTo>
                <a:cubicBezTo>
                  <a:pt x="16" y="55"/>
                  <a:pt x="23" y="48"/>
                  <a:pt x="32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72"/>
                  <a:pt x="64" y="72"/>
                  <a:pt x="64" y="72"/>
                </a:cubicBezTo>
                <a:cubicBezTo>
                  <a:pt x="64" y="76"/>
                  <a:pt x="68" y="80"/>
                  <a:pt x="72" y="80"/>
                </a:cubicBezTo>
                <a:cubicBezTo>
                  <a:pt x="77" y="80"/>
                  <a:pt x="80" y="76"/>
                  <a:pt x="80" y="72"/>
                </a:cubicBezTo>
                <a:cubicBezTo>
                  <a:pt x="80" y="48"/>
                  <a:pt x="80" y="48"/>
                  <a:pt x="80" y="48"/>
                </a:cubicBezTo>
                <a:cubicBezTo>
                  <a:pt x="273" y="48"/>
                  <a:pt x="273" y="48"/>
                  <a:pt x="273" y="48"/>
                </a:cubicBezTo>
                <a:cubicBezTo>
                  <a:pt x="273" y="72"/>
                  <a:pt x="273" y="72"/>
                  <a:pt x="273" y="72"/>
                </a:cubicBezTo>
                <a:cubicBezTo>
                  <a:pt x="273" y="76"/>
                  <a:pt x="277" y="80"/>
                  <a:pt x="281" y="80"/>
                </a:cubicBezTo>
                <a:cubicBezTo>
                  <a:pt x="286" y="80"/>
                  <a:pt x="289" y="76"/>
                  <a:pt x="289" y="72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321" y="48"/>
                  <a:pt x="321" y="48"/>
                  <a:pt x="321" y="48"/>
                </a:cubicBezTo>
                <a:cubicBezTo>
                  <a:pt x="330" y="48"/>
                  <a:pt x="337" y="55"/>
                  <a:pt x="337" y="64"/>
                </a:cubicBezTo>
                <a:lnTo>
                  <a:pt x="337" y="112"/>
                </a:lnTo>
                <a:close/>
                <a:moveTo>
                  <a:pt x="233" y="297"/>
                </a:moveTo>
                <a:cubicBezTo>
                  <a:pt x="248" y="297"/>
                  <a:pt x="248" y="297"/>
                  <a:pt x="248" y="297"/>
                </a:cubicBezTo>
                <a:cubicBezTo>
                  <a:pt x="248" y="168"/>
                  <a:pt x="248" y="168"/>
                  <a:pt x="248" y="168"/>
                </a:cubicBezTo>
                <a:cubicBezTo>
                  <a:pt x="237" y="168"/>
                  <a:pt x="237" y="168"/>
                  <a:pt x="237" y="168"/>
                </a:cubicBezTo>
                <a:cubicBezTo>
                  <a:pt x="236" y="172"/>
                  <a:pt x="235" y="176"/>
                  <a:pt x="232" y="180"/>
                </a:cubicBezTo>
                <a:cubicBezTo>
                  <a:pt x="230" y="183"/>
                  <a:pt x="227" y="185"/>
                  <a:pt x="224" y="187"/>
                </a:cubicBezTo>
                <a:cubicBezTo>
                  <a:pt x="221" y="189"/>
                  <a:pt x="217" y="190"/>
                  <a:pt x="213" y="191"/>
                </a:cubicBezTo>
                <a:cubicBezTo>
                  <a:pt x="209" y="191"/>
                  <a:pt x="205" y="192"/>
                  <a:pt x="201" y="192"/>
                </a:cubicBezTo>
                <a:cubicBezTo>
                  <a:pt x="201" y="204"/>
                  <a:pt x="201" y="204"/>
                  <a:pt x="201" y="204"/>
                </a:cubicBezTo>
                <a:cubicBezTo>
                  <a:pt x="233" y="204"/>
                  <a:pt x="233" y="204"/>
                  <a:pt x="233" y="204"/>
                </a:cubicBezTo>
                <a:lnTo>
                  <a:pt x="233" y="297"/>
                </a:lnTo>
                <a:close/>
                <a:moveTo>
                  <a:pt x="157" y="278"/>
                </a:moveTo>
                <a:cubicBezTo>
                  <a:pt x="154" y="281"/>
                  <a:pt x="152" y="282"/>
                  <a:pt x="148" y="283"/>
                </a:cubicBezTo>
                <a:cubicBezTo>
                  <a:pt x="145" y="285"/>
                  <a:pt x="141" y="285"/>
                  <a:pt x="138" y="285"/>
                </a:cubicBezTo>
                <a:cubicBezTo>
                  <a:pt x="129" y="285"/>
                  <a:pt x="123" y="282"/>
                  <a:pt x="118" y="277"/>
                </a:cubicBezTo>
                <a:cubicBezTo>
                  <a:pt x="114" y="272"/>
                  <a:pt x="111" y="265"/>
                  <a:pt x="111" y="257"/>
                </a:cubicBezTo>
                <a:cubicBezTo>
                  <a:pt x="96" y="257"/>
                  <a:pt x="96" y="257"/>
                  <a:pt x="96" y="257"/>
                </a:cubicBezTo>
                <a:cubicBezTo>
                  <a:pt x="96" y="263"/>
                  <a:pt x="97" y="269"/>
                  <a:pt x="99" y="275"/>
                </a:cubicBezTo>
                <a:cubicBezTo>
                  <a:pt x="101" y="280"/>
                  <a:pt x="104" y="284"/>
                  <a:pt x="107" y="288"/>
                </a:cubicBezTo>
                <a:cubicBezTo>
                  <a:pt x="111" y="291"/>
                  <a:pt x="115" y="294"/>
                  <a:pt x="120" y="296"/>
                </a:cubicBezTo>
                <a:cubicBezTo>
                  <a:pt x="126" y="298"/>
                  <a:pt x="131" y="299"/>
                  <a:pt x="138" y="299"/>
                </a:cubicBezTo>
                <a:cubicBezTo>
                  <a:pt x="144" y="299"/>
                  <a:pt x="149" y="298"/>
                  <a:pt x="154" y="296"/>
                </a:cubicBezTo>
                <a:cubicBezTo>
                  <a:pt x="160" y="294"/>
                  <a:pt x="164" y="292"/>
                  <a:pt x="168" y="289"/>
                </a:cubicBezTo>
                <a:cubicBezTo>
                  <a:pt x="172" y="285"/>
                  <a:pt x="175" y="281"/>
                  <a:pt x="177" y="276"/>
                </a:cubicBezTo>
                <a:cubicBezTo>
                  <a:pt x="180" y="272"/>
                  <a:pt x="181" y="266"/>
                  <a:pt x="181" y="259"/>
                </a:cubicBezTo>
                <a:cubicBezTo>
                  <a:pt x="181" y="252"/>
                  <a:pt x="179" y="245"/>
                  <a:pt x="175" y="239"/>
                </a:cubicBezTo>
                <a:cubicBezTo>
                  <a:pt x="172" y="234"/>
                  <a:pt x="166" y="230"/>
                  <a:pt x="158" y="228"/>
                </a:cubicBezTo>
                <a:cubicBezTo>
                  <a:pt x="158" y="228"/>
                  <a:pt x="158" y="228"/>
                  <a:pt x="158" y="228"/>
                </a:cubicBezTo>
                <a:cubicBezTo>
                  <a:pt x="163" y="226"/>
                  <a:pt x="167" y="222"/>
                  <a:pt x="171" y="218"/>
                </a:cubicBezTo>
                <a:cubicBezTo>
                  <a:pt x="174" y="213"/>
                  <a:pt x="176" y="208"/>
                  <a:pt x="176" y="202"/>
                </a:cubicBezTo>
                <a:cubicBezTo>
                  <a:pt x="176" y="196"/>
                  <a:pt x="175" y="191"/>
                  <a:pt x="173" y="187"/>
                </a:cubicBezTo>
                <a:cubicBezTo>
                  <a:pt x="171" y="182"/>
                  <a:pt x="168" y="179"/>
                  <a:pt x="165" y="176"/>
                </a:cubicBezTo>
                <a:cubicBezTo>
                  <a:pt x="161" y="173"/>
                  <a:pt x="157" y="171"/>
                  <a:pt x="153" y="170"/>
                </a:cubicBezTo>
                <a:cubicBezTo>
                  <a:pt x="148" y="168"/>
                  <a:pt x="143" y="168"/>
                  <a:pt x="137" y="168"/>
                </a:cubicBezTo>
                <a:cubicBezTo>
                  <a:pt x="131" y="168"/>
                  <a:pt x="126" y="169"/>
                  <a:pt x="121" y="171"/>
                </a:cubicBezTo>
                <a:cubicBezTo>
                  <a:pt x="116" y="173"/>
                  <a:pt x="112" y="176"/>
                  <a:pt x="109" y="179"/>
                </a:cubicBezTo>
                <a:cubicBezTo>
                  <a:pt x="106" y="183"/>
                  <a:pt x="103" y="187"/>
                  <a:pt x="102" y="192"/>
                </a:cubicBezTo>
                <a:cubicBezTo>
                  <a:pt x="100" y="197"/>
                  <a:pt x="99" y="203"/>
                  <a:pt x="99" y="209"/>
                </a:cubicBezTo>
                <a:cubicBezTo>
                  <a:pt x="114" y="209"/>
                  <a:pt x="114" y="209"/>
                  <a:pt x="114" y="209"/>
                </a:cubicBezTo>
                <a:cubicBezTo>
                  <a:pt x="114" y="205"/>
                  <a:pt x="114" y="202"/>
                  <a:pt x="115" y="199"/>
                </a:cubicBezTo>
                <a:cubicBezTo>
                  <a:pt x="116" y="195"/>
                  <a:pt x="118" y="192"/>
                  <a:pt x="120" y="190"/>
                </a:cubicBezTo>
                <a:cubicBezTo>
                  <a:pt x="121" y="187"/>
                  <a:pt x="124" y="185"/>
                  <a:pt x="127" y="184"/>
                </a:cubicBezTo>
                <a:cubicBezTo>
                  <a:pt x="130" y="182"/>
                  <a:pt x="133" y="181"/>
                  <a:pt x="137" y="181"/>
                </a:cubicBezTo>
                <a:cubicBezTo>
                  <a:pt x="144" y="181"/>
                  <a:pt x="149" y="183"/>
                  <a:pt x="153" y="186"/>
                </a:cubicBezTo>
                <a:cubicBezTo>
                  <a:pt x="158" y="190"/>
                  <a:pt x="160" y="195"/>
                  <a:pt x="160" y="202"/>
                </a:cubicBezTo>
                <a:cubicBezTo>
                  <a:pt x="160" y="205"/>
                  <a:pt x="159" y="208"/>
                  <a:pt x="158" y="211"/>
                </a:cubicBezTo>
                <a:cubicBezTo>
                  <a:pt x="156" y="214"/>
                  <a:pt x="155" y="216"/>
                  <a:pt x="153" y="218"/>
                </a:cubicBezTo>
                <a:cubicBezTo>
                  <a:pt x="150" y="219"/>
                  <a:pt x="148" y="221"/>
                  <a:pt x="145" y="222"/>
                </a:cubicBezTo>
                <a:cubicBezTo>
                  <a:pt x="142" y="223"/>
                  <a:pt x="139" y="223"/>
                  <a:pt x="136" y="223"/>
                </a:cubicBezTo>
                <a:cubicBezTo>
                  <a:pt x="131" y="223"/>
                  <a:pt x="131" y="223"/>
                  <a:pt x="131" y="223"/>
                </a:cubicBezTo>
                <a:cubicBezTo>
                  <a:pt x="130" y="223"/>
                  <a:pt x="130" y="223"/>
                  <a:pt x="129" y="223"/>
                </a:cubicBezTo>
                <a:cubicBezTo>
                  <a:pt x="129" y="236"/>
                  <a:pt x="129" y="236"/>
                  <a:pt x="129" y="236"/>
                </a:cubicBezTo>
                <a:cubicBezTo>
                  <a:pt x="132" y="236"/>
                  <a:pt x="135" y="235"/>
                  <a:pt x="138" y="235"/>
                </a:cubicBezTo>
                <a:cubicBezTo>
                  <a:pt x="142" y="235"/>
                  <a:pt x="146" y="236"/>
                  <a:pt x="149" y="237"/>
                </a:cubicBezTo>
                <a:cubicBezTo>
                  <a:pt x="152" y="238"/>
                  <a:pt x="155" y="240"/>
                  <a:pt x="157" y="242"/>
                </a:cubicBezTo>
                <a:cubicBezTo>
                  <a:pt x="160" y="244"/>
                  <a:pt x="161" y="246"/>
                  <a:pt x="163" y="250"/>
                </a:cubicBezTo>
                <a:cubicBezTo>
                  <a:pt x="164" y="253"/>
                  <a:pt x="165" y="256"/>
                  <a:pt x="165" y="260"/>
                </a:cubicBezTo>
                <a:cubicBezTo>
                  <a:pt x="165" y="264"/>
                  <a:pt x="164" y="268"/>
                  <a:pt x="163" y="271"/>
                </a:cubicBezTo>
                <a:cubicBezTo>
                  <a:pt x="161" y="274"/>
                  <a:pt x="159" y="276"/>
                  <a:pt x="157" y="27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9" name="Freeform 45"/>
          <p:cNvSpPr>
            <a:spLocks noEditPoints="1"/>
          </p:cNvSpPr>
          <p:nvPr/>
        </p:nvSpPr>
        <p:spPr bwMode="auto">
          <a:xfrm>
            <a:off x="4881412" y="2881831"/>
            <a:ext cx="376037" cy="377423"/>
          </a:xfrm>
          <a:custGeom>
            <a:avLst/>
            <a:gdLst>
              <a:gd name="T0" fmla="*/ 0 w 353"/>
              <a:gd name="T1" fmla="*/ 177 h 354"/>
              <a:gd name="T2" fmla="*/ 353 w 353"/>
              <a:gd name="T3" fmla="*/ 177 h 354"/>
              <a:gd name="T4" fmla="*/ 129 w 353"/>
              <a:gd name="T5" fmla="*/ 24 h 354"/>
              <a:gd name="T6" fmla="*/ 118 w 353"/>
              <a:gd name="T7" fmla="*/ 37 h 354"/>
              <a:gd name="T8" fmla="*/ 100 w 353"/>
              <a:gd name="T9" fmla="*/ 69 h 354"/>
              <a:gd name="T10" fmla="*/ 73 w 353"/>
              <a:gd name="T11" fmla="*/ 55 h 354"/>
              <a:gd name="T12" fmla="*/ 61 w 353"/>
              <a:gd name="T13" fmla="*/ 65 h 354"/>
              <a:gd name="T14" fmla="*/ 93 w 353"/>
              <a:gd name="T15" fmla="*/ 89 h 354"/>
              <a:gd name="T16" fmla="*/ 83 w 353"/>
              <a:gd name="T17" fmla="*/ 133 h 354"/>
              <a:gd name="T18" fmla="*/ 81 w 353"/>
              <a:gd name="T19" fmla="*/ 155 h 354"/>
              <a:gd name="T20" fmla="*/ 16 w 353"/>
              <a:gd name="T21" fmla="*/ 169 h 354"/>
              <a:gd name="T22" fmla="*/ 16 w 353"/>
              <a:gd name="T23" fmla="*/ 185 h 354"/>
              <a:gd name="T24" fmla="*/ 81 w 353"/>
              <a:gd name="T25" fmla="*/ 199 h 354"/>
              <a:gd name="T26" fmla="*/ 83 w 353"/>
              <a:gd name="T27" fmla="*/ 221 h 354"/>
              <a:gd name="T28" fmla="*/ 93 w 353"/>
              <a:gd name="T29" fmla="*/ 265 h 354"/>
              <a:gd name="T30" fmla="*/ 61 w 353"/>
              <a:gd name="T31" fmla="*/ 288 h 354"/>
              <a:gd name="T32" fmla="*/ 73 w 353"/>
              <a:gd name="T33" fmla="*/ 299 h 354"/>
              <a:gd name="T34" fmla="*/ 100 w 353"/>
              <a:gd name="T35" fmla="*/ 284 h 354"/>
              <a:gd name="T36" fmla="*/ 118 w 353"/>
              <a:gd name="T37" fmla="*/ 317 h 354"/>
              <a:gd name="T38" fmla="*/ 129 w 353"/>
              <a:gd name="T39" fmla="*/ 330 h 354"/>
              <a:gd name="T40" fmla="*/ 168 w 353"/>
              <a:gd name="T41" fmla="*/ 337 h 354"/>
              <a:gd name="T42" fmla="*/ 168 w 353"/>
              <a:gd name="T43" fmla="*/ 266 h 354"/>
              <a:gd name="T44" fmla="*/ 168 w 353"/>
              <a:gd name="T45" fmla="*/ 250 h 354"/>
              <a:gd name="T46" fmla="*/ 96 w 353"/>
              <a:gd name="T47" fmla="*/ 185 h 354"/>
              <a:gd name="T48" fmla="*/ 168 w 353"/>
              <a:gd name="T49" fmla="*/ 250 h 354"/>
              <a:gd name="T50" fmla="*/ 96 w 353"/>
              <a:gd name="T51" fmla="*/ 169 h 354"/>
              <a:gd name="T52" fmla="*/ 168 w 353"/>
              <a:gd name="T53" fmla="*/ 104 h 354"/>
              <a:gd name="T54" fmla="*/ 168 w 353"/>
              <a:gd name="T55" fmla="*/ 88 h 354"/>
              <a:gd name="T56" fmla="*/ 168 w 353"/>
              <a:gd name="T57" fmla="*/ 17 h 354"/>
              <a:gd name="T58" fmla="*/ 337 w 353"/>
              <a:gd name="T59" fmla="*/ 169 h 354"/>
              <a:gd name="T60" fmla="*/ 272 w 353"/>
              <a:gd name="T61" fmla="*/ 155 h 354"/>
              <a:gd name="T62" fmla="*/ 270 w 353"/>
              <a:gd name="T63" fmla="*/ 133 h 354"/>
              <a:gd name="T64" fmla="*/ 260 w 353"/>
              <a:gd name="T65" fmla="*/ 89 h 354"/>
              <a:gd name="T66" fmla="*/ 292 w 353"/>
              <a:gd name="T67" fmla="*/ 65 h 354"/>
              <a:gd name="T68" fmla="*/ 280 w 353"/>
              <a:gd name="T69" fmla="*/ 55 h 354"/>
              <a:gd name="T70" fmla="*/ 253 w 353"/>
              <a:gd name="T71" fmla="*/ 69 h 354"/>
              <a:gd name="T72" fmla="*/ 235 w 353"/>
              <a:gd name="T73" fmla="*/ 37 h 354"/>
              <a:gd name="T74" fmla="*/ 224 w 353"/>
              <a:gd name="T75" fmla="*/ 24 h 354"/>
              <a:gd name="T76" fmla="*/ 185 w 353"/>
              <a:gd name="T77" fmla="*/ 17 h 354"/>
              <a:gd name="T78" fmla="*/ 185 w 353"/>
              <a:gd name="T79" fmla="*/ 88 h 354"/>
              <a:gd name="T80" fmla="*/ 185 w 353"/>
              <a:gd name="T81" fmla="*/ 104 h 354"/>
              <a:gd name="T82" fmla="*/ 257 w 353"/>
              <a:gd name="T83" fmla="*/ 169 h 354"/>
              <a:gd name="T84" fmla="*/ 185 w 353"/>
              <a:gd name="T85" fmla="*/ 104 h 354"/>
              <a:gd name="T86" fmla="*/ 257 w 353"/>
              <a:gd name="T87" fmla="*/ 185 h 354"/>
              <a:gd name="T88" fmla="*/ 185 w 353"/>
              <a:gd name="T89" fmla="*/ 250 h 354"/>
              <a:gd name="T90" fmla="*/ 185 w 353"/>
              <a:gd name="T91" fmla="*/ 337 h 354"/>
              <a:gd name="T92" fmla="*/ 240 w 353"/>
              <a:gd name="T93" fmla="*/ 276 h 354"/>
              <a:gd name="T94" fmla="*/ 224 w 353"/>
              <a:gd name="T95" fmla="*/ 330 h 354"/>
              <a:gd name="T96" fmla="*/ 235 w 353"/>
              <a:gd name="T97" fmla="*/ 317 h 354"/>
              <a:gd name="T98" fmla="*/ 253 w 353"/>
              <a:gd name="T99" fmla="*/ 284 h 354"/>
              <a:gd name="T100" fmla="*/ 280 w 353"/>
              <a:gd name="T101" fmla="*/ 299 h 354"/>
              <a:gd name="T102" fmla="*/ 292 w 353"/>
              <a:gd name="T103" fmla="*/ 288 h 354"/>
              <a:gd name="T104" fmla="*/ 260 w 353"/>
              <a:gd name="T105" fmla="*/ 265 h 354"/>
              <a:gd name="T106" fmla="*/ 270 w 353"/>
              <a:gd name="T107" fmla="*/ 221 h 354"/>
              <a:gd name="T108" fmla="*/ 272 w 353"/>
              <a:gd name="T109" fmla="*/ 199 h 354"/>
              <a:gd name="T110" fmla="*/ 337 w 353"/>
              <a:gd name="T111" fmla="*/ 1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53" h="354">
                <a:moveTo>
                  <a:pt x="177" y="0"/>
                </a:moveTo>
                <a:cubicBezTo>
                  <a:pt x="79" y="0"/>
                  <a:pt x="0" y="79"/>
                  <a:pt x="0" y="177"/>
                </a:cubicBezTo>
                <a:cubicBezTo>
                  <a:pt x="0" y="274"/>
                  <a:pt x="79" y="354"/>
                  <a:pt x="177" y="354"/>
                </a:cubicBezTo>
                <a:cubicBezTo>
                  <a:pt x="274" y="354"/>
                  <a:pt x="353" y="274"/>
                  <a:pt x="353" y="177"/>
                </a:cubicBezTo>
                <a:cubicBezTo>
                  <a:pt x="353" y="79"/>
                  <a:pt x="274" y="0"/>
                  <a:pt x="177" y="0"/>
                </a:cubicBezTo>
                <a:moveTo>
                  <a:pt x="129" y="24"/>
                </a:moveTo>
                <a:cubicBezTo>
                  <a:pt x="125" y="27"/>
                  <a:pt x="122" y="31"/>
                  <a:pt x="119" y="36"/>
                </a:cubicBezTo>
                <a:cubicBezTo>
                  <a:pt x="119" y="36"/>
                  <a:pt x="118" y="36"/>
                  <a:pt x="118" y="37"/>
                </a:cubicBezTo>
                <a:cubicBezTo>
                  <a:pt x="112" y="46"/>
                  <a:pt x="106" y="56"/>
                  <a:pt x="101" y="68"/>
                </a:cubicBezTo>
                <a:cubicBezTo>
                  <a:pt x="101" y="68"/>
                  <a:pt x="100" y="69"/>
                  <a:pt x="100" y="69"/>
                </a:cubicBezTo>
                <a:cubicBezTo>
                  <a:pt x="100" y="70"/>
                  <a:pt x="100" y="71"/>
                  <a:pt x="99" y="72"/>
                </a:cubicBezTo>
                <a:cubicBezTo>
                  <a:pt x="89" y="67"/>
                  <a:pt x="81" y="61"/>
                  <a:pt x="73" y="55"/>
                </a:cubicBezTo>
                <a:cubicBezTo>
                  <a:pt x="89" y="41"/>
                  <a:pt x="108" y="30"/>
                  <a:pt x="129" y="24"/>
                </a:cubicBezTo>
                <a:moveTo>
                  <a:pt x="61" y="65"/>
                </a:moveTo>
                <a:cubicBezTo>
                  <a:pt x="71" y="74"/>
                  <a:pt x="82" y="81"/>
                  <a:pt x="94" y="87"/>
                </a:cubicBezTo>
                <a:cubicBezTo>
                  <a:pt x="94" y="87"/>
                  <a:pt x="93" y="88"/>
                  <a:pt x="93" y="89"/>
                </a:cubicBezTo>
                <a:cubicBezTo>
                  <a:pt x="89" y="101"/>
                  <a:pt x="86" y="114"/>
                  <a:pt x="84" y="128"/>
                </a:cubicBezTo>
                <a:cubicBezTo>
                  <a:pt x="84" y="129"/>
                  <a:pt x="84" y="131"/>
                  <a:pt x="83" y="133"/>
                </a:cubicBezTo>
                <a:cubicBezTo>
                  <a:pt x="83" y="138"/>
                  <a:pt x="82" y="144"/>
                  <a:pt x="81" y="149"/>
                </a:cubicBezTo>
                <a:cubicBezTo>
                  <a:pt x="81" y="151"/>
                  <a:pt x="81" y="153"/>
                  <a:pt x="81" y="155"/>
                </a:cubicBezTo>
                <a:cubicBezTo>
                  <a:pt x="81" y="160"/>
                  <a:pt x="81" y="164"/>
                  <a:pt x="80" y="169"/>
                </a:cubicBezTo>
                <a:cubicBezTo>
                  <a:pt x="16" y="169"/>
                  <a:pt x="16" y="169"/>
                  <a:pt x="16" y="169"/>
                </a:cubicBezTo>
                <a:cubicBezTo>
                  <a:pt x="18" y="129"/>
                  <a:pt x="35" y="93"/>
                  <a:pt x="61" y="65"/>
                </a:cubicBezTo>
                <a:moveTo>
                  <a:pt x="16" y="185"/>
                </a:moveTo>
                <a:cubicBezTo>
                  <a:pt x="80" y="185"/>
                  <a:pt x="80" y="185"/>
                  <a:pt x="80" y="185"/>
                </a:cubicBezTo>
                <a:cubicBezTo>
                  <a:pt x="81" y="190"/>
                  <a:pt x="81" y="194"/>
                  <a:pt x="81" y="199"/>
                </a:cubicBezTo>
                <a:cubicBezTo>
                  <a:pt x="81" y="201"/>
                  <a:pt x="81" y="203"/>
                  <a:pt x="81" y="205"/>
                </a:cubicBezTo>
                <a:cubicBezTo>
                  <a:pt x="82" y="210"/>
                  <a:pt x="83" y="216"/>
                  <a:pt x="83" y="221"/>
                </a:cubicBezTo>
                <a:cubicBezTo>
                  <a:pt x="84" y="223"/>
                  <a:pt x="84" y="224"/>
                  <a:pt x="84" y="226"/>
                </a:cubicBezTo>
                <a:cubicBezTo>
                  <a:pt x="86" y="240"/>
                  <a:pt x="89" y="253"/>
                  <a:pt x="93" y="265"/>
                </a:cubicBezTo>
                <a:cubicBezTo>
                  <a:pt x="93" y="266"/>
                  <a:pt x="94" y="267"/>
                  <a:pt x="94" y="267"/>
                </a:cubicBezTo>
                <a:cubicBezTo>
                  <a:pt x="82" y="273"/>
                  <a:pt x="71" y="280"/>
                  <a:pt x="61" y="288"/>
                </a:cubicBezTo>
                <a:cubicBezTo>
                  <a:pt x="35" y="261"/>
                  <a:pt x="18" y="225"/>
                  <a:pt x="16" y="185"/>
                </a:cubicBezTo>
                <a:moveTo>
                  <a:pt x="73" y="299"/>
                </a:moveTo>
                <a:cubicBezTo>
                  <a:pt x="81" y="293"/>
                  <a:pt x="89" y="287"/>
                  <a:pt x="99" y="282"/>
                </a:cubicBezTo>
                <a:cubicBezTo>
                  <a:pt x="100" y="283"/>
                  <a:pt x="100" y="284"/>
                  <a:pt x="100" y="284"/>
                </a:cubicBezTo>
                <a:cubicBezTo>
                  <a:pt x="100" y="285"/>
                  <a:pt x="101" y="286"/>
                  <a:pt x="101" y="286"/>
                </a:cubicBezTo>
                <a:cubicBezTo>
                  <a:pt x="106" y="298"/>
                  <a:pt x="112" y="308"/>
                  <a:pt x="118" y="317"/>
                </a:cubicBezTo>
                <a:cubicBezTo>
                  <a:pt x="118" y="317"/>
                  <a:pt x="119" y="318"/>
                  <a:pt x="119" y="318"/>
                </a:cubicBezTo>
                <a:cubicBezTo>
                  <a:pt x="122" y="323"/>
                  <a:pt x="125" y="327"/>
                  <a:pt x="129" y="330"/>
                </a:cubicBezTo>
                <a:cubicBezTo>
                  <a:pt x="108" y="324"/>
                  <a:pt x="89" y="313"/>
                  <a:pt x="73" y="299"/>
                </a:cubicBezTo>
                <a:moveTo>
                  <a:pt x="168" y="337"/>
                </a:moveTo>
                <a:cubicBezTo>
                  <a:pt x="146" y="332"/>
                  <a:pt x="127" y="310"/>
                  <a:pt x="113" y="276"/>
                </a:cubicBezTo>
                <a:cubicBezTo>
                  <a:pt x="130" y="270"/>
                  <a:pt x="149" y="266"/>
                  <a:pt x="168" y="266"/>
                </a:cubicBezTo>
                <a:lnTo>
                  <a:pt x="168" y="337"/>
                </a:lnTo>
                <a:close/>
                <a:moveTo>
                  <a:pt x="168" y="250"/>
                </a:moveTo>
                <a:cubicBezTo>
                  <a:pt x="147" y="250"/>
                  <a:pt x="127" y="254"/>
                  <a:pt x="108" y="261"/>
                </a:cubicBezTo>
                <a:cubicBezTo>
                  <a:pt x="101" y="239"/>
                  <a:pt x="97" y="213"/>
                  <a:pt x="96" y="185"/>
                </a:cubicBezTo>
                <a:cubicBezTo>
                  <a:pt x="168" y="185"/>
                  <a:pt x="168" y="185"/>
                  <a:pt x="168" y="185"/>
                </a:cubicBezTo>
                <a:lnTo>
                  <a:pt x="168" y="250"/>
                </a:lnTo>
                <a:close/>
                <a:moveTo>
                  <a:pt x="168" y="169"/>
                </a:moveTo>
                <a:cubicBezTo>
                  <a:pt x="96" y="169"/>
                  <a:pt x="96" y="169"/>
                  <a:pt x="96" y="169"/>
                </a:cubicBezTo>
                <a:cubicBezTo>
                  <a:pt x="97" y="141"/>
                  <a:pt x="101" y="115"/>
                  <a:pt x="108" y="93"/>
                </a:cubicBezTo>
                <a:cubicBezTo>
                  <a:pt x="127" y="100"/>
                  <a:pt x="147" y="103"/>
                  <a:pt x="168" y="104"/>
                </a:cubicBezTo>
                <a:lnTo>
                  <a:pt x="168" y="169"/>
                </a:lnTo>
                <a:close/>
                <a:moveTo>
                  <a:pt x="168" y="88"/>
                </a:moveTo>
                <a:cubicBezTo>
                  <a:pt x="149" y="87"/>
                  <a:pt x="130" y="84"/>
                  <a:pt x="113" y="78"/>
                </a:cubicBezTo>
                <a:cubicBezTo>
                  <a:pt x="127" y="44"/>
                  <a:pt x="146" y="22"/>
                  <a:pt x="168" y="17"/>
                </a:cubicBezTo>
                <a:lnTo>
                  <a:pt x="168" y="88"/>
                </a:lnTo>
                <a:close/>
                <a:moveTo>
                  <a:pt x="337" y="169"/>
                </a:moveTo>
                <a:cubicBezTo>
                  <a:pt x="273" y="169"/>
                  <a:pt x="273" y="169"/>
                  <a:pt x="273" y="169"/>
                </a:cubicBezTo>
                <a:cubicBezTo>
                  <a:pt x="272" y="164"/>
                  <a:pt x="272" y="160"/>
                  <a:pt x="272" y="155"/>
                </a:cubicBezTo>
                <a:cubicBezTo>
                  <a:pt x="272" y="153"/>
                  <a:pt x="272" y="151"/>
                  <a:pt x="272" y="149"/>
                </a:cubicBezTo>
                <a:cubicBezTo>
                  <a:pt x="271" y="144"/>
                  <a:pt x="270" y="138"/>
                  <a:pt x="270" y="133"/>
                </a:cubicBezTo>
                <a:cubicBezTo>
                  <a:pt x="269" y="131"/>
                  <a:pt x="269" y="129"/>
                  <a:pt x="269" y="128"/>
                </a:cubicBezTo>
                <a:cubicBezTo>
                  <a:pt x="267" y="114"/>
                  <a:pt x="264" y="101"/>
                  <a:pt x="260" y="89"/>
                </a:cubicBezTo>
                <a:cubicBezTo>
                  <a:pt x="260" y="88"/>
                  <a:pt x="259" y="87"/>
                  <a:pt x="259" y="87"/>
                </a:cubicBezTo>
                <a:cubicBezTo>
                  <a:pt x="271" y="81"/>
                  <a:pt x="282" y="74"/>
                  <a:pt x="292" y="65"/>
                </a:cubicBezTo>
                <a:cubicBezTo>
                  <a:pt x="318" y="93"/>
                  <a:pt x="335" y="129"/>
                  <a:pt x="337" y="169"/>
                </a:cubicBezTo>
                <a:moveTo>
                  <a:pt x="280" y="55"/>
                </a:moveTo>
                <a:cubicBezTo>
                  <a:pt x="272" y="61"/>
                  <a:pt x="264" y="67"/>
                  <a:pt x="254" y="72"/>
                </a:cubicBezTo>
                <a:cubicBezTo>
                  <a:pt x="253" y="71"/>
                  <a:pt x="253" y="70"/>
                  <a:pt x="253" y="69"/>
                </a:cubicBezTo>
                <a:cubicBezTo>
                  <a:pt x="253" y="69"/>
                  <a:pt x="252" y="68"/>
                  <a:pt x="252" y="68"/>
                </a:cubicBezTo>
                <a:cubicBezTo>
                  <a:pt x="247" y="56"/>
                  <a:pt x="241" y="46"/>
                  <a:pt x="235" y="37"/>
                </a:cubicBezTo>
                <a:cubicBezTo>
                  <a:pt x="235" y="36"/>
                  <a:pt x="234" y="36"/>
                  <a:pt x="234" y="36"/>
                </a:cubicBezTo>
                <a:cubicBezTo>
                  <a:pt x="231" y="31"/>
                  <a:pt x="228" y="27"/>
                  <a:pt x="224" y="24"/>
                </a:cubicBezTo>
                <a:cubicBezTo>
                  <a:pt x="245" y="30"/>
                  <a:pt x="264" y="41"/>
                  <a:pt x="280" y="55"/>
                </a:cubicBezTo>
                <a:moveTo>
                  <a:pt x="185" y="17"/>
                </a:moveTo>
                <a:cubicBezTo>
                  <a:pt x="207" y="22"/>
                  <a:pt x="226" y="44"/>
                  <a:pt x="240" y="78"/>
                </a:cubicBezTo>
                <a:cubicBezTo>
                  <a:pt x="223" y="84"/>
                  <a:pt x="204" y="87"/>
                  <a:pt x="185" y="88"/>
                </a:cubicBezTo>
                <a:lnTo>
                  <a:pt x="185" y="17"/>
                </a:lnTo>
                <a:close/>
                <a:moveTo>
                  <a:pt x="185" y="104"/>
                </a:moveTo>
                <a:cubicBezTo>
                  <a:pt x="206" y="103"/>
                  <a:pt x="226" y="100"/>
                  <a:pt x="245" y="93"/>
                </a:cubicBezTo>
                <a:cubicBezTo>
                  <a:pt x="252" y="115"/>
                  <a:pt x="256" y="141"/>
                  <a:pt x="257" y="169"/>
                </a:cubicBezTo>
                <a:cubicBezTo>
                  <a:pt x="185" y="169"/>
                  <a:pt x="185" y="169"/>
                  <a:pt x="185" y="169"/>
                </a:cubicBezTo>
                <a:lnTo>
                  <a:pt x="185" y="104"/>
                </a:lnTo>
                <a:close/>
                <a:moveTo>
                  <a:pt x="185" y="185"/>
                </a:moveTo>
                <a:cubicBezTo>
                  <a:pt x="257" y="185"/>
                  <a:pt x="257" y="185"/>
                  <a:pt x="257" y="185"/>
                </a:cubicBezTo>
                <a:cubicBezTo>
                  <a:pt x="256" y="213"/>
                  <a:pt x="252" y="239"/>
                  <a:pt x="245" y="261"/>
                </a:cubicBezTo>
                <a:cubicBezTo>
                  <a:pt x="226" y="254"/>
                  <a:pt x="206" y="250"/>
                  <a:pt x="185" y="250"/>
                </a:cubicBezTo>
                <a:lnTo>
                  <a:pt x="185" y="185"/>
                </a:lnTo>
                <a:close/>
                <a:moveTo>
                  <a:pt x="185" y="337"/>
                </a:moveTo>
                <a:cubicBezTo>
                  <a:pt x="185" y="266"/>
                  <a:pt x="185" y="266"/>
                  <a:pt x="185" y="266"/>
                </a:cubicBezTo>
                <a:cubicBezTo>
                  <a:pt x="204" y="266"/>
                  <a:pt x="223" y="270"/>
                  <a:pt x="240" y="276"/>
                </a:cubicBezTo>
                <a:cubicBezTo>
                  <a:pt x="226" y="310"/>
                  <a:pt x="207" y="332"/>
                  <a:pt x="185" y="337"/>
                </a:cubicBezTo>
                <a:moveTo>
                  <a:pt x="224" y="330"/>
                </a:moveTo>
                <a:cubicBezTo>
                  <a:pt x="228" y="327"/>
                  <a:pt x="231" y="323"/>
                  <a:pt x="234" y="318"/>
                </a:cubicBezTo>
                <a:cubicBezTo>
                  <a:pt x="234" y="318"/>
                  <a:pt x="235" y="317"/>
                  <a:pt x="235" y="317"/>
                </a:cubicBezTo>
                <a:cubicBezTo>
                  <a:pt x="241" y="308"/>
                  <a:pt x="247" y="298"/>
                  <a:pt x="252" y="286"/>
                </a:cubicBezTo>
                <a:cubicBezTo>
                  <a:pt x="252" y="286"/>
                  <a:pt x="253" y="285"/>
                  <a:pt x="253" y="284"/>
                </a:cubicBezTo>
                <a:cubicBezTo>
                  <a:pt x="253" y="284"/>
                  <a:pt x="253" y="283"/>
                  <a:pt x="254" y="282"/>
                </a:cubicBezTo>
                <a:cubicBezTo>
                  <a:pt x="264" y="287"/>
                  <a:pt x="272" y="293"/>
                  <a:pt x="280" y="299"/>
                </a:cubicBezTo>
                <a:cubicBezTo>
                  <a:pt x="264" y="313"/>
                  <a:pt x="245" y="324"/>
                  <a:pt x="224" y="330"/>
                </a:cubicBezTo>
                <a:moveTo>
                  <a:pt x="292" y="288"/>
                </a:moveTo>
                <a:cubicBezTo>
                  <a:pt x="282" y="280"/>
                  <a:pt x="271" y="273"/>
                  <a:pt x="259" y="267"/>
                </a:cubicBezTo>
                <a:cubicBezTo>
                  <a:pt x="259" y="267"/>
                  <a:pt x="260" y="266"/>
                  <a:pt x="260" y="265"/>
                </a:cubicBezTo>
                <a:cubicBezTo>
                  <a:pt x="264" y="253"/>
                  <a:pt x="267" y="240"/>
                  <a:pt x="269" y="226"/>
                </a:cubicBezTo>
                <a:cubicBezTo>
                  <a:pt x="269" y="224"/>
                  <a:pt x="269" y="223"/>
                  <a:pt x="270" y="221"/>
                </a:cubicBezTo>
                <a:cubicBezTo>
                  <a:pt x="270" y="216"/>
                  <a:pt x="271" y="210"/>
                  <a:pt x="272" y="205"/>
                </a:cubicBezTo>
                <a:cubicBezTo>
                  <a:pt x="272" y="203"/>
                  <a:pt x="272" y="201"/>
                  <a:pt x="272" y="199"/>
                </a:cubicBezTo>
                <a:cubicBezTo>
                  <a:pt x="272" y="194"/>
                  <a:pt x="272" y="190"/>
                  <a:pt x="273" y="185"/>
                </a:cubicBezTo>
                <a:cubicBezTo>
                  <a:pt x="337" y="185"/>
                  <a:pt x="337" y="185"/>
                  <a:pt x="337" y="185"/>
                </a:cubicBezTo>
                <a:cubicBezTo>
                  <a:pt x="335" y="225"/>
                  <a:pt x="318" y="261"/>
                  <a:pt x="292" y="28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0" name="Freeform 16"/>
          <p:cNvSpPr>
            <a:spLocks noEditPoints="1"/>
          </p:cNvSpPr>
          <p:nvPr/>
        </p:nvSpPr>
        <p:spPr bwMode="auto">
          <a:xfrm>
            <a:off x="5537992" y="1713031"/>
            <a:ext cx="380198" cy="381586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12161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Infográfico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/>
              <a:t>DE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/>
              <a:t>Social Media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6" name="Freeform 45"/>
          <p:cNvSpPr>
            <a:spLocks noEditPoints="1"/>
          </p:cNvSpPr>
          <p:nvPr/>
        </p:nvSpPr>
        <p:spPr bwMode="auto">
          <a:xfrm>
            <a:off x="3083015" y="3246607"/>
            <a:ext cx="352516" cy="352514"/>
          </a:xfrm>
          <a:custGeom>
            <a:avLst/>
            <a:gdLst>
              <a:gd name="T0" fmla="*/ 160 w 353"/>
              <a:gd name="T1" fmla="*/ 177 h 353"/>
              <a:gd name="T2" fmla="*/ 193 w 353"/>
              <a:gd name="T3" fmla="*/ 177 h 353"/>
              <a:gd name="T4" fmla="*/ 353 w 353"/>
              <a:gd name="T5" fmla="*/ 177 h 353"/>
              <a:gd name="T6" fmla="*/ 301 w 353"/>
              <a:gd name="T7" fmla="*/ 52 h 353"/>
              <a:gd name="T8" fmla="*/ 177 w 353"/>
              <a:gd name="T9" fmla="*/ 0 h 353"/>
              <a:gd name="T10" fmla="*/ 52 w 353"/>
              <a:gd name="T11" fmla="*/ 52 h 353"/>
              <a:gd name="T12" fmla="*/ 0 w 353"/>
              <a:gd name="T13" fmla="*/ 177 h 353"/>
              <a:gd name="T14" fmla="*/ 52 w 353"/>
              <a:gd name="T15" fmla="*/ 302 h 353"/>
              <a:gd name="T16" fmla="*/ 177 w 353"/>
              <a:gd name="T17" fmla="*/ 353 h 353"/>
              <a:gd name="T18" fmla="*/ 301 w 353"/>
              <a:gd name="T19" fmla="*/ 302 h 353"/>
              <a:gd name="T20" fmla="*/ 353 w 353"/>
              <a:gd name="T21" fmla="*/ 177 h 353"/>
              <a:gd name="T22" fmla="*/ 67 w 353"/>
              <a:gd name="T23" fmla="*/ 141 h 353"/>
              <a:gd name="T24" fmla="*/ 67 w 353"/>
              <a:gd name="T25" fmla="*/ 212 h 353"/>
              <a:gd name="T26" fmla="*/ 113 w 353"/>
              <a:gd name="T27" fmla="*/ 150 h 353"/>
              <a:gd name="T28" fmla="*/ 82 w 353"/>
              <a:gd name="T29" fmla="*/ 138 h 353"/>
              <a:gd name="T30" fmla="*/ 113 w 353"/>
              <a:gd name="T31" fmla="*/ 150 h 353"/>
              <a:gd name="T32" fmla="*/ 82 w 353"/>
              <a:gd name="T33" fmla="*/ 216 h 353"/>
              <a:gd name="T34" fmla="*/ 113 w 353"/>
              <a:gd name="T35" fmla="*/ 203 h 353"/>
              <a:gd name="T36" fmla="*/ 63 w 353"/>
              <a:gd name="T37" fmla="*/ 290 h 353"/>
              <a:gd name="T38" fmla="*/ 116 w 353"/>
              <a:gd name="T39" fmla="*/ 237 h 353"/>
              <a:gd name="T40" fmla="*/ 63 w 353"/>
              <a:gd name="T41" fmla="*/ 290 h 353"/>
              <a:gd name="T42" fmla="*/ 74 w 353"/>
              <a:gd name="T43" fmla="*/ 124 h 353"/>
              <a:gd name="T44" fmla="*/ 124 w 353"/>
              <a:gd name="T45" fmla="*/ 75 h 353"/>
              <a:gd name="T46" fmla="*/ 221 w 353"/>
              <a:gd name="T47" fmla="*/ 115 h 353"/>
              <a:gd name="T48" fmla="*/ 189 w 353"/>
              <a:gd name="T49" fmla="*/ 101 h 353"/>
              <a:gd name="T50" fmla="*/ 221 w 353"/>
              <a:gd name="T51" fmla="*/ 115 h 353"/>
              <a:gd name="T52" fmla="*/ 212 w 353"/>
              <a:gd name="T53" fmla="*/ 67 h 353"/>
              <a:gd name="T54" fmla="*/ 141 w 353"/>
              <a:gd name="T55" fmla="*/ 67 h 353"/>
              <a:gd name="T56" fmla="*/ 138 w 353"/>
              <a:gd name="T57" fmla="*/ 83 h 353"/>
              <a:gd name="T58" fmla="*/ 150 w 353"/>
              <a:gd name="T59" fmla="*/ 113 h 353"/>
              <a:gd name="T60" fmla="*/ 138 w 353"/>
              <a:gd name="T61" fmla="*/ 83 h 353"/>
              <a:gd name="T62" fmla="*/ 150 w 353"/>
              <a:gd name="T63" fmla="*/ 240 h 353"/>
              <a:gd name="T64" fmla="*/ 138 w 353"/>
              <a:gd name="T65" fmla="*/ 271 h 353"/>
              <a:gd name="T66" fmla="*/ 177 w 353"/>
              <a:gd name="T67" fmla="*/ 337 h 353"/>
              <a:gd name="T68" fmla="*/ 176 w 353"/>
              <a:gd name="T69" fmla="*/ 262 h 353"/>
              <a:gd name="T70" fmla="*/ 177 w 353"/>
              <a:gd name="T71" fmla="*/ 337 h 353"/>
              <a:gd name="T72" fmla="*/ 189 w 353"/>
              <a:gd name="T73" fmla="*/ 252 h 353"/>
              <a:gd name="T74" fmla="*/ 221 w 353"/>
              <a:gd name="T75" fmla="*/ 239 h 353"/>
              <a:gd name="T76" fmla="*/ 224 w 353"/>
              <a:gd name="T77" fmla="*/ 196 h 353"/>
              <a:gd name="T78" fmla="*/ 196 w 353"/>
              <a:gd name="T79" fmla="*/ 224 h 353"/>
              <a:gd name="T80" fmla="*/ 157 w 353"/>
              <a:gd name="T81" fmla="*/ 224 h 353"/>
              <a:gd name="T82" fmla="*/ 129 w 353"/>
              <a:gd name="T83" fmla="*/ 196 h 353"/>
              <a:gd name="T84" fmla="*/ 129 w 353"/>
              <a:gd name="T85" fmla="*/ 157 h 353"/>
              <a:gd name="T86" fmla="*/ 157 w 353"/>
              <a:gd name="T87" fmla="*/ 129 h 353"/>
              <a:gd name="T88" fmla="*/ 196 w 353"/>
              <a:gd name="T89" fmla="*/ 129 h 353"/>
              <a:gd name="T90" fmla="*/ 224 w 353"/>
              <a:gd name="T91" fmla="*/ 157 h 353"/>
              <a:gd name="T92" fmla="*/ 224 w 353"/>
              <a:gd name="T93" fmla="*/ 196 h 353"/>
              <a:gd name="T94" fmla="*/ 279 w 353"/>
              <a:gd name="T95" fmla="*/ 124 h 353"/>
              <a:gd name="T96" fmla="*/ 229 w 353"/>
              <a:gd name="T97" fmla="*/ 75 h 353"/>
              <a:gd name="T98" fmla="*/ 252 w 353"/>
              <a:gd name="T99" fmla="*/ 164 h 353"/>
              <a:gd name="T100" fmla="*/ 239 w 353"/>
              <a:gd name="T101" fmla="*/ 132 h 353"/>
              <a:gd name="T102" fmla="*/ 252 w 353"/>
              <a:gd name="T103" fmla="*/ 164 h 353"/>
              <a:gd name="T104" fmla="*/ 271 w 353"/>
              <a:gd name="T105" fmla="*/ 216 h 353"/>
              <a:gd name="T106" fmla="*/ 240 w 353"/>
              <a:gd name="T107" fmla="*/ 203 h 353"/>
              <a:gd name="T108" fmla="*/ 290 w 353"/>
              <a:gd name="T109" fmla="*/ 290 h 353"/>
              <a:gd name="T110" fmla="*/ 237 w 353"/>
              <a:gd name="T111" fmla="*/ 237 h 353"/>
              <a:gd name="T112" fmla="*/ 290 w 353"/>
              <a:gd name="T113" fmla="*/ 290 h 353"/>
              <a:gd name="T114" fmla="*/ 262 w 353"/>
              <a:gd name="T115" fmla="*/ 177 h 353"/>
              <a:gd name="T116" fmla="*/ 337 w 353"/>
              <a:gd name="T117" fmla="*/ 177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3" h="353">
                <a:moveTo>
                  <a:pt x="177" y="161"/>
                </a:moveTo>
                <a:cubicBezTo>
                  <a:pt x="168" y="161"/>
                  <a:pt x="160" y="168"/>
                  <a:pt x="160" y="177"/>
                </a:cubicBezTo>
                <a:cubicBezTo>
                  <a:pt x="160" y="185"/>
                  <a:pt x="168" y="193"/>
                  <a:pt x="177" y="193"/>
                </a:cubicBezTo>
                <a:cubicBezTo>
                  <a:pt x="185" y="193"/>
                  <a:pt x="193" y="185"/>
                  <a:pt x="193" y="177"/>
                </a:cubicBezTo>
                <a:cubicBezTo>
                  <a:pt x="193" y="168"/>
                  <a:pt x="185" y="161"/>
                  <a:pt x="177" y="161"/>
                </a:cubicBezTo>
                <a:moveTo>
                  <a:pt x="353" y="177"/>
                </a:moveTo>
                <a:cubicBezTo>
                  <a:pt x="353" y="157"/>
                  <a:pt x="330" y="140"/>
                  <a:pt x="293" y="128"/>
                </a:cubicBezTo>
                <a:cubicBezTo>
                  <a:pt x="311" y="94"/>
                  <a:pt x="315" y="65"/>
                  <a:pt x="301" y="52"/>
                </a:cubicBezTo>
                <a:cubicBezTo>
                  <a:pt x="288" y="38"/>
                  <a:pt x="259" y="42"/>
                  <a:pt x="225" y="60"/>
                </a:cubicBezTo>
                <a:cubicBezTo>
                  <a:pt x="213" y="23"/>
                  <a:pt x="196" y="0"/>
                  <a:pt x="177" y="0"/>
                </a:cubicBezTo>
                <a:cubicBezTo>
                  <a:pt x="157" y="0"/>
                  <a:pt x="140" y="23"/>
                  <a:pt x="128" y="60"/>
                </a:cubicBezTo>
                <a:cubicBezTo>
                  <a:pt x="94" y="42"/>
                  <a:pt x="65" y="38"/>
                  <a:pt x="52" y="52"/>
                </a:cubicBezTo>
                <a:cubicBezTo>
                  <a:pt x="38" y="65"/>
                  <a:pt x="42" y="94"/>
                  <a:pt x="60" y="128"/>
                </a:cubicBezTo>
                <a:cubicBezTo>
                  <a:pt x="23" y="140"/>
                  <a:pt x="0" y="157"/>
                  <a:pt x="0" y="177"/>
                </a:cubicBezTo>
                <a:cubicBezTo>
                  <a:pt x="0" y="196"/>
                  <a:pt x="23" y="213"/>
                  <a:pt x="60" y="225"/>
                </a:cubicBezTo>
                <a:cubicBezTo>
                  <a:pt x="42" y="259"/>
                  <a:pt x="38" y="288"/>
                  <a:pt x="52" y="302"/>
                </a:cubicBezTo>
                <a:cubicBezTo>
                  <a:pt x="65" y="315"/>
                  <a:pt x="94" y="311"/>
                  <a:pt x="128" y="293"/>
                </a:cubicBezTo>
                <a:cubicBezTo>
                  <a:pt x="140" y="330"/>
                  <a:pt x="157" y="353"/>
                  <a:pt x="177" y="353"/>
                </a:cubicBezTo>
                <a:cubicBezTo>
                  <a:pt x="196" y="353"/>
                  <a:pt x="213" y="330"/>
                  <a:pt x="225" y="293"/>
                </a:cubicBezTo>
                <a:cubicBezTo>
                  <a:pt x="259" y="311"/>
                  <a:pt x="288" y="315"/>
                  <a:pt x="301" y="302"/>
                </a:cubicBezTo>
                <a:cubicBezTo>
                  <a:pt x="315" y="288"/>
                  <a:pt x="311" y="259"/>
                  <a:pt x="293" y="225"/>
                </a:cubicBezTo>
                <a:cubicBezTo>
                  <a:pt x="330" y="213"/>
                  <a:pt x="353" y="196"/>
                  <a:pt x="353" y="177"/>
                </a:cubicBezTo>
                <a:moveTo>
                  <a:pt x="16" y="177"/>
                </a:moveTo>
                <a:cubicBezTo>
                  <a:pt x="16" y="163"/>
                  <a:pt x="36" y="150"/>
                  <a:pt x="67" y="141"/>
                </a:cubicBezTo>
                <a:cubicBezTo>
                  <a:pt x="74" y="153"/>
                  <a:pt x="82" y="165"/>
                  <a:pt x="91" y="177"/>
                </a:cubicBezTo>
                <a:cubicBezTo>
                  <a:pt x="82" y="189"/>
                  <a:pt x="74" y="201"/>
                  <a:pt x="67" y="212"/>
                </a:cubicBezTo>
                <a:cubicBezTo>
                  <a:pt x="36" y="203"/>
                  <a:pt x="16" y="191"/>
                  <a:pt x="16" y="177"/>
                </a:cubicBezTo>
                <a:moveTo>
                  <a:pt x="113" y="150"/>
                </a:moveTo>
                <a:cubicBezTo>
                  <a:pt x="109" y="155"/>
                  <a:pt x="105" y="160"/>
                  <a:pt x="101" y="164"/>
                </a:cubicBezTo>
                <a:cubicBezTo>
                  <a:pt x="94" y="155"/>
                  <a:pt x="88" y="146"/>
                  <a:pt x="82" y="138"/>
                </a:cubicBezTo>
                <a:cubicBezTo>
                  <a:pt x="92" y="135"/>
                  <a:pt x="103" y="134"/>
                  <a:pt x="114" y="132"/>
                </a:cubicBezTo>
                <a:cubicBezTo>
                  <a:pt x="114" y="138"/>
                  <a:pt x="113" y="144"/>
                  <a:pt x="113" y="150"/>
                </a:cubicBezTo>
                <a:moveTo>
                  <a:pt x="114" y="221"/>
                </a:moveTo>
                <a:cubicBezTo>
                  <a:pt x="103" y="220"/>
                  <a:pt x="92" y="218"/>
                  <a:pt x="82" y="216"/>
                </a:cubicBezTo>
                <a:cubicBezTo>
                  <a:pt x="88" y="207"/>
                  <a:pt x="94" y="198"/>
                  <a:pt x="101" y="189"/>
                </a:cubicBezTo>
                <a:cubicBezTo>
                  <a:pt x="105" y="194"/>
                  <a:pt x="109" y="198"/>
                  <a:pt x="113" y="203"/>
                </a:cubicBezTo>
                <a:cubicBezTo>
                  <a:pt x="113" y="209"/>
                  <a:pt x="114" y="215"/>
                  <a:pt x="114" y="221"/>
                </a:cubicBezTo>
                <a:moveTo>
                  <a:pt x="63" y="290"/>
                </a:moveTo>
                <a:cubicBezTo>
                  <a:pt x="53" y="280"/>
                  <a:pt x="58" y="257"/>
                  <a:pt x="74" y="229"/>
                </a:cubicBezTo>
                <a:cubicBezTo>
                  <a:pt x="87" y="232"/>
                  <a:pt x="101" y="235"/>
                  <a:pt x="116" y="237"/>
                </a:cubicBezTo>
                <a:cubicBezTo>
                  <a:pt x="118" y="252"/>
                  <a:pt x="121" y="266"/>
                  <a:pt x="124" y="279"/>
                </a:cubicBezTo>
                <a:cubicBezTo>
                  <a:pt x="96" y="295"/>
                  <a:pt x="73" y="300"/>
                  <a:pt x="63" y="290"/>
                </a:cubicBezTo>
                <a:moveTo>
                  <a:pt x="116" y="116"/>
                </a:moveTo>
                <a:cubicBezTo>
                  <a:pt x="101" y="118"/>
                  <a:pt x="87" y="121"/>
                  <a:pt x="74" y="124"/>
                </a:cubicBezTo>
                <a:cubicBezTo>
                  <a:pt x="58" y="96"/>
                  <a:pt x="53" y="73"/>
                  <a:pt x="63" y="63"/>
                </a:cubicBezTo>
                <a:cubicBezTo>
                  <a:pt x="73" y="53"/>
                  <a:pt x="96" y="58"/>
                  <a:pt x="124" y="75"/>
                </a:cubicBezTo>
                <a:cubicBezTo>
                  <a:pt x="121" y="87"/>
                  <a:pt x="118" y="101"/>
                  <a:pt x="116" y="116"/>
                </a:cubicBezTo>
                <a:moveTo>
                  <a:pt x="221" y="115"/>
                </a:moveTo>
                <a:cubicBezTo>
                  <a:pt x="215" y="114"/>
                  <a:pt x="209" y="114"/>
                  <a:pt x="203" y="113"/>
                </a:cubicBezTo>
                <a:cubicBezTo>
                  <a:pt x="198" y="109"/>
                  <a:pt x="194" y="105"/>
                  <a:pt x="189" y="101"/>
                </a:cubicBezTo>
                <a:cubicBezTo>
                  <a:pt x="198" y="94"/>
                  <a:pt x="207" y="88"/>
                  <a:pt x="216" y="83"/>
                </a:cubicBezTo>
                <a:cubicBezTo>
                  <a:pt x="218" y="92"/>
                  <a:pt x="219" y="103"/>
                  <a:pt x="221" y="115"/>
                </a:cubicBezTo>
                <a:moveTo>
                  <a:pt x="177" y="16"/>
                </a:moveTo>
                <a:cubicBezTo>
                  <a:pt x="190" y="16"/>
                  <a:pt x="203" y="36"/>
                  <a:pt x="212" y="67"/>
                </a:cubicBezTo>
                <a:cubicBezTo>
                  <a:pt x="200" y="74"/>
                  <a:pt x="189" y="82"/>
                  <a:pt x="177" y="91"/>
                </a:cubicBezTo>
                <a:cubicBezTo>
                  <a:pt x="165" y="82"/>
                  <a:pt x="153" y="74"/>
                  <a:pt x="141" y="67"/>
                </a:cubicBezTo>
                <a:cubicBezTo>
                  <a:pt x="150" y="36"/>
                  <a:pt x="163" y="16"/>
                  <a:pt x="177" y="16"/>
                </a:cubicBezTo>
                <a:moveTo>
                  <a:pt x="138" y="83"/>
                </a:moveTo>
                <a:cubicBezTo>
                  <a:pt x="146" y="88"/>
                  <a:pt x="155" y="94"/>
                  <a:pt x="164" y="101"/>
                </a:cubicBezTo>
                <a:cubicBezTo>
                  <a:pt x="159" y="105"/>
                  <a:pt x="155" y="109"/>
                  <a:pt x="150" y="113"/>
                </a:cubicBezTo>
                <a:cubicBezTo>
                  <a:pt x="144" y="114"/>
                  <a:pt x="138" y="114"/>
                  <a:pt x="132" y="115"/>
                </a:cubicBezTo>
                <a:cubicBezTo>
                  <a:pt x="134" y="103"/>
                  <a:pt x="135" y="92"/>
                  <a:pt x="138" y="83"/>
                </a:cubicBezTo>
                <a:moveTo>
                  <a:pt x="132" y="239"/>
                </a:moveTo>
                <a:cubicBezTo>
                  <a:pt x="138" y="239"/>
                  <a:pt x="144" y="240"/>
                  <a:pt x="150" y="240"/>
                </a:cubicBezTo>
                <a:cubicBezTo>
                  <a:pt x="155" y="244"/>
                  <a:pt x="159" y="248"/>
                  <a:pt x="164" y="252"/>
                </a:cubicBezTo>
                <a:cubicBezTo>
                  <a:pt x="155" y="259"/>
                  <a:pt x="146" y="265"/>
                  <a:pt x="138" y="271"/>
                </a:cubicBezTo>
                <a:cubicBezTo>
                  <a:pt x="135" y="261"/>
                  <a:pt x="134" y="250"/>
                  <a:pt x="132" y="239"/>
                </a:cubicBezTo>
                <a:moveTo>
                  <a:pt x="177" y="337"/>
                </a:moveTo>
                <a:cubicBezTo>
                  <a:pt x="163" y="337"/>
                  <a:pt x="150" y="317"/>
                  <a:pt x="141" y="286"/>
                </a:cubicBezTo>
                <a:cubicBezTo>
                  <a:pt x="153" y="279"/>
                  <a:pt x="164" y="271"/>
                  <a:pt x="176" y="262"/>
                </a:cubicBezTo>
                <a:cubicBezTo>
                  <a:pt x="188" y="271"/>
                  <a:pt x="200" y="279"/>
                  <a:pt x="212" y="286"/>
                </a:cubicBezTo>
                <a:cubicBezTo>
                  <a:pt x="203" y="317"/>
                  <a:pt x="190" y="337"/>
                  <a:pt x="177" y="337"/>
                </a:cubicBezTo>
                <a:moveTo>
                  <a:pt x="216" y="271"/>
                </a:moveTo>
                <a:cubicBezTo>
                  <a:pt x="207" y="265"/>
                  <a:pt x="198" y="259"/>
                  <a:pt x="189" y="252"/>
                </a:cubicBezTo>
                <a:cubicBezTo>
                  <a:pt x="194" y="248"/>
                  <a:pt x="198" y="244"/>
                  <a:pt x="203" y="240"/>
                </a:cubicBezTo>
                <a:cubicBezTo>
                  <a:pt x="209" y="240"/>
                  <a:pt x="215" y="239"/>
                  <a:pt x="221" y="239"/>
                </a:cubicBezTo>
                <a:cubicBezTo>
                  <a:pt x="219" y="250"/>
                  <a:pt x="218" y="261"/>
                  <a:pt x="216" y="271"/>
                </a:cubicBezTo>
                <a:moveTo>
                  <a:pt x="224" y="196"/>
                </a:moveTo>
                <a:cubicBezTo>
                  <a:pt x="220" y="201"/>
                  <a:pt x="215" y="206"/>
                  <a:pt x="211" y="211"/>
                </a:cubicBezTo>
                <a:cubicBezTo>
                  <a:pt x="206" y="215"/>
                  <a:pt x="201" y="220"/>
                  <a:pt x="196" y="224"/>
                </a:cubicBezTo>
                <a:cubicBezTo>
                  <a:pt x="190" y="225"/>
                  <a:pt x="183" y="225"/>
                  <a:pt x="177" y="225"/>
                </a:cubicBezTo>
                <a:cubicBezTo>
                  <a:pt x="170" y="225"/>
                  <a:pt x="163" y="225"/>
                  <a:pt x="157" y="224"/>
                </a:cubicBezTo>
                <a:cubicBezTo>
                  <a:pt x="152" y="220"/>
                  <a:pt x="147" y="215"/>
                  <a:pt x="142" y="211"/>
                </a:cubicBezTo>
                <a:cubicBezTo>
                  <a:pt x="138" y="206"/>
                  <a:pt x="133" y="201"/>
                  <a:pt x="129" y="196"/>
                </a:cubicBezTo>
                <a:cubicBezTo>
                  <a:pt x="129" y="190"/>
                  <a:pt x="128" y="183"/>
                  <a:pt x="128" y="177"/>
                </a:cubicBezTo>
                <a:cubicBezTo>
                  <a:pt x="128" y="170"/>
                  <a:pt x="129" y="163"/>
                  <a:pt x="129" y="157"/>
                </a:cubicBezTo>
                <a:cubicBezTo>
                  <a:pt x="133" y="152"/>
                  <a:pt x="138" y="147"/>
                  <a:pt x="142" y="143"/>
                </a:cubicBezTo>
                <a:cubicBezTo>
                  <a:pt x="147" y="138"/>
                  <a:pt x="152" y="133"/>
                  <a:pt x="157" y="129"/>
                </a:cubicBezTo>
                <a:cubicBezTo>
                  <a:pt x="163" y="129"/>
                  <a:pt x="170" y="128"/>
                  <a:pt x="177" y="128"/>
                </a:cubicBezTo>
                <a:cubicBezTo>
                  <a:pt x="183" y="128"/>
                  <a:pt x="190" y="129"/>
                  <a:pt x="196" y="129"/>
                </a:cubicBezTo>
                <a:cubicBezTo>
                  <a:pt x="201" y="133"/>
                  <a:pt x="206" y="138"/>
                  <a:pt x="211" y="143"/>
                </a:cubicBezTo>
                <a:cubicBezTo>
                  <a:pt x="215" y="147"/>
                  <a:pt x="220" y="152"/>
                  <a:pt x="224" y="157"/>
                </a:cubicBezTo>
                <a:cubicBezTo>
                  <a:pt x="224" y="163"/>
                  <a:pt x="225" y="170"/>
                  <a:pt x="225" y="177"/>
                </a:cubicBezTo>
                <a:cubicBezTo>
                  <a:pt x="225" y="183"/>
                  <a:pt x="224" y="190"/>
                  <a:pt x="224" y="196"/>
                </a:cubicBezTo>
                <a:moveTo>
                  <a:pt x="290" y="63"/>
                </a:moveTo>
                <a:cubicBezTo>
                  <a:pt x="300" y="73"/>
                  <a:pt x="295" y="96"/>
                  <a:pt x="279" y="124"/>
                </a:cubicBezTo>
                <a:cubicBezTo>
                  <a:pt x="266" y="121"/>
                  <a:pt x="252" y="118"/>
                  <a:pt x="237" y="116"/>
                </a:cubicBezTo>
                <a:cubicBezTo>
                  <a:pt x="235" y="101"/>
                  <a:pt x="232" y="87"/>
                  <a:pt x="229" y="75"/>
                </a:cubicBezTo>
                <a:cubicBezTo>
                  <a:pt x="257" y="58"/>
                  <a:pt x="280" y="53"/>
                  <a:pt x="290" y="63"/>
                </a:cubicBezTo>
                <a:moveTo>
                  <a:pt x="252" y="164"/>
                </a:moveTo>
                <a:cubicBezTo>
                  <a:pt x="248" y="159"/>
                  <a:pt x="244" y="155"/>
                  <a:pt x="240" y="150"/>
                </a:cubicBezTo>
                <a:cubicBezTo>
                  <a:pt x="240" y="144"/>
                  <a:pt x="239" y="138"/>
                  <a:pt x="239" y="132"/>
                </a:cubicBezTo>
                <a:cubicBezTo>
                  <a:pt x="250" y="134"/>
                  <a:pt x="261" y="135"/>
                  <a:pt x="271" y="138"/>
                </a:cubicBezTo>
                <a:cubicBezTo>
                  <a:pt x="265" y="146"/>
                  <a:pt x="259" y="155"/>
                  <a:pt x="252" y="164"/>
                </a:cubicBezTo>
                <a:moveTo>
                  <a:pt x="252" y="189"/>
                </a:moveTo>
                <a:cubicBezTo>
                  <a:pt x="259" y="198"/>
                  <a:pt x="265" y="207"/>
                  <a:pt x="271" y="216"/>
                </a:cubicBezTo>
                <a:cubicBezTo>
                  <a:pt x="261" y="218"/>
                  <a:pt x="250" y="220"/>
                  <a:pt x="239" y="221"/>
                </a:cubicBezTo>
                <a:cubicBezTo>
                  <a:pt x="239" y="215"/>
                  <a:pt x="240" y="209"/>
                  <a:pt x="240" y="203"/>
                </a:cubicBezTo>
                <a:cubicBezTo>
                  <a:pt x="244" y="198"/>
                  <a:pt x="248" y="194"/>
                  <a:pt x="252" y="189"/>
                </a:cubicBezTo>
                <a:moveTo>
                  <a:pt x="290" y="290"/>
                </a:moveTo>
                <a:cubicBezTo>
                  <a:pt x="280" y="300"/>
                  <a:pt x="257" y="295"/>
                  <a:pt x="229" y="279"/>
                </a:cubicBezTo>
                <a:cubicBezTo>
                  <a:pt x="232" y="266"/>
                  <a:pt x="235" y="252"/>
                  <a:pt x="237" y="237"/>
                </a:cubicBezTo>
                <a:cubicBezTo>
                  <a:pt x="252" y="235"/>
                  <a:pt x="266" y="232"/>
                  <a:pt x="279" y="229"/>
                </a:cubicBezTo>
                <a:cubicBezTo>
                  <a:pt x="295" y="257"/>
                  <a:pt x="300" y="280"/>
                  <a:pt x="290" y="290"/>
                </a:cubicBezTo>
                <a:moveTo>
                  <a:pt x="286" y="212"/>
                </a:moveTo>
                <a:cubicBezTo>
                  <a:pt x="279" y="200"/>
                  <a:pt x="271" y="189"/>
                  <a:pt x="262" y="177"/>
                </a:cubicBezTo>
                <a:cubicBezTo>
                  <a:pt x="271" y="165"/>
                  <a:pt x="279" y="153"/>
                  <a:pt x="286" y="141"/>
                </a:cubicBezTo>
                <a:cubicBezTo>
                  <a:pt x="317" y="150"/>
                  <a:pt x="337" y="163"/>
                  <a:pt x="337" y="177"/>
                </a:cubicBezTo>
                <a:cubicBezTo>
                  <a:pt x="337" y="191"/>
                  <a:pt x="317" y="203"/>
                  <a:pt x="286" y="212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6"/>
          <p:cNvSpPr>
            <a:spLocks noEditPoints="1"/>
          </p:cNvSpPr>
          <p:nvPr/>
        </p:nvSpPr>
        <p:spPr bwMode="auto">
          <a:xfrm>
            <a:off x="1138651" y="1693422"/>
            <a:ext cx="349951" cy="351232"/>
          </a:xfrm>
          <a:custGeom>
            <a:avLst/>
            <a:gdLst>
              <a:gd name="T0" fmla="*/ 289 w 353"/>
              <a:gd name="T1" fmla="*/ 0 h 354"/>
              <a:gd name="T2" fmla="*/ 243 w 353"/>
              <a:gd name="T3" fmla="*/ 19 h 354"/>
              <a:gd name="T4" fmla="*/ 27 w 353"/>
              <a:gd name="T5" fmla="*/ 236 h 354"/>
              <a:gd name="T6" fmla="*/ 0 w 353"/>
              <a:gd name="T7" fmla="*/ 354 h 354"/>
              <a:gd name="T8" fmla="*/ 118 w 353"/>
              <a:gd name="T9" fmla="*/ 327 h 354"/>
              <a:gd name="T10" fmla="*/ 334 w 353"/>
              <a:gd name="T11" fmla="*/ 110 h 354"/>
              <a:gd name="T12" fmla="*/ 353 w 353"/>
              <a:gd name="T13" fmla="*/ 65 h 354"/>
              <a:gd name="T14" fmla="*/ 289 w 353"/>
              <a:gd name="T15" fmla="*/ 0 h 354"/>
              <a:gd name="T16" fmla="*/ 104 w 353"/>
              <a:gd name="T17" fmla="*/ 312 h 354"/>
              <a:gd name="T18" fmla="*/ 48 w 353"/>
              <a:gd name="T19" fmla="*/ 325 h 354"/>
              <a:gd name="T20" fmla="*/ 48 w 353"/>
              <a:gd name="T21" fmla="*/ 305 h 354"/>
              <a:gd name="T22" fmla="*/ 29 w 353"/>
              <a:gd name="T23" fmla="*/ 305 h 354"/>
              <a:gd name="T24" fmla="*/ 42 w 353"/>
              <a:gd name="T25" fmla="*/ 249 h 354"/>
              <a:gd name="T26" fmla="*/ 104 w 353"/>
              <a:gd name="T27" fmla="*/ 249 h 354"/>
              <a:gd name="T28" fmla="*/ 104 w 353"/>
              <a:gd name="T29" fmla="*/ 312 h 354"/>
              <a:gd name="T30" fmla="*/ 120 w 353"/>
              <a:gd name="T31" fmla="*/ 301 h 354"/>
              <a:gd name="T32" fmla="*/ 120 w 353"/>
              <a:gd name="T33" fmla="*/ 241 h 354"/>
              <a:gd name="T34" fmla="*/ 112 w 353"/>
              <a:gd name="T35" fmla="*/ 233 h 354"/>
              <a:gd name="T36" fmla="*/ 52 w 353"/>
              <a:gd name="T37" fmla="*/ 233 h 354"/>
              <a:gd name="T38" fmla="*/ 225 w 353"/>
              <a:gd name="T39" fmla="*/ 60 h 354"/>
              <a:gd name="T40" fmla="*/ 293 w 353"/>
              <a:gd name="T41" fmla="*/ 128 h 354"/>
              <a:gd name="T42" fmla="*/ 120 w 353"/>
              <a:gd name="T43" fmla="*/ 301 h 354"/>
              <a:gd name="T44" fmla="*/ 323 w 353"/>
              <a:gd name="T45" fmla="*/ 99 h 354"/>
              <a:gd name="T46" fmla="*/ 305 w 353"/>
              <a:gd name="T47" fmla="*/ 117 h 354"/>
              <a:gd name="T48" fmla="*/ 236 w 353"/>
              <a:gd name="T49" fmla="*/ 49 h 354"/>
              <a:gd name="T50" fmla="*/ 255 w 353"/>
              <a:gd name="T51" fmla="*/ 31 h 354"/>
              <a:gd name="T52" fmla="*/ 289 w 353"/>
              <a:gd name="T53" fmla="*/ 16 h 354"/>
              <a:gd name="T54" fmla="*/ 337 w 353"/>
              <a:gd name="T55" fmla="*/ 65 h 354"/>
              <a:gd name="T56" fmla="*/ 323 w 353"/>
              <a:gd name="T57" fmla="*/ 9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53" h="354">
                <a:moveTo>
                  <a:pt x="289" y="0"/>
                </a:moveTo>
                <a:cubicBezTo>
                  <a:pt x="271" y="0"/>
                  <a:pt x="255" y="8"/>
                  <a:pt x="243" y="19"/>
                </a:cubicBezTo>
                <a:cubicBezTo>
                  <a:pt x="27" y="236"/>
                  <a:pt x="27" y="236"/>
                  <a:pt x="27" y="236"/>
                </a:cubicBezTo>
                <a:cubicBezTo>
                  <a:pt x="0" y="354"/>
                  <a:pt x="0" y="354"/>
                  <a:pt x="0" y="354"/>
                </a:cubicBezTo>
                <a:cubicBezTo>
                  <a:pt x="118" y="327"/>
                  <a:pt x="118" y="327"/>
                  <a:pt x="118" y="327"/>
                </a:cubicBezTo>
                <a:cubicBezTo>
                  <a:pt x="334" y="110"/>
                  <a:pt x="334" y="110"/>
                  <a:pt x="334" y="110"/>
                </a:cubicBezTo>
                <a:cubicBezTo>
                  <a:pt x="346" y="98"/>
                  <a:pt x="353" y="82"/>
                  <a:pt x="353" y="65"/>
                </a:cubicBezTo>
                <a:cubicBezTo>
                  <a:pt x="353" y="29"/>
                  <a:pt x="324" y="0"/>
                  <a:pt x="289" y="0"/>
                </a:cubicBezTo>
                <a:moveTo>
                  <a:pt x="104" y="312"/>
                </a:moveTo>
                <a:cubicBezTo>
                  <a:pt x="48" y="325"/>
                  <a:pt x="48" y="325"/>
                  <a:pt x="48" y="325"/>
                </a:cubicBezTo>
                <a:cubicBezTo>
                  <a:pt x="48" y="305"/>
                  <a:pt x="48" y="305"/>
                  <a:pt x="48" y="305"/>
                </a:cubicBezTo>
                <a:cubicBezTo>
                  <a:pt x="29" y="305"/>
                  <a:pt x="29" y="305"/>
                  <a:pt x="29" y="305"/>
                </a:cubicBezTo>
                <a:cubicBezTo>
                  <a:pt x="42" y="249"/>
                  <a:pt x="42" y="249"/>
                  <a:pt x="42" y="249"/>
                </a:cubicBezTo>
                <a:cubicBezTo>
                  <a:pt x="104" y="249"/>
                  <a:pt x="104" y="249"/>
                  <a:pt x="104" y="249"/>
                </a:cubicBezTo>
                <a:lnTo>
                  <a:pt x="104" y="312"/>
                </a:lnTo>
                <a:close/>
                <a:moveTo>
                  <a:pt x="120" y="301"/>
                </a:moveTo>
                <a:cubicBezTo>
                  <a:pt x="120" y="241"/>
                  <a:pt x="120" y="241"/>
                  <a:pt x="120" y="241"/>
                </a:cubicBezTo>
                <a:cubicBezTo>
                  <a:pt x="120" y="237"/>
                  <a:pt x="117" y="233"/>
                  <a:pt x="112" y="233"/>
                </a:cubicBezTo>
                <a:cubicBezTo>
                  <a:pt x="52" y="233"/>
                  <a:pt x="52" y="233"/>
                  <a:pt x="52" y="233"/>
                </a:cubicBezTo>
                <a:cubicBezTo>
                  <a:pt x="225" y="60"/>
                  <a:pt x="225" y="60"/>
                  <a:pt x="225" y="60"/>
                </a:cubicBezTo>
                <a:cubicBezTo>
                  <a:pt x="293" y="128"/>
                  <a:pt x="293" y="128"/>
                  <a:pt x="293" y="128"/>
                </a:cubicBezTo>
                <a:lnTo>
                  <a:pt x="120" y="301"/>
                </a:lnTo>
                <a:close/>
                <a:moveTo>
                  <a:pt x="323" y="99"/>
                </a:moveTo>
                <a:cubicBezTo>
                  <a:pt x="305" y="117"/>
                  <a:pt x="305" y="117"/>
                  <a:pt x="305" y="117"/>
                </a:cubicBezTo>
                <a:cubicBezTo>
                  <a:pt x="236" y="49"/>
                  <a:pt x="236" y="49"/>
                  <a:pt x="236" y="49"/>
                </a:cubicBezTo>
                <a:cubicBezTo>
                  <a:pt x="255" y="31"/>
                  <a:pt x="255" y="31"/>
                  <a:pt x="255" y="31"/>
                </a:cubicBezTo>
                <a:cubicBezTo>
                  <a:pt x="255" y="31"/>
                  <a:pt x="268" y="16"/>
                  <a:pt x="289" y="16"/>
                </a:cubicBezTo>
                <a:cubicBezTo>
                  <a:pt x="315" y="16"/>
                  <a:pt x="337" y="38"/>
                  <a:pt x="337" y="65"/>
                </a:cubicBezTo>
                <a:cubicBezTo>
                  <a:pt x="337" y="78"/>
                  <a:pt x="332" y="90"/>
                  <a:pt x="323" y="99"/>
                </a:cubicBezTo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16"/>
          <p:cNvSpPr>
            <a:spLocks noEditPoints="1"/>
          </p:cNvSpPr>
          <p:nvPr/>
        </p:nvSpPr>
        <p:spPr bwMode="auto">
          <a:xfrm>
            <a:off x="1138010" y="3246607"/>
            <a:ext cx="351233" cy="352514"/>
          </a:xfrm>
          <a:custGeom>
            <a:avLst/>
            <a:gdLst>
              <a:gd name="T0" fmla="*/ 321 w 353"/>
              <a:gd name="T1" fmla="*/ 104 h 353"/>
              <a:gd name="T2" fmla="*/ 321 w 353"/>
              <a:gd name="T3" fmla="*/ 24 h 353"/>
              <a:gd name="T4" fmla="*/ 297 w 353"/>
              <a:gd name="T5" fmla="*/ 0 h 353"/>
              <a:gd name="T6" fmla="*/ 273 w 353"/>
              <a:gd name="T7" fmla="*/ 24 h 353"/>
              <a:gd name="T8" fmla="*/ 273 w 353"/>
              <a:gd name="T9" fmla="*/ 30 h 353"/>
              <a:gd name="T10" fmla="*/ 40 w 353"/>
              <a:gd name="T11" fmla="*/ 98 h 353"/>
              <a:gd name="T12" fmla="*/ 32 w 353"/>
              <a:gd name="T13" fmla="*/ 96 h 353"/>
              <a:gd name="T14" fmla="*/ 16 w 353"/>
              <a:gd name="T15" fmla="*/ 96 h 353"/>
              <a:gd name="T16" fmla="*/ 0 w 353"/>
              <a:gd name="T17" fmla="*/ 112 h 353"/>
              <a:gd name="T18" fmla="*/ 0 w 353"/>
              <a:gd name="T19" fmla="*/ 192 h 353"/>
              <a:gd name="T20" fmla="*/ 16 w 353"/>
              <a:gd name="T21" fmla="*/ 208 h 353"/>
              <a:gd name="T22" fmla="*/ 32 w 353"/>
              <a:gd name="T23" fmla="*/ 208 h 353"/>
              <a:gd name="T24" fmla="*/ 40 w 353"/>
              <a:gd name="T25" fmla="*/ 206 h 353"/>
              <a:gd name="T26" fmla="*/ 50 w 353"/>
              <a:gd name="T27" fmla="*/ 209 h 353"/>
              <a:gd name="T28" fmla="*/ 81 w 353"/>
              <a:gd name="T29" fmla="*/ 347 h 353"/>
              <a:gd name="T30" fmla="*/ 81 w 353"/>
              <a:gd name="T31" fmla="*/ 347 h 353"/>
              <a:gd name="T32" fmla="*/ 89 w 353"/>
              <a:gd name="T33" fmla="*/ 353 h 353"/>
              <a:gd name="T34" fmla="*/ 153 w 353"/>
              <a:gd name="T35" fmla="*/ 353 h 353"/>
              <a:gd name="T36" fmla="*/ 161 w 353"/>
              <a:gd name="T37" fmla="*/ 345 h 353"/>
              <a:gd name="T38" fmla="*/ 160 w 353"/>
              <a:gd name="T39" fmla="*/ 343 h 353"/>
              <a:gd name="T40" fmla="*/ 161 w 353"/>
              <a:gd name="T41" fmla="*/ 343 h 353"/>
              <a:gd name="T42" fmla="*/ 135 w 353"/>
              <a:gd name="T43" fmla="*/ 234 h 353"/>
              <a:gd name="T44" fmla="*/ 273 w 353"/>
              <a:gd name="T45" fmla="*/ 275 h 353"/>
              <a:gd name="T46" fmla="*/ 273 w 353"/>
              <a:gd name="T47" fmla="*/ 281 h 353"/>
              <a:gd name="T48" fmla="*/ 297 w 353"/>
              <a:gd name="T49" fmla="*/ 305 h 353"/>
              <a:gd name="T50" fmla="*/ 321 w 353"/>
              <a:gd name="T51" fmla="*/ 281 h 353"/>
              <a:gd name="T52" fmla="*/ 321 w 353"/>
              <a:gd name="T53" fmla="*/ 200 h 353"/>
              <a:gd name="T54" fmla="*/ 353 w 353"/>
              <a:gd name="T55" fmla="*/ 168 h 353"/>
              <a:gd name="T56" fmla="*/ 353 w 353"/>
              <a:gd name="T57" fmla="*/ 136 h 353"/>
              <a:gd name="T58" fmla="*/ 321 w 353"/>
              <a:gd name="T59" fmla="*/ 104 h 353"/>
              <a:gd name="T60" fmla="*/ 32 w 353"/>
              <a:gd name="T61" fmla="*/ 192 h 353"/>
              <a:gd name="T62" fmla="*/ 16 w 353"/>
              <a:gd name="T63" fmla="*/ 192 h 353"/>
              <a:gd name="T64" fmla="*/ 16 w 353"/>
              <a:gd name="T65" fmla="*/ 112 h 353"/>
              <a:gd name="T66" fmla="*/ 32 w 353"/>
              <a:gd name="T67" fmla="*/ 112 h 353"/>
              <a:gd name="T68" fmla="*/ 32 w 353"/>
              <a:gd name="T69" fmla="*/ 192 h 353"/>
              <a:gd name="T70" fmla="*/ 143 w 353"/>
              <a:gd name="T71" fmla="*/ 337 h 353"/>
              <a:gd name="T72" fmla="*/ 95 w 353"/>
              <a:gd name="T73" fmla="*/ 337 h 353"/>
              <a:gd name="T74" fmla="*/ 91 w 353"/>
              <a:gd name="T75" fmla="*/ 321 h 353"/>
              <a:gd name="T76" fmla="*/ 139 w 353"/>
              <a:gd name="T77" fmla="*/ 321 h 353"/>
              <a:gd name="T78" fmla="*/ 143 w 353"/>
              <a:gd name="T79" fmla="*/ 337 h 353"/>
              <a:gd name="T80" fmla="*/ 135 w 353"/>
              <a:gd name="T81" fmla="*/ 305 h 353"/>
              <a:gd name="T82" fmla="*/ 88 w 353"/>
              <a:gd name="T83" fmla="*/ 305 h 353"/>
              <a:gd name="T84" fmla="*/ 68 w 353"/>
              <a:gd name="T85" fmla="*/ 214 h 353"/>
              <a:gd name="T86" fmla="*/ 117 w 353"/>
              <a:gd name="T87" fmla="*/ 229 h 353"/>
              <a:gd name="T88" fmla="*/ 135 w 353"/>
              <a:gd name="T89" fmla="*/ 305 h 353"/>
              <a:gd name="T90" fmla="*/ 273 w 353"/>
              <a:gd name="T91" fmla="*/ 258 h 353"/>
              <a:gd name="T92" fmla="*/ 48 w 353"/>
              <a:gd name="T93" fmla="*/ 192 h 353"/>
              <a:gd name="T94" fmla="*/ 48 w 353"/>
              <a:gd name="T95" fmla="*/ 113 h 353"/>
              <a:gd name="T96" fmla="*/ 273 w 353"/>
              <a:gd name="T97" fmla="*/ 47 h 353"/>
              <a:gd name="T98" fmla="*/ 273 w 353"/>
              <a:gd name="T99" fmla="*/ 258 h 353"/>
              <a:gd name="T100" fmla="*/ 305 w 353"/>
              <a:gd name="T101" fmla="*/ 281 h 353"/>
              <a:gd name="T102" fmla="*/ 297 w 353"/>
              <a:gd name="T103" fmla="*/ 289 h 353"/>
              <a:gd name="T104" fmla="*/ 289 w 353"/>
              <a:gd name="T105" fmla="*/ 281 h 353"/>
              <a:gd name="T106" fmla="*/ 289 w 353"/>
              <a:gd name="T107" fmla="*/ 24 h 353"/>
              <a:gd name="T108" fmla="*/ 297 w 353"/>
              <a:gd name="T109" fmla="*/ 16 h 353"/>
              <a:gd name="T110" fmla="*/ 305 w 353"/>
              <a:gd name="T111" fmla="*/ 24 h 353"/>
              <a:gd name="T112" fmla="*/ 305 w 353"/>
              <a:gd name="T113" fmla="*/ 281 h 353"/>
              <a:gd name="T114" fmla="*/ 337 w 353"/>
              <a:gd name="T115" fmla="*/ 168 h 353"/>
              <a:gd name="T116" fmla="*/ 321 w 353"/>
              <a:gd name="T117" fmla="*/ 184 h 353"/>
              <a:gd name="T118" fmla="*/ 321 w 353"/>
              <a:gd name="T119" fmla="*/ 120 h 353"/>
              <a:gd name="T120" fmla="*/ 337 w 353"/>
              <a:gd name="T121" fmla="*/ 136 h 353"/>
              <a:gd name="T122" fmla="*/ 337 w 353"/>
              <a:gd name="T123" fmla="*/ 16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53" h="353">
                <a:moveTo>
                  <a:pt x="321" y="104"/>
                </a:moveTo>
                <a:cubicBezTo>
                  <a:pt x="321" y="24"/>
                  <a:pt x="321" y="24"/>
                  <a:pt x="321" y="24"/>
                </a:cubicBezTo>
                <a:cubicBezTo>
                  <a:pt x="321" y="11"/>
                  <a:pt x="311" y="0"/>
                  <a:pt x="297" y="0"/>
                </a:cubicBezTo>
                <a:cubicBezTo>
                  <a:pt x="284" y="0"/>
                  <a:pt x="273" y="11"/>
                  <a:pt x="273" y="24"/>
                </a:cubicBezTo>
                <a:cubicBezTo>
                  <a:pt x="273" y="30"/>
                  <a:pt x="273" y="30"/>
                  <a:pt x="273" y="30"/>
                </a:cubicBezTo>
                <a:cubicBezTo>
                  <a:pt x="40" y="98"/>
                  <a:pt x="40" y="98"/>
                  <a:pt x="40" y="98"/>
                </a:cubicBezTo>
                <a:cubicBezTo>
                  <a:pt x="38" y="97"/>
                  <a:pt x="35" y="96"/>
                  <a:pt x="32" y="96"/>
                </a:cubicBezTo>
                <a:cubicBezTo>
                  <a:pt x="16" y="96"/>
                  <a:pt x="16" y="96"/>
                  <a:pt x="16" y="96"/>
                </a:cubicBezTo>
                <a:cubicBezTo>
                  <a:pt x="7" y="96"/>
                  <a:pt x="0" y="103"/>
                  <a:pt x="0" y="112"/>
                </a:cubicBezTo>
                <a:cubicBezTo>
                  <a:pt x="0" y="192"/>
                  <a:pt x="0" y="192"/>
                  <a:pt x="0" y="192"/>
                </a:cubicBezTo>
                <a:cubicBezTo>
                  <a:pt x="0" y="201"/>
                  <a:pt x="7" y="208"/>
                  <a:pt x="16" y="208"/>
                </a:cubicBezTo>
                <a:cubicBezTo>
                  <a:pt x="32" y="208"/>
                  <a:pt x="32" y="208"/>
                  <a:pt x="32" y="208"/>
                </a:cubicBezTo>
                <a:cubicBezTo>
                  <a:pt x="35" y="208"/>
                  <a:pt x="38" y="208"/>
                  <a:pt x="40" y="206"/>
                </a:cubicBezTo>
                <a:cubicBezTo>
                  <a:pt x="50" y="209"/>
                  <a:pt x="50" y="209"/>
                  <a:pt x="50" y="209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2" y="350"/>
                  <a:pt x="85" y="353"/>
                  <a:pt x="89" y="353"/>
                </a:cubicBezTo>
                <a:cubicBezTo>
                  <a:pt x="153" y="353"/>
                  <a:pt x="153" y="353"/>
                  <a:pt x="153" y="353"/>
                </a:cubicBezTo>
                <a:cubicBezTo>
                  <a:pt x="157" y="353"/>
                  <a:pt x="161" y="349"/>
                  <a:pt x="161" y="345"/>
                </a:cubicBezTo>
                <a:cubicBezTo>
                  <a:pt x="161" y="344"/>
                  <a:pt x="161" y="344"/>
                  <a:pt x="160" y="343"/>
                </a:cubicBezTo>
                <a:cubicBezTo>
                  <a:pt x="161" y="343"/>
                  <a:pt x="161" y="343"/>
                  <a:pt x="161" y="343"/>
                </a:cubicBezTo>
                <a:cubicBezTo>
                  <a:pt x="135" y="234"/>
                  <a:pt x="135" y="234"/>
                  <a:pt x="135" y="234"/>
                </a:cubicBezTo>
                <a:cubicBezTo>
                  <a:pt x="273" y="275"/>
                  <a:pt x="273" y="275"/>
                  <a:pt x="273" y="275"/>
                </a:cubicBezTo>
                <a:cubicBezTo>
                  <a:pt x="273" y="281"/>
                  <a:pt x="273" y="281"/>
                  <a:pt x="273" y="281"/>
                </a:cubicBezTo>
                <a:cubicBezTo>
                  <a:pt x="273" y="294"/>
                  <a:pt x="284" y="305"/>
                  <a:pt x="297" y="305"/>
                </a:cubicBezTo>
                <a:cubicBezTo>
                  <a:pt x="311" y="305"/>
                  <a:pt x="321" y="294"/>
                  <a:pt x="321" y="281"/>
                </a:cubicBezTo>
                <a:cubicBezTo>
                  <a:pt x="321" y="200"/>
                  <a:pt x="321" y="200"/>
                  <a:pt x="321" y="200"/>
                </a:cubicBezTo>
                <a:cubicBezTo>
                  <a:pt x="339" y="200"/>
                  <a:pt x="353" y="186"/>
                  <a:pt x="353" y="168"/>
                </a:cubicBezTo>
                <a:cubicBezTo>
                  <a:pt x="353" y="136"/>
                  <a:pt x="353" y="136"/>
                  <a:pt x="353" y="136"/>
                </a:cubicBezTo>
                <a:cubicBezTo>
                  <a:pt x="353" y="118"/>
                  <a:pt x="339" y="104"/>
                  <a:pt x="321" y="104"/>
                </a:cubicBezTo>
                <a:moveTo>
                  <a:pt x="32" y="192"/>
                </a:moveTo>
                <a:cubicBezTo>
                  <a:pt x="16" y="192"/>
                  <a:pt x="16" y="192"/>
                  <a:pt x="16" y="192"/>
                </a:cubicBezTo>
                <a:cubicBezTo>
                  <a:pt x="16" y="112"/>
                  <a:pt x="16" y="112"/>
                  <a:pt x="16" y="112"/>
                </a:cubicBezTo>
                <a:cubicBezTo>
                  <a:pt x="32" y="112"/>
                  <a:pt x="32" y="112"/>
                  <a:pt x="32" y="112"/>
                </a:cubicBezTo>
                <a:lnTo>
                  <a:pt x="32" y="192"/>
                </a:lnTo>
                <a:close/>
                <a:moveTo>
                  <a:pt x="143" y="337"/>
                </a:moveTo>
                <a:cubicBezTo>
                  <a:pt x="95" y="337"/>
                  <a:pt x="95" y="337"/>
                  <a:pt x="95" y="337"/>
                </a:cubicBezTo>
                <a:cubicBezTo>
                  <a:pt x="91" y="321"/>
                  <a:pt x="91" y="321"/>
                  <a:pt x="91" y="321"/>
                </a:cubicBezTo>
                <a:cubicBezTo>
                  <a:pt x="139" y="321"/>
                  <a:pt x="139" y="321"/>
                  <a:pt x="139" y="321"/>
                </a:cubicBezTo>
                <a:lnTo>
                  <a:pt x="143" y="337"/>
                </a:lnTo>
                <a:close/>
                <a:moveTo>
                  <a:pt x="135" y="305"/>
                </a:moveTo>
                <a:cubicBezTo>
                  <a:pt x="88" y="305"/>
                  <a:pt x="88" y="305"/>
                  <a:pt x="88" y="305"/>
                </a:cubicBezTo>
                <a:cubicBezTo>
                  <a:pt x="68" y="214"/>
                  <a:pt x="68" y="214"/>
                  <a:pt x="68" y="214"/>
                </a:cubicBezTo>
                <a:cubicBezTo>
                  <a:pt x="117" y="229"/>
                  <a:pt x="117" y="229"/>
                  <a:pt x="117" y="229"/>
                </a:cubicBezTo>
                <a:lnTo>
                  <a:pt x="135" y="305"/>
                </a:lnTo>
                <a:close/>
                <a:moveTo>
                  <a:pt x="273" y="258"/>
                </a:moveTo>
                <a:cubicBezTo>
                  <a:pt x="48" y="192"/>
                  <a:pt x="48" y="192"/>
                  <a:pt x="48" y="192"/>
                </a:cubicBezTo>
                <a:cubicBezTo>
                  <a:pt x="48" y="113"/>
                  <a:pt x="48" y="113"/>
                  <a:pt x="48" y="113"/>
                </a:cubicBezTo>
                <a:cubicBezTo>
                  <a:pt x="273" y="47"/>
                  <a:pt x="273" y="47"/>
                  <a:pt x="273" y="47"/>
                </a:cubicBezTo>
                <a:lnTo>
                  <a:pt x="273" y="258"/>
                </a:lnTo>
                <a:close/>
                <a:moveTo>
                  <a:pt x="305" y="281"/>
                </a:moveTo>
                <a:cubicBezTo>
                  <a:pt x="305" y="285"/>
                  <a:pt x="302" y="289"/>
                  <a:pt x="297" y="289"/>
                </a:cubicBezTo>
                <a:cubicBezTo>
                  <a:pt x="293" y="289"/>
                  <a:pt x="289" y="285"/>
                  <a:pt x="289" y="281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93" y="16"/>
                  <a:pt x="297" y="16"/>
                </a:cubicBezTo>
                <a:cubicBezTo>
                  <a:pt x="302" y="16"/>
                  <a:pt x="305" y="19"/>
                  <a:pt x="305" y="24"/>
                </a:cubicBezTo>
                <a:lnTo>
                  <a:pt x="305" y="281"/>
                </a:lnTo>
                <a:close/>
                <a:moveTo>
                  <a:pt x="337" y="168"/>
                </a:moveTo>
                <a:cubicBezTo>
                  <a:pt x="337" y="177"/>
                  <a:pt x="330" y="184"/>
                  <a:pt x="321" y="184"/>
                </a:cubicBezTo>
                <a:cubicBezTo>
                  <a:pt x="321" y="120"/>
                  <a:pt x="321" y="120"/>
                  <a:pt x="321" y="120"/>
                </a:cubicBezTo>
                <a:cubicBezTo>
                  <a:pt x="330" y="120"/>
                  <a:pt x="337" y="127"/>
                  <a:pt x="337" y="136"/>
                </a:cubicBezTo>
                <a:lnTo>
                  <a:pt x="337" y="168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reeform 24"/>
          <p:cNvSpPr>
            <a:spLocks noEditPoints="1"/>
          </p:cNvSpPr>
          <p:nvPr/>
        </p:nvSpPr>
        <p:spPr bwMode="auto">
          <a:xfrm>
            <a:off x="3083657" y="1691942"/>
            <a:ext cx="351233" cy="352514"/>
          </a:xfrm>
          <a:custGeom>
            <a:avLst/>
            <a:gdLst>
              <a:gd name="T0" fmla="*/ 193 w 353"/>
              <a:gd name="T1" fmla="*/ 96 h 353"/>
              <a:gd name="T2" fmla="*/ 225 w 353"/>
              <a:gd name="T3" fmla="*/ 32 h 353"/>
              <a:gd name="T4" fmla="*/ 160 w 353"/>
              <a:gd name="T5" fmla="*/ 0 h 353"/>
              <a:gd name="T6" fmla="*/ 128 w 353"/>
              <a:gd name="T7" fmla="*/ 64 h 353"/>
              <a:gd name="T8" fmla="*/ 144 w 353"/>
              <a:gd name="T9" fmla="*/ 32 h 353"/>
              <a:gd name="T10" fmla="*/ 193 w 353"/>
              <a:gd name="T11" fmla="*/ 16 h 353"/>
              <a:gd name="T12" fmla="*/ 209 w 353"/>
              <a:gd name="T13" fmla="*/ 64 h 353"/>
              <a:gd name="T14" fmla="*/ 160 w 353"/>
              <a:gd name="T15" fmla="*/ 80 h 353"/>
              <a:gd name="T16" fmla="*/ 144 w 353"/>
              <a:gd name="T17" fmla="*/ 32 h 353"/>
              <a:gd name="T18" fmla="*/ 56 w 353"/>
              <a:gd name="T19" fmla="*/ 233 h 353"/>
              <a:gd name="T20" fmla="*/ 168 w 353"/>
              <a:gd name="T21" fmla="*/ 176 h 353"/>
              <a:gd name="T22" fmla="*/ 176 w 353"/>
              <a:gd name="T23" fmla="*/ 241 h 353"/>
              <a:gd name="T24" fmla="*/ 185 w 353"/>
              <a:gd name="T25" fmla="*/ 176 h 353"/>
              <a:gd name="T26" fmla="*/ 297 w 353"/>
              <a:gd name="T27" fmla="*/ 233 h 353"/>
              <a:gd name="T28" fmla="*/ 313 w 353"/>
              <a:gd name="T29" fmla="*/ 233 h 353"/>
              <a:gd name="T30" fmla="*/ 305 w 353"/>
              <a:gd name="T31" fmla="*/ 160 h 353"/>
              <a:gd name="T32" fmla="*/ 185 w 353"/>
              <a:gd name="T33" fmla="*/ 120 h 353"/>
              <a:gd name="T34" fmla="*/ 168 w 353"/>
              <a:gd name="T35" fmla="*/ 120 h 353"/>
              <a:gd name="T36" fmla="*/ 48 w 353"/>
              <a:gd name="T37" fmla="*/ 160 h 353"/>
              <a:gd name="T38" fmla="*/ 40 w 353"/>
              <a:gd name="T39" fmla="*/ 233 h 353"/>
              <a:gd name="T40" fmla="*/ 64 w 353"/>
              <a:gd name="T41" fmla="*/ 257 h 353"/>
              <a:gd name="T42" fmla="*/ 0 w 353"/>
              <a:gd name="T43" fmla="*/ 289 h 353"/>
              <a:gd name="T44" fmla="*/ 32 w 353"/>
              <a:gd name="T45" fmla="*/ 353 h 353"/>
              <a:gd name="T46" fmla="*/ 96 w 353"/>
              <a:gd name="T47" fmla="*/ 321 h 353"/>
              <a:gd name="T48" fmla="*/ 64 w 353"/>
              <a:gd name="T49" fmla="*/ 257 h 353"/>
              <a:gd name="T50" fmla="*/ 64 w 353"/>
              <a:gd name="T51" fmla="*/ 337 h 353"/>
              <a:gd name="T52" fmla="*/ 16 w 353"/>
              <a:gd name="T53" fmla="*/ 321 h 353"/>
              <a:gd name="T54" fmla="*/ 32 w 353"/>
              <a:gd name="T55" fmla="*/ 273 h 353"/>
              <a:gd name="T56" fmla="*/ 80 w 353"/>
              <a:gd name="T57" fmla="*/ 289 h 353"/>
              <a:gd name="T58" fmla="*/ 321 w 353"/>
              <a:gd name="T59" fmla="*/ 257 h 353"/>
              <a:gd name="T60" fmla="*/ 257 w 353"/>
              <a:gd name="T61" fmla="*/ 289 h 353"/>
              <a:gd name="T62" fmla="*/ 289 w 353"/>
              <a:gd name="T63" fmla="*/ 353 h 353"/>
              <a:gd name="T64" fmla="*/ 353 w 353"/>
              <a:gd name="T65" fmla="*/ 321 h 353"/>
              <a:gd name="T66" fmla="*/ 321 w 353"/>
              <a:gd name="T67" fmla="*/ 257 h 353"/>
              <a:gd name="T68" fmla="*/ 321 w 353"/>
              <a:gd name="T69" fmla="*/ 337 h 353"/>
              <a:gd name="T70" fmla="*/ 273 w 353"/>
              <a:gd name="T71" fmla="*/ 321 h 353"/>
              <a:gd name="T72" fmla="*/ 289 w 353"/>
              <a:gd name="T73" fmla="*/ 273 h 353"/>
              <a:gd name="T74" fmla="*/ 337 w 353"/>
              <a:gd name="T75" fmla="*/ 289 h 353"/>
              <a:gd name="T76" fmla="*/ 193 w 353"/>
              <a:gd name="T77" fmla="*/ 257 h 353"/>
              <a:gd name="T78" fmla="*/ 128 w 353"/>
              <a:gd name="T79" fmla="*/ 289 h 353"/>
              <a:gd name="T80" fmla="*/ 160 w 353"/>
              <a:gd name="T81" fmla="*/ 353 h 353"/>
              <a:gd name="T82" fmla="*/ 225 w 353"/>
              <a:gd name="T83" fmla="*/ 321 h 353"/>
              <a:gd name="T84" fmla="*/ 193 w 353"/>
              <a:gd name="T85" fmla="*/ 257 h 353"/>
              <a:gd name="T86" fmla="*/ 193 w 353"/>
              <a:gd name="T87" fmla="*/ 337 h 353"/>
              <a:gd name="T88" fmla="*/ 144 w 353"/>
              <a:gd name="T89" fmla="*/ 321 h 353"/>
              <a:gd name="T90" fmla="*/ 160 w 353"/>
              <a:gd name="T91" fmla="*/ 273 h 353"/>
              <a:gd name="T92" fmla="*/ 209 w 353"/>
              <a:gd name="T93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353">
                <a:moveTo>
                  <a:pt x="160" y="96"/>
                </a:moveTo>
                <a:cubicBezTo>
                  <a:pt x="193" y="96"/>
                  <a:pt x="193" y="96"/>
                  <a:pt x="193" y="96"/>
                </a:cubicBezTo>
                <a:cubicBezTo>
                  <a:pt x="210" y="96"/>
                  <a:pt x="225" y="82"/>
                  <a:pt x="225" y="64"/>
                </a:cubicBezTo>
                <a:cubicBezTo>
                  <a:pt x="225" y="32"/>
                  <a:pt x="225" y="32"/>
                  <a:pt x="225" y="32"/>
                </a:cubicBezTo>
                <a:cubicBezTo>
                  <a:pt x="225" y="14"/>
                  <a:pt x="210" y="0"/>
                  <a:pt x="193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43" y="0"/>
                  <a:pt x="128" y="14"/>
                  <a:pt x="128" y="32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28" y="82"/>
                  <a:pt x="143" y="96"/>
                  <a:pt x="160" y="96"/>
                </a:cubicBezTo>
                <a:moveTo>
                  <a:pt x="144" y="32"/>
                </a:moveTo>
                <a:cubicBezTo>
                  <a:pt x="144" y="23"/>
                  <a:pt x="152" y="16"/>
                  <a:pt x="160" y="16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201" y="16"/>
                  <a:pt x="209" y="23"/>
                  <a:pt x="209" y="32"/>
                </a:cubicBezTo>
                <a:cubicBezTo>
                  <a:pt x="209" y="64"/>
                  <a:pt x="209" y="64"/>
                  <a:pt x="209" y="64"/>
                </a:cubicBezTo>
                <a:cubicBezTo>
                  <a:pt x="209" y="73"/>
                  <a:pt x="201" y="80"/>
                  <a:pt x="193" y="80"/>
                </a:cubicBezTo>
                <a:cubicBezTo>
                  <a:pt x="160" y="80"/>
                  <a:pt x="160" y="80"/>
                  <a:pt x="160" y="80"/>
                </a:cubicBezTo>
                <a:cubicBezTo>
                  <a:pt x="152" y="80"/>
                  <a:pt x="144" y="73"/>
                  <a:pt x="144" y="64"/>
                </a:cubicBezTo>
                <a:lnTo>
                  <a:pt x="144" y="32"/>
                </a:lnTo>
                <a:close/>
                <a:moveTo>
                  <a:pt x="48" y="241"/>
                </a:moveTo>
                <a:cubicBezTo>
                  <a:pt x="52" y="241"/>
                  <a:pt x="56" y="237"/>
                  <a:pt x="56" y="233"/>
                </a:cubicBezTo>
                <a:cubicBezTo>
                  <a:pt x="56" y="176"/>
                  <a:pt x="56" y="176"/>
                  <a:pt x="56" y="176"/>
                </a:cubicBezTo>
                <a:cubicBezTo>
                  <a:pt x="168" y="176"/>
                  <a:pt x="168" y="176"/>
                  <a:pt x="168" y="176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7"/>
                  <a:pt x="172" y="241"/>
                  <a:pt x="176" y="241"/>
                </a:cubicBezTo>
                <a:cubicBezTo>
                  <a:pt x="181" y="241"/>
                  <a:pt x="185" y="237"/>
                  <a:pt x="185" y="233"/>
                </a:cubicBezTo>
                <a:cubicBezTo>
                  <a:pt x="185" y="176"/>
                  <a:pt x="185" y="176"/>
                  <a:pt x="185" y="176"/>
                </a:cubicBezTo>
                <a:cubicBezTo>
                  <a:pt x="297" y="176"/>
                  <a:pt x="297" y="176"/>
                  <a:pt x="297" y="176"/>
                </a:cubicBezTo>
                <a:cubicBezTo>
                  <a:pt x="297" y="233"/>
                  <a:pt x="297" y="233"/>
                  <a:pt x="297" y="233"/>
                </a:cubicBezTo>
                <a:cubicBezTo>
                  <a:pt x="297" y="237"/>
                  <a:pt x="301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168"/>
                  <a:pt x="313" y="168"/>
                  <a:pt x="313" y="168"/>
                </a:cubicBezTo>
                <a:cubicBezTo>
                  <a:pt x="313" y="164"/>
                  <a:pt x="309" y="160"/>
                  <a:pt x="305" y="160"/>
                </a:cubicBezTo>
                <a:cubicBezTo>
                  <a:pt x="185" y="160"/>
                  <a:pt x="185" y="160"/>
                  <a:pt x="185" y="160"/>
                </a:cubicBezTo>
                <a:cubicBezTo>
                  <a:pt x="185" y="120"/>
                  <a:pt x="185" y="120"/>
                  <a:pt x="185" y="120"/>
                </a:cubicBezTo>
                <a:cubicBezTo>
                  <a:pt x="185" y="116"/>
                  <a:pt x="181" y="112"/>
                  <a:pt x="176" y="112"/>
                </a:cubicBezTo>
                <a:cubicBezTo>
                  <a:pt x="172" y="112"/>
                  <a:pt x="168" y="116"/>
                  <a:pt x="168" y="120"/>
                </a:cubicBezTo>
                <a:cubicBezTo>
                  <a:pt x="168" y="160"/>
                  <a:pt x="168" y="160"/>
                  <a:pt x="168" y="160"/>
                </a:cubicBezTo>
                <a:cubicBezTo>
                  <a:pt x="48" y="160"/>
                  <a:pt x="48" y="160"/>
                  <a:pt x="48" y="160"/>
                </a:cubicBezTo>
                <a:cubicBezTo>
                  <a:pt x="44" y="160"/>
                  <a:pt x="40" y="164"/>
                  <a:pt x="40" y="168"/>
                </a:cubicBezTo>
                <a:cubicBezTo>
                  <a:pt x="40" y="233"/>
                  <a:pt x="40" y="233"/>
                  <a:pt x="40" y="233"/>
                </a:cubicBezTo>
                <a:cubicBezTo>
                  <a:pt x="40" y="237"/>
                  <a:pt x="44" y="241"/>
                  <a:pt x="48" y="241"/>
                </a:cubicBezTo>
                <a:moveTo>
                  <a:pt x="64" y="257"/>
                </a:moveTo>
                <a:cubicBezTo>
                  <a:pt x="32" y="257"/>
                  <a:pt x="32" y="257"/>
                  <a:pt x="32" y="257"/>
                </a:cubicBezTo>
                <a:cubicBezTo>
                  <a:pt x="14" y="257"/>
                  <a:pt x="0" y="271"/>
                  <a:pt x="0" y="289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64" y="353"/>
                  <a:pt x="64" y="353"/>
                  <a:pt x="64" y="353"/>
                </a:cubicBezTo>
                <a:cubicBezTo>
                  <a:pt x="82" y="353"/>
                  <a:pt x="96" y="339"/>
                  <a:pt x="96" y="321"/>
                </a:cubicBezTo>
                <a:cubicBezTo>
                  <a:pt x="96" y="289"/>
                  <a:pt x="96" y="289"/>
                  <a:pt x="96" y="289"/>
                </a:cubicBezTo>
                <a:cubicBezTo>
                  <a:pt x="96" y="271"/>
                  <a:pt x="82" y="257"/>
                  <a:pt x="64" y="257"/>
                </a:cubicBezTo>
                <a:moveTo>
                  <a:pt x="80" y="321"/>
                </a:moveTo>
                <a:cubicBezTo>
                  <a:pt x="80" y="330"/>
                  <a:pt x="73" y="337"/>
                  <a:pt x="64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289"/>
                  <a:pt x="16" y="289"/>
                  <a:pt x="16" y="289"/>
                </a:cubicBezTo>
                <a:cubicBezTo>
                  <a:pt x="16" y="280"/>
                  <a:pt x="23" y="273"/>
                  <a:pt x="32" y="273"/>
                </a:cubicBezTo>
                <a:cubicBezTo>
                  <a:pt x="64" y="273"/>
                  <a:pt x="64" y="273"/>
                  <a:pt x="64" y="273"/>
                </a:cubicBezTo>
                <a:cubicBezTo>
                  <a:pt x="73" y="273"/>
                  <a:pt x="80" y="280"/>
                  <a:pt x="80" y="289"/>
                </a:cubicBezTo>
                <a:lnTo>
                  <a:pt x="80" y="321"/>
                </a:lnTo>
                <a:close/>
                <a:moveTo>
                  <a:pt x="321" y="257"/>
                </a:moveTo>
                <a:cubicBezTo>
                  <a:pt x="289" y="257"/>
                  <a:pt x="289" y="257"/>
                  <a:pt x="289" y="257"/>
                </a:cubicBezTo>
                <a:cubicBezTo>
                  <a:pt x="271" y="257"/>
                  <a:pt x="257" y="271"/>
                  <a:pt x="257" y="289"/>
                </a:cubicBezTo>
                <a:cubicBezTo>
                  <a:pt x="257" y="321"/>
                  <a:pt x="257" y="321"/>
                  <a:pt x="257" y="321"/>
                </a:cubicBezTo>
                <a:cubicBezTo>
                  <a:pt x="257" y="339"/>
                  <a:pt x="271" y="353"/>
                  <a:pt x="289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9" y="353"/>
                  <a:pt x="353" y="339"/>
                  <a:pt x="353" y="321"/>
                </a:cubicBezTo>
                <a:cubicBezTo>
                  <a:pt x="353" y="289"/>
                  <a:pt x="353" y="289"/>
                  <a:pt x="353" y="289"/>
                </a:cubicBezTo>
                <a:cubicBezTo>
                  <a:pt x="353" y="271"/>
                  <a:pt x="339" y="257"/>
                  <a:pt x="321" y="257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89" y="337"/>
                  <a:pt x="289" y="337"/>
                  <a:pt x="289" y="337"/>
                </a:cubicBezTo>
                <a:cubicBezTo>
                  <a:pt x="280" y="337"/>
                  <a:pt x="273" y="330"/>
                  <a:pt x="273" y="321"/>
                </a:cubicBezTo>
                <a:cubicBezTo>
                  <a:pt x="273" y="289"/>
                  <a:pt x="273" y="289"/>
                  <a:pt x="273" y="289"/>
                </a:cubicBezTo>
                <a:cubicBezTo>
                  <a:pt x="273" y="280"/>
                  <a:pt x="280" y="273"/>
                  <a:pt x="289" y="273"/>
                </a:cubicBezTo>
                <a:cubicBezTo>
                  <a:pt x="321" y="273"/>
                  <a:pt x="321" y="273"/>
                  <a:pt x="321" y="273"/>
                </a:cubicBezTo>
                <a:cubicBezTo>
                  <a:pt x="330" y="273"/>
                  <a:pt x="337" y="280"/>
                  <a:pt x="337" y="289"/>
                </a:cubicBezTo>
                <a:lnTo>
                  <a:pt x="337" y="321"/>
                </a:lnTo>
                <a:close/>
                <a:moveTo>
                  <a:pt x="193" y="257"/>
                </a:moveTo>
                <a:cubicBezTo>
                  <a:pt x="160" y="257"/>
                  <a:pt x="160" y="257"/>
                  <a:pt x="160" y="257"/>
                </a:cubicBezTo>
                <a:cubicBezTo>
                  <a:pt x="143" y="257"/>
                  <a:pt x="128" y="271"/>
                  <a:pt x="128" y="289"/>
                </a:cubicBezTo>
                <a:cubicBezTo>
                  <a:pt x="128" y="321"/>
                  <a:pt x="128" y="321"/>
                  <a:pt x="128" y="321"/>
                </a:cubicBezTo>
                <a:cubicBezTo>
                  <a:pt x="128" y="339"/>
                  <a:pt x="143" y="353"/>
                  <a:pt x="160" y="353"/>
                </a:cubicBezTo>
                <a:cubicBezTo>
                  <a:pt x="193" y="353"/>
                  <a:pt x="193" y="353"/>
                  <a:pt x="193" y="353"/>
                </a:cubicBezTo>
                <a:cubicBezTo>
                  <a:pt x="210" y="353"/>
                  <a:pt x="225" y="339"/>
                  <a:pt x="225" y="321"/>
                </a:cubicBezTo>
                <a:cubicBezTo>
                  <a:pt x="225" y="289"/>
                  <a:pt x="225" y="289"/>
                  <a:pt x="225" y="289"/>
                </a:cubicBezTo>
                <a:cubicBezTo>
                  <a:pt x="225" y="271"/>
                  <a:pt x="210" y="257"/>
                  <a:pt x="193" y="257"/>
                </a:cubicBezTo>
                <a:moveTo>
                  <a:pt x="209" y="321"/>
                </a:moveTo>
                <a:cubicBezTo>
                  <a:pt x="209" y="330"/>
                  <a:pt x="201" y="337"/>
                  <a:pt x="193" y="337"/>
                </a:cubicBezTo>
                <a:cubicBezTo>
                  <a:pt x="160" y="337"/>
                  <a:pt x="160" y="337"/>
                  <a:pt x="160" y="337"/>
                </a:cubicBezTo>
                <a:cubicBezTo>
                  <a:pt x="152" y="337"/>
                  <a:pt x="144" y="330"/>
                  <a:pt x="144" y="321"/>
                </a:cubicBezTo>
                <a:cubicBezTo>
                  <a:pt x="144" y="289"/>
                  <a:pt x="144" y="289"/>
                  <a:pt x="144" y="289"/>
                </a:cubicBezTo>
                <a:cubicBezTo>
                  <a:pt x="144" y="280"/>
                  <a:pt x="152" y="273"/>
                  <a:pt x="160" y="273"/>
                </a:cubicBezTo>
                <a:cubicBezTo>
                  <a:pt x="193" y="273"/>
                  <a:pt x="193" y="273"/>
                  <a:pt x="193" y="273"/>
                </a:cubicBezTo>
                <a:cubicBezTo>
                  <a:pt x="201" y="273"/>
                  <a:pt x="209" y="280"/>
                  <a:pt x="209" y="289"/>
                </a:cubicBezTo>
                <a:lnTo>
                  <a:pt x="209" y="321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5" name="Group 4"/>
          <p:cNvGrpSpPr/>
          <p:nvPr/>
        </p:nvGrpSpPr>
        <p:grpSpPr>
          <a:xfrm>
            <a:off x="5667111" y="3389305"/>
            <a:ext cx="608998" cy="608998"/>
            <a:chOff x="5667111" y="3389305"/>
            <a:chExt cx="608998" cy="608998"/>
          </a:xfrm>
        </p:grpSpPr>
        <p:sp>
          <p:nvSpPr>
            <p:cNvPr id="18" name="Oval 17"/>
            <p:cNvSpPr/>
            <p:nvPr/>
          </p:nvSpPr>
          <p:spPr>
            <a:xfrm>
              <a:off x="5667111" y="3389305"/>
              <a:ext cx="608998" cy="60899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814514" y="3536709"/>
              <a:ext cx="314192" cy="314191"/>
            </a:xfrm>
            <a:custGeom>
              <a:avLst/>
              <a:gdLst>
                <a:gd name="T0" fmla="*/ 526 w 541"/>
                <a:gd name="T1" fmla="*/ 328 h 541"/>
                <a:gd name="T2" fmla="*/ 532 w 541"/>
                <a:gd name="T3" fmla="*/ 274 h 541"/>
                <a:gd name="T4" fmla="*/ 531 w 541"/>
                <a:gd name="T5" fmla="*/ 254 h 541"/>
                <a:gd name="T6" fmla="*/ 274 w 541"/>
                <a:gd name="T7" fmla="*/ 19 h 541"/>
                <a:gd name="T8" fmla="*/ 229 w 541"/>
                <a:gd name="T9" fmla="*/ 23 h 541"/>
                <a:gd name="T10" fmla="*/ 150 w 541"/>
                <a:gd name="T11" fmla="*/ 0 h 541"/>
                <a:gd name="T12" fmla="*/ 0 w 541"/>
                <a:gd name="T13" fmla="*/ 148 h 541"/>
                <a:gd name="T14" fmla="*/ 21 w 541"/>
                <a:gd name="T15" fmla="*/ 222 h 541"/>
                <a:gd name="T16" fmla="*/ 16 w 541"/>
                <a:gd name="T17" fmla="*/ 250 h 541"/>
                <a:gd name="T18" fmla="*/ 15 w 541"/>
                <a:gd name="T19" fmla="*/ 274 h 541"/>
                <a:gd name="T20" fmla="*/ 274 w 541"/>
                <a:gd name="T21" fmla="*/ 528 h 541"/>
                <a:gd name="T22" fmla="*/ 321 w 541"/>
                <a:gd name="T23" fmla="*/ 524 h 541"/>
                <a:gd name="T24" fmla="*/ 392 w 541"/>
                <a:gd name="T25" fmla="*/ 541 h 541"/>
                <a:gd name="T26" fmla="*/ 541 w 541"/>
                <a:gd name="T27" fmla="*/ 394 h 541"/>
                <a:gd name="T28" fmla="*/ 526 w 541"/>
                <a:gd name="T29" fmla="*/ 328 h 541"/>
                <a:gd name="T30" fmla="*/ 406 w 541"/>
                <a:gd name="T31" fmla="*/ 395 h 541"/>
                <a:gd name="T32" fmla="*/ 354 w 541"/>
                <a:gd name="T33" fmla="*/ 435 h 541"/>
                <a:gd name="T34" fmla="*/ 273 w 541"/>
                <a:gd name="T35" fmla="*/ 448 h 541"/>
                <a:gd name="T36" fmla="*/ 181 w 541"/>
                <a:gd name="T37" fmla="*/ 429 h 541"/>
                <a:gd name="T38" fmla="*/ 138 w 541"/>
                <a:gd name="T39" fmla="*/ 392 h 541"/>
                <a:gd name="T40" fmla="*/ 122 w 541"/>
                <a:gd name="T41" fmla="*/ 346 h 541"/>
                <a:gd name="T42" fmla="*/ 133 w 541"/>
                <a:gd name="T43" fmla="*/ 322 h 541"/>
                <a:gd name="T44" fmla="*/ 159 w 541"/>
                <a:gd name="T45" fmla="*/ 312 h 541"/>
                <a:gd name="T46" fmla="*/ 182 w 541"/>
                <a:gd name="T47" fmla="*/ 320 h 541"/>
                <a:gd name="T48" fmla="*/ 197 w 541"/>
                <a:gd name="T49" fmla="*/ 342 h 541"/>
                <a:gd name="T50" fmla="*/ 212 w 541"/>
                <a:gd name="T51" fmla="*/ 368 h 541"/>
                <a:gd name="T52" fmla="*/ 233 w 541"/>
                <a:gd name="T53" fmla="*/ 384 h 541"/>
                <a:gd name="T54" fmla="*/ 271 w 541"/>
                <a:gd name="T55" fmla="*/ 391 h 541"/>
                <a:gd name="T56" fmla="*/ 323 w 541"/>
                <a:gd name="T57" fmla="*/ 378 h 541"/>
                <a:gd name="T58" fmla="*/ 342 w 541"/>
                <a:gd name="T59" fmla="*/ 346 h 541"/>
                <a:gd name="T60" fmla="*/ 332 w 541"/>
                <a:gd name="T61" fmla="*/ 321 h 541"/>
                <a:gd name="T62" fmla="*/ 305 w 541"/>
                <a:gd name="T63" fmla="*/ 307 h 541"/>
                <a:gd name="T64" fmla="*/ 257 w 541"/>
                <a:gd name="T65" fmla="*/ 295 h 541"/>
                <a:gd name="T66" fmla="*/ 189 w 541"/>
                <a:gd name="T67" fmla="*/ 275 h 541"/>
                <a:gd name="T68" fmla="*/ 145 w 541"/>
                <a:gd name="T69" fmla="*/ 243 h 541"/>
                <a:gd name="T70" fmla="*/ 136 w 541"/>
                <a:gd name="T71" fmla="*/ 229 h 541"/>
                <a:gd name="T72" fmla="*/ 128 w 541"/>
                <a:gd name="T73" fmla="*/ 192 h 541"/>
                <a:gd name="T74" fmla="*/ 146 w 541"/>
                <a:gd name="T75" fmla="*/ 141 h 541"/>
                <a:gd name="T76" fmla="*/ 196 w 541"/>
                <a:gd name="T77" fmla="*/ 107 h 541"/>
                <a:gd name="T78" fmla="*/ 272 w 541"/>
                <a:gd name="T79" fmla="*/ 94 h 541"/>
                <a:gd name="T80" fmla="*/ 332 w 541"/>
                <a:gd name="T81" fmla="*/ 102 h 541"/>
                <a:gd name="T82" fmla="*/ 375 w 541"/>
                <a:gd name="T83" fmla="*/ 123 h 541"/>
                <a:gd name="T84" fmla="*/ 400 w 541"/>
                <a:gd name="T85" fmla="*/ 151 h 541"/>
                <a:gd name="T86" fmla="*/ 408 w 541"/>
                <a:gd name="T87" fmla="*/ 180 h 541"/>
                <a:gd name="T88" fmla="*/ 397 w 541"/>
                <a:gd name="T89" fmla="*/ 204 h 541"/>
                <a:gd name="T90" fmla="*/ 371 w 541"/>
                <a:gd name="T91" fmla="*/ 216 h 541"/>
                <a:gd name="T92" fmla="*/ 349 w 541"/>
                <a:gd name="T93" fmla="*/ 209 h 541"/>
                <a:gd name="T94" fmla="*/ 333 w 541"/>
                <a:gd name="T95" fmla="*/ 188 h 541"/>
                <a:gd name="T96" fmla="*/ 310 w 541"/>
                <a:gd name="T97" fmla="*/ 160 h 541"/>
                <a:gd name="T98" fmla="*/ 267 w 541"/>
                <a:gd name="T99" fmla="*/ 150 h 541"/>
                <a:gd name="T100" fmla="*/ 222 w 541"/>
                <a:gd name="T101" fmla="*/ 162 h 541"/>
                <a:gd name="T102" fmla="*/ 206 w 541"/>
                <a:gd name="T103" fmla="*/ 186 h 541"/>
                <a:gd name="T104" fmla="*/ 211 w 541"/>
                <a:gd name="T105" fmla="*/ 201 h 541"/>
                <a:gd name="T106" fmla="*/ 227 w 541"/>
                <a:gd name="T107" fmla="*/ 212 h 541"/>
                <a:gd name="T108" fmla="*/ 247 w 541"/>
                <a:gd name="T109" fmla="*/ 220 h 541"/>
                <a:gd name="T110" fmla="*/ 252 w 541"/>
                <a:gd name="T111" fmla="*/ 221 h 541"/>
                <a:gd name="T112" fmla="*/ 283 w 541"/>
                <a:gd name="T113" fmla="*/ 229 h 541"/>
                <a:gd name="T114" fmla="*/ 341 w 541"/>
                <a:gd name="T115" fmla="*/ 243 h 541"/>
                <a:gd name="T116" fmla="*/ 385 w 541"/>
                <a:gd name="T117" fmla="*/ 264 h 541"/>
                <a:gd name="T118" fmla="*/ 414 w 541"/>
                <a:gd name="T119" fmla="*/ 294 h 541"/>
                <a:gd name="T120" fmla="*/ 424 w 541"/>
                <a:gd name="T121" fmla="*/ 339 h 541"/>
                <a:gd name="T122" fmla="*/ 406 w 541"/>
                <a:gd name="T123" fmla="*/ 395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1" h="541">
                  <a:moveTo>
                    <a:pt x="526" y="328"/>
                  </a:moveTo>
                  <a:cubicBezTo>
                    <a:pt x="530" y="310"/>
                    <a:pt x="532" y="292"/>
                    <a:pt x="532" y="274"/>
                  </a:cubicBezTo>
                  <a:cubicBezTo>
                    <a:pt x="532" y="267"/>
                    <a:pt x="532" y="260"/>
                    <a:pt x="531" y="254"/>
                  </a:cubicBezTo>
                  <a:cubicBezTo>
                    <a:pt x="521" y="123"/>
                    <a:pt x="410" y="19"/>
                    <a:pt x="274" y="19"/>
                  </a:cubicBezTo>
                  <a:cubicBezTo>
                    <a:pt x="259" y="19"/>
                    <a:pt x="244" y="20"/>
                    <a:pt x="229" y="23"/>
                  </a:cubicBezTo>
                  <a:cubicBezTo>
                    <a:pt x="206" y="8"/>
                    <a:pt x="179" y="0"/>
                    <a:pt x="150" y="0"/>
                  </a:cubicBezTo>
                  <a:cubicBezTo>
                    <a:pt x="67" y="0"/>
                    <a:pt x="0" y="66"/>
                    <a:pt x="0" y="148"/>
                  </a:cubicBezTo>
                  <a:cubicBezTo>
                    <a:pt x="0" y="175"/>
                    <a:pt x="7" y="201"/>
                    <a:pt x="21" y="222"/>
                  </a:cubicBezTo>
                  <a:cubicBezTo>
                    <a:pt x="19" y="232"/>
                    <a:pt x="17" y="241"/>
                    <a:pt x="16" y="250"/>
                  </a:cubicBezTo>
                  <a:cubicBezTo>
                    <a:pt x="16" y="258"/>
                    <a:pt x="15" y="266"/>
                    <a:pt x="15" y="274"/>
                  </a:cubicBezTo>
                  <a:cubicBezTo>
                    <a:pt x="15" y="414"/>
                    <a:pt x="131" y="528"/>
                    <a:pt x="274" y="528"/>
                  </a:cubicBezTo>
                  <a:cubicBezTo>
                    <a:pt x="290" y="528"/>
                    <a:pt x="306" y="527"/>
                    <a:pt x="321" y="524"/>
                  </a:cubicBezTo>
                  <a:cubicBezTo>
                    <a:pt x="342" y="535"/>
                    <a:pt x="366" y="541"/>
                    <a:pt x="392" y="541"/>
                  </a:cubicBezTo>
                  <a:cubicBezTo>
                    <a:pt x="475" y="541"/>
                    <a:pt x="541" y="475"/>
                    <a:pt x="541" y="394"/>
                  </a:cubicBezTo>
                  <a:cubicBezTo>
                    <a:pt x="541" y="370"/>
                    <a:pt x="535" y="348"/>
                    <a:pt x="526" y="328"/>
                  </a:cubicBezTo>
                  <a:close/>
                  <a:moveTo>
                    <a:pt x="406" y="395"/>
                  </a:moveTo>
                  <a:cubicBezTo>
                    <a:pt x="394" y="412"/>
                    <a:pt x="377" y="425"/>
                    <a:pt x="354" y="435"/>
                  </a:cubicBezTo>
                  <a:cubicBezTo>
                    <a:pt x="331" y="444"/>
                    <a:pt x="304" y="448"/>
                    <a:pt x="273" y="448"/>
                  </a:cubicBezTo>
                  <a:cubicBezTo>
                    <a:pt x="236" y="448"/>
                    <a:pt x="205" y="442"/>
                    <a:pt x="181" y="429"/>
                  </a:cubicBezTo>
                  <a:cubicBezTo>
                    <a:pt x="163" y="420"/>
                    <a:pt x="149" y="408"/>
                    <a:pt x="138" y="392"/>
                  </a:cubicBezTo>
                  <a:cubicBezTo>
                    <a:pt x="127" y="377"/>
                    <a:pt x="122" y="361"/>
                    <a:pt x="122" y="346"/>
                  </a:cubicBezTo>
                  <a:cubicBezTo>
                    <a:pt x="122" y="336"/>
                    <a:pt x="125" y="329"/>
                    <a:pt x="133" y="322"/>
                  </a:cubicBezTo>
                  <a:cubicBezTo>
                    <a:pt x="139" y="316"/>
                    <a:pt x="149" y="312"/>
                    <a:pt x="159" y="312"/>
                  </a:cubicBezTo>
                  <a:cubicBezTo>
                    <a:pt x="168" y="312"/>
                    <a:pt x="176" y="315"/>
                    <a:pt x="182" y="320"/>
                  </a:cubicBezTo>
                  <a:cubicBezTo>
                    <a:pt x="188" y="325"/>
                    <a:pt x="193" y="332"/>
                    <a:pt x="197" y="342"/>
                  </a:cubicBezTo>
                  <a:cubicBezTo>
                    <a:pt x="202" y="352"/>
                    <a:pt x="206" y="361"/>
                    <a:pt x="212" y="368"/>
                  </a:cubicBezTo>
                  <a:cubicBezTo>
                    <a:pt x="217" y="374"/>
                    <a:pt x="224" y="380"/>
                    <a:pt x="233" y="384"/>
                  </a:cubicBezTo>
                  <a:cubicBezTo>
                    <a:pt x="243" y="389"/>
                    <a:pt x="255" y="391"/>
                    <a:pt x="271" y="391"/>
                  </a:cubicBezTo>
                  <a:cubicBezTo>
                    <a:pt x="292" y="391"/>
                    <a:pt x="310" y="386"/>
                    <a:pt x="323" y="378"/>
                  </a:cubicBezTo>
                  <a:cubicBezTo>
                    <a:pt x="336" y="369"/>
                    <a:pt x="342" y="359"/>
                    <a:pt x="342" y="346"/>
                  </a:cubicBezTo>
                  <a:cubicBezTo>
                    <a:pt x="342" y="336"/>
                    <a:pt x="339" y="328"/>
                    <a:pt x="332" y="321"/>
                  </a:cubicBezTo>
                  <a:cubicBezTo>
                    <a:pt x="325" y="315"/>
                    <a:pt x="316" y="310"/>
                    <a:pt x="305" y="307"/>
                  </a:cubicBezTo>
                  <a:cubicBezTo>
                    <a:pt x="293" y="303"/>
                    <a:pt x="277" y="299"/>
                    <a:pt x="257" y="295"/>
                  </a:cubicBezTo>
                  <a:cubicBezTo>
                    <a:pt x="230" y="289"/>
                    <a:pt x="207" y="282"/>
                    <a:pt x="189" y="275"/>
                  </a:cubicBezTo>
                  <a:cubicBezTo>
                    <a:pt x="171" y="267"/>
                    <a:pt x="156" y="257"/>
                    <a:pt x="145" y="243"/>
                  </a:cubicBezTo>
                  <a:cubicBezTo>
                    <a:pt x="142" y="239"/>
                    <a:pt x="139" y="234"/>
                    <a:pt x="136" y="229"/>
                  </a:cubicBezTo>
                  <a:cubicBezTo>
                    <a:pt x="131" y="218"/>
                    <a:pt x="128" y="206"/>
                    <a:pt x="128" y="192"/>
                  </a:cubicBezTo>
                  <a:cubicBezTo>
                    <a:pt x="128" y="173"/>
                    <a:pt x="134" y="155"/>
                    <a:pt x="146" y="141"/>
                  </a:cubicBezTo>
                  <a:cubicBezTo>
                    <a:pt x="158" y="126"/>
                    <a:pt x="174" y="114"/>
                    <a:pt x="196" y="107"/>
                  </a:cubicBezTo>
                  <a:cubicBezTo>
                    <a:pt x="218" y="98"/>
                    <a:pt x="243" y="94"/>
                    <a:pt x="272" y="94"/>
                  </a:cubicBezTo>
                  <a:cubicBezTo>
                    <a:pt x="295" y="94"/>
                    <a:pt x="315" y="97"/>
                    <a:pt x="332" y="102"/>
                  </a:cubicBezTo>
                  <a:cubicBezTo>
                    <a:pt x="349" y="108"/>
                    <a:pt x="363" y="115"/>
                    <a:pt x="375" y="123"/>
                  </a:cubicBezTo>
                  <a:cubicBezTo>
                    <a:pt x="386" y="132"/>
                    <a:pt x="395" y="141"/>
                    <a:pt x="400" y="151"/>
                  </a:cubicBezTo>
                  <a:cubicBezTo>
                    <a:pt x="405" y="161"/>
                    <a:pt x="408" y="171"/>
                    <a:pt x="408" y="180"/>
                  </a:cubicBezTo>
                  <a:cubicBezTo>
                    <a:pt x="408" y="189"/>
                    <a:pt x="404" y="198"/>
                    <a:pt x="397" y="204"/>
                  </a:cubicBezTo>
                  <a:cubicBezTo>
                    <a:pt x="390" y="212"/>
                    <a:pt x="381" y="216"/>
                    <a:pt x="371" y="216"/>
                  </a:cubicBezTo>
                  <a:cubicBezTo>
                    <a:pt x="361" y="216"/>
                    <a:pt x="354" y="213"/>
                    <a:pt x="349" y="209"/>
                  </a:cubicBezTo>
                  <a:cubicBezTo>
                    <a:pt x="344" y="204"/>
                    <a:pt x="339" y="198"/>
                    <a:pt x="333" y="188"/>
                  </a:cubicBezTo>
                  <a:cubicBezTo>
                    <a:pt x="327" y="177"/>
                    <a:pt x="319" y="167"/>
                    <a:pt x="310" y="160"/>
                  </a:cubicBezTo>
                  <a:cubicBezTo>
                    <a:pt x="301" y="154"/>
                    <a:pt x="287" y="150"/>
                    <a:pt x="267" y="150"/>
                  </a:cubicBezTo>
                  <a:cubicBezTo>
                    <a:pt x="248" y="150"/>
                    <a:pt x="233" y="154"/>
                    <a:pt x="222" y="162"/>
                  </a:cubicBezTo>
                  <a:cubicBezTo>
                    <a:pt x="211" y="168"/>
                    <a:pt x="206" y="176"/>
                    <a:pt x="206" y="186"/>
                  </a:cubicBezTo>
                  <a:cubicBezTo>
                    <a:pt x="206" y="191"/>
                    <a:pt x="208" y="196"/>
                    <a:pt x="211" y="201"/>
                  </a:cubicBezTo>
                  <a:cubicBezTo>
                    <a:pt x="215" y="205"/>
                    <a:pt x="220" y="209"/>
                    <a:pt x="227" y="212"/>
                  </a:cubicBezTo>
                  <a:cubicBezTo>
                    <a:pt x="234" y="216"/>
                    <a:pt x="241" y="218"/>
                    <a:pt x="247" y="220"/>
                  </a:cubicBezTo>
                  <a:cubicBezTo>
                    <a:pt x="249" y="221"/>
                    <a:pt x="250" y="221"/>
                    <a:pt x="252" y="221"/>
                  </a:cubicBezTo>
                  <a:cubicBezTo>
                    <a:pt x="259" y="223"/>
                    <a:pt x="270" y="225"/>
                    <a:pt x="283" y="229"/>
                  </a:cubicBezTo>
                  <a:cubicBezTo>
                    <a:pt x="304" y="233"/>
                    <a:pt x="324" y="238"/>
                    <a:pt x="341" y="243"/>
                  </a:cubicBezTo>
                  <a:cubicBezTo>
                    <a:pt x="358" y="249"/>
                    <a:pt x="372" y="256"/>
                    <a:pt x="385" y="264"/>
                  </a:cubicBezTo>
                  <a:cubicBezTo>
                    <a:pt x="397" y="271"/>
                    <a:pt x="407" y="282"/>
                    <a:pt x="414" y="294"/>
                  </a:cubicBezTo>
                  <a:cubicBezTo>
                    <a:pt x="421" y="306"/>
                    <a:pt x="424" y="321"/>
                    <a:pt x="424" y="339"/>
                  </a:cubicBezTo>
                  <a:cubicBezTo>
                    <a:pt x="424" y="360"/>
                    <a:pt x="418" y="378"/>
                    <a:pt x="406" y="39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487436" y="2505416"/>
            <a:ext cx="378231" cy="378230"/>
            <a:chOff x="6487436" y="2505416"/>
            <a:chExt cx="378231" cy="378230"/>
          </a:xfrm>
        </p:grpSpPr>
        <p:sp>
          <p:nvSpPr>
            <p:cNvPr id="77" name="Oval 76"/>
            <p:cNvSpPr/>
            <p:nvPr/>
          </p:nvSpPr>
          <p:spPr>
            <a:xfrm>
              <a:off x="6487436" y="2505416"/>
              <a:ext cx="378231" cy="37823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6571565" y="2589545"/>
              <a:ext cx="209973" cy="209972"/>
            </a:xfrm>
            <a:custGeom>
              <a:avLst/>
              <a:gdLst>
                <a:gd name="T0" fmla="*/ 583 w 583"/>
                <a:gd name="T1" fmla="*/ 277 h 582"/>
                <a:gd name="T2" fmla="*/ 297 w 583"/>
                <a:gd name="T3" fmla="*/ 0 h 582"/>
                <a:gd name="T4" fmla="*/ 12 w 583"/>
                <a:gd name="T5" fmla="*/ 271 h 582"/>
                <a:gd name="T6" fmla="*/ 11 w 583"/>
                <a:gd name="T7" fmla="*/ 284 h 582"/>
                <a:gd name="T8" fmla="*/ 52 w 583"/>
                <a:gd name="T9" fmla="*/ 430 h 582"/>
                <a:gd name="T10" fmla="*/ 0 w 583"/>
                <a:gd name="T11" fmla="*/ 582 h 582"/>
                <a:gd name="T12" fmla="*/ 159 w 583"/>
                <a:gd name="T13" fmla="*/ 532 h 582"/>
                <a:gd name="T14" fmla="*/ 297 w 583"/>
                <a:gd name="T15" fmla="*/ 567 h 582"/>
                <a:gd name="T16" fmla="*/ 583 w 583"/>
                <a:gd name="T17" fmla="*/ 284 h 582"/>
                <a:gd name="T18" fmla="*/ 583 w 583"/>
                <a:gd name="T19" fmla="*/ 277 h 582"/>
                <a:gd name="T20" fmla="*/ 428 w 583"/>
                <a:gd name="T21" fmla="*/ 341 h 582"/>
                <a:gd name="T22" fmla="*/ 380 w 583"/>
                <a:gd name="T23" fmla="*/ 318 h 582"/>
                <a:gd name="T24" fmla="*/ 364 w 583"/>
                <a:gd name="T25" fmla="*/ 322 h 582"/>
                <a:gd name="T26" fmla="*/ 342 w 583"/>
                <a:gd name="T27" fmla="*/ 349 h 582"/>
                <a:gd name="T28" fmla="*/ 327 w 583"/>
                <a:gd name="T29" fmla="*/ 351 h 582"/>
                <a:gd name="T30" fmla="*/ 271 w 583"/>
                <a:gd name="T31" fmla="*/ 316 h 582"/>
                <a:gd name="T32" fmla="*/ 232 w 583"/>
                <a:gd name="T33" fmla="*/ 268 h 582"/>
                <a:gd name="T34" fmla="*/ 234 w 583"/>
                <a:gd name="T35" fmla="*/ 254 h 582"/>
                <a:gd name="T36" fmla="*/ 245 w 583"/>
                <a:gd name="T37" fmla="*/ 242 h 582"/>
                <a:gd name="T38" fmla="*/ 248 w 583"/>
                <a:gd name="T39" fmla="*/ 238 h 582"/>
                <a:gd name="T40" fmla="*/ 252 w 583"/>
                <a:gd name="T41" fmla="*/ 230 h 582"/>
                <a:gd name="T42" fmla="*/ 251 w 583"/>
                <a:gd name="T43" fmla="*/ 218 h 582"/>
                <a:gd name="T44" fmla="*/ 230 w 583"/>
                <a:gd name="T45" fmla="*/ 166 h 582"/>
                <a:gd name="T46" fmla="*/ 214 w 583"/>
                <a:gd name="T47" fmla="*/ 155 h 582"/>
                <a:gd name="T48" fmla="*/ 201 w 583"/>
                <a:gd name="T49" fmla="*/ 154 h 582"/>
                <a:gd name="T50" fmla="*/ 182 w 583"/>
                <a:gd name="T51" fmla="*/ 163 h 582"/>
                <a:gd name="T52" fmla="*/ 157 w 583"/>
                <a:gd name="T53" fmla="*/ 221 h 582"/>
                <a:gd name="T54" fmla="*/ 161 w 583"/>
                <a:gd name="T55" fmla="*/ 244 h 582"/>
                <a:gd name="T56" fmla="*/ 186 w 583"/>
                <a:gd name="T57" fmla="*/ 293 h 582"/>
                <a:gd name="T58" fmla="*/ 306 w 583"/>
                <a:gd name="T59" fmla="*/ 398 h 582"/>
                <a:gd name="T60" fmla="*/ 390 w 583"/>
                <a:gd name="T61" fmla="*/ 415 h 582"/>
                <a:gd name="T62" fmla="*/ 437 w 583"/>
                <a:gd name="T63" fmla="*/ 382 h 582"/>
                <a:gd name="T64" fmla="*/ 441 w 583"/>
                <a:gd name="T65" fmla="*/ 349 h 582"/>
                <a:gd name="T66" fmla="*/ 428 w 583"/>
                <a:gd name="T67" fmla="*/ 341 h 582"/>
                <a:gd name="T68" fmla="*/ 297 w 583"/>
                <a:gd name="T69" fmla="*/ 522 h 582"/>
                <a:gd name="T70" fmla="*/ 165 w 583"/>
                <a:gd name="T71" fmla="*/ 483 h 582"/>
                <a:gd name="T72" fmla="*/ 73 w 583"/>
                <a:gd name="T73" fmla="*/ 512 h 582"/>
                <a:gd name="T74" fmla="*/ 102 w 583"/>
                <a:gd name="T75" fmla="*/ 423 h 582"/>
                <a:gd name="T76" fmla="*/ 57 w 583"/>
                <a:gd name="T77" fmla="*/ 284 h 582"/>
                <a:gd name="T78" fmla="*/ 58 w 583"/>
                <a:gd name="T79" fmla="*/ 260 h 582"/>
                <a:gd name="T80" fmla="*/ 297 w 583"/>
                <a:gd name="T81" fmla="*/ 45 h 582"/>
                <a:gd name="T82" fmla="*/ 537 w 583"/>
                <a:gd name="T83" fmla="*/ 265 h 582"/>
                <a:gd name="T84" fmla="*/ 537 w 583"/>
                <a:gd name="T85" fmla="*/ 284 h 582"/>
                <a:gd name="T86" fmla="*/ 297 w 583"/>
                <a:gd name="T87" fmla="*/ 522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3" h="582">
                  <a:moveTo>
                    <a:pt x="583" y="277"/>
                  </a:moveTo>
                  <a:cubicBezTo>
                    <a:pt x="579" y="123"/>
                    <a:pt x="452" y="0"/>
                    <a:pt x="297" y="0"/>
                  </a:cubicBezTo>
                  <a:cubicBezTo>
                    <a:pt x="143" y="0"/>
                    <a:pt x="18" y="120"/>
                    <a:pt x="12" y="271"/>
                  </a:cubicBezTo>
                  <a:cubicBezTo>
                    <a:pt x="11" y="275"/>
                    <a:pt x="11" y="279"/>
                    <a:pt x="11" y="284"/>
                  </a:cubicBezTo>
                  <a:cubicBezTo>
                    <a:pt x="11" y="337"/>
                    <a:pt x="26" y="387"/>
                    <a:pt x="52" y="430"/>
                  </a:cubicBezTo>
                  <a:cubicBezTo>
                    <a:pt x="0" y="582"/>
                    <a:pt x="0" y="582"/>
                    <a:pt x="0" y="582"/>
                  </a:cubicBezTo>
                  <a:cubicBezTo>
                    <a:pt x="159" y="532"/>
                    <a:pt x="159" y="532"/>
                    <a:pt x="159" y="532"/>
                  </a:cubicBezTo>
                  <a:cubicBezTo>
                    <a:pt x="200" y="554"/>
                    <a:pt x="247" y="567"/>
                    <a:pt x="297" y="567"/>
                  </a:cubicBezTo>
                  <a:cubicBezTo>
                    <a:pt x="455" y="567"/>
                    <a:pt x="583" y="440"/>
                    <a:pt x="583" y="284"/>
                  </a:cubicBezTo>
                  <a:cubicBezTo>
                    <a:pt x="583" y="281"/>
                    <a:pt x="583" y="279"/>
                    <a:pt x="583" y="277"/>
                  </a:cubicBezTo>
                  <a:close/>
                  <a:moveTo>
                    <a:pt x="428" y="341"/>
                  </a:moveTo>
                  <a:cubicBezTo>
                    <a:pt x="421" y="338"/>
                    <a:pt x="387" y="320"/>
                    <a:pt x="380" y="318"/>
                  </a:cubicBezTo>
                  <a:cubicBezTo>
                    <a:pt x="373" y="316"/>
                    <a:pt x="369" y="314"/>
                    <a:pt x="364" y="322"/>
                  </a:cubicBezTo>
                  <a:cubicBezTo>
                    <a:pt x="360" y="329"/>
                    <a:pt x="346" y="344"/>
                    <a:pt x="342" y="349"/>
                  </a:cubicBezTo>
                  <a:cubicBezTo>
                    <a:pt x="338" y="354"/>
                    <a:pt x="334" y="354"/>
                    <a:pt x="327" y="351"/>
                  </a:cubicBezTo>
                  <a:cubicBezTo>
                    <a:pt x="320" y="347"/>
                    <a:pt x="297" y="340"/>
                    <a:pt x="271" y="316"/>
                  </a:cubicBezTo>
                  <a:cubicBezTo>
                    <a:pt x="250" y="297"/>
                    <a:pt x="235" y="275"/>
                    <a:pt x="232" y="268"/>
                  </a:cubicBezTo>
                  <a:cubicBezTo>
                    <a:pt x="228" y="261"/>
                    <a:pt x="231" y="258"/>
                    <a:pt x="234" y="254"/>
                  </a:cubicBezTo>
                  <a:cubicBezTo>
                    <a:pt x="238" y="251"/>
                    <a:pt x="242" y="246"/>
                    <a:pt x="245" y="242"/>
                  </a:cubicBezTo>
                  <a:cubicBezTo>
                    <a:pt x="246" y="241"/>
                    <a:pt x="247" y="240"/>
                    <a:pt x="248" y="238"/>
                  </a:cubicBezTo>
                  <a:cubicBezTo>
                    <a:pt x="250" y="236"/>
                    <a:pt x="250" y="233"/>
                    <a:pt x="252" y="230"/>
                  </a:cubicBezTo>
                  <a:cubicBezTo>
                    <a:pt x="255" y="225"/>
                    <a:pt x="254" y="221"/>
                    <a:pt x="251" y="218"/>
                  </a:cubicBezTo>
                  <a:cubicBezTo>
                    <a:pt x="250" y="215"/>
                    <a:pt x="236" y="180"/>
                    <a:pt x="230" y="166"/>
                  </a:cubicBezTo>
                  <a:cubicBezTo>
                    <a:pt x="224" y="152"/>
                    <a:pt x="218" y="155"/>
                    <a:pt x="214" y="155"/>
                  </a:cubicBezTo>
                  <a:cubicBezTo>
                    <a:pt x="210" y="155"/>
                    <a:pt x="206" y="154"/>
                    <a:pt x="201" y="154"/>
                  </a:cubicBezTo>
                  <a:cubicBezTo>
                    <a:pt x="196" y="154"/>
                    <a:pt x="189" y="156"/>
                    <a:pt x="182" y="163"/>
                  </a:cubicBezTo>
                  <a:cubicBezTo>
                    <a:pt x="175" y="170"/>
                    <a:pt x="157" y="186"/>
                    <a:pt x="157" y="221"/>
                  </a:cubicBezTo>
                  <a:cubicBezTo>
                    <a:pt x="157" y="229"/>
                    <a:pt x="159" y="237"/>
                    <a:pt x="161" y="244"/>
                  </a:cubicBezTo>
                  <a:cubicBezTo>
                    <a:pt x="168" y="269"/>
                    <a:pt x="184" y="289"/>
                    <a:pt x="186" y="293"/>
                  </a:cubicBezTo>
                  <a:cubicBezTo>
                    <a:pt x="190" y="297"/>
                    <a:pt x="234" y="370"/>
                    <a:pt x="306" y="398"/>
                  </a:cubicBezTo>
                  <a:cubicBezTo>
                    <a:pt x="377" y="425"/>
                    <a:pt x="377" y="416"/>
                    <a:pt x="390" y="415"/>
                  </a:cubicBezTo>
                  <a:cubicBezTo>
                    <a:pt x="403" y="414"/>
                    <a:pt x="431" y="398"/>
                    <a:pt x="437" y="382"/>
                  </a:cubicBezTo>
                  <a:cubicBezTo>
                    <a:pt x="443" y="366"/>
                    <a:pt x="443" y="352"/>
                    <a:pt x="441" y="349"/>
                  </a:cubicBezTo>
                  <a:cubicBezTo>
                    <a:pt x="440" y="346"/>
                    <a:pt x="435" y="344"/>
                    <a:pt x="428" y="341"/>
                  </a:cubicBezTo>
                  <a:close/>
                  <a:moveTo>
                    <a:pt x="297" y="522"/>
                  </a:moveTo>
                  <a:cubicBezTo>
                    <a:pt x="248" y="522"/>
                    <a:pt x="203" y="508"/>
                    <a:pt x="165" y="483"/>
                  </a:cubicBezTo>
                  <a:cubicBezTo>
                    <a:pt x="73" y="512"/>
                    <a:pt x="73" y="512"/>
                    <a:pt x="73" y="512"/>
                  </a:cubicBezTo>
                  <a:cubicBezTo>
                    <a:pt x="102" y="423"/>
                    <a:pt x="102" y="423"/>
                    <a:pt x="102" y="423"/>
                  </a:cubicBezTo>
                  <a:cubicBezTo>
                    <a:pt x="74" y="384"/>
                    <a:pt x="57" y="336"/>
                    <a:pt x="57" y="284"/>
                  </a:cubicBezTo>
                  <a:cubicBezTo>
                    <a:pt x="57" y="276"/>
                    <a:pt x="57" y="268"/>
                    <a:pt x="58" y="260"/>
                  </a:cubicBezTo>
                  <a:cubicBezTo>
                    <a:pt x="70" y="140"/>
                    <a:pt x="172" y="45"/>
                    <a:pt x="297" y="45"/>
                  </a:cubicBezTo>
                  <a:cubicBezTo>
                    <a:pt x="423" y="45"/>
                    <a:pt x="527" y="142"/>
                    <a:pt x="537" y="265"/>
                  </a:cubicBezTo>
                  <a:cubicBezTo>
                    <a:pt x="537" y="271"/>
                    <a:pt x="537" y="278"/>
                    <a:pt x="537" y="284"/>
                  </a:cubicBezTo>
                  <a:cubicBezTo>
                    <a:pt x="537" y="415"/>
                    <a:pt x="430" y="522"/>
                    <a:pt x="297" y="5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645312" y="2694002"/>
            <a:ext cx="401011" cy="401011"/>
            <a:chOff x="5645312" y="2694002"/>
            <a:chExt cx="401011" cy="401011"/>
          </a:xfrm>
        </p:grpSpPr>
        <p:sp>
          <p:nvSpPr>
            <p:cNvPr id="75" name="Oval 74"/>
            <p:cNvSpPr/>
            <p:nvPr/>
          </p:nvSpPr>
          <p:spPr>
            <a:xfrm>
              <a:off x="5645312" y="2694002"/>
              <a:ext cx="401011" cy="40101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auto">
            <a:xfrm>
              <a:off x="5746370" y="2770198"/>
              <a:ext cx="198895" cy="248618"/>
            </a:xfrm>
            <a:custGeom>
              <a:avLst/>
              <a:gdLst>
                <a:gd name="T0" fmla="*/ 246 w 466"/>
                <a:gd name="T1" fmla="*/ 0 h 583"/>
                <a:gd name="T2" fmla="*/ 0 w 466"/>
                <a:gd name="T3" fmla="*/ 208 h 583"/>
                <a:gd name="T4" fmla="*/ 6 w 466"/>
                <a:gd name="T5" fmla="*/ 258 h 583"/>
                <a:gd name="T6" fmla="*/ 71 w 466"/>
                <a:gd name="T7" fmla="*/ 336 h 583"/>
                <a:gd name="T8" fmla="*/ 88 w 466"/>
                <a:gd name="T9" fmla="*/ 328 h 583"/>
                <a:gd name="T10" fmla="*/ 95 w 466"/>
                <a:gd name="T11" fmla="*/ 301 h 583"/>
                <a:gd name="T12" fmla="*/ 90 w 466"/>
                <a:gd name="T13" fmla="*/ 282 h 583"/>
                <a:gd name="T14" fmla="*/ 71 w 466"/>
                <a:gd name="T15" fmla="*/ 247 h 583"/>
                <a:gd name="T16" fmla="*/ 67 w 466"/>
                <a:gd name="T17" fmla="*/ 217 h 583"/>
                <a:gd name="T18" fmla="*/ 237 w 466"/>
                <a:gd name="T19" fmla="*/ 56 h 583"/>
                <a:gd name="T20" fmla="*/ 381 w 466"/>
                <a:gd name="T21" fmla="*/ 184 h 583"/>
                <a:gd name="T22" fmla="*/ 375 w 466"/>
                <a:gd name="T23" fmla="*/ 246 h 583"/>
                <a:gd name="T24" fmla="*/ 271 w 466"/>
                <a:gd name="T25" fmla="*/ 362 h 583"/>
                <a:gd name="T26" fmla="*/ 217 w 466"/>
                <a:gd name="T27" fmla="*/ 298 h 583"/>
                <a:gd name="T28" fmla="*/ 235 w 466"/>
                <a:gd name="T29" fmla="*/ 237 h 583"/>
                <a:gd name="T30" fmla="*/ 248 w 466"/>
                <a:gd name="T31" fmla="*/ 179 h 583"/>
                <a:gd name="T32" fmla="*/ 201 w 466"/>
                <a:gd name="T33" fmla="*/ 129 h 583"/>
                <a:gd name="T34" fmla="*/ 134 w 466"/>
                <a:gd name="T35" fmla="*/ 216 h 583"/>
                <a:gd name="T36" fmla="*/ 136 w 466"/>
                <a:gd name="T37" fmla="*/ 240 h 583"/>
                <a:gd name="T38" fmla="*/ 145 w 466"/>
                <a:gd name="T39" fmla="*/ 269 h 583"/>
                <a:gd name="T40" fmla="*/ 101 w 466"/>
                <a:gd name="T41" fmla="*/ 451 h 583"/>
                <a:gd name="T42" fmla="*/ 100 w 466"/>
                <a:gd name="T43" fmla="*/ 578 h 583"/>
                <a:gd name="T44" fmla="*/ 108 w 466"/>
                <a:gd name="T45" fmla="*/ 580 h 583"/>
                <a:gd name="T46" fmla="*/ 171 w 466"/>
                <a:gd name="T47" fmla="*/ 470 h 583"/>
                <a:gd name="T48" fmla="*/ 195 w 466"/>
                <a:gd name="T49" fmla="*/ 378 h 583"/>
                <a:gd name="T50" fmla="*/ 279 w 466"/>
                <a:gd name="T51" fmla="*/ 420 h 583"/>
                <a:gd name="T52" fmla="*/ 458 w 466"/>
                <a:gd name="T53" fmla="*/ 260 h 583"/>
                <a:gd name="T54" fmla="*/ 466 w 466"/>
                <a:gd name="T55" fmla="*/ 191 h 583"/>
                <a:gd name="T56" fmla="*/ 246 w 466"/>
                <a:gd name="T57" fmla="*/ 0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66" h="583">
                  <a:moveTo>
                    <a:pt x="246" y="0"/>
                  </a:moveTo>
                  <a:cubicBezTo>
                    <a:pt x="83" y="0"/>
                    <a:pt x="0" y="113"/>
                    <a:pt x="0" y="208"/>
                  </a:cubicBezTo>
                  <a:cubicBezTo>
                    <a:pt x="0" y="226"/>
                    <a:pt x="2" y="243"/>
                    <a:pt x="6" y="258"/>
                  </a:cubicBezTo>
                  <a:cubicBezTo>
                    <a:pt x="16" y="294"/>
                    <a:pt x="37" y="323"/>
                    <a:pt x="71" y="336"/>
                  </a:cubicBezTo>
                  <a:cubicBezTo>
                    <a:pt x="78" y="339"/>
                    <a:pt x="86" y="336"/>
                    <a:pt x="88" y="328"/>
                  </a:cubicBezTo>
                  <a:cubicBezTo>
                    <a:pt x="90" y="322"/>
                    <a:pt x="93" y="307"/>
                    <a:pt x="95" y="301"/>
                  </a:cubicBezTo>
                  <a:cubicBezTo>
                    <a:pt x="97" y="292"/>
                    <a:pt x="96" y="290"/>
                    <a:pt x="90" y="282"/>
                  </a:cubicBezTo>
                  <a:cubicBezTo>
                    <a:pt x="82" y="272"/>
                    <a:pt x="75" y="261"/>
                    <a:pt x="71" y="247"/>
                  </a:cubicBezTo>
                  <a:cubicBezTo>
                    <a:pt x="69" y="238"/>
                    <a:pt x="67" y="228"/>
                    <a:pt x="67" y="217"/>
                  </a:cubicBezTo>
                  <a:cubicBezTo>
                    <a:pt x="67" y="132"/>
                    <a:pt x="132" y="56"/>
                    <a:pt x="237" y="56"/>
                  </a:cubicBezTo>
                  <a:cubicBezTo>
                    <a:pt x="330" y="56"/>
                    <a:pt x="381" y="111"/>
                    <a:pt x="381" y="184"/>
                  </a:cubicBezTo>
                  <a:cubicBezTo>
                    <a:pt x="381" y="206"/>
                    <a:pt x="379" y="227"/>
                    <a:pt x="375" y="246"/>
                  </a:cubicBezTo>
                  <a:cubicBezTo>
                    <a:pt x="360" y="314"/>
                    <a:pt x="322" y="362"/>
                    <a:pt x="271" y="362"/>
                  </a:cubicBezTo>
                  <a:cubicBezTo>
                    <a:pt x="235" y="362"/>
                    <a:pt x="208" y="333"/>
                    <a:pt x="217" y="298"/>
                  </a:cubicBezTo>
                  <a:cubicBezTo>
                    <a:pt x="222" y="278"/>
                    <a:pt x="229" y="257"/>
                    <a:pt x="235" y="237"/>
                  </a:cubicBezTo>
                  <a:cubicBezTo>
                    <a:pt x="242" y="216"/>
                    <a:pt x="248" y="195"/>
                    <a:pt x="248" y="179"/>
                  </a:cubicBezTo>
                  <a:cubicBezTo>
                    <a:pt x="248" y="151"/>
                    <a:pt x="233" y="129"/>
                    <a:pt x="201" y="129"/>
                  </a:cubicBezTo>
                  <a:cubicBezTo>
                    <a:pt x="164" y="129"/>
                    <a:pt x="134" y="166"/>
                    <a:pt x="134" y="216"/>
                  </a:cubicBezTo>
                  <a:cubicBezTo>
                    <a:pt x="134" y="225"/>
                    <a:pt x="135" y="234"/>
                    <a:pt x="136" y="240"/>
                  </a:cubicBezTo>
                  <a:cubicBezTo>
                    <a:pt x="140" y="258"/>
                    <a:pt x="145" y="269"/>
                    <a:pt x="145" y="269"/>
                  </a:cubicBezTo>
                  <a:cubicBezTo>
                    <a:pt x="145" y="269"/>
                    <a:pt x="107" y="424"/>
                    <a:pt x="101" y="451"/>
                  </a:cubicBezTo>
                  <a:cubicBezTo>
                    <a:pt x="88" y="505"/>
                    <a:pt x="99" y="571"/>
                    <a:pt x="100" y="578"/>
                  </a:cubicBezTo>
                  <a:cubicBezTo>
                    <a:pt x="100" y="582"/>
                    <a:pt x="106" y="583"/>
                    <a:pt x="108" y="580"/>
                  </a:cubicBezTo>
                  <a:cubicBezTo>
                    <a:pt x="112" y="575"/>
                    <a:pt x="155" y="523"/>
                    <a:pt x="171" y="470"/>
                  </a:cubicBezTo>
                  <a:cubicBezTo>
                    <a:pt x="174" y="455"/>
                    <a:pt x="195" y="378"/>
                    <a:pt x="195" y="378"/>
                  </a:cubicBezTo>
                  <a:cubicBezTo>
                    <a:pt x="207" y="401"/>
                    <a:pt x="242" y="420"/>
                    <a:pt x="279" y="420"/>
                  </a:cubicBezTo>
                  <a:cubicBezTo>
                    <a:pt x="369" y="420"/>
                    <a:pt x="436" y="355"/>
                    <a:pt x="458" y="260"/>
                  </a:cubicBezTo>
                  <a:cubicBezTo>
                    <a:pt x="463" y="238"/>
                    <a:pt x="466" y="215"/>
                    <a:pt x="466" y="191"/>
                  </a:cubicBezTo>
                  <a:cubicBezTo>
                    <a:pt x="466" y="91"/>
                    <a:pt x="379" y="0"/>
                    <a:pt x="24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227650" y="2718988"/>
            <a:ext cx="413760" cy="413760"/>
            <a:chOff x="7227650" y="2718988"/>
            <a:chExt cx="413760" cy="413760"/>
          </a:xfrm>
        </p:grpSpPr>
        <p:sp>
          <p:nvSpPr>
            <p:cNvPr id="73" name="Oval 72"/>
            <p:cNvSpPr/>
            <p:nvPr/>
          </p:nvSpPr>
          <p:spPr>
            <a:xfrm>
              <a:off x="7227650" y="2718988"/>
              <a:ext cx="413760" cy="4137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4" name="Freeform 12"/>
            <p:cNvSpPr>
              <a:spLocks noEditPoints="1"/>
            </p:cNvSpPr>
            <p:nvPr/>
          </p:nvSpPr>
          <p:spPr bwMode="auto">
            <a:xfrm>
              <a:off x="7331012" y="2822349"/>
              <a:ext cx="207036" cy="207036"/>
            </a:xfrm>
            <a:custGeom>
              <a:avLst/>
              <a:gdLst>
                <a:gd name="T0" fmla="*/ 0 w 515"/>
                <a:gd name="T1" fmla="*/ 263 h 515"/>
                <a:gd name="T2" fmla="*/ 0 w 515"/>
                <a:gd name="T3" fmla="*/ 515 h 515"/>
                <a:gd name="T4" fmla="*/ 120 w 515"/>
                <a:gd name="T5" fmla="*/ 515 h 515"/>
                <a:gd name="T6" fmla="*/ 120 w 515"/>
                <a:gd name="T7" fmla="*/ 242 h 515"/>
                <a:gd name="T8" fmla="*/ 120 w 515"/>
                <a:gd name="T9" fmla="*/ 172 h 515"/>
                <a:gd name="T10" fmla="*/ 0 w 515"/>
                <a:gd name="T11" fmla="*/ 172 h 515"/>
                <a:gd name="T12" fmla="*/ 0 w 515"/>
                <a:gd name="T13" fmla="*/ 263 h 515"/>
                <a:gd name="T14" fmla="*/ 512 w 515"/>
                <a:gd name="T15" fmla="*/ 277 h 515"/>
                <a:gd name="T16" fmla="*/ 387 w 515"/>
                <a:gd name="T17" fmla="*/ 172 h 515"/>
                <a:gd name="T18" fmla="*/ 286 w 515"/>
                <a:gd name="T19" fmla="*/ 218 h 515"/>
                <a:gd name="T20" fmla="*/ 285 w 515"/>
                <a:gd name="T21" fmla="*/ 218 h 515"/>
                <a:gd name="T22" fmla="*/ 285 w 515"/>
                <a:gd name="T23" fmla="*/ 172 h 515"/>
                <a:gd name="T24" fmla="*/ 189 w 515"/>
                <a:gd name="T25" fmla="*/ 172 h 515"/>
                <a:gd name="T26" fmla="*/ 189 w 515"/>
                <a:gd name="T27" fmla="*/ 238 h 515"/>
                <a:gd name="T28" fmla="*/ 189 w 515"/>
                <a:gd name="T29" fmla="*/ 515 h 515"/>
                <a:gd name="T30" fmla="*/ 289 w 515"/>
                <a:gd name="T31" fmla="*/ 515 h 515"/>
                <a:gd name="T32" fmla="*/ 289 w 515"/>
                <a:gd name="T33" fmla="*/ 345 h 515"/>
                <a:gd name="T34" fmla="*/ 353 w 515"/>
                <a:gd name="T35" fmla="*/ 257 h 515"/>
                <a:gd name="T36" fmla="*/ 412 w 515"/>
                <a:gd name="T37" fmla="*/ 348 h 515"/>
                <a:gd name="T38" fmla="*/ 412 w 515"/>
                <a:gd name="T39" fmla="*/ 515 h 515"/>
                <a:gd name="T40" fmla="*/ 515 w 515"/>
                <a:gd name="T41" fmla="*/ 515 h 515"/>
                <a:gd name="T42" fmla="*/ 515 w 515"/>
                <a:gd name="T43" fmla="*/ 326 h 515"/>
                <a:gd name="T44" fmla="*/ 512 w 515"/>
                <a:gd name="T45" fmla="*/ 277 h 515"/>
                <a:gd name="T46" fmla="*/ 60 w 515"/>
                <a:gd name="T47" fmla="*/ 0 h 515"/>
                <a:gd name="T48" fmla="*/ 0 w 515"/>
                <a:gd name="T49" fmla="*/ 60 h 515"/>
                <a:gd name="T50" fmla="*/ 60 w 515"/>
                <a:gd name="T51" fmla="*/ 120 h 515"/>
                <a:gd name="T52" fmla="*/ 120 w 515"/>
                <a:gd name="T53" fmla="*/ 60 h 515"/>
                <a:gd name="T54" fmla="*/ 60 w 515"/>
                <a:gd name="T55" fmla="*/ 0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5" h="515">
                  <a:moveTo>
                    <a:pt x="0" y="263"/>
                  </a:moveTo>
                  <a:cubicBezTo>
                    <a:pt x="0" y="515"/>
                    <a:pt x="0" y="515"/>
                    <a:pt x="0" y="515"/>
                  </a:cubicBezTo>
                  <a:cubicBezTo>
                    <a:pt x="120" y="515"/>
                    <a:pt x="120" y="515"/>
                    <a:pt x="120" y="515"/>
                  </a:cubicBezTo>
                  <a:cubicBezTo>
                    <a:pt x="120" y="242"/>
                    <a:pt x="120" y="242"/>
                    <a:pt x="120" y="242"/>
                  </a:cubicBezTo>
                  <a:cubicBezTo>
                    <a:pt x="120" y="172"/>
                    <a:pt x="120" y="172"/>
                    <a:pt x="120" y="172"/>
                  </a:cubicBezTo>
                  <a:cubicBezTo>
                    <a:pt x="0" y="172"/>
                    <a:pt x="0" y="172"/>
                    <a:pt x="0" y="172"/>
                  </a:cubicBezTo>
                  <a:lnTo>
                    <a:pt x="0" y="263"/>
                  </a:lnTo>
                  <a:close/>
                  <a:moveTo>
                    <a:pt x="512" y="277"/>
                  </a:moveTo>
                  <a:cubicBezTo>
                    <a:pt x="504" y="212"/>
                    <a:pt x="475" y="172"/>
                    <a:pt x="387" y="172"/>
                  </a:cubicBezTo>
                  <a:cubicBezTo>
                    <a:pt x="336" y="172"/>
                    <a:pt x="301" y="191"/>
                    <a:pt x="286" y="218"/>
                  </a:cubicBezTo>
                  <a:cubicBezTo>
                    <a:pt x="285" y="218"/>
                    <a:pt x="285" y="218"/>
                    <a:pt x="285" y="218"/>
                  </a:cubicBezTo>
                  <a:cubicBezTo>
                    <a:pt x="285" y="172"/>
                    <a:pt x="285" y="172"/>
                    <a:pt x="285" y="172"/>
                  </a:cubicBezTo>
                  <a:cubicBezTo>
                    <a:pt x="189" y="172"/>
                    <a:pt x="189" y="172"/>
                    <a:pt x="189" y="172"/>
                  </a:cubicBezTo>
                  <a:cubicBezTo>
                    <a:pt x="189" y="238"/>
                    <a:pt x="189" y="238"/>
                    <a:pt x="189" y="238"/>
                  </a:cubicBezTo>
                  <a:cubicBezTo>
                    <a:pt x="189" y="515"/>
                    <a:pt x="189" y="515"/>
                    <a:pt x="189" y="515"/>
                  </a:cubicBezTo>
                  <a:cubicBezTo>
                    <a:pt x="289" y="515"/>
                    <a:pt x="289" y="515"/>
                    <a:pt x="289" y="515"/>
                  </a:cubicBezTo>
                  <a:cubicBezTo>
                    <a:pt x="289" y="345"/>
                    <a:pt x="289" y="345"/>
                    <a:pt x="289" y="345"/>
                  </a:cubicBezTo>
                  <a:cubicBezTo>
                    <a:pt x="289" y="300"/>
                    <a:pt x="298" y="257"/>
                    <a:pt x="353" y="257"/>
                  </a:cubicBezTo>
                  <a:cubicBezTo>
                    <a:pt x="408" y="257"/>
                    <a:pt x="412" y="308"/>
                    <a:pt x="412" y="348"/>
                  </a:cubicBezTo>
                  <a:cubicBezTo>
                    <a:pt x="412" y="515"/>
                    <a:pt x="412" y="515"/>
                    <a:pt x="412" y="515"/>
                  </a:cubicBezTo>
                  <a:cubicBezTo>
                    <a:pt x="515" y="515"/>
                    <a:pt x="515" y="515"/>
                    <a:pt x="515" y="515"/>
                  </a:cubicBezTo>
                  <a:cubicBezTo>
                    <a:pt x="515" y="326"/>
                    <a:pt x="515" y="326"/>
                    <a:pt x="515" y="326"/>
                  </a:cubicBezTo>
                  <a:cubicBezTo>
                    <a:pt x="515" y="309"/>
                    <a:pt x="514" y="292"/>
                    <a:pt x="512" y="277"/>
                  </a:cubicBezTo>
                  <a:close/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27" y="120"/>
                    <a:pt x="60" y="120"/>
                  </a:cubicBezTo>
                  <a:cubicBezTo>
                    <a:pt x="94" y="120"/>
                    <a:pt x="120" y="93"/>
                    <a:pt x="120" y="60"/>
                  </a:cubicBezTo>
                  <a:cubicBezTo>
                    <a:pt x="120" y="27"/>
                    <a:pt x="94" y="0"/>
                    <a:pt x="6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767554" y="2789469"/>
            <a:ext cx="853421" cy="853421"/>
            <a:chOff x="4767554" y="2789469"/>
            <a:chExt cx="853421" cy="853421"/>
          </a:xfrm>
        </p:grpSpPr>
        <p:sp>
          <p:nvSpPr>
            <p:cNvPr id="71" name="Oval 70"/>
            <p:cNvSpPr/>
            <p:nvPr/>
          </p:nvSpPr>
          <p:spPr>
            <a:xfrm>
              <a:off x="4767554" y="2789469"/>
              <a:ext cx="853421" cy="85342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2" name="Freeform 15"/>
            <p:cNvSpPr>
              <a:spLocks/>
            </p:cNvSpPr>
            <p:nvPr/>
          </p:nvSpPr>
          <p:spPr bwMode="auto">
            <a:xfrm>
              <a:off x="4987111" y="3050562"/>
              <a:ext cx="414307" cy="331235"/>
            </a:xfrm>
            <a:custGeom>
              <a:avLst/>
              <a:gdLst>
                <a:gd name="T0" fmla="*/ 582 w 582"/>
                <a:gd name="T1" fmla="*/ 56 h 466"/>
                <a:gd name="T2" fmla="*/ 513 w 582"/>
                <a:gd name="T3" fmla="*/ 74 h 466"/>
                <a:gd name="T4" fmla="*/ 566 w 582"/>
                <a:gd name="T5" fmla="*/ 9 h 466"/>
                <a:gd name="T6" fmla="*/ 490 w 582"/>
                <a:gd name="T7" fmla="*/ 38 h 466"/>
                <a:gd name="T8" fmla="*/ 403 w 582"/>
                <a:gd name="T9" fmla="*/ 0 h 466"/>
                <a:gd name="T10" fmla="*/ 283 w 582"/>
                <a:gd name="T11" fmla="*/ 118 h 466"/>
                <a:gd name="T12" fmla="*/ 287 w 582"/>
                <a:gd name="T13" fmla="*/ 145 h 466"/>
                <a:gd name="T14" fmla="*/ 40 w 582"/>
                <a:gd name="T15" fmla="*/ 22 h 466"/>
                <a:gd name="T16" fmla="*/ 24 w 582"/>
                <a:gd name="T17" fmla="*/ 81 h 466"/>
                <a:gd name="T18" fmla="*/ 77 w 582"/>
                <a:gd name="T19" fmla="*/ 179 h 466"/>
                <a:gd name="T20" fmla="*/ 23 w 582"/>
                <a:gd name="T21" fmla="*/ 164 h 466"/>
                <a:gd name="T22" fmla="*/ 23 w 582"/>
                <a:gd name="T23" fmla="*/ 166 h 466"/>
                <a:gd name="T24" fmla="*/ 31 w 582"/>
                <a:gd name="T25" fmla="*/ 208 h 466"/>
                <a:gd name="T26" fmla="*/ 119 w 582"/>
                <a:gd name="T27" fmla="*/ 281 h 466"/>
                <a:gd name="T28" fmla="*/ 87 w 582"/>
                <a:gd name="T29" fmla="*/ 285 h 466"/>
                <a:gd name="T30" fmla="*/ 65 w 582"/>
                <a:gd name="T31" fmla="*/ 283 h 466"/>
                <a:gd name="T32" fmla="*/ 177 w 582"/>
                <a:gd name="T33" fmla="*/ 365 h 466"/>
                <a:gd name="T34" fmla="*/ 28 w 582"/>
                <a:gd name="T35" fmla="*/ 415 h 466"/>
                <a:gd name="T36" fmla="*/ 0 w 582"/>
                <a:gd name="T37" fmla="*/ 413 h 466"/>
                <a:gd name="T38" fmla="*/ 183 w 582"/>
                <a:gd name="T39" fmla="*/ 466 h 466"/>
                <a:gd name="T40" fmla="*/ 515 w 582"/>
                <a:gd name="T41" fmla="*/ 203 h 466"/>
                <a:gd name="T42" fmla="*/ 523 w 582"/>
                <a:gd name="T43" fmla="*/ 132 h 466"/>
                <a:gd name="T44" fmla="*/ 523 w 582"/>
                <a:gd name="T45" fmla="*/ 117 h 466"/>
                <a:gd name="T46" fmla="*/ 582 w 582"/>
                <a:gd name="T47" fmla="*/ 5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82" h="466">
                  <a:moveTo>
                    <a:pt x="582" y="56"/>
                  </a:moveTo>
                  <a:cubicBezTo>
                    <a:pt x="561" y="65"/>
                    <a:pt x="538" y="71"/>
                    <a:pt x="513" y="74"/>
                  </a:cubicBezTo>
                  <a:cubicBezTo>
                    <a:pt x="538" y="59"/>
                    <a:pt x="557" y="37"/>
                    <a:pt x="566" y="9"/>
                  </a:cubicBezTo>
                  <a:cubicBezTo>
                    <a:pt x="543" y="22"/>
                    <a:pt x="517" y="32"/>
                    <a:pt x="490" y="38"/>
                  </a:cubicBezTo>
                  <a:cubicBezTo>
                    <a:pt x="469" y="15"/>
                    <a:pt x="437" y="0"/>
                    <a:pt x="403" y="0"/>
                  </a:cubicBezTo>
                  <a:cubicBezTo>
                    <a:pt x="337" y="0"/>
                    <a:pt x="283" y="53"/>
                    <a:pt x="283" y="118"/>
                  </a:cubicBezTo>
                  <a:cubicBezTo>
                    <a:pt x="283" y="127"/>
                    <a:pt x="285" y="136"/>
                    <a:pt x="287" y="145"/>
                  </a:cubicBezTo>
                  <a:cubicBezTo>
                    <a:pt x="187" y="140"/>
                    <a:pt x="99" y="93"/>
                    <a:pt x="40" y="22"/>
                  </a:cubicBezTo>
                  <a:cubicBezTo>
                    <a:pt x="30" y="40"/>
                    <a:pt x="24" y="59"/>
                    <a:pt x="24" y="81"/>
                  </a:cubicBezTo>
                  <a:cubicBezTo>
                    <a:pt x="24" y="122"/>
                    <a:pt x="45" y="158"/>
                    <a:pt x="77" y="179"/>
                  </a:cubicBezTo>
                  <a:cubicBezTo>
                    <a:pt x="57" y="178"/>
                    <a:pt x="39" y="173"/>
                    <a:pt x="23" y="164"/>
                  </a:cubicBezTo>
                  <a:cubicBezTo>
                    <a:pt x="23" y="165"/>
                    <a:pt x="23" y="165"/>
                    <a:pt x="23" y="166"/>
                  </a:cubicBezTo>
                  <a:cubicBezTo>
                    <a:pt x="23" y="181"/>
                    <a:pt x="26" y="195"/>
                    <a:pt x="31" y="208"/>
                  </a:cubicBezTo>
                  <a:cubicBezTo>
                    <a:pt x="46" y="245"/>
                    <a:pt x="79" y="273"/>
                    <a:pt x="119" y="281"/>
                  </a:cubicBezTo>
                  <a:cubicBezTo>
                    <a:pt x="109" y="284"/>
                    <a:pt x="99" y="285"/>
                    <a:pt x="87" y="285"/>
                  </a:cubicBezTo>
                  <a:cubicBezTo>
                    <a:pt x="80" y="285"/>
                    <a:pt x="72" y="284"/>
                    <a:pt x="65" y="283"/>
                  </a:cubicBezTo>
                  <a:cubicBezTo>
                    <a:pt x="81" y="329"/>
                    <a:pt x="124" y="364"/>
                    <a:pt x="177" y="365"/>
                  </a:cubicBezTo>
                  <a:cubicBezTo>
                    <a:pt x="135" y="396"/>
                    <a:pt x="84" y="415"/>
                    <a:pt x="28" y="415"/>
                  </a:cubicBezTo>
                  <a:cubicBezTo>
                    <a:pt x="19" y="415"/>
                    <a:pt x="9" y="414"/>
                    <a:pt x="0" y="413"/>
                  </a:cubicBezTo>
                  <a:cubicBezTo>
                    <a:pt x="53" y="447"/>
                    <a:pt x="116" y="466"/>
                    <a:pt x="183" y="466"/>
                  </a:cubicBezTo>
                  <a:cubicBezTo>
                    <a:pt x="369" y="466"/>
                    <a:pt x="485" y="337"/>
                    <a:pt x="515" y="203"/>
                  </a:cubicBezTo>
                  <a:cubicBezTo>
                    <a:pt x="520" y="179"/>
                    <a:pt x="523" y="155"/>
                    <a:pt x="523" y="132"/>
                  </a:cubicBezTo>
                  <a:cubicBezTo>
                    <a:pt x="523" y="127"/>
                    <a:pt x="523" y="121"/>
                    <a:pt x="523" y="117"/>
                  </a:cubicBezTo>
                  <a:cubicBezTo>
                    <a:pt x="546" y="100"/>
                    <a:pt x="566" y="79"/>
                    <a:pt x="582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918900" y="1539942"/>
            <a:ext cx="564935" cy="564934"/>
            <a:chOff x="5918900" y="1539942"/>
            <a:chExt cx="564935" cy="564934"/>
          </a:xfrm>
        </p:grpSpPr>
        <p:sp>
          <p:nvSpPr>
            <p:cNvPr id="69" name="Oval 68"/>
            <p:cNvSpPr/>
            <p:nvPr/>
          </p:nvSpPr>
          <p:spPr>
            <a:xfrm>
              <a:off x="5918900" y="1539942"/>
              <a:ext cx="564935" cy="56493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0" name="Freeform 17"/>
            <p:cNvSpPr>
              <a:spLocks/>
            </p:cNvSpPr>
            <p:nvPr/>
          </p:nvSpPr>
          <p:spPr bwMode="auto">
            <a:xfrm>
              <a:off x="6052103" y="1683580"/>
              <a:ext cx="302693" cy="281290"/>
            </a:xfrm>
            <a:custGeom>
              <a:avLst/>
              <a:gdLst>
                <a:gd name="T0" fmla="*/ 578 w 585"/>
                <a:gd name="T1" fmla="*/ 414 h 544"/>
                <a:gd name="T2" fmla="*/ 577 w 585"/>
                <a:gd name="T3" fmla="*/ 414 h 544"/>
                <a:gd name="T4" fmla="*/ 558 w 585"/>
                <a:gd name="T5" fmla="*/ 407 h 544"/>
                <a:gd name="T6" fmla="*/ 482 w 585"/>
                <a:gd name="T7" fmla="*/ 352 h 544"/>
                <a:gd name="T8" fmla="*/ 456 w 585"/>
                <a:gd name="T9" fmla="*/ 306 h 544"/>
                <a:gd name="T10" fmla="*/ 458 w 585"/>
                <a:gd name="T11" fmla="*/ 287 h 544"/>
                <a:gd name="T12" fmla="*/ 483 w 585"/>
                <a:gd name="T13" fmla="*/ 270 h 544"/>
                <a:gd name="T14" fmla="*/ 519 w 585"/>
                <a:gd name="T15" fmla="*/ 252 h 544"/>
                <a:gd name="T16" fmla="*/ 525 w 585"/>
                <a:gd name="T17" fmla="*/ 242 h 544"/>
                <a:gd name="T18" fmla="*/ 524 w 585"/>
                <a:gd name="T19" fmla="*/ 233 h 544"/>
                <a:gd name="T20" fmla="*/ 512 w 585"/>
                <a:gd name="T21" fmla="*/ 221 h 544"/>
                <a:gd name="T22" fmla="*/ 491 w 585"/>
                <a:gd name="T23" fmla="*/ 219 h 544"/>
                <a:gd name="T24" fmla="*/ 472 w 585"/>
                <a:gd name="T25" fmla="*/ 225 h 544"/>
                <a:gd name="T26" fmla="*/ 450 w 585"/>
                <a:gd name="T27" fmla="*/ 220 h 544"/>
                <a:gd name="T28" fmla="*/ 451 w 585"/>
                <a:gd name="T29" fmla="*/ 180 h 544"/>
                <a:gd name="T30" fmla="*/ 449 w 585"/>
                <a:gd name="T31" fmla="*/ 116 h 544"/>
                <a:gd name="T32" fmla="*/ 389 w 585"/>
                <a:gd name="T33" fmla="*/ 27 h 544"/>
                <a:gd name="T34" fmla="*/ 316 w 585"/>
                <a:gd name="T35" fmla="*/ 1 h 544"/>
                <a:gd name="T36" fmla="*/ 189 w 585"/>
                <a:gd name="T37" fmla="*/ 32 h 544"/>
                <a:gd name="T38" fmla="*/ 140 w 585"/>
                <a:gd name="T39" fmla="*/ 96 h 544"/>
                <a:gd name="T40" fmla="*/ 133 w 585"/>
                <a:gd name="T41" fmla="*/ 173 h 544"/>
                <a:gd name="T42" fmla="*/ 133 w 585"/>
                <a:gd name="T43" fmla="*/ 225 h 544"/>
                <a:gd name="T44" fmla="*/ 108 w 585"/>
                <a:gd name="T45" fmla="*/ 225 h 544"/>
                <a:gd name="T46" fmla="*/ 88 w 585"/>
                <a:gd name="T47" fmla="*/ 219 h 544"/>
                <a:gd name="T48" fmla="*/ 69 w 585"/>
                <a:gd name="T49" fmla="*/ 223 h 544"/>
                <a:gd name="T50" fmla="*/ 59 w 585"/>
                <a:gd name="T51" fmla="*/ 240 h 544"/>
                <a:gd name="T52" fmla="*/ 59 w 585"/>
                <a:gd name="T53" fmla="*/ 241 h 544"/>
                <a:gd name="T54" fmla="*/ 72 w 585"/>
                <a:gd name="T55" fmla="*/ 256 h 544"/>
                <a:gd name="T56" fmla="*/ 112 w 585"/>
                <a:gd name="T57" fmla="*/ 274 h 544"/>
                <a:gd name="T58" fmla="*/ 129 w 585"/>
                <a:gd name="T59" fmla="*/ 291 h 544"/>
                <a:gd name="T60" fmla="*/ 122 w 585"/>
                <a:gd name="T61" fmla="*/ 321 h 544"/>
                <a:gd name="T62" fmla="*/ 19 w 585"/>
                <a:gd name="T63" fmla="*/ 409 h 544"/>
                <a:gd name="T64" fmla="*/ 2 w 585"/>
                <a:gd name="T65" fmla="*/ 419 h 544"/>
                <a:gd name="T66" fmla="*/ 4 w 585"/>
                <a:gd name="T67" fmla="*/ 433 h 544"/>
                <a:gd name="T68" fmla="*/ 11 w 585"/>
                <a:gd name="T69" fmla="*/ 438 h 544"/>
                <a:gd name="T70" fmla="*/ 52 w 585"/>
                <a:gd name="T71" fmla="*/ 452 h 544"/>
                <a:gd name="T72" fmla="*/ 80 w 585"/>
                <a:gd name="T73" fmla="*/ 466 h 544"/>
                <a:gd name="T74" fmla="*/ 92 w 585"/>
                <a:gd name="T75" fmla="*/ 495 h 544"/>
                <a:gd name="T76" fmla="*/ 102 w 585"/>
                <a:gd name="T77" fmla="*/ 494 h 544"/>
                <a:gd name="T78" fmla="*/ 166 w 585"/>
                <a:gd name="T79" fmla="*/ 492 h 544"/>
                <a:gd name="T80" fmla="*/ 227 w 585"/>
                <a:gd name="T81" fmla="*/ 525 h 544"/>
                <a:gd name="T82" fmla="*/ 275 w 585"/>
                <a:gd name="T83" fmla="*/ 543 h 544"/>
                <a:gd name="T84" fmla="*/ 316 w 585"/>
                <a:gd name="T85" fmla="*/ 542 h 544"/>
                <a:gd name="T86" fmla="*/ 349 w 585"/>
                <a:gd name="T87" fmla="*/ 530 h 544"/>
                <a:gd name="T88" fmla="*/ 411 w 585"/>
                <a:gd name="T89" fmla="*/ 494 h 544"/>
                <a:gd name="T90" fmla="*/ 436 w 585"/>
                <a:gd name="T91" fmla="*/ 491 h 544"/>
                <a:gd name="T92" fmla="*/ 491 w 585"/>
                <a:gd name="T93" fmla="*/ 494 h 544"/>
                <a:gd name="T94" fmla="*/ 499 w 585"/>
                <a:gd name="T95" fmla="*/ 486 h 544"/>
                <a:gd name="T96" fmla="*/ 500 w 585"/>
                <a:gd name="T97" fmla="*/ 484 h 544"/>
                <a:gd name="T98" fmla="*/ 521 w 585"/>
                <a:gd name="T99" fmla="*/ 455 h 544"/>
                <a:gd name="T100" fmla="*/ 564 w 585"/>
                <a:gd name="T101" fmla="*/ 443 h 544"/>
                <a:gd name="T102" fmla="*/ 581 w 585"/>
                <a:gd name="T103" fmla="*/ 432 h 544"/>
                <a:gd name="T104" fmla="*/ 581 w 585"/>
                <a:gd name="T105" fmla="*/ 432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5" h="544">
                  <a:moveTo>
                    <a:pt x="578" y="414"/>
                  </a:moveTo>
                  <a:cubicBezTo>
                    <a:pt x="578" y="414"/>
                    <a:pt x="578" y="414"/>
                    <a:pt x="578" y="414"/>
                  </a:cubicBezTo>
                  <a:cubicBezTo>
                    <a:pt x="577" y="414"/>
                    <a:pt x="577" y="414"/>
                    <a:pt x="577" y="414"/>
                  </a:cubicBezTo>
                  <a:cubicBezTo>
                    <a:pt x="577" y="414"/>
                    <a:pt x="577" y="414"/>
                    <a:pt x="577" y="414"/>
                  </a:cubicBezTo>
                  <a:cubicBezTo>
                    <a:pt x="577" y="414"/>
                    <a:pt x="577" y="414"/>
                    <a:pt x="577" y="414"/>
                  </a:cubicBezTo>
                  <a:cubicBezTo>
                    <a:pt x="570" y="409"/>
                    <a:pt x="563" y="408"/>
                    <a:pt x="558" y="407"/>
                  </a:cubicBezTo>
                  <a:cubicBezTo>
                    <a:pt x="558" y="407"/>
                    <a:pt x="558" y="407"/>
                    <a:pt x="558" y="407"/>
                  </a:cubicBezTo>
                  <a:cubicBezTo>
                    <a:pt x="528" y="397"/>
                    <a:pt x="502" y="377"/>
                    <a:pt x="482" y="352"/>
                  </a:cubicBezTo>
                  <a:cubicBezTo>
                    <a:pt x="472" y="337"/>
                    <a:pt x="462" y="322"/>
                    <a:pt x="456" y="306"/>
                  </a:cubicBezTo>
                  <a:cubicBezTo>
                    <a:pt x="456" y="306"/>
                    <a:pt x="456" y="306"/>
                    <a:pt x="456" y="306"/>
                  </a:cubicBezTo>
                  <a:cubicBezTo>
                    <a:pt x="453" y="299"/>
                    <a:pt x="453" y="291"/>
                    <a:pt x="457" y="287"/>
                  </a:cubicBezTo>
                  <a:cubicBezTo>
                    <a:pt x="458" y="287"/>
                    <a:pt x="458" y="287"/>
                    <a:pt x="458" y="287"/>
                  </a:cubicBezTo>
                  <a:cubicBezTo>
                    <a:pt x="463" y="279"/>
                    <a:pt x="473" y="274"/>
                    <a:pt x="483" y="270"/>
                  </a:cubicBezTo>
                  <a:cubicBezTo>
                    <a:pt x="483" y="270"/>
                    <a:pt x="483" y="270"/>
                    <a:pt x="483" y="270"/>
                  </a:cubicBezTo>
                  <a:cubicBezTo>
                    <a:pt x="495" y="266"/>
                    <a:pt x="508" y="261"/>
                    <a:pt x="519" y="252"/>
                  </a:cubicBezTo>
                  <a:cubicBezTo>
                    <a:pt x="519" y="252"/>
                    <a:pt x="519" y="252"/>
                    <a:pt x="519" y="252"/>
                  </a:cubicBezTo>
                  <a:cubicBezTo>
                    <a:pt x="521" y="250"/>
                    <a:pt x="523" y="248"/>
                    <a:pt x="524" y="245"/>
                  </a:cubicBezTo>
                  <a:cubicBezTo>
                    <a:pt x="524" y="244"/>
                    <a:pt x="525" y="243"/>
                    <a:pt x="525" y="242"/>
                  </a:cubicBezTo>
                  <a:cubicBezTo>
                    <a:pt x="526" y="240"/>
                    <a:pt x="526" y="236"/>
                    <a:pt x="524" y="233"/>
                  </a:cubicBezTo>
                  <a:cubicBezTo>
                    <a:pt x="524" y="233"/>
                    <a:pt x="524" y="233"/>
                    <a:pt x="524" y="233"/>
                  </a:cubicBezTo>
                  <a:cubicBezTo>
                    <a:pt x="521" y="227"/>
                    <a:pt x="516" y="224"/>
                    <a:pt x="512" y="221"/>
                  </a:cubicBezTo>
                  <a:cubicBezTo>
                    <a:pt x="512" y="221"/>
                    <a:pt x="512" y="221"/>
                    <a:pt x="512" y="221"/>
                  </a:cubicBezTo>
                  <a:cubicBezTo>
                    <a:pt x="505" y="217"/>
                    <a:pt x="497" y="217"/>
                    <a:pt x="491" y="219"/>
                  </a:cubicBezTo>
                  <a:cubicBezTo>
                    <a:pt x="491" y="219"/>
                    <a:pt x="491" y="219"/>
                    <a:pt x="491" y="219"/>
                  </a:cubicBezTo>
                  <a:cubicBezTo>
                    <a:pt x="483" y="222"/>
                    <a:pt x="477" y="224"/>
                    <a:pt x="472" y="225"/>
                  </a:cubicBezTo>
                  <a:cubicBezTo>
                    <a:pt x="472" y="225"/>
                    <a:pt x="472" y="225"/>
                    <a:pt x="472" y="225"/>
                  </a:cubicBezTo>
                  <a:cubicBezTo>
                    <a:pt x="464" y="226"/>
                    <a:pt x="456" y="227"/>
                    <a:pt x="450" y="225"/>
                  </a:cubicBezTo>
                  <a:cubicBezTo>
                    <a:pt x="450" y="224"/>
                    <a:pt x="450" y="222"/>
                    <a:pt x="450" y="220"/>
                  </a:cubicBezTo>
                  <a:cubicBezTo>
                    <a:pt x="450" y="220"/>
                    <a:pt x="450" y="220"/>
                    <a:pt x="450" y="220"/>
                  </a:cubicBezTo>
                  <a:cubicBezTo>
                    <a:pt x="450" y="207"/>
                    <a:pt x="451" y="194"/>
                    <a:pt x="451" y="180"/>
                  </a:cubicBezTo>
                  <a:cubicBezTo>
                    <a:pt x="451" y="180"/>
                    <a:pt x="451" y="180"/>
                    <a:pt x="451" y="180"/>
                  </a:cubicBezTo>
                  <a:cubicBezTo>
                    <a:pt x="451" y="159"/>
                    <a:pt x="452" y="138"/>
                    <a:pt x="449" y="116"/>
                  </a:cubicBezTo>
                  <a:cubicBezTo>
                    <a:pt x="449" y="115"/>
                    <a:pt x="449" y="115"/>
                    <a:pt x="449" y="115"/>
                  </a:cubicBezTo>
                  <a:cubicBezTo>
                    <a:pt x="442" y="79"/>
                    <a:pt x="419" y="48"/>
                    <a:pt x="389" y="27"/>
                  </a:cubicBezTo>
                  <a:cubicBezTo>
                    <a:pt x="368" y="12"/>
                    <a:pt x="342" y="3"/>
                    <a:pt x="316" y="1"/>
                  </a:cubicBezTo>
                  <a:cubicBezTo>
                    <a:pt x="316" y="1"/>
                    <a:pt x="316" y="1"/>
                    <a:pt x="316" y="1"/>
                  </a:cubicBezTo>
                  <a:cubicBezTo>
                    <a:pt x="307" y="0"/>
                    <a:pt x="298" y="0"/>
                    <a:pt x="289" y="0"/>
                  </a:cubicBezTo>
                  <a:cubicBezTo>
                    <a:pt x="254" y="0"/>
                    <a:pt x="218" y="9"/>
                    <a:pt x="189" y="32"/>
                  </a:cubicBezTo>
                  <a:cubicBezTo>
                    <a:pt x="168" y="48"/>
                    <a:pt x="151" y="70"/>
                    <a:pt x="140" y="95"/>
                  </a:cubicBezTo>
                  <a:cubicBezTo>
                    <a:pt x="140" y="95"/>
                    <a:pt x="140" y="95"/>
                    <a:pt x="140" y="96"/>
                  </a:cubicBezTo>
                  <a:cubicBezTo>
                    <a:pt x="130" y="121"/>
                    <a:pt x="131" y="148"/>
                    <a:pt x="133" y="173"/>
                  </a:cubicBezTo>
                  <a:cubicBezTo>
                    <a:pt x="133" y="173"/>
                    <a:pt x="133" y="173"/>
                    <a:pt x="133" y="173"/>
                  </a:cubicBezTo>
                  <a:cubicBezTo>
                    <a:pt x="133" y="191"/>
                    <a:pt x="135" y="208"/>
                    <a:pt x="134" y="224"/>
                  </a:cubicBezTo>
                  <a:cubicBezTo>
                    <a:pt x="134" y="225"/>
                    <a:pt x="134" y="225"/>
                    <a:pt x="133" y="225"/>
                  </a:cubicBezTo>
                  <a:cubicBezTo>
                    <a:pt x="125" y="227"/>
                    <a:pt x="117" y="226"/>
                    <a:pt x="108" y="225"/>
                  </a:cubicBezTo>
                  <a:cubicBezTo>
                    <a:pt x="108" y="225"/>
                    <a:pt x="108" y="225"/>
                    <a:pt x="108" y="225"/>
                  </a:cubicBezTo>
                  <a:cubicBezTo>
                    <a:pt x="102" y="224"/>
                    <a:pt x="96" y="221"/>
                    <a:pt x="89" y="219"/>
                  </a:cubicBezTo>
                  <a:cubicBezTo>
                    <a:pt x="89" y="219"/>
                    <a:pt x="89" y="219"/>
                    <a:pt x="88" y="219"/>
                  </a:cubicBezTo>
                  <a:cubicBezTo>
                    <a:pt x="82" y="217"/>
                    <a:pt x="75" y="219"/>
                    <a:pt x="70" y="223"/>
                  </a:cubicBezTo>
                  <a:cubicBezTo>
                    <a:pt x="69" y="223"/>
                    <a:pt x="69" y="223"/>
                    <a:pt x="69" y="223"/>
                  </a:cubicBezTo>
                  <a:cubicBezTo>
                    <a:pt x="69" y="224"/>
                    <a:pt x="69" y="224"/>
                    <a:pt x="69" y="224"/>
                  </a:cubicBezTo>
                  <a:cubicBezTo>
                    <a:pt x="65" y="227"/>
                    <a:pt x="59" y="231"/>
                    <a:pt x="59" y="240"/>
                  </a:cubicBezTo>
                  <a:cubicBezTo>
                    <a:pt x="59" y="240"/>
                    <a:pt x="59" y="240"/>
                    <a:pt x="59" y="241"/>
                  </a:cubicBezTo>
                  <a:cubicBezTo>
                    <a:pt x="59" y="241"/>
                    <a:pt x="59" y="241"/>
                    <a:pt x="59" y="241"/>
                  </a:cubicBezTo>
                  <a:cubicBezTo>
                    <a:pt x="60" y="246"/>
                    <a:pt x="63" y="249"/>
                    <a:pt x="66" y="251"/>
                  </a:cubicBezTo>
                  <a:cubicBezTo>
                    <a:pt x="68" y="253"/>
                    <a:pt x="70" y="255"/>
                    <a:pt x="72" y="256"/>
                  </a:cubicBezTo>
                  <a:cubicBezTo>
                    <a:pt x="72" y="257"/>
                    <a:pt x="72" y="257"/>
                    <a:pt x="72" y="257"/>
                  </a:cubicBezTo>
                  <a:cubicBezTo>
                    <a:pt x="86" y="265"/>
                    <a:pt x="100" y="269"/>
                    <a:pt x="112" y="274"/>
                  </a:cubicBezTo>
                  <a:cubicBezTo>
                    <a:pt x="112" y="274"/>
                    <a:pt x="112" y="274"/>
                    <a:pt x="112" y="274"/>
                  </a:cubicBezTo>
                  <a:cubicBezTo>
                    <a:pt x="121" y="277"/>
                    <a:pt x="128" y="283"/>
                    <a:pt x="129" y="291"/>
                  </a:cubicBezTo>
                  <a:cubicBezTo>
                    <a:pt x="132" y="300"/>
                    <a:pt x="128" y="311"/>
                    <a:pt x="122" y="321"/>
                  </a:cubicBezTo>
                  <a:cubicBezTo>
                    <a:pt x="122" y="321"/>
                    <a:pt x="122" y="321"/>
                    <a:pt x="122" y="321"/>
                  </a:cubicBezTo>
                  <a:cubicBezTo>
                    <a:pt x="109" y="348"/>
                    <a:pt x="88" y="372"/>
                    <a:pt x="62" y="390"/>
                  </a:cubicBezTo>
                  <a:cubicBezTo>
                    <a:pt x="50" y="398"/>
                    <a:pt x="34" y="405"/>
                    <a:pt x="19" y="409"/>
                  </a:cubicBezTo>
                  <a:cubicBezTo>
                    <a:pt x="18" y="409"/>
                    <a:pt x="18" y="409"/>
                    <a:pt x="18" y="409"/>
                  </a:cubicBezTo>
                  <a:cubicBezTo>
                    <a:pt x="15" y="411"/>
                    <a:pt x="7" y="412"/>
                    <a:pt x="2" y="419"/>
                  </a:cubicBezTo>
                  <a:cubicBezTo>
                    <a:pt x="2" y="419"/>
                    <a:pt x="2" y="420"/>
                    <a:pt x="2" y="421"/>
                  </a:cubicBezTo>
                  <a:cubicBezTo>
                    <a:pt x="0" y="425"/>
                    <a:pt x="2" y="430"/>
                    <a:pt x="4" y="433"/>
                  </a:cubicBezTo>
                  <a:cubicBezTo>
                    <a:pt x="6" y="435"/>
                    <a:pt x="8" y="437"/>
                    <a:pt x="11" y="438"/>
                  </a:cubicBezTo>
                  <a:cubicBezTo>
                    <a:pt x="11" y="438"/>
                    <a:pt x="11" y="438"/>
                    <a:pt x="11" y="438"/>
                  </a:cubicBezTo>
                  <a:cubicBezTo>
                    <a:pt x="24" y="446"/>
                    <a:pt x="39" y="449"/>
                    <a:pt x="52" y="452"/>
                  </a:cubicBezTo>
                  <a:cubicBezTo>
                    <a:pt x="52" y="452"/>
                    <a:pt x="52" y="452"/>
                    <a:pt x="52" y="452"/>
                  </a:cubicBezTo>
                  <a:cubicBezTo>
                    <a:pt x="62" y="455"/>
                    <a:pt x="70" y="456"/>
                    <a:pt x="77" y="459"/>
                  </a:cubicBezTo>
                  <a:cubicBezTo>
                    <a:pt x="78" y="459"/>
                    <a:pt x="79" y="462"/>
                    <a:pt x="80" y="466"/>
                  </a:cubicBezTo>
                  <a:cubicBezTo>
                    <a:pt x="83" y="473"/>
                    <a:pt x="84" y="482"/>
                    <a:pt x="86" y="491"/>
                  </a:cubicBezTo>
                  <a:cubicBezTo>
                    <a:pt x="87" y="493"/>
                    <a:pt x="89" y="495"/>
                    <a:pt x="92" y="495"/>
                  </a:cubicBezTo>
                  <a:cubicBezTo>
                    <a:pt x="98" y="497"/>
                    <a:pt x="101" y="495"/>
                    <a:pt x="102" y="495"/>
                  </a:cubicBezTo>
                  <a:cubicBezTo>
                    <a:pt x="102" y="495"/>
                    <a:pt x="102" y="495"/>
                    <a:pt x="102" y="494"/>
                  </a:cubicBezTo>
                  <a:cubicBezTo>
                    <a:pt x="124" y="491"/>
                    <a:pt x="146" y="487"/>
                    <a:pt x="166" y="492"/>
                  </a:cubicBezTo>
                  <a:cubicBezTo>
                    <a:pt x="166" y="492"/>
                    <a:pt x="166" y="492"/>
                    <a:pt x="166" y="492"/>
                  </a:cubicBezTo>
                  <a:cubicBezTo>
                    <a:pt x="188" y="498"/>
                    <a:pt x="206" y="512"/>
                    <a:pt x="227" y="525"/>
                  </a:cubicBezTo>
                  <a:cubicBezTo>
                    <a:pt x="227" y="525"/>
                    <a:pt x="227" y="525"/>
                    <a:pt x="227" y="525"/>
                  </a:cubicBezTo>
                  <a:cubicBezTo>
                    <a:pt x="241" y="534"/>
                    <a:pt x="257" y="542"/>
                    <a:pt x="275" y="543"/>
                  </a:cubicBezTo>
                  <a:cubicBezTo>
                    <a:pt x="275" y="543"/>
                    <a:pt x="275" y="543"/>
                    <a:pt x="275" y="543"/>
                  </a:cubicBezTo>
                  <a:cubicBezTo>
                    <a:pt x="289" y="544"/>
                    <a:pt x="302" y="543"/>
                    <a:pt x="316" y="542"/>
                  </a:cubicBezTo>
                  <a:cubicBezTo>
                    <a:pt x="316" y="542"/>
                    <a:pt x="316" y="542"/>
                    <a:pt x="316" y="542"/>
                  </a:cubicBezTo>
                  <a:cubicBezTo>
                    <a:pt x="328" y="541"/>
                    <a:pt x="338" y="537"/>
                    <a:pt x="348" y="531"/>
                  </a:cubicBezTo>
                  <a:cubicBezTo>
                    <a:pt x="349" y="530"/>
                    <a:pt x="349" y="530"/>
                    <a:pt x="349" y="530"/>
                  </a:cubicBezTo>
                  <a:cubicBezTo>
                    <a:pt x="371" y="518"/>
                    <a:pt x="390" y="503"/>
                    <a:pt x="411" y="494"/>
                  </a:cubicBezTo>
                  <a:cubicBezTo>
                    <a:pt x="411" y="494"/>
                    <a:pt x="411" y="494"/>
                    <a:pt x="411" y="494"/>
                  </a:cubicBezTo>
                  <a:cubicBezTo>
                    <a:pt x="418" y="492"/>
                    <a:pt x="427" y="492"/>
                    <a:pt x="436" y="491"/>
                  </a:cubicBezTo>
                  <a:cubicBezTo>
                    <a:pt x="436" y="491"/>
                    <a:pt x="436" y="491"/>
                    <a:pt x="436" y="491"/>
                  </a:cubicBezTo>
                  <a:cubicBezTo>
                    <a:pt x="454" y="491"/>
                    <a:pt x="472" y="492"/>
                    <a:pt x="489" y="494"/>
                  </a:cubicBezTo>
                  <a:cubicBezTo>
                    <a:pt x="490" y="494"/>
                    <a:pt x="491" y="494"/>
                    <a:pt x="491" y="494"/>
                  </a:cubicBezTo>
                  <a:cubicBezTo>
                    <a:pt x="494" y="493"/>
                    <a:pt x="496" y="492"/>
                    <a:pt x="497" y="491"/>
                  </a:cubicBezTo>
                  <a:cubicBezTo>
                    <a:pt x="498" y="489"/>
                    <a:pt x="498" y="487"/>
                    <a:pt x="499" y="486"/>
                  </a:cubicBezTo>
                  <a:cubicBezTo>
                    <a:pt x="500" y="485"/>
                    <a:pt x="500" y="484"/>
                    <a:pt x="499" y="486"/>
                  </a:cubicBezTo>
                  <a:cubicBezTo>
                    <a:pt x="500" y="485"/>
                    <a:pt x="500" y="485"/>
                    <a:pt x="500" y="484"/>
                  </a:cubicBezTo>
                  <a:cubicBezTo>
                    <a:pt x="503" y="474"/>
                    <a:pt x="505" y="464"/>
                    <a:pt x="510" y="458"/>
                  </a:cubicBezTo>
                  <a:cubicBezTo>
                    <a:pt x="512" y="456"/>
                    <a:pt x="516" y="455"/>
                    <a:pt x="521" y="455"/>
                  </a:cubicBezTo>
                  <a:cubicBezTo>
                    <a:pt x="521" y="455"/>
                    <a:pt x="521" y="455"/>
                    <a:pt x="522" y="455"/>
                  </a:cubicBezTo>
                  <a:cubicBezTo>
                    <a:pt x="537" y="453"/>
                    <a:pt x="551" y="448"/>
                    <a:pt x="564" y="443"/>
                  </a:cubicBezTo>
                  <a:cubicBezTo>
                    <a:pt x="564" y="443"/>
                    <a:pt x="564" y="443"/>
                    <a:pt x="564" y="443"/>
                  </a:cubicBezTo>
                  <a:cubicBezTo>
                    <a:pt x="569" y="441"/>
                    <a:pt x="576" y="438"/>
                    <a:pt x="581" y="432"/>
                  </a:cubicBezTo>
                  <a:cubicBezTo>
                    <a:pt x="581" y="432"/>
                    <a:pt x="581" y="432"/>
                    <a:pt x="581" y="432"/>
                  </a:cubicBezTo>
                  <a:cubicBezTo>
                    <a:pt x="581" y="432"/>
                    <a:pt x="581" y="432"/>
                    <a:pt x="581" y="432"/>
                  </a:cubicBezTo>
                  <a:cubicBezTo>
                    <a:pt x="585" y="426"/>
                    <a:pt x="583" y="418"/>
                    <a:pt x="578" y="41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478783" y="1960685"/>
            <a:ext cx="449195" cy="449195"/>
            <a:chOff x="5478783" y="1960685"/>
            <a:chExt cx="449195" cy="449195"/>
          </a:xfrm>
        </p:grpSpPr>
        <p:sp>
          <p:nvSpPr>
            <p:cNvPr id="17" name="Oval 16"/>
            <p:cNvSpPr/>
            <p:nvPr/>
          </p:nvSpPr>
          <p:spPr>
            <a:xfrm>
              <a:off x="5478783" y="1960685"/>
              <a:ext cx="449195" cy="449195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5568429" y="2054015"/>
              <a:ext cx="269903" cy="261469"/>
            </a:xfrm>
            <a:custGeom>
              <a:avLst/>
              <a:gdLst>
                <a:gd name="T0" fmla="*/ 581 w 614"/>
                <a:gd name="T1" fmla="*/ 184 h 595"/>
                <a:gd name="T2" fmla="*/ 311 w 614"/>
                <a:gd name="T3" fmla="*/ 559 h 595"/>
                <a:gd name="T4" fmla="*/ 188 w 614"/>
                <a:gd name="T5" fmla="*/ 507 h 595"/>
                <a:gd name="T6" fmla="*/ 89 w 614"/>
                <a:gd name="T7" fmla="*/ 212 h 595"/>
                <a:gd name="T8" fmla="*/ 24 w 614"/>
                <a:gd name="T9" fmla="*/ 231 h 595"/>
                <a:gd name="T10" fmla="*/ 0 w 614"/>
                <a:gd name="T11" fmla="*/ 200 h 595"/>
                <a:gd name="T12" fmla="*/ 175 w 614"/>
                <a:gd name="T13" fmla="*/ 67 h 595"/>
                <a:gd name="T14" fmla="*/ 274 w 614"/>
                <a:gd name="T15" fmla="*/ 267 h 595"/>
                <a:gd name="T16" fmla="*/ 322 w 614"/>
                <a:gd name="T17" fmla="*/ 384 h 595"/>
                <a:gd name="T18" fmla="*/ 403 w 614"/>
                <a:gd name="T19" fmla="*/ 279 h 595"/>
                <a:gd name="T20" fmla="*/ 335 w 614"/>
                <a:gd name="T21" fmla="*/ 199 h 595"/>
                <a:gd name="T22" fmla="*/ 581 w 614"/>
                <a:gd name="T23" fmla="*/ 184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4" h="595">
                  <a:moveTo>
                    <a:pt x="581" y="184"/>
                  </a:moveTo>
                  <a:cubicBezTo>
                    <a:pt x="549" y="368"/>
                    <a:pt x="366" y="524"/>
                    <a:pt x="311" y="559"/>
                  </a:cubicBezTo>
                  <a:cubicBezTo>
                    <a:pt x="257" y="595"/>
                    <a:pt x="206" y="544"/>
                    <a:pt x="188" y="507"/>
                  </a:cubicBezTo>
                  <a:cubicBezTo>
                    <a:pt x="167" y="464"/>
                    <a:pt x="105" y="231"/>
                    <a:pt x="89" y="212"/>
                  </a:cubicBezTo>
                  <a:cubicBezTo>
                    <a:pt x="73" y="193"/>
                    <a:pt x="24" y="231"/>
                    <a:pt x="24" y="231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0"/>
                    <a:pt x="99" y="81"/>
                    <a:pt x="175" y="67"/>
                  </a:cubicBezTo>
                  <a:cubicBezTo>
                    <a:pt x="255" y="51"/>
                    <a:pt x="255" y="189"/>
                    <a:pt x="274" y="267"/>
                  </a:cubicBezTo>
                  <a:cubicBezTo>
                    <a:pt x="293" y="342"/>
                    <a:pt x="305" y="384"/>
                    <a:pt x="322" y="384"/>
                  </a:cubicBezTo>
                  <a:cubicBezTo>
                    <a:pt x="338" y="384"/>
                    <a:pt x="369" y="343"/>
                    <a:pt x="403" y="279"/>
                  </a:cubicBezTo>
                  <a:cubicBezTo>
                    <a:pt x="437" y="215"/>
                    <a:pt x="402" y="159"/>
                    <a:pt x="335" y="199"/>
                  </a:cubicBezTo>
                  <a:cubicBezTo>
                    <a:pt x="362" y="39"/>
                    <a:pt x="614" y="0"/>
                    <a:pt x="581" y="1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310819" y="2076846"/>
            <a:ext cx="342263" cy="342263"/>
            <a:chOff x="6310819" y="2076846"/>
            <a:chExt cx="342263" cy="342263"/>
          </a:xfrm>
        </p:grpSpPr>
        <p:sp>
          <p:nvSpPr>
            <p:cNvPr id="67" name="Oval 66"/>
            <p:cNvSpPr/>
            <p:nvPr/>
          </p:nvSpPr>
          <p:spPr>
            <a:xfrm>
              <a:off x="6310819" y="2076846"/>
              <a:ext cx="342263" cy="342263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382069" y="2185736"/>
              <a:ext cx="199762" cy="124482"/>
            </a:xfrm>
            <a:custGeom>
              <a:avLst/>
              <a:gdLst>
                <a:gd name="T0" fmla="*/ 75 w 600"/>
                <a:gd name="T1" fmla="*/ 205 h 374"/>
                <a:gd name="T2" fmla="*/ 169 w 600"/>
                <a:gd name="T3" fmla="*/ 205 h 374"/>
                <a:gd name="T4" fmla="*/ 225 w 600"/>
                <a:gd name="T5" fmla="*/ 254 h 374"/>
                <a:gd name="T6" fmla="*/ 188 w 600"/>
                <a:gd name="T7" fmla="*/ 299 h 374"/>
                <a:gd name="T8" fmla="*/ 75 w 600"/>
                <a:gd name="T9" fmla="*/ 299 h 374"/>
                <a:gd name="T10" fmla="*/ 75 w 600"/>
                <a:gd name="T11" fmla="*/ 205 h 374"/>
                <a:gd name="T12" fmla="*/ 376 w 600"/>
                <a:gd name="T13" fmla="*/ 18 h 374"/>
                <a:gd name="T14" fmla="*/ 544 w 600"/>
                <a:gd name="T15" fmla="*/ 18 h 374"/>
                <a:gd name="T16" fmla="*/ 544 w 600"/>
                <a:gd name="T17" fmla="*/ 74 h 374"/>
                <a:gd name="T18" fmla="*/ 376 w 600"/>
                <a:gd name="T19" fmla="*/ 74 h 374"/>
                <a:gd name="T20" fmla="*/ 376 w 600"/>
                <a:gd name="T21" fmla="*/ 18 h 374"/>
                <a:gd name="T22" fmla="*/ 521 w 600"/>
                <a:gd name="T23" fmla="*/ 205 h 374"/>
                <a:gd name="T24" fmla="*/ 398 w 600"/>
                <a:gd name="T25" fmla="*/ 205 h 374"/>
                <a:gd name="T26" fmla="*/ 460 w 600"/>
                <a:gd name="T27" fmla="*/ 150 h 374"/>
                <a:gd name="T28" fmla="*/ 521 w 600"/>
                <a:gd name="T29" fmla="*/ 205 h 374"/>
                <a:gd name="T30" fmla="*/ 394 w 600"/>
                <a:gd name="T31" fmla="*/ 243 h 374"/>
                <a:gd name="T32" fmla="*/ 600 w 600"/>
                <a:gd name="T33" fmla="*/ 243 h 374"/>
                <a:gd name="T34" fmla="*/ 600 w 600"/>
                <a:gd name="T35" fmla="*/ 234 h 374"/>
                <a:gd name="T36" fmla="*/ 460 w 600"/>
                <a:gd name="T37" fmla="*/ 93 h 374"/>
                <a:gd name="T38" fmla="*/ 319 w 600"/>
                <a:gd name="T39" fmla="*/ 234 h 374"/>
                <a:gd name="T40" fmla="*/ 460 w 600"/>
                <a:gd name="T41" fmla="*/ 374 h 374"/>
                <a:gd name="T42" fmla="*/ 597 w 600"/>
                <a:gd name="T43" fmla="*/ 261 h 374"/>
                <a:gd name="T44" fmla="*/ 521 w 600"/>
                <a:gd name="T45" fmla="*/ 261 h 374"/>
                <a:gd name="T46" fmla="*/ 460 w 600"/>
                <a:gd name="T47" fmla="*/ 318 h 374"/>
                <a:gd name="T48" fmla="*/ 394 w 600"/>
                <a:gd name="T49" fmla="*/ 243 h 374"/>
                <a:gd name="T50" fmla="*/ 301 w 600"/>
                <a:gd name="T51" fmla="*/ 261 h 374"/>
                <a:gd name="T52" fmla="*/ 237 w 600"/>
                <a:gd name="T53" fmla="*/ 173 h 374"/>
                <a:gd name="T54" fmla="*/ 281 w 600"/>
                <a:gd name="T55" fmla="*/ 93 h 374"/>
                <a:gd name="T56" fmla="*/ 188 w 600"/>
                <a:gd name="T57" fmla="*/ 0 h 374"/>
                <a:gd name="T58" fmla="*/ 0 w 600"/>
                <a:gd name="T59" fmla="*/ 0 h 374"/>
                <a:gd name="T60" fmla="*/ 0 w 600"/>
                <a:gd name="T61" fmla="*/ 374 h 374"/>
                <a:gd name="T62" fmla="*/ 188 w 600"/>
                <a:gd name="T63" fmla="*/ 374 h 374"/>
                <a:gd name="T64" fmla="*/ 301 w 600"/>
                <a:gd name="T65" fmla="*/ 261 h 374"/>
                <a:gd name="T66" fmla="*/ 169 w 600"/>
                <a:gd name="T67" fmla="*/ 150 h 374"/>
                <a:gd name="T68" fmla="*/ 75 w 600"/>
                <a:gd name="T69" fmla="*/ 150 h 374"/>
                <a:gd name="T70" fmla="*/ 75 w 600"/>
                <a:gd name="T71" fmla="*/ 74 h 374"/>
                <a:gd name="T72" fmla="*/ 169 w 600"/>
                <a:gd name="T73" fmla="*/ 74 h 374"/>
                <a:gd name="T74" fmla="*/ 207 w 600"/>
                <a:gd name="T75" fmla="*/ 112 h 374"/>
                <a:gd name="T76" fmla="*/ 169 w 600"/>
                <a:gd name="T77" fmla="*/ 15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00" h="374">
                  <a:moveTo>
                    <a:pt x="75" y="205"/>
                  </a:moveTo>
                  <a:cubicBezTo>
                    <a:pt x="169" y="205"/>
                    <a:pt x="169" y="205"/>
                    <a:pt x="169" y="205"/>
                  </a:cubicBezTo>
                  <a:cubicBezTo>
                    <a:pt x="189" y="205"/>
                    <a:pt x="225" y="215"/>
                    <a:pt x="225" y="254"/>
                  </a:cubicBezTo>
                  <a:cubicBezTo>
                    <a:pt x="225" y="275"/>
                    <a:pt x="209" y="299"/>
                    <a:pt x="188" y="299"/>
                  </a:cubicBezTo>
                  <a:cubicBezTo>
                    <a:pt x="75" y="299"/>
                    <a:pt x="75" y="299"/>
                    <a:pt x="75" y="299"/>
                  </a:cubicBezTo>
                  <a:lnTo>
                    <a:pt x="75" y="205"/>
                  </a:lnTo>
                  <a:close/>
                  <a:moveTo>
                    <a:pt x="376" y="18"/>
                  </a:moveTo>
                  <a:cubicBezTo>
                    <a:pt x="544" y="18"/>
                    <a:pt x="544" y="18"/>
                    <a:pt x="544" y="18"/>
                  </a:cubicBezTo>
                  <a:cubicBezTo>
                    <a:pt x="544" y="74"/>
                    <a:pt x="544" y="74"/>
                    <a:pt x="544" y="74"/>
                  </a:cubicBezTo>
                  <a:cubicBezTo>
                    <a:pt x="376" y="74"/>
                    <a:pt x="376" y="74"/>
                    <a:pt x="376" y="74"/>
                  </a:cubicBezTo>
                  <a:lnTo>
                    <a:pt x="376" y="18"/>
                  </a:lnTo>
                  <a:close/>
                  <a:moveTo>
                    <a:pt x="521" y="205"/>
                  </a:moveTo>
                  <a:cubicBezTo>
                    <a:pt x="398" y="205"/>
                    <a:pt x="398" y="205"/>
                    <a:pt x="398" y="205"/>
                  </a:cubicBezTo>
                  <a:cubicBezTo>
                    <a:pt x="402" y="172"/>
                    <a:pt x="427" y="150"/>
                    <a:pt x="460" y="150"/>
                  </a:cubicBezTo>
                  <a:cubicBezTo>
                    <a:pt x="492" y="150"/>
                    <a:pt x="516" y="173"/>
                    <a:pt x="521" y="205"/>
                  </a:cubicBezTo>
                  <a:close/>
                  <a:moveTo>
                    <a:pt x="394" y="243"/>
                  </a:moveTo>
                  <a:cubicBezTo>
                    <a:pt x="600" y="243"/>
                    <a:pt x="600" y="243"/>
                    <a:pt x="600" y="243"/>
                  </a:cubicBezTo>
                  <a:cubicBezTo>
                    <a:pt x="600" y="240"/>
                    <a:pt x="600" y="236"/>
                    <a:pt x="600" y="234"/>
                  </a:cubicBezTo>
                  <a:cubicBezTo>
                    <a:pt x="600" y="156"/>
                    <a:pt x="544" y="93"/>
                    <a:pt x="460" y="93"/>
                  </a:cubicBezTo>
                  <a:cubicBezTo>
                    <a:pt x="375" y="93"/>
                    <a:pt x="319" y="156"/>
                    <a:pt x="319" y="234"/>
                  </a:cubicBezTo>
                  <a:cubicBezTo>
                    <a:pt x="319" y="312"/>
                    <a:pt x="375" y="374"/>
                    <a:pt x="460" y="374"/>
                  </a:cubicBezTo>
                  <a:cubicBezTo>
                    <a:pt x="544" y="374"/>
                    <a:pt x="585" y="326"/>
                    <a:pt x="597" y="261"/>
                  </a:cubicBezTo>
                  <a:cubicBezTo>
                    <a:pt x="521" y="261"/>
                    <a:pt x="521" y="261"/>
                    <a:pt x="521" y="261"/>
                  </a:cubicBezTo>
                  <a:cubicBezTo>
                    <a:pt x="514" y="294"/>
                    <a:pt x="495" y="318"/>
                    <a:pt x="460" y="318"/>
                  </a:cubicBezTo>
                  <a:cubicBezTo>
                    <a:pt x="424" y="318"/>
                    <a:pt x="397" y="285"/>
                    <a:pt x="394" y="243"/>
                  </a:cubicBezTo>
                  <a:close/>
                  <a:moveTo>
                    <a:pt x="301" y="261"/>
                  </a:moveTo>
                  <a:cubicBezTo>
                    <a:pt x="301" y="221"/>
                    <a:pt x="273" y="186"/>
                    <a:pt x="237" y="173"/>
                  </a:cubicBezTo>
                  <a:cubicBezTo>
                    <a:pt x="263" y="156"/>
                    <a:pt x="281" y="127"/>
                    <a:pt x="281" y="93"/>
                  </a:cubicBezTo>
                  <a:cubicBezTo>
                    <a:pt x="281" y="42"/>
                    <a:pt x="239" y="0"/>
                    <a:pt x="18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188" y="374"/>
                    <a:pt x="188" y="374"/>
                    <a:pt x="188" y="374"/>
                  </a:cubicBezTo>
                  <a:cubicBezTo>
                    <a:pt x="249" y="374"/>
                    <a:pt x="301" y="324"/>
                    <a:pt x="301" y="261"/>
                  </a:cubicBezTo>
                  <a:close/>
                  <a:moveTo>
                    <a:pt x="169" y="150"/>
                  </a:moveTo>
                  <a:cubicBezTo>
                    <a:pt x="75" y="150"/>
                    <a:pt x="75" y="150"/>
                    <a:pt x="75" y="150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169" y="74"/>
                    <a:pt x="169" y="74"/>
                    <a:pt x="169" y="74"/>
                  </a:cubicBezTo>
                  <a:cubicBezTo>
                    <a:pt x="189" y="74"/>
                    <a:pt x="207" y="91"/>
                    <a:pt x="207" y="112"/>
                  </a:cubicBezTo>
                  <a:cubicBezTo>
                    <a:pt x="207" y="133"/>
                    <a:pt x="189" y="150"/>
                    <a:pt x="169" y="15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467221" y="1100445"/>
            <a:ext cx="632868" cy="632868"/>
            <a:chOff x="6467221" y="1100445"/>
            <a:chExt cx="632868" cy="632868"/>
          </a:xfrm>
        </p:grpSpPr>
        <p:sp>
          <p:nvSpPr>
            <p:cNvPr id="65" name="Oval 64"/>
            <p:cNvSpPr/>
            <p:nvPr/>
          </p:nvSpPr>
          <p:spPr>
            <a:xfrm>
              <a:off x="6467221" y="1100445"/>
              <a:ext cx="632868" cy="632868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6" name="Freeform 39"/>
            <p:cNvSpPr>
              <a:spLocks noEditPoints="1"/>
            </p:cNvSpPr>
            <p:nvPr/>
          </p:nvSpPr>
          <p:spPr bwMode="auto">
            <a:xfrm>
              <a:off x="6611575" y="1244799"/>
              <a:ext cx="344162" cy="344162"/>
            </a:xfrm>
            <a:custGeom>
              <a:avLst/>
              <a:gdLst>
                <a:gd name="T0" fmla="*/ 140 w 572"/>
                <a:gd name="T1" fmla="*/ 286 h 572"/>
                <a:gd name="T2" fmla="*/ 286 w 572"/>
                <a:gd name="T3" fmla="*/ 140 h 572"/>
                <a:gd name="T4" fmla="*/ 432 w 572"/>
                <a:gd name="T5" fmla="*/ 286 h 572"/>
                <a:gd name="T6" fmla="*/ 286 w 572"/>
                <a:gd name="T7" fmla="*/ 432 h 572"/>
                <a:gd name="T8" fmla="*/ 140 w 572"/>
                <a:gd name="T9" fmla="*/ 286 h 572"/>
                <a:gd name="T10" fmla="*/ 437 w 572"/>
                <a:gd name="T11" fmla="*/ 0 h 572"/>
                <a:gd name="T12" fmla="*/ 135 w 572"/>
                <a:gd name="T13" fmla="*/ 0 h 572"/>
                <a:gd name="T14" fmla="*/ 0 w 572"/>
                <a:gd name="T15" fmla="*/ 135 h 572"/>
                <a:gd name="T16" fmla="*/ 0 w 572"/>
                <a:gd name="T17" fmla="*/ 437 h 572"/>
                <a:gd name="T18" fmla="*/ 135 w 572"/>
                <a:gd name="T19" fmla="*/ 572 h 572"/>
                <a:gd name="T20" fmla="*/ 437 w 572"/>
                <a:gd name="T21" fmla="*/ 572 h 572"/>
                <a:gd name="T22" fmla="*/ 572 w 572"/>
                <a:gd name="T23" fmla="*/ 437 h 572"/>
                <a:gd name="T24" fmla="*/ 572 w 572"/>
                <a:gd name="T25" fmla="*/ 135 h 572"/>
                <a:gd name="T26" fmla="*/ 437 w 572"/>
                <a:gd name="T27" fmla="*/ 0 h 572"/>
                <a:gd name="T28" fmla="*/ 135 w 572"/>
                <a:gd name="T29" fmla="*/ 34 h 572"/>
                <a:gd name="T30" fmla="*/ 437 w 572"/>
                <a:gd name="T31" fmla="*/ 34 h 572"/>
                <a:gd name="T32" fmla="*/ 538 w 572"/>
                <a:gd name="T33" fmla="*/ 135 h 572"/>
                <a:gd name="T34" fmla="*/ 538 w 572"/>
                <a:gd name="T35" fmla="*/ 437 h 572"/>
                <a:gd name="T36" fmla="*/ 437 w 572"/>
                <a:gd name="T37" fmla="*/ 538 h 572"/>
                <a:gd name="T38" fmla="*/ 135 w 572"/>
                <a:gd name="T39" fmla="*/ 538 h 572"/>
                <a:gd name="T40" fmla="*/ 34 w 572"/>
                <a:gd name="T41" fmla="*/ 437 h 572"/>
                <a:gd name="T42" fmla="*/ 34 w 572"/>
                <a:gd name="T43" fmla="*/ 135 h 572"/>
                <a:gd name="T44" fmla="*/ 135 w 572"/>
                <a:gd name="T45" fmla="*/ 34 h 572"/>
                <a:gd name="T46" fmla="*/ 467 w 572"/>
                <a:gd name="T47" fmla="*/ 77 h 572"/>
                <a:gd name="T48" fmla="*/ 437 w 572"/>
                <a:gd name="T49" fmla="*/ 106 h 572"/>
                <a:gd name="T50" fmla="*/ 467 w 572"/>
                <a:gd name="T51" fmla="*/ 136 h 572"/>
                <a:gd name="T52" fmla="*/ 496 w 572"/>
                <a:gd name="T53" fmla="*/ 106 h 572"/>
                <a:gd name="T54" fmla="*/ 467 w 572"/>
                <a:gd name="T55" fmla="*/ 77 h 572"/>
                <a:gd name="T56" fmla="*/ 470 w 572"/>
                <a:gd name="T57" fmla="*/ 286 h 572"/>
                <a:gd name="T58" fmla="*/ 286 w 572"/>
                <a:gd name="T59" fmla="*/ 102 h 572"/>
                <a:gd name="T60" fmla="*/ 101 w 572"/>
                <a:gd name="T61" fmla="*/ 286 h 572"/>
                <a:gd name="T62" fmla="*/ 286 w 572"/>
                <a:gd name="T63" fmla="*/ 471 h 572"/>
                <a:gd name="T64" fmla="*/ 470 w 572"/>
                <a:gd name="T65" fmla="*/ 286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2" h="572">
                  <a:moveTo>
                    <a:pt x="140" y="286"/>
                  </a:moveTo>
                  <a:cubicBezTo>
                    <a:pt x="140" y="206"/>
                    <a:pt x="205" y="140"/>
                    <a:pt x="286" y="140"/>
                  </a:cubicBezTo>
                  <a:cubicBezTo>
                    <a:pt x="366" y="140"/>
                    <a:pt x="432" y="206"/>
                    <a:pt x="432" y="286"/>
                  </a:cubicBezTo>
                  <a:cubicBezTo>
                    <a:pt x="432" y="367"/>
                    <a:pt x="366" y="432"/>
                    <a:pt x="286" y="432"/>
                  </a:cubicBezTo>
                  <a:cubicBezTo>
                    <a:pt x="205" y="432"/>
                    <a:pt x="140" y="367"/>
                    <a:pt x="140" y="286"/>
                  </a:cubicBezTo>
                  <a:close/>
                  <a:moveTo>
                    <a:pt x="437" y="0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61" y="0"/>
                    <a:pt x="0" y="61"/>
                    <a:pt x="0" y="135"/>
                  </a:cubicBezTo>
                  <a:cubicBezTo>
                    <a:pt x="0" y="437"/>
                    <a:pt x="0" y="437"/>
                    <a:pt x="0" y="437"/>
                  </a:cubicBezTo>
                  <a:cubicBezTo>
                    <a:pt x="0" y="511"/>
                    <a:pt x="61" y="572"/>
                    <a:pt x="135" y="572"/>
                  </a:cubicBezTo>
                  <a:cubicBezTo>
                    <a:pt x="437" y="572"/>
                    <a:pt x="437" y="572"/>
                    <a:pt x="437" y="572"/>
                  </a:cubicBezTo>
                  <a:cubicBezTo>
                    <a:pt x="511" y="572"/>
                    <a:pt x="572" y="511"/>
                    <a:pt x="572" y="437"/>
                  </a:cubicBezTo>
                  <a:cubicBezTo>
                    <a:pt x="572" y="135"/>
                    <a:pt x="572" y="135"/>
                    <a:pt x="572" y="135"/>
                  </a:cubicBezTo>
                  <a:cubicBezTo>
                    <a:pt x="572" y="61"/>
                    <a:pt x="511" y="0"/>
                    <a:pt x="437" y="0"/>
                  </a:cubicBezTo>
                  <a:close/>
                  <a:moveTo>
                    <a:pt x="135" y="34"/>
                  </a:moveTo>
                  <a:cubicBezTo>
                    <a:pt x="437" y="34"/>
                    <a:pt x="437" y="34"/>
                    <a:pt x="437" y="34"/>
                  </a:cubicBezTo>
                  <a:cubicBezTo>
                    <a:pt x="492" y="34"/>
                    <a:pt x="538" y="80"/>
                    <a:pt x="538" y="135"/>
                  </a:cubicBezTo>
                  <a:cubicBezTo>
                    <a:pt x="538" y="437"/>
                    <a:pt x="538" y="437"/>
                    <a:pt x="538" y="437"/>
                  </a:cubicBezTo>
                  <a:cubicBezTo>
                    <a:pt x="538" y="493"/>
                    <a:pt x="492" y="538"/>
                    <a:pt x="437" y="538"/>
                  </a:cubicBezTo>
                  <a:cubicBezTo>
                    <a:pt x="135" y="538"/>
                    <a:pt x="135" y="538"/>
                    <a:pt x="135" y="538"/>
                  </a:cubicBezTo>
                  <a:cubicBezTo>
                    <a:pt x="79" y="538"/>
                    <a:pt x="34" y="493"/>
                    <a:pt x="34" y="437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4" y="80"/>
                    <a:pt x="79" y="34"/>
                    <a:pt x="135" y="34"/>
                  </a:cubicBezTo>
                  <a:close/>
                  <a:moveTo>
                    <a:pt x="467" y="77"/>
                  </a:moveTo>
                  <a:cubicBezTo>
                    <a:pt x="450" y="77"/>
                    <a:pt x="437" y="90"/>
                    <a:pt x="437" y="106"/>
                  </a:cubicBezTo>
                  <a:cubicBezTo>
                    <a:pt x="437" y="123"/>
                    <a:pt x="450" y="136"/>
                    <a:pt x="467" y="136"/>
                  </a:cubicBezTo>
                  <a:cubicBezTo>
                    <a:pt x="483" y="136"/>
                    <a:pt x="496" y="123"/>
                    <a:pt x="496" y="106"/>
                  </a:cubicBezTo>
                  <a:cubicBezTo>
                    <a:pt x="496" y="90"/>
                    <a:pt x="483" y="77"/>
                    <a:pt x="467" y="77"/>
                  </a:cubicBezTo>
                  <a:close/>
                  <a:moveTo>
                    <a:pt x="470" y="286"/>
                  </a:moveTo>
                  <a:cubicBezTo>
                    <a:pt x="470" y="184"/>
                    <a:pt x="388" y="102"/>
                    <a:pt x="286" y="102"/>
                  </a:cubicBezTo>
                  <a:cubicBezTo>
                    <a:pt x="184" y="102"/>
                    <a:pt x="101" y="184"/>
                    <a:pt x="101" y="286"/>
                  </a:cubicBezTo>
                  <a:cubicBezTo>
                    <a:pt x="101" y="388"/>
                    <a:pt x="184" y="471"/>
                    <a:pt x="286" y="471"/>
                  </a:cubicBezTo>
                  <a:cubicBezTo>
                    <a:pt x="388" y="471"/>
                    <a:pt x="470" y="388"/>
                    <a:pt x="470" y="2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317506" y="2450483"/>
            <a:ext cx="322554" cy="322553"/>
            <a:chOff x="5317506" y="2450483"/>
            <a:chExt cx="322554" cy="322553"/>
          </a:xfrm>
        </p:grpSpPr>
        <p:sp>
          <p:nvSpPr>
            <p:cNvPr id="63" name="Oval 62"/>
            <p:cNvSpPr/>
            <p:nvPr/>
          </p:nvSpPr>
          <p:spPr>
            <a:xfrm>
              <a:off x="5317506" y="2450483"/>
              <a:ext cx="322554" cy="322553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4" name="Freeform 25"/>
            <p:cNvSpPr>
              <a:spLocks noEditPoints="1"/>
            </p:cNvSpPr>
            <p:nvPr/>
          </p:nvSpPr>
          <p:spPr bwMode="auto">
            <a:xfrm>
              <a:off x="5386057" y="2569842"/>
              <a:ext cx="185451" cy="80715"/>
            </a:xfrm>
            <a:custGeom>
              <a:avLst/>
              <a:gdLst>
                <a:gd name="T0" fmla="*/ 126 w 570"/>
                <a:gd name="T1" fmla="*/ 0 h 249"/>
                <a:gd name="T2" fmla="*/ 1 w 570"/>
                <a:gd name="T3" fmla="*/ 108 h 249"/>
                <a:gd name="T4" fmla="*/ 1 w 570"/>
                <a:gd name="T5" fmla="*/ 108 h 249"/>
                <a:gd name="T6" fmla="*/ 0 w 570"/>
                <a:gd name="T7" fmla="*/ 125 h 249"/>
                <a:gd name="T8" fmla="*/ 126 w 570"/>
                <a:gd name="T9" fmla="*/ 249 h 249"/>
                <a:gd name="T10" fmla="*/ 253 w 570"/>
                <a:gd name="T11" fmla="*/ 125 h 249"/>
                <a:gd name="T12" fmla="*/ 242 w 570"/>
                <a:gd name="T13" fmla="*/ 73 h 249"/>
                <a:gd name="T14" fmla="*/ 126 w 570"/>
                <a:gd name="T15" fmla="*/ 0 h 249"/>
                <a:gd name="T16" fmla="*/ 17 w 570"/>
                <a:gd name="T17" fmla="*/ 104 h 249"/>
                <a:gd name="T18" fmla="*/ 117 w 570"/>
                <a:gd name="T19" fmla="*/ 83 h 249"/>
                <a:gd name="T20" fmla="*/ 17 w 570"/>
                <a:gd name="T21" fmla="*/ 104 h 249"/>
                <a:gd name="T22" fmla="*/ 570 w 570"/>
                <a:gd name="T23" fmla="*/ 115 h 249"/>
                <a:gd name="T24" fmla="*/ 444 w 570"/>
                <a:gd name="T25" fmla="*/ 0 h 249"/>
                <a:gd name="T26" fmla="*/ 328 w 570"/>
                <a:gd name="T27" fmla="*/ 74 h 249"/>
                <a:gd name="T28" fmla="*/ 317 w 570"/>
                <a:gd name="T29" fmla="*/ 125 h 249"/>
                <a:gd name="T30" fmla="*/ 444 w 570"/>
                <a:gd name="T31" fmla="*/ 249 h 249"/>
                <a:gd name="T32" fmla="*/ 570 w 570"/>
                <a:gd name="T33" fmla="*/ 125 h 249"/>
                <a:gd name="T34" fmla="*/ 570 w 570"/>
                <a:gd name="T35" fmla="*/ 11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0" h="249">
                  <a:moveTo>
                    <a:pt x="126" y="0"/>
                  </a:moveTo>
                  <a:cubicBezTo>
                    <a:pt x="62" y="0"/>
                    <a:pt x="9" y="47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0" y="113"/>
                    <a:pt x="0" y="119"/>
                    <a:pt x="0" y="125"/>
                  </a:cubicBezTo>
                  <a:cubicBezTo>
                    <a:pt x="0" y="194"/>
                    <a:pt x="56" y="249"/>
                    <a:pt x="126" y="249"/>
                  </a:cubicBezTo>
                  <a:cubicBezTo>
                    <a:pt x="196" y="249"/>
                    <a:pt x="253" y="194"/>
                    <a:pt x="253" y="125"/>
                  </a:cubicBezTo>
                  <a:cubicBezTo>
                    <a:pt x="253" y="106"/>
                    <a:pt x="249" y="88"/>
                    <a:pt x="242" y="73"/>
                  </a:cubicBezTo>
                  <a:cubicBezTo>
                    <a:pt x="221" y="30"/>
                    <a:pt x="177" y="0"/>
                    <a:pt x="126" y="0"/>
                  </a:cubicBezTo>
                  <a:close/>
                  <a:moveTo>
                    <a:pt x="17" y="104"/>
                  </a:moveTo>
                  <a:cubicBezTo>
                    <a:pt x="49" y="96"/>
                    <a:pt x="82" y="89"/>
                    <a:pt x="117" y="83"/>
                  </a:cubicBezTo>
                  <a:cubicBezTo>
                    <a:pt x="82" y="89"/>
                    <a:pt x="49" y="96"/>
                    <a:pt x="17" y="104"/>
                  </a:cubicBezTo>
                  <a:close/>
                  <a:moveTo>
                    <a:pt x="570" y="115"/>
                  </a:moveTo>
                  <a:cubicBezTo>
                    <a:pt x="565" y="50"/>
                    <a:pt x="510" y="0"/>
                    <a:pt x="444" y="0"/>
                  </a:cubicBezTo>
                  <a:cubicBezTo>
                    <a:pt x="392" y="0"/>
                    <a:pt x="348" y="30"/>
                    <a:pt x="328" y="74"/>
                  </a:cubicBezTo>
                  <a:cubicBezTo>
                    <a:pt x="321" y="89"/>
                    <a:pt x="317" y="106"/>
                    <a:pt x="317" y="125"/>
                  </a:cubicBezTo>
                  <a:cubicBezTo>
                    <a:pt x="317" y="194"/>
                    <a:pt x="374" y="249"/>
                    <a:pt x="444" y="249"/>
                  </a:cubicBezTo>
                  <a:cubicBezTo>
                    <a:pt x="513" y="249"/>
                    <a:pt x="570" y="194"/>
                    <a:pt x="570" y="125"/>
                  </a:cubicBezTo>
                  <a:cubicBezTo>
                    <a:pt x="570" y="122"/>
                    <a:pt x="570" y="118"/>
                    <a:pt x="570" y="11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216305" y="1549492"/>
            <a:ext cx="853421" cy="853421"/>
            <a:chOff x="7216305" y="1549492"/>
            <a:chExt cx="853421" cy="853421"/>
          </a:xfrm>
        </p:grpSpPr>
        <p:sp>
          <p:nvSpPr>
            <p:cNvPr id="61" name="Oval 60"/>
            <p:cNvSpPr/>
            <p:nvPr/>
          </p:nvSpPr>
          <p:spPr>
            <a:xfrm>
              <a:off x="7216305" y="1549492"/>
              <a:ext cx="853421" cy="85342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2" name="Freeform 328"/>
            <p:cNvSpPr>
              <a:spLocks noEditPoints="1"/>
            </p:cNvSpPr>
            <p:nvPr/>
          </p:nvSpPr>
          <p:spPr bwMode="auto">
            <a:xfrm>
              <a:off x="7460144" y="1754004"/>
              <a:ext cx="365745" cy="444397"/>
            </a:xfrm>
            <a:custGeom>
              <a:avLst/>
              <a:gdLst>
                <a:gd name="T0" fmla="*/ 132 w 140"/>
                <a:gd name="T1" fmla="*/ 163 h 170"/>
                <a:gd name="T2" fmla="*/ 17 w 140"/>
                <a:gd name="T3" fmla="*/ 168 h 170"/>
                <a:gd name="T4" fmla="*/ 0 w 140"/>
                <a:gd name="T5" fmla="*/ 121 h 170"/>
                <a:gd name="T6" fmla="*/ 18 w 140"/>
                <a:gd name="T7" fmla="*/ 74 h 170"/>
                <a:gd name="T8" fmla="*/ 132 w 140"/>
                <a:gd name="T9" fmla="*/ 78 h 170"/>
                <a:gd name="T10" fmla="*/ 30 w 140"/>
                <a:gd name="T11" fmla="*/ 97 h 170"/>
                <a:gd name="T12" fmla="*/ 10 w 140"/>
                <a:gd name="T13" fmla="*/ 88 h 170"/>
                <a:gd name="T14" fmla="*/ 20 w 140"/>
                <a:gd name="T15" fmla="*/ 151 h 170"/>
                <a:gd name="T16" fmla="*/ 46 w 140"/>
                <a:gd name="T17" fmla="*/ 0 h 170"/>
                <a:gd name="T18" fmla="*/ 44 w 140"/>
                <a:gd name="T19" fmla="*/ 64 h 170"/>
                <a:gd name="T20" fmla="*/ 29 w 140"/>
                <a:gd name="T21" fmla="*/ 18 h 170"/>
                <a:gd name="T22" fmla="*/ 39 w 140"/>
                <a:gd name="T23" fmla="*/ 25 h 170"/>
                <a:gd name="T24" fmla="*/ 65 w 140"/>
                <a:gd name="T25" fmla="*/ 151 h 170"/>
                <a:gd name="T26" fmla="*/ 57 w 140"/>
                <a:gd name="T27" fmla="*/ 140 h 170"/>
                <a:gd name="T28" fmla="*/ 49 w 140"/>
                <a:gd name="T29" fmla="*/ 139 h 170"/>
                <a:gd name="T30" fmla="*/ 41 w 140"/>
                <a:gd name="T31" fmla="*/ 141 h 170"/>
                <a:gd name="T32" fmla="*/ 57 w 140"/>
                <a:gd name="T33" fmla="*/ 146 h 170"/>
                <a:gd name="T34" fmla="*/ 81 w 140"/>
                <a:gd name="T35" fmla="*/ 48 h 170"/>
                <a:gd name="T36" fmla="*/ 58 w 140"/>
                <a:gd name="T37" fmla="*/ 59 h 170"/>
                <a:gd name="T38" fmla="*/ 58 w 140"/>
                <a:gd name="T39" fmla="*/ 21 h 170"/>
                <a:gd name="T40" fmla="*/ 81 w 140"/>
                <a:gd name="T41" fmla="*/ 32 h 170"/>
                <a:gd name="T42" fmla="*/ 68 w 140"/>
                <a:gd name="T43" fmla="*/ 23 h 170"/>
                <a:gd name="T44" fmla="*/ 68 w 140"/>
                <a:gd name="T45" fmla="*/ 56 h 170"/>
                <a:gd name="T46" fmla="*/ 98 w 140"/>
                <a:gd name="T47" fmla="*/ 118 h 170"/>
                <a:gd name="T48" fmla="*/ 81 w 140"/>
                <a:gd name="T49" fmla="*/ 109 h 170"/>
                <a:gd name="T50" fmla="*/ 73 w 140"/>
                <a:gd name="T51" fmla="*/ 151 h 170"/>
                <a:gd name="T52" fmla="*/ 90 w 140"/>
                <a:gd name="T53" fmla="*/ 152 h 170"/>
                <a:gd name="T54" fmla="*/ 89 w 140"/>
                <a:gd name="T55" fmla="*/ 118 h 170"/>
                <a:gd name="T56" fmla="*/ 81 w 140"/>
                <a:gd name="T57" fmla="*/ 142 h 170"/>
                <a:gd name="T58" fmla="*/ 89 w 140"/>
                <a:gd name="T59" fmla="*/ 118 h 170"/>
                <a:gd name="T60" fmla="*/ 104 w 140"/>
                <a:gd name="T61" fmla="*/ 64 h 170"/>
                <a:gd name="T62" fmla="*/ 88 w 140"/>
                <a:gd name="T63" fmla="*/ 61 h 170"/>
                <a:gd name="T64" fmla="*/ 96 w 140"/>
                <a:gd name="T65" fmla="*/ 16 h 170"/>
                <a:gd name="T66" fmla="*/ 98 w 140"/>
                <a:gd name="T67" fmla="*/ 56 h 170"/>
                <a:gd name="T68" fmla="*/ 112 w 140"/>
                <a:gd name="T69" fmla="*/ 16 h 170"/>
                <a:gd name="T70" fmla="*/ 121 w 140"/>
                <a:gd name="T71" fmla="*/ 135 h 170"/>
                <a:gd name="T72" fmla="*/ 113 w 140"/>
                <a:gd name="T73" fmla="*/ 138 h 170"/>
                <a:gd name="T74" fmla="*/ 129 w 140"/>
                <a:gd name="T75" fmla="*/ 120 h 170"/>
                <a:gd name="T76" fmla="*/ 107 w 140"/>
                <a:gd name="T77" fmla="*/ 109 h 170"/>
                <a:gd name="T78" fmla="*/ 107 w 140"/>
                <a:gd name="T79" fmla="*/ 147 h 170"/>
                <a:gd name="T80" fmla="*/ 129 w 140"/>
                <a:gd name="T81" fmla="*/ 142 h 170"/>
                <a:gd name="T82" fmla="*/ 121 w 140"/>
                <a:gd name="T83" fmla="*/ 122 h 170"/>
                <a:gd name="T84" fmla="*/ 117 w 140"/>
                <a:gd name="T85" fmla="*/ 11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70">
                  <a:moveTo>
                    <a:pt x="140" y="121"/>
                  </a:moveTo>
                  <a:cubicBezTo>
                    <a:pt x="140" y="136"/>
                    <a:pt x="139" y="147"/>
                    <a:pt x="138" y="154"/>
                  </a:cubicBezTo>
                  <a:cubicBezTo>
                    <a:pt x="137" y="158"/>
                    <a:pt x="135" y="161"/>
                    <a:pt x="132" y="163"/>
                  </a:cubicBezTo>
                  <a:cubicBezTo>
                    <a:pt x="129" y="166"/>
                    <a:pt x="126" y="167"/>
                    <a:pt x="122" y="168"/>
                  </a:cubicBezTo>
                  <a:cubicBezTo>
                    <a:pt x="111" y="169"/>
                    <a:pt x="93" y="170"/>
                    <a:pt x="70" y="170"/>
                  </a:cubicBezTo>
                  <a:cubicBezTo>
                    <a:pt x="47" y="170"/>
                    <a:pt x="29" y="169"/>
                    <a:pt x="17" y="168"/>
                  </a:cubicBezTo>
                  <a:cubicBezTo>
                    <a:pt x="14" y="167"/>
                    <a:pt x="11" y="166"/>
                    <a:pt x="8" y="163"/>
                  </a:cubicBezTo>
                  <a:cubicBezTo>
                    <a:pt x="5" y="161"/>
                    <a:pt x="3" y="158"/>
                    <a:pt x="2" y="154"/>
                  </a:cubicBezTo>
                  <a:cubicBezTo>
                    <a:pt x="1" y="147"/>
                    <a:pt x="0" y="136"/>
                    <a:pt x="0" y="121"/>
                  </a:cubicBezTo>
                  <a:cubicBezTo>
                    <a:pt x="0" y="106"/>
                    <a:pt x="1" y="95"/>
                    <a:pt x="2" y="88"/>
                  </a:cubicBezTo>
                  <a:cubicBezTo>
                    <a:pt x="3" y="84"/>
                    <a:pt x="5" y="81"/>
                    <a:pt x="8" y="78"/>
                  </a:cubicBezTo>
                  <a:cubicBezTo>
                    <a:pt x="11" y="76"/>
                    <a:pt x="14" y="74"/>
                    <a:pt x="18" y="74"/>
                  </a:cubicBezTo>
                  <a:cubicBezTo>
                    <a:pt x="29" y="73"/>
                    <a:pt x="47" y="72"/>
                    <a:pt x="70" y="72"/>
                  </a:cubicBezTo>
                  <a:cubicBezTo>
                    <a:pt x="93" y="72"/>
                    <a:pt x="111" y="73"/>
                    <a:pt x="122" y="74"/>
                  </a:cubicBezTo>
                  <a:cubicBezTo>
                    <a:pt x="126" y="74"/>
                    <a:pt x="129" y="76"/>
                    <a:pt x="132" y="78"/>
                  </a:cubicBezTo>
                  <a:cubicBezTo>
                    <a:pt x="135" y="81"/>
                    <a:pt x="137" y="84"/>
                    <a:pt x="138" y="88"/>
                  </a:cubicBezTo>
                  <a:cubicBezTo>
                    <a:pt x="139" y="95"/>
                    <a:pt x="140" y="106"/>
                    <a:pt x="140" y="121"/>
                  </a:cubicBezTo>
                  <a:close/>
                  <a:moveTo>
                    <a:pt x="30" y="97"/>
                  </a:moveTo>
                  <a:cubicBezTo>
                    <a:pt x="40" y="97"/>
                    <a:pt x="40" y="97"/>
                    <a:pt x="40" y="97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151"/>
                    <a:pt x="20" y="151"/>
                    <a:pt x="20" y="151"/>
                  </a:cubicBezTo>
                  <a:cubicBezTo>
                    <a:pt x="30" y="151"/>
                    <a:pt x="30" y="151"/>
                    <a:pt x="30" y="151"/>
                  </a:cubicBezTo>
                  <a:lnTo>
                    <a:pt x="30" y="97"/>
                  </a:lnTo>
                  <a:close/>
                  <a:moveTo>
                    <a:pt x="46" y="0"/>
                  </a:moveTo>
                  <a:cubicBezTo>
                    <a:pt x="55" y="0"/>
                    <a:pt x="55" y="0"/>
                    <a:pt x="55" y="0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3" y="33"/>
                    <a:pt x="32" y="27"/>
                    <a:pt x="29" y="18"/>
                  </a:cubicBezTo>
                  <a:cubicBezTo>
                    <a:pt x="26" y="11"/>
                    <a:pt x="24" y="6"/>
                    <a:pt x="2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9" y="25"/>
                    <a:pt x="39" y="25"/>
                    <a:pt x="39" y="25"/>
                  </a:cubicBezTo>
                  <a:lnTo>
                    <a:pt x="46" y="0"/>
                  </a:lnTo>
                  <a:close/>
                  <a:moveTo>
                    <a:pt x="57" y="151"/>
                  </a:moveTo>
                  <a:cubicBezTo>
                    <a:pt x="65" y="151"/>
                    <a:pt x="65" y="151"/>
                    <a:pt x="65" y="151"/>
                  </a:cubicBezTo>
                  <a:cubicBezTo>
                    <a:pt x="65" y="104"/>
                    <a:pt x="65" y="104"/>
                    <a:pt x="65" y="104"/>
                  </a:cubicBezTo>
                  <a:cubicBezTo>
                    <a:pt x="57" y="104"/>
                    <a:pt x="57" y="104"/>
                    <a:pt x="57" y="104"/>
                  </a:cubicBezTo>
                  <a:cubicBezTo>
                    <a:pt x="57" y="140"/>
                    <a:pt x="57" y="140"/>
                    <a:pt x="57" y="140"/>
                  </a:cubicBezTo>
                  <a:cubicBezTo>
                    <a:pt x="55" y="143"/>
                    <a:pt x="53" y="144"/>
                    <a:pt x="52" y="144"/>
                  </a:cubicBezTo>
                  <a:cubicBezTo>
                    <a:pt x="50" y="144"/>
                    <a:pt x="50" y="143"/>
                    <a:pt x="50" y="142"/>
                  </a:cubicBezTo>
                  <a:cubicBezTo>
                    <a:pt x="50" y="142"/>
                    <a:pt x="49" y="141"/>
                    <a:pt x="49" y="139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41"/>
                    <a:pt x="41" y="141"/>
                    <a:pt x="41" y="141"/>
                  </a:cubicBezTo>
                  <a:cubicBezTo>
                    <a:pt x="41" y="144"/>
                    <a:pt x="41" y="147"/>
                    <a:pt x="42" y="148"/>
                  </a:cubicBezTo>
                  <a:cubicBezTo>
                    <a:pt x="43" y="151"/>
                    <a:pt x="44" y="152"/>
                    <a:pt x="47" y="152"/>
                  </a:cubicBezTo>
                  <a:cubicBezTo>
                    <a:pt x="50" y="152"/>
                    <a:pt x="54" y="150"/>
                    <a:pt x="57" y="146"/>
                  </a:cubicBezTo>
                  <a:lnTo>
                    <a:pt x="57" y="151"/>
                  </a:lnTo>
                  <a:close/>
                  <a:moveTo>
                    <a:pt x="81" y="32"/>
                  </a:moveTo>
                  <a:cubicBezTo>
                    <a:pt x="81" y="48"/>
                    <a:pt x="81" y="48"/>
                    <a:pt x="81" y="48"/>
                  </a:cubicBezTo>
                  <a:cubicBezTo>
                    <a:pt x="81" y="53"/>
                    <a:pt x="80" y="57"/>
                    <a:pt x="78" y="59"/>
                  </a:cubicBezTo>
                  <a:cubicBezTo>
                    <a:pt x="76" y="63"/>
                    <a:pt x="72" y="64"/>
                    <a:pt x="68" y="64"/>
                  </a:cubicBezTo>
                  <a:cubicBezTo>
                    <a:pt x="64" y="64"/>
                    <a:pt x="60" y="63"/>
                    <a:pt x="58" y="59"/>
                  </a:cubicBezTo>
                  <a:cubicBezTo>
                    <a:pt x="56" y="57"/>
                    <a:pt x="55" y="53"/>
                    <a:pt x="55" y="4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27"/>
                    <a:pt x="56" y="23"/>
                    <a:pt x="58" y="21"/>
                  </a:cubicBezTo>
                  <a:cubicBezTo>
                    <a:pt x="60" y="17"/>
                    <a:pt x="64" y="16"/>
                    <a:pt x="68" y="16"/>
                  </a:cubicBezTo>
                  <a:cubicBezTo>
                    <a:pt x="72" y="16"/>
                    <a:pt x="76" y="17"/>
                    <a:pt x="78" y="21"/>
                  </a:cubicBezTo>
                  <a:cubicBezTo>
                    <a:pt x="80" y="23"/>
                    <a:pt x="81" y="27"/>
                    <a:pt x="81" y="32"/>
                  </a:cubicBezTo>
                  <a:close/>
                  <a:moveTo>
                    <a:pt x="72" y="50"/>
                  </a:moveTo>
                  <a:cubicBezTo>
                    <a:pt x="72" y="30"/>
                    <a:pt x="72" y="30"/>
                    <a:pt x="72" y="30"/>
                  </a:cubicBezTo>
                  <a:cubicBezTo>
                    <a:pt x="72" y="26"/>
                    <a:pt x="71" y="23"/>
                    <a:pt x="68" y="23"/>
                  </a:cubicBezTo>
                  <a:cubicBezTo>
                    <a:pt x="65" y="23"/>
                    <a:pt x="64" y="26"/>
                    <a:pt x="64" y="3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4"/>
                    <a:pt x="65" y="56"/>
                    <a:pt x="68" y="56"/>
                  </a:cubicBezTo>
                  <a:cubicBezTo>
                    <a:pt x="71" y="56"/>
                    <a:pt x="72" y="54"/>
                    <a:pt x="72" y="50"/>
                  </a:cubicBezTo>
                  <a:close/>
                  <a:moveTo>
                    <a:pt x="98" y="137"/>
                  </a:moveTo>
                  <a:cubicBezTo>
                    <a:pt x="98" y="118"/>
                    <a:pt x="98" y="118"/>
                    <a:pt x="98" y="118"/>
                  </a:cubicBezTo>
                  <a:cubicBezTo>
                    <a:pt x="98" y="114"/>
                    <a:pt x="97" y="111"/>
                    <a:pt x="97" y="109"/>
                  </a:cubicBezTo>
                  <a:cubicBezTo>
                    <a:pt x="96" y="106"/>
                    <a:pt x="93" y="104"/>
                    <a:pt x="90" y="104"/>
                  </a:cubicBezTo>
                  <a:cubicBezTo>
                    <a:pt x="87" y="104"/>
                    <a:pt x="84" y="106"/>
                    <a:pt x="81" y="109"/>
                  </a:cubicBezTo>
                  <a:cubicBezTo>
                    <a:pt x="81" y="88"/>
                    <a:pt x="81" y="88"/>
                    <a:pt x="81" y="88"/>
                  </a:cubicBezTo>
                  <a:cubicBezTo>
                    <a:pt x="73" y="88"/>
                    <a:pt x="73" y="88"/>
                    <a:pt x="73" y="88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81" y="151"/>
                    <a:pt x="81" y="151"/>
                    <a:pt x="81" y="151"/>
                  </a:cubicBezTo>
                  <a:cubicBezTo>
                    <a:pt x="81" y="147"/>
                    <a:pt x="81" y="147"/>
                    <a:pt x="81" y="147"/>
                  </a:cubicBezTo>
                  <a:cubicBezTo>
                    <a:pt x="84" y="150"/>
                    <a:pt x="87" y="152"/>
                    <a:pt x="90" y="152"/>
                  </a:cubicBezTo>
                  <a:cubicBezTo>
                    <a:pt x="93" y="152"/>
                    <a:pt x="96" y="150"/>
                    <a:pt x="97" y="147"/>
                  </a:cubicBezTo>
                  <a:cubicBezTo>
                    <a:pt x="97" y="145"/>
                    <a:pt x="98" y="142"/>
                    <a:pt x="98" y="137"/>
                  </a:cubicBezTo>
                  <a:close/>
                  <a:moveTo>
                    <a:pt x="89" y="118"/>
                  </a:moveTo>
                  <a:cubicBezTo>
                    <a:pt x="89" y="138"/>
                    <a:pt x="89" y="138"/>
                    <a:pt x="89" y="138"/>
                  </a:cubicBezTo>
                  <a:cubicBezTo>
                    <a:pt x="89" y="142"/>
                    <a:pt x="88" y="144"/>
                    <a:pt x="85" y="144"/>
                  </a:cubicBezTo>
                  <a:cubicBezTo>
                    <a:pt x="84" y="144"/>
                    <a:pt x="83" y="143"/>
                    <a:pt x="81" y="142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3" y="112"/>
                    <a:pt x="84" y="111"/>
                    <a:pt x="85" y="111"/>
                  </a:cubicBezTo>
                  <a:cubicBezTo>
                    <a:pt x="88" y="111"/>
                    <a:pt x="89" y="114"/>
                    <a:pt x="89" y="118"/>
                  </a:cubicBezTo>
                  <a:close/>
                  <a:moveTo>
                    <a:pt x="112" y="16"/>
                  </a:moveTo>
                  <a:cubicBezTo>
                    <a:pt x="112" y="64"/>
                    <a:pt x="112" y="64"/>
                    <a:pt x="112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0" y="62"/>
                    <a:pt x="97" y="64"/>
                    <a:pt x="94" y="64"/>
                  </a:cubicBezTo>
                  <a:cubicBezTo>
                    <a:pt x="91" y="64"/>
                    <a:pt x="89" y="63"/>
                    <a:pt x="88" y="61"/>
                  </a:cubicBezTo>
                  <a:cubicBezTo>
                    <a:pt x="88" y="59"/>
                    <a:pt x="88" y="57"/>
                    <a:pt x="88" y="54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3"/>
                    <a:pt x="96" y="54"/>
                    <a:pt x="96" y="54"/>
                  </a:cubicBezTo>
                  <a:cubicBezTo>
                    <a:pt x="96" y="56"/>
                    <a:pt x="97" y="56"/>
                    <a:pt x="98" y="56"/>
                  </a:cubicBezTo>
                  <a:cubicBezTo>
                    <a:pt x="100" y="56"/>
                    <a:pt x="102" y="55"/>
                    <a:pt x="104" y="52"/>
                  </a:cubicBezTo>
                  <a:cubicBezTo>
                    <a:pt x="104" y="16"/>
                    <a:pt x="104" y="16"/>
                    <a:pt x="104" y="16"/>
                  </a:cubicBezTo>
                  <a:lnTo>
                    <a:pt x="112" y="16"/>
                  </a:lnTo>
                  <a:close/>
                  <a:moveTo>
                    <a:pt x="129" y="136"/>
                  </a:moveTo>
                  <a:cubicBezTo>
                    <a:pt x="129" y="135"/>
                    <a:pt x="129" y="135"/>
                    <a:pt x="129" y="135"/>
                  </a:cubicBezTo>
                  <a:cubicBezTo>
                    <a:pt x="121" y="135"/>
                    <a:pt x="121" y="135"/>
                    <a:pt x="121" y="135"/>
                  </a:cubicBezTo>
                  <a:cubicBezTo>
                    <a:pt x="121" y="138"/>
                    <a:pt x="121" y="140"/>
                    <a:pt x="121" y="141"/>
                  </a:cubicBezTo>
                  <a:cubicBezTo>
                    <a:pt x="120" y="143"/>
                    <a:pt x="119" y="144"/>
                    <a:pt x="117" y="144"/>
                  </a:cubicBezTo>
                  <a:cubicBezTo>
                    <a:pt x="114" y="144"/>
                    <a:pt x="113" y="142"/>
                    <a:pt x="113" y="138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29" y="129"/>
                    <a:pt x="129" y="129"/>
                    <a:pt x="129" y="12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29" y="115"/>
                    <a:pt x="129" y="111"/>
                    <a:pt x="127" y="109"/>
                  </a:cubicBezTo>
                  <a:cubicBezTo>
                    <a:pt x="124" y="105"/>
                    <a:pt x="121" y="104"/>
                    <a:pt x="117" y="104"/>
                  </a:cubicBezTo>
                  <a:cubicBezTo>
                    <a:pt x="113" y="104"/>
                    <a:pt x="109" y="105"/>
                    <a:pt x="107" y="109"/>
                  </a:cubicBezTo>
                  <a:cubicBezTo>
                    <a:pt x="105" y="111"/>
                    <a:pt x="104" y="115"/>
                    <a:pt x="104" y="120"/>
                  </a:cubicBezTo>
                  <a:cubicBezTo>
                    <a:pt x="104" y="136"/>
                    <a:pt x="104" y="136"/>
                    <a:pt x="104" y="136"/>
                  </a:cubicBezTo>
                  <a:cubicBezTo>
                    <a:pt x="104" y="141"/>
                    <a:pt x="105" y="145"/>
                    <a:pt x="107" y="147"/>
                  </a:cubicBezTo>
                  <a:cubicBezTo>
                    <a:pt x="109" y="150"/>
                    <a:pt x="113" y="152"/>
                    <a:pt x="117" y="152"/>
                  </a:cubicBezTo>
                  <a:cubicBezTo>
                    <a:pt x="122" y="152"/>
                    <a:pt x="125" y="150"/>
                    <a:pt x="127" y="147"/>
                  </a:cubicBezTo>
                  <a:cubicBezTo>
                    <a:pt x="128" y="145"/>
                    <a:pt x="129" y="143"/>
                    <a:pt x="129" y="142"/>
                  </a:cubicBezTo>
                  <a:cubicBezTo>
                    <a:pt x="129" y="141"/>
                    <a:pt x="129" y="139"/>
                    <a:pt x="129" y="136"/>
                  </a:cubicBezTo>
                  <a:close/>
                  <a:moveTo>
                    <a:pt x="121" y="118"/>
                  </a:moveTo>
                  <a:cubicBezTo>
                    <a:pt x="121" y="122"/>
                    <a:pt x="121" y="122"/>
                    <a:pt x="121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3" y="118"/>
                    <a:pt x="113" y="118"/>
                    <a:pt x="113" y="118"/>
                  </a:cubicBezTo>
                  <a:cubicBezTo>
                    <a:pt x="113" y="114"/>
                    <a:pt x="114" y="111"/>
                    <a:pt x="117" y="111"/>
                  </a:cubicBezTo>
                  <a:cubicBezTo>
                    <a:pt x="120" y="111"/>
                    <a:pt x="121" y="114"/>
                    <a:pt x="121" y="1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7148" tIns="18574" rIns="37148" bIns="18574" numCol="1" anchor="t" anchorCtr="0" compatLnSpc="1">
              <a:prstTxWarp prst="textNoShape">
                <a:avLst/>
              </a:prstTxWarp>
            </a:bodyPr>
            <a:lstStyle/>
            <a:p>
              <a:endParaRPr lang="en-US" sz="644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901483" y="1988101"/>
            <a:ext cx="276598" cy="276596"/>
            <a:chOff x="6901483" y="1988101"/>
            <a:chExt cx="276598" cy="276596"/>
          </a:xfrm>
        </p:grpSpPr>
        <p:sp>
          <p:nvSpPr>
            <p:cNvPr id="59" name="Oval 58"/>
            <p:cNvSpPr/>
            <p:nvPr/>
          </p:nvSpPr>
          <p:spPr>
            <a:xfrm>
              <a:off x="6901483" y="1988101"/>
              <a:ext cx="276598" cy="2765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0" name="Freeform 123"/>
            <p:cNvSpPr>
              <a:spLocks/>
            </p:cNvSpPr>
            <p:nvPr/>
          </p:nvSpPr>
          <p:spPr bwMode="auto">
            <a:xfrm>
              <a:off x="6979833" y="2042005"/>
              <a:ext cx="119899" cy="168789"/>
            </a:xfrm>
            <a:custGeom>
              <a:avLst/>
              <a:gdLst>
                <a:gd name="T0" fmla="*/ 0 w 156"/>
                <a:gd name="T1" fmla="*/ 26 h 219"/>
                <a:gd name="T2" fmla="*/ 7 w 156"/>
                <a:gd name="T3" fmla="*/ 8 h 219"/>
                <a:gd name="T4" fmla="*/ 26 w 156"/>
                <a:gd name="T5" fmla="*/ 0 h 219"/>
                <a:gd name="T6" fmla="*/ 44 w 156"/>
                <a:gd name="T7" fmla="*/ 8 h 219"/>
                <a:gd name="T8" fmla="*/ 52 w 156"/>
                <a:gd name="T9" fmla="*/ 26 h 219"/>
                <a:gd name="T10" fmla="*/ 52 w 156"/>
                <a:gd name="T11" fmla="*/ 63 h 219"/>
                <a:gd name="T12" fmla="*/ 130 w 156"/>
                <a:gd name="T13" fmla="*/ 63 h 219"/>
                <a:gd name="T14" fmla="*/ 148 w 156"/>
                <a:gd name="T15" fmla="*/ 70 h 219"/>
                <a:gd name="T16" fmla="*/ 156 w 156"/>
                <a:gd name="T17" fmla="*/ 89 h 219"/>
                <a:gd name="T18" fmla="*/ 148 w 156"/>
                <a:gd name="T19" fmla="*/ 107 h 219"/>
                <a:gd name="T20" fmla="*/ 130 w 156"/>
                <a:gd name="T21" fmla="*/ 114 h 219"/>
                <a:gd name="T22" fmla="*/ 52 w 156"/>
                <a:gd name="T23" fmla="*/ 114 h 219"/>
                <a:gd name="T24" fmla="*/ 52 w 156"/>
                <a:gd name="T25" fmla="*/ 140 h 219"/>
                <a:gd name="T26" fmla="*/ 59 w 156"/>
                <a:gd name="T27" fmla="*/ 159 h 219"/>
                <a:gd name="T28" fmla="*/ 77 w 156"/>
                <a:gd name="T29" fmla="*/ 166 h 219"/>
                <a:gd name="T30" fmla="*/ 130 w 156"/>
                <a:gd name="T31" fmla="*/ 166 h 219"/>
                <a:gd name="T32" fmla="*/ 148 w 156"/>
                <a:gd name="T33" fmla="*/ 174 h 219"/>
                <a:gd name="T34" fmla="*/ 156 w 156"/>
                <a:gd name="T35" fmla="*/ 193 h 219"/>
                <a:gd name="T36" fmla="*/ 148 w 156"/>
                <a:gd name="T37" fmla="*/ 211 h 219"/>
                <a:gd name="T38" fmla="*/ 130 w 156"/>
                <a:gd name="T39" fmla="*/ 219 h 219"/>
                <a:gd name="T40" fmla="*/ 78 w 156"/>
                <a:gd name="T41" fmla="*/ 219 h 219"/>
                <a:gd name="T42" fmla="*/ 47 w 156"/>
                <a:gd name="T43" fmla="*/ 212 h 219"/>
                <a:gd name="T44" fmla="*/ 23 w 156"/>
                <a:gd name="T45" fmla="*/ 196 h 219"/>
                <a:gd name="T46" fmla="*/ 6 w 156"/>
                <a:gd name="T47" fmla="*/ 171 h 219"/>
                <a:gd name="T48" fmla="*/ 0 w 156"/>
                <a:gd name="T49" fmla="*/ 140 h 219"/>
                <a:gd name="T50" fmla="*/ 0 w 156"/>
                <a:gd name="T51" fmla="*/ 2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6" h="219">
                  <a:moveTo>
                    <a:pt x="0" y="26"/>
                  </a:moveTo>
                  <a:cubicBezTo>
                    <a:pt x="0" y="19"/>
                    <a:pt x="2" y="13"/>
                    <a:pt x="7" y="8"/>
                  </a:cubicBezTo>
                  <a:cubicBezTo>
                    <a:pt x="13" y="3"/>
                    <a:pt x="19" y="0"/>
                    <a:pt x="26" y="0"/>
                  </a:cubicBezTo>
                  <a:cubicBezTo>
                    <a:pt x="33" y="0"/>
                    <a:pt x="39" y="3"/>
                    <a:pt x="44" y="8"/>
                  </a:cubicBezTo>
                  <a:cubicBezTo>
                    <a:pt x="49" y="13"/>
                    <a:pt x="52" y="19"/>
                    <a:pt x="52" y="26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130" y="63"/>
                    <a:pt x="130" y="63"/>
                    <a:pt x="130" y="63"/>
                  </a:cubicBezTo>
                  <a:cubicBezTo>
                    <a:pt x="137" y="63"/>
                    <a:pt x="143" y="65"/>
                    <a:pt x="148" y="70"/>
                  </a:cubicBezTo>
                  <a:cubicBezTo>
                    <a:pt x="153" y="75"/>
                    <a:pt x="156" y="81"/>
                    <a:pt x="156" y="89"/>
                  </a:cubicBezTo>
                  <a:cubicBezTo>
                    <a:pt x="156" y="96"/>
                    <a:pt x="153" y="102"/>
                    <a:pt x="148" y="107"/>
                  </a:cubicBezTo>
                  <a:cubicBezTo>
                    <a:pt x="143" y="112"/>
                    <a:pt x="137" y="114"/>
                    <a:pt x="130" y="114"/>
                  </a:cubicBezTo>
                  <a:cubicBezTo>
                    <a:pt x="52" y="114"/>
                    <a:pt x="52" y="114"/>
                    <a:pt x="52" y="114"/>
                  </a:cubicBezTo>
                  <a:cubicBezTo>
                    <a:pt x="52" y="140"/>
                    <a:pt x="52" y="140"/>
                    <a:pt x="52" y="140"/>
                  </a:cubicBezTo>
                  <a:cubicBezTo>
                    <a:pt x="52" y="148"/>
                    <a:pt x="54" y="154"/>
                    <a:pt x="59" y="159"/>
                  </a:cubicBezTo>
                  <a:cubicBezTo>
                    <a:pt x="64" y="164"/>
                    <a:pt x="70" y="166"/>
                    <a:pt x="77" y="166"/>
                  </a:cubicBezTo>
                  <a:cubicBezTo>
                    <a:pt x="130" y="166"/>
                    <a:pt x="130" y="166"/>
                    <a:pt x="130" y="166"/>
                  </a:cubicBezTo>
                  <a:cubicBezTo>
                    <a:pt x="137" y="166"/>
                    <a:pt x="143" y="169"/>
                    <a:pt x="148" y="174"/>
                  </a:cubicBezTo>
                  <a:cubicBezTo>
                    <a:pt x="153" y="179"/>
                    <a:pt x="156" y="185"/>
                    <a:pt x="156" y="193"/>
                  </a:cubicBezTo>
                  <a:cubicBezTo>
                    <a:pt x="156" y="200"/>
                    <a:pt x="153" y="206"/>
                    <a:pt x="148" y="211"/>
                  </a:cubicBezTo>
                  <a:cubicBezTo>
                    <a:pt x="143" y="216"/>
                    <a:pt x="137" y="219"/>
                    <a:pt x="130" y="219"/>
                  </a:cubicBezTo>
                  <a:cubicBezTo>
                    <a:pt x="78" y="219"/>
                    <a:pt x="78" y="219"/>
                    <a:pt x="78" y="219"/>
                  </a:cubicBezTo>
                  <a:cubicBezTo>
                    <a:pt x="67" y="219"/>
                    <a:pt x="57" y="216"/>
                    <a:pt x="47" y="212"/>
                  </a:cubicBezTo>
                  <a:cubicBezTo>
                    <a:pt x="38" y="208"/>
                    <a:pt x="30" y="203"/>
                    <a:pt x="23" y="196"/>
                  </a:cubicBezTo>
                  <a:cubicBezTo>
                    <a:pt x="16" y="189"/>
                    <a:pt x="10" y="180"/>
                    <a:pt x="6" y="171"/>
                  </a:cubicBezTo>
                  <a:cubicBezTo>
                    <a:pt x="2" y="161"/>
                    <a:pt x="0" y="151"/>
                    <a:pt x="0" y="140"/>
                  </a:cubicBezTo>
                  <a:lnTo>
                    <a:pt x="0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7148" tIns="18574" rIns="37148" bIns="18574" numCol="1" anchor="t" anchorCtr="0" compatLnSpc="1">
              <a:prstTxWarp prst="textNoShape">
                <a:avLst/>
              </a:prstTxWarp>
            </a:bodyPr>
            <a:lstStyle/>
            <a:p>
              <a:endParaRPr lang="en-US" sz="644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7568174" y="2454925"/>
            <a:ext cx="319288" cy="319286"/>
            <a:chOff x="7568174" y="2454925"/>
            <a:chExt cx="319288" cy="319286"/>
          </a:xfrm>
        </p:grpSpPr>
        <p:sp>
          <p:nvSpPr>
            <p:cNvPr id="55" name="Oval 54"/>
            <p:cNvSpPr/>
            <p:nvPr/>
          </p:nvSpPr>
          <p:spPr>
            <a:xfrm>
              <a:off x="7568174" y="2454925"/>
              <a:ext cx="319288" cy="31928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6" name="Freeform 8"/>
            <p:cNvSpPr>
              <a:spLocks noEditPoints="1"/>
            </p:cNvSpPr>
            <p:nvPr/>
          </p:nvSpPr>
          <p:spPr bwMode="auto">
            <a:xfrm>
              <a:off x="7638565" y="2549101"/>
              <a:ext cx="178506" cy="130934"/>
            </a:xfrm>
            <a:custGeom>
              <a:avLst/>
              <a:gdLst>
                <a:gd name="T0" fmla="*/ 577 w 583"/>
                <a:gd name="T1" fmla="*/ 92 h 427"/>
                <a:gd name="T2" fmla="*/ 553 w 583"/>
                <a:gd name="T3" fmla="*/ 32 h 427"/>
                <a:gd name="T4" fmla="*/ 495 w 583"/>
                <a:gd name="T5" fmla="*/ 6 h 427"/>
                <a:gd name="T6" fmla="*/ 292 w 583"/>
                <a:gd name="T7" fmla="*/ 0 h 427"/>
                <a:gd name="T8" fmla="*/ 291 w 583"/>
                <a:gd name="T9" fmla="*/ 0 h 427"/>
                <a:gd name="T10" fmla="*/ 88 w 583"/>
                <a:gd name="T11" fmla="*/ 6 h 427"/>
                <a:gd name="T12" fmla="*/ 29 w 583"/>
                <a:gd name="T13" fmla="*/ 32 h 427"/>
                <a:gd name="T14" fmla="*/ 6 w 583"/>
                <a:gd name="T15" fmla="*/ 92 h 427"/>
                <a:gd name="T16" fmla="*/ 0 w 583"/>
                <a:gd name="T17" fmla="*/ 190 h 427"/>
                <a:gd name="T18" fmla="*/ 0 w 583"/>
                <a:gd name="T19" fmla="*/ 196 h 427"/>
                <a:gd name="T20" fmla="*/ 0 w 583"/>
                <a:gd name="T21" fmla="*/ 236 h 427"/>
                <a:gd name="T22" fmla="*/ 6 w 583"/>
                <a:gd name="T23" fmla="*/ 334 h 427"/>
                <a:gd name="T24" fmla="*/ 29 w 583"/>
                <a:gd name="T25" fmla="*/ 395 h 427"/>
                <a:gd name="T26" fmla="*/ 94 w 583"/>
                <a:gd name="T27" fmla="*/ 421 h 427"/>
                <a:gd name="T28" fmla="*/ 292 w 583"/>
                <a:gd name="T29" fmla="*/ 427 h 427"/>
                <a:gd name="T30" fmla="*/ 495 w 583"/>
                <a:gd name="T31" fmla="*/ 421 h 427"/>
                <a:gd name="T32" fmla="*/ 553 w 583"/>
                <a:gd name="T33" fmla="*/ 395 h 427"/>
                <a:gd name="T34" fmla="*/ 577 w 583"/>
                <a:gd name="T35" fmla="*/ 334 h 427"/>
                <a:gd name="T36" fmla="*/ 583 w 583"/>
                <a:gd name="T37" fmla="*/ 236 h 427"/>
                <a:gd name="T38" fmla="*/ 583 w 583"/>
                <a:gd name="T39" fmla="*/ 199 h 427"/>
                <a:gd name="T40" fmla="*/ 583 w 583"/>
                <a:gd name="T41" fmla="*/ 190 h 427"/>
                <a:gd name="T42" fmla="*/ 577 w 583"/>
                <a:gd name="T43" fmla="*/ 92 h 427"/>
                <a:gd name="T44" fmla="*/ 389 w 583"/>
                <a:gd name="T45" fmla="*/ 207 h 427"/>
                <a:gd name="T46" fmla="*/ 231 w 583"/>
                <a:gd name="T47" fmla="*/ 292 h 427"/>
                <a:gd name="T48" fmla="*/ 231 w 583"/>
                <a:gd name="T49" fmla="*/ 161 h 427"/>
                <a:gd name="T50" fmla="*/ 231 w 583"/>
                <a:gd name="T51" fmla="*/ 121 h 427"/>
                <a:gd name="T52" fmla="*/ 302 w 583"/>
                <a:gd name="T53" fmla="*/ 160 h 427"/>
                <a:gd name="T54" fmla="*/ 389 w 583"/>
                <a:gd name="T55" fmla="*/ 207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83" h="427">
                  <a:moveTo>
                    <a:pt x="577" y="92"/>
                  </a:moveTo>
                  <a:cubicBezTo>
                    <a:pt x="577" y="92"/>
                    <a:pt x="571" y="50"/>
                    <a:pt x="553" y="32"/>
                  </a:cubicBezTo>
                  <a:cubicBezTo>
                    <a:pt x="531" y="8"/>
                    <a:pt x="506" y="7"/>
                    <a:pt x="495" y="6"/>
                  </a:cubicBezTo>
                  <a:cubicBezTo>
                    <a:pt x="414" y="0"/>
                    <a:pt x="292" y="0"/>
                    <a:pt x="292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291" y="0"/>
                    <a:pt x="169" y="0"/>
                    <a:pt x="88" y="6"/>
                  </a:cubicBezTo>
                  <a:cubicBezTo>
                    <a:pt x="76" y="7"/>
                    <a:pt x="51" y="8"/>
                    <a:pt x="29" y="32"/>
                  </a:cubicBezTo>
                  <a:cubicBezTo>
                    <a:pt x="12" y="50"/>
                    <a:pt x="6" y="92"/>
                    <a:pt x="6" y="92"/>
                  </a:cubicBezTo>
                  <a:cubicBezTo>
                    <a:pt x="6" y="92"/>
                    <a:pt x="0" y="141"/>
                    <a:pt x="0" y="190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0" y="285"/>
                    <a:pt x="6" y="334"/>
                    <a:pt x="6" y="334"/>
                  </a:cubicBezTo>
                  <a:cubicBezTo>
                    <a:pt x="6" y="334"/>
                    <a:pt x="12" y="376"/>
                    <a:pt x="29" y="395"/>
                  </a:cubicBezTo>
                  <a:cubicBezTo>
                    <a:pt x="51" y="419"/>
                    <a:pt x="80" y="418"/>
                    <a:pt x="94" y="421"/>
                  </a:cubicBezTo>
                  <a:cubicBezTo>
                    <a:pt x="140" y="425"/>
                    <a:pt x="292" y="427"/>
                    <a:pt x="292" y="427"/>
                  </a:cubicBezTo>
                  <a:cubicBezTo>
                    <a:pt x="292" y="427"/>
                    <a:pt x="414" y="426"/>
                    <a:pt x="495" y="421"/>
                  </a:cubicBezTo>
                  <a:cubicBezTo>
                    <a:pt x="506" y="419"/>
                    <a:pt x="531" y="419"/>
                    <a:pt x="553" y="395"/>
                  </a:cubicBezTo>
                  <a:cubicBezTo>
                    <a:pt x="571" y="376"/>
                    <a:pt x="577" y="334"/>
                    <a:pt x="577" y="334"/>
                  </a:cubicBezTo>
                  <a:cubicBezTo>
                    <a:pt x="577" y="334"/>
                    <a:pt x="583" y="285"/>
                    <a:pt x="583" y="236"/>
                  </a:cubicBezTo>
                  <a:cubicBezTo>
                    <a:pt x="583" y="199"/>
                    <a:pt x="583" y="199"/>
                    <a:pt x="583" y="199"/>
                  </a:cubicBezTo>
                  <a:cubicBezTo>
                    <a:pt x="583" y="190"/>
                    <a:pt x="583" y="190"/>
                    <a:pt x="583" y="190"/>
                  </a:cubicBezTo>
                  <a:cubicBezTo>
                    <a:pt x="583" y="141"/>
                    <a:pt x="577" y="92"/>
                    <a:pt x="577" y="92"/>
                  </a:cubicBezTo>
                  <a:close/>
                  <a:moveTo>
                    <a:pt x="389" y="207"/>
                  </a:moveTo>
                  <a:cubicBezTo>
                    <a:pt x="231" y="292"/>
                    <a:pt x="231" y="292"/>
                    <a:pt x="231" y="292"/>
                  </a:cubicBezTo>
                  <a:cubicBezTo>
                    <a:pt x="231" y="161"/>
                    <a:pt x="231" y="161"/>
                    <a:pt x="231" y="161"/>
                  </a:cubicBezTo>
                  <a:cubicBezTo>
                    <a:pt x="231" y="121"/>
                    <a:pt x="231" y="121"/>
                    <a:pt x="231" y="121"/>
                  </a:cubicBezTo>
                  <a:cubicBezTo>
                    <a:pt x="302" y="160"/>
                    <a:pt x="302" y="160"/>
                    <a:pt x="302" y="160"/>
                  </a:cubicBezTo>
                  <a:lnTo>
                    <a:pt x="389" y="2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693678" y="2664674"/>
            <a:ext cx="853421" cy="853421"/>
            <a:chOff x="7693678" y="2664674"/>
            <a:chExt cx="853421" cy="853421"/>
          </a:xfrm>
        </p:grpSpPr>
        <p:sp>
          <p:nvSpPr>
            <p:cNvPr id="53" name="Oval 52"/>
            <p:cNvSpPr/>
            <p:nvPr/>
          </p:nvSpPr>
          <p:spPr>
            <a:xfrm>
              <a:off x="7693678" y="2664674"/>
              <a:ext cx="853421" cy="853421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4" name="Freeform 5"/>
            <p:cNvSpPr>
              <a:spLocks/>
            </p:cNvSpPr>
            <p:nvPr/>
          </p:nvSpPr>
          <p:spPr bwMode="auto">
            <a:xfrm>
              <a:off x="8012218" y="2859760"/>
              <a:ext cx="216340" cy="463249"/>
            </a:xfrm>
            <a:custGeom>
              <a:avLst/>
              <a:gdLst>
                <a:gd name="T0" fmla="*/ 180 w 272"/>
                <a:gd name="T1" fmla="*/ 175 h 582"/>
                <a:gd name="T2" fmla="*/ 180 w 272"/>
                <a:gd name="T3" fmla="*/ 128 h 582"/>
                <a:gd name="T4" fmla="*/ 205 w 272"/>
                <a:gd name="T5" fmla="*/ 100 h 582"/>
                <a:gd name="T6" fmla="*/ 271 w 272"/>
                <a:gd name="T7" fmla="*/ 100 h 582"/>
                <a:gd name="T8" fmla="*/ 271 w 272"/>
                <a:gd name="T9" fmla="*/ 0 h 582"/>
                <a:gd name="T10" fmla="*/ 181 w 272"/>
                <a:gd name="T11" fmla="*/ 0 h 582"/>
                <a:gd name="T12" fmla="*/ 58 w 272"/>
                <a:gd name="T13" fmla="*/ 122 h 582"/>
                <a:gd name="T14" fmla="*/ 58 w 272"/>
                <a:gd name="T15" fmla="*/ 175 h 582"/>
                <a:gd name="T16" fmla="*/ 0 w 272"/>
                <a:gd name="T17" fmla="*/ 175 h 582"/>
                <a:gd name="T18" fmla="*/ 0 w 272"/>
                <a:gd name="T19" fmla="*/ 245 h 582"/>
                <a:gd name="T20" fmla="*/ 0 w 272"/>
                <a:gd name="T21" fmla="*/ 291 h 582"/>
                <a:gd name="T22" fmla="*/ 59 w 272"/>
                <a:gd name="T23" fmla="*/ 291 h 582"/>
                <a:gd name="T24" fmla="*/ 59 w 272"/>
                <a:gd name="T25" fmla="*/ 582 h 582"/>
                <a:gd name="T26" fmla="*/ 175 w 272"/>
                <a:gd name="T27" fmla="*/ 582 h 582"/>
                <a:gd name="T28" fmla="*/ 175 w 272"/>
                <a:gd name="T29" fmla="*/ 291 h 582"/>
                <a:gd name="T30" fmla="*/ 261 w 272"/>
                <a:gd name="T31" fmla="*/ 291 h 582"/>
                <a:gd name="T32" fmla="*/ 265 w 272"/>
                <a:gd name="T33" fmla="*/ 245 h 582"/>
                <a:gd name="T34" fmla="*/ 272 w 272"/>
                <a:gd name="T35" fmla="*/ 175 h 582"/>
                <a:gd name="T36" fmla="*/ 180 w 272"/>
                <a:gd name="T37" fmla="*/ 175 h 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72" h="582">
                  <a:moveTo>
                    <a:pt x="180" y="175"/>
                  </a:moveTo>
                  <a:cubicBezTo>
                    <a:pt x="180" y="128"/>
                    <a:pt x="180" y="128"/>
                    <a:pt x="180" y="128"/>
                  </a:cubicBezTo>
                  <a:cubicBezTo>
                    <a:pt x="180" y="105"/>
                    <a:pt x="194" y="100"/>
                    <a:pt x="205" y="100"/>
                  </a:cubicBezTo>
                  <a:cubicBezTo>
                    <a:pt x="216" y="100"/>
                    <a:pt x="271" y="100"/>
                    <a:pt x="271" y="10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80" y="0"/>
                    <a:pt x="58" y="74"/>
                    <a:pt x="58" y="122"/>
                  </a:cubicBezTo>
                  <a:cubicBezTo>
                    <a:pt x="58" y="175"/>
                    <a:pt x="58" y="175"/>
                    <a:pt x="58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245"/>
                    <a:pt x="0" y="245"/>
                    <a:pt x="0" y="245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59" y="291"/>
                    <a:pt x="59" y="291"/>
                    <a:pt x="59" y="291"/>
                  </a:cubicBezTo>
                  <a:cubicBezTo>
                    <a:pt x="59" y="423"/>
                    <a:pt x="59" y="582"/>
                    <a:pt x="59" y="582"/>
                  </a:cubicBezTo>
                  <a:cubicBezTo>
                    <a:pt x="175" y="582"/>
                    <a:pt x="175" y="582"/>
                    <a:pt x="175" y="582"/>
                  </a:cubicBezTo>
                  <a:cubicBezTo>
                    <a:pt x="175" y="582"/>
                    <a:pt x="175" y="421"/>
                    <a:pt x="175" y="291"/>
                  </a:cubicBezTo>
                  <a:cubicBezTo>
                    <a:pt x="261" y="291"/>
                    <a:pt x="261" y="291"/>
                    <a:pt x="261" y="291"/>
                  </a:cubicBezTo>
                  <a:cubicBezTo>
                    <a:pt x="265" y="245"/>
                    <a:pt x="265" y="245"/>
                    <a:pt x="265" y="245"/>
                  </a:cubicBezTo>
                  <a:cubicBezTo>
                    <a:pt x="272" y="175"/>
                    <a:pt x="272" y="175"/>
                    <a:pt x="272" y="175"/>
                  </a:cubicBezTo>
                  <a:lnTo>
                    <a:pt x="180" y="1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441803" y="2958164"/>
            <a:ext cx="331368" cy="331367"/>
            <a:chOff x="6441803" y="2958164"/>
            <a:chExt cx="331368" cy="331367"/>
          </a:xfrm>
        </p:grpSpPr>
        <p:sp>
          <p:nvSpPr>
            <p:cNvPr id="51" name="Oval 50"/>
            <p:cNvSpPr/>
            <p:nvPr/>
          </p:nvSpPr>
          <p:spPr>
            <a:xfrm>
              <a:off x="6441803" y="2958164"/>
              <a:ext cx="331368" cy="331367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2" name="Freeform 119"/>
            <p:cNvSpPr>
              <a:spLocks/>
            </p:cNvSpPr>
            <p:nvPr/>
          </p:nvSpPr>
          <p:spPr bwMode="auto">
            <a:xfrm>
              <a:off x="6515266" y="3040378"/>
              <a:ext cx="184442" cy="166939"/>
            </a:xfrm>
            <a:custGeom>
              <a:avLst/>
              <a:gdLst>
                <a:gd name="T0" fmla="*/ 31 w 208"/>
                <a:gd name="T1" fmla="*/ 62 h 187"/>
                <a:gd name="T2" fmla="*/ 45 w 208"/>
                <a:gd name="T3" fmla="*/ 66 h 187"/>
                <a:gd name="T4" fmla="*/ 56 w 208"/>
                <a:gd name="T5" fmla="*/ 75 h 187"/>
                <a:gd name="T6" fmla="*/ 146 w 208"/>
                <a:gd name="T7" fmla="*/ 36 h 187"/>
                <a:gd name="T8" fmla="*/ 145 w 208"/>
                <a:gd name="T9" fmla="*/ 34 h 187"/>
                <a:gd name="T10" fmla="*/ 145 w 208"/>
                <a:gd name="T11" fmla="*/ 31 h 187"/>
                <a:gd name="T12" fmla="*/ 155 w 208"/>
                <a:gd name="T13" fmla="*/ 9 h 187"/>
                <a:gd name="T14" fmla="*/ 177 w 208"/>
                <a:gd name="T15" fmla="*/ 0 h 187"/>
                <a:gd name="T16" fmla="*/ 199 w 208"/>
                <a:gd name="T17" fmla="*/ 9 h 187"/>
                <a:gd name="T18" fmla="*/ 208 w 208"/>
                <a:gd name="T19" fmla="*/ 31 h 187"/>
                <a:gd name="T20" fmla="*/ 199 w 208"/>
                <a:gd name="T21" fmla="*/ 53 h 187"/>
                <a:gd name="T22" fmla="*/ 177 w 208"/>
                <a:gd name="T23" fmla="*/ 62 h 187"/>
                <a:gd name="T24" fmla="*/ 163 w 208"/>
                <a:gd name="T25" fmla="*/ 59 h 187"/>
                <a:gd name="T26" fmla="*/ 152 w 208"/>
                <a:gd name="T27" fmla="*/ 50 h 187"/>
                <a:gd name="T28" fmla="*/ 62 w 208"/>
                <a:gd name="T29" fmla="*/ 89 h 187"/>
                <a:gd name="T30" fmla="*/ 62 w 208"/>
                <a:gd name="T31" fmla="*/ 91 h 187"/>
                <a:gd name="T32" fmla="*/ 62 w 208"/>
                <a:gd name="T33" fmla="*/ 93 h 187"/>
                <a:gd name="T34" fmla="*/ 62 w 208"/>
                <a:gd name="T35" fmla="*/ 96 h 187"/>
                <a:gd name="T36" fmla="*/ 62 w 208"/>
                <a:gd name="T37" fmla="*/ 98 h 187"/>
                <a:gd name="T38" fmla="*/ 152 w 208"/>
                <a:gd name="T39" fmla="*/ 137 h 187"/>
                <a:gd name="T40" fmla="*/ 163 w 208"/>
                <a:gd name="T41" fmla="*/ 128 h 187"/>
                <a:gd name="T42" fmla="*/ 177 w 208"/>
                <a:gd name="T43" fmla="*/ 125 h 187"/>
                <a:gd name="T44" fmla="*/ 199 w 208"/>
                <a:gd name="T45" fmla="*/ 134 h 187"/>
                <a:gd name="T46" fmla="*/ 208 w 208"/>
                <a:gd name="T47" fmla="*/ 156 h 187"/>
                <a:gd name="T48" fmla="*/ 199 w 208"/>
                <a:gd name="T49" fmla="*/ 178 h 187"/>
                <a:gd name="T50" fmla="*/ 177 w 208"/>
                <a:gd name="T51" fmla="*/ 187 h 187"/>
                <a:gd name="T52" fmla="*/ 155 w 208"/>
                <a:gd name="T53" fmla="*/ 178 h 187"/>
                <a:gd name="T54" fmla="*/ 145 w 208"/>
                <a:gd name="T55" fmla="*/ 156 h 187"/>
                <a:gd name="T56" fmla="*/ 145 w 208"/>
                <a:gd name="T57" fmla="*/ 153 h 187"/>
                <a:gd name="T58" fmla="*/ 146 w 208"/>
                <a:gd name="T59" fmla="*/ 151 h 187"/>
                <a:gd name="T60" fmla="*/ 56 w 208"/>
                <a:gd name="T61" fmla="*/ 113 h 187"/>
                <a:gd name="T62" fmla="*/ 45 w 208"/>
                <a:gd name="T63" fmla="*/ 121 h 187"/>
                <a:gd name="T64" fmla="*/ 31 w 208"/>
                <a:gd name="T65" fmla="*/ 125 h 187"/>
                <a:gd name="T66" fmla="*/ 9 w 208"/>
                <a:gd name="T67" fmla="*/ 116 h 187"/>
                <a:gd name="T68" fmla="*/ 0 w 208"/>
                <a:gd name="T69" fmla="*/ 93 h 187"/>
                <a:gd name="T70" fmla="*/ 9 w 208"/>
                <a:gd name="T71" fmla="*/ 71 h 187"/>
                <a:gd name="T72" fmla="*/ 31 w 208"/>
                <a:gd name="T73" fmla="*/ 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8" h="187">
                  <a:moveTo>
                    <a:pt x="31" y="62"/>
                  </a:moveTo>
                  <a:cubicBezTo>
                    <a:pt x="36" y="62"/>
                    <a:pt x="41" y="63"/>
                    <a:pt x="45" y="66"/>
                  </a:cubicBezTo>
                  <a:cubicBezTo>
                    <a:pt x="49" y="68"/>
                    <a:pt x="53" y="71"/>
                    <a:pt x="56" y="75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6"/>
                    <a:pt x="146" y="35"/>
                    <a:pt x="145" y="34"/>
                  </a:cubicBezTo>
                  <a:cubicBezTo>
                    <a:pt x="145" y="33"/>
                    <a:pt x="145" y="32"/>
                    <a:pt x="145" y="31"/>
                  </a:cubicBezTo>
                  <a:cubicBezTo>
                    <a:pt x="145" y="22"/>
                    <a:pt x="148" y="15"/>
                    <a:pt x="155" y="9"/>
                  </a:cubicBezTo>
                  <a:cubicBezTo>
                    <a:pt x="161" y="3"/>
                    <a:pt x="168" y="0"/>
                    <a:pt x="177" y="0"/>
                  </a:cubicBezTo>
                  <a:cubicBezTo>
                    <a:pt x="185" y="0"/>
                    <a:pt x="193" y="3"/>
                    <a:pt x="199" y="9"/>
                  </a:cubicBezTo>
                  <a:cubicBezTo>
                    <a:pt x="205" y="15"/>
                    <a:pt x="208" y="22"/>
                    <a:pt x="208" y="31"/>
                  </a:cubicBezTo>
                  <a:cubicBezTo>
                    <a:pt x="208" y="40"/>
                    <a:pt x="205" y="47"/>
                    <a:pt x="199" y="53"/>
                  </a:cubicBezTo>
                  <a:cubicBezTo>
                    <a:pt x="193" y="59"/>
                    <a:pt x="185" y="62"/>
                    <a:pt x="177" y="62"/>
                  </a:cubicBezTo>
                  <a:cubicBezTo>
                    <a:pt x="172" y="62"/>
                    <a:pt x="167" y="61"/>
                    <a:pt x="163" y="59"/>
                  </a:cubicBezTo>
                  <a:cubicBezTo>
                    <a:pt x="158" y="57"/>
                    <a:pt x="155" y="54"/>
                    <a:pt x="152" y="50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90"/>
                    <a:pt x="62" y="91"/>
                  </a:cubicBezTo>
                  <a:cubicBezTo>
                    <a:pt x="62" y="92"/>
                    <a:pt x="62" y="92"/>
                    <a:pt x="62" y="93"/>
                  </a:cubicBezTo>
                  <a:cubicBezTo>
                    <a:pt x="62" y="95"/>
                    <a:pt x="62" y="96"/>
                    <a:pt x="62" y="96"/>
                  </a:cubicBezTo>
                  <a:cubicBezTo>
                    <a:pt x="62" y="97"/>
                    <a:pt x="62" y="98"/>
                    <a:pt x="62" y="98"/>
                  </a:cubicBezTo>
                  <a:cubicBezTo>
                    <a:pt x="152" y="137"/>
                    <a:pt x="152" y="137"/>
                    <a:pt x="152" y="137"/>
                  </a:cubicBezTo>
                  <a:cubicBezTo>
                    <a:pt x="155" y="133"/>
                    <a:pt x="158" y="130"/>
                    <a:pt x="163" y="128"/>
                  </a:cubicBezTo>
                  <a:cubicBezTo>
                    <a:pt x="167" y="126"/>
                    <a:pt x="172" y="125"/>
                    <a:pt x="177" y="125"/>
                  </a:cubicBezTo>
                  <a:cubicBezTo>
                    <a:pt x="185" y="125"/>
                    <a:pt x="193" y="128"/>
                    <a:pt x="199" y="134"/>
                  </a:cubicBezTo>
                  <a:cubicBezTo>
                    <a:pt x="205" y="140"/>
                    <a:pt x="208" y="147"/>
                    <a:pt x="208" y="156"/>
                  </a:cubicBezTo>
                  <a:cubicBezTo>
                    <a:pt x="208" y="165"/>
                    <a:pt x="205" y="172"/>
                    <a:pt x="199" y="178"/>
                  </a:cubicBezTo>
                  <a:cubicBezTo>
                    <a:pt x="193" y="184"/>
                    <a:pt x="185" y="187"/>
                    <a:pt x="177" y="187"/>
                  </a:cubicBezTo>
                  <a:cubicBezTo>
                    <a:pt x="168" y="187"/>
                    <a:pt x="161" y="184"/>
                    <a:pt x="155" y="178"/>
                  </a:cubicBezTo>
                  <a:cubicBezTo>
                    <a:pt x="148" y="172"/>
                    <a:pt x="145" y="165"/>
                    <a:pt x="145" y="156"/>
                  </a:cubicBezTo>
                  <a:cubicBezTo>
                    <a:pt x="145" y="155"/>
                    <a:pt x="145" y="154"/>
                    <a:pt x="145" y="153"/>
                  </a:cubicBezTo>
                  <a:cubicBezTo>
                    <a:pt x="146" y="152"/>
                    <a:pt x="146" y="152"/>
                    <a:pt x="146" y="151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3" y="116"/>
                    <a:pt x="49" y="119"/>
                    <a:pt x="45" y="121"/>
                  </a:cubicBezTo>
                  <a:cubicBezTo>
                    <a:pt x="40" y="124"/>
                    <a:pt x="36" y="125"/>
                    <a:pt x="31" y="125"/>
                  </a:cubicBezTo>
                  <a:cubicBezTo>
                    <a:pt x="22" y="125"/>
                    <a:pt x="15" y="122"/>
                    <a:pt x="9" y="116"/>
                  </a:cubicBezTo>
                  <a:cubicBezTo>
                    <a:pt x="3" y="109"/>
                    <a:pt x="0" y="102"/>
                    <a:pt x="0" y="93"/>
                  </a:cubicBezTo>
                  <a:cubicBezTo>
                    <a:pt x="0" y="85"/>
                    <a:pt x="3" y="78"/>
                    <a:pt x="9" y="71"/>
                  </a:cubicBezTo>
                  <a:cubicBezTo>
                    <a:pt x="15" y="65"/>
                    <a:pt x="22" y="62"/>
                    <a:pt x="31" y="6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7148" tIns="18574" rIns="37148" bIns="18574" numCol="1" anchor="t" anchorCtr="0" compatLnSpc="1">
              <a:prstTxWarp prst="textNoShape">
                <a:avLst/>
              </a:prstTxWarp>
            </a:bodyPr>
            <a:lstStyle/>
            <a:p>
              <a:endParaRPr lang="en-US" sz="644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883718" y="3399245"/>
            <a:ext cx="968621" cy="932254"/>
            <a:chOff x="6883718" y="3399245"/>
            <a:chExt cx="968621" cy="932254"/>
          </a:xfrm>
        </p:grpSpPr>
        <p:sp>
          <p:nvSpPr>
            <p:cNvPr id="28" name="Freeform 13"/>
            <p:cNvSpPr>
              <a:spLocks/>
            </p:cNvSpPr>
            <p:nvPr/>
          </p:nvSpPr>
          <p:spPr bwMode="auto">
            <a:xfrm>
              <a:off x="6891188" y="3650716"/>
              <a:ext cx="1405" cy="1405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3 w 3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2"/>
                    <a:pt x="1" y="1"/>
                    <a:pt x="0" y="0"/>
                  </a:cubicBezTo>
                  <a:cubicBezTo>
                    <a:pt x="1" y="1"/>
                    <a:pt x="2" y="2"/>
                    <a:pt x="3" y="4"/>
                  </a:cubicBezTo>
                  <a:close/>
                </a:path>
              </a:pathLst>
            </a:custGeom>
            <a:solidFill>
              <a:srgbClr val="ED2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9" name="Freeform 12"/>
            <p:cNvSpPr>
              <a:spLocks/>
            </p:cNvSpPr>
            <p:nvPr/>
          </p:nvSpPr>
          <p:spPr bwMode="auto">
            <a:xfrm>
              <a:off x="6888769" y="3645457"/>
              <a:ext cx="1257" cy="1257"/>
            </a:xfrm>
            <a:custGeom>
              <a:avLst/>
              <a:gdLst>
                <a:gd name="T0" fmla="*/ 3 w 3"/>
                <a:gd name="T1" fmla="*/ 4 h 4"/>
                <a:gd name="T2" fmla="*/ 0 w 3"/>
                <a:gd name="T3" fmla="*/ 0 h 4"/>
                <a:gd name="T4" fmla="*/ 3 w 3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2" y="3"/>
                    <a:pt x="1" y="1"/>
                    <a:pt x="0" y="0"/>
                  </a:cubicBezTo>
                  <a:cubicBezTo>
                    <a:pt x="1" y="1"/>
                    <a:pt x="2" y="3"/>
                    <a:pt x="3" y="4"/>
                  </a:cubicBezTo>
                  <a:close/>
                </a:path>
              </a:pathLst>
            </a:custGeom>
            <a:solidFill>
              <a:srgbClr val="ED2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7" name="Oval 56"/>
            <p:cNvSpPr/>
            <p:nvPr/>
          </p:nvSpPr>
          <p:spPr>
            <a:xfrm>
              <a:off x="6920085" y="3399245"/>
              <a:ext cx="932254" cy="93225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8" name="Freeform 133"/>
            <p:cNvSpPr>
              <a:spLocks noEditPoints="1"/>
            </p:cNvSpPr>
            <p:nvPr/>
          </p:nvSpPr>
          <p:spPr bwMode="auto">
            <a:xfrm>
              <a:off x="7134615" y="3643965"/>
              <a:ext cx="503196" cy="442813"/>
            </a:xfrm>
            <a:custGeom>
              <a:avLst/>
              <a:gdLst>
                <a:gd name="T0" fmla="*/ 116 w 228"/>
                <a:gd name="T1" fmla="*/ 6 h 199"/>
                <a:gd name="T2" fmla="*/ 101 w 228"/>
                <a:gd name="T3" fmla="*/ 8 h 199"/>
                <a:gd name="T4" fmla="*/ 109 w 228"/>
                <a:gd name="T5" fmla="*/ 18 h 199"/>
                <a:gd name="T6" fmla="*/ 112 w 228"/>
                <a:gd name="T7" fmla="*/ 27 h 199"/>
                <a:gd name="T8" fmla="*/ 112 w 228"/>
                <a:gd name="T9" fmla="*/ 57 h 199"/>
                <a:gd name="T10" fmla="*/ 109 w 228"/>
                <a:gd name="T11" fmla="*/ 65 h 199"/>
                <a:gd name="T12" fmla="*/ 101 w 228"/>
                <a:gd name="T13" fmla="*/ 76 h 199"/>
                <a:gd name="T14" fmla="*/ 86 w 228"/>
                <a:gd name="T15" fmla="*/ 89 h 199"/>
                <a:gd name="T16" fmla="*/ 91 w 228"/>
                <a:gd name="T17" fmla="*/ 102 h 199"/>
                <a:gd name="T18" fmla="*/ 101 w 228"/>
                <a:gd name="T19" fmla="*/ 111 h 199"/>
                <a:gd name="T20" fmla="*/ 111 w 228"/>
                <a:gd name="T21" fmla="*/ 120 h 199"/>
                <a:gd name="T22" fmla="*/ 117 w 228"/>
                <a:gd name="T23" fmla="*/ 127 h 199"/>
                <a:gd name="T24" fmla="*/ 122 w 228"/>
                <a:gd name="T25" fmla="*/ 137 h 199"/>
                <a:gd name="T26" fmla="*/ 122 w 228"/>
                <a:gd name="T27" fmla="*/ 157 h 199"/>
                <a:gd name="T28" fmla="*/ 120 w 228"/>
                <a:gd name="T29" fmla="*/ 168 h 199"/>
                <a:gd name="T30" fmla="*/ 111 w 228"/>
                <a:gd name="T31" fmla="*/ 181 h 199"/>
                <a:gd name="T32" fmla="*/ 101 w 228"/>
                <a:gd name="T33" fmla="*/ 189 h 199"/>
                <a:gd name="T34" fmla="*/ 93 w 228"/>
                <a:gd name="T35" fmla="*/ 192 h 199"/>
                <a:gd name="T36" fmla="*/ 59 w 228"/>
                <a:gd name="T37" fmla="*/ 199 h 199"/>
                <a:gd name="T38" fmla="*/ 25 w 228"/>
                <a:gd name="T39" fmla="*/ 193 h 199"/>
                <a:gd name="T40" fmla="*/ 15 w 228"/>
                <a:gd name="T41" fmla="*/ 188 h 199"/>
                <a:gd name="T42" fmla="*/ 0 w 228"/>
                <a:gd name="T43" fmla="*/ 154 h 199"/>
                <a:gd name="T44" fmla="*/ 3 w 228"/>
                <a:gd name="T45" fmla="*/ 143 h 199"/>
                <a:gd name="T46" fmla="*/ 11 w 228"/>
                <a:gd name="T47" fmla="*/ 132 h 199"/>
                <a:gd name="T48" fmla="*/ 68 w 228"/>
                <a:gd name="T49" fmla="*/ 113 h 199"/>
                <a:gd name="T50" fmla="*/ 61 w 228"/>
                <a:gd name="T51" fmla="*/ 104 h 199"/>
                <a:gd name="T52" fmla="*/ 35 w 228"/>
                <a:gd name="T53" fmla="*/ 87 h 199"/>
                <a:gd name="T54" fmla="*/ 23 w 228"/>
                <a:gd name="T55" fmla="*/ 80 h 199"/>
                <a:gd name="T56" fmla="*/ 15 w 228"/>
                <a:gd name="T57" fmla="*/ 69 h 199"/>
                <a:gd name="T58" fmla="*/ 14 w 228"/>
                <a:gd name="T59" fmla="*/ 34 h 199"/>
                <a:gd name="T60" fmla="*/ 18 w 228"/>
                <a:gd name="T61" fmla="*/ 25 h 199"/>
                <a:gd name="T62" fmla="*/ 29 w 228"/>
                <a:gd name="T63" fmla="*/ 13 h 199"/>
                <a:gd name="T64" fmla="*/ 36 w 228"/>
                <a:gd name="T65" fmla="*/ 9 h 199"/>
                <a:gd name="T66" fmla="*/ 43 w 228"/>
                <a:gd name="T67" fmla="*/ 6 h 199"/>
                <a:gd name="T68" fmla="*/ 58 w 228"/>
                <a:gd name="T69" fmla="*/ 1 h 199"/>
                <a:gd name="T70" fmla="*/ 41 w 228"/>
                <a:gd name="T71" fmla="*/ 130 h 199"/>
                <a:gd name="T72" fmla="*/ 30 w 228"/>
                <a:gd name="T73" fmla="*/ 139 h 199"/>
                <a:gd name="T74" fmla="*/ 24 w 228"/>
                <a:gd name="T75" fmla="*/ 147 h 199"/>
                <a:gd name="T76" fmla="*/ 24 w 228"/>
                <a:gd name="T77" fmla="*/ 164 h 199"/>
                <a:gd name="T78" fmla="*/ 31 w 228"/>
                <a:gd name="T79" fmla="*/ 175 h 199"/>
                <a:gd name="T80" fmla="*/ 41 w 228"/>
                <a:gd name="T81" fmla="*/ 181 h 199"/>
                <a:gd name="T82" fmla="*/ 49 w 228"/>
                <a:gd name="T83" fmla="*/ 184 h 199"/>
                <a:gd name="T84" fmla="*/ 72 w 228"/>
                <a:gd name="T85" fmla="*/ 184 h 199"/>
                <a:gd name="T86" fmla="*/ 82 w 228"/>
                <a:gd name="T87" fmla="*/ 181 h 199"/>
                <a:gd name="T88" fmla="*/ 89 w 228"/>
                <a:gd name="T89" fmla="*/ 178 h 199"/>
                <a:gd name="T90" fmla="*/ 98 w 228"/>
                <a:gd name="T91" fmla="*/ 171 h 199"/>
                <a:gd name="T92" fmla="*/ 103 w 228"/>
                <a:gd name="T93" fmla="*/ 164 h 199"/>
                <a:gd name="T94" fmla="*/ 103 w 228"/>
                <a:gd name="T95" fmla="*/ 144 h 199"/>
                <a:gd name="T96" fmla="*/ 97 w 228"/>
                <a:gd name="T97" fmla="*/ 135 h 199"/>
                <a:gd name="T98" fmla="*/ 89 w 228"/>
                <a:gd name="T99" fmla="*/ 130 h 199"/>
                <a:gd name="T100" fmla="*/ 81 w 228"/>
                <a:gd name="T101" fmla="*/ 126 h 199"/>
                <a:gd name="T102" fmla="*/ 53 w 228"/>
                <a:gd name="T103" fmla="*/ 126 h 199"/>
                <a:gd name="T104" fmla="*/ 42 w 228"/>
                <a:gd name="T105" fmla="*/ 18 h 199"/>
                <a:gd name="T106" fmla="*/ 38 w 228"/>
                <a:gd name="T107" fmla="*/ 54 h 199"/>
                <a:gd name="T108" fmla="*/ 42 w 228"/>
                <a:gd name="T109" fmla="*/ 63 h 199"/>
                <a:gd name="T110" fmla="*/ 50 w 228"/>
                <a:gd name="T111" fmla="*/ 73 h 199"/>
                <a:gd name="T112" fmla="*/ 60 w 228"/>
                <a:gd name="T113" fmla="*/ 79 h 199"/>
                <a:gd name="T114" fmla="*/ 87 w 228"/>
                <a:gd name="T115" fmla="*/ 63 h 199"/>
                <a:gd name="T116" fmla="*/ 87 w 228"/>
                <a:gd name="T117" fmla="*/ 40 h 199"/>
                <a:gd name="T118" fmla="*/ 84 w 228"/>
                <a:gd name="T119" fmla="*/ 31 h 199"/>
                <a:gd name="T120" fmla="*/ 79 w 228"/>
                <a:gd name="T121" fmla="*/ 23 h 199"/>
                <a:gd name="T122" fmla="*/ 49 w 228"/>
                <a:gd name="T123" fmla="*/ 12 h 199"/>
                <a:gd name="T124" fmla="*/ 214 w 228"/>
                <a:gd name="T125" fmla="*/ 3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" h="199">
                  <a:moveTo>
                    <a:pt x="123" y="1"/>
                  </a:moveTo>
                  <a:cubicBezTo>
                    <a:pt x="123" y="2"/>
                    <a:pt x="123" y="2"/>
                    <a:pt x="123" y="3"/>
                  </a:cubicBezTo>
                  <a:cubicBezTo>
                    <a:pt x="123" y="3"/>
                    <a:pt x="122" y="3"/>
                    <a:pt x="122" y="3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2" y="3"/>
                    <a:pt x="122" y="3"/>
                    <a:pt x="122" y="3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0" y="4"/>
                    <a:pt x="120" y="4"/>
                    <a:pt x="119" y="5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5" y="6"/>
                    <a:pt x="115" y="6"/>
                    <a:pt x="115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10" y="7"/>
                    <a:pt x="110" y="7"/>
                    <a:pt x="109" y="7"/>
                  </a:cubicBezTo>
                  <a:cubicBezTo>
                    <a:pt x="109" y="7"/>
                    <a:pt x="109" y="7"/>
                    <a:pt x="109" y="7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8" y="7"/>
                    <a:pt x="108" y="7"/>
                    <a:pt x="108" y="7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3" y="8"/>
                    <a:pt x="103" y="8"/>
                    <a:pt x="103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101" y="8"/>
                    <a:pt x="100" y="8"/>
                    <a:pt x="100" y="8"/>
                  </a:cubicBezTo>
                  <a:cubicBezTo>
                    <a:pt x="99" y="9"/>
                    <a:pt x="99" y="9"/>
                    <a:pt x="98" y="9"/>
                  </a:cubicBezTo>
                  <a:cubicBezTo>
                    <a:pt x="98" y="9"/>
                    <a:pt x="98" y="9"/>
                    <a:pt x="98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9" y="11"/>
                    <a:pt x="100" y="11"/>
                    <a:pt x="100" y="11"/>
                  </a:cubicBezTo>
                  <a:cubicBezTo>
                    <a:pt x="101" y="12"/>
                    <a:pt x="102" y="12"/>
                    <a:pt x="102" y="12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3"/>
                    <a:pt x="104" y="14"/>
                    <a:pt x="105" y="14"/>
                  </a:cubicBezTo>
                  <a:cubicBezTo>
                    <a:pt x="105" y="15"/>
                    <a:pt x="106" y="15"/>
                    <a:pt x="106" y="15"/>
                  </a:cubicBezTo>
                  <a:cubicBezTo>
                    <a:pt x="107" y="16"/>
                    <a:pt x="107" y="16"/>
                    <a:pt x="107" y="16"/>
                  </a:cubicBezTo>
                  <a:cubicBezTo>
                    <a:pt x="107" y="16"/>
                    <a:pt x="107" y="16"/>
                    <a:pt x="107" y="17"/>
                  </a:cubicBezTo>
                  <a:cubicBezTo>
                    <a:pt x="108" y="17"/>
                    <a:pt x="108" y="17"/>
                    <a:pt x="108" y="17"/>
                  </a:cubicBezTo>
                  <a:cubicBezTo>
                    <a:pt x="108" y="17"/>
                    <a:pt x="108" y="18"/>
                    <a:pt x="108" y="18"/>
                  </a:cubicBezTo>
                  <a:cubicBezTo>
                    <a:pt x="108" y="18"/>
                    <a:pt x="108" y="18"/>
                    <a:pt x="108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19"/>
                    <a:pt x="109" y="19"/>
                    <a:pt x="109" y="19"/>
                  </a:cubicBezTo>
                  <a:cubicBezTo>
                    <a:pt x="109" y="19"/>
                    <a:pt x="109" y="19"/>
                    <a:pt x="109" y="19"/>
                  </a:cubicBezTo>
                  <a:cubicBezTo>
                    <a:pt x="110" y="19"/>
                    <a:pt x="110" y="20"/>
                    <a:pt x="110" y="20"/>
                  </a:cubicBezTo>
                  <a:cubicBezTo>
                    <a:pt x="110" y="20"/>
                    <a:pt x="110" y="20"/>
                    <a:pt x="110" y="21"/>
                  </a:cubicBezTo>
                  <a:cubicBezTo>
                    <a:pt x="110" y="21"/>
                    <a:pt x="110" y="21"/>
                    <a:pt x="110" y="21"/>
                  </a:cubicBezTo>
                  <a:cubicBezTo>
                    <a:pt x="110" y="21"/>
                    <a:pt x="110" y="21"/>
                    <a:pt x="110" y="22"/>
                  </a:cubicBezTo>
                  <a:cubicBezTo>
                    <a:pt x="111" y="22"/>
                    <a:pt x="111" y="22"/>
                    <a:pt x="111" y="23"/>
                  </a:cubicBezTo>
                  <a:cubicBezTo>
                    <a:pt x="111" y="23"/>
                    <a:pt x="111" y="23"/>
                    <a:pt x="111" y="23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5"/>
                    <a:pt x="112" y="25"/>
                    <a:pt x="112" y="25"/>
                  </a:cubicBezTo>
                  <a:cubicBezTo>
                    <a:pt x="112" y="27"/>
                    <a:pt x="112" y="27"/>
                    <a:pt x="112" y="27"/>
                  </a:cubicBezTo>
                  <a:cubicBezTo>
                    <a:pt x="112" y="27"/>
                    <a:pt x="112" y="27"/>
                    <a:pt x="112" y="27"/>
                  </a:cubicBezTo>
                  <a:cubicBezTo>
                    <a:pt x="112" y="28"/>
                    <a:pt x="112" y="28"/>
                    <a:pt x="112" y="28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4" y="32"/>
                    <a:pt x="114" y="35"/>
                    <a:pt x="114" y="37"/>
                  </a:cubicBezTo>
                  <a:cubicBezTo>
                    <a:pt x="114" y="40"/>
                    <a:pt x="114" y="43"/>
                    <a:pt x="114" y="46"/>
                  </a:cubicBezTo>
                  <a:cubicBezTo>
                    <a:pt x="114" y="47"/>
                    <a:pt x="114" y="48"/>
                    <a:pt x="114" y="49"/>
                  </a:cubicBezTo>
                  <a:cubicBezTo>
                    <a:pt x="114" y="51"/>
                    <a:pt x="114" y="52"/>
                    <a:pt x="114" y="53"/>
                  </a:cubicBezTo>
                  <a:cubicBezTo>
                    <a:pt x="113" y="53"/>
                    <a:pt x="113" y="53"/>
                    <a:pt x="113" y="53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3" y="56"/>
                    <a:pt x="113" y="56"/>
                    <a:pt x="113" y="56"/>
                  </a:cubicBezTo>
                  <a:cubicBezTo>
                    <a:pt x="112" y="56"/>
                    <a:pt x="112" y="56"/>
                    <a:pt x="112" y="56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12" y="59"/>
                    <a:pt x="112" y="60"/>
                  </a:cubicBezTo>
                  <a:cubicBezTo>
                    <a:pt x="112" y="60"/>
                    <a:pt x="112" y="60"/>
                    <a:pt x="112" y="61"/>
                  </a:cubicBezTo>
                  <a:cubicBezTo>
                    <a:pt x="111" y="61"/>
                    <a:pt x="111" y="61"/>
                    <a:pt x="111" y="61"/>
                  </a:cubicBezTo>
                  <a:cubicBezTo>
                    <a:pt x="111" y="61"/>
                    <a:pt x="111" y="61"/>
                    <a:pt x="111" y="61"/>
                  </a:cubicBezTo>
                  <a:cubicBezTo>
                    <a:pt x="111" y="61"/>
                    <a:pt x="111" y="61"/>
                    <a:pt x="111" y="61"/>
                  </a:cubicBezTo>
                  <a:cubicBezTo>
                    <a:pt x="111" y="62"/>
                    <a:pt x="111" y="62"/>
                    <a:pt x="111" y="62"/>
                  </a:cubicBezTo>
                  <a:cubicBezTo>
                    <a:pt x="110" y="62"/>
                    <a:pt x="110" y="62"/>
                    <a:pt x="110" y="62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8" y="66"/>
                  </a:cubicBezTo>
                  <a:cubicBezTo>
                    <a:pt x="108" y="67"/>
                    <a:pt x="108" y="68"/>
                    <a:pt x="107" y="68"/>
                  </a:cubicBezTo>
                  <a:cubicBezTo>
                    <a:pt x="107" y="68"/>
                    <a:pt x="107" y="69"/>
                    <a:pt x="106" y="6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69"/>
                    <a:pt x="106" y="69"/>
                    <a:pt x="106" y="69"/>
                  </a:cubicBezTo>
                  <a:cubicBezTo>
                    <a:pt x="106" y="70"/>
                    <a:pt x="106" y="70"/>
                    <a:pt x="105" y="70"/>
                  </a:cubicBezTo>
                  <a:cubicBezTo>
                    <a:pt x="105" y="70"/>
                    <a:pt x="105" y="71"/>
                    <a:pt x="105" y="71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72"/>
                    <a:pt x="104" y="72"/>
                    <a:pt x="104" y="72"/>
                  </a:cubicBezTo>
                  <a:cubicBezTo>
                    <a:pt x="104" y="72"/>
                    <a:pt x="103" y="73"/>
                    <a:pt x="103" y="73"/>
                  </a:cubicBezTo>
                  <a:cubicBezTo>
                    <a:pt x="102" y="74"/>
                    <a:pt x="101" y="74"/>
                    <a:pt x="101" y="75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0" y="76"/>
                    <a:pt x="100" y="76"/>
                    <a:pt x="100" y="76"/>
                  </a:cubicBezTo>
                  <a:cubicBezTo>
                    <a:pt x="100" y="76"/>
                    <a:pt x="99" y="76"/>
                    <a:pt x="99" y="77"/>
                  </a:cubicBezTo>
                  <a:cubicBezTo>
                    <a:pt x="99" y="77"/>
                    <a:pt x="98" y="78"/>
                    <a:pt x="98" y="78"/>
                  </a:cubicBezTo>
                  <a:cubicBezTo>
                    <a:pt x="97" y="78"/>
                    <a:pt x="97" y="78"/>
                    <a:pt x="97" y="78"/>
                  </a:cubicBezTo>
                  <a:cubicBezTo>
                    <a:pt x="97" y="78"/>
                    <a:pt x="97" y="78"/>
                    <a:pt x="97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5" y="79"/>
                    <a:pt x="95" y="79"/>
                    <a:pt x="95" y="79"/>
                  </a:cubicBezTo>
                  <a:cubicBezTo>
                    <a:pt x="95" y="80"/>
                    <a:pt x="95" y="80"/>
                    <a:pt x="94" y="81"/>
                  </a:cubicBezTo>
                  <a:cubicBezTo>
                    <a:pt x="94" y="81"/>
                    <a:pt x="94" y="81"/>
                    <a:pt x="93" y="82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92" y="83"/>
                    <a:pt x="91" y="84"/>
                    <a:pt x="90" y="85"/>
                  </a:cubicBezTo>
                  <a:cubicBezTo>
                    <a:pt x="89" y="86"/>
                    <a:pt x="88" y="86"/>
                    <a:pt x="88" y="86"/>
                  </a:cubicBezTo>
                  <a:cubicBezTo>
                    <a:pt x="88" y="87"/>
                    <a:pt x="88" y="87"/>
                    <a:pt x="88" y="87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87" y="88"/>
                    <a:pt x="87" y="88"/>
                    <a:pt x="86" y="89"/>
                  </a:cubicBezTo>
                  <a:cubicBezTo>
                    <a:pt x="86" y="90"/>
                    <a:pt x="86" y="90"/>
                    <a:pt x="86" y="91"/>
                  </a:cubicBezTo>
                  <a:cubicBezTo>
                    <a:pt x="86" y="91"/>
                    <a:pt x="86" y="92"/>
                    <a:pt x="85" y="93"/>
                  </a:cubicBezTo>
                  <a:cubicBezTo>
                    <a:pt x="85" y="93"/>
                    <a:pt x="85" y="94"/>
                    <a:pt x="86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96"/>
                    <a:pt x="86" y="96"/>
                    <a:pt x="86" y="96"/>
                  </a:cubicBezTo>
                  <a:cubicBezTo>
                    <a:pt x="86" y="96"/>
                    <a:pt x="86" y="96"/>
                    <a:pt x="87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98"/>
                    <a:pt x="87" y="98"/>
                    <a:pt x="87" y="98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8" y="99"/>
                    <a:pt x="88" y="99"/>
                    <a:pt x="88" y="99"/>
                  </a:cubicBezTo>
                  <a:cubicBezTo>
                    <a:pt x="89" y="99"/>
                    <a:pt x="89" y="100"/>
                    <a:pt x="89" y="100"/>
                  </a:cubicBezTo>
                  <a:cubicBezTo>
                    <a:pt x="90" y="101"/>
                    <a:pt x="90" y="101"/>
                    <a:pt x="90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2" y="103"/>
                    <a:pt x="92" y="103"/>
                    <a:pt x="93" y="103"/>
                  </a:cubicBezTo>
                  <a:cubicBezTo>
                    <a:pt x="93" y="104"/>
                    <a:pt x="93" y="104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95" y="106"/>
                    <a:pt x="95" y="106"/>
                    <a:pt x="96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7" y="107"/>
                    <a:pt x="97" y="108"/>
                    <a:pt x="98" y="108"/>
                  </a:cubicBezTo>
                  <a:cubicBezTo>
                    <a:pt x="98" y="108"/>
                    <a:pt x="98" y="108"/>
                    <a:pt x="98" y="108"/>
                  </a:cubicBezTo>
                  <a:cubicBezTo>
                    <a:pt x="99" y="109"/>
                    <a:pt x="99" y="109"/>
                    <a:pt x="100" y="110"/>
                  </a:cubicBezTo>
                  <a:cubicBezTo>
                    <a:pt x="100" y="110"/>
                    <a:pt x="100" y="110"/>
                    <a:pt x="100" y="110"/>
                  </a:cubicBezTo>
                  <a:cubicBezTo>
                    <a:pt x="101" y="110"/>
                    <a:pt x="101" y="111"/>
                    <a:pt x="101" y="111"/>
                  </a:cubicBezTo>
                  <a:cubicBezTo>
                    <a:pt x="102" y="111"/>
                    <a:pt x="102" y="111"/>
                    <a:pt x="102" y="111"/>
                  </a:cubicBezTo>
                  <a:cubicBezTo>
                    <a:pt x="102" y="111"/>
                    <a:pt x="103" y="112"/>
                    <a:pt x="103" y="112"/>
                  </a:cubicBezTo>
                  <a:cubicBezTo>
                    <a:pt x="103" y="112"/>
                    <a:pt x="103" y="113"/>
                    <a:pt x="104" y="113"/>
                  </a:cubicBezTo>
                  <a:cubicBezTo>
                    <a:pt x="104" y="113"/>
                    <a:pt x="104" y="113"/>
                    <a:pt x="104" y="113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105" y="114"/>
                    <a:pt x="105" y="114"/>
                  </a:cubicBezTo>
                  <a:cubicBezTo>
                    <a:pt x="105" y="114"/>
                    <a:pt x="106" y="115"/>
                    <a:pt x="106" y="115"/>
                  </a:cubicBezTo>
                  <a:cubicBezTo>
                    <a:pt x="106" y="115"/>
                    <a:pt x="106" y="115"/>
                    <a:pt x="106" y="115"/>
                  </a:cubicBezTo>
                  <a:cubicBezTo>
                    <a:pt x="107" y="115"/>
                    <a:pt x="107" y="116"/>
                    <a:pt x="108" y="116"/>
                  </a:cubicBezTo>
                  <a:cubicBezTo>
                    <a:pt x="108" y="117"/>
                    <a:pt x="109" y="117"/>
                    <a:pt x="109" y="118"/>
                  </a:cubicBezTo>
                  <a:cubicBezTo>
                    <a:pt x="110" y="119"/>
                    <a:pt x="110" y="119"/>
                    <a:pt x="110" y="119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19"/>
                    <a:pt x="111" y="119"/>
                    <a:pt x="111" y="120"/>
                  </a:cubicBezTo>
                  <a:cubicBezTo>
                    <a:pt x="111" y="120"/>
                    <a:pt x="111" y="120"/>
                    <a:pt x="111" y="120"/>
                  </a:cubicBezTo>
                  <a:cubicBezTo>
                    <a:pt x="111" y="120"/>
                    <a:pt x="112" y="120"/>
                    <a:pt x="112" y="121"/>
                  </a:cubicBezTo>
                  <a:cubicBezTo>
                    <a:pt x="112" y="121"/>
                    <a:pt x="112" y="121"/>
                    <a:pt x="112" y="122"/>
                  </a:cubicBezTo>
                  <a:cubicBezTo>
                    <a:pt x="114" y="122"/>
                    <a:pt x="114" y="122"/>
                    <a:pt x="114" y="122"/>
                  </a:cubicBezTo>
                  <a:cubicBezTo>
                    <a:pt x="114" y="123"/>
                    <a:pt x="114" y="123"/>
                    <a:pt x="114" y="123"/>
                  </a:cubicBezTo>
                  <a:cubicBezTo>
                    <a:pt x="114" y="123"/>
                    <a:pt x="114" y="124"/>
                    <a:pt x="115" y="124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5" y="125"/>
                    <a:pt x="115" y="125"/>
                    <a:pt x="115" y="125"/>
                  </a:cubicBezTo>
                  <a:cubicBezTo>
                    <a:pt x="116" y="125"/>
                    <a:pt x="116" y="125"/>
                    <a:pt x="116" y="125"/>
                  </a:cubicBezTo>
                  <a:cubicBezTo>
                    <a:pt x="116" y="126"/>
                    <a:pt x="116" y="126"/>
                    <a:pt x="116" y="126"/>
                  </a:cubicBezTo>
                  <a:cubicBezTo>
                    <a:pt x="116" y="126"/>
                    <a:pt x="116" y="126"/>
                    <a:pt x="116" y="126"/>
                  </a:cubicBezTo>
                  <a:cubicBezTo>
                    <a:pt x="116" y="126"/>
                    <a:pt x="116" y="126"/>
                    <a:pt x="117" y="126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17" y="127"/>
                    <a:pt x="117" y="127"/>
                    <a:pt x="117" y="127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18" y="129"/>
                    <a:pt x="118" y="129"/>
                    <a:pt x="118" y="129"/>
                  </a:cubicBezTo>
                  <a:cubicBezTo>
                    <a:pt x="118" y="129"/>
                    <a:pt x="118" y="129"/>
                    <a:pt x="118" y="129"/>
                  </a:cubicBezTo>
                  <a:cubicBezTo>
                    <a:pt x="119" y="130"/>
                    <a:pt x="119" y="130"/>
                    <a:pt x="118" y="130"/>
                  </a:cubicBezTo>
                  <a:cubicBezTo>
                    <a:pt x="119" y="130"/>
                    <a:pt x="119" y="130"/>
                    <a:pt x="119" y="130"/>
                  </a:cubicBezTo>
                  <a:cubicBezTo>
                    <a:pt x="119" y="131"/>
                    <a:pt x="119" y="132"/>
                    <a:pt x="120" y="132"/>
                  </a:cubicBezTo>
                  <a:cubicBezTo>
                    <a:pt x="120" y="132"/>
                    <a:pt x="120" y="133"/>
                    <a:pt x="120" y="133"/>
                  </a:cubicBezTo>
                  <a:cubicBezTo>
                    <a:pt x="120" y="134"/>
                    <a:pt x="120" y="134"/>
                    <a:pt x="120" y="134"/>
                  </a:cubicBezTo>
                  <a:cubicBezTo>
                    <a:pt x="121" y="134"/>
                    <a:pt x="121" y="134"/>
                    <a:pt x="121" y="134"/>
                  </a:cubicBezTo>
                  <a:cubicBezTo>
                    <a:pt x="121" y="134"/>
                    <a:pt x="121" y="135"/>
                    <a:pt x="121" y="135"/>
                  </a:cubicBezTo>
                  <a:cubicBezTo>
                    <a:pt x="121" y="135"/>
                    <a:pt x="121" y="136"/>
                    <a:pt x="121" y="136"/>
                  </a:cubicBezTo>
                  <a:cubicBezTo>
                    <a:pt x="121" y="136"/>
                    <a:pt x="121" y="136"/>
                    <a:pt x="121" y="136"/>
                  </a:cubicBezTo>
                  <a:cubicBezTo>
                    <a:pt x="121" y="137"/>
                    <a:pt x="121" y="137"/>
                    <a:pt x="121" y="137"/>
                  </a:cubicBezTo>
                  <a:cubicBezTo>
                    <a:pt x="122" y="137"/>
                    <a:pt x="122" y="137"/>
                    <a:pt x="122" y="137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8"/>
                    <a:pt x="122" y="138"/>
                    <a:pt x="122" y="138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3" y="141"/>
                    <a:pt x="123" y="141"/>
                    <a:pt x="123" y="141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4"/>
                    <a:pt x="123" y="145"/>
                    <a:pt x="123" y="147"/>
                  </a:cubicBezTo>
                  <a:cubicBezTo>
                    <a:pt x="123" y="148"/>
                    <a:pt x="123" y="149"/>
                    <a:pt x="123" y="150"/>
                  </a:cubicBezTo>
                  <a:cubicBezTo>
                    <a:pt x="123" y="150"/>
                    <a:pt x="123" y="150"/>
                    <a:pt x="123" y="150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5"/>
                    <a:pt x="123" y="155"/>
                    <a:pt x="123" y="155"/>
                  </a:cubicBezTo>
                  <a:cubicBezTo>
                    <a:pt x="123" y="157"/>
                    <a:pt x="123" y="157"/>
                    <a:pt x="123" y="157"/>
                  </a:cubicBezTo>
                  <a:cubicBezTo>
                    <a:pt x="122" y="157"/>
                    <a:pt x="122" y="157"/>
                    <a:pt x="122" y="157"/>
                  </a:cubicBezTo>
                  <a:cubicBezTo>
                    <a:pt x="122" y="159"/>
                    <a:pt x="122" y="159"/>
                    <a:pt x="122" y="159"/>
                  </a:cubicBezTo>
                  <a:cubicBezTo>
                    <a:pt x="122" y="159"/>
                    <a:pt x="122" y="159"/>
                    <a:pt x="122" y="159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2" y="161"/>
                    <a:pt x="122" y="161"/>
                    <a:pt x="122" y="161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1" y="162"/>
                    <a:pt x="121" y="162"/>
                    <a:pt x="121" y="162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4"/>
                    <a:pt x="121" y="164"/>
                    <a:pt x="121" y="165"/>
                  </a:cubicBezTo>
                  <a:cubicBezTo>
                    <a:pt x="121" y="165"/>
                    <a:pt x="121" y="165"/>
                    <a:pt x="121" y="165"/>
                  </a:cubicBezTo>
                  <a:cubicBezTo>
                    <a:pt x="121" y="166"/>
                    <a:pt x="121" y="166"/>
                    <a:pt x="121" y="166"/>
                  </a:cubicBezTo>
                  <a:cubicBezTo>
                    <a:pt x="120" y="166"/>
                    <a:pt x="120" y="166"/>
                    <a:pt x="120" y="166"/>
                  </a:cubicBezTo>
                  <a:cubicBezTo>
                    <a:pt x="120" y="167"/>
                    <a:pt x="120" y="167"/>
                    <a:pt x="120" y="167"/>
                  </a:cubicBezTo>
                  <a:cubicBezTo>
                    <a:pt x="120" y="167"/>
                    <a:pt x="120" y="167"/>
                    <a:pt x="120" y="167"/>
                  </a:cubicBezTo>
                  <a:cubicBezTo>
                    <a:pt x="120" y="167"/>
                    <a:pt x="120" y="167"/>
                    <a:pt x="120" y="167"/>
                  </a:cubicBezTo>
                  <a:cubicBezTo>
                    <a:pt x="120" y="168"/>
                    <a:pt x="120" y="168"/>
                    <a:pt x="120" y="168"/>
                  </a:cubicBezTo>
                  <a:cubicBezTo>
                    <a:pt x="119" y="168"/>
                    <a:pt x="119" y="168"/>
                    <a:pt x="119" y="168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69"/>
                    <a:pt x="119" y="169"/>
                    <a:pt x="119" y="169"/>
                  </a:cubicBezTo>
                  <a:cubicBezTo>
                    <a:pt x="119" y="170"/>
                    <a:pt x="118" y="171"/>
                    <a:pt x="118" y="172"/>
                  </a:cubicBezTo>
                  <a:cubicBezTo>
                    <a:pt x="117" y="172"/>
                    <a:pt x="117" y="172"/>
                    <a:pt x="117" y="172"/>
                  </a:cubicBezTo>
                  <a:cubicBezTo>
                    <a:pt x="117" y="172"/>
                    <a:pt x="117" y="173"/>
                    <a:pt x="117" y="173"/>
                  </a:cubicBezTo>
                  <a:cubicBezTo>
                    <a:pt x="117" y="173"/>
                    <a:pt x="117" y="173"/>
                    <a:pt x="117" y="173"/>
                  </a:cubicBezTo>
                  <a:cubicBezTo>
                    <a:pt x="116" y="174"/>
                    <a:pt x="116" y="174"/>
                    <a:pt x="116" y="174"/>
                  </a:cubicBezTo>
                  <a:cubicBezTo>
                    <a:pt x="116" y="174"/>
                    <a:pt x="116" y="175"/>
                    <a:pt x="116" y="175"/>
                  </a:cubicBezTo>
                  <a:cubicBezTo>
                    <a:pt x="116" y="175"/>
                    <a:pt x="116" y="175"/>
                    <a:pt x="115" y="176"/>
                  </a:cubicBezTo>
                  <a:cubicBezTo>
                    <a:pt x="115" y="176"/>
                    <a:pt x="115" y="176"/>
                    <a:pt x="115" y="176"/>
                  </a:cubicBezTo>
                  <a:cubicBezTo>
                    <a:pt x="115" y="177"/>
                    <a:pt x="115" y="177"/>
                    <a:pt x="115" y="177"/>
                  </a:cubicBezTo>
                  <a:cubicBezTo>
                    <a:pt x="114" y="177"/>
                    <a:pt x="114" y="177"/>
                    <a:pt x="114" y="177"/>
                  </a:cubicBezTo>
                  <a:cubicBezTo>
                    <a:pt x="114" y="178"/>
                    <a:pt x="113" y="178"/>
                    <a:pt x="113" y="179"/>
                  </a:cubicBezTo>
                  <a:cubicBezTo>
                    <a:pt x="112" y="180"/>
                    <a:pt x="112" y="180"/>
                    <a:pt x="111" y="181"/>
                  </a:cubicBezTo>
                  <a:cubicBezTo>
                    <a:pt x="110" y="182"/>
                    <a:pt x="110" y="182"/>
                    <a:pt x="109" y="183"/>
                  </a:cubicBezTo>
                  <a:cubicBezTo>
                    <a:pt x="109" y="183"/>
                    <a:pt x="108" y="184"/>
                    <a:pt x="107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7" y="185"/>
                    <a:pt x="107" y="185"/>
                    <a:pt x="107" y="185"/>
                  </a:cubicBezTo>
                  <a:cubicBezTo>
                    <a:pt x="106" y="185"/>
                    <a:pt x="106" y="185"/>
                    <a:pt x="106" y="185"/>
                  </a:cubicBezTo>
                  <a:cubicBezTo>
                    <a:pt x="106" y="185"/>
                    <a:pt x="105" y="186"/>
                    <a:pt x="105" y="186"/>
                  </a:cubicBezTo>
                  <a:cubicBezTo>
                    <a:pt x="105" y="186"/>
                    <a:pt x="105" y="186"/>
                    <a:pt x="105" y="186"/>
                  </a:cubicBezTo>
                  <a:cubicBezTo>
                    <a:pt x="104" y="186"/>
                    <a:pt x="104" y="186"/>
                    <a:pt x="104" y="186"/>
                  </a:cubicBezTo>
                  <a:cubicBezTo>
                    <a:pt x="104" y="187"/>
                    <a:pt x="104" y="187"/>
                    <a:pt x="104" y="187"/>
                  </a:cubicBezTo>
                  <a:cubicBezTo>
                    <a:pt x="103" y="187"/>
                    <a:pt x="103" y="187"/>
                    <a:pt x="103" y="187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102" y="188"/>
                    <a:pt x="102" y="188"/>
                    <a:pt x="102" y="188"/>
                  </a:cubicBezTo>
                  <a:cubicBezTo>
                    <a:pt x="102" y="188"/>
                    <a:pt x="102" y="188"/>
                    <a:pt x="101" y="188"/>
                  </a:cubicBezTo>
                  <a:cubicBezTo>
                    <a:pt x="101" y="189"/>
                    <a:pt x="101" y="189"/>
                    <a:pt x="101" y="189"/>
                  </a:cubicBezTo>
                  <a:cubicBezTo>
                    <a:pt x="100" y="189"/>
                    <a:pt x="100" y="189"/>
                    <a:pt x="100" y="189"/>
                  </a:cubicBezTo>
                  <a:cubicBezTo>
                    <a:pt x="100" y="189"/>
                    <a:pt x="100" y="189"/>
                    <a:pt x="100" y="189"/>
                  </a:cubicBezTo>
                  <a:cubicBezTo>
                    <a:pt x="100" y="189"/>
                    <a:pt x="100" y="189"/>
                    <a:pt x="100" y="189"/>
                  </a:cubicBezTo>
                  <a:cubicBezTo>
                    <a:pt x="100" y="190"/>
                    <a:pt x="100" y="190"/>
                    <a:pt x="100" y="190"/>
                  </a:cubicBezTo>
                  <a:cubicBezTo>
                    <a:pt x="99" y="189"/>
                    <a:pt x="99" y="189"/>
                    <a:pt x="99" y="189"/>
                  </a:cubicBezTo>
                  <a:cubicBezTo>
                    <a:pt x="99" y="189"/>
                    <a:pt x="99" y="190"/>
                    <a:pt x="99" y="190"/>
                  </a:cubicBezTo>
                  <a:cubicBezTo>
                    <a:pt x="99" y="190"/>
                    <a:pt x="99" y="190"/>
                    <a:pt x="98" y="190"/>
                  </a:cubicBezTo>
                  <a:cubicBezTo>
                    <a:pt x="98" y="190"/>
                    <a:pt x="98" y="190"/>
                    <a:pt x="98" y="190"/>
                  </a:cubicBezTo>
                  <a:cubicBezTo>
                    <a:pt x="97" y="191"/>
                    <a:pt x="97" y="191"/>
                    <a:pt x="97" y="191"/>
                  </a:cubicBezTo>
                  <a:cubicBezTo>
                    <a:pt x="97" y="191"/>
                    <a:pt x="97" y="191"/>
                    <a:pt x="96" y="191"/>
                  </a:cubicBezTo>
                  <a:cubicBezTo>
                    <a:pt x="96" y="191"/>
                    <a:pt x="96" y="191"/>
                    <a:pt x="95" y="191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5" y="192"/>
                    <a:pt x="95" y="192"/>
                    <a:pt x="95" y="192"/>
                  </a:cubicBezTo>
                  <a:cubicBezTo>
                    <a:pt x="93" y="192"/>
                    <a:pt x="93" y="192"/>
                    <a:pt x="93" y="192"/>
                  </a:cubicBezTo>
                  <a:cubicBezTo>
                    <a:pt x="93" y="193"/>
                    <a:pt x="93" y="193"/>
                    <a:pt x="93" y="193"/>
                  </a:cubicBezTo>
                  <a:cubicBezTo>
                    <a:pt x="93" y="193"/>
                    <a:pt x="93" y="193"/>
                    <a:pt x="92" y="193"/>
                  </a:cubicBezTo>
                  <a:cubicBezTo>
                    <a:pt x="92" y="193"/>
                    <a:pt x="92" y="193"/>
                    <a:pt x="91" y="193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89" y="194"/>
                    <a:pt x="89" y="194"/>
                    <a:pt x="89" y="194"/>
                  </a:cubicBezTo>
                  <a:cubicBezTo>
                    <a:pt x="89" y="194"/>
                    <a:pt x="89" y="194"/>
                    <a:pt x="89" y="194"/>
                  </a:cubicBezTo>
                  <a:cubicBezTo>
                    <a:pt x="88" y="194"/>
                    <a:pt x="88" y="194"/>
                    <a:pt x="88" y="194"/>
                  </a:cubicBezTo>
                  <a:cubicBezTo>
                    <a:pt x="88" y="195"/>
                    <a:pt x="88" y="195"/>
                    <a:pt x="88" y="195"/>
                  </a:cubicBezTo>
                  <a:cubicBezTo>
                    <a:pt x="87" y="195"/>
                    <a:pt x="87" y="195"/>
                    <a:pt x="87" y="195"/>
                  </a:cubicBezTo>
                  <a:cubicBezTo>
                    <a:pt x="87" y="195"/>
                    <a:pt x="87" y="195"/>
                    <a:pt x="87" y="195"/>
                  </a:cubicBezTo>
                  <a:cubicBezTo>
                    <a:pt x="85" y="195"/>
                    <a:pt x="85" y="195"/>
                    <a:pt x="85" y="195"/>
                  </a:cubicBezTo>
                  <a:cubicBezTo>
                    <a:pt x="82" y="196"/>
                    <a:pt x="78" y="197"/>
                    <a:pt x="74" y="198"/>
                  </a:cubicBezTo>
                  <a:cubicBezTo>
                    <a:pt x="69" y="198"/>
                    <a:pt x="64" y="199"/>
                    <a:pt x="59" y="199"/>
                  </a:cubicBezTo>
                  <a:cubicBezTo>
                    <a:pt x="55" y="199"/>
                    <a:pt x="50" y="199"/>
                    <a:pt x="45" y="198"/>
                  </a:cubicBezTo>
                  <a:cubicBezTo>
                    <a:pt x="41" y="198"/>
                    <a:pt x="37" y="197"/>
                    <a:pt x="33" y="196"/>
                  </a:cubicBezTo>
                  <a:cubicBezTo>
                    <a:pt x="33" y="196"/>
                    <a:pt x="32" y="196"/>
                    <a:pt x="32" y="195"/>
                  </a:cubicBezTo>
                  <a:cubicBezTo>
                    <a:pt x="31" y="195"/>
                    <a:pt x="31" y="195"/>
                    <a:pt x="31" y="195"/>
                  </a:cubicBezTo>
                  <a:cubicBezTo>
                    <a:pt x="31" y="195"/>
                    <a:pt x="31" y="195"/>
                    <a:pt x="31" y="195"/>
                  </a:cubicBezTo>
                  <a:cubicBezTo>
                    <a:pt x="30" y="195"/>
                    <a:pt x="30" y="195"/>
                    <a:pt x="30" y="195"/>
                  </a:cubicBezTo>
                  <a:cubicBezTo>
                    <a:pt x="30" y="195"/>
                    <a:pt x="30" y="195"/>
                    <a:pt x="30" y="195"/>
                  </a:cubicBezTo>
                  <a:cubicBezTo>
                    <a:pt x="29" y="195"/>
                    <a:pt x="29" y="195"/>
                    <a:pt x="29" y="195"/>
                  </a:cubicBezTo>
                  <a:cubicBezTo>
                    <a:pt x="29" y="194"/>
                    <a:pt x="29" y="194"/>
                    <a:pt x="29" y="194"/>
                  </a:cubicBezTo>
                  <a:cubicBezTo>
                    <a:pt x="28" y="194"/>
                    <a:pt x="28" y="194"/>
                    <a:pt x="28" y="194"/>
                  </a:cubicBezTo>
                  <a:cubicBezTo>
                    <a:pt x="28" y="194"/>
                    <a:pt x="28" y="194"/>
                    <a:pt x="28" y="194"/>
                  </a:cubicBezTo>
                  <a:cubicBezTo>
                    <a:pt x="26" y="194"/>
                    <a:pt x="26" y="194"/>
                    <a:pt x="26" y="194"/>
                  </a:cubicBezTo>
                  <a:cubicBezTo>
                    <a:pt x="26" y="194"/>
                    <a:pt x="26" y="194"/>
                    <a:pt x="26" y="194"/>
                  </a:cubicBezTo>
                  <a:cubicBezTo>
                    <a:pt x="26" y="194"/>
                    <a:pt x="26" y="193"/>
                    <a:pt x="25" y="193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4" y="193"/>
                    <a:pt x="23" y="192"/>
                  </a:cubicBezTo>
                  <a:cubicBezTo>
                    <a:pt x="23" y="192"/>
                    <a:pt x="22" y="192"/>
                    <a:pt x="22" y="192"/>
                  </a:cubicBezTo>
                  <a:cubicBezTo>
                    <a:pt x="22" y="192"/>
                    <a:pt x="21" y="191"/>
                    <a:pt x="21" y="191"/>
                  </a:cubicBezTo>
                  <a:cubicBezTo>
                    <a:pt x="21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0"/>
                    <a:pt x="19" y="190"/>
                    <a:pt x="19" y="190"/>
                  </a:cubicBezTo>
                  <a:cubicBezTo>
                    <a:pt x="18" y="190"/>
                    <a:pt x="18" y="190"/>
                    <a:pt x="18" y="190"/>
                  </a:cubicBezTo>
                  <a:cubicBezTo>
                    <a:pt x="18" y="190"/>
                    <a:pt x="18" y="190"/>
                    <a:pt x="18" y="190"/>
                  </a:cubicBezTo>
                  <a:cubicBezTo>
                    <a:pt x="18" y="190"/>
                    <a:pt x="18" y="189"/>
                    <a:pt x="18" y="189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7" y="189"/>
                    <a:pt x="17" y="189"/>
                    <a:pt x="17" y="189"/>
                  </a:cubicBezTo>
                  <a:cubicBezTo>
                    <a:pt x="16" y="189"/>
                    <a:pt x="16" y="189"/>
                    <a:pt x="16" y="189"/>
                  </a:cubicBezTo>
                  <a:cubicBezTo>
                    <a:pt x="16" y="189"/>
                    <a:pt x="16" y="188"/>
                    <a:pt x="16" y="188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5" y="188"/>
                    <a:pt x="15" y="188"/>
                    <a:pt x="15" y="188"/>
                  </a:cubicBezTo>
                  <a:cubicBezTo>
                    <a:pt x="14" y="188"/>
                    <a:pt x="14" y="188"/>
                    <a:pt x="14" y="188"/>
                  </a:cubicBezTo>
                  <a:cubicBezTo>
                    <a:pt x="14" y="187"/>
                    <a:pt x="13" y="186"/>
                    <a:pt x="13" y="186"/>
                  </a:cubicBezTo>
                  <a:cubicBezTo>
                    <a:pt x="13" y="186"/>
                    <a:pt x="13" y="186"/>
                    <a:pt x="13" y="186"/>
                  </a:cubicBezTo>
                  <a:cubicBezTo>
                    <a:pt x="12" y="186"/>
                    <a:pt x="12" y="185"/>
                    <a:pt x="12" y="185"/>
                  </a:cubicBezTo>
                  <a:cubicBezTo>
                    <a:pt x="11" y="185"/>
                    <a:pt x="11" y="184"/>
                    <a:pt x="10" y="184"/>
                  </a:cubicBezTo>
                  <a:cubicBezTo>
                    <a:pt x="10" y="183"/>
                    <a:pt x="9" y="183"/>
                    <a:pt x="9" y="182"/>
                  </a:cubicBezTo>
                  <a:cubicBezTo>
                    <a:pt x="8" y="182"/>
                    <a:pt x="8" y="181"/>
                    <a:pt x="7" y="180"/>
                  </a:cubicBezTo>
                  <a:cubicBezTo>
                    <a:pt x="7" y="180"/>
                    <a:pt x="7" y="180"/>
                    <a:pt x="7" y="180"/>
                  </a:cubicBezTo>
                  <a:cubicBezTo>
                    <a:pt x="6" y="179"/>
                    <a:pt x="5" y="178"/>
                    <a:pt x="5" y="177"/>
                  </a:cubicBezTo>
                  <a:cubicBezTo>
                    <a:pt x="4" y="175"/>
                    <a:pt x="3" y="174"/>
                    <a:pt x="3" y="173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2" y="170"/>
                    <a:pt x="1" y="168"/>
                    <a:pt x="1" y="166"/>
                  </a:cubicBezTo>
                  <a:cubicBezTo>
                    <a:pt x="0" y="164"/>
                    <a:pt x="0" y="162"/>
                    <a:pt x="0" y="159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1" y="151"/>
                    <a:pt x="1" y="151"/>
                    <a:pt x="1" y="151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" y="150"/>
                    <a:pt x="1" y="150"/>
                    <a:pt x="1" y="150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7"/>
                    <a:pt x="1" y="147"/>
                    <a:pt x="1" y="147"/>
                  </a:cubicBezTo>
                  <a:cubicBezTo>
                    <a:pt x="2" y="147"/>
                    <a:pt x="2" y="147"/>
                    <a:pt x="2" y="147"/>
                  </a:cubicBezTo>
                  <a:cubicBezTo>
                    <a:pt x="2" y="146"/>
                    <a:pt x="2" y="146"/>
                    <a:pt x="2" y="146"/>
                  </a:cubicBezTo>
                  <a:cubicBezTo>
                    <a:pt x="2" y="146"/>
                    <a:pt x="2" y="145"/>
                    <a:pt x="2" y="14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2" y="145"/>
                    <a:pt x="2" y="144"/>
                    <a:pt x="3" y="143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3" y="143"/>
                    <a:pt x="3" y="143"/>
                    <a:pt x="3" y="143"/>
                  </a:cubicBezTo>
                  <a:cubicBezTo>
                    <a:pt x="3" y="142"/>
                    <a:pt x="3" y="142"/>
                    <a:pt x="3" y="142"/>
                  </a:cubicBezTo>
                  <a:cubicBezTo>
                    <a:pt x="3" y="142"/>
                    <a:pt x="4" y="142"/>
                    <a:pt x="4" y="141"/>
                  </a:cubicBezTo>
                  <a:cubicBezTo>
                    <a:pt x="4" y="141"/>
                    <a:pt x="4" y="140"/>
                    <a:pt x="5" y="139"/>
                  </a:cubicBezTo>
                  <a:cubicBezTo>
                    <a:pt x="5" y="139"/>
                    <a:pt x="5" y="139"/>
                    <a:pt x="5" y="139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6" y="137"/>
                    <a:pt x="6" y="137"/>
                    <a:pt x="6" y="137"/>
                  </a:cubicBezTo>
                  <a:cubicBezTo>
                    <a:pt x="7" y="137"/>
                    <a:pt x="7" y="137"/>
                    <a:pt x="7" y="136"/>
                  </a:cubicBezTo>
                  <a:cubicBezTo>
                    <a:pt x="7" y="136"/>
                    <a:pt x="8" y="136"/>
                    <a:pt x="8" y="136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5"/>
                    <a:pt x="9" y="135"/>
                    <a:pt x="9" y="135"/>
                  </a:cubicBezTo>
                  <a:cubicBezTo>
                    <a:pt x="9" y="134"/>
                    <a:pt x="9" y="134"/>
                    <a:pt x="10" y="133"/>
                  </a:cubicBezTo>
                  <a:cubicBezTo>
                    <a:pt x="10" y="133"/>
                    <a:pt x="10" y="133"/>
                    <a:pt x="11" y="132"/>
                  </a:cubicBezTo>
                  <a:cubicBezTo>
                    <a:pt x="11" y="132"/>
                    <a:pt x="11" y="132"/>
                    <a:pt x="11" y="132"/>
                  </a:cubicBezTo>
                  <a:cubicBezTo>
                    <a:pt x="12" y="132"/>
                    <a:pt x="12" y="131"/>
                    <a:pt x="12" y="131"/>
                  </a:cubicBezTo>
                  <a:cubicBezTo>
                    <a:pt x="13" y="131"/>
                    <a:pt x="13" y="131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5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6" y="128"/>
                    <a:pt x="17" y="128"/>
                  </a:cubicBezTo>
                  <a:cubicBezTo>
                    <a:pt x="17" y="128"/>
                    <a:pt x="17" y="128"/>
                    <a:pt x="17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9" y="127"/>
                  </a:cubicBezTo>
                  <a:cubicBezTo>
                    <a:pt x="25" y="123"/>
                    <a:pt x="32" y="120"/>
                    <a:pt x="40" y="119"/>
                  </a:cubicBezTo>
                  <a:cubicBezTo>
                    <a:pt x="49" y="117"/>
                    <a:pt x="58" y="117"/>
                    <a:pt x="68" y="116"/>
                  </a:cubicBezTo>
                  <a:cubicBezTo>
                    <a:pt x="68" y="115"/>
                    <a:pt x="68" y="114"/>
                    <a:pt x="68" y="113"/>
                  </a:cubicBezTo>
                  <a:cubicBezTo>
                    <a:pt x="67" y="111"/>
                    <a:pt x="67" y="110"/>
                    <a:pt x="66" y="110"/>
                  </a:cubicBezTo>
                  <a:cubicBezTo>
                    <a:pt x="66" y="109"/>
                    <a:pt x="66" y="109"/>
                    <a:pt x="65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07"/>
                    <a:pt x="62" y="107"/>
                    <a:pt x="62" y="107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58" y="91"/>
                    <a:pt x="56" y="91"/>
                    <a:pt x="53" y="91"/>
                  </a:cubicBezTo>
                  <a:cubicBezTo>
                    <a:pt x="51" y="91"/>
                    <a:pt x="49" y="91"/>
                    <a:pt x="47" y="91"/>
                  </a:cubicBezTo>
                  <a:cubicBezTo>
                    <a:pt x="46" y="90"/>
                    <a:pt x="45" y="90"/>
                    <a:pt x="45" y="90"/>
                  </a:cubicBezTo>
                  <a:cubicBezTo>
                    <a:pt x="44" y="90"/>
                    <a:pt x="44" y="90"/>
                    <a:pt x="43" y="90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37" y="88"/>
                    <a:pt x="36" y="88"/>
                    <a:pt x="36" y="88"/>
                  </a:cubicBezTo>
                  <a:cubicBezTo>
                    <a:pt x="36" y="88"/>
                    <a:pt x="35" y="88"/>
                    <a:pt x="35" y="88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4" y="87"/>
                    <a:pt x="34" y="87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3" y="87"/>
                    <a:pt x="33" y="87"/>
                    <a:pt x="33" y="87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0" y="85"/>
                    <a:pt x="30" y="85"/>
                    <a:pt x="30" y="85"/>
                  </a:cubicBezTo>
                  <a:cubicBezTo>
                    <a:pt x="30" y="85"/>
                    <a:pt x="30" y="85"/>
                    <a:pt x="30" y="85"/>
                  </a:cubicBezTo>
                  <a:cubicBezTo>
                    <a:pt x="30" y="85"/>
                    <a:pt x="29" y="85"/>
                    <a:pt x="29" y="85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4"/>
                    <a:pt x="27" y="84"/>
                    <a:pt x="27" y="84"/>
                  </a:cubicBezTo>
                  <a:cubicBezTo>
                    <a:pt x="27" y="84"/>
                    <a:pt x="27" y="83"/>
                    <a:pt x="26" y="83"/>
                  </a:cubicBezTo>
                  <a:cubicBezTo>
                    <a:pt x="26" y="82"/>
                    <a:pt x="25" y="82"/>
                    <a:pt x="25" y="81"/>
                  </a:cubicBezTo>
                  <a:cubicBezTo>
                    <a:pt x="24" y="81"/>
                    <a:pt x="23" y="80"/>
                    <a:pt x="23" y="80"/>
                  </a:cubicBezTo>
                  <a:cubicBezTo>
                    <a:pt x="22" y="79"/>
                    <a:pt x="21" y="78"/>
                    <a:pt x="21" y="78"/>
                  </a:cubicBezTo>
                  <a:cubicBezTo>
                    <a:pt x="20" y="77"/>
                    <a:pt x="20" y="77"/>
                    <a:pt x="20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4"/>
                    <a:pt x="18" y="73"/>
                    <a:pt x="17" y="73"/>
                  </a:cubicBezTo>
                  <a:cubicBezTo>
                    <a:pt x="17" y="73"/>
                    <a:pt x="17" y="73"/>
                    <a:pt x="17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2"/>
                    <a:pt x="16" y="72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0"/>
                    <a:pt x="16" y="70"/>
                    <a:pt x="16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3" y="63"/>
                    <a:pt x="13" y="60"/>
                    <a:pt x="12" y="58"/>
                  </a:cubicBezTo>
                  <a:cubicBezTo>
                    <a:pt x="12" y="55"/>
                    <a:pt x="12" y="53"/>
                    <a:pt x="12" y="50"/>
                  </a:cubicBezTo>
                  <a:cubicBezTo>
                    <a:pt x="12" y="48"/>
                    <a:pt x="12" y="45"/>
                    <a:pt x="12" y="42"/>
                  </a:cubicBezTo>
                  <a:cubicBezTo>
                    <a:pt x="12" y="40"/>
                    <a:pt x="13" y="38"/>
                    <a:pt x="14" y="36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3"/>
                  </a:cubicBezTo>
                  <a:cubicBezTo>
                    <a:pt x="14" y="33"/>
                    <a:pt x="14" y="33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1"/>
                    <a:pt x="15" y="30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5" y="30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6" y="28"/>
                    <a:pt x="16" y="27"/>
                  </a:cubicBezTo>
                  <a:cubicBezTo>
                    <a:pt x="16" y="27"/>
                    <a:pt x="17" y="27"/>
                    <a:pt x="17" y="27"/>
                  </a:cubicBezTo>
                  <a:cubicBezTo>
                    <a:pt x="17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1"/>
                    <a:pt x="21" y="21"/>
                  </a:cubicBezTo>
                  <a:cubicBezTo>
                    <a:pt x="21" y="21"/>
                    <a:pt x="21" y="21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0"/>
                    <a:pt x="22" y="19"/>
                    <a:pt x="23" y="19"/>
                  </a:cubicBezTo>
                  <a:cubicBezTo>
                    <a:pt x="23" y="18"/>
                    <a:pt x="24" y="18"/>
                    <a:pt x="24" y="18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6"/>
                    <a:pt x="26" y="15"/>
                    <a:pt x="27" y="15"/>
                  </a:cubicBezTo>
                  <a:cubicBezTo>
                    <a:pt x="27" y="14"/>
                    <a:pt x="28" y="14"/>
                    <a:pt x="29" y="13"/>
                  </a:cubicBezTo>
                  <a:cubicBezTo>
                    <a:pt x="29" y="13"/>
                    <a:pt x="29" y="13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7"/>
                    <a:pt x="38" y="7"/>
                    <a:pt x="38" y="7"/>
                  </a:cubicBezTo>
                  <a:cubicBezTo>
                    <a:pt x="39" y="7"/>
                    <a:pt x="39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7" y="4"/>
                    <a:pt x="47" y="4"/>
                  </a:cubicBezTo>
                  <a:cubicBezTo>
                    <a:pt x="47" y="4"/>
                    <a:pt x="48" y="4"/>
                    <a:pt x="48" y="4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50" y="3"/>
                    <a:pt x="51" y="3"/>
                  </a:cubicBezTo>
                  <a:cubicBezTo>
                    <a:pt x="52" y="2"/>
                    <a:pt x="54" y="2"/>
                    <a:pt x="54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23" y="1"/>
                    <a:pt x="123" y="1"/>
                    <a:pt x="123" y="1"/>
                  </a:cubicBezTo>
                  <a:close/>
                  <a:moveTo>
                    <a:pt x="45" y="128"/>
                  </a:moveTo>
                  <a:cubicBezTo>
                    <a:pt x="45" y="128"/>
                    <a:pt x="45" y="128"/>
                    <a:pt x="45" y="128"/>
                  </a:cubicBezTo>
                  <a:cubicBezTo>
                    <a:pt x="45" y="129"/>
                    <a:pt x="44" y="129"/>
                    <a:pt x="44" y="129"/>
                  </a:cubicBezTo>
                  <a:cubicBezTo>
                    <a:pt x="43" y="129"/>
                    <a:pt x="43" y="129"/>
                    <a:pt x="42" y="129"/>
                  </a:cubicBezTo>
                  <a:cubicBezTo>
                    <a:pt x="42" y="130"/>
                    <a:pt x="42" y="130"/>
                    <a:pt x="42" y="130"/>
                  </a:cubicBezTo>
                  <a:cubicBezTo>
                    <a:pt x="42" y="130"/>
                    <a:pt x="41" y="130"/>
                    <a:pt x="41" y="130"/>
                  </a:cubicBezTo>
                  <a:cubicBezTo>
                    <a:pt x="40" y="131"/>
                    <a:pt x="40" y="131"/>
                    <a:pt x="40" y="131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39" y="131"/>
                    <a:pt x="39" y="131"/>
                    <a:pt x="39" y="131"/>
                  </a:cubicBezTo>
                  <a:cubicBezTo>
                    <a:pt x="38" y="131"/>
                    <a:pt x="38" y="131"/>
                    <a:pt x="38" y="131"/>
                  </a:cubicBezTo>
                  <a:cubicBezTo>
                    <a:pt x="38" y="132"/>
                    <a:pt x="38" y="132"/>
                    <a:pt x="38" y="132"/>
                  </a:cubicBezTo>
                  <a:cubicBezTo>
                    <a:pt x="38" y="132"/>
                    <a:pt x="38" y="132"/>
                    <a:pt x="37" y="132"/>
                  </a:cubicBezTo>
                  <a:cubicBezTo>
                    <a:pt x="37" y="132"/>
                    <a:pt x="37" y="132"/>
                    <a:pt x="36" y="132"/>
                  </a:cubicBezTo>
                  <a:cubicBezTo>
                    <a:pt x="36" y="133"/>
                    <a:pt x="36" y="133"/>
                    <a:pt x="36" y="133"/>
                  </a:cubicBezTo>
                  <a:cubicBezTo>
                    <a:pt x="36" y="133"/>
                    <a:pt x="36" y="133"/>
                    <a:pt x="36" y="133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5" y="134"/>
                    <a:pt x="35" y="134"/>
                    <a:pt x="35" y="134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2" y="136"/>
                    <a:pt x="32" y="137"/>
                    <a:pt x="31" y="137"/>
                  </a:cubicBezTo>
                  <a:cubicBezTo>
                    <a:pt x="31" y="138"/>
                    <a:pt x="30" y="138"/>
                    <a:pt x="30" y="139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8" y="140"/>
                    <a:pt x="28" y="140"/>
                    <a:pt x="28" y="140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7" y="141"/>
                    <a:pt x="27" y="141"/>
                    <a:pt x="27" y="141"/>
                  </a:cubicBezTo>
                  <a:cubicBezTo>
                    <a:pt x="27" y="142"/>
                    <a:pt x="27" y="142"/>
                    <a:pt x="27" y="142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6" y="143"/>
                    <a:pt x="26" y="143"/>
                    <a:pt x="26" y="143"/>
                  </a:cubicBezTo>
                  <a:cubicBezTo>
                    <a:pt x="26" y="143"/>
                    <a:pt x="26" y="144"/>
                    <a:pt x="26" y="144"/>
                  </a:cubicBezTo>
                  <a:cubicBezTo>
                    <a:pt x="25" y="144"/>
                    <a:pt x="25" y="144"/>
                    <a:pt x="25" y="144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5" y="146"/>
                    <a:pt x="25" y="146"/>
                    <a:pt x="25" y="146"/>
                  </a:cubicBezTo>
                  <a:cubicBezTo>
                    <a:pt x="25" y="146"/>
                    <a:pt x="25" y="147"/>
                    <a:pt x="25" y="147"/>
                  </a:cubicBezTo>
                  <a:cubicBezTo>
                    <a:pt x="24" y="147"/>
                    <a:pt x="24" y="147"/>
                    <a:pt x="24" y="147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4" y="149"/>
                    <a:pt x="24" y="149"/>
                    <a:pt x="24" y="149"/>
                  </a:cubicBezTo>
                  <a:cubicBezTo>
                    <a:pt x="23" y="149"/>
                    <a:pt x="23" y="149"/>
                    <a:pt x="23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2"/>
                    <a:pt x="23" y="152"/>
                    <a:pt x="23" y="152"/>
                  </a:cubicBezTo>
                  <a:cubicBezTo>
                    <a:pt x="23" y="152"/>
                    <a:pt x="23" y="152"/>
                    <a:pt x="23" y="152"/>
                  </a:cubicBezTo>
                  <a:cubicBezTo>
                    <a:pt x="23" y="154"/>
                    <a:pt x="23" y="154"/>
                    <a:pt x="23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2" y="154"/>
                    <a:pt x="22" y="155"/>
                    <a:pt x="22" y="156"/>
                  </a:cubicBezTo>
                  <a:cubicBezTo>
                    <a:pt x="22" y="157"/>
                    <a:pt x="22" y="158"/>
                    <a:pt x="23" y="159"/>
                  </a:cubicBezTo>
                  <a:cubicBezTo>
                    <a:pt x="23" y="160"/>
                    <a:pt x="23" y="161"/>
                    <a:pt x="23" y="161"/>
                  </a:cubicBezTo>
                  <a:cubicBezTo>
                    <a:pt x="23" y="162"/>
                    <a:pt x="24" y="163"/>
                    <a:pt x="24" y="163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5"/>
                    <a:pt x="24" y="166"/>
                    <a:pt x="25" y="166"/>
                  </a:cubicBezTo>
                  <a:cubicBezTo>
                    <a:pt x="25" y="166"/>
                    <a:pt x="25" y="166"/>
                    <a:pt x="25" y="166"/>
                  </a:cubicBezTo>
                  <a:cubicBezTo>
                    <a:pt x="25" y="166"/>
                    <a:pt x="25" y="167"/>
                    <a:pt x="25" y="167"/>
                  </a:cubicBezTo>
                  <a:cubicBezTo>
                    <a:pt x="25" y="167"/>
                    <a:pt x="25" y="168"/>
                    <a:pt x="25" y="169"/>
                  </a:cubicBezTo>
                  <a:cubicBezTo>
                    <a:pt x="26" y="169"/>
                    <a:pt x="26" y="169"/>
                    <a:pt x="27" y="169"/>
                  </a:cubicBezTo>
                  <a:cubicBezTo>
                    <a:pt x="27" y="170"/>
                    <a:pt x="27" y="170"/>
                    <a:pt x="27" y="170"/>
                  </a:cubicBezTo>
                  <a:cubicBezTo>
                    <a:pt x="28" y="170"/>
                    <a:pt x="28" y="170"/>
                    <a:pt x="28" y="170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9" y="171"/>
                    <a:pt x="29" y="171"/>
                    <a:pt x="29" y="171"/>
                  </a:cubicBezTo>
                  <a:cubicBezTo>
                    <a:pt x="29" y="172"/>
                    <a:pt x="29" y="172"/>
                    <a:pt x="29" y="172"/>
                  </a:cubicBezTo>
                  <a:cubicBezTo>
                    <a:pt x="29" y="172"/>
                    <a:pt x="30" y="173"/>
                    <a:pt x="30" y="173"/>
                  </a:cubicBezTo>
                  <a:cubicBezTo>
                    <a:pt x="30" y="174"/>
                    <a:pt x="31" y="174"/>
                    <a:pt x="31" y="174"/>
                  </a:cubicBezTo>
                  <a:cubicBezTo>
                    <a:pt x="31" y="175"/>
                    <a:pt x="31" y="175"/>
                    <a:pt x="31" y="175"/>
                  </a:cubicBezTo>
                  <a:cubicBezTo>
                    <a:pt x="32" y="175"/>
                    <a:pt x="32" y="175"/>
                    <a:pt x="32" y="175"/>
                  </a:cubicBezTo>
                  <a:cubicBezTo>
                    <a:pt x="32" y="176"/>
                    <a:pt x="32" y="176"/>
                    <a:pt x="32" y="176"/>
                  </a:cubicBezTo>
                  <a:cubicBezTo>
                    <a:pt x="32" y="176"/>
                    <a:pt x="33" y="176"/>
                    <a:pt x="33" y="176"/>
                  </a:cubicBezTo>
                  <a:cubicBezTo>
                    <a:pt x="33" y="176"/>
                    <a:pt x="33" y="176"/>
                    <a:pt x="34" y="176"/>
                  </a:cubicBezTo>
                  <a:cubicBezTo>
                    <a:pt x="34" y="177"/>
                    <a:pt x="34" y="177"/>
                    <a:pt x="34" y="177"/>
                  </a:cubicBezTo>
                  <a:cubicBezTo>
                    <a:pt x="35" y="177"/>
                    <a:pt x="36" y="177"/>
                    <a:pt x="36" y="178"/>
                  </a:cubicBezTo>
                  <a:cubicBezTo>
                    <a:pt x="36" y="179"/>
                    <a:pt x="36" y="179"/>
                    <a:pt x="36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38" y="179"/>
                    <a:pt x="39" y="180"/>
                    <a:pt x="39" y="180"/>
                  </a:cubicBezTo>
                  <a:cubicBezTo>
                    <a:pt x="40" y="180"/>
                    <a:pt x="40" y="180"/>
                    <a:pt x="40" y="180"/>
                  </a:cubicBezTo>
                  <a:cubicBezTo>
                    <a:pt x="40" y="180"/>
                    <a:pt x="40" y="180"/>
                    <a:pt x="40" y="180"/>
                  </a:cubicBezTo>
                  <a:cubicBezTo>
                    <a:pt x="40" y="180"/>
                    <a:pt x="40" y="180"/>
                    <a:pt x="40" y="180"/>
                  </a:cubicBezTo>
                  <a:cubicBezTo>
                    <a:pt x="40" y="181"/>
                    <a:pt x="40" y="181"/>
                    <a:pt x="40" y="181"/>
                  </a:cubicBezTo>
                  <a:cubicBezTo>
                    <a:pt x="41" y="181"/>
                    <a:pt x="41" y="181"/>
                    <a:pt x="41" y="181"/>
                  </a:cubicBezTo>
                  <a:cubicBezTo>
                    <a:pt x="41" y="181"/>
                    <a:pt x="41" y="181"/>
                    <a:pt x="41" y="181"/>
                  </a:cubicBezTo>
                  <a:cubicBezTo>
                    <a:pt x="41" y="181"/>
                    <a:pt x="42" y="181"/>
                    <a:pt x="42" y="181"/>
                  </a:cubicBezTo>
                  <a:cubicBezTo>
                    <a:pt x="42" y="181"/>
                    <a:pt x="42" y="181"/>
                    <a:pt x="43" y="181"/>
                  </a:cubicBezTo>
                  <a:cubicBezTo>
                    <a:pt x="43" y="182"/>
                    <a:pt x="43" y="182"/>
                    <a:pt x="43" y="182"/>
                  </a:cubicBezTo>
                  <a:cubicBezTo>
                    <a:pt x="43" y="182"/>
                    <a:pt x="43" y="182"/>
                    <a:pt x="43" y="182"/>
                  </a:cubicBezTo>
                  <a:cubicBezTo>
                    <a:pt x="44" y="182"/>
                    <a:pt x="44" y="182"/>
                    <a:pt x="44" y="182"/>
                  </a:cubicBezTo>
                  <a:cubicBezTo>
                    <a:pt x="44" y="182"/>
                    <a:pt x="44" y="182"/>
                    <a:pt x="44" y="182"/>
                  </a:cubicBezTo>
                  <a:cubicBezTo>
                    <a:pt x="45" y="182"/>
                    <a:pt x="45" y="182"/>
                    <a:pt x="45" y="182"/>
                  </a:cubicBezTo>
                  <a:cubicBezTo>
                    <a:pt x="45" y="183"/>
                    <a:pt x="45" y="183"/>
                    <a:pt x="45" y="183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46" y="183"/>
                    <a:pt x="46" y="183"/>
                    <a:pt x="46" y="183"/>
                  </a:cubicBezTo>
                  <a:cubicBezTo>
                    <a:pt x="48" y="183"/>
                    <a:pt x="48" y="183"/>
                    <a:pt x="48" y="183"/>
                  </a:cubicBezTo>
                  <a:cubicBezTo>
                    <a:pt x="48" y="183"/>
                    <a:pt x="48" y="183"/>
                    <a:pt x="48" y="183"/>
                  </a:cubicBezTo>
                  <a:cubicBezTo>
                    <a:pt x="49" y="183"/>
                    <a:pt x="49" y="183"/>
                    <a:pt x="49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52" y="184"/>
                    <a:pt x="52" y="184"/>
                    <a:pt x="52" y="184"/>
                  </a:cubicBezTo>
                  <a:cubicBezTo>
                    <a:pt x="52" y="184"/>
                    <a:pt x="52" y="184"/>
                    <a:pt x="52" y="184"/>
                  </a:cubicBezTo>
                  <a:cubicBezTo>
                    <a:pt x="53" y="184"/>
                    <a:pt x="54" y="184"/>
                    <a:pt x="55" y="185"/>
                  </a:cubicBezTo>
                  <a:cubicBezTo>
                    <a:pt x="55" y="185"/>
                    <a:pt x="56" y="185"/>
                    <a:pt x="57" y="185"/>
                  </a:cubicBezTo>
                  <a:cubicBezTo>
                    <a:pt x="57" y="185"/>
                    <a:pt x="58" y="185"/>
                    <a:pt x="59" y="185"/>
                  </a:cubicBezTo>
                  <a:cubicBezTo>
                    <a:pt x="60" y="185"/>
                    <a:pt x="61" y="185"/>
                    <a:pt x="62" y="185"/>
                  </a:cubicBezTo>
                  <a:cubicBezTo>
                    <a:pt x="63" y="185"/>
                    <a:pt x="64" y="185"/>
                    <a:pt x="65" y="185"/>
                  </a:cubicBezTo>
                  <a:cubicBezTo>
                    <a:pt x="66" y="185"/>
                    <a:pt x="67" y="185"/>
                    <a:pt x="67" y="185"/>
                  </a:cubicBezTo>
                  <a:cubicBezTo>
                    <a:pt x="67" y="185"/>
                    <a:pt x="67" y="185"/>
                    <a:pt x="67" y="185"/>
                  </a:cubicBezTo>
                  <a:cubicBezTo>
                    <a:pt x="70" y="185"/>
                    <a:pt x="70" y="185"/>
                    <a:pt x="70" y="185"/>
                  </a:cubicBezTo>
                  <a:cubicBezTo>
                    <a:pt x="70" y="184"/>
                    <a:pt x="70" y="184"/>
                    <a:pt x="70" y="184"/>
                  </a:cubicBezTo>
                  <a:cubicBezTo>
                    <a:pt x="72" y="184"/>
                    <a:pt x="72" y="184"/>
                    <a:pt x="72" y="184"/>
                  </a:cubicBezTo>
                  <a:cubicBezTo>
                    <a:pt x="72" y="184"/>
                    <a:pt x="72" y="184"/>
                    <a:pt x="72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4" y="184"/>
                    <a:pt x="74" y="184"/>
                    <a:pt x="74" y="184"/>
                  </a:cubicBezTo>
                  <a:cubicBezTo>
                    <a:pt x="75" y="184"/>
                    <a:pt x="75" y="184"/>
                    <a:pt x="76" y="184"/>
                  </a:cubicBezTo>
                  <a:cubicBezTo>
                    <a:pt x="76" y="184"/>
                    <a:pt x="77" y="183"/>
                    <a:pt x="77" y="183"/>
                  </a:cubicBezTo>
                  <a:cubicBezTo>
                    <a:pt x="77" y="183"/>
                    <a:pt x="77" y="183"/>
                    <a:pt x="77" y="183"/>
                  </a:cubicBezTo>
                  <a:cubicBezTo>
                    <a:pt x="78" y="183"/>
                    <a:pt x="78" y="183"/>
                    <a:pt x="78" y="183"/>
                  </a:cubicBezTo>
                  <a:cubicBezTo>
                    <a:pt x="78" y="183"/>
                    <a:pt x="78" y="183"/>
                    <a:pt x="78" y="183"/>
                  </a:cubicBezTo>
                  <a:cubicBezTo>
                    <a:pt x="79" y="183"/>
                    <a:pt x="79" y="183"/>
                    <a:pt x="79" y="183"/>
                  </a:cubicBezTo>
                  <a:cubicBezTo>
                    <a:pt x="79" y="182"/>
                    <a:pt x="79" y="182"/>
                    <a:pt x="79" y="182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0" y="182"/>
                    <a:pt x="80" y="182"/>
                    <a:pt x="80" y="182"/>
                  </a:cubicBezTo>
                  <a:cubicBezTo>
                    <a:pt x="81" y="182"/>
                    <a:pt x="81" y="182"/>
                    <a:pt x="81" y="182"/>
                  </a:cubicBezTo>
                  <a:cubicBezTo>
                    <a:pt x="81" y="182"/>
                    <a:pt x="81" y="182"/>
                    <a:pt x="81" y="182"/>
                  </a:cubicBezTo>
                  <a:cubicBezTo>
                    <a:pt x="82" y="182"/>
                    <a:pt x="82" y="182"/>
                    <a:pt x="82" y="182"/>
                  </a:cubicBezTo>
                  <a:cubicBezTo>
                    <a:pt x="82" y="181"/>
                    <a:pt x="82" y="181"/>
                    <a:pt x="82" y="181"/>
                  </a:cubicBezTo>
                  <a:cubicBezTo>
                    <a:pt x="83" y="181"/>
                    <a:pt x="83" y="181"/>
                    <a:pt x="83" y="181"/>
                  </a:cubicBezTo>
                  <a:cubicBezTo>
                    <a:pt x="83" y="181"/>
                    <a:pt x="83" y="181"/>
                    <a:pt x="83" y="18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84" y="181"/>
                    <a:pt x="85" y="180"/>
                    <a:pt x="85" y="180"/>
                  </a:cubicBezTo>
                  <a:cubicBezTo>
                    <a:pt x="85" y="180"/>
                    <a:pt x="86" y="180"/>
                    <a:pt x="86" y="180"/>
                  </a:cubicBezTo>
                  <a:cubicBezTo>
                    <a:pt x="86" y="180"/>
                    <a:pt x="86" y="180"/>
                    <a:pt x="86" y="180"/>
                  </a:cubicBezTo>
                  <a:cubicBezTo>
                    <a:pt x="87" y="180"/>
                    <a:pt x="87" y="180"/>
                    <a:pt x="87" y="180"/>
                  </a:cubicBezTo>
                  <a:cubicBezTo>
                    <a:pt x="87" y="179"/>
                    <a:pt x="87" y="179"/>
                    <a:pt x="87" y="179"/>
                  </a:cubicBezTo>
                  <a:cubicBezTo>
                    <a:pt x="87" y="179"/>
                    <a:pt x="87" y="179"/>
                    <a:pt x="87" y="179"/>
                  </a:cubicBezTo>
                  <a:cubicBezTo>
                    <a:pt x="87" y="179"/>
                    <a:pt x="87" y="179"/>
                    <a:pt x="87" y="179"/>
                  </a:cubicBezTo>
                  <a:cubicBezTo>
                    <a:pt x="88" y="179"/>
                    <a:pt x="88" y="179"/>
                    <a:pt x="88" y="179"/>
                  </a:cubicBezTo>
                  <a:cubicBezTo>
                    <a:pt x="88" y="179"/>
                    <a:pt x="88" y="179"/>
                    <a:pt x="88" y="17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78"/>
                    <a:pt x="89" y="178"/>
                    <a:pt x="89" y="178"/>
                  </a:cubicBezTo>
                  <a:cubicBezTo>
                    <a:pt x="89" y="178"/>
                    <a:pt x="89" y="178"/>
                    <a:pt x="89" y="178"/>
                  </a:cubicBezTo>
                  <a:cubicBezTo>
                    <a:pt x="90" y="178"/>
                    <a:pt x="90" y="178"/>
                    <a:pt x="90" y="178"/>
                  </a:cubicBezTo>
                  <a:cubicBezTo>
                    <a:pt x="90" y="178"/>
                    <a:pt x="90" y="178"/>
                    <a:pt x="90" y="178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77"/>
                    <a:pt x="91" y="177"/>
                    <a:pt x="92" y="177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3" y="176"/>
                    <a:pt x="93" y="176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4" y="175"/>
                    <a:pt x="94" y="174"/>
                    <a:pt x="94" y="174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5" y="173"/>
                    <a:pt x="95" y="173"/>
                    <a:pt x="95" y="173"/>
                  </a:cubicBezTo>
                  <a:cubicBezTo>
                    <a:pt x="96" y="173"/>
                    <a:pt x="97" y="173"/>
                    <a:pt x="97" y="173"/>
                  </a:cubicBezTo>
                  <a:cubicBezTo>
                    <a:pt x="97" y="172"/>
                    <a:pt x="97" y="172"/>
                    <a:pt x="98" y="171"/>
                  </a:cubicBezTo>
                  <a:cubicBezTo>
                    <a:pt x="98" y="171"/>
                    <a:pt x="98" y="171"/>
                    <a:pt x="98" y="170"/>
                  </a:cubicBezTo>
                  <a:cubicBezTo>
                    <a:pt x="99" y="170"/>
                    <a:pt x="99" y="170"/>
                    <a:pt x="99" y="170"/>
                  </a:cubicBezTo>
                  <a:cubicBezTo>
                    <a:pt x="99" y="169"/>
                    <a:pt x="99" y="169"/>
                    <a:pt x="99" y="169"/>
                  </a:cubicBezTo>
                  <a:cubicBezTo>
                    <a:pt x="99" y="169"/>
                    <a:pt x="100" y="169"/>
                    <a:pt x="100" y="169"/>
                  </a:cubicBezTo>
                  <a:cubicBezTo>
                    <a:pt x="100" y="169"/>
                    <a:pt x="100" y="169"/>
                    <a:pt x="101" y="168"/>
                  </a:cubicBezTo>
                  <a:cubicBezTo>
                    <a:pt x="101" y="168"/>
                    <a:pt x="101" y="168"/>
                    <a:pt x="101" y="168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2" y="167"/>
                    <a:pt x="102" y="166"/>
                    <a:pt x="102" y="166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3" y="165"/>
                    <a:pt x="103" y="165"/>
                    <a:pt x="103" y="165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4"/>
                    <a:pt x="103" y="164"/>
                    <a:pt x="103" y="164"/>
                  </a:cubicBezTo>
                  <a:cubicBezTo>
                    <a:pt x="103" y="163"/>
                    <a:pt x="103" y="163"/>
                    <a:pt x="103" y="163"/>
                  </a:cubicBezTo>
                  <a:cubicBezTo>
                    <a:pt x="104" y="163"/>
                    <a:pt x="104" y="163"/>
                    <a:pt x="104" y="163"/>
                  </a:cubicBezTo>
                  <a:cubicBezTo>
                    <a:pt x="104" y="162"/>
                    <a:pt x="104" y="162"/>
                    <a:pt x="104" y="162"/>
                  </a:cubicBezTo>
                  <a:cubicBezTo>
                    <a:pt x="104" y="162"/>
                    <a:pt x="104" y="162"/>
                    <a:pt x="104" y="162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4" y="161"/>
                    <a:pt x="104" y="161"/>
                    <a:pt x="104" y="161"/>
                  </a:cubicBezTo>
                  <a:cubicBezTo>
                    <a:pt x="104" y="160"/>
                    <a:pt x="104" y="160"/>
                    <a:pt x="104" y="160"/>
                  </a:cubicBezTo>
                  <a:cubicBezTo>
                    <a:pt x="105" y="160"/>
                    <a:pt x="105" y="160"/>
                    <a:pt x="105" y="160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5" y="159"/>
                    <a:pt x="105" y="159"/>
                    <a:pt x="105" y="159"/>
                  </a:cubicBezTo>
                  <a:cubicBezTo>
                    <a:pt x="105" y="157"/>
                    <a:pt x="105" y="157"/>
                    <a:pt x="105" y="157"/>
                  </a:cubicBezTo>
                  <a:cubicBezTo>
                    <a:pt x="105" y="156"/>
                    <a:pt x="106" y="155"/>
                    <a:pt x="106" y="154"/>
                  </a:cubicBezTo>
                  <a:cubicBezTo>
                    <a:pt x="106" y="152"/>
                    <a:pt x="105" y="151"/>
                    <a:pt x="105" y="150"/>
                  </a:cubicBezTo>
                  <a:cubicBezTo>
                    <a:pt x="105" y="149"/>
                    <a:pt x="105" y="148"/>
                    <a:pt x="104" y="147"/>
                  </a:cubicBezTo>
                  <a:cubicBezTo>
                    <a:pt x="104" y="146"/>
                    <a:pt x="104" y="145"/>
                    <a:pt x="103" y="144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3" y="143"/>
                    <a:pt x="103" y="143"/>
                    <a:pt x="103" y="143"/>
                  </a:cubicBezTo>
                  <a:cubicBezTo>
                    <a:pt x="102" y="142"/>
                    <a:pt x="102" y="142"/>
                    <a:pt x="102" y="142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2" y="141"/>
                    <a:pt x="102" y="141"/>
                    <a:pt x="102" y="141"/>
                  </a:cubicBezTo>
                  <a:cubicBezTo>
                    <a:pt x="102" y="141"/>
                    <a:pt x="102" y="141"/>
                    <a:pt x="102" y="140"/>
                  </a:cubicBezTo>
                  <a:cubicBezTo>
                    <a:pt x="101" y="140"/>
                    <a:pt x="101" y="140"/>
                    <a:pt x="101" y="140"/>
                  </a:cubicBezTo>
                  <a:cubicBezTo>
                    <a:pt x="101" y="139"/>
                    <a:pt x="101" y="139"/>
                    <a:pt x="101" y="139"/>
                  </a:cubicBezTo>
                  <a:cubicBezTo>
                    <a:pt x="100" y="139"/>
                    <a:pt x="100" y="139"/>
                    <a:pt x="100" y="138"/>
                  </a:cubicBezTo>
                  <a:cubicBezTo>
                    <a:pt x="100" y="138"/>
                    <a:pt x="100" y="138"/>
                    <a:pt x="100" y="138"/>
                  </a:cubicBezTo>
                  <a:cubicBezTo>
                    <a:pt x="99" y="137"/>
                    <a:pt x="99" y="137"/>
                    <a:pt x="98" y="137"/>
                  </a:cubicBezTo>
                  <a:cubicBezTo>
                    <a:pt x="98" y="136"/>
                    <a:pt x="98" y="136"/>
                    <a:pt x="97" y="136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97" y="135"/>
                    <a:pt x="97" y="135"/>
                  </a:cubicBezTo>
                  <a:cubicBezTo>
                    <a:pt x="97" y="135"/>
                    <a:pt x="96" y="135"/>
                    <a:pt x="96" y="135"/>
                  </a:cubicBezTo>
                  <a:cubicBezTo>
                    <a:pt x="95" y="134"/>
                    <a:pt x="95" y="133"/>
                    <a:pt x="95" y="133"/>
                  </a:cubicBezTo>
                  <a:cubicBezTo>
                    <a:pt x="94" y="133"/>
                    <a:pt x="94" y="133"/>
                    <a:pt x="94" y="133"/>
                  </a:cubicBezTo>
                  <a:cubicBezTo>
                    <a:pt x="94" y="133"/>
                    <a:pt x="94" y="133"/>
                    <a:pt x="93" y="132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91" y="131"/>
                    <a:pt x="91" y="131"/>
                    <a:pt x="91" y="131"/>
                  </a:cubicBezTo>
                  <a:cubicBezTo>
                    <a:pt x="91" y="131"/>
                    <a:pt x="91" y="131"/>
                    <a:pt x="90" y="130"/>
                  </a:cubicBezTo>
                  <a:cubicBezTo>
                    <a:pt x="90" y="130"/>
                    <a:pt x="90" y="130"/>
                    <a:pt x="89" y="130"/>
                  </a:cubicBezTo>
                  <a:cubicBezTo>
                    <a:pt x="89" y="130"/>
                    <a:pt x="89" y="130"/>
                    <a:pt x="89" y="130"/>
                  </a:cubicBezTo>
                  <a:cubicBezTo>
                    <a:pt x="89" y="130"/>
                    <a:pt x="89" y="130"/>
                    <a:pt x="89" y="130"/>
                  </a:cubicBezTo>
                  <a:cubicBezTo>
                    <a:pt x="89" y="130"/>
                    <a:pt x="89" y="130"/>
                    <a:pt x="89" y="130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8"/>
                    <a:pt x="86" y="128"/>
                  </a:cubicBezTo>
                  <a:cubicBezTo>
                    <a:pt x="86" y="128"/>
                    <a:pt x="86" y="128"/>
                    <a:pt x="85" y="128"/>
                  </a:cubicBezTo>
                  <a:cubicBezTo>
                    <a:pt x="85" y="128"/>
                    <a:pt x="85" y="128"/>
                    <a:pt x="85" y="128"/>
                  </a:cubicBezTo>
                  <a:cubicBezTo>
                    <a:pt x="84" y="128"/>
                    <a:pt x="84" y="128"/>
                    <a:pt x="84" y="128"/>
                  </a:cubicBezTo>
                  <a:cubicBezTo>
                    <a:pt x="84" y="127"/>
                    <a:pt x="84" y="127"/>
                    <a:pt x="84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2" y="127"/>
                    <a:pt x="82" y="127"/>
                    <a:pt x="82" y="127"/>
                  </a:cubicBezTo>
                  <a:cubicBezTo>
                    <a:pt x="81" y="127"/>
                    <a:pt x="81" y="127"/>
                    <a:pt x="81" y="127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69" y="125"/>
                    <a:pt x="69" y="125"/>
                    <a:pt x="69" y="125"/>
                  </a:cubicBezTo>
                  <a:cubicBezTo>
                    <a:pt x="69" y="124"/>
                    <a:pt x="69" y="124"/>
                    <a:pt x="69" y="124"/>
                  </a:cubicBezTo>
                  <a:cubicBezTo>
                    <a:pt x="69" y="124"/>
                    <a:pt x="68" y="124"/>
                    <a:pt x="68" y="124"/>
                  </a:cubicBezTo>
                  <a:cubicBezTo>
                    <a:pt x="67" y="124"/>
                    <a:pt x="66" y="124"/>
                    <a:pt x="66" y="124"/>
                  </a:cubicBezTo>
                  <a:cubicBezTo>
                    <a:pt x="65" y="124"/>
                    <a:pt x="64" y="124"/>
                    <a:pt x="63" y="124"/>
                  </a:cubicBezTo>
                  <a:cubicBezTo>
                    <a:pt x="63" y="124"/>
                    <a:pt x="62" y="125"/>
                    <a:pt x="62" y="125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8" y="125"/>
                    <a:pt x="57" y="125"/>
                    <a:pt x="56" y="125"/>
                  </a:cubicBezTo>
                  <a:cubicBezTo>
                    <a:pt x="55" y="126"/>
                    <a:pt x="54" y="126"/>
                    <a:pt x="53" y="126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51" y="126"/>
                    <a:pt x="51" y="126"/>
                    <a:pt x="51" y="126"/>
                  </a:cubicBezTo>
                  <a:cubicBezTo>
                    <a:pt x="51" y="126"/>
                    <a:pt x="51" y="126"/>
                    <a:pt x="50" y="127"/>
                  </a:cubicBezTo>
                  <a:cubicBezTo>
                    <a:pt x="50" y="127"/>
                    <a:pt x="49" y="127"/>
                    <a:pt x="49" y="127"/>
                  </a:cubicBezTo>
                  <a:cubicBezTo>
                    <a:pt x="49" y="127"/>
                    <a:pt x="49" y="127"/>
                    <a:pt x="49" y="127"/>
                  </a:cubicBezTo>
                  <a:cubicBezTo>
                    <a:pt x="49" y="127"/>
                    <a:pt x="48" y="127"/>
                    <a:pt x="48" y="127"/>
                  </a:cubicBezTo>
                  <a:cubicBezTo>
                    <a:pt x="48" y="127"/>
                    <a:pt x="47" y="127"/>
                    <a:pt x="47" y="127"/>
                  </a:cubicBezTo>
                  <a:cubicBezTo>
                    <a:pt x="47" y="128"/>
                    <a:pt x="47" y="128"/>
                    <a:pt x="47" y="128"/>
                  </a:cubicBezTo>
                  <a:cubicBezTo>
                    <a:pt x="47" y="128"/>
                    <a:pt x="46" y="128"/>
                    <a:pt x="47" y="128"/>
                  </a:cubicBezTo>
                  <a:cubicBezTo>
                    <a:pt x="47" y="128"/>
                    <a:pt x="46" y="128"/>
                    <a:pt x="46" y="127"/>
                  </a:cubicBezTo>
                  <a:cubicBezTo>
                    <a:pt x="46" y="127"/>
                    <a:pt x="46" y="127"/>
                    <a:pt x="46" y="127"/>
                  </a:cubicBezTo>
                  <a:cubicBezTo>
                    <a:pt x="46" y="128"/>
                    <a:pt x="45" y="128"/>
                    <a:pt x="45" y="128"/>
                  </a:cubicBezTo>
                  <a:close/>
                  <a:moveTo>
                    <a:pt x="42" y="18"/>
                  </a:move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6" y="32"/>
                    <a:pt x="36" y="36"/>
                    <a:pt x="36" y="41"/>
                  </a:cubicBezTo>
                  <a:cubicBezTo>
                    <a:pt x="36" y="46"/>
                    <a:pt x="37" y="50"/>
                    <a:pt x="38" y="5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7"/>
                    <a:pt x="39" y="57"/>
                  </a:cubicBezTo>
                  <a:cubicBezTo>
                    <a:pt x="39" y="57"/>
                    <a:pt x="39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3"/>
                    <a:pt x="42" y="63"/>
                    <a:pt x="42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4" y="65"/>
                    <a:pt x="44" y="65"/>
                    <a:pt x="44" y="66"/>
                  </a:cubicBezTo>
                  <a:cubicBezTo>
                    <a:pt x="44" y="66"/>
                    <a:pt x="44" y="66"/>
                    <a:pt x="44" y="67"/>
                  </a:cubicBezTo>
                  <a:cubicBezTo>
                    <a:pt x="44" y="67"/>
                    <a:pt x="44" y="67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6" y="69"/>
                  </a:cubicBezTo>
                  <a:cubicBezTo>
                    <a:pt x="46" y="69"/>
                    <a:pt x="46" y="69"/>
                    <a:pt x="47" y="69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2"/>
                    <a:pt x="49" y="72"/>
                    <a:pt x="49" y="72"/>
                  </a:cubicBezTo>
                  <a:cubicBezTo>
                    <a:pt x="49" y="73"/>
                    <a:pt x="50" y="73"/>
                    <a:pt x="50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2" y="74"/>
                    <a:pt x="52" y="75"/>
                    <a:pt x="52" y="76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6" y="77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8"/>
                    <a:pt x="58" y="78"/>
                  </a:cubicBezTo>
                  <a:cubicBezTo>
                    <a:pt x="58" y="78"/>
                    <a:pt x="58" y="78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3" y="80"/>
                  </a:cubicBezTo>
                  <a:cubicBezTo>
                    <a:pt x="64" y="80"/>
                    <a:pt x="65" y="80"/>
                    <a:pt x="66" y="80"/>
                  </a:cubicBezTo>
                  <a:cubicBezTo>
                    <a:pt x="67" y="80"/>
                    <a:pt x="68" y="81"/>
                    <a:pt x="69" y="81"/>
                  </a:cubicBezTo>
                  <a:cubicBezTo>
                    <a:pt x="70" y="81"/>
                    <a:pt x="70" y="80"/>
                    <a:pt x="71" y="80"/>
                  </a:cubicBezTo>
                  <a:cubicBezTo>
                    <a:pt x="71" y="80"/>
                    <a:pt x="71" y="80"/>
                    <a:pt x="71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77" y="78"/>
                    <a:pt x="80" y="76"/>
                    <a:pt x="82" y="73"/>
                  </a:cubicBezTo>
                  <a:cubicBezTo>
                    <a:pt x="84" y="70"/>
                    <a:pt x="86" y="67"/>
                    <a:pt x="87" y="63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4"/>
                    <a:pt x="88" y="52"/>
                    <a:pt x="88" y="50"/>
                  </a:cubicBezTo>
                  <a:cubicBezTo>
                    <a:pt x="88" y="48"/>
                    <a:pt x="88" y="46"/>
                    <a:pt x="88" y="44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7" y="39"/>
                    <a:pt x="87" y="39"/>
                    <a:pt x="87" y="39"/>
                  </a:cubicBezTo>
                  <a:cubicBezTo>
                    <a:pt x="87" y="38"/>
                    <a:pt x="87" y="38"/>
                    <a:pt x="87" y="38"/>
                  </a:cubicBezTo>
                  <a:cubicBezTo>
                    <a:pt x="87" y="38"/>
                    <a:pt x="87" y="38"/>
                    <a:pt x="87" y="38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5"/>
                    <a:pt x="86" y="35"/>
                    <a:pt x="86" y="35"/>
                  </a:cubicBezTo>
                  <a:cubicBezTo>
                    <a:pt x="86" y="34"/>
                    <a:pt x="86" y="34"/>
                    <a:pt x="86" y="34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5" y="33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5"/>
                  </a:cubicBezTo>
                  <a:cubicBezTo>
                    <a:pt x="81" y="25"/>
                    <a:pt x="81" y="25"/>
                    <a:pt x="81" y="25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4" y="16"/>
                    <a:pt x="69" y="12"/>
                    <a:pt x="62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9" y="10"/>
                    <a:pt x="58" y="10"/>
                    <a:pt x="56" y="10"/>
                  </a:cubicBezTo>
                  <a:cubicBezTo>
                    <a:pt x="54" y="10"/>
                    <a:pt x="53" y="11"/>
                    <a:pt x="52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0" y="11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8" y="13"/>
                    <a:pt x="48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5" y="15"/>
                    <a:pt x="44" y="16"/>
                    <a:pt x="44" y="16"/>
                  </a:cubicBezTo>
                  <a:cubicBezTo>
                    <a:pt x="43" y="16"/>
                    <a:pt x="43" y="17"/>
                    <a:pt x="43" y="18"/>
                  </a:cubicBezTo>
                  <a:lnTo>
                    <a:pt x="42" y="18"/>
                  </a:lnTo>
                  <a:close/>
                  <a:moveTo>
                    <a:pt x="189" y="0"/>
                  </a:moveTo>
                  <a:cubicBezTo>
                    <a:pt x="189" y="1"/>
                    <a:pt x="189" y="2"/>
                    <a:pt x="189" y="3"/>
                  </a:cubicBezTo>
                  <a:cubicBezTo>
                    <a:pt x="189" y="4"/>
                    <a:pt x="189" y="5"/>
                    <a:pt x="189" y="6"/>
                  </a:cubicBezTo>
                  <a:cubicBezTo>
                    <a:pt x="189" y="7"/>
                    <a:pt x="189" y="8"/>
                    <a:pt x="189" y="9"/>
                  </a:cubicBezTo>
                  <a:cubicBezTo>
                    <a:pt x="189" y="10"/>
                    <a:pt x="189" y="11"/>
                    <a:pt x="189" y="12"/>
                  </a:cubicBezTo>
                  <a:cubicBezTo>
                    <a:pt x="189" y="39"/>
                    <a:pt x="189" y="39"/>
                    <a:pt x="189" y="39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16" y="39"/>
                    <a:pt x="218" y="39"/>
                    <a:pt x="221" y="39"/>
                  </a:cubicBezTo>
                  <a:cubicBezTo>
                    <a:pt x="223" y="39"/>
                    <a:pt x="226" y="39"/>
                    <a:pt x="228" y="39"/>
                  </a:cubicBezTo>
                  <a:cubicBezTo>
                    <a:pt x="228" y="50"/>
                    <a:pt x="228" y="50"/>
                    <a:pt x="228" y="50"/>
                  </a:cubicBezTo>
                  <a:cubicBezTo>
                    <a:pt x="221" y="50"/>
                    <a:pt x="215" y="50"/>
                    <a:pt x="208" y="50"/>
                  </a:cubicBezTo>
                  <a:cubicBezTo>
                    <a:pt x="201" y="50"/>
                    <a:pt x="195" y="50"/>
                    <a:pt x="189" y="50"/>
                  </a:cubicBezTo>
                  <a:cubicBezTo>
                    <a:pt x="189" y="89"/>
                    <a:pt x="189" y="89"/>
                    <a:pt x="189" y="89"/>
                  </a:cubicBezTo>
                  <a:cubicBezTo>
                    <a:pt x="177" y="89"/>
                    <a:pt x="177" y="89"/>
                    <a:pt x="177" y="89"/>
                  </a:cubicBezTo>
                  <a:cubicBezTo>
                    <a:pt x="177" y="50"/>
                    <a:pt x="177" y="50"/>
                    <a:pt x="177" y="50"/>
                  </a:cubicBezTo>
                  <a:cubicBezTo>
                    <a:pt x="139" y="50"/>
                    <a:pt x="139" y="50"/>
                    <a:pt x="139" y="50"/>
                  </a:cubicBezTo>
                  <a:cubicBezTo>
                    <a:pt x="139" y="39"/>
                    <a:pt x="139" y="39"/>
                    <a:pt x="139" y="39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0"/>
                    <a:pt x="177" y="0"/>
                    <a:pt x="177" y="0"/>
                  </a:cubicBezTo>
                  <a:lnTo>
                    <a:pt x="18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7148" tIns="18574" rIns="37148" bIns="18574" numCol="1" anchor="t" anchorCtr="0" compatLnSpc="1">
              <a:prstTxWarp prst="textNoShape">
                <a:avLst/>
              </a:prstTxWarp>
            </a:bodyPr>
            <a:lstStyle/>
            <a:p>
              <a:endParaRPr lang="en-US" sz="644"/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6883718" y="3642867"/>
              <a:ext cx="840" cy="1261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2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1" y="1"/>
                    <a:pt x="1" y="1"/>
                    <a:pt x="2" y="2"/>
                  </a:cubicBezTo>
                  <a:close/>
                </a:path>
              </a:pathLst>
            </a:custGeom>
            <a:solidFill>
              <a:srgbClr val="ED22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41" name="Freeform 11"/>
          <p:cNvSpPr>
            <a:spLocks/>
          </p:cNvSpPr>
          <p:nvPr/>
        </p:nvSpPr>
        <p:spPr bwMode="auto">
          <a:xfrm flipH="1">
            <a:off x="6041397" y="3297957"/>
            <a:ext cx="888953" cy="1845543"/>
          </a:xfrm>
          <a:custGeom>
            <a:avLst/>
            <a:gdLst>
              <a:gd name="T0" fmla="*/ 580 w 1495"/>
              <a:gd name="T1" fmla="*/ 573 h 3104"/>
              <a:gd name="T2" fmla="*/ 0 w 1495"/>
              <a:gd name="T3" fmla="*/ 0 h 3104"/>
              <a:gd name="T4" fmla="*/ 4 w 1495"/>
              <a:gd name="T5" fmla="*/ 4 h 3104"/>
              <a:gd name="T6" fmla="*/ 4 w 1495"/>
              <a:gd name="T7" fmla="*/ 4 h 3104"/>
              <a:gd name="T8" fmla="*/ 107 w 1495"/>
              <a:gd name="T9" fmla="*/ 620 h 3104"/>
              <a:gd name="T10" fmla="*/ 107 w 1495"/>
              <a:gd name="T11" fmla="*/ 620 h 3104"/>
              <a:gd name="T12" fmla="*/ 751 w 1495"/>
              <a:gd name="T13" fmla="*/ 1956 h 3104"/>
              <a:gd name="T14" fmla="*/ 677 w 1495"/>
              <a:gd name="T15" fmla="*/ 3104 h 3104"/>
              <a:gd name="T16" fmla="*/ 1441 w 1495"/>
              <a:gd name="T17" fmla="*/ 3104 h 3104"/>
              <a:gd name="T18" fmla="*/ 1370 w 1495"/>
              <a:gd name="T19" fmla="*/ 1810 h 3104"/>
              <a:gd name="T20" fmla="*/ 580 w 1495"/>
              <a:gd name="T21" fmla="*/ 573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95" h="3104">
                <a:moveTo>
                  <a:pt x="580" y="573"/>
                </a:moveTo>
                <a:cubicBezTo>
                  <a:pt x="0" y="0"/>
                  <a:pt x="0" y="0"/>
                  <a:pt x="0" y="0"/>
                </a:cubicBezTo>
                <a:cubicBezTo>
                  <a:pt x="4" y="4"/>
                  <a:pt x="4" y="4"/>
                  <a:pt x="4" y="4"/>
                </a:cubicBezTo>
                <a:cubicBezTo>
                  <a:pt x="4" y="4"/>
                  <a:pt x="4" y="4"/>
                  <a:pt x="4" y="4"/>
                </a:cubicBezTo>
                <a:cubicBezTo>
                  <a:pt x="107" y="620"/>
                  <a:pt x="107" y="620"/>
                  <a:pt x="107" y="620"/>
                </a:cubicBezTo>
                <a:cubicBezTo>
                  <a:pt x="107" y="620"/>
                  <a:pt x="107" y="620"/>
                  <a:pt x="107" y="620"/>
                </a:cubicBezTo>
                <a:cubicBezTo>
                  <a:pt x="380" y="991"/>
                  <a:pt x="747" y="1395"/>
                  <a:pt x="751" y="1956"/>
                </a:cubicBezTo>
                <a:cubicBezTo>
                  <a:pt x="755" y="2516"/>
                  <a:pt x="725" y="2821"/>
                  <a:pt x="677" y="3104"/>
                </a:cubicBezTo>
                <a:cubicBezTo>
                  <a:pt x="1441" y="3104"/>
                  <a:pt x="1441" y="3104"/>
                  <a:pt x="1441" y="3104"/>
                </a:cubicBezTo>
                <a:cubicBezTo>
                  <a:pt x="1458" y="2766"/>
                  <a:pt x="1495" y="2280"/>
                  <a:pt x="1370" y="1810"/>
                </a:cubicBezTo>
                <a:cubicBezTo>
                  <a:pt x="1242" y="1327"/>
                  <a:pt x="947" y="859"/>
                  <a:pt x="580" y="573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34" name="Group 33"/>
          <p:cNvGrpSpPr/>
          <p:nvPr/>
        </p:nvGrpSpPr>
        <p:grpSpPr>
          <a:xfrm>
            <a:off x="5486595" y="1626421"/>
            <a:ext cx="2312881" cy="2278174"/>
            <a:chOff x="5486595" y="1626421"/>
            <a:chExt cx="2312881" cy="2278174"/>
          </a:xfrm>
        </p:grpSpPr>
        <p:sp>
          <p:nvSpPr>
            <p:cNvPr id="46" name="Freeform 7"/>
            <p:cNvSpPr>
              <a:spLocks/>
            </p:cNvSpPr>
            <p:nvPr/>
          </p:nvSpPr>
          <p:spPr bwMode="auto">
            <a:xfrm flipH="1">
              <a:off x="5535748" y="2900112"/>
              <a:ext cx="850303" cy="728891"/>
            </a:xfrm>
            <a:custGeom>
              <a:avLst/>
              <a:gdLst>
                <a:gd name="T0" fmla="*/ 888 w 1430"/>
                <a:gd name="T1" fmla="*/ 563 h 1226"/>
                <a:gd name="T2" fmla="*/ 1374 w 1430"/>
                <a:gd name="T3" fmla="*/ 0 h 1226"/>
                <a:gd name="T4" fmla="*/ 624 w 1430"/>
                <a:gd name="T5" fmla="*/ 470 h 1226"/>
                <a:gd name="T6" fmla="*/ 170 w 1430"/>
                <a:gd name="T7" fmla="*/ 651 h 1226"/>
                <a:gd name="T8" fmla="*/ 0 w 1430"/>
                <a:gd name="T9" fmla="*/ 1226 h 1226"/>
                <a:gd name="T10" fmla="*/ 674 w 1430"/>
                <a:gd name="T11" fmla="*/ 625 h 1226"/>
                <a:gd name="T12" fmla="*/ 680 w 1430"/>
                <a:gd name="T13" fmla="*/ 625 h 1226"/>
                <a:gd name="T14" fmla="*/ 1430 w 1430"/>
                <a:gd name="T15" fmla="*/ 1068 h 1226"/>
                <a:gd name="T16" fmla="*/ 888 w 1430"/>
                <a:gd name="T17" fmla="*/ 563 h 1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30" h="1226">
                  <a:moveTo>
                    <a:pt x="888" y="563"/>
                  </a:moveTo>
                  <a:cubicBezTo>
                    <a:pt x="1137" y="468"/>
                    <a:pt x="1355" y="273"/>
                    <a:pt x="1374" y="0"/>
                  </a:cubicBezTo>
                  <a:cubicBezTo>
                    <a:pt x="1291" y="438"/>
                    <a:pt x="884" y="429"/>
                    <a:pt x="624" y="470"/>
                  </a:cubicBezTo>
                  <a:cubicBezTo>
                    <a:pt x="414" y="499"/>
                    <a:pt x="291" y="548"/>
                    <a:pt x="170" y="651"/>
                  </a:cubicBezTo>
                  <a:cubicBezTo>
                    <a:pt x="72" y="881"/>
                    <a:pt x="15" y="1056"/>
                    <a:pt x="0" y="1226"/>
                  </a:cubicBezTo>
                  <a:cubicBezTo>
                    <a:pt x="123" y="924"/>
                    <a:pt x="288" y="695"/>
                    <a:pt x="674" y="625"/>
                  </a:cubicBezTo>
                  <a:cubicBezTo>
                    <a:pt x="680" y="625"/>
                    <a:pt x="680" y="625"/>
                    <a:pt x="680" y="625"/>
                  </a:cubicBezTo>
                  <a:cubicBezTo>
                    <a:pt x="953" y="631"/>
                    <a:pt x="1258" y="724"/>
                    <a:pt x="1430" y="1068"/>
                  </a:cubicBezTo>
                  <a:cubicBezTo>
                    <a:pt x="1342" y="853"/>
                    <a:pt x="1153" y="655"/>
                    <a:pt x="888" y="56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 flipH="1">
              <a:off x="5486595" y="2383797"/>
              <a:ext cx="676797" cy="586054"/>
            </a:xfrm>
            <a:custGeom>
              <a:avLst/>
              <a:gdLst>
                <a:gd name="T0" fmla="*/ 51 w 1138"/>
                <a:gd name="T1" fmla="*/ 618 h 986"/>
                <a:gd name="T2" fmla="*/ 0 w 1138"/>
                <a:gd name="T3" fmla="*/ 986 h 986"/>
                <a:gd name="T4" fmla="*/ 1138 w 1138"/>
                <a:gd name="T5" fmla="*/ 26 h 986"/>
                <a:gd name="T6" fmla="*/ 51 w 1138"/>
                <a:gd name="T7" fmla="*/ 618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38" h="986">
                  <a:moveTo>
                    <a:pt x="51" y="618"/>
                  </a:moveTo>
                  <a:cubicBezTo>
                    <a:pt x="47" y="742"/>
                    <a:pt x="29" y="865"/>
                    <a:pt x="0" y="986"/>
                  </a:cubicBezTo>
                  <a:cubicBezTo>
                    <a:pt x="187" y="542"/>
                    <a:pt x="532" y="34"/>
                    <a:pt x="1138" y="26"/>
                  </a:cubicBezTo>
                  <a:cubicBezTo>
                    <a:pt x="777" y="0"/>
                    <a:pt x="354" y="259"/>
                    <a:pt x="51" y="61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8" name="Freeform 9"/>
            <p:cNvSpPr>
              <a:spLocks/>
            </p:cNvSpPr>
            <p:nvPr/>
          </p:nvSpPr>
          <p:spPr bwMode="auto">
            <a:xfrm flipH="1">
              <a:off x="5906285" y="2017461"/>
              <a:ext cx="293237" cy="464222"/>
            </a:xfrm>
            <a:custGeom>
              <a:avLst/>
              <a:gdLst>
                <a:gd name="T0" fmla="*/ 0 w 493"/>
                <a:gd name="T1" fmla="*/ 558 h 781"/>
                <a:gd name="T2" fmla="*/ 68 w 493"/>
                <a:gd name="T3" fmla="*/ 781 h 781"/>
                <a:gd name="T4" fmla="*/ 493 w 493"/>
                <a:gd name="T5" fmla="*/ 0 h 781"/>
                <a:gd name="T6" fmla="*/ 0 w 493"/>
                <a:gd name="T7" fmla="*/ 558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3" h="781">
                  <a:moveTo>
                    <a:pt x="0" y="558"/>
                  </a:moveTo>
                  <a:cubicBezTo>
                    <a:pt x="28" y="632"/>
                    <a:pt x="50" y="706"/>
                    <a:pt x="68" y="781"/>
                  </a:cubicBezTo>
                  <a:cubicBezTo>
                    <a:pt x="59" y="496"/>
                    <a:pt x="145" y="181"/>
                    <a:pt x="493" y="0"/>
                  </a:cubicBezTo>
                  <a:cubicBezTo>
                    <a:pt x="277" y="95"/>
                    <a:pt x="83" y="287"/>
                    <a:pt x="0" y="55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" name="Freeform 10"/>
            <p:cNvSpPr>
              <a:spLocks/>
            </p:cNvSpPr>
            <p:nvPr/>
          </p:nvSpPr>
          <p:spPr bwMode="auto">
            <a:xfrm flipH="1">
              <a:off x="6295564" y="2377495"/>
              <a:ext cx="329366" cy="977176"/>
            </a:xfrm>
            <a:custGeom>
              <a:avLst/>
              <a:gdLst>
                <a:gd name="T0" fmla="*/ 258 w 554"/>
                <a:gd name="T1" fmla="*/ 1643 h 1643"/>
                <a:gd name="T2" fmla="*/ 424 w 554"/>
                <a:gd name="T3" fmla="*/ 1329 h 1643"/>
                <a:gd name="T4" fmla="*/ 554 w 554"/>
                <a:gd name="T5" fmla="*/ 1065 h 1643"/>
                <a:gd name="T6" fmla="*/ 0 w 554"/>
                <a:gd name="T7" fmla="*/ 0 h 1643"/>
                <a:gd name="T8" fmla="*/ 258 w 554"/>
                <a:gd name="T9" fmla="*/ 1643 h 1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4" h="1643">
                  <a:moveTo>
                    <a:pt x="258" y="1643"/>
                  </a:moveTo>
                  <a:cubicBezTo>
                    <a:pt x="306" y="1554"/>
                    <a:pt x="361" y="1452"/>
                    <a:pt x="424" y="1329"/>
                  </a:cubicBezTo>
                  <a:cubicBezTo>
                    <a:pt x="468" y="1244"/>
                    <a:pt x="512" y="1157"/>
                    <a:pt x="554" y="1065"/>
                  </a:cubicBezTo>
                  <a:cubicBezTo>
                    <a:pt x="535" y="609"/>
                    <a:pt x="304" y="229"/>
                    <a:pt x="0" y="0"/>
                  </a:cubicBezTo>
                  <a:cubicBezTo>
                    <a:pt x="478" y="486"/>
                    <a:pt x="439" y="1173"/>
                    <a:pt x="258" y="1643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 flipH="1">
              <a:off x="6064585" y="2082578"/>
              <a:ext cx="526398" cy="1822017"/>
            </a:xfrm>
            <a:custGeom>
              <a:avLst/>
              <a:gdLst>
                <a:gd name="T0" fmla="*/ 0 w 885"/>
                <a:gd name="T1" fmla="*/ 2614 h 3064"/>
                <a:gd name="T2" fmla="*/ 3 w 885"/>
                <a:gd name="T3" fmla="*/ 2617 h 3064"/>
                <a:gd name="T4" fmla="*/ 406 w 885"/>
                <a:gd name="T5" fmla="*/ 3064 h 3064"/>
                <a:gd name="T6" fmla="*/ 607 w 885"/>
                <a:gd name="T7" fmla="*/ 1830 h 3064"/>
                <a:gd name="T8" fmla="*/ 415 w 885"/>
                <a:gd name="T9" fmla="*/ 0 h 3064"/>
                <a:gd name="T10" fmla="*/ 361 w 885"/>
                <a:gd name="T11" fmla="*/ 1825 h 3064"/>
                <a:gd name="T12" fmla="*/ 0 w 885"/>
                <a:gd name="T13" fmla="*/ 2614 h 3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5" h="3064">
                  <a:moveTo>
                    <a:pt x="0" y="2614"/>
                  </a:moveTo>
                  <a:cubicBezTo>
                    <a:pt x="3" y="2617"/>
                    <a:pt x="3" y="2617"/>
                    <a:pt x="3" y="2617"/>
                  </a:cubicBezTo>
                  <a:cubicBezTo>
                    <a:pt x="159" y="2760"/>
                    <a:pt x="293" y="2910"/>
                    <a:pt x="406" y="3064"/>
                  </a:cubicBezTo>
                  <a:cubicBezTo>
                    <a:pt x="282" y="2644"/>
                    <a:pt x="352" y="2389"/>
                    <a:pt x="607" y="1830"/>
                  </a:cubicBezTo>
                  <a:cubicBezTo>
                    <a:pt x="867" y="1263"/>
                    <a:pt x="849" y="576"/>
                    <a:pt x="415" y="0"/>
                  </a:cubicBezTo>
                  <a:cubicBezTo>
                    <a:pt x="885" y="750"/>
                    <a:pt x="611" y="1344"/>
                    <a:pt x="361" y="1825"/>
                  </a:cubicBezTo>
                  <a:cubicBezTo>
                    <a:pt x="163" y="2212"/>
                    <a:pt x="40" y="2392"/>
                    <a:pt x="0" y="261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3" name="Freeform 5"/>
            <p:cNvSpPr>
              <a:spLocks/>
            </p:cNvSpPr>
            <p:nvPr/>
          </p:nvSpPr>
          <p:spPr bwMode="auto">
            <a:xfrm flipH="1">
              <a:off x="6512422" y="1626421"/>
              <a:ext cx="523877" cy="2015688"/>
            </a:xfrm>
            <a:custGeom>
              <a:avLst/>
              <a:gdLst>
                <a:gd name="T0" fmla="*/ 309 w 881"/>
                <a:gd name="T1" fmla="*/ 2347 h 3390"/>
                <a:gd name="T2" fmla="*/ 881 w 881"/>
                <a:gd name="T3" fmla="*/ 0 h 3390"/>
                <a:gd name="T4" fmla="*/ 399 w 881"/>
                <a:gd name="T5" fmla="*/ 702 h 3390"/>
                <a:gd name="T6" fmla="*/ 0 w 881"/>
                <a:gd name="T7" fmla="*/ 54 h 3390"/>
                <a:gd name="T8" fmla="*/ 273 w 881"/>
                <a:gd name="T9" fmla="*/ 986 h 3390"/>
                <a:gd name="T10" fmla="*/ 72 w 881"/>
                <a:gd name="T11" fmla="*/ 2208 h 3390"/>
                <a:gd name="T12" fmla="*/ 172 w 881"/>
                <a:gd name="T13" fmla="*/ 2817 h 3390"/>
                <a:gd name="T14" fmla="*/ 752 w 881"/>
                <a:gd name="T15" fmla="*/ 3390 h 3390"/>
                <a:gd name="T16" fmla="*/ 309 w 881"/>
                <a:gd name="T17" fmla="*/ 2347 h 3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3390">
                  <a:moveTo>
                    <a:pt x="309" y="2347"/>
                  </a:moveTo>
                  <a:cubicBezTo>
                    <a:pt x="175" y="1764"/>
                    <a:pt x="223" y="832"/>
                    <a:pt x="881" y="0"/>
                  </a:cubicBezTo>
                  <a:cubicBezTo>
                    <a:pt x="710" y="190"/>
                    <a:pt x="538" y="432"/>
                    <a:pt x="399" y="702"/>
                  </a:cubicBezTo>
                  <a:cubicBezTo>
                    <a:pt x="365" y="415"/>
                    <a:pt x="204" y="185"/>
                    <a:pt x="0" y="54"/>
                  </a:cubicBezTo>
                  <a:cubicBezTo>
                    <a:pt x="347" y="315"/>
                    <a:pt x="353" y="688"/>
                    <a:pt x="273" y="986"/>
                  </a:cubicBezTo>
                  <a:cubicBezTo>
                    <a:pt x="117" y="1369"/>
                    <a:pt x="28" y="1794"/>
                    <a:pt x="72" y="2208"/>
                  </a:cubicBezTo>
                  <a:cubicBezTo>
                    <a:pt x="83" y="2308"/>
                    <a:pt x="116" y="2616"/>
                    <a:pt x="172" y="2817"/>
                  </a:cubicBezTo>
                  <a:cubicBezTo>
                    <a:pt x="752" y="3390"/>
                    <a:pt x="752" y="3390"/>
                    <a:pt x="752" y="3390"/>
                  </a:cubicBezTo>
                  <a:cubicBezTo>
                    <a:pt x="547" y="3019"/>
                    <a:pt x="370" y="2608"/>
                    <a:pt x="309" y="234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 flipH="1">
              <a:off x="6998665" y="2848521"/>
              <a:ext cx="771742" cy="617562"/>
            </a:xfrm>
            <a:custGeom>
              <a:avLst/>
              <a:gdLst>
                <a:gd name="T0" fmla="*/ 679 w 1298"/>
                <a:gd name="T1" fmla="*/ 679 h 1039"/>
                <a:gd name="T2" fmla="*/ 134 w 1298"/>
                <a:gd name="T3" fmla="*/ 0 h 1039"/>
                <a:gd name="T4" fmla="*/ 519 w 1298"/>
                <a:gd name="T5" fmla="*/ 708 h 1039"/>
                <a:gd name="T6" fmla="*/ 0 w 1298"/>
                <a:gd name="T7" fmla="*/ 957 h 1039"/>
                <a:gd name="T8" fmla="*/ 1298 w 1298"/>
                <a:gd name="T9" fmla="*/ 1039 h 1039"/>
                <a:gd name="T10" fmla="*/ 1151 w 1298"/>
                <a:gd name="T11" fmla="*/ 743 h 1039"/>
                <a:gd name="T12" fmla="*/ 679 w 1298"/>
                <a:gd name="T13" fmla="*/ 679 h 1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8" h="1039">
                  <a:moveTo>
                    <a:pt x="679" y="679"/>
                  </a:moveTo>
                  <a:cubicBezTo>
                    <a:pt x="422" y="580"/>
                    <a:pt x="173" y="381"/>
                    <a:pt x="134" y="0"/>
                  </a:cubicBezTo>
                  <a:cubicBezTo>
                    <a:pt x="142" y="253"/>
                    <a:pt x="269" y="530"/>
                    <a:pt x="519" y="708"/>
                  </a:cubicBezTo>
                  <a:cubicBezTo>
                    <a:pt x="331" y="751"/>
                    <a:pt x="149" y="834"/>
                    <a:pt x="0" y="957"/>
                  </a:cubicBezTo>
                  <a:cubicBezTo>
                    <a:pt x="591" y="757"/>
                    <a:pt x="996" y="832"/>
                    <a:pt x="1298" y="1039"/>
                  </a:cubicBezTo>
                  <a:cubicBezTo>
                    <a:pt x="1151" y="743"/>
                    <a:pt x="1151" y="743"/>
                    <a:pt x="1151" y="743"/>
                  </a:cubicBezTo>
                  <a:cubicBezTo>
                    <a:pt x="992" y="686"/>
                    <a:pt x="833" y="669"/>
                    <a:pt x="679" y="67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 flipH="1">
              <a:off x="6863470" y="2062915"/>
              <a:ext cx="936006" cy="1607341"/>
            </a:xfrm>
            <a:custGeom>
              <a:avLst/>
              <a:gdLst>
                <a:gd name="T0" fmla="*/ 1471 w 1574"/>
                <a:gd name="T1" fmla="*/ 2087 h 2703"/>
                <a:gd name="T2" fmla="*/ 1471 w 1574"/>
                <a:gd name="T3" fmla="*/ 2087 h 2703"/>
                <a:gd name="T4" fmla="*/ 1467 w 1574"/>
                <a:gd name="T5" fmla="*/ 2083 h 2703"/>
                <a:gd name="T6" fmla="*/ 1013 w 1574"/>
                <a:gd name="T7" fmla="*/ 0 h 2703"/>
                <a:gd name="T8" fmla="*/ 952 w 1574"/>
                <a:gd name="T9" fmla="*/ 938 h 2703"/>
                <a:gd name="T10" fmla="*/ 0 w 1574"/>
                <a:gd name="T11" fmla="*/ 631 h 2703"/>
                <a:gd name="T12" fmla="*/ 968 w 1574"/>
                <a:gd name="T13" fmla="*/ 1145 h 2703"/>
                <a:gd name="T14" fmla="*/ 1194 w 1574"/>
                <a:gd name="T15" fmla="*/ 2064 h 2703"/>
                <a:gd name="T16" fmla="*/ 1341 w 1574"/>
                <a:gd name="T17" fmla="*/ 2360 h 2703"/>
                <a:gd name="T18" fmla="*/ 1515 w 1574"/>
                <a:gd name="T19" fmla="*/ 2624 h 2703"/>
                <a:gd name="T20" fmla="*/ 1574 w 1574"/>
                <a:gd name="T21" fmla="*/ 2703 h 2703"/>
                <a:gd name="T22" fmla="*/ 1574 w 1574"/>
                <a:gd name="T23" fmla="*/ 2703 h 2703"/>
                <a:gd name="T24" fmla="*/ 1471 w 1574"/>
                <a:gd name="T25" fmla="*/ 2087 h 2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74" h="2703">
                  <a:moveTo>
                    <a:pt x="1471" y="2087"/>
                  </a:moveTo>
                  <a:cubicBezTo>
                    <a:pt x="1471" y="2087"/>
                    <a:pt x="1471" y="2087"/>
                    <a:pt x="1471" y="2087"/>
                  </a:cubicBezTo>
                  <a:cubicBezTo>
                    <a:pt x="1467" y="2083"/>
                    <a:pt x="1467" y="2083"/>
                    <a:pt x="1467" y="2083"/>
                  </a:cubicBezTo>
                  <a:cubicBezTo>
                    <a:pt x="1117" y="1609"/>
                    <a:pt x="893" y="910"/>
                    <a:pt x="1013" y="0"/>
                  </a:cubicBezTo>
                  <a:cubicBezTo>
                    <a:pt x="954" y="279"/>
                    <a:pt x="933" y="598"/>
                    <a:pt x="952" y="938"/>
                  </a:cubicBezTo>
                  <a:cubicBezTo>
                    <a:pt x="679" y="646"/>
                    <a:pt x="308" y="564"/>
                    <a:pt x="0" y="631"/>
                  </a:cubicBezTo>
                  <a:cubicBezTo>
                    <a:pt x="508" y="562"/>
                    <a:pt x="821" y="849"/>
                    <a:pt x="968" y="1145"/>
                  </a:cubicBezTo>
                  <a:cubicBezTo>
                    <a:pt x="1008" y="1459"/>
                    <a:pt x="1074" y="1768"/>
                    <a:pt x="1194" y="2064"/>
                  </a:cubicBezTo>
                  <a:cubicBezTo>
                    <a:pt x="1341" y="2360"/>
                    <a:pt x="1341" y="2360"/>
                    <a:pt x="1341" y="2360"/>
                  </a:cubicBezTo>
                  <a:cubicBezTo>
                    <a:pt x="1392" y="2448"/>
                    <a:pt x="1450" y="2542"/>
                    <a:pt x="1515" y="2624"/>
                  </a:cubicBezTo>
                  <a:cubicBezTo>
                    <a:pt x="1535" y="2650"/>
                    <a:pt x="1555" y="2677"/>
                    <a:pt x="1574" y="2703"/>
                  </a:cubicBezTo>
                  <a:cubicBezTo>
                    <a:pt x="1574" y="2703"/>
                    <a:pt x="1574" y="2703"/>
                    <a:pt x="1574" y="2703"/>
                  </a:cubicBezTo>
                  <a:lnTo>
                    <a:pt x="1471" y="2087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95247" y="2189975"/>
            <a:ext cx="1436758" cy="458702"/>
            <a:chOff x="595247" y="2189975"/>
            <a:chExt cx="1436758" cy="458702"/>
          </a:xfrm>
        </p:grpSpPr>
        <p:sp>
          <p:nvSpPr>
            <p:cNvPr id="83" name="TextBox 82"/>
            <p:cNvSpPr txBox="1"/>
            <p:nvPr/>
          </p:nvSpPr>
          <p:spPr>
            <a:xfrm>
              <a:off x="595276" y="2189975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ONTEÚD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95247" y="2364368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agna.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2540894" y="2189975"/>
            <a:ext cx="1436758" cy="458702"/>
            <a:chOff x="2540894" y="2189975"/>
            <a:chExt cx="1436758" cy="458702"/>
          </a:xfrm>
        </p:grpSpPr>
        <p:sp>
          <p:nvSpPr>
            <p:cNvPr id="87" name="TextBox 86"/>
            <p:cNvSpPr txBox="1"/>
            <p:nvPr/>
          </p:nvSpPr>
          <p:spPr>
            <a:xfrm>
              <a:off x="2540923" y="2189975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LANEJA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540894" y="2364368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agna.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595247" y="3682817"/>
            <a:ext cx="1436758" cy="458702"/>
            <a:chOff x="595247" y="3682817"/>
            <a:chExt cx="1436758" cy="458702"/>
          </a:xfrm>
        </p:grpSpPr>
        <p:sp>
          <p:nvSpPr>
            <p:cNvPr id="93" name="TextBox 92"/>
            <p:cNvSpPr txBox="1"/>
            <p:nvPr/>
          </p:nvSpPr>
          <p:spPr>
            <a:xfrm>
              <a:off x="595276" y="368281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595247" y="385721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agna.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540894" y="3682817"/>
            <a:ext cx="1436758" cy="458702"/>
            <a:chOff x="2540894" y="3682817"/>
            <a:chExt cx="1436758" cy="458702"/>
          </a:xfrm>
        </p:grpSpPr>
        <p:sp>
          <p:nvSpPr>
            <p:cNvPr id="95" name="TextBox 94"/>
            <p:cNvSpPr txBox="1"/>
            <p:nvPr/>
          </p:nvSpPr>
          <p:spPr>
            <a:xfrm>
              <a:off x="2540923" y="368281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BRAINSTORM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2540894" y="385721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agna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0715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Árvore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lano</a:t>
            </a:r>
            <a:r>
              <a:rPr lang="en-US" dirty="0">
                <a:solidFill>
                  <a:srgbClr val="EC0000"/>
                </a:solidFill>
              </a:rPr>
              <a:t> de </a:t>
            </a:r>
            <a:r>
              <a:rPr lang="en-US" dirty="0" err="1">
                <a:solidFill>
                  <a:srgbClr val="EC0000"/>
                </a:solidFill>
              </a:rPr>
              <a:t>negóci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  <a:p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4230084" y="2224696"/>
            <a:ext cx="3122187" cy="2918804"/>
            <a:chOff x="5122865" y="5272089"/>
            <a:chExt cx="8602664" cy="8042277"/>
          </a:xfrm>
        </p:grpSpPr>
        <p:sp>
          <p:nvSpPr>
            <p:cNvPr id="7" name="Freeform 5"/>
            <p:cNvSpPr>
              <a:spLocks/>
            </p:cNvSpPr>
            <p:nvPr/>
          </p:nvSpPr>
          <p:spPr bwMode="auto">
            <a:xfrm>
              <a:off x="5122865" y="5272089"/>
              <a:ext cx="8602664" cy="8042277"/>
            </a:xfrm>
            <a:custGeom>
              <a:avLst/>
              <a:gdLst>
                <a:gd name="T0" fmla="*/ 7715 w 7781"/>
                <a:gd name="T1" fmla="*/ 1901 h 7273"/>
                <a:gd name="T2" fmla="*/ 6140 w 7781"/>
                <a:gd name="T3" fmla="*/ 1704 h 7273"/>
                <a:gd name="T4" fmla="*/ 6075 w 7781"/>
                <a:gd name="T5" fmla="*/ 1718 h 7273"/>
                <a:gd name="T6" fmla="*/ 6162 w 7781"/>
                <a:gd name="T7" fmla="*/ 1614 h 7273"/>
                <a:gd name="T8" fmla="*/ 6534 w 7781"/>
                <a:gd name="T9" fmla="*/ 431 h 7273"/>
                <a:gd name="T10" fmla="*/ 6498 w 7781"/>
                <a:gd name="T11" fmla="*/ 421 h 7273"/>
                <a:gd name="T12" fmla="*/ 5653 w 7781"/>
                <a:gd name="T13" fmla="*/ 1749 h 7273"/>
                <a:gd name="T14" fmla="*/ 4823 w 7781"/>
                <a:gd name="T15" fmla="*/ 2469 h 7273"/>
                <a:gd name="T16" fmla="*/ 4600 w 7781"/>
                <a:gd name="T17" fmla="*/ 3518 h 7273"/>
                <a:gd name="T18" fmla="*/ 4615 w 7781"/>
                <a:gd name="T19" fmla="*/ 3921 h 7273"/>
                <a:gd name="T20" fmla="*/ 4538 w 7781"/>
                <a:gd name="T21" fmla="*/ 3843 h 7273"/>
                <a:gd name="T22" fmla="*/ 3541 w 7781"/>
                <a:gd name="T23" fmla="*/ 2683 h 7273"/>
                <a:gd name="T24" fmla="*/ 3747 w 7781"/>
                <a:gd name="T25" fmla="*/ 1160 h 7273"/>
                <a:gd name="T26" fmla="*/ 4113 w 7781"/>
                <a:gd name="T27" fmla="*/ 37 h 7273"/>
                <a:gd name="T28" fmla="*/ 4057 w 7781"/>
                <a:gd name="T29" fmla="*/ 37 h 7273"/>
                <a:gd name="T30" fmla="*/ 3246 w 7781"/>
                <a:gd name="T31" fmla="*/ 1414 h 7273"/>
                <a:gd name="T32" fmla="*/ 3119 w 7781"/>
                <a:gd name="T33" fmla="*/ 2398 h 7273"/>
                <a:gd name="T34" fmla="*/ 2202 w 7781"/>
                <a:gd name="T35" fmla="*/ 684 h 7273"/>
                <a:gd name="T36" fmla="*/ 2165 w 7781"/>
                <a:gd name="T37" fmla="*/ 689 h 7273"/>
                <a:gd name="T38" fmla="*/ 3364 w 7781"/>
                <a:gd name="T39" fmla="*/ 3142 h 7273"/>
                <a:gd name="T40" fmla="*/ 3723 w 7781"/>
                <a:gd name="T41" fmla="*/ 3571 h 7273"/>
                <a:gd name="T42" fmla="*/ 3764 w 7781"/>
                <a:gd name="T43" fmla="*/ 3736 h 7273"/>
                <a:gd name="T44" fmla="*/ 3700 w 7781"/>
                <a:gd name="T45" fmla="*/ 3680 h 7273"/>
                <a:gd name="T46" fmla="*/ 3205 w 7781"/>
                <a:gd name="T47" fmla="*/ 3367 h 7273"/>
                <a:gd name="T48" fmla="*/ 2849 w 7781"/>
                <a:gd name="T49" fmla="*/ 3254 h 7273"/>
                <a:gd name="T50" fmla="*/ 229 w 7781"/>
                <a:gd name="T51" fmla="*/ 2751 h 7273"/>
                <a:gd name="T52" fmla="*/ 144 w 7781"/>
                <a:gd name="T53" fmla="*/ 2787 h 7273"/>
                <a:gd name="T54" fmla="*/ 1338 w 7781"/>
                <a:gd name="T55" fmla="*/ 3452 h 7273"/>
                <a:gd name="T56" fmla="*/ 1720 w 7781"/>
                <a:gd name="T57" fmla="*/ 3433 h 7273"/>
                <a:gd name="T58" fmla="*/ 1705 w 7781"/>
                <a:gd name="T59" fmla="*/ 3441 h 7273"/>
                <a:gd name="T60" fmla="*/ 977 w 7781"/>
                <a:gd name="T61" fmla="*/ 3915 h 7273"/>
                <a:gd name="T62" fmla="*/ 16 w 7781"/>
                <a:gd name="T63" fmla="*/ 4291 h 7273"/>
                <a:gd name="T64" fmla="*/ 20 w 7781"/>
                <a:gd name="T65" fmla="*/ 4321 h 7273"/>
                <a:gd name="T66" fmla="*/ 1194 w 7781"/>
                <a:gd name="T67" fmla="*/ 4027 h 7273"/>
                <a:gd name="T68" fmla="*/ 2616 w 7781"/>
                <a:gd name="T69" fmla="*/ 3518 h 7273"/>
                <a:gd name="T70" fmla="*/ 3382 w 7781"/>
                <a:gd name="T71" fmla="*/ 3886 h 7273"/>
                <a:gd name="T72" fmla="*/ 3698 w 7781"/>
                <a:gd name="T73" fmla="*/ 4343 h 7273"/>
                <a:gd name="T74" fmla="*/ 3947 w 7781"/>
                <a:gd name="T75" fmla="*/ 6885 h 7273"/>
                <a:gd name="T76" fmla="*/ 3878 w 7781"/>
                <a:gd name="T77" fmla="*/ 7273 h 7273"/>
                <a:gd name="T78" fmla="*/ 5449 w 7781"/>
                <a:gd name="T79" fmla="*/ 7273 h 7273"/>
                <a:gd name="T80" fmla="*/ 5272 w 7781"/>
                <a:gd name="T81" fmla="*/ 6580 h 7273"/>
                <a:gd name="T82" fmla="*/ 5154 w 7781"/>
                <a:gd name="T83" fmla="*/ 2676 h 7273"/>
                <a:gd name="T84" fmla="*/ 6212 w 7781"/>
                <a:gd name="T85" fmla="*/ 1968 h 7273"/>
                <a:gd name="T86" fmla="*/ 7767 w 7781"/>
                <a:gd name="T87" fmla="*/ 1923 h 7273"/>
                <a:gd name="T88" fmla="*/ 7715 w 7781"/>
                <a:gd name="T89" fmla="*/ 1901 h 7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781" h="7273">
                  <a:moveTo>
                    <a:pt x="7715" y="1901"/>
                  </a:moveTo>
                  <a:cubicBezTo>
                    <a:pt x="7423" y="2307"/>
                    <a:pt x="6586" y="1619"/>
                    <a:pt x="6140" y="1704"/>
                  </a:cubicBezTo>
                  <a:cubicBezTo>
                    <a:pt x="6118" y="1708"/>
                    <a:pt x="6096" y="1713"/>
                    <a:pt x="6075" y="1718"/>
                  </a:cubicBezTo>
                  <a:cubicBezTo>
                    <a:pt x="6105" y="1685"/>
                    <a:pt x="6135" y="1650"/>
                    <a:pt x="6162" y="1614"/>
                  </a:cubicBezTo>
                  <a:cubicBezTo>
                    <a:pt x="6424" y="1266"/>
                    <a:pt x="6467" y="848"/>
                    <a:pt x="6534" y="431"/>
                  </a:cubicBezTo>
                  <a:cubicBezTo>
                    <a:pt x="6537" y="409"/>
                    <a:pt x="6504" y="398"/>
                    <a:pt x="6498" y="421"/>
                  </a:cubicBezTo>
                  <a:cubicBezTo>
                    <a:pt x="6366" y="964"/>
                    <a:pt x="6105" y="1415"/>
                    <a:pt x="5653" y="1749"/>
                  </a:cubicBezTo>
                  <a:cubicBezTo>
                    <a:pt x="5359" y="1966"/>
                    <a:pt x="5028" y="2156"/>
                    <a:pt x="4823" y="2469"/>
                  </a:cubicBezTo>
                  <a:cubicBezTo>
                    <a:pt x="4617" y="2783"/>
                    <a:pt x="4585" y="3152"/>
                    <a:pt x="4600" y="3518"/>
                  </a:cubicBezTo>
                  <a:cubicBezTo>
                    <a:pt x="4606" y="3658"/>
                    <a:pt x="4612" y="3791"/>
                    <a:pt x="4615" y="3921"/>
                  </a:cubicBezTo>
                  <a:cubicBezTo>
                    <a:pt x="4589" y="3895"/>
                    <a:pt x="4563" y="3868"/>
                    <a:pt x="4538" y="3843"/>
                  </a:cubicBezTo>
                  <a:cubicBezTo>
                    <a:pt x="4178" y="3480"/>
                    <a:pt x="3781" y="3144"/>
                    <a:pt x="3541" y="2683"/>
                  </a:cubicBezTo>
                  <a:cubicBezTo>
                    <a:pt x="3241" y="2107"/>
                    <a:pt x="3397" y="1654"/>
                    <a:pt x="3747" y="1160"/>
                  </a:cubicBezTo>
                  <a:cubicBezTo>
                    <a:pt x="3988" y="821"/>
                    <a:pt x="4164" y="463"/>
                    <a:pt x="4113" y="37"/>
                  </a:cubicBezTo>
                  <a:cubicBezTo>
                    <a:pt x="4109" y="3"/>
                    <a:pt x="4056" y="0"/>
                    <a:pt x="4057" y="37"/>
                  </a:cubicBezTo>
                  <a:cubicBezTo>
                    <a:pt x="4080" y="616"/>
                    <a:pt x="3504" y="951"/>
                    <a:pt x="3246" y="1414"/>
                  </a:cubicBezTo>
                  <a:cubicBezTo>
                    <a:pt x="3072" y="1726"/>
                    <a:pt x="3040" y="2065"/>
                    <a:pt x="3119" y="2398"/>
                  </a:cubicBezTo>
                  <a:cubicBezTo>
                    <a:pt x="2688" y="1887"/>
                    <a:pt x="2305" y="1335"/>
                    <a:pt x="2202" y="684"/>
                  </a:cubicBezTo>
                  <a:cubicBezTo>
                    <a:pt x="2198" y="663"/>
                    <a:pt x="2164" y="668"/>
                    <a:pt x="2165" y="689"/>
                  </a:cubicBezTo>
                  <a:cubicBezTo>
                    <a:pt x="2213" y="1686"/>
                    <a:pt x="2731" y="2407"/>
                    <a:pt x="3364" y="3142"/>
                  </a:cubicBezTo>
                  <a:cubicBezTo>
                    <a:pt x="3486" y="3283"/>
                    <a:pt x="3606" y="3426"/>
                    <a:pt x="3723" y="3571"/>
                  </a:cubicBezTo>
                  <a:cubicBezTo>
                    <a:pt x="3735" y="3626"/>
                    <a:pt x="3749" y="3682"/>
                    <a:pt x="3764" y="3736"/>
                  </a:cubicBezTo>
                  <a:cubicBezTo>
                    <a:pt x="3743" y="3717"/>
                    <a:pt x="3722" y="3698"/>
                    <a:pt x="3700" y="3680"/>
                  </a:cubicBezTo>
                  <a:cubicBezTo>
                    <a:pt x="3539" y="3551"/>
                    <a:pt x="3397" y="3431"/>
                    <a:pt x="3205" y="3367"/>
                  </a:cubicBezTo>
                  <a:cubicBezTo>
                    <a:pt x="3102" y="3305"/>
                    <a:pt x="2968" y="3291"/>
                    <a:pt x="2849" y="3254"/>
                  </a:cubicBezTo>
                  <a:cubicBezTo>
                    <a:pt x="1942" y="2971"/>
                    <a:pt x="921" y="3655"/>
                    <a:pt x="229" y="2751"/>
                  </a:cubicBezTo>
                  <a:cubicBezTo>
                    <a:pt x="197" y="2711"/>
                    <a:pt x="133" y="2733"/>
                    <a:pt x="144" y="2787"/>
                  </a:cubicBezTo>
                  <a:cubicBezTo>
                    <a:pt x="248" y="3305"/>
                    <a:pt x="884" y="3448"/>
                    <a:pt x="1338" y="3452"/>
                  </a:cubicBezTo>
                  <a:cubicBezTo>
                    <a:pt x="1465" y="3453"/>
                    <a:pt x="1592" y="3444"/>
                    <a:pt x="1720" y="3433"/>
                  </a:cubicBezTo>
                  <a:cubicBezTo>
                    <a:pt x="1715" y="3436"/>
                    <a:pt x="1710" y="3439"/>
                    <a:pt x="1705" y="3441"/>
                  </a:cubicBezTo>
                  <a:cubicBezTo>
                    <a:pt x="1451" y="3582"/>
                    <a:pt x="1232" y="3775"/>
                    <a:pt x="977" y="3915"/>
                  </a:cubicBezTo>
                  <a:cubicBezTo>
                    <a:pt x="674" y="4081"/>
                    <a:pt x="350" y="4205"/>
                    <a:pt x="16" y="4291"/>
                  </a:cubicBezTo>
                  <a:cubicBezTo>
                    <a:pt x="0" y="4295"/>
                    <a:pt x="3" y="4322"/>
                    <a:pt x="20" y="4321"/>
                  </a:cubicBezTo>
                  <a:cubicBezTo>
                    <a:pt x="434" y="4307"/>
                    <a:pt x="825" y="4221"/>
                    <a:pt x="1194" y="4027"/>
                  </a:cubicBezTo>
                  <a:cubicBezTo>
                    <a:pt x="1660" y="3782"/>
                    <a:pt x="2049" y="3425"/>
                    <a:pt x="2616" y="3518"/>
                  </a:cubicBezTo>
                  <a:cubicBezTo>
                    <a:pt x="2906" y="3566"/>
                    <a:pt x="3164" y="3701"/>
                    <a:pt x="3382" y="3886"/>
                  </a:cubicBezTo>
                  <a:cubicBezTo>
                    <a:pt x="3508" y="4022"/>
                    <a:pt x="3615" y="4178"/>
                    <a:pt x="3698" y="4343"/>
                  </a:cubicBezTo>
                  <a:cubicBezTo>
                    <a:pt x="4077" y="5094"/>
                    <a:pt x="4055" y="6068"/>
                    <a:pt x="3947" y="6885"/>
                  </a:cubicBezTo>
                  <a:cubicBezTo>
                    <a:pt x="3929" y="7018"/>
                    <a:pt x="3906" y="7148"/>
                    <a:pt x="3878" y="7273"/>
                  </a:cubicBezTo>
                  <a:cubicBezTo>
                    <a:pt x="5449" y="7273"/>
                    <a:pt x="5449" y="7273"/>
                    <a:pt x="5449" y="7273"/>
                  </a:cubicBezTo>
                  <a:cubicBezTo>
                    <a:pt x="5370" y="7049"/>
                    <a:pt x="5312" y="6817"/>
                    <a:pt x="5272" y="6580"/>
                  </a:cubicBezTo>
                  <a:cubicBezTo>
                    <a:pt x="5146" y="5822"/>
                    <a:pt x="4949" y="3070"/>
                    <a:pt x="5154" y="2676"/>
                  </a:cubicBezTo>
                  <a:cubicBezTo>
                    <a:pt x="5373" y="2253"/>
                    <a:pt x="5763" y="2055"/>
                    <a:pt x="6212" y="1968"/>
                  </a:cubicBezTo>
                  <a:cubicBezTo>
                    <a:pt x="6750" y="1864"/>
                    <a:pt x="7537" y="2479"/>
                    <a:pt x="7767" y="1923"/>
                  </a:cubicBezTo>
                  <a:cubicBezTo>
                    <a:pt x="7781" y="1891"/>
                    <a:pt x="7733" y="1876"/>
                    <a:pt x="7715" y="190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5138738" y="5292725"/>
              <a:ext cx="8575676" cy="8021638"/>
            </a:xfrm>
            <a:custGeom>
              <a:avLst/>
              <a:gdLst>
                <a:gd name="T0" fmla="*/ 6131 w 7756"/>
                <a:gd name="T1" fmla="*/ 1441 h 7255"/>
                <a:gd name="T2" fmla="*/ 5040 w 7756"/>
                <a:gd name="T3" fmla="*/ 2447 h 7255"/>
                <a:gd name="T4" fmla="*/ 4820 w 7756"/>
                <a:gd name="T5" fmla="*/ 3492 h 7255"/>
                <a:gd name="T6" fmla="*/ 4827 w 7756"/>
                <a:gd name="T7" fmla="*/ 4226 h 7255"/>
                <a:gd name="T8" fmla="*/ 4600 w 7756"/>
                <a:gd name="T9" fmla="*/ 3903 h 7255"/>
                <a:gd name="T10" fmla="*/ 4585 w 7756"/>
                <a:gd name="T11" fmla="*/ 3500 h 7255"/>
                <a:gd name="T12" fmla="*/ 4808 w 7756"/>
                <a:gd name="T13" fmla="*/ 2451 h 7255"/>
                <a:gd name="T14" fmla="*/ 5638 w 7756"/>
                <a:gd name="T15" fmla="*/ 1731 h 7255"/>
                <a:gd name="T16" fmla="*/ 6474 w 7756"/>
                <a:gd name="T17" fmla="*/ 438 h 7255"/>
                <a:gd name="T18" fmla="*/ 6131 w 7756"/>
                <a:gd name="T19" fmla="*/ 1441 h 7255"/>
                <a:gd name="T20" fmla="*/ 7703 w 7756"/>
                <a:gd name="T21" fmla="*/ 1882 h 7255"/>
                <a:gd name="T22" fmla="*/ 6125 w 7756"/>
                <a:gd name="T23" fmla="*/ 1686 h 7255"/>
                <a:gd name="T24" fmla="*/ 6060 w 7756"/>
                <a:gd name="T25" fmla="*/ 1700 h 7255"/>
                <a:gd name="T26" fmla="*/ 5871 w 7756"/>
                <a:gd name="T27" fmla="*/ 1869 h 7255"/>
                <a:gd name="T28" fmla="*/ 6448 w 7756"/>
                <a:gd name="T29" fmla="*/ 1834 h 7255"/>
                <a:gd name="T30" fmla="*/ 7107 w 7756"/>
                <a:gd name="T31" fmla="*/ 2021 h 7255"/>
                <a:gd name="T32" fmla="*/ 7756 w 7756"/>
                <a:gd name="T33" fmla="*/ 1888 h 7255"/>
                <a:gd name="T34" fmla="*/ 7703 w 7756"/>
                <a:gd name="T35" fmla="*/ 1882 h 7255"/>
                <a:gd name="T36" fmla="*/ 4603 w 7756"/>
                <a:gd name="T37" fmla="*/ 4922 h 7255"/>
                <a:gd name="T38" fmla="*/ 3859 w 7756"/>
                <a:gd name="T39" fmla="*/ 3440 h 7255"/>
                <a:gd name="T40" fmla="*/ 3212 w 7756"/>
                <a:gd name="T41" fmla="*/ 2194 h 7255"/>
                <a:gd name="T42" fmla="*/ 3755 w 7756"/>
                <a:gd name="T43" fmla="*/ 961 h 7255"/>
                <a:gd name="T44" fmla="*/ 4066 w 7756"/>
                <a:gd name="T45" fmla="*/ 0 h 7255"/>
                <a:gd name="T46" fmla="*/ 4049 w 7756"/>
                <a:gd name="T47" fmla="*/ 26 h 7255"/>
                <a:gd name="T48" fmla="*/ 3238 w 7756"/>
                <a:gd name="T49" fmla="*/ 1402 h 7255"/>
                <a:gd name="T50" fmla="*/ 3110 w 7756"/>
                <a:gd name="T51" fmla="*/ 2387 h 7255"/>
                <a:gd name="T52" fmla="*/ 3288 w 7756"/>
                <a:gd name="T53" fmla="*/ 2785 h 7255"/>
                <a:gd name="T54" fmla="*/ 2321 w 7756"/>
                <a:gd name="T55" fmla="*/ 1318 h 7255"/>
                <a:gd name="T56" fmla="*/ 2188 w 7756"/>
                <a:gd name="T57" fmla="*/ 665 h 7255"/>
                <a:gd name="T58" fmla="*/ 2156 w 7756"/>
                <a:gd name="T59" fmla="*/ 678 h 7255"/>
                <a:gd name="T60" fmla="*/ 3355 w 7756"/>
                <a:gd name="T61" fmla="*/ 3130 h 7255"/>
                <a:gd name="T62" fmla="*/ 3619 w 7756"/>
                <a:gd name="T63" fmla="*/ 3518 h 7255"/>
                <a:gd name="T64" fmla="*/ 3755 w 7756"/>
                <a:gd name="T65" fmla="*/ 3725 h 7255"/>
                <a:gd name="T66" fmla="*/ 3872 w 7756"/>
                <a:gd name="T67" fmla="*/ 3972 h 7255"/>
                <a:gd name="T68" fmla="*/ 3054 w 7756"/>
                <a:gd name="T69" fmla="*/ 3453 h 7255"/>
                <a:gd name="T70" fmla="*/ 1951 w 7756"/>
                <a:gd name="T71" fmla="*/ 3297 h 7255"/>
                <a:gd name="T72" fmla="*/ 614 w 7756"/>
                <a:gd name="T73" fmla="*/ 3200 h 7255"/>
                <a:gd name="T74" fmla="*/ 149 w 7756"/>
                <a:gd name="T75" fmla="*/ 2730 h 7255"/>
                <a:gd name="T76" fmla="*/ 135 w 7756"/>
                <a:gd name="T77" fmla="*/ 2775 h 7255"/>
                <a:gd name="T78" fmla="*/ 1329 w 7756"/>
                <a:gd name="T79" fmla="*/ 3440 h 7255"/>
                <a:gd name="T80" fmla="*/ 1677 w 7756"/>
                <a:gd name="T81" fmla="*/ 3424 h 7255"/>
                <a:gd name="T82" fmla="*/ 1705 w 7756"/>
                <a:gd name="T83" fmla="*/ 3415 h 7255"/>
                <a:gd name="T84" fmla="*/ 1886 w 7756"/>
                <a:gd name="T85" fmla="*/ 3415 h 7255"/>
                <a:gd name="T86" fmla="*/ 977 w 7756"/>
                <a:gd name="T87" fmla="*/ 4011 h 7255"/>
                <a:gd name="T88" fmla="*/ 0 w 7756"/>
                <a:gd name="T89" fmla="*/ 4303 h 7255"/>
                <a:gd name="T90" fmla="*/ 12 w 7756"/>
                <a:gd name="T91" fmla="*/ 4309 h 7255"/>
                <a:gd name="T92" fmla="*/ 1186 w 7756"/>
                <a:gd name="T93" fmla="*/ 4015 h 7255"/>
                <a:gd name="T94" fmla="*/ 2607 w 7756"/>
                <a:gd name="T95" fmla="*/ 3507 h 7255"/>
                <a:gd name="T96" fmla="*/ 3373 w 7756"/>
                <a:gd name="T97" fmla="*/ 3875 h 7255"/>
                <a:gd name="T98" fmla="*/ 3689 w 7756"/>
                <a:gd name="T99" fmla="*/ 4331 h 7255"/>
                <a:gd name="T100" fmla="*/ 3938 w 7756"/>
                <a:gd name="T101" fmla="*/ 6873 h 7255"/>
                <a:gd name="T102" fmla="*/ 3871 w 7756"/>
                <a:gd name="T103" fmla="*/ 7255 h 7255"/>
                <a:gd name="T104" fmla="*/ 4431 w 7756"/>
                <a:gd name="T105" fmla="*/ 7255 h 7255"/>
                <a:gd name="T106" fmla="*/ 4603 w 7756"/>
                <a:gd name="T107" fmla="*/ 4922 h 7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756" h="7255">
                  <a:moveTo>
                    <a:pt x="6131" y="1441"/>
                  </a:moveTo>
                  <a:cubicBezTo>
                    <a:pt x="5877" y="1688"/>
                    <a:pt x="5228" y="2071"/>
                    <a:pt x="5040" y="2447"/>
                  </a:cubicBezTo>
                  <a:cubicBezTo>
                    <a:pt x="4852" y="2824"/>
                    <a:pt x="4789" y="3174"/>
                    <a:pt x="4820" y="3492"/>
                  </a:cubicBezTo>
                  <a:cubicBezTo>
                    <a:pt x="4852" y="3810"/>
                    <a:pt x="4827" y="4226"/>
                    <a:pt x="4827" y="4226"/>
                  </a:cubicBezTo>
                  <a:cubicBezTo>
                    <a:pt x="4600" y="3903"/>
                    <a:pt x="4600" y="3903"/>
                    <a:pt x="4600" y="3903"/>
                  </a:cubicBezTo>
                  <a:cubicBezTo>
                    <a:pt x="4597" y="3773"/>
                    <a:pt x="4591" y="3640"/>
                    <a:pt x="4585" y="3500"/>
                  </a:cubicBezTo>
                  <a:cubicBezTo>
                    <a:pt x="4570" y="3134"/>
                    <a:pt x="4602" y="2765"/>
                    <a:pt x="4808" y="2451"/>
                  </a:cubicBezTo>
                  <a:cubicBezTo>
                    <a:pt x="5013" y="2138"/>
                    <a:pt x="5344" y="1948"/>
                    <a:pt x="5638" y="1731"/>
                  </a:cubicBezTo>
                  <a:cubicBezTo>
                    <a:pt x="6081" y="1405"/>
                    <a:pt x="6339" y="965"/>
                    <a:pt x="6474" y="438"/>
                  </a:cubicBezTo>
                  <a:cubicBezTo>
                    <a:pt x="6427" y="718"/>
                    <a:pt x="6315" y="1261"/>
                    <a:pt x="6131" y="1441"/>
                  </a:cubicBezTo>
                  <a:close/>
                  <a:moveTo>
                    <a:pt x="7703" y="1882"/>
                  </a:moveTo>
                  <a:cubicBezTo>
                    <a:pt x="7410" y="2288"/>
                    <a:pt x="6571" y="1601"/>
                    <a:pt x="6125" y="1686"/>
                  </a:cubicBezTo>
                  <a:cubicBezTo>
                    <a:pt x="6103" y="1690"/>
                    <a:pt x="6081" y="1695"/>
                    <a:pt x="6060" y="1700"/>
                  </a:cubicBezTo>
                  <a:cubicBezTo>
                    <a:pt x="5871" y="1869"/>
                    <a:pt x="5871" y="1869"/>
                    <a:pt x="5871" y="1869"/>
                  </a:cubicBezTo>
                  <a:cubicBezTo>
                    <a:pt x="5871" y="1869"/>
                    <a:pt x="6147" y="1801"/>
                    <a:pt x="6448" y="1834"/>
                  </a:cubicBezTo>
                  <a:cubicBezTo>
                    <a:pt x="6705" y="1862"/>
                    <a:pt x="6981" y="1988"/>
                    <a:pt x="7107" y="2021"/>
                  </a:cubicBezTo>
                  <a:cubicBezTo>
                    <a:pt x="7485" y="2121"/>
                    <a:pt x="7654" y="2002"/>
                    <a:pt x="7756" y="1888"/>
                  </a:cubicBezTo>
                  <a:cubicBezTo>
                    <a:pt x="7751" y="1868"/>
                    <a:pt x="7717" y="1862"/>
                    <a:pt x="7703" y="1882"/>
                  </a:cubicBezTo>
                  <a:close/>
                  <a:moveTo>
                    <a:pt x="4603" y="4922"/>
                  </a:moveTo>
                  <a:cubicBezTo>
                    <a:pt x="4597" y="4552"/>
                    <a:pt x="4170" y="3784"/>
                    <a:pt x="3859" y="3440"/>
                  </a:cubicBezTo>
                  <a:cubicBezTo>
                    <a:pt x="3622" y="3178"/>
                    <a:pt x="3236" y="2557"/>
                    <a:pt x="3212" y="2194"/>
                  </a:cubicBezTo>
                  <a:cubicBezTo>
                    <a:pt x="3187" y="1830"/>
                    <a:pt x="3417" y="1350"/>
                    <a:pt x="3755" y="961"/>
                  </a:cubicBezTo>
                  <a:cubicBezTo>
                    <a:pt x="3945" y="741"/>
                    <a:pt x="4029" y="323"/>
                    <a:pt x="4066" y="0"/>
                  </a:cubicBezTo>
                  <a:cubicBezTo>
                    <a:pt x="4056" y="3"/>
                    <a:pt x="4048" y="12"/>
                    <a:pt x="4049" y="26"/>
                  </a:cubicBezTo>
                  <a:cubicBezTo>
                    <a:pt x="4072" y="604"/>
                    <a:pt x="3495" y="940"/>
                    <a:pt x="3238" y="1402"/>
                  </a:cubicBezTo>
                  <a:cubicBezTo>
                    <a:pt x="3064" y="1715"/>
                    <a:pt x="3031" y="2053"/>
                    <a:pt x="3110" y="2387"/>
                  </a:cubicBezTo>
                  <a:cubicBezTo>
                    <a:pt x="3288" y="2785"/>
                    <a:pt x="3288" y="2785"/>
                    <a:pt x="3288" y="2785"/>
                  </a:cubicBezTo>
                  <a:cubicBezTo>
                    <a:pt x="3288" y="2785"/>
                    <a:pt x="2541" y="1837"/>
                    <a:pt x="2321" y="1318"/>
                  </a:cubicBezTo>
                  <a:cubicBezTo>
                    <a:pt x="2223" y="1089"/>
                    <a:pt x="2192" y="857"/>
                    <a:pt x="2188" y="665"/>
                  </a:cubicBezTo>
                  <a:cubicBezTo>
                    <a:pt x="2178" y="655"/>
                    <a:pt x="2155" y="660"/>
                    <a:pt x="2156" y="678"/>
                  </a:cubicBezTo>
                  <a:cubicBezTo>
                    <a:pt x="2204" y="1674"/>
                    <a:pt x="2723" y="2396"/>
                    <a:pt x="3355" y="3130"/>
                  </a:cubicBezTo>
                  <a:cubicBezTo>
                    <a:pt x="3477" y="3272"/>
                    <a:pt x="3495" y="3317"/>
                    <a:pt x="3619" y="3518"/>
                  </a:cubicBezTo>
                  <a:cubicBezTo>
                    <a:pt x="3655" y="3583"/>
                    <a:pt x="3741" y="3670"/>
                    <a:pt x="3755" y="3725"/>
                  </a:cubicBezTo>
                  <a:cubicBezTo>
                    <a:pt x="3872" y="3972"/>
                    <a:pt x="3872" y="3972"/>
                    <a:pt x="3872" y="3972"/>
                  </a:cubicBezTo>
                  <a:cubicBezTo>
                    <a:pt x="3872" y="3972"/>
                    <a:pt x="3359" y="3596"/>
                    <a:pt x="3054" y="3453"/>
                  </a:cubicBezTo>
                  <a:cubicBezTo>
                    <a:pt x="2749" y="3310"/>
                    <a:pt x="2262" y="3258"/>
                    <a:pt x="1951" y="3297"/>
                  </a:cubicBezTo>
                  <a:cubicBezTo>
                    <a:pt x="1639" y="3336"/>
                    <a:pt x="1048" y="3362"/>
                    <a:pt x="614" y="3200"/>
                  </a:cubicBezTo>
                  <a:cubicBezTo>
                    <a:pt x="378" y="3112"/>
                    <a:pt x="233" y="2905"/>
                    <a:pt x="149" y="2730"/>
                  </a:cubicBezTo>
                  <a:cubicBezTo>
                    <a:pt x="138" y="2740"/>
                    <a:pt x="132" y="2755"/>
                    <a:pt x="135" y="2775"/>
                  </a:cubicBezTo>
                  <a:cubicBezTo>
                    <a:pt x="240" y="3294"/>
                    <a:pt x="875" y="3436"/>
                    <a:pt x="1329" y="3440"/>
                  </a:cubicBezTo>
                  <a:cubicBezTo>
                    <a:pt x="1445" y="3441"/>
                    <a:pt x="1561" y="3434"/>
                    <a:pt x="1677" y="3424"/>
                  </a:cubicBezTo>
                  <a:cubicBezTo>
                    <a:pt x="1705" y="3415"/>
                    <a:pt x="1705" y="3415"/>
                    <a:pt x="1705" y="3415"/>
                  </a:cubicBezTo>
                  <a:cubicBezTo>
                    <a:pt x="1886" y="3415"/>
                    <a:pt x="1886" y="3415"/>
                    <a:pt x="1886" y="3415"/>
                  </a:cubicBezTo>
                  <a:cubicBezTo>
                    <a:pt x="1886" y="3415"/>
                    <a:pt x="1230" y="3888"/>
                    <a:pt x="977" y="4011"/>
                  </a:cubicBezTo>
                  <a:cubicBezTo>
                    <a:pt x="790" y="4103"/>
                    <a:pt x="266" y="4247"/>
                    <a:pt x="0" y="4303"/>
                  </a:cubicBezTo>
                  <a:cubicBezTo>
                    <a:pt x="3" y="4307"/>
                    <a:pt x="6" y="4310"/>
                    <a:pt x="12" y="4309"/>
                  </a:cubicBezTo>
                  <a:cubicBezTo>
                    <a:pt x="426" y="4295"/>
                    <a:pt x="817" y="4209"/>
                    <a:pt x="1186" y="4015"/>
                  </a:cubicBezTo>
                  <a:cubicBezTo>
                    <a:pt x="1652" y="3770"/>
                    <a:pt x="2041" y="3414"/>
                    <a:pt x="2607" y="3507"/>
                  </a:cubicBezTo>
                  <a:cubicBezTo>
                    <a:pt x="2897" y="3555"/>
                    <a:pt x="3155" y="3689"/>
                    <a:pt x="3373" y="3875"/>
                  </a:cubicBezTo>
                  <a:cubicBezTo>
                    <a:pt x="3500" y="4011"/>
                    <a:pt x="3606" y="4166"/>
                    <a:pt x="3689" y="4331"/>
                  </a:cubicBezTo>
                  <a:cubicBezTo>
                    <a:pt x="4068" y="5083"/>
                    <a:pt x="4046" y="6057"/>
                    <a:pt x="3938" y="6873"/>
                  </a:cubicBezTo>
                  <a:cubicBezTo>
                    <a:pt x="3921" y="7004"/>
                    <a:pt x="3898" y="7132"/>
                    <a:pt x="3871" y="7255"/>
                  </a:cubicBezTo>
                  <a:cubicBezTo>
                    <a:pt x="4431" y="7255"/>
                    <a:pt x="4431" y="7255"/>
                    <a:pt x="4431" y="7255"/>
                  </a:cubicBezTo>
                  <a:cubicBezTo>
                    <a:pt x="4426" y="6333"/>
                    <a:pt x="4606" y="5106"/>
                    <a:pt x="4603" y="4922"/>
                  </a:cubicBezTo>
                  <a:close/>
                </a:path>
              </a:pathLst>
            </a:custGeom>
            <a:solidFill>
              <a:schemeClr val="accent5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93724" y="1982439"/>
            <a:ext cx="2077509" cy="906809"/>
            <a:chOff x="593724" y="1982439"/>
            <a:chExt cx="2077509" cy="906809"/>
          </a:xfrm>
        </p:grpSpPr>
        <p:sp>
          <p:nvSpPr>
            <p:cNvPr id="29" name="TextBox 28"/>
            <p:cNvSpPr txBox="1"/>
            <p:nvPr/>
          </p:nvSpPr>
          <p:spPr>
            <a:xfrm>
              <a:off x="593724" y="1982439"/>
              <a:ext cx="2077509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TARGETS</a:t>
              </a:r>
              <a:r>
                <a:rPr lang="en-US" sz="1400" cap="all" spc="20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DE VENDAS</a:t>
              </a:r>
              <a:endParaRPr lang="en-US" sz="1400" cap="all" spc="20" dirty="0">
                <a:solidFill>
                  <a:schemeClr val="accent2"/>
                </a:solidFill>
                <a:latin typeface="Lato Black" panose="020F0A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93725" y="2249073"/>
              <a:ext cx="2077508" cy="6401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  <a:spcAft>
                  <a:spcPts val="900"/>
                </a:spcAft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ed dic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lesuad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in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ex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am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ur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e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fermentum,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llamcorpe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risti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340386" y="2417536"/>
            <a:ext cx="2824467" cy="1725735"/>
            <a:chOff x="4340386" y="2417536"/>
            <a:chExt cx="2824467" cy="1725735"/>
          </a:xfrm>
        </p:grpSpPr>
        <p:sp>
          <p:nvSpPr>
            <p:cNvPr id="27" name="Oval 26"/>
            <p:cNvSpPr/>
            <p:nvPr/>
          </p:nvSpPr>
          <p:spPr>
            <a:xfrm>
              <a:off x="5006650" y="3126585"/>
              <a:ext cx="338924" cy="338923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4737376" y="3189190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4824744" y="2825955"/>
              <a:ext cx="221580" cy="221580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4707552" y="3921691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4987238" y="3772204"/>
              <a:ext cx="338924" cy="338923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4" name="Oval 33"/>
            <p:cNvSpPr/>
            <p:nvPr/>
          </p:nvSpPr>
          <p:spPr>
            <a:xfrm>
              <a:off x="5366525" y="3772204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4340386" y="3580762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6" name="Oval 35"/>
            <p:cNvSpPr/>
            <p:nvPr/>
          </p:nvSpPr>
          <p:spPr>
            <a:xfrm>
              <a:off x="5779500" y="2635273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5414383" y="2417536"/>
              <a:ext cx="237415" cy="237414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8" name="Oval 37"/>
            <p:cNvSpPr/>
            <p:nvPr/>
          </p:nvSpPr>
          <p:spPr>
            <a:xfrm>
              <a:off x="5242658" y="2652937"/>
              <a:ext cx="254610" cy="25461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5731328" y="3145582"/>
              <a:ext cx="338924" cy="338923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0" name="Oval 39"/>
            <p:cNvSpPr/>
            <p:nvPr/>
          </p:nvSpPr>
          <p:spPr>
            <a:xfrm>
              <a:off x="5981135" y="2825196"/>
              <a:ext cx="301796" cy="301796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5632298" y="2907547"/>
              <a:ext cx="221580" cy="221580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6276279" y="2726165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6041347" y="2566254"/>
              <a:ext cx="221580" cy="221580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6401885" y="2471000"/>
              <a:ext cx="221580" cy="221580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5" name="Oval 44"/>
            <p:cNvSpPr/>
            <p:nvPr/>
          </p:nvSpPr>
          <p:spPr>
            <a:xfrm>
              <a:off x="7017810" y="2842809"/>
              <a:ext cx="147043" cy="147043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6838379" y="2751932"/>
              <a:ext cx="147043" cy="147043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6400104" y="3131881"/>
              <a:ext cx="338924" cy="338923"/>
            </a:xfrm>
            <a:prstGeom prst="ellipse">
              <a:avLst/>
            </a:prstGeom>
            <a:solidFill>
              <a:schemeClr val="accent4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6753527" y="3062142"/>
              <a:ext cx="301796" cy="301796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9" name="Oval 48"/>
            <p:cNvSpPr/>
            <p:nvPr/>
          </p:nvSpPr>
          <p:spPr>
            <a:xfrm>
              <a:off x="6293948" y="3483654"/>
              <a:ext cx="221580" cy="221580"/>
            </a:xfrm>
            <a:prstGeom prst="ellipse">
              <a:avLst/>
            </a:prstGeom>
            <a:solidFill>
              <a:srgbClr val="EC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cap="all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50" name="Oval 49"/>
          <p:cNvSpPr/>
          <p:nvPr/>
        </p:nvSpPr>
        <p:spPr>
          <a:xfrm>
            <a:off x="3411010" y="3695296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1" name="Oval 50"/>
          <p:cNvSpPr/>
          <p:nvPr/>
        </p:nvSpPr>
        <p:spPr>
          <a:xfrm>
            <a:off x="3517023" y="2490149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4314077" y="1597044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5474735" y="1405468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6635393" y="1661941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7112376" y="2792715"/>
            <a:ext cx="1130774" cy="1130774"/>
          </a:xfrm>
          <a:prstGeom prst="ellips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cap="all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Title 2"/>
          <p:cNvSpPr txBox="1">
            <a:spLocks/>
          </p:cNvSpPr>
          <p:nvPr/>
        </p:nvSpPr>
        <p:spPr>
          <a:xfrm>
            <a:off x="3520494" y="4282428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Plano</a:t>
            </a:r>
          </a:p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Financeiro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7" name="Title 2"/>
          <p:cNvSpPr txBox="1">
            <a:spLocks/>
          </p:cNvSpPr>
          <p:nvPr/>
        </p:nvSpPr>
        <p:spPr>
          <a:xfrm>
            <a:off x="3626507" y="3087276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Histórico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da</a:t>
            </a:r>
          </a:p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ompanhia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58" name="Title 2"/>
          <p:cNvSpPr txBox="1">
            <a:spLocks/>
          </p:cNvSpPr>
          <p:nvPr/>
        </p:nvSpPr>
        <p:spPr>
          <a:xfrm>
            <a:off x="4423561" y="2184177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Plano de</a:t>
            </a:r>
          </a:p>
          <a:p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Marketing</a:t>
            </a:r>
          </a:p>
        </p:txBody>
      </p:sp>
      <p:sp>
        <p:nvSpPr>
          <p:cNvPr id="59" name="Title 2"/>
          <p:cNvSpPr txBox="1">
            <a:spLocks/>
          </p:cNvSpPr>
          <p:nvPr/>
        </p:nvSpPr>
        <p:spPr>
          <a:xfrm>
            <a:off x="5584219" y="1992600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Suporte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da</a:t>
            </a:r>
          </a:p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ompanhia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60" name="Title 2"/>
          <p:cNvSpPr txBox="1">
            <a:spLocks/>
          </p:cNvSpPr>
          <p:nvPr/>
        </p:nvSpPr>
        <p:spPr>
          <a:xfrm>
            <a:off x="6744877" y="2249073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Análise</a:t>
            </a:r>
            <a:r>
              <a:rPr lang="en-US" sz="900" spc="0" dirty="0">
                <a:solidFill>
                  <a:schemeClr val="bg1"/>
                </a:solidFill>
                <a:latin typeface="Lato" panose="020F0502020204030203" pitchFamily="34" charset="0"/>
              </a:rPr>
              <a:t> da</a:t>
            </a:r>
          </a:p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Concorrência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61" name="Title 2"/>
          <p:cNvSpPr txBox="1">
            <a:spLocks/>
          </p:cNvSpPr>
          <p:nvPr/>
        </p:nvSpPr>
        <p:spPr>
          <a:xfrm>
            <a:off x="7221860" y="3379847"/>
            <a:ext cx="911806" cy="27699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Produtos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  <a:p>
            <a:r>
              <a:rPr lang="en-US" sz="900" spc="0" dirty="0" err="1">
                <a:solidFill>
                  <a:schemeClr val="bg1"/>
                </a:solidFill>
                <a:latin typeface="Lato" panose="020F0502020204030203" pitchFamily="34" charset="0"/>
              </a:rPr>
              <a:t>Getnet</a:t>
            </a:r>
            <a:endParaRPr lang="en-US" sz="900" spc="0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sp>
        <p:nvSpPr>
          <p:cNvPr id="62" name="Freeform 81"/>
          <p:cNvSpPr>
            <a:spLocks noEditPoints="1"/>
          </p:cNvSpPr>
          <p:nvPr/>
        </p:nvSpPr>
        <p:spPr bwMode="auto">
          <a:xfrm>
            <a:off x="7074351" y="1919423"/>
            <a:ext cx="252859" cy="230549"/>
          </a:xfrm>
          <a:custGeom>
            <a:avLst/>
            <a:gdLst>
              <a:gd name="T0" fmla="*/ 345 w 353"/>
              <a:gd name="T1" fmla="*/ 273 h 321"/>
              <a:gd name="T2" fmla="*/ 192 w 353"/>
              <a:gd name="T3" fmla="*/ 273 h 321"/>
              <a:gd name="T4" fmla="*/ 152 w 353"/>
              <a:gd name="T5" fmla="*/ 241 h 321"/>
              <a:gd name="T6" fmla="*/ 113 w 353"/>
              <a:gd name="T7" fmla="*/ 273 h 321"/>
              <a:gd name="T8" fmla="*/ 8 w 353"/>
              <a:gd name="T9" fmla="*/ 273 h 321"/>
              <a:gd name="T10" fmla="*/ 0 w 353"/>
              <a:gd name="T11" fmla="*/ 281 h 321"/>
              <a:gd name="T12" fmla="*/ 8 w 353"/>
              <a:gd name="T13" fmla="*/ 289 h 321"/>
              <a:gd name="T14" fmla="*/ 113 w 353"/>
              <a:gd name="T15" fmla="*/ 289 h 321"/>
              <a:gd name="T16" fmla="*/ 152 w 353"/>
              <a:gd name="T17" fmla="*/ 321 h 321"/>
              <a:gd name="T18" fmla="*/ 192 w 353"/>
              <a:gd name="T19" fmla="*/ 289 h 321"/>
              <a:gd name="T20" fmla="*/ 345 w 353"/>
              <a:gd name="T21" fmla="*/ 289 h 321"/>
              <a:gd name="T22" fmla="*/ 353 w 353"/>
              <a:gd name="T23" fmla="*/ 281 h 321"/>
              <a:gd name="T24" fmla="*/ 345 w 353"/>
              <a:gd name="T25" fmla="*/ 273 h 321"/>
              <a:gd name="T26" fmla="*/ 152 w 353"/>
              <a:gd name="T27" fmla="*/ 305 h 321"/>
              <a:gd name="T28" fmla="*/ 128 w 353"/>
              <a:gd name="T29" fmla="*/ 281 h 321"/>
              <a:gd name="T30" fmla="*/ 152 w 353"/>
              <a:gd name="T31" fmla="*/ 257 h 321"/>
              <a:gd name="T32" fmla="*/ 177 w 353"/>
              <a:gd name="T33" fmla="*/ 281 h 321"/>
              <a:gd name="T34" fmla="*/ 152 w 353"/>
              <a:gd name="T35" fmla="*/ 305 h 321"/>
              <a:gd name="T36" fmla="*/ 8 w 353"/>
              <a:gd name="T37" fmla="*/ 48 h 321"/>
              <a:gd name="T38" fmla="*/ 49 w 353"/>
              <a:gd name="T39" fmla="*/ 48 h 321"/>
              <a:gd name="T40" fmla="*/ 88 w 353"/>
              <a:gd name="T41" fmla="*/ 80 h 321"/>
              <a:gd name="T42" fmla="*/ 128 w 353"/>
              <a:gd name="T43" fmla="*/ 48 h 321"/>
              <a:gd name="T44" fmla="*/ 345 w 353"/>
              <a:gd name="T45" fmla="*/ 48 h 321"/>
              <a:gd name="T46" fmla="*/ 353 w 353"/>
              <a:gd name="T47" fmla="*/ 40 h 321"/>
              <a:gd name="T48" fmla="*/ 345 w 353"/>
              <a:gd name="T49" fmla="*/ 32 h 321"/>
              <a:gd name="T50" fmla="*/ 128 w 353"/>
              <a:gd name="T51" fmla="*/ 32 h 321"/>
              <a:gd name="T52" fmla="*/ 88 w 353"/>
              <a:gd name="T53" fmla="*/ 0 h 321"/>
              <a:gd name="T54" fmla="*/ 49 w 353"/>
              <a:gd name="T55" fmla="*/ 32 h 321"/>
              <a:gd name="T56" fmla="*/ 8 w 353"/>
              <a:gd name="T57" fmla="*/ 32 h 321"/>
              <a:gd name="T58" fmla="*/ 0 w 353"/>
              <a:gd name="T59" fmla="*/ 40 h 321"/>
              <a:gd name="T60" fmla="*/ 8 w 353"/>
              <a:gd name="T61" fmla="*/ 48 h 321"/>
              <a:gd name="T62" fmla="*/ 88 w 353"/>
              <a:gd name="T63" fmla="*/ 16 h 321"/>
              <a:gd name="T64" fmla="*/ 112 w 353"/>
              <a:gd name="T65" fmla="*/ 40 h 321"/>
              <a:gd name="T66" fmla="*/ 88 w 353"/>
              <a:gd name="T67" fmla="*/ 64 h 321"/>
              <a:gd name="T68" fmla="*/ 64 w 353"/>
              <a:gd name="T69" fmla="*/ 40 h 321"/>
              <a:gd name="T70" fmla="*/ 88 w 353"/>
              <a:gd name="T71" fmla="*/ 16 h 321"/>
              <a:gd name="T72" fmla="*/ 345 w 353"/>
              <a:gd name="T73" fmla="*/ 152 h 321"/>
              <a:gd name="T74" fmla="*/ 320 w 353"/>
              <a:gd name="T75" fmla="*/ 152 h 321"/>
              <a:gd name="T76" fmla="*/ 281 w 353"/>
              <a:gd name="T77" fmla="*/ 120 h 321"/>
              <a:gd name="T78" fmla="*/ 242 w 353"/>
              <a:gd name="T79" fmla="*/ 152 h 321"/>
              <a:gd name="T80" fmla="*/ 8 w 353"/>
              <a:gd name="T81" fmla="*/ 152 h 321"/>
              <a:gd name="T82" fmla="*/ 0 w 353"/>
              <a:gd name="T83" fmla="*/ 160 h 321"/>
              <a:gd name="T84" fmla="*/ 8 w 353"/>
              <a:gd name="T85" fmla="*/ 168 h 321"/>
              <a:gd name="T86" fmla="*/ 242 w 353"/>
              <a:gd name="T87" fmla="*/ 168 h 321"/>
              <a:gd name="T88" fmla="*/ 281 w 353"/>
              <a:gd name="T89" fmla="*/ 201 h 321"/>
              <a:gd name="T90" fmla="*/ 320 w 353"/>
              <a:gd name="T91" fmla="*/ 168 h 321"/>
              <a:gd name="T92" fmla="*/ 345 w 353"/>
              <a:gd name="T93" fmla="*/ 168 h 321"/>
              <a:gd name="T94" fmla="*/ 353 w 353"/>
              <a:gd name="T95" fmla="*/ 160 h 321"/>
              <a:gd name="T96" fmla="*/ 345 w 353"/>
              <a:gd name="T97" fmla="*/ 152 h 321"/>
              <a:gd name="T98" fmla="*/ 281 w 353"/>
              <a:gd name="T99" fmla="*/ 184 h 321"/>
              <a:gd name="T100" fmla="*/ 257 w 353"/>
              <a:gd name="T101" fmla="*/ 160 h 321"/>
              <a:gd name="T102" fmla="*/ 281 w 353"/>
              <a:gd name="T103" fmla="*/ 136 h 321"/>
              <a:gd name="T104" fmla="*/ 305 w 353"/>
              <a:gd name="T105" fmla="*/ 160 h 321"/>
              <a:gd name="T106" fmla="*/ 281 w 353"/>
              <a:gd name="T107" fmla="*/ 184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3" h="321">
                <a:moveTo>
                  <a:pt x="345" y="273"/>
                </a:moveTo>
                <a:cubicBezTo>
                  <a:pt x="192" y="273"/>
                  <a:pt x="192" y="273"/>
                  <a:pt x="192" y="273"/>
                </a:cubicBezTo>
                <a:cubicBezTo>
                  <a:pt x="188" y="254"/>
                  <a:pt x="172" y="241"/>
                  <a:pt x="152" y="241"/>
                </a:cubicBezTo>
                <a:cubicBezTo>
                  <a:pt x="133" y="241"/>
                  <a:pt x="117" y="254"/>
                  <a:pt x="113" y="273"/>
                </a:cubicBezTo>
                <a:cubicBezTo>
                  <a:pt x="8" y="273"/>
                  <a:pt x="8" y="273"/>
                  <a:pt x="8" y="273"/>
                </a:cubicBezTo>
                <a:cubicBezTo>
                  <a:pt x="3" y="273"/>
                  <a:pt x="0" y="276"/>
                  <a:pt x="0" y="281"/>
                </a:cubicBezTo>
                <a:cubicBezTo>
                  <a:pt x="0" y="285"/>
                  <a:pt x="3" y="289"/>
                  <a:pt x="8" y="289"/>
                </a:cubicBezTo>
                <a:cubicBezTo>
                  <a:pt x="113" y="289"/>
                  <a:pt x="113" y="289"/>
                  <a:pt x="113" y="289"/>
                </a:cubicBezTo>
                <a:cubicBezTo>
                  <a:pt x="117" y="307"/>
                  <a:pt x="133" y="321"/>
                  <a:pt x="152" y="321"/>
                </a:cubicBezTo>
                <a:cubicBezTo>
                  <a:pt x="172" y="321"/>
                  <a:pt x="188" y="307"/>
                  <a:pt x="192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276"/>
                  <a:pt x="350" y="273"/>
                  <a:pt x="345" y="273"/>
                </a:cubicBezTo>
                <a:moveTo>
                  <a:pt x="152" y="305"/>
                </a:moveTo>
                <a:cubicBezTo>
                  <a:pt x="139" y="305"/>
                  <a:pt x="128" y="294"/>
                  <a:pt x="128" y="281"/>
                </a:cubicBezTo>
                <a:cubicBezTo>
                  <a:pt x="128" y="267"/>
                  <a:pt x="139" y="257"/>
                  <a:pt x="152" y="257"/>
                </a:cubicBezTo>
                <a:cubicBezTo>
                  <a:pt x="166" y="257"/>
                  <a:pt x="177" y="267"/>
                  <a:pt x="177" y="281"/>
                </a:cubicBezTo>
                <a:cubicBezTo>
                  <a:pt x="177" y="294"/>
                  <a:pt x="166" y="305"/>
                  <a:pt x="152" y="305"/>
                </a:cubicBezTo>
                <a:moveTo>
                  <a:pt x="8" y="48"/>
                </a:moveTo>
                <a:cubicBezTo>
                  <a:pt x="49" y="48"/>
                  <a:pt x="49" y="48"/>
                  <a:pt x="49" y="48"/>
                </a:cubicBezTo>
                <a:cubicBezTo>
                  <a:pt x="53" y="66"/>
                  <a:pt x="69" y="80"/>
                  <a:pt x="88" y="80"/>
                </a:cubicBezTo>
                <a:cubicBezTo>
                  <a:pt x="108" y="80"/>
                  <a:pt x="124" y="66"/>
                  <a:pt x="128" y="48"/>
                </a:cubicBezTo>
                <a:cubicBezTo>
                  <a:pt x="345" y="48"/>
                  <a:pt x="345" y="48"/>
                  <a:pt x="345" y="48"/>
                </a:cubicBezTo>
                <a:cubicBezTo>
                  <a:pt x="350" y="48"/>
                  <a:pt x="353" y="44"/>
                  <a:pt x="353" y="40"/>
                </a:cubicBezTo>
                <a:cubicBezTo>
                  <a:pt x="353" y="36"/>
                  <a:pt x="350" y="32"/>
                  <a:pt x="34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4" y="14"/>
                  <a:pt x="108" y="0"/>
                  <a:pt x="88" y="0"/>
                </a:cubicBezTo>
                <a:cubicBezTo>
                  <a:pt x="69" y="0"/>
                  <a:pt x="53" y="14"/>
                  <a:pt x="49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3" y="32"/>
                  <a:pt x="0" y="36"/>
                  <a:pt x="0" y="40"/>
                </a:cubicBezTo>
                <a:cubicBezTo>
                  <a:pt x="0" y="44"/>
                  <a:pt x="3" y="48"/>
                  <a:pt x="8" y="48"/>
                </a:cubicBezTo>
                <a:moveTo>
                  <a:pt x="88" y="16"/>
                </a:moveTo>
                <a:cubicBezTo>
                  <a:pt x="102" y="16"/>
                  <a:pt x="112" y="27"/>
                  <a:pt x="112" y="40"/>
                </a:cubicBezTo>
                <a:cubicBezTo>
                  <a:pt x="112" y="53"/>
                  <a:pt x="102" y="64"/>
                  <a:pt x="88" y="64"/>
                </a:cubicBezTo>
                <a:cubicBezTo>
                  <a:pt x="75" y="64"/>
                  <a:pt x="64" y="53"/>
                  <a:pt x="64" y="40"/>
                </a:cubicBezTo>
                <a:cubicBezTo>
                  <a:pt x="64" y="27"/>
                  <a:pt x="75" y="16"/>
                  <a:pt x="88" y="16"/>
                </a:cubicBezTo>
                <a:moveTo>
                  <a:pt x="345" y="152"/>
                </a:moveTo>
                <a:cubicBezTo>
                  <a:pt x="320" y="152"/>
                  <a:pt x="320" y="152"/>
                  <a:pt x="320" y="152"/>
                </a:cubicBezTo>
                <a:cubicBezTo>
                  <a:pt x="316" y="134"/>
                  <a:pt x="300" y="120"/>
                  <a:pt x="281" y="120"/>
                </a:cubicBezTo>
                <a:cubicBezTo>
                  <a:pt x="261" y="120"/>
                  <a:pt x="245" y="134"/>
                  <a:pt x="242" y="15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52"/>
                  <a:pt x="0" y="156"/>
                  <a:pt x="0" y="160"/>
                </a:cubicBezTo>
                <a:cubicBezTo>
                  <a:pt x="0" y="165"/>
                  <a:pt x="3" y="168"/>
                  <a:pt x="8" y="168"/>
                </a:cubicBezTo>
                <a:cubicBezTo>
                  <a:pt x="242" y="168"/>
                  <a:pt x="242" y="168"/>
                  <a:pt x="242" y="168"/>
                </a:cubicBezTo>
                <a:cubicBezTo>
                  <a:pt x="245" y="187"/>
                  <a:pt x="261" y="201"/>
                  <a:pt x="281" y="201"/>
                </a:cubicBezTo>
                <a:cubicBezTo>
                  <a:pt x="300" y="201"/>
                  <a:pt x="316" y="187"/>
                  <a:pt x="320" y="168"/>
                </a:cubicBezTo>
                <a:cubicBezTo>
                  <a:pt x="345" y="168"/>
                  <a:pt x="345" y="168"/>
                  <a:pt x="345" y="168"/>
                </a:cubicBezTo>
                <a:cubicBezTo>
                  <a:pt x="350" y="168"/>
                  <a:pt x="353" y="165"/>
                  <a:pt x="353" y="160"/>
                </a:cubicBezTo>
                <a:cubicBezTo>
                  <a:pt x="353" y="156"/>
                  <a:pt x="350" y="152"/>
                  <a:pt x="345" y="152"/>
                </a:cubicBezTo>
                <a:moveTo>
                  <a:pt x="281" y="184"/>
                </a:moveTo>
                <a:cubicBezTo>
                  <a:pt x="268" y="184"/>
                  <a:pt x="257" y="174"/>
                  <a:pt x="257" y="160"/>
                </a:cubicBezTo>
                <a:cubicBezTo>
                  <a:pt x="257" y="147"/>
                  <a:pt x="268" y="136"/>
                  <a:pt x="281" y="136"/>
                </a:cubicBezTo>
                <a:cubicBezTo>
                  <a:pt x="294" y="136"/>
                  <a:pt x="305" y="147"/>
                  <a:pt x="305" y="160"/>
                </a:cubicBezTo>
                <a:cubicBezTo>
                  <a:pt x="305" y="174"/>
                  <a:pt x="294" y="184"/>
                  <a:pt x="281" y="184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3" name="Freeform 62"/>
          <p:cNvSpPr>
            <a:spLocks noEditPoints="1"/>
          </p:cNvSpPr>
          <p:nvPr/>
        </p:nvSpPr>
        <p:spPr bwMode="auto">
          <a:xfrm>
            <a:off x="5913227" y="1639779"/>
            <a:ext cx="253790" cy="253790"/>
          </a:xfrm>
          <a:custGeom>
            <a:avLst/>
            <a:gdLst>
              <a:gd name="T0" fmla="*/ 351 w 353"/>
              <a:gd name="T1" fmla="*/ 171 h 353"/>
              <a:gd name="T2" fmla="*/ 289 w 353"/>
              <a:gd name="T3" fmla="*/ 109 h 353"/>
              <a:gd name="T4" fmla="*/ 289 w 353"/>
              <a:gd name="T5" fmla="*/ 24 h 353"/>
              <a:gd name="T6" fmla="*/ 281 w 353"/>
              <a:gd name="T7" fmla="*/ 16 h 353"/>
              <a:gd name="T8" fmla="*/ 233 w 353"/>
              <a:gd name="T9" fmla="*/ 16 h 353"/>
              <a:gd name="T10" fmla="*/ 225 w 353"/>
              <a:gd name="T11" fmla="*/ 24 h 353"/>
              <a:gd name="T12" fmla="*/ 225 w 353"/>
              <a:gd name="T13" fmla="*/ 45 h 353"/>
              <a:gd name="T14" fmla="*/ 182 w 353"/>
              <a:gd name="T15" fmla="*/ 2 h 353"/>
              <a:gd name="T16" fmla="*/ 177 w 353"/>
              <a:gd name="T17" fmla="*/ 0 h 353"/>
              <a:gd name="T18" fmla="*/ 171 w 353"/>
              <a:gd name="T19" fmla="*/ 2 h 353"/>
              <a:gd name="T20" fmla="*/ 2 w 353"/>
              <a:gd name="T21" fmla="*/ 171 h 353"/>
              <a:gd name="T22" fmla="*/ 0 w 353"/>
              <a:gd name="T23" fmla="*/ 176 h 353"/>
              <a:gd name="T24" fmla="*/ 8 w 353"/>
              <a:gd name="T25" fmla="*/ 184 h 353"/>
              <a:gd name="T26" fmla="*/ 14 w 353"/>
              <a:gd name="T27" fmla="*/ 182 h 353"/>
              <a:gd name="T28" fmla="*/ 48 w 353"/>
              <a:gd name="T29" fmla="*/ 148 h 353"/>
              <a:gd name="T30" fmla="*/ 48 w 353"/>
              <a:gd name="T31" fmla="*/ 345 h 353"/>
              <a:gd name="T32" fmla="*/ 56 w 353"/>
              <a:gd name="T33" fmla="*/ 353 h 353"/>
              <a:gd name="T34" fmla="*/ 297 w 353"/>
              <a:gd name="T35" fmla="*/ 353 h 353"/>
              <a:gd name="T36" fmla="*/ 305 w 353"/>
              <a:gd name="T37" fmla="*/ 345 h 353"/>
              <a:gd name="T38" fmla="*/ 305 w 353"/>
              <a:gd name="T39" fmla="*/ 148 h 353"/>
              <a:gd name="T40" fmla="*/ 339 w 353"/>
              <a:gd name="T41" fmla="*/ 182 h 353"/>
              <a:gd name="T42" fmla="*/ 345 w 353"/>
              <a:gd name="T43" fmla="*/ 184 h 353"/>
              <a:gd name="T44" fmla="*/ 353 w 353"/>
              <a:gd name="T45" fmla="*/ 176 h 353"/>
              <a:gd name="T46" fmla="*/ 351 w 353"/>
              <a:gd name="T47" fmla="*/ 171 h 353"/>
              <a:gd name="T48" fmla="*/ 241 w 353"/>
              <a:gd name="T49" fmla="*/ 32 h 353"/>
              <a:gd name="T50" fmla="*/ 273 w 353"/>
              <a:gd name="T51" fmla="*/ 32 h 353"/>
              <a:gd name="T52" fmla="*/ 273 w 353"/>
              <a:gd name="T53" fmla="*/ 93 h 353"/>
              <a:gd name="T54" fmla="*/ 241 w 353"/>
              <a:gd name="T55" fmla="*/ 61 h 353"/>
              <a:gd name="T56" fmla="*/ 241 w 353"/>
              <a:gd name="T57" fmla="*/ 32 h 353"/>
              <a:gd name="T58" fmla="*/ 128 w 353"/>
              <a:gd name="T59" fmla="*/ 337 h 353"/>
              <a:gd name="T60" fmla="*/ 64 w 353"/>
              <a:gd name="T61" fmla="*/ 337 h 353"/>
              <a:gd name="T62" fmla="*/ 64 w 353"/>
              <a:gd name="T63" fmla="*/ 321 h 353"/>
              <a:gd name="T64" fmla="*/ 128 w 353"/>
              <a:gd name="T65" fmla="*/ 321 h 353"/>
              <a:gd name="T66" fmla="*/ 128 w 353"/>
              <a:gd name="T67" fmla="*/ 337 h 353"/>
              <a:gd name="T68" fmla="*/ 209 w 353"/>
              <a:gd name="T69" fmla="*/ 337 h 353"/>
              <a:gd name="T70" fmla="*/ 144 w 353"/>
              <a:gd name="T71" fmla="*/ 337 h 353"/>
              <a:gd name="T72" fmla="*/ 144 w 353"/>
              <a:gd name="T73" fmla="*/ 208 h 353"/>
              <a:gd name="T74" fmla="*/ 209 w 353"/>
              <a:gd name="T75" fmla="*/ 208 h 353"/>
              <a:gd name="T76" fmla="*/ 209 w 353"/>
              <a:gd name="T77" fmla="*/ 337 h 353"/>
              <a:gd name="T78" fmla="*/ 289 w 353"/>
              <a:gd name="T79" fmla="*/ 337 h 353"/>
              <a:gd name="T80" fmla="*/ 225 w 353"/>
              <a:gd name="T81" fmla="*/ 337 h 353"/>
              <a:gd name="T82" fmla="*/ 225 w 353"/>
              <a:gd name="T83" fmla="*/ 321 h 353"/>
              <a:gd name="T84" fmla="*/ 289 w 353"/>
              <a:gd name="T85" fmla="*/ 321 h 353"/>
              <a:gd name="T86" fmla="*/ 289 w 353"/>
              <a:gd name="T87" fmla="*/ 337 h 353"/>
              <a:gd name="T88" fmla="*/ 289 w 353"/>
              <a:gd name="T89" fmla="*/ 305 h 353"/>
              <a:gd name="T90" fmla="*/ 225 w 353"/>
              <a:gd name="T91" fmla="*/ 305 h 353"/>
              <a:gd name="T92" fmla="*/ 225 w 353"/>
              <a:gd name="T93" fmla="*/ 200 h 353"/>
              <a:gd name="T94" fmla="*/ 217 w 353"/>
              <a:gd name="T95" fmla="*/ 192 h 353"/>
              <a:gd name="T96" fmla="*/ 136 w 353"/>
              <a:gd name="T97" fmla="*/ 192 h 353"/>
              <a:gd name="T98" fmla="*/ 128 w 353"/>
              <a:gd name="T99" fmla="*/ 200 h 353"/>
              <a:gd name="T100" fmla="*/ 128 w 353"/>
              <a:gd name="T101" fmla="*/ 305 h 353"/>
              <a:gd name="T102" fmla="*/ 64 w 353"/>
              <a:gd name="T103" fmla="*/ 305 h 353"/>
              <a:gd name="T104" fmla="*/ 64 w 353"/>
              <a:gd name="T105" fmla="*/ 132 h 353"/>
              <a:gd name="T106" fmla="*/ 177 w 353"/>
              <a:gd name="T107" fmla="*/ 19 h 353"/>
              <a:gd name="T108" fmla="*/ 289 w 353"/>
              <a:gd name="T109" fmla="*/ 132 h 353"/>
              <a:gd name="T110" fmla="*/ 289 w 353"/>
              <a:gd name="T111" fmla="*/ 305 h 353"/>
              <a:gd name="T112" fmla="*/ 185 w 353"/>
              <a:gd name="T113" fmla="*/ 289 h 353"/>
              <a:gd name="T114" fmla="*/ 193 w 353"/>
              <a:gd name="T115" fmla="*/ 281 h 353"/>
              <a:gd name="T116" fmla="*/ 185 w 353"/>
              <a:gd name="T117" fmla="*/ 273 h 353"/>
              <a:gd name="T118" fmla="*/ 177 w 353"/>
              <a:gd name="T119" fmla="*/ 281 h 353"/>
              <a:gd name="T120" fmla="*/ 185 w 353"/>
              <a:gd name="T12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351" y="171"/>
                </a:moveTo>
                <a:cubicBezTo>
                  <a:pt x="289" y="109"/>
                  <a:pt x="289" y="109"/>
                  <a:pt x="289" y="109"/>
                </a:cubicBezTo>
                <a:cubicBezTo>
                  <a:pt x="289" y="24"/>
                  <a:pt x="289" y="24"/>
                  <a:pt x="289" y="24"/>
                </a:cubicBezTo>
                <a:cubicBezTo>
                  <a:pt x="289" y="19"/>
                  <a:pt x="285" y="16"/>
                  <a:pt x="281" y="16"/>
                </a:cubicBezTo>
                <a:cubicBezTo>
                  <a:pt x="233" y="16"/>
                  <a:pt x="233" y="16"/>
                  <a:pt x="233" y="16"/>
                </a:cubicBezTo>
                <a:cubicBezTo>
                  <a:pt x="228" y="16"/>
                  <a:pt x="225" y="19"/>
                  <a:pt x="225" y="24"/>
                </a:cubicBezTo>
                <a:cubicBezTo>
                  <a:pt x="225" y="45"/>
                  <a:pt x="225" y="45"/>
                  <a:pt x="225" y="45"/>
                </a:cubicBezTo>
                <a:cubicBezTo>
                  <a:pt x="182" y="2"/>
                  <a:pt x="182" y="2"/>
                  <a:pt x="182" y="2"/>
                </a:cubicBezTo>
                <a:cubicBezTo>
                  <a:pt x="181" y="1"/>
                  <a:pt x="179" y="0"/>
                  <a:pt x="177" y="0"/>
                </a:cubicBezTo>
                <a:cubicBezTo>
                  <a:pt x="174" y="0"/>
                  <a:pt x="172" y="1"/>
                  <a:pt x="171" y="2"/>
                </a:cubicBezTo>
                <a:cubicBezTo>
                  <a:pt x="2" y="171"/>
                  <a:pt x="2" y="171"/>
                  <a:pt x="2" y="171"/>
                </a:cubicBezTo>
                <a:cubicBezTo>
                  <a:pt x="1" y="172"/>
                  <a:pt x="0" y="174"/>
                  <a:pt x="0" y="176"/>
                </a:cubicBezTo>
                <a:cubicBezTo>
                  <a:pt x="0" y="181"/>
                  <a:pt x="3" y="184"/>
                  <a:pt x="8" y="184"/>
                </a:cubicBezTo>
                <a:cubicBezTo>
                  <a:pt x="10" y="184"/>
                  <a:pt x="12" y="184"/>
                  <a:pt x="14" y="18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48" y="345"/>
                  <a:pt x="48" y="345"/>
                  <a:pt x="48" y="345"/>
                </a:cubicBezTo>
                <a:cubicBezTo>
                  <a:pt x="48" y="349"/>
                  <a:pt x="52" y="353"/>
                  <a:pt x="56" y="353"/>
                </a:cubicBezTo>
                <a:cubicBezTo>
                  <a:pt x="297" y="353"/>
                  <a:pt x="297" y="353"/>
                  <a:pt x="297" y="353"/>
                </a:cubicBezTo>
                <a:cubicBezTo>
                  <a:pt x="301" y="353"/>
                  <a:pt x="305" y="349"/>
                  <a:pt x="305" y="345"/>
                </a:cubicBezTo>
                <a:cubicBezTo>
                  <a:pt x="305" y="148"/>
                  <a:pt x="305" y="148"/>
                  <a:pt x="305" y="148"/>
                </a:cubicBezTo>
                <a:cubicBezTo>
                  <a:pt x="339" y="182"/>
                  <a:pt x="339" y="182"/>
                  <a:pt x="339" y="182"/>
                </a:cubicBezTo>
                <a:cubicBezTo>
                  <a:pt x="341" y="184"/>
                  <a:pt x="343" y="184"/>
                  <a:pt x="345" y="184"/>
                </a:cubicBezTo>
                <a:cubicBezTo>
                  <a:pt x="350" y="184"/>
                  <a:pt x="353" y="181"/>
                  <a:pt x="353" y="176"/>
                </a:cubicBezTo>
                <a:cubicBezTo>
                  <a:pt x="353" y="174"/>
                  <a:pt x="352" y="172"/>
                  <a:pt x="351" y="171"/>
                </a:cubicBezTo>
                <a:moveTo>
                  <a:pt x="241" y="32"/>
                </a:moveTo>
                <a:cubicBezTo>
                  <a:pt x="273" y="32"/>
                  <a:pt x="273" y="32"/>
                  <a:pt x="273" y="32"/>
                </a:cubicBezTo>
                <a:cubicBezTo>
                  <a:pt x="273" y="93"/>
                  <a:pt x="273" y="93"/>
                  <a:pt x="273" y="93"/>
                </a:cubicBezTo>
                <a:cubicBezTo>
                  <a:pt x="241" y="61"/>
                  <a:pt x="241" y="61"/>
                  <a:pt x="241" y="61"/>
                </a:cubicBezTo>
                <a:lnTo>
                  <a:pt x="241" y="32"/>
                </a:lnTo>
                <a:close/>
                <a:moveTo>
                  <a:pt x="128" y="337"/>
                </a:moveTo>
                <a:cubicBezTo>
                  <a:pt x="64" y="337"/>
                  <a:pt x="64" y="337"/>
                  <a:pt x="64" y="337"/>
                </a:cubicBezTo>
                <a:cubicBezTo>
                  <a:pt x="64" y="321"/>
                  <a:pt x="64" y="321"/>
                  <a:pt x="64" y="321"/>
                </a:cubicBezTo>
                <a:cubicBezTo>
                  <a:pt x="128" y="321"/>
                  <a:pt x="128" y="321"/>
                  <a:pt x="128" y="321"/>
                </a:cubicBezTo>
                <a:lnTo>
                  <a:pt x="128" y="337"/>
                </a:lnTo>
                <a:close/>
                <a:moveTo>
                  <a:pt x="209" y="337"/>
                </a:moveTo>
                <a:cubicBezTo>
                  <a:pt x="144" y="337"/>
                  <a:pt x="144" y="337"/>
                  <a:pt x="144" y="337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209" y="208"/>
                  <a:pt x="209" y="208"/>
                  <a:pt x="209" y="208"/>
                </a:cubicBezTo>
                <a:lnTo>
                  <a:pt x="209" y="337"/>
                </a:lnTo>
                <a:close/>
                <a:moveTo>
                  <a:pt x="289" y="337"/>
                </a:moveTo>
                <a:cubicBezTo>
                  <a:pt x="225" y="337"/>
                  <a:pt x="225" y="337"/>
                  <a:pt x="225" y="337"/>
                </a:cubicBezTo>
                <a:cubicBezTo>
                  <a:pt x="225" y="321"/>
                  <a:pt x="225" y="321"/>
                  <a:pt x="225" y="321"/>
                </a:cubicBezTo>
                <a:cubicBezTo>
                  <a:pt x="289" y="321"/>
                  <a:pt x="289" y="321"/>
                  <a:pt x="289" y="321"/>
                </a:cubicBezTo>
                <a:lnTo>
                  <a:pt x="289" y="337"/>
                </a:lnTo>
                <a:close/>
                <a:moveTo>
                  <a:pt x="289" y="305"/>
                </a:moveTo>
                <a:cubicBezTo>
                  <a:pt x="225" y="305"/>
                  <a:pt x="225" y="305"/>
                  <a:pt x="225" y="305"/>
                </a:cubicBezTo>
                <a:cubicBezTo>
                  <a:pt x="225" y="200"/>
                  <a:pt x="225" y="200"/>
                  <a:pt x="225" y="200"/>
                </a:cubicBezTo>
                <a:cubicBezTo>
                  <a:pt x="225" y="196"/>
                  <a:pt x="221" y="192"/>
                  <a:pt x="217" y="192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32" y="192"/>
                  <a:pt x="128" y="196"/>
                  <a:pt x="128" y="200"/>
                </a:cubicBezTo>
                <a:cubicBezTo>
                  <a:pt x="128" y="305"/>
                  <a:pt x="128" y="305"/>
                  <a:pt x="128" y="305"/>
                </a:cubicBezTo>
                <a:cubicBezTo>
                  <a:pt x="64" y="305"/>
                  <a:pt x="64" y="305"/>
                  <a:pt x="64" y="305"/>
                </a:cubicBezTo>
                <a:cubicBezTo>
                  <a:pt x="64" y="132"/>
                  <a:pt x="64" y="132"/>
                  <a:pt x="64" y="132"/>
                </a:cubicBezTo>
                <a:cubicBezTo>
                  <a:pt x="177" y="19"/>
                  <a:pt x="177" y="19"/>
                  <a:pt x="177" y="19"/>
                </a:cubicBezTo>
                <a:cubicBezTo>
                  <a:pt x="289" y="132"/>
                  <a:pt x="289" y="132"/>
                  <a:pt x="289" y="132"/>
                </a:cubicBezTo>
                <a:lnTo>
                  <a:pt x="289" y="305"/>
                </a:lnTo>
                <a:close/>
                <a:moveTo>
                  <a:pt x="185" y="289"/>
                </a:moveTo>
                <a:cubicBezTo>
                  <a:pt x="189" y="289"/>
                  <a:pt x="193" y="285"/>
                  <a:pt x="193" y="281"/>
                </a:cubicBezTo>
                <a:cubicBezTo>
                  <a:pt x="193" y="276"/>
                  <a:pt x="189" y="273"/>
                  <a:pt x="185" y="273"/>
                </a:cubicBezTo>
                <a:cubicBezTo>
                  <a:pt x="180" y="273"/>
                  <a:pt x="177" y="276"/>
                  <a:pt x="177" y="281"/>
                </a:cubicBezTo>
                <a:cubicBezTo>
                  <a:pt x="177" y="285"/>
                  <a:pt x="180" y="289"/>
                  <a:pt x="185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4" name="Freeform 63"/>
          <p:cNvSpPr>
            <a:spLocks noEditPoints="1"/>
          </p:cNvSpPr>
          <p:nvPr/>
        </p:nvSpPr>
        <p:spPr bwMode="auto">
          <a:xfrm>
            <a:off x="4775810" y="1843960"/>
            <a:ext cx="207308" cy="253790"/>
          </a:xfrm>
          <a:custGeom>
            <a:avLst/>
            <a:gdLst>
              <a:gd name="T0" fmla="*/ 144 w 289"/>
              <a:gd name="T1" fmla="*/ 145 h 353"/>
              <a:gd name="T2" fmla="*/ 144 w 289"/>
              <a:gd name="T3" fmla="*/ 129 h 353"/>
              <a:gd name="T4" fmla="*/ 40 w 289"/>
              <a:gd name="T5" fmla="*/ 137 h 353"/>
              <a:gd name="T6" fmla="*/ 273 w 289"/>
              <a:gd name="T7" fmla="*/ 32 h 353"/>
              <a:gd name="T8" fmla="*/ 232 w 289"/>
              <a:gd name="T9" fmla="*/ 8 h 353"/>
              <a:gd name="T10" fmla="*/ 216 w 289"/>
              <a:gd name="T11" fmla="*/ 8 h 353"/>
              <a:gd name="T12" fmla="*/ 200 w 289"/>
              <a:gd name="T13" fmla="*/ 32 h 353"/>
              <a:gd name="T14" fmla="*/ 192 w 289"/>
              <a:gd name="T15" fmla="*/ 0 h 353"/>
              <a:gd name="T16" fmla="*/ 184 w 289"/>
              <a:gd name="T17" fmla="*/ 32 h 353"/>
              <a:gd name="T18" fmla="*/ 168 w 289"/>
              <a:gd name="T19" fmla="*/ 8 h 353"/>
              <a:gd name="T20" fmla="*/ 152 w 289"/>
              <a:gd name="T21" fmla="*/ 8 h 353"/>
              <a:gd name="T22" fmla="*/ 136 w 289"/>
              <a:gd name="T23" fmla="*/ 32 h 353"/>
              <a:gd name="T24" fmla="*/ 128 w 289"/>
              <a:gd name="T25" fmla="*/ 0 h 353"/>
              <a:gd name="T26" fmla="*/ 120 w 289"/>
              <a:gd name="T27" fmla="*/ 32 h 353"/>
              <a:gd name="T28" fmla="*/ 104 w 289"/>
              <a:gd name="T29" fmla="*/ 8 h 353"/>
              <a:gd name="T30" fmla="*/ 88 w 289"/>
              <a:gd name="T31" fmla="*/ 8 h 353"/>
              <a:gd name="T32" fmla="*/ 72 w 289"/>
              <a:gd name="T33" fmla="*/ 32 h 353"/>
              <a:gd name="T34" fmla="*/ 64 w 289"/>
              <a:gd name="T35" fmla="*/ 0 h 353"/>
              <a:gd name="T36" fmla="*/ 56 w 289"/>
              <a:gd name="T37" fmla="*/ 32 h 353"/>
              <a:gd name="T38" fmla="*/ 0 w 289"/>
              <a:gd name="T39" fmla="*/ 48 h 353"/>
              <a:gd name="T40" fmla="*/ 16 w 289"/>
              <a:gd name="T41" fmla="*/ 353 h 353"/>
              <a:gd name="T42" fmla="*/ 289 w 289"/>
              <a:gd name="T43" fmla="*/ 337 h 353"/>
              <a:gd name="T44" fmla="*/ 273 w 289"/>
              <a:gd name="T45" fmla="*/ 32 h 353"/>
              <a:gd name="T46" fmla="*/ 16 w 289"/>
              <a:gd name="T47" fmla="*/ 289 h 353"/>
              <a:gd name="T48" fmla="*/ 16 w 289"/>
              <a:gd name="T49" fmla="*/ 337 h 353"/>
              <a:gd name="T50" fmla="*/ 88 w 289"/>
              <a:gd name="T51" fmla="*/ 337 h 353"/>
              <a:gd name="T52" fmla="*/ 16 w 289"/>
              <a:gd name="T53" fmla="*/ 48 h 353"/>
              <a:gd name="T54" fmla="*/ 56 w 289"/>
              <a:gd name="T55" fmla="*/ 72 h 353"/>
              <a:gd name="T56" fmla="*/ 72 w 289"/>
              <a:gd name="T57" fmla="*/ 72 h 353"/>
              <a:gd name="T58" fmla="*/ 88 w 289"/>
              <a:gd name="T59" fmla="*/ 48 h 353"/>
              <a:gd name="T60" fmla="*/ 96 w 289"/>
              <a:gd name="T61" fmla="*/ 80 h 353"/>
              <a:gd name="T62" fmla="*/ 104 w 289"/>
              <a:gd name="T63" fmla="*/ 48 h 353"/>
              <a:gd name="T64" fmla="*/ 120 w 289"/>
              <a:gd name="T65" fmla="*/ 72 h 353"/>
              <a:gd name="T66" fmla="*/ 136 w 289"/>
              <a:gd name="T67" fmla="*/ 72 h 353"/>
              <a:gd name="T68" fmla="*/ 152 w 289"/>
              <a:gd name="T69" fmla="*/ 48 h 353"/>
              <a:gd name="T70" fmla="*/ 160 w 289"/>
              <a:gd name="T71" fmla="*/ 80 h 353"/>
              <a:gd name="T72" fmla="*/ 168 w 289"/>
              <a:gd name="T73" fmla="*/ 48 h 353"/>
              <a:gd name="T74" fmla="*/ 184 w 289"/>
              <a:gd name="T75" fmla="*/ 72 h 353"/>
              <a:gd name="T76" fmla="*/ 200 w 289"/>
              <a:gd name="T77" fmla="*/ 72 h 353"/>
              <a:gd name="T78" fmla="*/ 216 w 289"/>
              <a:gd name="T79" fmla="*/ 48 h 353"/>
              <a:gd name="T80" fmla="*/ 224 w 289"/>
              <a:gd name="T81" fmla="*/ 80 h 353"/>
              <a:gd name="T82" fmla="*/ 232 w 289"/>
              <a:gd name="T83" fmla="*/ 48 h 353"/>
              <a:gd name="T84" fmla="*/ 273 w 289"/>
              <a:gd name="T85" fmla="*/ 337 h 353"/>
              <a:gd name="T86" fmla="*/ 48 w 289"/>
              <a:gd name="T87" fmla="*/ 193 h 353"/>
              <a:gd name="T88" fmla="*/ 249 w 289"/>
              <a:gd name="T89" fmla="*/ 185 h 353"/>
              <a:gd name="T90" fmla="*/ 48 w 289"/>
              <a:gd name="T91" fmla="*/ 177 h 353"/>
              <a:gd name="T92" fmla="*/ 192 w 289"/>
              <a:gd name="T93" fmla="*/ 225 h 353"/>
              <a:gd name="T94" fmla="*/ 40 w 289"/>
              <a:gd name="T95" fmla="*/ 233 h 353"/>
              <a:gd name="T96" fmla="*/ 192 w 289"/>
              <a:gd name="T97" fmla="*/ 241 h 353"/>
              <a:gd name="T98" fmla="*/ 192 w 289"/>
              <a:gd name="T99" fmla="*/ 225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89" h="353">
                <a:moveTo>
                  <a:pt x="48" y="145"/>
                </a:moveTo>
                <a:cubicBezTo>
                  <a:pt x="144" y="145"/>
                  <a:pt x="144" y="145"/>
                  <a:pt x="144" y="145"/>
                </a:cubicBezTo>
                <a:cubicBezTo>
                  <a:pt x="149" y="145"/>
                  <a:pt x="152" y="141"/>
                  <a:pt x="152" y="137"/>
                </a:cubicBezTo>
                <a:cubicBezTo>
                  <a:pt x="152" y="132"/>
                  <a:pt x="149" y="129"/>
                  <a:pt x="144" y="129"/>
                </a:cubicBezTo>
                <a:cubicBezTo>
                  <a:pt x="48" y="129"/>
                  <a:pt x="48" y="129"/>
                  <a:pt x="48" y="129"/>
                </a:cubicBezTo>
                <a:cubicBezTo>
                  <a:pt x="43" y="129"/>
                  <a:pt x="40" y="132"/>
                  <a:pt x="40" y="137"/>
                </a:cubicBezTo>
                <a:cubicBezTo>
                  <a:pt x="40" y="141"/>
                  <a:pt x="43" y="145"/>
                  <a:pt x="48" y="145"/>
                </a:cubicBezTo>
                <a:moveTo>
                  <a:pt x="273" y="32"/>
                </a:moveTo>
                <a:cubicBezTo>
                  <a:pt x="232" y="32"/>
                  <a:pt x="232" y="32"/>
                  <a:pt x="232" y="32"/>
                </a:cubicBezTo>
                <a:cubicBezTo>
                  <a:pt x="232" y="8"/>
                  <a:pt x="232" y="8"/>
                  <a:pt x="232" y="8"/>
                </a:cubicBezTo>
                <a:cubicBezTo>
                  <a:pt x="232" y="4"/>
                  <a:pt x="229" y="0"/>
                  <a:pt x="224" y="0"/>
                </a:cubicBezTo>
                <a:cubicBezTo>
                  <a:pt x="220" y="0"/>
                  <a:pt x="216" y="4"/>
                  <a:pt x="216" y="8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200" y="32"/>
                  <a:pt x="200" y="32"/>
                  <a:pt x="200" y="32"/>
                </a:cubicBezTo>
                <a:cubicBezTo>
                  <a:pt x="200" y="8"/>
                  <a:pt x="200" y="8"/>
                  <a:pt x="200" y="8"/>
                </a:cubicBezTo>
                <a:cubicBezTo>
                  <a:pt x="200" y="4"/>
                  <a:pt x="197" y="0"/>
                  <a:pt x="192" y="0"/>
                </a:cubicBezTo>
                <a:cubicBezTo>
                  <a:pt x="188" y="0"/>
                  <a:pt x="184" y="4"/>
                  <a:pt x="184" y="8"/>
                </a:cubicBezTo>
                <a:cubicBezTo>
                  <a:pt x="184" y="32"/>
                  <a:pt x="184" y="32"/>
                  <a:pt x="184" y="32"/>
                </a:cubicBezTo>
                <a:cubicBezTo>
                  <a:pt x="168" y="32"/>
                  <a:pt x="168" y="32"/>
                  <a:pt x="168" y="32"/>
                </a:cubicBezTo>
                <a:cubicBezTo>
                  <a:pt x="168" y="8"/>
                  <a:pt x="168" y="8"/>
                  <a:pt x="168" y="8"/>
                </a:cubicBezTo>
                <a:cubicBezTo>
                  <a:pt x="168" y="4"/>
                  <a:pt x="165" y="0"/>
                  <a:pt x="160" y="0"/>
                </a:cubicBezTo>
                <a:cubicBezTo>
                  <a:pt x="156" y="0"/>
                  <a:pt x="152" y="4"/>
                  <a:pt x="152" y="8"/>
                </a:cubicBezTo>
                <a:cubicBezTo>
                  <a:pt x="152" y="32"/>
                  <a:pt x="152" y="32"/>
                  <a:pt x="152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4"/>
                  <a:pt x="133" y="0"/>
                  <a:pt x="128" y="0"/>
                </a:cubicBezTo>
                <a:cubicBezTo>
                  <a:pt x="124" y="0"/>
                  <a:pt x="120" y="4"/>
                  <a:pt x="120" y="8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8"/>
                  <a:pt x="104" y="8"/>
                  <a:pt x="104" y="8"/>
                </a:cubicBezTo>
                <a:cubicBezTo>
                  <a:pt x="104" y="4"/>
                  <a:pt x="100" y="0"/>
                  <a:pt x="96" y="0"/>
                </a:cubicBezTo>
                <a:cubicBezTo>
                  <a:pt x="92" y="0"/>
                  <a:pt x="88" y="4"/>
                  <a:pt x="88" y="8"/>
                </a:cubicBezTo>
                <a:cubicBezTo>
                  <a:pt x="88" y="32"/>
                  <a:pt x="88" y="32"/>
                  <a:pt x="88" y="32"/>
                </a:cubicBezTo>
                <a:cubicBezTo>
                  <a:pt x="72" y="32"/>
                  <a:pt x="72" y="32"/>
                  <a:pt x="72" y="32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4"/>
                  <a:pt x="68" y="0"/>
                  <a:pt x="64" y="0"/>
                </a:cubicBezTo>
                <a:cubicBezTo>
                  <a:pt x="59" y="0"/>
                  <a:pt x="56" y="4"/>
                  <a:pt x="56" y="8"/>
                </a:cubicBezTo>
                <a:cubicBezTo>
                  <a:pt x="56" y="32"/>
                  <a:pt x="56" y="32"/>
                  <a:pt x="5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39"/>
                  <a:pt x="0" y="48"/>
                </a:cubicBezTo>
                <a:cubicBezTo>
                  <a:pt x="0" y="337"/>
                  <a:pt x="0" y="337"/>
                  <a:pt x="0" y="337"/>
                </a:cubicBezTo>
                <a:cubicBezTo>
                  <a:pt x="0" y="346"/>
                  <a:pt x="7" y="353"/>
                  <a:pt x="16" y="353"/>
                </a:cubicBezTo>
                <a:cubicBezTo>
                  <a:pt x="273" y="353"/>
                  <a:pt x="273" y="353"/>
                  <a:pt x="273" y="353"/>
                </a:cubicBezTo>
                <a:cubicBezTo>
                  <a:pt x="281" y="353"/>
                  <a:pt x="289" y="346"/>
                  <a:pt x="289" y="337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289" y="39"/>
                  <a:pt x="281" y="32"/>
                  <a:pt x="273" y="32"/>
                </a:cubicBezTo>
                <a:moveTo>
                  <a:pt x="16" y="337"/>
                </a:moveTo>
                <a:cubicBezTo>
                  <a:pt x="16" y="289"/>
                  <a:pt x="16" y="289"/>
                  <a:pt x="16" y="289"/>
                </a:cubicBezTo>
                <a:cubicBezTo>
                  <a:pt x="64" y="337"/>
                  <a:pt x="64" y="337"/>
                  <a:pt x="64" y="337"/>
                </a:cubicBezTo>
                <a:lnTo>
                  <a:pt x="16" y="337"/>
                </a:lnTo>
                <a:close/>
                <a:moveTo>
                  <a:pt x="273" y="337"/>
                </a:moveTo>
                <a:cubicBezTo>
                  <a:pt x="88" y="337"/>
                  <a:pt x="88" y="337"/>
                  <a:pt x="88" y="337"/>
                </a:cubicBezTo>
                <a:cubicBezTo>
                  <a:pt x="16" y="265"/>
                  <a:pt x="16" y="265"/>
                  <a:pt x="16" y="265"/>
                </a:cubicBezTo>
                <a:cubicBezTo>
                  <a:pt x="16" y="48"/>
                  <a:pt x="16" y="48"/>
                  <a:pt x="16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72"/>
                  <a:pt x="56" y="72"/>
                  <a:pt x="56" y="72"/>
                </a:cubicBezTo>
                <a:cubicBezTo>
                  <a:pt x="56" y="77"/>
                  <a:pt x="59" y="80"/>
                  <a:pt x="64" y="80"/>
                </a:cubicBezTo>
                <a:cubicBezTo>
                  <a:pt x="68" y="80"/>
                  <a:pt x="72" y="77"/>
                  <a:pt x="72" y="72"/>
                </a:cubicBezTo>
                <a:cubicBezTo>
                  <a:pt x="72" y="48"/>
                  <a:pt x="72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77"/>
                  <a:pt x="92" y="80"/>
                  <a:pt x="96" y="80"/>
                </a:cubicBezTo>
                <a:cubicBezTo>
                  <a:pt x="100" y="80"/>
                  <a:pt x="104" y="77"/>
                  <a:pt x="104" y="72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72"/>
                  <a:pt x="120" y="72"/>
                  <a:pt x="120" y="72"/>
                </a:cubicBezTo>
                <a:cubicBezTo>
                  <a:pt x="120" y="77"/>
                  <a:pt x="124" y="80"/>
                  <a:pt x="128" y="80"/>
                </a:cubicBezTo>
                <a:cubicBezTo>
                  <a:pt x="133" y="80"/>
                  <a:pt x="136" y="77"/>
                  <a:pt x="136" y="72"/>
                </a:cubicBezTo>
                <a:cubicBezTo>
                  <a:pt x="136" y="48"/>
                  <a:pt x="136" y="48"/>
                  <a:pt x="136" y="48"/>
                </a:cubicBezTo>
                <a:cubicBezTo>
                  <a:pt x="152" y="48"/>
                  <a:pt x="152" y="48"/>
                  <a:pt x="152" y="48"/>
                </a:cubicBezTo>
                <a:cubicBezTo>
                  <a:pt x="152" y="72"/>
                  <a:pt x="152" y="72"/>
                  <a:pt x="152" y="72"/>
                </a:cubicBezTo>
                <a:cubicBezTo>
                  <a:pt x="152" y="77"/>
                  <a:pt x="156" y="80"/>
                  <a:pt x="160" y="80"/>
                </a:cubicBezTo>
                <a:cubicBezTo>
                  <a:pt x="165" y="80"/>
                  <a:pt x="168" y="77"/>
                  <a:pt x="168" y="72"/>
                </a:cubicBezTo>
                <a:cubicBezTo>
                  <a:pt x="168" y="48"/>
                  <a:pt x="168" y="48"/>
                  <a:pt x="168" y="48"/>
                </a:cubicBezTo>
                <a:cubicBezTo>
                  <a:pt x="184" y="48"/>
                  <a:pt x="184" y="48"/>
                  <a:pt x="184" y="48"/>
                </a:cubicBezTo>
                <a:cubicBezTo>
                  <a:pt x="184" y="72"/>
                  <a:pt x="184" y="72"/>
                  <a:pt x="184" y="72"/>
                </a:cubicBezTo>
                <a:cubicBezTo>
                  <a:pt x="184" y="77"/>
                  <a:pt x="188" y="80"/>
                  <a:pt x="192" y="80"/>
                </a:cubicBezTo>
                <a:cubicBezTo>
                  <a:pt x="197" y="80"/>
                  <a:pt x="200" y="77"/>
                  <a:pt x="200" y="72"/>
                </a:cubicBezTo>
                <a:cubicBezTo>
                  <a:pt x="200" y="48"/>
                  <a:pt x="200" y="48"/>
                  <a:pt x="200" y="48"/>
                </a:cubicBezTo>
                <a:cubicBezTo>
                  <a:pt x="216" y="48"/>
                  <a:pt x="216" y="48"/>
                  <a:pt x="216" y="48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16" y="77"/>
                  <a:pt x="220" y="80"/>
                  <a:pt x="224" y="80"/>
                </a:cubicBezTo>
                <a:cubicBezTo>
                  <a:pt x="229" y="80"/>
                  <a:pt x="232" y="77"/>
                  <a:pt x="232" y="72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73" y="48"/>
                  <a:pt x="273" y="48"/>
                  <a:pt x="273" y="48"/>
                </a:cubicBezTo>
                <a:lnTo>
                  <a:pt x="273" y="337"/>
                </a:lnTo>
                <a:close/>
                <a:moveTo>
                  <a:pt x="40" y="185"/>
                </a:moveTo>
                <a:cubicBezTo>
                  <a:pt x="40" y="189"/>
                  <a:pt x="43" y="193"/>
                  <a:pt x="48" y="193"/>
                </a:cubicBezTo>
                <a:cubicBezTo>
                  <a:pt x="241" y="193"/>
                  <a:pt x="241" y="193"/>
                  <a:pt x="241" y="193"/>
                </a:cubicBezTo>
                <a:cubicBezTo>
                  <a:pt x="245" y="193"/>
                  <a:pt x="249" y="189"/>
                  <a:pt x="249" y="185"/>
                </a:cubicBezTo>
                <a:cubicBezTo>
                  <a:pt x="249" y="180"/>
                  <a:pt x="245" y="177"/>
                  <a:pt x="241" y="177"/>
                </a:cubicBezTo>
                <a:cubicBezTo>
                  <a:pt x="48" y="177"/>
                  <a:pt x="48" y="177"/>
                  <a:pt x="48" y="177"/>
                </a:cubicBezTo>
                <a:cubicBezTo>
                  <a:pt x="43" y="177"/>
                  <a:pt x="40" y="180"/>
                  <a:pt x="40" y="185"/>
                </a:cubicBezTo>
                <a:moveTo>
                  <a:pt x="192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3" y="225"/>
                  <a:pt x="40" y="228"/>
                  <a:pt x="40" y="233"/>
                </a:cubicBezTo>
                <a:cubicBezTo>
                  <a:pt x="40" y="237"/>
                  <a:pt x="43" y="241"/>
                  <a:pt x="48" y="241"/>
                </a:cubicBezTo>
                <a:cubicBezTo>
                  <a:pt x="192" y="241"/>
                  <a:pt x="192" y="241"/>
                  <a:pt x="192" y="241"/>
                </a:cubicBezTo>
                <a:cubicBezTo>
                  <a:pt x="197" y="241"/>
                  <a:pt x="200" y="237"/>
                  <a:pt x="200" y="233"/>
                </a:cubicBezTo>
                <a:cubicBezTo>
                  <a:pt x="200" y="228"/>
                  <a:pt x="197" y="225"/>
                  <a:pt x="192" y="225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5" name="Freeform 115"/>
          <p:cNvSpPr>
            <a:spLocks noEditPoints="1"/>
          </p:cNvSpPr>
          <p:nvPr/>
        </p:nvSpPr>
        <p:spPr bwMode="auto">
          <a:xfrm>
            <a:off x="3955981" y="2760859"/>
            <a:ext cx="252859" cy="252859"/>
          </a:xfrm>
          <a:custGeom>
            <a:avLst/>
            <a:gdLst>
              <a:gd name="T0" fmla="*/ 289 w 353"/>
              <a:gd name="T1" fmla="*/ 32 h 353"/>
              <a:gd name="T2" fmla="*/ 281 w 353"/>
              <a:gd name="T3" fmla="*/ 0 h 353"/>
              <a:gd name="T4" fmla="*/ 273 w 353"/>
              <a:gd name="T5" fmla="*/ 32 h 353"/>
              <a:gd name="T6" fmla="*/ 80 w 353"/>
              <a:gd name="T7" fmla="*/ 8 h 353"/>
              <a:gd name="T8" fmla="*/ 64 w 353"/>
              <a:gd name="T9" fmla="*/ 8 h 353"/>
              <a:gd name="T10" fmla="*/ 32 w 353"/>
              <a:gd name="T11" fmla="*/ 32 h 353"/>
              <a:gd name="T12" fmla="*/ 0 w 353"/>
              <a:gd name="T13" fmla="*/ 321 h 353"/>
              <a:gd name="T14" fmla="*/ 321 w 353"/>
              <a:gd name="T15" fmla="*/ 353 h 353"/>
              <a:gd name="T16" fmla="*/ 353 w 353"/>
              <a:gd name="T17" fmla="*/ 64 h 353"/>
              <a:gd name="T18" fmla="*/ 337 w 353"/>
              <a:gd name="T19" fmla="*/ 321 h 353"/>
              <a:gd name="T20" fmla="*/ 32 w 353"/>
              <a:gd name="T21" fmla="*/ 337 h 353"/>
              <a:gd name="T22" fmla="*/ 16 w 353"/>
              <a:gd name="T23" fmla="*/ 128 h 353"/>
              <a:gd name="T24" fmla="*/ 337 w 353"/>
              <a:gd name="T25" fmla="*/ 321 h 353"/>
              <a:gd name="T26" fmla="*/ 16 w 353"/>
              <a:gd name="T27" fmla="*/ 112 h 353"/>
              <a:gd name="T28" fmla="*/ 32 w 353"/>
              <a:gd name="T29" fmla="*/ 48 h 353"/>
              <a:gd name="T30" fmla="*/ 64 w 353"/>
              <a:gd name="T31" fmla="*/ 72 h 353"/>
              <a:gd name="T32" fmla="*/ 80 w 353"/>
              <a:gd name="T33" fmla="*/ 72 h 353"/>
              <a:gd name="T34" fmla="*/ 273 w 353"/>
              <a:gd name="T35" fmla="*/ 48 h 353"/>
              <a:gd name="T36" fmla="*/ 281 w 353"/>
              <a:gd name="T37" fmla="*/ 80 h 353"/>
              <a:gd name="T38" fmla="*/ 289 w 353"/>
              <a:gd name="T39" fmla="*/ 48 h 353"/>
              <a:gd name="T40" fmla="*/ 337 w 353"/>
              <a:gd name="T41" fmla="*/ 64 h 353"/>
              <a:gd name="T42" fmla="*/ 233 w 353"/>
              <a:gd name="T43" fmla="*/ 297 h 353"/>
              <a:gd name="T44" fmla="*/ 248 w 353"/>
              <a:gd name="T45" fmla="*/ 168 h 353"/>
              <a:gd name="T46" fmla="*/ 232 w 353"/>
              <a:gd name="T47" fmla="*/ 180 h 353"/>
              <a:gd name="T48" fmla="*/ 213 w 353"/>
              <a:gd name="T49" fmla="*/ 191 h 353"/>
              <a:gd name="T50" fmla="*/ 201 w 353"/>
              <a:gd name="T51" fmla="*/ 204 h 353"/>
              <a:gd name="T52" fmla="*/ 233 w 353"/>
              <a:gd name="T53" fmla="*/ 297 h 353"/>
              <a:gd name="T54" fmla="*/ 148 w 353"/>
              <a:gd name="T55" fmla="*/ 283 h 353"/>
              <a:gd name="T56" fmla="*/ 118 w 353"/>
              <a:gd name="T57" fmla="*/ 277 h 353"/>
              <a:gd name="T58" fmla="*/ 96 w 353"/>
              <a:gd name="T59" fmla="*/ 257 h 353"/>
              <a:gd name="T60" fmla="*/ 107 w 353"/>
              <a:gd name="T61" fmla="*/ 288 h 353"/>
              <a:gd name="T62" fmla="*/ 138 w 353"/>
              <a:gd name="T63" fmla="*/ 299 h 353"/>
              <a:gd name="T64" fmla="*/ 168 w 353"/>
              <a:gd name="T65" fmla="*/ 289 h 353"/>
              <a:gd name="T66" fmla="*/ 181 w 353"/>
              <a:gd name="T67" fmla="*/ 259 h 353"/>
              <a:gd name="T68" fmla="*/ 158 w 353"/>
              <a:gd name="T69" fmla="*/ 228 h 353"/>
              <a:gd name="T70" fmla="*/ 171 w 353"/>
              <a:gd name="T71" fmla="*/ 218 h 353"/>
              <a:gd name="T72" fmla="*/ 173 w 353"/>
              <a:gd name="T73" fmla="*/ 187 h 353"/>
              <a:gd name="T74" fmla="*/ 153 w 353"/>
              <a:gd name="T75" fmla="*/ 170 h 353"/>
              <a:gd name="T76" fmla="*/ 121 w 353"/>
              <a:gd name="T77" fmla="*/ 171 h 353"/>
              <a:gd name="T78" fmla="*/ 102 w 353"/>
              <a:gd name="T79" fmla="*/ 192 h 353"/>
              <a:gd name="T80" fmla="*/ 114 w 353"/>
              <a:gd name="T81" fmla="*/ 209 h 353"/>
              <a:gd name="T82" fmla="*/ 120 w 353"/>
              <a:gd name="T83" fmla="*/ 190 h 353"/>
              <a:gd name="T84" fmla="*/ 137 w 353"/>
              <a:gd name="T85" fmla="*/ 181 h 353"/>
              <a:gd name="T86" fmla="*/ 160 w 353"/>
              <a:gd name="T87" fmla="*/ 202 h 353"/>
              <a:gd name="T88" fmla="*/ 153 w 353"/>
              <a:gd name="T89" fmla="*/ 218 h 353"/>
              <a:gd name="T90" fmla="*/ 136 w 353"/>
              <a:gd name="T91" fmla="*/ 223 h 353"/>
              <a:gd name="T92" fmla="*/ 129 w 353"/>
              <a:gd name="T93" fmla="*/ 223 h 353"/>
              <a:gd name="T94" fmla="*/ 138 w 353"/>
              <a:gd name="T95" fmla="*/ 235 h 353"/>
              <a:gd name="T96" fmla="*/ 157 w 353"/>
              <a:gd name="T97" fmla="*/ 242 h 353"/>
              <a:gd name="T98" fmla="*/ 165 w 353"/>
              <a:gd name="T99" fmla="*/ 260 h 353"/>
              <a:gd name="T100" fmla="*/ 157 w 353"/>
              <a:gd name="T101" fmla="*/ 27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53" h="353">
                <a:moveTo>
                  <a:pt x="321" y="32"/>
                </a:moveTo>
                <a:cubicBezTo>
                  <a:pt x="289" y="32"/>
                  <a:pt x="289" y="32"/>
                  <a:pt x="289" y="32"/>
                </a:cubicBezTo>
                <a:cubicBezTo>
                  <a:pt x="289" y="8"/>
                  <a:pt x="289" y="8"/>
                  <a:pt x="289" y="8"/>
                </a:cubicBezTo>
                <a:cubicBezTo>
                  <a:pt x="289" y="3"/>
                  <a:pt x="286" y="0"/>
                  <a:pt x="281" y="0"/>
                </a:cubicBezTo>
                <a:cubicBezTo>
                  <a:pt x="277" y="0"/>
                  <a:pt x="273" y="3"/>
                  <a:pt x="273" y="8"/>
                </a:cubicBezTo>
                <a:cubicBezTo>
                  <a:pt x="273" y="32"/>
                  <a:pt x="273" y="32"/>
                  <a:pt x="273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80" y="8"/>
                  <a:pt x="80" y="8"/>
                  <a:pt x="80" y="8"/>
                </a:cubicBezTo>
                <a:cubicBezTo>
                  <a:pt x="80" y="3"/>
                  <a:pt x="77" y="0"/>
                  <a:pt x="72" y="0"/>
                </a:cubicBezTo>
                <a:cubicBezTo>
                  <a:pt x="68" y="0"/>
                  <a:pt x="64" y="3"/>
                  <a:pt x="64" y="8"/>
                </a:cubicBezTo>
                <a:cubicBezTo>
                  <a:pt x="64" y="32"/>
                  <a:pt x="64" y="32"/>
                  <a:pt x="64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15" y="32"/>
                  <a:pt x="0" y="46"/>
                  <a:pt x="0" y="64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5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9" y="353"/>
                  <a:pt x="353" y="339"/>
                  <a:pt x="353" y="321"/>
                </a:cubicBezTo>
                <a:cubicBezTo>
                  <a:pt x="353" y="64"/>
                  <a:pt x="353" y="64"/>
                  <a:pt x="353" y="64"/>
                </a:cubicBezTo>
                <a:cubicBezTo>
                  <a:pt x="353" y="46"/>
                  <a:pt x="339" y="32"/>
                  <a:pt x="321" y="32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337" y="128"/>
                  <a:pt x="337" y="128"/>
                  <a:pt x="337" y="128"/>
                </a:cubicBezTo>
                <a:lnTo>
                  <a:pt x="337" y="321"/>
                </a:lnTo>
                <a:close/>
                <a:moveTo>
                  <a:pt x="337" y="112"/>
                </a:moveTo>
                <a:cubicBezTo>
                  <a:pt x="16" y="112"/>
                  <a:pt x="16" y="112"/>
                  <a:pt x="16" y="112"/>
                </a:cubicBezTo>
                <a:cubicBezTo>
                  <a:pt x="16" y="64"/>
                  <a:pt x="16" y="64"/>
                  <a:pt x="16" y="64"/>
                </a:cubicBezTo>
                <a:cubicBezTo>
                  <a:pt x="16" y="55"/>
                  <a:pt x="23" y="48"/>
                  <a:pt x="32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72"/>
                  <a:pt x="64" y="72"/>
                  <a:pt x="64" y="72"/>
                </a:cubicBezTo>
                <a:cubicBezTo>
                  <a:pt x="64" y="76"/>
                  <a:pt x="68" y="80"/>
                  <a:pt x="72" y="80"/>
                </a:cubicBezTo>
                <a:cubicBezTo>
                  <a:pt x="77" y="80"/>
                  <a:pt x="80" y="76"/>
                  <a:pt x="80" y="72"/>
                </a:cubicBezTo>
                <a:cubicBezTo>
                  <a:pt x="80" y="48"/>
                  <a:pt x="80" y="48"/>
                  <a:pt x="80" y="48"/>
                </a:cubicBezTo>
                <a:cubicBezTo>
                  <a:pt x="273" y="48"/>
                  <a:pt x="273" y="48"/>
                  <a:pt x="273" y="48"/>
                </a:cubicBezTo>
                <a:cubicBezTo>
                  <a:pt x="273" y="72"/>
                  <a:pt x="273" y="72"/>
                  <a:pt x="273" y="72"/>
                </a:cubicBezTo>
                <a:cubicBezTo>
                  <a:pt x="273" y="76"/>
                  <a:pt x="277" y="80"/>
                  <a:pt x="281" y="80"/>
                </a:cubicBezTo>
                <a:cubicBezTo>
                  <a:pt x="286" y="80"/>
                  <a:pt x="289" y="76"/>
                  <a:pt x="289" y="72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321" y="48"/>
                  <a:pt x="321" y="48"/>
                  <a:pt x="321" y="48"/>
                </a:cubicBezTo>
                <a:cubicBezTo>
                  <a:pt x="330" y="48"/>
                  <a:pt x="337" y="55"/>
                  <a:pt x="337" y="64"/>
                </a:cubicBezTo>
                <a:lnTo>
                  <a:pt x="337" y="112"/>
                </a:lnTo>
                <a:close/>
                <a:moveTo>
                  <a:pt x="233" y="297"/>
                </a:moveTo>
                <a:cubicBezTo>
                  <a:pt x="248" y="297"/>
                  <a:pt x="248" y="297"/>
                  <a:pt x="248" y="297"/>
                </a:cubicBezTo>
                <a:cubicBezTo>
                  <a:pt x="248" y="168"/>
                  <a:pt x="248" y="168"/>
                  <a:pt x="248" y="168"/>
                </a:cubicBezTo>
                <a:cubicBezTo>
                  <a:pt x="237" y="168"/>
                  <a:pt x="237" y="168"/>
                  <a:pt x="237" y="168"/>
                </a:cubicBezTo>
                <a:cubicBezTo>
                  <a:pt x="236" y="172"/>
                  <a:pt x="235" y="176"/>
                  <a:pt x="232" y="180"/>
                </a:cubicBezTo>
                <a:cubicBezTo>
                  <a:pt x="230" y="183"/>
                  <a:pt x="227" y="185"/>
                  <a:pt x="224" y="187"/>
                </a:cubicBezTo>
                <a:cubicBezTo>
                  <a:pt x="221" y="189"/>
                  <a:pt x="217" y="190"/>
                  <a:pt x="213" y="191"/>
                </a:cubicBezTo>
                <a:cubicBezTo>
                  <a:pt x="209" y="191"/>
                  <a:pt x="205" y="192"/>
                  <a:pt x="201" y="192"/>
                </a:cubicBezTo>
                <a:cubicBezTo>
                  <a:pt x="201" y="204"/>
                  <a:pt x="201" y="204"/>
                  <a:pt x="201" y="204"/>
                </a:cubicBezTo>
                <a:cubicBezTo>
                  <a:pt x="233" y="204"/>
                  <a:pt x="233" y="204"/>
                  <a:pt x="233" y="204"/>
                </a:cubicBezTo>
                <a:lnTo>
                  <a:pt x="233" y="297"/>
                </a:lnTo>
                <a:close/>
                <a:moveTo>
                  <a:pt x="157" y="278"/>
                </a:moveTo>
                <a:cubicBezTo>
                  <a:pt x="154" y="281"/>
                  <a:pt x="152" y="282"/>
                  <a:pt x="148" y="283"/>
                </a:cubicBezTo>
                <a:cubicBezTo>
                  <a:pt x="145" y="285"/>
                  <a:pt x="141" y="285"/>
                  <a:pt x="138" y="285"/>
                </a:cubicBezTo>
                <a:cubicBezTo>
                  <a:pt x="129" y="285"/>
                  <a:pt x="123" y="282"/>
                  <a:pt x="118" y="277"/>
                </a:cubicBezTo>
                <a:cubicBezTo>
                  <a:pt x="114" y="272"/>
                  <a:pt x="111" y="265"/>
                  <a:pt x="111" y="257"/>
                </a:cubicBezTo>
                <a:cubicBezTo>
                  <a:pt x="96" y="257"/>
                  <a:pt x="96" y="257"/>
                  <a:pt x="96" y="257"/>
                </a:cubicBezTo>
                <a:cubicBezTo>
                  <a:pt x="96" y="263"/>
                  <a:pt x="97" y="269"/>
                  <a:pt x="99" y="275"/>
                </a:cubicBezTo>
                <a:cubicBezTo>
                  <a:pt x="101" y="280"/>
                  <a:pt x="104" y="284"/>
                  <a:pt x="107" y="288"/>
                </a:cubicBezTo>
                <a:cubicBezTo>
                  <a:pt x="111" y="291"/>
                  <a:pt x="115" y="294"/>
                  <a:pt x="120" y="296"/>
                </a:cubicBezTo>
                <a:cubicBezTo>
                  <a:pt x="126" y="298"/>
                  <a:pt x="131" y="299"/>
                  <a:pt x="138" y="299"/>
                </a:cubicBezTo>
                <a:cubicBezTo>
                  <a:pt x="144" y="299"/>
                  <a:pt x="149" y="298"/>
                  <a:pt x="154" y="296"/>
                </a:cubicBezTo>
                <a:cubicBezTo>
                  <a:pt x="160" y="294"/>
                  <a:pt x="164" y="292"/>
                  <a:pt x="168" y="289"/>
                </a:cubicBezTo>
                <a:cubicBezTo>
                  <a:pt x="172" y="285"/>
                  <a:pt x="175" y="281"/>
                  <a:pt x="177" y="276"/>
                </a:cubicBezTo>
                <a:cubicBezTo>
                  <a:pt x="180" y="272"/>
                  <a:pt x="181" y="266"/>
                  <a:pt x="181" y="259"/>
                </a:cubicBezTo>
                <a:cubicBezTo>
                  <a:pt x="181" y="252"/>
                  <a:pt x="179" y="245"/>
                  <a:pt x="175" y="239"/>
                </a:cubicBezTo>
                <a:cubicBezTo>
                  <a:pt x="172" y="234"/>
                  <a:pt x="166" y="230"/>
                  <a:pt x="158" y="228"/>
                </a:cubicBezTo>
                <a:cubicBezTo>
                  <a:pt x="158" y="228"/>
                  <a:pt x="158" y="228"/>
                  <a:pt x="158" y="228"/>
                </a:cubicBezTo>
                <a:cubicBezTo>
                  <a:pt x="163" y="226"/>
                  <a:pt x="167" y="222"/>
                  <a:pt x="171" y="218"/>
                </a:cubicBezTo>
                <a:cubicBezTo>
                  <a:pt x="174" y="213"/>
                  <a:pt x="176" y="208"/>
                  <a:pt x="176" y="202"/>
                </a:cubicBezTo>
                <a:cubicBezTo>
                  <a:pt x="176" y="196"/>
                  <a:pt x="175" y="191"/>
                  <a:pt x="173" y="187"/>
                </a:cubicBezTo>
                <a:cubicBezTo>
                  <a:pt x="171" y="182"/>
                  <a:pt x="168" y="179"/>
                  <a:pt x="165" y="176"/>
                </a:cubicBezTo>
                <a:cubicBezTo>
                  <a:pt x="161" y="173"/>
                  <a:pt x="157" y="171"/>
                  <a:pt x="153" y="170"/>
                </a:cubicBezTo>
                <a:cubicBezTo>
                  <a:pt x="148" y="168"/>
                  <a:pt x="143" y="168"/>
                  <a:pt x="137" y="168"/>
                </a:cubicBezTo>
                <a:cubicBezTo>
                  <a:pt x="131" y="168"/>
                  <a:pt x="126" y="169"/>
                  <a:pt x="121" y="171"/>
                </a:cubicBezTo>
                <a:cubicBezTo>
                  <a:pt x="116" y="173"/>
                  <a:pt x="112" y="176"/>
                  <a:pt x="109" y="179"/>
                </a:cubicBezTo>
                <a:cubicBezTo>
                  <a:pt x="106" y="183"/>
                  <a:pt x="103" y="187"/>
                  <a:pt x="102" y="192"/>
                </a:cubicBezTo>
                <a:cubicBezTo>
                  <a:pt x="100" y="197"/>
                  <a:pt x="99" y="203"/>
                  <a:pt x="99" y="209"/>
                </a:cubicBezTo>
                <a:cubicBezTo>
                  <a:pt x="114" y="209"/>
                  <a:pt x="114" y="209"/>
                  <a:pt x="114" y="209"/>
                </a:cubicBezTo>
                <a:cubicBezTo>
                  <a:pt x="114" y="205"/>
                  <a:pt x="114" y="202"/>
                  <a:pt x="115" y="199"/>
                </a:cubicBezTo>
                <a:cubicBezTo>
                  <a:pt x="116" y="195"/>
                  <a:pt x="118" y="192"/>
                  <a:pt x="120" y="190"/>
                </a:cubicBezTo>
                <a:cubicBezTo>
                  <a:pt x="121" y="187"/>
                  <a:pt x="124" y="185"/>
                  <a:pt x="127" y="184"/>
                </a:cubicBezTo>
                <a:cubicBezTo>
                  <a:pt x="130" y="182"/>
                  <a:pt x="133" y="181"/>
                  <a:pt x="137" y="181"/>
                </a:cubicBezTo>
                <a:cubicBezTo>
                  <a:pt x="144" y="181"/>
                  <a:pt x="149" y="183"/>
                  <a:pt x="153" y="186"/>
                </a:cubicBezTo>
                <a:cubicBezTo>
                  <a:pt x="158" y="190"/>
                  <a:pt x="160" y="195"/>
                  <a:pt x="160" y="202"/>
                </a:cubicBezTo>
                <a:cubicBezTo>
                  <a:pt x="160" y="205"/>
                  <a:pt x="159" y="208"/>
                  <a:pt x="158" y="211"/>
                </a:cubicBezTo>
                <a:cubicBezTo>
                  <a:pt x="156" y="214"/>
                  <a:pt x="155" y="216"/>
                  <a:pt x="153" y="218"/>
                </a:cubicBezTo>
                <a:cubicBezTo>
                  <a:pt x="150" y="219"/>
                  <a:pt x="148" y="221"/>
                  <a:pt x="145" y="222"/>
                </a:cubicBezTo>
                <a:cubicBezTo>
                  <a:pt x="142" y="223"/>
                  <a:pt x="139" y="223"/>
                  <a:pt x="136" y="223"/>
                </a:cubicBezTo>
                <a:cubicBezTo>
                  <a:pt x="131" y="223"/>
                  <a:pt x="131" y="223"/>
                  <a:pt x="131" y="223"/>
                </a:cubicBezTo>
                <a:cubicBezTo>
                  <a:pt x="130" y="223"/>
                  <a:pt x="130" y="223"/>
                  <a:pt x="129" y="223"/>
                </a:cubicBezTo>
                <a:cubicBezTo>
                  <a:pt x="129" y="236"/>
                  <a:pt x="129" y="236"/>
                  <a:pt x="129" y="236"/>
                </a:cubicBezTo>
                <a:cubicBezTo>
                  <a:pt x="132" y="236"/>
                  <a:pt x="135" y="235"/>
                  <a:pt x="138" y="235"/>
                </a:cubicBezTo>
                <a:cubicBezTo>
                  <a:pt x="142" y="235"/>
                  <a:pt x="146" y="236"/>
                  <a:pt x="149" y="237"/>
                </a:cubicBezTo>
                <a:cubicBezTo>
                  <a:pt x="152" y="238"/>
                  <a:pt x="155" y="240"/>
                  <a:pt x="157" y="242"/>
                </a:cubicBezTo>
                <a:cubicBezTo>
                  <a:pt x="160" y="244"/>
                  <a:pt x="161" y="246"/>
                  <a:pt x="163" y="250"/>
                </a:cubicBezTo>
                <a:cubicBezTo>
                  <a:pt x="164" y="253"/>
                  <a:pt x="165" y="256"/>
                  <a:pt x="165" y="260"/>
                </a:cubicBezTo>
                <a:cubicBezTo>
                  <a:pt x="165" y="264"/>
                  <a:pt x="164" y="268"/>
                  <a:pt x="163" y="271"/>
                </a:cubicBezTo>
                <a:cubicBezTo>
                  <a:pt x="161" y="274"/>
                  <a:pt x="159" y="276"/>
                  <a:pt x="157" y="278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6" name="Freeform 117"/>
          <p:cNvSpPr>
            <a:spLocks noEditPoints="1"/>
          </p:cNvSpPr>
          <p:nvPr/>
        </p:nvSpPr>
        <p:spPr bwMode="auto">
          <a:xfrm>
            <a:off x="3849968" y="3935278"/>
            <a:ext cx="252859" cy="252859"/>
          </a:xfrm>
          <a:custGeom>
            <a:avLst/>
            <a:gdLst>
              <a:gd name="T0" fmla="*/ 353 w 353"/>
              <a:gd name="T1" fmla="*/ 136 h 353"/>
              <a:gd name="T2" fmla="*/ 349 w 353"/>
              <a:gd name="T3" fmla="*/ 97 h 353"/>
              <a:gd name="T4" fmla="*/ 180 w 353"/>
              <a:gd name="T5" fmla="*/ 1 h 353"/>
              <a:gd name="T6" fmla="*/ 176 w 353"/>
              <a:gd name="T7" fmla="*/ 0 h 353"/>
              <a:gd name="T8" fmla="*/ 173 w 353"/>
              <a:gd name="T9" fmla="*/ 1 h 353"/>
              <a:gd name="T10" fmla="*/ 4 w 353"/>
              <a:gd name="T11" fmla="*/ 97 h 353"/>
              <a:gd name="T12" fmla="*/ 0 w 353"/>
              <a:gd name="T13" fmla="*/ 136 h 353"/>
              <a:gd name="T14" fmla="*/ 32 w 353"/>
              <a:gd name="T15" fmla="*/ 144 h 353"/>
              <a:gd name="T16" fmla="*/ 24 w 353"/>
              <a:gd name="T17" fmla="*/ 289 h 353"/>
              <a:gd name="T18" fmla="*/ 16 w 353"/>
              <a:gd name="T19" fmla="*/ 294 h 353"/>
              <a:gd name="T20" fmla="*/ 0 w 353"/>
              <a:gd name="T21" fmla="*/ 342 h 353"/>
              <a:gd name="T22" fmla="*/ 8 w 353"/>
              <a:gd name="T23" fmla="*/ 353 h 353"/>
              <a:gd name="T24" fmla="*/ 353 w 353"/>
              <a:gd name="T25" fmla="*/ 345 h 353"/>
              <a:gd name="T26" fmla="*/ 353 w 353"/>
              <a:gd name="T27" fmla="*/ 342 h 353"/>
              <a:gd name="T28" fmla="*/ 337 w 353"/>
              <a:gd name="T29" fmla="*/ 294 h 353"/>
              <a:gd name="T30" fmla="*/ 321 w 353"/>
              <a:gd name="T31" fmla="*/ 289 h 353"/>
              <a:gd name="T32" fmla="*/ 345 w 353"/>
              <a:gd name="T33" fmla="*/ 144 h 353"/>
              <a:gd name="T34" fmla="*/ 315 w 353"/>
              <a:gd name="T35" fmla="*/ 96 h 353"/>
              <a:gd name="T36" fmla="*/ 176 w 353"/>
              <a:gd name="T37" fmla="*/ 17 h 353"/>
              <a:gd name="T38" fmla="*/ 334 w 353"/>
              <a:gd name="T39" fmla="*/ 337 h 353"/>
              <a:gd name="T40" fmla="*/ 30 w 353"/>
              <a:gd name="T41" fmla="*/ 305 h 353"/>
              <a:gd name="T42" fmla="*/ 48 w 353"/>
              <a:gd name="T43" fmla="*/ 144 h 353"/>
              <a:gd name="T44" fmla="*/ 80 w 353"/>
              <a:gd name="T45" fmla="*/ 289 h 353"/>
              <a:gd name="T46" fmla="*/ 48 w 353"/>
              <a:gd name="T47" fmla="*/ 144 h 353"/>
              <a:gd name="T48" fmla="*/ 128 w 353"/>
              <a:gd name="T49" fmla="*/ 144 h 353"/>
              <a:gd name="T50" fmla="*/ 96 w 353"/>
              <a:gd name="T51" fmla="*/ 289 h 353"/>
              <a:gd name="T52" fmla="*/ 144 w 353"/>
              <a:gd name="T53" fmla="*/ 144 h 353"/>
              <a:gd name="T54" fmla="*/ 209 w 353"/>
              <a:gd name="T55" fmla="*/ 289 h 353"/>
              <a:gd name="T56" fmla="*/ 144 w 353"/>
              <a:gd name="T57" fmla="*/ 144 h 353"/>
              <a:gd name="T58" fmla="*/ 257 w 353"/>
              <a:gd name="T59" fmla="*/ 144 h 353"/>
              <a:gd name="T60" fmla="*/ 225 w 353"/>
              <a:gd name="T61" fmla="*/ 289 h 353"/>
              <a:gd name="T62" fmla="*/ 273 w 353"/>
              <a:gd name="T63" fmla="*/ 144 h 353"/>
              <a:gd name="T64" fmla="*/ 305 w 353"/>
              <a:gd name="T65" fmla="*/ 289 h 353"/>
              <a:gd name="T66" fmla="*/ 273 w 353"/>
              <a:gd name="T67" fmla="*/ 144 h 353"/>
              <a:gd name="T68" fmla="*/ 337 w 353"/>
              <a:gd name="T69" fmla="*/ 112 h 353"/>
              <a:gd name="T70" fmla="*/ 16 w 353"/>
              <a:gd name="T71" fmla="*/ 12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345" y="144"/>
                </a:moveTo>
                <a:cubicBezTo>
                  <a:pt x="350" y="144"/>
                  <a:pt x="353" y="141"/>
                  <a:pt x="353" y="136"/>
                </a:cubicBezTo>
                <a:cubicBezTo>
                  <a:pt x="353" y="104"/>
                  <a:pt x="353" y="104"/>
                  <a:pt x="353" y="104"/>
                </a:cubicBezTo>
                <a:cubicBezTo>
                  <a:pt x="353" y="101"/>
                  <a:pt x="351" y="99"/>
                  <a:pt x="349" y="97"/>
                </a:cubicBezTo>
                <a:cubicBezTo>
                  <a:pt x="349" y="97"/>
                  <a:pt x="349" y="97"/>
                  <a:pt x="349" y="97"/>
                </a:cubicBezTo>
                <a:cubicBezTo>
                  <a:pt x="180" y="1"/>
                  <a:pt x="180" y="1"/>
                  <a:pt x="180" y="1"/>
                </a:cubicBezTo>
                <a:cubicBezTo>
                  <a:pt x="180" y="1"/>
                  <a:pt x="180" y="1"/>
                  <a:pt x="180" y="1"/>
                </a:cubicBezTo>
                <a:cubicBezTo>
                  <a:pt x="179" y="0"/>
                  <a:pt x="178" y="0"/>
                  <a:pt x="176" y="0"/>
                </a:cubicBezTo>
                <a:cubicBezTo>
                  <a:pt x="175" y="0"/>
                  <a:pt x="174" y="0"/>
                  <a:pt x="173" y="1"/>
                </a:cubicBezTo>
                <a:cubicBezTo>
                  <a:pt x="173" y="1"/>
                  <a:pt x="173" y="1"/>
                  <a:pt x="173" y="1"/>
                </a:cubicBezTo>
                <a:cubicBezTo>
                  <a:pt x="4" y="97"/>
                  <a:pt x="4" y="97"/>
                  <a:pt x="4" y="97"/>
                </a:cubicBezTo>
                <a:cubicBezTo>
                  <a:pt x="4" y="97"/>
                  <a:pt x="4" y="97"/>
                  <a:pt x="4" y="97"/>
                </a:cubicBezTo>
                <a:cubicBezTo>
                  <a:pt x="2" y="99"/>
                  <a:pt x="0" y="101"/>
                  <a:pt x="0" y="104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41"/>
                  <a:pt x="3" y="144"/>
                  <a:pt x="8" y="144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4" y="289"/>
                  <a:pt x="24" y="289"/>
                  <a:pt x="24" y="289"/>
                </a:cubicBezTo>
                <a:cubicBezTo>
                  <a:pt x="20" y="289"/>
                  <a:pt x="18" y="291"/>
                  <a:pt x="16" y="294"/>
                </a:cubicBezTo>
                <a:cubicBezTo>
                  <a:pt x="16" y="294"/>
                  <a:pt x="16" y="294"/>
                  <a:pt x="16" y="294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3"/>
                  <a:pt x="0" y="344"/>
                  <a:pt x="0" y="345"/>
                </a:cubicBezTo>
                <a:cubicBezTo>
                  <a:pt x="0" y="349"/>
                  <a:pt x="3" y="353"/>
                  <a:pt x="8" y="353"/>
                </a:cubicBezTo>
                <a:cubicBezTo>
                  <a:pt x="345" y="353"/>
                  <a:pt x="345" y="353"/>
                  <a:pt x="345" y="353"/>
                </a:cubicBezTo>
                <a:cubicBezTo>
                  <a:pt x="350" y="353"/>
                  <a:pt x="353" y="349"/>
                  <a:pt x="353" y="345"/>
                </a:cubicBezTo>
                <a:cubicBezTo>
                  <a:pt x="353" y="344"/>
                  <a:pt x="353" y="343"/>
                  <a:pt x="353" y="342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5" y="291"/>
                  <a:pt x="333" y="289"/>
                  <a:pt x="329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21" y="144"/>
                  <a:pt x="321" y="144"/>
                  <a:pt x="321" y="144"/>
                </a:cubicBezTo>
                <a:lnTo>
                  <a:pt x="345" y="144"/>
                </a:lnTo>
                <a:close/>
                <a:moveTo>
                  <a:pt x="176" y="17"/>
                </a:moveTo>
                <a:cubicBezTo>
                  <a:pt x="315" y="96"/>
                  <a:pt x="315" y="96"/>
                  <a:pt x="315" y="96"/>
                </a:cubicBezTo>
                <a:cubicBezTo>
                  <a:pt x="38" y="96"/>
                  <a:pt x="38" y="96"/>
                  <a:pt x="38" y="96"/>
                </a:cubicBezTo>
                <a:lnTo>
                  <a:pt x="176" y="17"/>
                </a:lnTo>
                <a:close/>
                <a:moveTo>
                  <a:pt x="323" y="305"/>
                </a:moveTo>
                <a:cubicBezTo>
                  <a:pt x="334" y="337"/>
                  <a:pt x="334" y="337"/>
                  <a:pt x="334" y="337"/>
                </a:cubicBezTo>
                <a:cubicBezTo>
                  <a:pt x="19" y="337"/>
                  <a:pt x="19" y="337"/>
                  <a:pt x="19" y="337"/>
                </a:cubicBezTo>
                <a:cubicBezTo>
                  <a:pt x="30" y="305"/>
                  <a:pt x="30" y="305"/>
                  <a:pt x="30" y="305"/>
                </a:cubicBezTo>
                <a:lnTo>
                  <a:pt x="323" y="305"/>
                </a:lnTo>
                <a:close/>
                <a:moveTo>
                  <a:pt x="48" y="144"/>
                </a:moveTo>
                <a:cubicBezTo>
                  <a:pt x="80" y="144"/>
                  <a:pt x="80" y="144"/>
                  <a:pt x="80" y="144"/>
                </a:cubicBezTo>
                <a:cubicBezTo>
                  <a:pt x="80" y="289"/>
                  <a:pt x="80" y="289"/>
                  <a:pt x="80" y="289"/>
                </a:cubicBezTo>
                <a:cubicBezTo>
                  <a:pt x="48" y="289"/>
                  <a:pt x="48" y="289"/>
                  <a:pt x="48" y="289"/>
                </a:cubicBezTo>
                <a:lnTo>
                  <a:pt x="48" y="144"/>
                </a:lnTo>
                <a:close/>
                <a:moveTo>
                  <a:pt x="96" y="144"/>
                </a:moveTo>
                <a:cubicBezTo>
                  <a:pt x="128" y="144"/>
                  <a:pt x="128" y="144"/>
                  <a:pt x="128" y="144"/>
                </a:cubicBezTo>
                <a:cubicBezTo>
                  <a:pt x="128" y="289"/>
                  <a:pt x="128" y="289"/>
                  <a:pt x="128" y="289"/>
                </a:cubicBezTo>
                <a:cubicBezTo>
                  <a:pt x="96" y="289"/>
                  <a:pt x="96" y="289"/>
                  <a:pt x="96" y="289"/>
                </a:cubicBezTo>
                <a:lnTo>
                  <a:pt x="96" y="144"/>
                </a:lnTo>
                <a:close/>
                <a:moveTo>
                  <a:pt x="144" y="144"/>
                </a:moveTo>
                <a:cubicBezTo>
                  <a:pt x="209" y="144"/>
                  <a:pt x="209" y="144"/>
                  <a:pt x="209" y="14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144" y="289"/>
                  <a:pt x="144" y="289"/>
                  <a:pt x="144" y="289"/>
                </a:cubicBezTo>
                <a:lnTo>
                  <a:pt x="144" y="144"/>
                </a:lnTo>
                <a:close/>
                <a:moveTo>
                  <a:pt x="225" y="144"/>
                </a:moveTo>
                <a:cubicBezTo>
                  <a:pt x="257" y="144"/>
                  <a:pt x="257" y="144"/>
                  <a:pt x="257" y="144"/>
                </a:cubicBezTo>
                <a:cubicBezTo>
                  <a:pt x="257" y="289"/>
                  <a:pt x="257" y="289"/>
                  <a:pt x="257" y="289"/>
                </a:cubicBezTo>
                <a:cubicBezTo>
                  <a:pt x="225" y="289"/>
                  <a:pt x="225" y="289"/>
                  <a:pt x="225" y="289"/>
                </a:cubicBezTo>
                <a:lnTo>
                  <a:pt x="225" y="144"/>
                </a:lnTo>
                <a:close/>
                <a:moveTo>
                  <a:pt x="273" y="144"/>
                </a:moveTo>
                <a:cubicBezTo>
                  <a:pt x="305" y="144"/>
                  <a:pt x="305" y="144"/>
                  <a:pt x="305" y="144"/>
                </a:cubicBezTo>
                <a:cubicBezTo>
                  <a:pt x="305" y="289"/>
                  <a:pt x="305" y="289"/>
                  <a:pt x="305" y="289"/>
                </a:cubicBezTo>
                <a:cubicBezTo>
                  <a:pt x="273" y="289"/>
                  <a:pt x="273" y="289"/>
                  <a:pt x="273" y="289"/>
                </a:cubicBezTo>
                <a:lnTo>
                  <a:pt x="273" y="144"/>
                </a:lnTo>
                <a:close/>
                <a:moveTo>
                  <a:pt x="16" y="112"/>
                </a:moveTo>
                <a:cubicBezTo>
                  <a:pt x="337" y="112"/>
                  <a:pt x="337" y="112"/>
                  <a:pt x="337" y="112"/>
                </a:cubicBezTo>
                <a:cubicBezTo>
                  <a:pt x="337" y="128"/>
                  <a:pt x="337" y="128"/>
                  <a:pt x="337" y="128"/>
                </a:cubicBezTo>
                <a:cubicBezTo>
                  <a:pt x="16" y="128"/>
                  <a:pt x="16" y="128"/>
                  <a:pt x="16" y="128"/>
                </a:cubicBezTo>
                <a:lnTo>
                  <a:pt x="16" y="1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7" name="Freeform 77"/>
          <p:cNvSpPr>
            <a:spLocks noEditPoints="1"/>
          </p:cNvSpPr>
          <p:nvPr/>
        </p:nvSpPr>
        <p:spPr bwMode="auto">
          <a:xfrm>
            <a:off x="7551334" y="3042257"/>
            <a:ext cx="252859" cy="253790"/>
          </a:xfrm>
          <a:custGeom>
            <a:avLst/>
            <a:gdLst>
              <a:gd name="T0" fmla="*/ 48 w 353"/>
              <a:gd name="T1" fmla="*/ 121 h 354"/>
              <a:gd name="T2" fmla="*/ 96 w 353"/>
              <a:gd name="T3" fmla="*/ 121 h 354"/>
              <a:gd name="T4" fmla="*/ 72 w 353"/>
              <a:gd name="T5" fmla="*/ 129 h 354"/>
              <a:gd name="T6" fmla="*/ 72 w 353"/>
              <a:gd name="T7" fmla="*/ 113 h 354"/>
              <a:gd name="T8" fmla="*/ 72 w 353"/>
              <a:gd name="T9" fmla="*/ 129 h 354"/>
              <a:gd name="T10" fmla="*/ 174 w 353"/>
              <a:gd name="T11" fmla="*/ 223 h 354"/>
              <a:gd name="T12" fmla="*/ 193 w 353"/>
              <a:gd name="T13" fmla="*/ 201 h 354"/>
              <a:gd name="T14" fmla="*/ 179 w 353"/>
              <a:gd name="T15" fmla="*/ 195 h 354"/>
              <a:gd name="T16" fmla="*/ 160 w 353"/>
              <a:gd name="T17" fmla="*/ 217 h 354"/>
              <a:gd name="T18" fmla="*/ 351 w 353"/>
              <a:gd name="T19" fmla="*/ 163 h 354"/>
              <a:gd name="T20" fmla="*/ 185 w 353"/>
              <a:gd name="T21" fmla="*/ 0 h 354"/>
              <a:gd name="T22" fmla="*/ 48 w 353"/>
              <a:gd name="T23" fmla="*/ 25 h 354"/>
              <a:gd name="T24" fmla="*/ 64 w 353"/>
              <a:gd name="T25" fmla="*/ 25 h 354"/>
              <a:gd name="T26" fmla="*/ 181 w 353"/>
              <a:gd name="T27" fmla="*/ 16 h 354"/>
              <a:gd name="T28" fmla="*/ 315 w 353"/>
              <a:gd name="T29" fmla="*/ 187 h 354"/>
              <a:gd name="T30" fmla="*/ 321 w 353"/>
              <a:gd name="T31" fmla="*/ 201 h 354"/>
              <a:gd name="T32" fmla="*/ 351 w 353"/>
              <a:gd name="T33" fmla="*/ 175 h 354"/>
              <a:gd name="T34" fmla="*/ 351 w 353"/>
              <a:gd name="T35" fmla="*/ 163 h 354"/>
              <a:gd name="T36" fmla="*/ 136 w 353"/>
              <a:gd name="T37" fmla="*/ 257 h 354"/>
              <a:gd name="T38" fmla="*/ 150 w 353"/>
              <a:gd name="T39" fmla="*/ 247 h 354"/>
              <a:gd name="T40" fmla="*/ 144 w 353"/>
              <a:gd name="T41" fmla="*/ 233 h 354"/>
              <a:gd name="T42" fmla="*/ 131 w 353"/>
              <a:gd name="T43" fmla="*/ 244 h 354"/>
              <a:gd name="T44" fmla="*/ 142 w 353"/>
              <a:gd name="T45" fmla="*/ 51 h 354"/>
              <a:gd name="T46" fmla="*/ 24 w 353"/>
              <a:gd name="T47" fmla="*/ 49 h 354"/>
              <a:gd name="T48" fmla="*/ 0 w 353"/>
              <a:gd name="T49" fmla="*/ 185 h 354"/>
              <a:gd name="T50" fmla="*/ 163 w 353"/>
              <a:gd name="T51" fmla="*/ 351 h 354"/>
              <a:gd name="T52" fmla="*/ 174 w 353"/>
              <a:gd name="T53" fmla="*/ 351 h 354"/>
              <a:gd name="T54" fmla="*/ 305 w 353"/>
              <a:gd name="T55" fmla="*/ 217 h 354"/>
              <a:gd name="T56" fmla="*/ 142 w 353"/>
              <a:gd name="T57" fmla="*/ 51 h 354"/>
              <a:gd name="T58" fmla="*/ 16 w 353"/>
              <a:gd name="T59" fmla="*/ 182 h 354"/>
              <a:gd name="T60" fmla="*/ 24 w 353"/>
              <a:gd name="T61" fmla="*/ 65 h 354"/>
              <a:gd name="T62" fmla="*/ 286 w 353"/>
              <a:gd name="T63" fmla="*/ 217 h 354"/>
              <a:gd name="T64" fmla="*/ 168 w 353"/>
              <a:gd name="T65" fmla="*/ 289 h 354"/>
              <a:gd name="T66" fmla="*/ 206 w 353"/>
              <a:gd name="T67" fmla="*/ 255 h 354"/>
              <a:gd name="T68" fmla="*/ 201 w 353"/>
              <a:gd name="T69" fmla="*/ 241 h 354"/>
              <a:gd name="T70" fmla="*/ 163 w 353"/>
              <a:gd name="T71" fmla="*/ 276 h 354"/>
              <a:gd name="T72" fmla="*/ 168 w 353"/>
              <a:gd name="T73" fmla="*/ 28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53" h="354">
                <a:moveTo>
                  <a:pt x="72" y="97"/>
                </a:moveTo>
                <a:cubicBezTo>
                  <a:pt x="59" y="97"/>
                  <a:pt x="48" y="108"/>
                  <a:pt x="48" y="121"/>
                </a:cubicBezTo>
                <a:cubicBezTo>
                  <a:pt x="48" y="134"/>
                  <a:pt x="59" y="145"/>
                  <a:pt x="72" y="145"/>
                </a:cubicBezTo>
                <a:cubicBezTo>
                  <a:pt x="85" y="145"/>
                  <a:pt x="96" y="134"/>
                  <a:pt x="96" y="121"/>
                </a:cubicBezTo>
                <a:cubicBezTo>
                  <a:pt x="96" y="108"/>
                  <a:pt x="85" y="97"/>
                  <a:pt x="72" y="97"/>
                </a:cubicBezTo>
                <a:moveTo>
                  <a:pt x="72" y="129"/>
                </a:moveTo>
                <a:cubicBezTo>
                  <a:pt x="68" y="129"/>
                  <a:pt x="64" y="125"/>
                  <a:pt x="64" y="121"/>
                </a:cubicBezTo>
                <a:cubicBezTo>
                  <a:pt x="64" y="116"/>
                  <a:pt x="68" y="113"/>
                  <a:pt x="72" y="113"/>
                </a:cubicBezTo>
                <a:cubicBezTo>
                  <a:pt x="77" y="113"/>
                  <a:pt x="80" y="116"/>
                  <a:pt x="80" y="121"/>
                </a:cubicBezTo>
                <a:cubicBezTo>
                  <a:pt x="80" y="125"/>
                  <a:pt x="77" y="129"/>
                  <a:pt x="72" y="129"/>
                </a:cubicBezTo>
                <a:moveTo>
                  <a:pt x="168" y="225"/>
                </a:moveTo>
                <a:cubicBezTo>
                  <a:pt x="171" y="225"/>
                  <a:pt x="173" y="224"/>
                  <a:pt x="174" y="223"/>
                </a:cubicBezTo>
                <a:cubicBezTo>
                  <a:pt x="190" y="207"/>
                  <a:pt x="190" y="207"/>
                  <a:pt x="190" y="207"/>
                </a:cubicBezTo>
                <a:cubicBezTo>
                  <a:pt x="192" y="205"/>
                  <a:pt x="193" y="203"/>
                  <a:pt x="193" y="201"/>
                </a:cubicBezTo>
                <a:cubicBezTo>
                  <a:pt x="193" y="197"/>
                  <a:pt x="189" y="193"/>
                  <a:pt x="185" y="193"/>
                </a:cubicBezTo>
                <a:cubicBezTo>
                  <a:pt x="182" y="193"/>
                  <a:pt x="180" y="194"/>
                  <a:pt x="179" y="195"/>
                </a:cubicBezTo>
                <a:cubicBezTo>
                  <a:pt x="163" y="212"/>
                  <a:pt x="163" y="212"/>
                  <a:pt x="163" y="212"/>
                </a:cubicBezTo>
                <a:cubicBezTo>
                  <a:pt x="161" y="213"/>
                  <a:pt x="160" y="215"/>
                  <a:pt x="160" y="217"/>
                </a:cubicBezTo>
                <a:cubicBezTo>
                  <a:pt x="160" y="222"/>
                  <a:pt x="164" y="225"/>
                  <a:pt x="168" y="225"/>
                </a:cubicBezTo>
                <a:moveTo>
                  <a:pt x="351" y="163"/>
                </a:moveTo>
                <a:cubicBezTo>
                  <a:pt x="190" y="3"/>
                  <a:pt x="190" y="3"/>
                  <a:pt x="190" y="3"/>
                </a:cubicBezTo>
                <a:cubicBezTo>
                  <a:pt x="189" y="1"/>
                  <a:pt x="187" y="0"/>
                  <a:pt x="185" y="0"/>
                </a:cubicBezTo>
                <a:cubicBezTo>
                  <a:pt x="72" y="0"/>
                  <a:pt x="72" y="0"/>
                  <a:pt x="72" y="0"/>
                </a:cubicBezTo>
                <a:cubicBezTo>
                  <a:pt x="59" y="0"/>
                  <a:pt x="48" y="11"/>
                  <a:pt x="48" y="25"/>
                </a:cubicBezTo>
                <a:cubicBezTo>
                  <a:pt x="48" y="29"/>
                  <a:pt x="52" y="33"/>
                  <a:pt x="56" y="33"/>
                </a:cubicBezTo>
                <a:cubicBezTo>
                  <a:pt x="61" y="33"/>
                  <a:pt x="64" y="29"/>
                  <a:pt x="64" y="25"/>
                </a:cubicBezTo>
                <a:cubicBezTo>
                  <a:pt x="64" y="20"/>
                  <a:pt x="68" y="16"/>
                  <a:pt x="72" y="16"/>
                </a:cubicBezTo>
                <a:cubicBezTo>
                  <a:pt x="181" y="16"/>
                  <a:pt x="181" y="16"/>
                  <a:pt x="181" y="16"/>
                </a:cubicBezTo>
                <a:cubicBezTo>
                  <a:pt x="334" y="169"/>
                  <a:pt x="334" y="169"/>
                  <a:pt x="334" y="169"/>
                </a:cubicBezTo>
                <a:cubicBezTo>
                  <a:pt x="315" y="187"/>
                  <a:pt x="315" y="187"/>
                  <a:pt x="315" y="187"/>
                </a:cubicBezTo>
                <a:cubicBezTo>
                  <a:pt x="314" y="189"/>
                  <a:pt x="313" y="191"/>
                  <a:pt x="313" y="193"/>
                </a:cubicBezTo>
                <a:cubicBezTo>
                  <a:pt x="313" y="198"/>
                  <a:pt x="317" y="201"/>
                  <a:pt x="321" y="201"/>
                </a:cubicBezTo>
                <a:cubicBezTo>
                  <a:pt x="323" y="201"/>
                  <a:pt x="325" y="200"/>
                  <a:pt x="327" y="199"/>
                </a:cubicBezTo>
                <a:cubicBezTo>
                  <a:pt x="351" y="175"/>
                  <a:pt x="351" y="175"/>
                  <a:pt x="351" y="175"/>
                </a:cubicBezTo>
                <a:cubicBezTo>
                  <a:pt x="352" y="173"/>
                  <a:pt x="353" y="171"/>
                  <a:pt x="353" y="169"/>
                </a:cubicBezTo>
                <a:cubicBezTo>
                  <a:pt x="353" y="167"/>
                  <a:pt x="352" y="165"/>
                  <a:pt x="351" y="163"/>
                </a:cubicBezTo>
                <a:moveTo>
                  <a:pt x="128" y="249"/>
                </a:moveTo>
                <a:cubicBezTo>
                  <a:pt x="128" y="254"/>
                  <a:pt x="132" y="257"/>
                  <a:pt x="136" y="257"/>
                </a:cubicBezTo>
                <a:cubicBezTo>
                  <a:pt x="139" y="257"/>
                  <a:pt x="141" y="256"/>
                  <a:pt x="142" y="255"/>
                </a:cubicBezTo>
                <a:cubicBezTo>
                  <a:pt x="150" y="247"/>
                  <a:pt x="150" y="247"/>
                  <a:pt x="150" y="247"/>
                </a:cubicBezTo>
                <a:cubicBezTo>
                  <a:pt x="152" y="245"/>
                  <a:pt x="152" y="243"/>
                  <a:pt x="152" y="241"/>
                </a:cubicBezTo>
                <a:cubicBezTo>
                  <a:pt x="152" y="237"/>
                  <a:pt x="149" y="233"/>
                  <a:pt x="144" y="233"/>
                </a:cubicBezTo>
                <a:cubicBezTo>
                  <a:pt x="142" y="233"/>
                  <a:pt x="140" y="234"/>
                  <a:pt x="139" y="236"/>
                </a:cubicBezTo>
                <a:cubicBezTo>
                  <a:pt x="131" y="244"/>
                  <a:pt x="131" y="244"/>
                  <a:pt x="131" y="244"/>
                </a:cubicBezTo>
                <a:cubicBezTo>
                  <a:pt x="129" y="245"/>
                  <a:pt x="128" y="247"/>
                  <a:pt x="128" y="249"/>
                </a:cubicBezTo>
                <a:moveTo>
                  <a:pt x="142" y="51"/>
                </a:moveTo>
                <a:cubicBezTo>
                  <a:pt x="141" y="49"/>
                  <a:pt x="139" y="49"/>
                  <a:pt x="136" y="49"/>
                </a:cubicBezTo>
                <a:cubicBezTo>
                  <a:pt x="24" y="49"/>
                  <a:pt x="24" y="49"/>
                  <a:pt x="24" y="49"/>
                </a:cubicBezTo>
                <a:cubicBezTo>
                  <a:pt x="11" y="49"/>
                  <a:pt x="0" y="59"/>
                  <a:pt x="0" y="73"/>
                </a:cubicBezTo>
                <a:cubicBezTo>
                  <a:pt x="0" y="185"/>
                  <a:pt x="0" y="185"/>
                  <a:pt x="0" y="185"/>
                </a:cubicBezTo>
                <a:cubicBezTo>
                  <a:pt x="0" y="187"/>
                  <a:pt x="1" y="189"/>
                  <a:pt x="2" y="191"/>
                </a:cubicBezTo>
                <a:cubicBezTo>
                  <a:pt x="163" y="351"/>
                  <a:pt x="163" y="351"/>
                  <a:pt x="163" y="351"/>
                </a:cubicBezTo>
                <a:cubicBezTo>
                  <a:pt x="164" y="353"/>
                  <a:pt x="166" y="354"/>
                  <a:pt x="168" y="354"/>
                </a:cubicBezTo>
                <a:cubicBezTo>
                  <a:pt x="171" y="354"/>
                  <a:pt x="173" y="353"/>
                  <a:pt x="174" y="351"/>
                </a:cubicBezTo>
                <a:cubicBezTo>
                  <a:pt x="303" y="223"/>
                  <a:pt x="303" y="223"/>
                  <a:pt x="303" y="223"/>
                </a:cubicBezTo>
                <a:cubicBezTo>
                  <a:pt x="304" y="221"/>
                  <a:pt x="305" y="219"/>
                  <a:pt x="305" y="217"/>
                </a:cubicBezTo>
                <a:cubicBezTo>
                  <a:pt x="305" y="215"/>
                  <a:pt x="304" y="213"/>
                  <a:pt x="303" y="212"/>
                </a:cubicBezTo>
                <a:lnTo>
                  <a:pt x="142" y="51"/>
                </a:lnTo>
                <a:close/>
                <a:moveTo>
                  <a:pt x="168" y="334"/>
                </a:moveTo>
                <a:cubicBezTo>
                  <a:pt x="16" y="182"/>
                  <a:pt x="16" y="182"/>
                  <a:pt x="16" y="182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68"/>
                  <a:pt x="20" y="65"/>
                  <a:pt x="24" y="65"/>
                </a:cubicBezTo>
                <a:cubicBezTo>
                  <a:pt x="133" y="65"/>
                  <a:pt x="133" y="65"/>
                  <a:pt x="133" y="65"/>
                </a:cubicBezTo>
                <a:cubicBezTo>
                  <a:pt x="286" y="217"/>
                  <a:pt x="286" y="217"/>
                  <a:pt x="286" y="217"/>
                </a:cubicBezTo>
                <a:lnTo>
                  <a:pt x="168" y="334"/>
                </a:lnTo>
                <a:close/>
                <a:moveTo>
                  <a:pt x="168" y="289"/>
                </a:moveTo>
                <a:cubicBezTo>
                  <a:pt x="171" y="289"/>
                  <a:pt x="173" y="289"/>
                  <a:pt x="174" y="287"/>
                </a:cubicBezTo>
                <a:cubicBezTo>
                  <a:pt x="206" y="255"/>
                  <a:pt x="206" y="255"/>
                  <a:pt x="206" y="255"/>
                </a:cubicBezTo>
                <a:cubicBezTo>
                  <a:pt x="208" y="254"/>
                  <a:pt x="209" y="252"/>
                  <a:pt x="209" y="249"/>
                </a:cubicBezTo>
                <a:cubicBezTo>
                  <a:pt x="209" y="245"/>
                  <a:pt x="205" y="241"/>
                  <a:pt x="201" y="241"/>
                </a:cubicBezTo>
                <a:cubicBezTo>
                  <a:pt x="198" y="241"/>
                  <a:pt x="196" y="242"/>
                  <a:pt x="195" y="244"/>
                </a:cubicBezTo>
                <a:cubicBezTo>
                  <a:pt x="163" y="276"/>
                  <a:pt x="163" y="276"/>
                  <a:pt x="163" y="276"/>
                </a:cubicBezTo>
                <a:cubicBezTo>
                  <a:pt x="161" y="277"/>
                  <a:pt x="160" y="279"/>
                  <a:pt x="160" y="281"/>
                </a:cubicBezTo>
                <a:cubicBezTo>
                  <a:pt x="160" y="286"/>
                  <a:pt x="164" y="289"/>
                  <a:pt x="168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404513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árvore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2852515" y="2152459"/>
            <a:ext cx="3438970" cy="2991041"/>
            <a:chOff x="2852515" y="2152459"/>
            <a:chExt cx="3438970" cy="2991041"/>
          </a:xfrm>
        </p:grpSpPr>
        <p:sp>
          <p:nvSpPr>
            <p:cNvPr id="29" name="Freeform 40"/>
            <p:cNvSpPr>
              <a:spLocks/>
            </p:cNvSpPr>
            <p:nvPr/>
          </p:nvSpPr>
          <p:spPr bwMode="auto">
            <a:xfrm>
              <a:off x="4336750" y="2345660"/>
              <a:ext cx="461409" cy="1217543"/>
            </a:xfrm>
            <a:custGeom>
              <a:avLst/>
              <a:gdLst>
                <a:gd name="T0" fmla="*/ 332 w 664"/>
                <a:gd name="T1" fmla="*/ 0 h 1749"/>
                <a:gd name="T2" fmla="*/ 0 w 664"/>
                <a:gd name="T3" fmla="*/ 874 h 1749"/>
                <a:gd name="T4" fmla="*/ 332 w 664"/>
                <a:gd name="T5" fmla="*/ 1749 h 1749"/>
                <a:gd name="T6" fmla="*/ 664 w 664"/>
                <a:gd name="T7" fmla="*/ 874 h 1749"/>
                <a:gd name="T8" fmla="*/ 332 w 664"/>
                <a:gd name="T9" fmla="*/ 0 h 1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4" h="1749">
                  <a:moveTo>
                    <a:pt x="332" y="0"/>
                  </a:moveTo>
                  <a:cubicBezTo>
                    <a:pt x="125" y="233"/>
                    <a:pt x="0" y="539"/>
                    <a:pt x="0" y="874"/>
                  </a:cubicBezTo>
                  <a:cubicBezTo>
                    <a:pt x="0" y="1210"/>
                    <a:pt x="125" y="1516"/>
                    <a:pt x="332" y="1749"/>
                  </a:cubicBezTo>
                  <a:cubicBezTo>
                    <a:pt x="539" y="1516"/>
                    <a:pt x="664" y="1210"/>
                    <a:pt x="664" y="874"/>
                  </a:cubicBezTo>
                  <a:cubicBezTo>
                    <a:pt x="664" y="539"/>
                    <a:pt x="539" y="233"/>
                    <a:pt x="332" y="0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0" name="Freeform 41"/>
            <p:cNvSpPr>
              <a:spLocks/>
            </p:cNvSpPr>
            <p:nvPr/>
          </p:nvSpPr>
          <p:spPr bwMode="auto">
            <a:xfrm>
              <a:off x="3579858" y="2643416"/>
              <a:ext cx="696280" cy="1053891"/>
            </a:xfrm>
            <a:custGeom>
              <a:avLst/>
              <a:gdLst>
                <a:gd name="T0" fmla="*/ 63 w 1000"/>
                <a:gd name="T1" fmla="*/ 0 h 1514"/>
                <a:gd name="T2" fmla="*/ 212 w 1000"/>
                <a:gd name="T3" fmla="*/ 923 h 1514"/>
                <a:gd name="T4" fmla="*/ 937 w 1000"/>
                <a:gd name="T5" fmla="*/ 1514 h 1514"/>
                <a:gd name="T6" fmla="*/ 788 w 1000"/>
                <a:gd name="T7" fmla="*/ 591 h 1514"/>
                <a:gd name="T8" fmla="*/ 63 w 1000"/>
                <a:gd name="T9" fmla="*/ 0 h 1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0" h="1514">
                  <a:moveTo>
                    <a:pt x="63" y="0"/>
                  </a:moveTo>
                  <a:cubicBezTo>
                    <a:pt x="0" y="304"/>
                    <a:pt x="45" y="632"/>
                    <a:pt x="212" y="923"/>
                  </a:cubicBezTo>
                  <a:cubicBezTo>
                    <a:pt x="380" y="1213"/>
                    <a:pt x="642" y="1416"/>
                    <a:pt x="937" y="1514"/>
                  </a:cubicBezTo>
                  <a:cubicBezTo>
                    <a:pt x="1000" y="1209"/>
                    <a:pt x="955" y="881"/>
                    <a:pt x="788" y="591"/>
                  </a:cubicBezTo>
                  <a:cubicBezTo>
                    <a:pt x="620" y="300"/>
                    <a:pt x="358" y="98"/>
                    <a:pt x="63" y="0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1" name="Freeform 42"/>
            <p:cNvSpPr>
              <a:spLocks/>
            </p:cNvSpPr>
            <p:nvPr/>
          </p:nvSpPr>
          <p:spPr bwMode="auto">
            <a:xfrm>
              <a:off x="2955555" y="3329090"/>
              <a:ext cx="1053890" cy="696280"/>
            </a:xfrm>
            <a:custGeom>
              <a:avLst/>
              <a:gdLst>
                <a:gd name="T0" fmla="*/ 0 w 1515"/>
                <a:gd name="T1" fmla="*/ 63 h 1000"/>
                <a:gd name="T2" fmla="*/ 591 w 1515"/>
                <a:gd name="T3" fmla="*/ 788 h 1000"/>
                <a:gd name="T4" fmla="*/ 1515 w 1515"/>
                <a:gd name="T5" fmla="*/ 937 h 1000"/>
                <a:gd name="T6" fmla="*/ 923 w 1515"/>
                <a:gd name="T7" fmla="*/ 212 h 1000"/>
                <a:gd name="T8" fmla="*/ 0 w 1515"/>
                <a:gd name="T9" fmla="*/ 63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5" h="1000">
                  <a:moveTo>
                    <a:pt x="0" y="63"/>
                  </a:moveTo>
                  <a:cubicBezTo>
                    <a:pt x="98" y="358"/>
                    <a:pt x="301" y="620"/>
                    <a:pt x="591" y="788"/>
                  </a:cubicBezTo>
                  <a:cubicBezTo>
                    <a:pt x="882" y="955"/>
                    <a:pt x="1210" y="1000"/>
                    <a:pt x="1515" y="937"/>
                  </a:cubicBezTo>
                  <a:cubicBezTo>
                    <a:pt x="1416" y="642"/>
                    <a:pt x="1214" y="380"/>
                    <a:pt x="923" y="212"/>
                  </a:cubicBezTo>
                  <a:cubicBezTo>
                    <a:pt x="633" y="45"/>
                    <a:pt x="305" y="0"/>
                    <a:pt x="0" y="63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2" name="Freeform 44"/>
            <p:cNvSpPr>
              <a:spLocks/>
            </p:cNvSpPr>
            <p:nvPr/>
          </p:nvSpPr>
          <p:spPr bwMode="auto">
            <a:xfrm>
              <a:off x="4874681" y="2643416"/>
              <a:ext cx="695522" cy="1053891"/>
            </a:xfrm>
            <a:custGeom>
              <a:avLst/>
              <a:gdLst>
                <a:gd name="T0" fmla="*/ 213 w 1000"/>
                <a:gd name="T1" fmla="*/ 591 h 1514"/>
                <a:gd name="T2" fmla="*/ 63 w 1000"/>
                <a:gd name="T3" fmla="*/ 1514 h 1514"/>
                <a:gd name="T4" fmla="*/ 788 w 1000"/>
                <a:gd name="T5" fmla="*/ 923 h 1514"/>
                <a:gd name="T6" fmla="*/ 937 w 1000"/>
                <a:gd name="T7" fmla="*/ 0 h 1514"/>
                <a:gd name="T8" fmla="*/ 213 w 1000"/>
                <a:gd name="T9" fmla="*/ 591 h 1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0" h="1514">
                  <a:moveTo>
                    <a:pt x="213" y="591"/>
                  </a:moveTo>
                  <a:cubicBezTo>
                    <a:pt x="45" y="881"/>
                    <a:pt x="0" y="1209"/>
                    <a:pt x="63" y="1514"/>
                  </a:cubicBezTo>
                  <a:cubicBezTo>
                    <a:pt x="358" y="1416"/>
                    <a:pt x="620" y="1213"/>
                    <a:pt x="788" y="923"/>
                  </a:cubicBezTo>
                  <a:cubicBezTo>
                    <a:pt x="956" y="632"/>
                    <a:pt x="1000" y="304"/>
                    <a:pt x="937" y="0"/>
                  </a:cubicBezTo>
                  <a:cubicBezTo>
                    <a:pt x="642" y="98"/>
                    <a:pt x="380" y="300"/>
                    <a:pt x="213" y="591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33" name="Freeform 45"/>
            <p:cNvSpPr>
              <a:spLocks/>
            </p:cNvSpPr>
            <p:nvPr/>
          </p:nvSpPr>
          <p:spPr bwMode="auto">
            <a:xfrm>
              <a:off x="5141373" y="3329090"/>
              <a:ext cx="1053890" cy="696280"/>
            </a:xfrm>
            <a:custGeom>
              <a:avLst/>
              <a:gdLst>
                <a:gd name="T0" fmla="*/ 591 w 1514"/>
                <a:gd name="T1" fmla="*/ 212 h 1000"/>
                <a:gd name="T2" fmla="*/ 0 w 1514"/>
                <a:gd name="T3" fmla="*/ 937 h 1000"/>
                <a:gd name="T4" fmla="*/ 923 w 1514"/>
                <a:gd name="T5" fmla="*/ 788 h 1000"/>
                <a:gd name="T6" fmla="*/ 1514 w 1514"/>
                <a:gd name="T7" fmla="*/ 63 h 1000"/>
                <a:gd name="T8" fmla="*/ 591 w 1514"/>
                <a:gd name="T9" fmla="*/ 212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4" h="1000">
                  <a:moveTo>
                    <a:pt x="591" y="212"/>
                  </a:moveTo>
                  <a:cubicBezTo>
                    <a:pt x="300" y="380"/>
                    <a:pt x="98" y="642"/>
                    <a:pt x="0" y="937"/>
                  </a:cubicBezTo>
                  <a:cubicBezTo>
                    <a:pt x="304" y="1000"/>
                    <a:pt x="632" y="955"/>
                    <a:pt x="923" y="788"/>
                  </a:cubicBezTo>
                  <a:cubicBezTo>
                    <a:pt x="1214" y="620"/>
                    <a:pt x="1416" y="358"/>
                    <a:pt x="1514" y="63"/>
                  </a:cubicBezTo>
                  <a:cubicBezTo>
                    <a:pt x="1209" y="0"/>
                    <a:pt x="881" y="45"/>
                    <a:pt x="591" y="212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2852515" y="2152459"/>
              <a:ext cx="3438970" cy="1839691"/>
              <a:chOff x="2852515" y="2152459"/>
              <a:chExt cx="3438970" cy="1839691"/>
            </a:xfrm>
          </p:grpSpPr>
          <p:sp>
            <p:nvSpPr>
              <p:cNvPr id="13" name="Freeform 17"/>
              <p:cNvSpPr>
                <a:spLocks/>
              </p:cNvSpPr>
              <p:nvPr/>
            </p:nvSpPr>
            <p:spPr bwMode="auto">
              <a:xfrm>
                <a:off x="3404841" y="3139677"/>
                <a:ext cx="315182" cy="304575"/>
              </a:xfrm>
              <a:custGeom>
                <a:avLst/>
                <a:gdLst>
                  <a:gd name="T0" fmla="*/ 0 w 453"/>
                  <a:gd name="T1" fmla="*/ 0 h 437"/>
                  <a:gd name="T2" fmla="*/ 144 w 453"/>
                  <a:gd name="T3" fmla="*/ 304 h 437"/>
                  <a:gd name="T4" fmla="*/ 453 w 453"/>
                  <a:gd name="T5" fmla="*/ 437 h 437"/>
                  <a:gd name="T6" fmla="*/ 310 w 453"/>
                  <a:gd name="T7" fmla="*/ 132 h 437"/>
                  <a:gd name="T8" fmla="*/ 0 w 453"/>
                  <a:gd name="T9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437">
                    <a:moveTo>
                      <a:pt x="0" y="0"/>
                    </a:moveTo>
                    <a:cubicBezTo>
                      <a:pt x="9" y="111"/>
                      <a:pt x="57" y="220"/>
                      <a:pt x="144" y="304"/>
                    </a:cubicBezTo>
                    <a:cubicBezTo>
                      <a:pt x="230" y="388"/>
                      <a:pt x="341" y="432"/>
                      <a:pt x="453" y="437"/>
                    </a:cubicBezTo>
                    <a:cubicBezTo>
                      <a:pt x="444" y="325"/>
                      <a:pt x="396" y="216"/>
                      <a:pt x="310" y="132"/>
                    </a:cubicBezTo>
                    <a:cubicBezTo>
                      <a:pt x="223" y="48"/>
                      <a:pt x="112" y="4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4" name="Freeform 18"/>
              <p:cNvSpPr>
                <a:spLocks/>
              </p:cNvSpPr>
              <p:nvPr/>
            </p:nvSpPr>
            <p:spPr bwMode="auto">
              <a:xfrm>
                <a:off x="4088999" y="2662358"/>
                <a:ext cx="205323" cy="422011"/>
              </a:xfrm>
              <a:custGeom>
                <a:avLst/>
                <a:gdLst>
                  <a:gd name="T0" fmla="*/ 63 w 295"/>
                  <a:gd name="T1" fmla="*/ 0 h 606"/>
                  <a:gd name="T2" fmla="*/ 32 w 295"/>
                  <a:gd name="T3" fmla="*/ 336 h 606"/>
                  <a:gd name="T4" fmla="*/ 232 w 295"/>
                  <a:gd name="T5" fmla="*/ 606 h 606"/>
                  <a:gd name="T6" fmla="*/ 262 w 295"/>
                  <a:gd name="T7" fmla="*/ 271 h 606"/>
                  <a:gd name="T8" fmla="*/ 63 w 295"/>
                  <a:gd name="T9" fmla="*/ 0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606">
                    <a:moveTo>
                      <a:pt x="63" y="0"/>
                    </a:moveTo>
                    <a:cubicBezTo>
                      <a:pt x="14" y="101"/>
                      <a:pt x="0" y="219"/>
                      <a:pt x="32" y="336"/>
                    </a:cubicBezTo>
                    <a:cubicBezTo>
                      <a:pt x="65" y="452"/>
                      <a:pt x="138" y="546"/>
                      <a:pt x="232" y="606"/>
                    </a:cubicBezTo>
                    <a:cubicBezTo>
                      <a:pt x="281" y="506"/>
                      <a:pt x="295" y="388"/>
                      <a:pt x="262" y="271"/>
                    </a:cubicBezTo>
                    <a:cubicBezTo>
                      <a:pt x="230" y="155"/>
                      <a:pt x="157" y="61"/>
                      <a:pt x="63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5" name="Freeform 22"/>
              <p:cNvSpPr>
                <a:spLocks/>
              </p:cNvSpPr>
              <p:nvPr/>
            </p:nvSpPr>
            <p:spPr bwMode="auto">
              <a:xfrm>
                <a:off x="3319227" y="2588865"/>
                <a:ext cx="209111" cy="417465"/>
              </a:xfrm>
              <a:custGeom>
                <a:avLst/>
                <a:gdLst>
                  <a:gd name="T0" fmla="*/ 55 w 301"/>
                  <a:gd name="T1" fmla="*/ 0 h 600"/>
                  <a:gd name="T2" fmla="*/ 36 w 301"/>
                  <a:gd name="T3" fmla="*/ 336 h 600"/>
                  <a:gd name="T4" fmla="*/ 245 w 301"/>
                  <a:gd name="T5" fmla="*/ 600 h 600"/>
                  <a:gd name="T6" fmla="*/ 264 w 301"/>
                  <a:gd name="T7" fmla="*/ 264 h 600"/>
                  <a:gd name="T8" fmla="*/ 55 w 301"/>
                  <a:gd name="T9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1" h="600">
                    <a:moveTo>
                      <a:pt x="55" y="0"/>
                    </a:moveTo>
                    <a:cubicBezTo>
                      <a:pt x="10" y="102"/>
                      <a:pt x="0" y="221"/>
                      <a:pt x="36" y="336"/>
                    </a:cubicBezTo>
                    <a:cubicBezTo>
                      <a:pt x="73" y="451"/>
                      <a:pt x="149" y="542"/>
                      <a:pt x="245" y="600"/>
                    </a:cubicBezTo>
                    <a:cubicBezTo>
                      <a:pt x="291" y="497"/>
                      <a:pt x="301" y="379"/>
                      <a:pt x="264" y="264"/>
                    </a:cubicBezTo>
                    <a:cubicBezTo>
                      <a:pt x="228" y="149"/>
                      <a:pt x="152" y="57"/>
                      <a:pt x="5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6" name="Freeform 23"/>
              <p:cNvSpPr>
                <a:spLocks/>
              </p:cNvSpPr>
              <p:nvPr/>
            </p:nvSpPr>
            <p:spPr bwMode="auto">
              <a:xfrm>
                <a:off x="3032078" y="2790400"/>
                <a:ext cx="323516" cy="296241"/>
              </a:xfrm>
              <a:custGeom>
                <a:avLst/>
                <a:gdLst>
                  <a:gd name="T0" fmla="*/ 0 w 464"/>
                  <a:gd name="T1" fmla="*/ 0 h 425"/>
                  <a:gd name="T2" fmla="*/ 151 w 464"/>
                  <a:gd name="T3" fmla="*/ 301 h 425"/>
                  <a:gd name="T4" fmla="*/ 464 w 464"/>
                  <a:gd name="T5" fmla="*/ 425 h 425"/>
                  <a:gd name="T6" fmla="*/ 313 w 464"/>
                  <a:gd name="T7" fmla="*/ 125 h 425"/>
                  <a:gd name="T8" fmla="*/ 0 w 464"/>
                  <a:gd name="T9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4" h="425">
                    <a:moveTo>
                      <a:pt x="0" y="0"/>
                    </a:moveTo>
                    <a:cubicBezTo>
                      <a:pt x="12" y="112"/>
                      <a:pt x="62" y="219"/>
                      <a:pt x="151" y="301"/>
                    </a:cubicBezTo>
                    <a:cubicBezTo>
                      <a:pt x="240" y="382"/>
                      <a:pt x="352" y="424"/>
                      <a:pt x="464" y="425"/>
                    </a:cubicBezTo>
                    <a:cubicBezTo>
                      <a:pt x="453" y="314"/>
                      <a:pt x="402" y="206"/>
                      <a:pt x="313" y="125"/>
                    </a:cubicBezTo>
                    <a:cubicBezTo>
                      <a:pt x="224" y="43"/>
                      <a:pt x="112" y="2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7" name="Freeform 24"/>
              <p:cNvSpPr>
                <a:spLocks/>
              </p:cNvSpPr>
              <p:nvPr/>
            </p:nvSpPr>
            <p:spPr bwMode="auto">
              <a:xfrm>
                <a:off x="2852515" y="3076792"/>
                <a:ext cx="427314" cy="198504"/>
              </a:xfrm>
              <a:custGeom>
                <a:avLst/>
                <a:gdLst>
                  <a:gd name="T0" fmla="*/ 0 w 614"/>
                  <a:gd name="T1" fmla="*/ 75 h 286"/>
                  <a:gd name="T2" fmla="*/ 281 w 614"/>
                  <a:gd name="T3" fmla="*/ 259 h 286"/>
                  <a:gd name="T4" fmla="*/ 614 w 614"/>
                  <a:gd name="T5" fmla="*/ 211 h 286"/>
                  <a:gd name="T6" fmla="*/ 333 w 614"/>
                  <a:gd name="T7" fmla="*/ 26 h 286"/>
                  <a:gd name="T8" fmla="*/ 0 w 614"/>
                  <a:gd name="T9" fmla="*/ 75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4" h="286">
                    <a:moveTo>
                      <a:pt x="0" y="75"/>
                    </a:moveTo>
                    <a:cubicBezTo>
                      <a:pt x="65" y="166"/>
                      <a:pt x="163" y="233"/>
                      <a:pt x="281" y="259"/>
                    </a:cubicBezTo>
                    <a:cubicBezTo>
                      <a:pt x="399" y="286"/>
                      <a:pt x="516" y="265"/>
                      <a:pt x="614" y="211"/>
                    </a:cubicBezTo>
                    <a:cubicBezTo>
                      <a:pt x="548" y="120"/>
                      <a:pt x="450" y="52"/>
                      <a:pt x="333" y="26"/>
                    </a:cubicBezTo>
                    <a:cubicBezTo>
                      <a:pt x="215" y="0"/>
                      <a:pt x="97" y="20"/>
                      <a:pt x="0" y="7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8" name="Freeform 25"/>
              <p:cNvSpPr>
                <a:spLocks/>
              </p:cNvSpPr>
              <p:nvPr/>
            </p:nvSpPr>
            <p:spPr bwMode="auto">
              <a:xfrm>
                <a:off x="4223102" y="2152459"/>
                <a:ext cx="202293" cy="424284"/>
              </a:xfrm>
              <a:custGeom>
                <a:avLst/>
                <a:gdLst>
                  <a:gd name="T0" fmla="*/ 223 w 291"/>
                  <a:gd name="T1" fmla="*/ 0 h 610"/>
                  <a:gd name="T2" fmla="*/ 30 w 291"/>
                  <a:gd name="T3" fmla="*/ 276 h 610"/>
                  <a:gd name="T4" fmla="*/ 68 w 291"/>
                  <a:gd name="T5" fmla="*/ 610 h 610"/>
                  <a:gd name="T6" fmla="*/ 261 w 291"/>
                  <a:gd name="T7" fmla="*/ 334 h 610"/>
                  <a:gd name="T8" fmla="*/ 223 w 291"/>
                  <a:gd name="T9" fmla="*/ 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610">
                    <a:moveTo>
                      <a:pt x="223" y="0"/>
                    </a:moveTo>
                    <a:cubicBezTo>
                      <a:pt x="130" y="63"/>
                      <a:pt x="59" y="159"/>
                      <a:pt x="30" y="276"/>
                    </a:cubicBezTo>
                    <a:cubicBezTo>
                      <a:pt x="0" y="393"/>
                      <a:pt x="17" y="511"/>
                      <a:pt x="68" y="610"/>
                    </a:cubicBezTo>
                    <a:cubicBezTo>
                      <a:pt x="161" y="547"/>
                      <a:pt x="232" y="452"/>
                      <a:pt x="261" y="334"/>
                    </a:cubicBezTo>
                    <a:cubicBezTo>
                      <a:pt x="291" y="217"/>
                      <a:pt x="274" y="100"/>
                      <a:pt x="223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9" name="Freeform 26"/>
              <p:cNvSpPr>
                <a:spLocks/>
              </p:cNvSpPr>
              <p:nvPr/>
            </p:nvSpPr>
            <p:spPr bwMode="auto">
              <a:xfrm>
                <a:off x="3951864" y="2153974"/>
                <a:ext cx="206081" cy="421253"/>
              </a:xfrm>
              <a:custGeom>
                <a:avLst/>
                <a:gdLst>
                  <a:gd name="T0" fmla="*/ 62 w 296"/>
                  <a:gd name="T1" fmla="*/ 0 h 605"/>
                  <a:gd name="T2" fmla="*/ 33 w 296"/>
                  <a:gd name="T3" fmla="*/ 335 h 605"/>
                  <a:gd name="T4" fmla="*/ 234 w 296"/>
                  <a:gd name="T5" fmla="*/ 605 h 605"/>
                  <a:gd name="T6" fmla="*/ 263 w 296"/>
                  <a:gd name="T7" fmla="*/ 270 h 605"/>
                  <a:gd name="T8" fmla="*/ 62 w 296"/>
                  <a:gd name="T9" fmla="*/ 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6" h="605">
                    <a:moveTo>
                      <a:pt x="62" y="0"/>
                    </a:moveTo>
                    <a:cubicBezTo>
                      <a:pt x="13" y="100"/>
                      <a:pt x="0" y="219"/>
                      <a:pt x="33" y="335"/>
                    </a:cubicBezTo>
                    <a:cubicBezTo>
                      <a:pt x="66" y="451"/>
                      <a:pt x="139" y="545"/>
                      <a:pt x="234" y="605"/>
                    </a:cubicBezTo>
                    <a:cubicBezTo>
                      <a:pt x="282" y="504"/>
                      <a:pt x="296" y="386"/>
                      <a:pt x="263" y="270"/>
                    </a:cubicBezTo>
                    <a:cubicBezTo>
                      <a:pt x="230" y="154"/>
                      <a:pt x="157" y="60"/>
                      <a:pt x="62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0" name="Freeform 27"/>
              <p:cNvSpPr>
                <a:spLocks/>
              </p:cNvSpPr>
              <p:nvPr/>
            </p:nvSpPr>
            <p:spPr bwMode="auto">
              <a:xfrm>
                <a:off x="3663200" y="2345660"/>
                <a:ext cx="314425" cy="306091"/>
              </a:xfrm>
              <a:custGeom>
                <a:avLst/>
                <a:gdLst>
                  <a:gd name="T0" fmla="*/ 0 w 451"/>
                  <a:gd name="T1" fmla="*/ 0 h 439"/>
                  <a:gd name="T2" fmla="*/ 142 w 451"/>
                  <a:gd name="T3" fmla="*/ 305 h 439"/>
                  <a:gd name="T4" fmla="*/ 451 w 451"/>
                  <a:gd name="T5" fmla="*/ 439 h 439"/>
                  <a:gd name="T6" fmla="*/ 309 w 451"/>
                  <a:gd name="T7" fmla="*/ 134 h 439"/>
                  <a:gd name="T8" fmla="*/ 0 w 451"/>
                  <a:gd name="T9" fmla="*/ 0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1" h="439">
                    <a:moveTo>
                      <a:pt x="0" y="0"/>
                    </a:moveTo>
                    <a:cubicBezTo>
                      <a:pt x="8" y="112"/>
                      <a:pt x="56" y="221"/>
                      <a:pt x="142" y="305"/>
                    </a:cubicBezTo>
                    <a:cubicBezTo>
                      <a:pt x="229" y="389"/>
                      <a:pt x="339" y="434"/>
                      <a:pt x="451" y="439"/>
                    </a:cubicBezTo>
                    <a:cubicBezTo>
                      <a:pt x="443" y="327"/>
                      <a:pt x="396" y="218"/>
                      <a:pt x="309" y="134"/>
                    </a:cubicBezTo>
                    <a:cubicBezTo>
                      <a:pt x="222" y="49"/>
                      <a:pt x="112" y="5"/>
                      <a:pt x="0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1" name="Freeform 29"/>
              <p:cNvSpPr>
                <a:spLocks/>
              </p:cNvSpPr>
              <p:nvPr/>
            </p:nvSpPr>
            <p:spPr bwMode="auto">
              <a:xfrm>
                <a:off x="5423219" y="3139677"/>
                <a:ext cx="315182" cy="304575"/>
              </a:xfrm>
              <a:custGeom>
                <a:avLst/>
                <a:gdLst>
                  <a:gd name="T0" fmla="*/ 143 w 453"/>
                  <a:gd name="T1" fmla="*/ 132 h 437"/>
                  <a:gd name="T2" fmla="*/ 0 w 453"/>
                  <a:gd name="T3" fmla="*/ 437 h 437"/>
                  <a:gd name="T4" fmla="*/ 309 w 453"/>
                  <a:gd name="T5" fmla="*/ 304 h 437"/>
                  <a:gd name="T6" fmla="*/ 453 w 453"/>
                  <a:gd name="T7" fmla="*/ 0 h 437"/>
                  <a:gd name="T8" fmla="*/ 143 w 453"/>
                  <a:gd name="T9" fmla="*/ 132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3" h="437">
                    <a:moveTo>
                      <a:pt x="143" y="132"/>
                    </a:moveTo>
                    <a:cubicBezTo>
                      <a:pt x="57" y="216"/>
                      <a:pt x="9" y="325"/>
                      <a:pt x="0" y="437"/>
                    </a:cubicBezTo>
                    <a:cubicBezTo>
                      <a:pt x="112" y="432"/>
                      <a:pt x="223" y="388"/>
                      <a:pt x="309" y="304"/>
                    </a:cubicBezTo>
                    <a:cubicBezTo>
                      <a:pt x="396" y="220"/>
                      <a:pt x="444" y="111"/>
                      <a:pt x="453" y="0"/>
                    </a:cubicBezTo>
                    <a:cubicBezTo>
                      <a:pt x="341" y="4"/>
                      <a:pt x="230" y="48"/>
                      <a:pt x="143" y="132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2" name="Freeform 30"/>
              <p:cNvSpPr>
                <a:spLocks/>
              </p:cNvSpPr>
              <p:nvPr/>
            </p:nvSpPr>
            <p:spPr bwMode="auto">
              <a:xfrm>
                <a:off x="4849679" y="2662358"/>
                <a:ext cx="204565" cy="422011"/>
              </a:xfrm>
              <a:custGeom>
                <a:avLst/>
                <a:gdLst>
                  <a:gd name="T0" fmla="*/ 33 w 295"/>
                  <a:gd name="T1" fmla="*/ 271 h 606"/>
                  <a:gd name="T2" fmla="*/ 63 w 295"/>
                  <a:gd name="T3" fmla="*/ 606 h 606"/>
                  <a:gd name="T4" fmla="*/ 263 w 295"/>
                  <a:gd name="T5" fmla="*/ 336 h 606"/>
                  <a:gd name="T6" fmla="*/ 232 w 295"/>
                  <a:gd name="T7" fmla="*/ 0 h 606"/>
                  <a:gd name="T8" fmla="*/ 33 w 295"/>
                  <a:gd name="T9" fmla="*/ 271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606">
                    <a:moveTo>
                      <a:pt x="33" y="271"/>
                    </a:moveTo>
                    <a:cubicBezTo>
                      <a:pt x="0" y="388"/>
                      <a:pt x="14" y="506"/>
                      <a:pt x="63" y="606"/>
                    </a:cubicBezTo>
                    <a:cubicBezTo>
                      <a:pt x="157" y="546"/>
                      <a:pt x="230" y="452"/>
                      <a:pt x="263" y="336"/>
                    </a:cubicBezTo>
                    <a:cubicBezTo>
                      <a:pt x="295" y="219"/>
                      <a:pt x="281" y="101"/>
                      <a:pt x="232" y="0"/>
                    </a:cubicBezTo>
                    <a:cubicBezTo>
                      <a:pt x="138" y="61"/>
                      <a:pt x="65" y="155"/>
                      <a:pt x="33" y="27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3" name="Freeform 34"/>
              <p:cNvSpPr>
                <a:spLocks/>
              </p:cNvSpPr>
              <p:nvPr/>
            </p:nvSpPr>
            <p:spPr bwMode="auto">
              <a:xfrm>
                <a:off x="5614904" y="2588865"/>
                <a:ext cx="209111" cy="417465"/>
              </a:xfrm>
              <a:custGeom>
                <a:avLst/>
                <a:gdLst>
                  <a:gd name="T0" fmla="*/ 37 w 301"/>
                  <a:gd name="T1" fmla="*/ 264 h 600"/>
                  <a:gd name="T2" fmla="*/ 56 w 301"/>
                  <a:gd name="T3" fmla="*/ 600 h 600"/>
                  <a:gd name="T4" fmla="*/ 265 w 301"/>
                  <a:gd name="T5" fmla="*/ 336 h 600"/>
                  <a:gd name="T6" fmla="*/ 246 w 301"/>
                  <a:gd name="T7" fmla="*/ 0 h 600"/>
                  <a:gd name="T8" fmla="*/ 37 w 301"/>
                  <a:gd name="T9" fmla="*/ 264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1" h="600">
                    <a:moveTo>
                      <a:pt x="37" y="264"/>
                    </a:moveTo>
                    <a:cubicBezTo>
                      <a:pt x="0" y="379"/>
                      <a:pt x="10" y="497"/>
                      <a:pt x="56" y="600"/>
                    </a:cubicBezTo>
                    <a:cubicBezTo>
                      <a:pt x="152" y="542"/>
                      <a:pt x="228" y="451"/>
                      <a:pt x="265" y="336"/>
                    </a:cubicBezTo>
                    <a:cubicBezTo>
                      <a:pt x="301" y="221"/>
                      <a:pt x="291" y="102"/>
                      <a:pt x="246" y="0"/>
                    </a:cubicBezTo>
                    <a:cubicBezTo>
                      <a:pt x="149" y="57"/>
                      <a:pt x="73" y="149"/>
                      <a:pt x="37" y="264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4" name="Freeform 35"/>
              <p:cNvSpPr>
                <a:spLocks/>
              </p:cNvSpPr>
              <p:nvPr/>
            </p:nvSpPr>
            <p:spPr bwMode="auto">
              <a:xfrm>
                <a:off x="5787648" y="2790400"/>
                <a:ext cx="323516" cy="296241"/>
              </a:xfrm>
              <a:custGeom>
                <a:avLst/>
                <a:gdLst>
                  <a:gd name="T0" fmla="*/ 151 w 464"/>
                  <a:gd name="T1" fmla="*/ 125 h 425"/>
                  <a:gd name="T2" fmla="*/ 0 w 464"/>
                  <a:gd name="T3" fmla="*/ 425 h 425"/>
                  <a:gd name="T4" fmla="*/ 313 w 464"/>
                  <a:gd name="T5" fmla="*/ 301 h 425"/>
                  <a:gd name="T6" fmla="*/ 464 w 464"/>
                  <a:gd name="T7" fmla="*/ 0 h 425"/>
                  <a:gd name="T8" fmla="*/ 151 w 464"/>
                  <a:gd name="T9" fmla="*/ 125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4" h="425">
                    <a:moveTo>
                      <a:pt x="151" y="125"/>
                    </a:moveTo>
                    <a:cubicBezTo>
                      <a:pt x="62" y="206"/>
                      <a:pt x="11" y="314"/>
                      <a:pt x="0" y="425"/>
                    </a:cubicBezTo>
                    <a:cubicBezTo>
                      <a:pt x="112" y="424"/>
                      <a:pt x="224" y="382"/>
                      <a:pt x="313" y="301"/>
                    </a:cubicBezTo>
                    <a:cubicBezTo>
                      <a:pt x="402" y="219"/>
                      <a:pt x="452" y="112"/>
                      <a:pt x="464" y="0"/>
                    </a:cubicBezTo>
                    <a:cubicBezTo>
                      <a:pt x="352" y="2"/>
                      <a:pt x="240" y="43"/>
                      <a:pt x="151" y="125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5" name="Freeform 36"/>
              <p:cNvSpPr>
                <a:spLocks/>
              </p:cNvSpPr>
              <p:nvPr/>
            </p:nvSpPr>
            <p:spPr bwMode="auto">
              <a:xfrm>
                <a:off x="5864171" y="3076792"/>
                <a:ext cx="427314" cy="198504"/>
              </a:xfrm>
              <a:custGeom>
                <a:avLst/>
                <a:gdLst>
                  <a:gd name="T0" fmla="*/ 282 w 614"/>
                  <a:gd name="T1" fmla="*/ 26 h 286"/>
                  <a:gd name="T2" fmla="*/ 0 w 614"/>
                  <a:gd name="T3" fmla="*/ 211 h 286"/>
                  <a:gd name="T4" fmla="*/ 333 w 614"/>
                  <a:gd name="T5" fmla="*/ 259 h 286"/>
                  <a:gd name="T6" fmla="*/ 614 w 614"/>
                  <a:gd name="T7" fmla="*/ 75 h 286"/>
                  <a:gd name="T8" fmla="*/ 282 w 614"/>
                  <a:gd name="T9" fmla="*/ 26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4" h="286">
                    <a:moveTo>
                      <a:pt x="282" y="26"/>
                    </a:moveTo>
                    <a:cubicBezTo>
                      <a:pt x="164" y="52"/>
                      <a:pt x="66" y="120"/>
                      <a:pt x="0" y="211"/>
                    </a:cubicBezTo>
                    <a:cubicBezTo>
                      <a:pt x="98" y="265"/>
                      <a:pt x="215" y="286"/>
                      <a:pt x="333" y="259"/>
                    </a:cubicBezTo>
                    <a:cubicBezTo>
                      <a:pt x="451" y="233"/>
                      <a:pt x="549" y="166"/>
                      <a:pt x="614" y="75"/>
                    </a:cubicBezTo>
                    <a:cubicBezTo>
                      <a:pt x="517" y="20"/>
                      <a:pt x="399" y="0"/>
                      <a:pt x="282" y="26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6" name="Freeform 37"/>
              <p:cNvSpPr>
                <a:spLocks/>
              </p:cNvSpPr>
              <p:nvPr/>
            </p:nvSpPr>
            <p:spPr bwMode="auto">
              <a:xfrm>
                <a:off x="4717848" y="2152459"/>
                <a:ext cx="202293" cy="424284"/>
              </a:xfrm>
              <a:custGeom>
                <a:avLst/>
                <a:gdLst>
                  <a:gd name="T0" fmla="*/ 30 w 291"/>
                  <a:gd name="T1" fmla="*/ 334 h 610"/>
                  <a:gd name="T2" fmla="*/ 223 w 291"/>
                  <a:gd name="T3" fmla="*/ 610 h 610"/>
                  <a:gd name="T4" fmla="*/ 261 w 291"/>
                  <a:gd name="T5" fmla="*/ 276 h 610"/>
                  <a:gd name="T6" fmla="*/ 68 w 291"/>
                  <a:gd name="T7" fmla="*/ 0 h 610"/>
                  <a:gd name="T8" fmla="*/ 30 w 291"/>
                  <a:gd name="T9" fmla="*/ 334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610">
                    <a:moveTo>
                      <a:pt x="30" y="334"/>
                    </a:moveTo>
                    <a:cubicBezTo>
                      <a:pt x="59" y="452"/>
                      <a:pt x="130" y="547"/>
                      <a:pt x="223" y="610"/>
                    </a:cubicBezTo>
                    <a:cubicBezTo>
                      <a:pt x="274" y="511"/>
                      <a:pt x="291" y="393"/>
                      <a:pt x="261" y="276"/>
                    </a:cubicBezTo>
                    <a:cubicBezTo>
                      <a:pt x="232" y="159"/>
                      <a:pt x="161" y="63"/>
                      <a:pt x="68" y="0"/>
                    </a:cubicBezTo>
                    <a:cubicBezTo>
                      <a:pt x="17" y="100"/>
                      <a:pt x="0" y="217"/>
                      <a:pt x="30" y="334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7" name="Freeform 38"/>
              <p:cNvSpPr>
                <a:spLocks/>
              </p:cNvSpPr>
              <p:nvPr/>
            </p:nvSpPr>
            <p:spPr bwMode="auto">
              <a:xfrm>
                <a:off x="4986055" y="2153974"/>
                <a:ext cx="205323" cy="421253"/>
              </a:xfrm>
              <a:custGeom>
                <a:avLst/>
                <a:gdLst>
                  <a:gd name="T0" fmla="*/ 33 w 296"/>
                  <a:gd name="T1" fmla="*/ 270 h 605"/>
                  <a:gd name="T2" fmla="*/ 62 w 296"/>
                  <a:gd name="T3" fmla="*/ 605 h 605"/>
                  <a:gd name="T4" fmla="*/ 263 w 296"/>
                  <a:gd name="T5" fmla="*/ 335 h 605"/>
                  <a:gd name="T6" fmla="*/ 234 w 296"/>
                  <a:gd name="T7" fmla="*/ 0 h 605"/>
                  <a:gd name="T8" fmla="*/ 33 w 296"/>
                  <a:gd name="T9" fmla="*/ 270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6" h="605">
                    <a:moveTo>
                      <a:pt x="33" y="270"/>
                    </a:moveTo>
                    <a:cubicBezTo>
                      <a:pt x="0" y="386"/>
                      <a:pt x="14" y="504"/>
                      <a:pt x="62" y="605"/>
                    </a:cubicBezTo>
                    <a:cubicBezTo>
                      <a:pt x="157" y="545"/>
                      <a:pt x="230" y="451"/>
                      <a:pt x="263" y="335"/>
                    </a:cubicBezTo>
                    <a:cubicBezTo>
                      <a:pt x="296" y="219"/>
                      <a:pt x="283" y="100"/>
                      <a:pt x="234" y="0"/>
                    </a:cubicBezTo>
                    <a:cubicBezTo>
                      <a:pt x="139" y="60"/>
                      <a:pt x="66" y="154"/>
                      <a:pt x="33" y="27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8" name="Freeform 39"/>
              <p:cNvSpPr>
                <a:spLocks/>
              </p:cNvSpPr>
              <p:nvPr/>
            </p:nvSpPr>
            <p:spPr bwMode="auto">
              <a:xfrm>
                <a:off x="5165618" y="2345660"/>
                <a:ext cx="314425" cy="306091"/>
              </a:xfrm>
              <a:custGeom>
                <a:avLst/>
                <a:gdLst>
                  <a:gd name="T0" fmla="*/ 142 w 451"/>
                  <a:gd name="T1" fmla="*/ 134 h 439"/>
                  <a:gd name="T2" fmla="*/ 0 w 451"/>
                  <a:gd name="T3" fmla="*/ 439 h 439"/>
                  <a:gd name="T4" fmla="*/ 309 w 451"/>
                  <a:gd name="T5" fmla="*/ 305 h 439"/>
                  <a:gd name="T6" fmla="*/ 451 w 451"/>
                  <a:gd name="T7" fmla="*/ 0 h 439"/>
                  <a:gd name="T8" fmla="*/ 142 w 451"/>
                  <a:gd name="T9" fmla="*/ 134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1" h="439">
                    <a:moveTo>
                      <a:pt x="142" y="134"/>
                    </a:moveTo>
                    <a:cubicBezTo>
                      <a:pt x="55" y="218"/>
                      <a:pt x="8" y="327"/>
                      <a:pt x="0" y="439"/>
                    </a:cubicBezTo>
                    <a:cubicBezTo>
                      <a:pt x="112" y="434"/>
                      <a:pt x="222" y="389"/>
                      <a:pt x="309" y="305"/>
                    </a:cubicBezTo>
                    <a:cubicBezTo>
                      <a:pt x="395" y="221"/>
                      <a:pt x="443" y="112"/>
                      <a:pt x="451" y="0"/>
                    </a:cubicBezTo>
                    <a:cubicBezTo>
                      <a:pt x="339" y="5"/>
                      <a:pt x="229" y="49"/>
                      <a:pt x="142" y="134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4" name="Freeform 30"/>
              <p:cNvSpPr>
                <a:spLocks/>
              </p:cNvSpPr>
              <p:nvPr/>
            </p:nvSpPr>
            <p:spPr bwMode="auto">
              <a:xfrm>
                <a:off x="4625414" y="3549736"/>
                <a:ext cx="204565" cy="422011"/>
              </a:xfrm>
              <a:custGeom>
                <a:avLst/>
                <a:gdLst>
                  <a:gd name="T0" fmla="*/ 33 w 295"/>
                  <a:gd name="T1" fmla="*/ 271 h 606"/>
                  <a:gd name="T2" fmla="*/ 63 w 295"/>
                  <a:gd name="T3" fmla="*/ 606 h 606"/>
                  <a:gd name="T4" fmla="*/ 263 w 295"/>
                  <a:gd name="T5" fmla="*/ 336 h 606"/>
                  <a:gd name="T6" fmla="*/ 232 w 295"/>
                  <a:gd name="T7" fmla="*/ 0 h 606"/>
                  <a:gd name="T8" fmla="*/ 33 w 295"/>
                  <a:gd name="T9" fmla="*/ 271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606">
                    <a:moveTo>
                      <a:pt x="33" y="271"/>
                    </a:moveTo>
                    <a:cubicBezTo>
                      <a:pt x="0" y="388"/>
                      <a:pt x="14" y="506"/>
                      <a:pt x="63" y="606"/>
                    </a:cubicBezTo>
                    <a:cubicBezTo>
                      <a:pt x="157" y="546"/>
                      <a:pt x="230" y="452"/>
                      <a:pt x="263" y="336"/>
                    </a:cubicBezTo>
                    <a:cubicBezTo>
                      <a:pt x="295" y="219"/>
                      <a:pt x="281" y="101"/>
                      <a:pt x="232" y="0"/>
                    </a:cubicBezTo>
                    <a:cubicBezTo>
                      <a:pt x="138" y="61"/>
                      <a:pt x="65" y="155"/>
                      <a:pt x="33" y="27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35" name="Freeform 18"/>
              <p:cNvSpPr>
                <a:spLocks/>
              </p:cNvSpPr>
              <p:nvPr/>
            </p:nvSpPr>
            <p:spPr bwMode="auto">
              <a:xfrm>
                <a:off x="4387422" y="3570139"/>
                <a:ext cx="205323" cy="422011"/>
              </a:xfrm>
              <a:custGeom>
                <a:avLst/>
                <a:gdLst>
                  <a:gd name="T0" fmla="*/ 63 w 295"/>
                  <a:gd name="T1" fmla="*/ 0 h 606"/>
                  <a:gd name="T2" fmla="*/ 32 w 295"/>
                  <a:gd name="T3" fmla="*/ 336 h 606"/>
                  <a:gd name="T4" fmla="*/ 232 w 295"/>
                  <a:gd name="T5" fmla="*/ 606 h 606"/>
                  <a:gd name="T6" fmla="*/ 262 w 295"/>
                  <a:gd name="T7" fmla="*/ 271 h 606"/>
                  <a:gd name="T8" fmla="*/ 63 w 295"/>
                  <a:gd name="T9" fmla="*/ 0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606">
                    <a:moveTo>
                      <a:pt x="63" y="0"/>
                    </a:moveTo>
                    <a:cubicBezTo>
                      <a:pt x="14" y="101"/>
                      <a:pt x="0" y="219"/>
                      <a:pt x="32" y="336"/>
                    </a:cubicBezTo>
                    <a:cubicBezTo>
                      <a:pt x="65" y="452"/>
                      <a:pt x="138" y="546"/>
                      <a:pt x="232" y="606"/>
                    </a:cubicBezTo>
                    <a:cubicBezTo>
                      <a:pt x="281" y="506"/>
                      <a:pt x="295" y="388"/>
                      <a:pt x="262" y="271"/>
                    </a:cubicBezTo>
                    <a:cubicBezTo>
                      <a:pt x="230" y="155"/>
                      <a:pt x="157" y="61"/>
                      <a:pt x="63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sp>
          <p:nvSpPr>
            <p:cNvPr id="12" name="Freeform 47"/>
            <p:cNvSpPr>
              <a:spLocks/>
            </p:cNvSpPr>
            <p:nvPr/>
          </p:nvSpPr>
          <p:spPr bwMode="auto">
            <a:xfrm>
              <a:off x="4230159" y="3816345"/>
              <a:ext cx="729274" cy="1327155"/>
            </a:xfrm>
            <a:custGeom>
              <a:avLst/>
              <a:gdLst>
                <a:gd name="T0" fmla="*/ 0 w 1142"/>
                <a:gd name="T1" fmla="*/ 0 h 2078"/>
                <a:gd name="T2" fmla="*/ 383 w 1142"/>
                <a:gd name="T3" fmla="*/ 1096 h 2078"/>
                <a:gd name="T4" fmla="*/ 220 w 1142"/>
                <a:gd name="T5" fmla="*/ 2078 h 2078"/>
                <a:gd name="T6" fmla="*/ 848 w 1142"/>
                <a:gd name="T7" fmla="*/ 2078 h 2078"/>
                <a:gd name="T8" fmla="*/ 874 w 1142"/>
                <a:gd name="T9" fmla="*/ 1679 h 2078"/>
                <a:gd name="T10" fmla="*/ 782 w 1142"/>
                <a:gd name="T11" fmla="*/ 959 h 2078"/>
                <a:gd name="T12" fmla="*/ 1142 w 1142"/>
                <a:gd name="T13" fmla="*/ 111 h 2078"/>
                <a:gd name="T14" fmla="*/ 797 w 1142"/>
                <a:gd name="T15" fmla="*/ 308 h 2078"/>
                <a:gd name="T16" fmla="*/ 553 w 1142"/>
                <a:gd name="T17" fmla="*/ 568 h 2078"/>
                <a:gd name="T18" fmla="*/ 359 w 1142"/>
                <a:gd name="T19" fmla="*/ 308 h 2078"/>
                <a:gd name="T20" fmla="*/ 0 w 1142"/>
                <a:gd name="T21" fmla="*/ 0 h 2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42" h="2078">
                  <a:moveTo>
                    <a:pt x="0" y="0"/>
                  </a:moveTo>
                  <a:cubicBezTo>
                    <a:pt x="0" y="0"/>
                    <a:pt x="225" y="269"/>
                    <a:pt x="383" y="1096"/>
                  </a:cubicBezTo>
                  <a:cubicBezTo>
                    <a:pt x="479" y="1598"/>
                    <a:pt x="220" y="2078"/>
                    <a:pt x="220" y="2078"/>
                  </a:cubicBezTo>
                  <a:cubicBezTo>
                    <a:pt x="848" y="2078"/>
                    <a:pt x="848" y="2078"/>
                    <a:pt x="848" y="2078"/>
                  </a:cubicBezTo>
                  <a:cubicBezTo>
                    <a:pt x="848" y="2078"/>
                    <a:pt x="894" y="2022"/>
                    <a:pt x="874" y="1679"/>
                  </a:cubicBezTo>
                  <a:cubicBezTo>
                    <a:pt x="865" y="1514"/>
                    <a:pt x="790" y="1298"/>
                    <a:pt x="782" y="959"/>
                  </a:cubicBezTo>
                  <a:cubicBezTo>
                    <a:pt x="769" y="391"/>
                    <a:pt x="1142" y="111"/>
                    <a:pt x="1142" y="111"/>
                  </a:cubicBezTo>
                  <a:cubicBezTo>
                    <a:pt x="1142" y="111"/>
                    <a:pt x="961" y="171"/>
                    <a:pt x="797" y="308"/>
                  </a:cubicBezTo>
                  <a:cubicBezTo>
                    <a:pt x="733" y="362"/>
                    <a:pt x="553" y="568"/>
                    <a:pt x="553" y="568"/>
                  </a:cubicBezTo>
                  <a:cubicBezTo>
                    <a:pt x="553" y="568"/>
                    <a:pt x="403" y="361"/>
                    <a:pt x="359" y="308"/>
                  </a:cubicBezTo>
                  <a:cubicBezTo>
                    <a:pt x="195" y="108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84"/>
            <p:cNvSpPr>
              <a:spLocks noEditPoints="1"/>
            </p:cNvSpPr>
            <p:nvPr/>
          </p:nvSpPr>
          <p:spPr bwMode="auto">
            <a:xfrm>
              <a:off x="4430810" y="2781166"/>
              <a:ext cx="284839" cy="284839"/>
            </a:xfrm>
            <a:custGeom>
              <a:avLst/>
              <a:gdLst>
                <a:gd name="T0" fmla="*/ 324 w 353"/>
                <a:gd name="T1" fmla="*/ 137 h 353"/>
                <a:gd name="T2" fmla="*/ 318 w 353"/>
                <a:gd name="T3" fmla="*/ 85 h 353"/>
                <a:gd name="T4" fmla="*/ 285 w 353"/>
                <a:gd name="T5" fmla="*/ 35 h 353"/>
                <a:gd name="T6" fmla="*/ 268 w 353"/>
                <a:gd name="T7" fmla="*/ 35 h 353"/>
                <a:gd name="T8" fmla="*/ 216 w 353"/>
                <a:gd name="T9" fmla="*/ 29 h 353"/>
                <a:gd name="T10" fmla="*/ 200 w 353"/>
                <a:gd name="T11" fmla="*/ 0 h 353"/>
                <a:gd name="T12" fmla="*/ 141 w 353"/>
                <a:gd name="T13" fmla="*/ 12 h 353"/>
                <a:gd name="T14" fmla="*/ 100 w 353"/>
                <a:gd name="T15" fmla="*/ 44 h 353"/>
                <a:gd name="T16" fmla="*/ 76 w 353"/>
                <a:gd name="T17" fmla="*/ 32 h 353"/>
                <a:gd name="T18" fmla="*/ 35 w 353"/>
                <a:gd name="T19" fmla="*/ 68 h 353"/>
                <a:gd name="T20" fmla="*/ 44 w 353"/>
                <a:gd name="T21" fmla="*/ 100 h 353"/>
                <a:gd name="T22" fmla="*/ 12 w 353"/>
                <a:gd name="T23" fmla="*/ 141 h 353"/>
                <a:gd name="T24" fmla="*/ 0 w 353"/>
                <a:gd name="T25" fmla="*/ 200 h 353"/>
                <a:gd name="T26" fmla="*/ 29 w 353"/>
                <a:gd name="T27" fmla="*/ 216 h 353"/>
                <a:gd name="T28" fmla="*/ 35 w 353"/>
                <a:gd name="T29" fmla="*/ 268 h 353"/>
                <a:gd name="T30" fmla="*/ 68 w 353"/>
                <a:gd name="T31" fmla="*/ 318 h 353"/>
                <a:gd name="T32" fmla="*/ 85 w 353"/>
                <a:gd name="T33" fmla="*/ 318 h 353"/>
                <a:gd name="T34" fmla="*/ 137 w 353"/>
                <a:gd name="T35" fmla="*/ 324 h 353"/>
                <a:gd name="T36" fmla="*/ 153 w 353"/>
                <a:gd name="T37" fmla="*/ 353 h 353"/>
                <a:gd name="T38" fmla="*/ 212 w 353"/>
                <a:gd name="T39" fmla="*/ 341 h 353"/>
                <a:gd name="T40" fmla="*/ 253 w 353"/>
                <a:gd name="T41" fmla="*/ 309 h 353"/>
                <a:gd name="T42" fmla="*/ 278 w 353"/>
                <a:gd name="T43" fmla="*/ 321 h 353"/>
                <a:gd name="T44" fmla="*/ 318 w 353"/>
                <a:gd name="T45" fmla="*/ 285 h 353"/>
                <a:gd name="T46" fmla="*/ 309 w 353"/>
                <a:gd name="T47" fmla="*/ 253 h 353"/>
                <a:gd name="T48" fmla="*/ 341 w 353"/>
                <a:gd name="T49" fmla="*/ 212 h 353"/>
                <a:gd name="T50" fmla="*/ 353 w 353"/>
                <a:gd name="T51" fmla="*/ 153 h 353"/>
                <a:gd name="T52" fmla="*/ 337 w 353"/>
                <a:gd name="T53" fmla="*/ 196 h 353"/>
                <a:gd name="T54" fmla="*/ 320 w 353"/>
                <a:gd name="T55" fmla="*/ 200 h 353"/>
                <a:gd name="T56" fmla="*/ 295 w 353"/>
                <a:gd name="T57" fmla="*/ 245 h 353"/>
                <a:gd name="T58" fmla="*/ 304 w 353"/>
                <a:gd name="T59" fmla="*/ 276 h 353"/>
                <a:gd name="T60" fmla="*/ 276 w 353"/>
                <a:gd name="T61" fmla="*/ 304 h 353"/>
                <a:gd name="T62" fmla="*/ 253 w 353"/>
                <a:gd name="T63" fmla="*/ 293 h 353"/>
                <a:gd name="T64" fmla="*/ 212 w 353"/>
                <a:gd name="T65" fmla="*/ 309 h 353"/>
                <a:gd name="T66" fmla="*/ 196 w 353"/>
                <a:gd name="T67" fmla="*/ 337 h 353"/>
                <a:gd name="T68" fmla="*/ 157 w 353"/>
                <a:gd name="T69" fmla="*/ 337 h 353"/>
                <a:gd name="T70" fmla="*/ 141 w 353"/>
                <a:gd name="T71" fmla="*/ 309 h 353"/>
                <a:gd name="T72" fmla="*/ 100 w 353"/>
                <a:gd name="T73" fmla="*/ 293 h 353"/>
                <a:gd name="T74" fmla="*/ 77 w 353"/>
                <a:gd name="T75" fmla="*/ 304 h 353"/>
                <a:gd name="T76" fmla="*/ 49 w 353"/>
                <a:gd name="T77" fmla="*/ 276 h 353"/>
                <a:gd name="T78" fmla="*/ 58 w 353"/>
                <a:gd name="T79" fmla="*/ 245 h 353"/>
                <a:gd name="T80" fmla="*/ 33 w 353"/>
                <a:gd name="T81" fmla="*/ 200 h 353"/>
                <a:gd name="T82" fmla="*/ 16 w 353"/>
                <a:gd name="T83" fmla="*/ 196 h 353"/>
                <a:gd name="T84" fmla="*/ 33 w 353"/>
                <a:gd name="T85" fmla="*/ 152 h 353"/>
                <a:gd name="T86" fmla="*/ 58 w 353"/>
                <a:gd name="T87" fmla="*/ 108 h 353"/>
                <a:gd name="T88" fmla="*/ 49 w 353"/>
                <a:gd name="T89" fmla="*/ 77 h 353"/>
                <a:gd name="T90" fmla="*/ 77 w 353"/>
                <a:gd name="T91" fmla="*/ 49 h 353"/>
                <a:gd name="T92" fmla="*/ 100 w 353"/>
                <a:gd name="T93" fmla="*/ 60 h 353"/>
                <a:gd name="T94" fmla="*/ 141 w 353"/>
                <a:gd name="T95" fmla="*/ 44 h 353"/>
                <a:gd name="T96" fmla="*/ 157 w 353"/>
                <a:gd name="T97" fmla="*/ 16 h 353"/>
                <a:gd name="T98" fmla="*/ 196 w 353"/>
                <a:gd name="T99" fmla="*/ 16 h 353"/>
                <a:gd name="T100" fmla="*/ 212 w 353"/>
                <a:gd name="T101" fmla="*/ 44 h 353"/>
                <a:gd name="T102" fmla="*/ 253 w 353"/>
                <a:gd name="T103" fmla="*/ 60 h 353"/>
                <a:gd name="T104" fmla="*/ 276 w 353"/>
                <a:gd name="T105" fmla="*/ 49 h 353"/>
                <a:gd name="T106" fmla="*/ 304 w 353"/>
                <a:gd name="T107" fmla="*/ 77 h 353"/>
                <a:gd name="T108" fmla="*/ 295 w 353"/>
                <a:gd name="T109" fmla="*/ 108 h 353"/>
                <a:gd name="T110" fmla="*/ 320 w 353"/>
                <a:gd name="T111" fmla="*/ 152 h 353"/>
                <a:gd name="T112" fmla="*/ 337 w 353"/>
                <a:gd name="T113" fmla="*/ 196 h 353"/>
                <a:gd name="T114" fmla="*/ 96 w 353"/>
                <a:gd name="T115" fmla="*/ 176 h 353"/>
                <a:gd name="T116" fmla="*/ 257 w 353"/>
                <a:gd name="T117" fmla="*/ 176 h 353"/>
                <a:gd name="T118" fmla="*/ 176 w 353"/>
                <a:gd name="T119" fmla="*/ 241 h 353"/>
                <a:gd name="T120" fmla="*/ 176 w 353"/>
                <a:gd name="T121" fmla="*/ 112 h 353"/>
                <a:gd name="T122" fmla="*/ 176 w 353"/>
                <a:gd name="T123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41" y="141"/>
                  </a:moveTo>
                  <a:cubicBezTo>
                    <a:pt x="324" y="137"/>
                    <a:pt x="324" y="137"/>
                    <a:pt x="324" y="137"/>
                  </a:cubicBezTo>
                  <a:cubicBezTo>
                    <a:pt x="321" y="124"/>
                    <a:pt x="316" y="111"/>
                    <a:pt x="309" y="100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21" y="79"/>
                    <a:pt x="323" y="73"/>
                    <a:pt x="318" y="68"/>
                  </a:cubicBezTo>
                  <a:cubicBezTo>
                    <a:pt x="285" y="35"/>
                    <a:pt x="285" y="35"/>
                    <a:pt x="285" y="35"/>
                  </a:cubicBezTo>
                  <a:cubicBezTo>
                    <a:pt x="283" y="33"/>
                    <a:pt x="280" y="32"/>
                    <a:pt x="277" y="32"/>
                  </a:cubicBezTo>
                  <a:cubicBezTo>
                    <a:pt x="274" y="32"/>
                    <a:pt x="271" y="33"/>
                    <a:pt x="268" y="35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41" y="37"/>
                    <a:pt x="229" y="32"/>
                    <a:pt x="216" y="29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6"/>
                    <a:pt x="207" y="0"/>
                    <a:pt x="20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6" y="0"/>
                    <a:pt x="143" y="6"/>
                    <a:pt x="141" y="12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24" y="32"/>
                    <a:pt x="112" y="37"/>
                    <a:pt x="100" y="44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2" y="33"/>
                    <a:pt x="79" y="32"/>
                    <a:pt x="76" y="32"/>
                  </a:cubicBezTo>
                  <a:cubicBezTo>
                    <a:pt x="73" y="32"/>
                    <a:pt x="70" y="33"/>
                    <a:pt x="68" y="3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0" y="73"/>
                    <a:pt x="32" y="79"/>
                    <a:pt x="35" y="85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37" y="111"/>
                    <a:pt x="32" y="124"/>
                    <a:pt x="29" y="137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6" y="143"/>
                    <a:pt x="0" y="146"/>
                    <a:pt x="0" y="15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6"/>
                    <a:pt x="6" y="210"/>
                    <a:pt x="12" y="212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32" y="229"/>
                    <a:pt x="37" y="241"/>
                    <a:pt x="44" y="253"/>
                  </a:cubicBezTo>
                  <a:cubicBezTo>
                    <a:pt x="35" y="268"/>
                    <a:pt x="35" y="268"/>
                    <a:pt x="35" y="268"/>
                  </a:cubicBezTo>
                  <a:cubicBezTo>
                    <a:pt x="32" y="273"/>
                    <a:pt x="30" y="280"/>
                    <a:pt x="35" y="285"/>
                  </a:cubicBezTo>
                  <a:cubicBezTo>
                    <a:pt x="68" y="318"/>
                    <a:pt x="68" y="318"/>
                    <a:pt x="68" y="318"/>
                  </a:cubicBezTo>
                  <a:cubicBezTo>
                    <a:pt x="70" y="320"/>
                    <a:pt x="73" y="321"/>
                    <a:pt x="75" y="321"/>
                  </a:cubicBezTo>
                  <a:cubicBezTo>
                    <a:pt x="79" y="321"/>
                    <a:pt x="82" y="319"/>
                    <a:pt x="85" y="318"/>
                  </a:cubicBezTo>
                  <a:cubicBezTo>
                    <a:pt x="100" y="309"/>
                    <a:pt x="100" y="309"/>
                    <a:pt x="100" y="309"/>
                  </a:cubicBezTo>
                  <a:cubicBezTo>
                    <a:pt x="112" y="315"/>
                    <a:pt x="124" y="321"/>
                    <a:pt x="137" y="324"/>
                  </a:cubicBezTo>
                  <a:cubicBezTo>
                    <a:pt x="141" y="341"/>
                    <a:pt x="141" y="341"/>
                    <a:pt x="141" y="341"/>
                  </a:cubicBezTo>
                  <a:cubicBezTo>
                    <a:pt x="143" y="347"/>
                    <a:pt x="146" y="353"/>
                    <a:pt x="153" y="353"/>
                  </a:cubicBezTo>
                  <a:cubicBezTo>
                    <a:pt x="200" y="353"/>
                    <a:pt x="200" y="353"/>
                    <a:pt x="200" y="353"/>
                  </a:cubicBezTo>
                  <a:cubicBezTo>
                    <a:pt x="207" y="353"/>
                    <a:pt x="210" y="347"/>
                    <a:pt x="212" y="341"/>
                  </a:cubicBezTo>
                  <a:cubicBezTo>
                    <a:pt x="216" y="324"/>
                    <a:pt x="216" y="324"/>
                    <a:pt x="216" y="324"/>
                  </a:cubicBezTo>
                  <a:cubicBezTo>
                    <a:pt x="229" y="321"/>
                    <a:pt x="241" y="315"/>
                    <a:pt x="253" y="309"/>
                  </a:cubicBezTo>
                  <a:cubicBezTo>
                    <a:pt x="268" y="318"/>
                    <a:pt x="268" y="318"/>
                    <a:pt x="268" y="318"/>
                  </a:cubicBezTo>
                  <a:cubicBezTo>
                    <a:pt x="271" y="319"/>
                    <a:pt x="275" y="321"/>
                    <a:pt x="278" y="321"/>
                  </a:cubicBezTo>
                  <a:cubicBezTo>
                    <a:pt x="280" y="321"/>
                    <a:pt x="283" y="320"/>
                    <a:pt x="285" y="318"/>
                  </a:cubicBezTo>
                  <a:cubicBezTo>
                    <a:pt x="318" y="285"/>
                    <a:pt x="318" y="285"/>
                    <a:pt x="318" y="285"/>
                  </a:cubicBezTo>
                  <a:cubicBezTo>
                    <a:pt x="323" y="280"/>
                    <a:pt x="321" y="273"/>
                    <a:pt x="318" y="268"/>
                  </a:cubicBezTo>
                  <a:cubicBezTo>
                    <a:pt x="309" y="253"/>
                    <a:pt x="309" y="253"/>
                    <a:pt x="309" y="253"/>
                  </a:cubicBezTo>
                  <a:cubicBezTo>
                    <a:pt x="316" y="241"/>
                    <a:pt x="321" y="229"/>
                    <a:pt x="324" y="216"/>
                  </a:cubicBezTo>
                  <a:cubicBezTo>
                    <a:pt x="341" y="212"/>
                    <a:pt x="341" y="212"/>
                    <a:pt x="341" y="212"/>
                  </a:cubicBezTo>
                  <a:cubicBezTo>
                    <a:pt x="347" y="210"/>
                    <a:pt x="353" y="206"/>
                    <a:pt x="353" y="200"/>
                  </a:cubicBezTo>
                  <a:cubicBezTo>
                    <a:pt x="353" y="153"/>
                    <a:pt x="353" y="153"/>
                    <a:pt x="353" y="153"/>
                  </a:cubicBezTo>
                  <a:cubicBezTo>
                    <a:pt x="353" y="146"/>
                    <a:pt x="347" y="143"/>
                    <a:pt x="341" y="141"/>
                  </a:cubicBezTo>
                  <a:moveTo>
                    <a:pt x="337" y="196"/>
                  </a:moveTo>
                  <a:cubicBezTo>
                    <a:pt x="337" y="196"/>
                    <a:pt x="337" y="196"/>
                    <a:pt x="337" y="196"/>
                  </a:cubicBezTo>
                  <a:cubicBezTo>
                    <a:pt x="320" y="200"/>
                    <a:pt x="320" y="200"/>
                    <a:pt x="320" y="200"/>
                  </a:cubicBezTo>
                  <a:cubicBezTo>
                    <a:pt x="315" y="202"/>
                    <a:pt x="310" y="206"/>
                    <a:pt x="309" y="212"/>
                  </a:cubicBezTo>
                  <a:cubicBezTo>
                    <a:pt x="306" y="223"/>
                    <a:pt x="301" y="234"/>
                    <a:pt x="295" y="245"/>
                  </a:cubicBezTo>
                  <a:cubicBezTo>
                    <a:pt x="292" y="250"/>
                    <a:pt x="292" y="256"/>
                    <a:pt x="295" y="261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61" y="295"/>
                    <a:pt x="261" y="295"/>
                    <a:pt x="261" y="295"/>
                  </a:cubicBezTo>
                  <a:cubicBezTo>
                    <a:pt x="259" y="294"/>
                    <a:pt x="256" y="293"/>
                    <a:pt x="253" y="293"/>
                  </a:cubicBezTo>
                  <a:cubicBezTo>
                    <a:pt x="250" y="293"/>
                    <a:pt x="247" y="293"/>
                    <a:pt x="245" y="295"/>
                  </a:cubicBezTo>
                  <a:cubicBezTo>
                    <a:pt x="235" y="301"/>
                    <a:pt x="223" y="305"/>
                    <a:pt x="212" y="309"/>
                  </a:cubicBezTo>
                  <a:cubicBezTo>
                    <a:pt x="206" y="310"/>
                    <a:pt x="202" y="315"/>
                    <a:pt x="201" y="320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57" y="337"/>
                    <a:pt x="157" y="337"/>
                    <a:pt x="157" y="337"/>
                  </a:cubicBezTo>
                  <a:cubicBezTo>
                    <a:pt x="152" y="320"/>
                    <a:pt x="152" y="320"/>
                    <a:pt x="152" y="320"/>
                  </a:cubicBezTo>
                  <a:cubicBezTo>
                    <a:pt x="151" y="315"/>
                    <a:pt x="147" y="310"/>
                    <a:pt x="141" y="309"/>
                  </a:cubicBezTo>
                  <a:cubicBezTo>
                    <a:pt x="130" y="305"/>
                    <a:pt x="118" y="301"/>
                    <a:pt x="108" y="295"/>
                  </a:cubicBezTo>
                  <a:cubicBezTo>
                    <a:pt x="106" y="293"/>
                    <a:pt x="103" y="293"/>
                    <a:pt x="100" y="293"/>
                  </a:cubicBezTo>
                  <a:cubicBezTo>
                    <a:pt x="97" y="293"/>
                    <a:pt x="94" y="294"/>
                    <a:pt x="92" y="295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49" y="276"/>
                    <a:pt x="49" y="276"/>
                    <a:pt x="49" y="276"/>
                  </a:cubicBezTo>
                  <a:cubicBezTo>
                    <a:pt x="58" y="261"/>
                    <a:pt x="58" y="261"/>
                    <a:pt x="58" y="261"/>
                  </a:cubicBezTo>
                  <a:cubicBezTo>
                    <a:pt x="61" y="256"/>
                    <a:pt x="61" y="250"/>
                    <a:pt x="58" y="245"/>
                  </a:cubicBezTo>
                  <a:cubicBezTo>
                    <a:pt x="52" y="234"/>
                    <a:pt x="47" y="223"/>
                    <a:pt x="44" y="212"/>
                  </a:cubicBezTo>
                  <a:cubicBezTo>
                    <a:pt x="43" y="206"/>
                    <a:pt x="38" y="202"/>
                    <a:pt x="33" y="200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33" y="152"/>
                    <a:pt x="33" y="152"/>
                    <a:pt x="33" y="152"/>
                  </a:cubicBezTo>
                  <a:cubicBezTo>
                    <a:pt x="38" y="151"/>
                    <a:pt x="43" y="147"/>
                    <a:pt x="44" y="141"/>
                  </a:cubicBezTo>
                  <a:cubicBezTo>
                    <a:pt x="47" y="129"/>
                    <a:pt x="52" y="118"/>
                    <a:pt x="58" y="108"/>
                  </a:cubicBezTo>
                  <a:cubicBezTo>
                    <a:pt x="61" y="103"/>
                    <a:pt x="61" y="97"/>
                    <a:pt x="58" y="92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4" y="59"/>
                    <a:pt x="97" y="60"/>
                    <a:pt x="100" y="60"/>
                  </a:cubicBezTo>
                  <a:cubicBezTo>
                    <a:pt x="103" y="60"/>
                    <a:pt x="106" y="59"/>
                    <a:pt x="108" y="58"/>
                  </a:cubicBezTo>
                  <a:cubicBezTo>
                    <a:pt x="118" y="52"/>
                    <a:pt x="130" y="47"/>
                    <a:pt x="141" y="44"/>
                  </a:cubicBezTo>
                  <a:cubicBezTo>
                    <a:pt x="147" y="43"/>
                    <a:pt x="151" y="38"/>
                    <a:pt x="152" y="33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01" y="33"/>
                    <a:pt x="201" y="33"/>
                    <a:pt x="201" y="33"/>
                  </a:cubicBezTo>
                  <a:cubicBezTo>
                    <a:pt x="202" y="38"/>
                    <a:pt x="206" y="43"/>
                    <a:pt x="212" y="44"/>
                  </a:cubicBezTo>
                  <a:cubicBezTo>
                    <a:pt x="223" y="47"/>
                    <a:pt x="235" y="52"/>
                    <a:pt x="245" y="58"/>
                  </a:cubicBezTo>
                  <a:cubicBezTo>
                    <a:pt x="247" y="59"/>
                    <a:pt x="250" y="60"/>
                    <a:pt x="253" y="60"/>
                  </a:cubicBezTo>
                  <a:cubicBezTo>
                    <a:pt x="256" y="60"/>
                    <a:pt x="259" y="59"/>
                    <a:pt x="261" y="58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295" y="92"/>
                    <a:pt x="295" y="92"/>
                    <a:pt x="295" y="92"/>
                  </a:cubicBezTo>
                  <a:cubicBezTo>
                    <a:pt x="292" y="97"/>
                    <a:pt x="292" y="103"/>
                    <a:pt x="295" y="108"/>
                  </a:cubicBezTo>
                  <a:cubicBezTo>
                    <a:pt x="301" y="118"/>
                    <a:pt x="306" y="129"/>
                    <a:pt x="309" y="141"/>
                  </a:cubicBezTo>
                  <a:cubicBezTo>
                    <a:pt x="310" y="147"/>
                    <a:pt x="315" y="151"/>
                    <a:pt x="320" y="152"/>
                  </a:cubicBezTo>
                  <a:cubicBezTo>
                    <a:pt x="337" y="157"/>
                    <a:pt x="337" y="157"/>
                    <a:pt x="337" y="157"/>
                  </a:cubicBezTo>
                  <a:lnTo>
                    <a:pt x="337" y="196"/>
                  </a:lnTo>
                  <a:close/>
                  <a:moveTo>
                    <a:pt x="176" y="96"/>
                  </a:moveTo>
                  <a:cubicBezTo>
                    <a:pt x="132" y="96"/>
                    <a:pt x="96" y="132"/>
                    <a:pt x="96" y="176"/>
                  </a:cubicBezTo>
                  <a:cubicBezTo>
                    <a:pt x="96" y="221"/>
                    <a:pt x="132" y="257"/>
                    <a:pt x="176" y="257"/>
                  </a:cubicBezTo>
                  <a:cubicBezTo>
                    <a:pt x="221" y="257"/>
                    <a:pt x="257" y="221"/>
                    <a:pt x="257" y="176"/>
                  </a:cubicBezTo>
                  <a:cubicBezTo>
                    <a:pt x="257" y="132"/>
                    <a:pt x="221" y="96"/>
                    <a:pt x="176" y="96"/>
                  </a:cubicBezTo>
                  <a:moveTo>
                    <a:pt x="176" y="241"/>
                  </a:moveTo>
                  <a:cubicBezTo>
                    <a:pt x="141" y="241"/>
                    <a:pt x="112" y="212"/>
                    <a:pt x="112" y="176"/>
                  </a:cubicBezTo>
                  <a:cubicBezTo>
                    <a:pt x="112" y="141"/>
                    <a:pt x="141" y="112"/>
                    <a:pt x="176" y="112"/>
                  </a:cubicBezTo>
                  <a:cubicBezTo>
                    <a:pt x="212" y="112"/>
                    <a:pt x="241" y="141"/>
                    <a:pt x="241" y="176"/>
                  </a:cubicBezTo>
                  <a:cubicBezTo>
                    <a:pt x="241" y="212"/>
                    <a:pt x="212" y="241"/>
                    <a:pt x="176" y="2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7" name="Freeform 110"/>
            <p:cNvSpPr>
              <a:spLocks noEditPoints="1"/>
            </p:cNvSpPr>
            <p:nvPr/>
          </p:nvSpPr>
          <p:spPr bwMode="auto">
            <a:xfrm>
              <a:off x="3804880" y="3045567"/>
              <a:ext cx="252483" cy="207000"/>
            </a:xfrm>
            <a:custGeom>
              <a:avLst/>
              <a:gdLst>
                <a:gd name="T0" fmla="*/ 68 w 353"/>
                <a:gd name="T1" fmla="*/ 173 h 289"/>
                <a:gd name="T2" fmla="*/ 55 w 353"/>
                <a:gd name="T3" fmla="*/ 131 h 289"/>
                <a:gd name="T4" fmla="*/ 55 w 353"/>
                <a:gd name="T5" fmla="*/ 117 h 289"/>
                <a:gd name="T6" fmla="*/ 49 w 353"/>
                <a:gd name="T7" fmla="*/ 75 h 289"/>
                <a:gd name="T8" fmla="*/ 69 w 353"/>
                <a:gd name="T9" fmla="*/ 52 h 289"/>
                <a:gd name="T10" fmla="*/ 98 w 353"/>
                <a:gd name="T11" fmla="*/ 50 h 289"/>
                <a:gd name="T12" fmla="*/ 103 w 353"/>
                <a:gd name="T13" fmla="*/ 35 h 289"/>
                <a:gd name="T14" fmla="*/ 61 w 353"/>
                <a:gd name="T15" fmla="*/ 39 h 289"/>
                <a:gd name="T16" fmla="*/ 40 w 353"/>
                <a:gd name="T17" fmla="*/ 113 h 289"/>
                <a:gd name="T18" fmla="*/ 52 w 353"/>
                <a:gd name="T19" fmla="*/ 173 h 289"/>
                <a:gd name="T20" fmla="*/ 0 w 353"/>
                <a:gd name="T21" fmla="*/ 249 h 289"/>
                <a:gd name="T22" fmla="*/ 43 w 353"/>
                <a:gd name="T23" fmla="*/ 257 h 289"/>
                <a:gd name="T24" fmla="*/ 16 w 353"/>
                <a:gd name="T25" fmla="*/ 241 h 289"/>
                <a:gd name="T26" fmla="*/ 319 w 353"/>
                <a:gd name="T27" fmla="*/ 201 h 289"/>
                <a:gd name="T28" fmla="*/ 311 w 353"/>
                <a:gd name="T29" fmla="*/ 140 h 289"/>
                <a:gd name="T30" fmla="*/ 318 w 353"/>
                <a:gd name="T31" fmla="*/ 69 h 289"/>
                <a:gd name="T32" fmla="*/ 265 w 353"/>
                <a:gd name="T33" fmla="*/ 32 h 289"/>
                <a:gd name="T34" fmla="*/ 253 w 353"/>
                <a:gd name="T35" fmla="*/ 51 h 289"/>
                <a:gd name="T36" fmla="*/ 265 w 353"/>
                <a:gd name="T37" fmla="*/ 48 h 289"/>
                <a:gd name="T38" fmla="*/ 285 w 353"/>
                <a:gd name="T39" fmla="*/ 53 h 289"/>
                <a:gd name="T40" fmla="*/ 298 w 353"/>
                <a:gd name="T41" fmla="*/ 106 h 289"/>
                <a:gd name="T42" fmla="*/ 298 w 353"/>
                <a:gd name="T43" fmla="*/ 131 h 289"/>
                <a:gd name="T44" fmla="*/ 297 w 353"/>
                <a:gd name="T45" fmla="*/ 132 h 289"/>
                <a:gd name="T46" fmla="*/ 314 w 353"/>
                <a:gd name="T47" fmla="*/ 216 h 289"/>
                <a:gd name="T48" fmla="*/ 301 w 353"/>
                <a:gd name="T49" fmla="*/ 241 h 289"/>
                <a:gd name="T50" fmla="*/ 345 w 353"/>
                <a:gd name="T51" fmla="*/ 257 h 289"/>
                <a:gd name="T52" fmla="*/ 319 w 353"/>
                <a:gd name="T53" fmla="*/ 201 h 289"/>
                <a:gd name="T54" fmla="*/ 211 w 353"/>
                <a:gd name="T55" fmla="*/ 181 h 289"/>
                <a:gd name="T56" fmla="*/ 231 w 353"/>
                <a:gd name="T57" fmla="*/ 105 h 289"/>
                <a:gd name="T58" fmla="*/ 209 w 353"/>
                <a:gd name="T59" fmla="*/ 5 h 289"/>
                <a:gd name="T60" fmla="*/ 152 w 353"/>
                <a:gd name="T61" fmla="*/ 9 h 289"/>
                <a:gd name="T62" fmla="*/ 122 w 353"/>
                <a:gd name="T63" fmla="*/ 104 h 289"/>
                <a:gd name="T64" fmla="*/ 141 w 353"/>
                <a:gd name="T65" fmla="*/ 181 h 289"/>
                <a:gd name="T66" fmla="*/ 56 w 353"/>
                <a:gd name="T67" fmla="*/ 281 h 289"/>
                <a:gd name="T68" fmla="*/ 289 w 353"/>
                <a:gd name="T69" fmla="*/ 289 h 289"/>
                <a:gd name="T70" fmla="*/ 240 w 353"/>
                <a:gd name="T71" fmla="*/ 218 h 289"/>
                <a:gd name="T72" fmla="*/ 116 w 353"/>
                <a:gd name="T73" fmla="*/ 234 h 289"/>
                <a:gd name="T74" fmla="*/ 157 w 353"/>
                <a:gd name="T75" fmla="*/ 181 h 289"/>
                <a:gd name="T76" fmla="*/ 137 w 353"/>
                <a:gd name="T77" fmla="*/ 129 h 289"/>
                <a:gd name="T78" fmla="*/ 137 w 353"/>
                <a:gd name="T79" fmla="*/ 97 h 289"/>
                <a:gd name="T80" fmla="*/ 159 w 353"/>
                <a:gd name="T81" fmla="*/ 23 h 289"/>
                <a:gd name="T82" fmla="*/ 186 w 353"/>
                <a:gd name="T83" fmla="*/ 16 h 289"/>
                <a:gd name="T84" fmla="*/ 217 w 353"/>
                <a:gd name="T85" fmla="*/ 44 h 289"/>
                <a:gd name="T86" fmla="*/ 215 w 353"/>
                <a:gd name="T87" fmla="*/ 108 h 289"/>
                <a:gd name="T88" fmla="*/ 213 w 353"/>
                <a:gd name="T89" fmla="*/ 132 h 289"/>
                <a:gd name="T90" fmla="*/ 235 w 353"/>
                <a:gd name="T91" fmla="*/ 234 h 289"/>
                <a:gd name="T92" fmla="*/ 280 w 353"/>
                <a:gd name="T93" fmla="*/ 27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289">
                  <a:moveTo>
                    <a:pt x="38" y="216"/>
                  </a:moveTo>
                  <a:cubicBezTo>
                    <a:pt x="49" y="213"/>
                    <a:pt x="68" y="201"/>
                    <a:pt x="68" y="173"/>
                  </a:cubicBezTo>
                  <a:cubicBezTo>
                    <a:pt x="68" y="148"/>
                    <a:pt x="60" y="138"/>
                    <a:pt x="55" y="132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4" y="130"/>
                    <a:pt x="53" y="126"/>
                    <a:pt x="55" y="117"/>
                  </a:cubicBezTo>
                  <a:cubicBezTo>
                    <a:pt x="56" y="113"/>
                    <a:pt x="56" y="109"/>
                    <a:pt x="54" y="106"/>
                  </a:cubicBezTo>
                  <a:cubicBezTo>
                    <a:pt x="51" y="99"/>
                    <a:pt x="45" y="85"/>
                    <a:pt x="49" y="75"/>
                  </a:cubicBezTo>
                  <a:cubicBezTo>
                    <a:pt x="56" y="58"/>
                    <a:pt x="59" y="57"/>
                    <a:pt x="67" y="53"/>
                  </a:cubicBezTo>
                  <a:cubicBezTo>
                    <a:pt x="68" y="53"/>
                    <a:pt x="69" y="53"/>
                    <a:pt x="69" y="52"/>
                  </a:cubicBezTo>
                  <a:cubicBezTo>
                    <a:pt x="71" y="51"/>
                    <a:pt x="79" y="48"/>
                    <a:pt x="88" y="48"/>
                  </a:cubicBezTo>
                  <a:cubicBezTo>
                    <a:pt x="92" y="48"/>
                    <a:pt x="95" y="49"/>
                    <a:pt x="98" y="50"/>
                  </a:cubicBezTo>
                  <a:cubicBezTo>
                    <a:pt x="98" y="47"/>
                    <a:pt x="99" y="45"/>
                    <a:pt x="100" y="42"/>
                  </a:cubicBezTo>
                  <a:cubicBezTo>
                    <a:pt x="101" y="39"/>
                    <a:pt x="102" y="37"/>
                    <a:pt x="103" y="35"/>
                  </a:cubicBezTo>
                  <a:cubicBezTo>
                    <a:pt x="98" y="33"/>
                    <a:pt x="93" y="32"/>
                    <a:pt x="88" y="32"/>
                  </a:cubicBezTo>
                  <a:cubicBezTo>
                    <a:pt x="76" y="32"/>
                    <a:pt x="65" y="36"/>
                    <a:pt x="61" y="39"/>
                  </a:cubicBezTo>
                  <a:cubicBezTo>
                    <a:pt x="48" y="44"/>
                    <a:pt x="42" y="50"/>
                    <a:pt x="34" y="69"/>
                  </a:cubicBezTo>
                  <a:cubicBezTo>
                    <a:pt x="27" y="86"/>
                    <a:pt x="36" y="104"/>
                    <a:pt x="40" y="113"/>
                  </a:cubicBezTo>
                  <a:cubicBezTo>
                    <a:pt x="35" y="133"/>
                    <a:pt x="42" y="140"/>
                    <a:pt x="42" y="140"/>
                  </a:cubicBezTo>
                  <a:cubicBezTo>
                    <a:pt x="45" y="145"/>
                    <a:pt x="52" y="153"/>
                    <a:pt x="52" y="173"/>
                  </a:cubicBezTo>
                  <a:cubicBezTo>
                    <a:pt x="52" y="197"/>
                    <a:pt x="34" y="201"/>
                    <a:pt x="34" y="201"/>
                  </a:cubicBezTo>
                  <a:cubicBezTo>
                    <a:pt x="19" y="206"/>
                    <a:pt x="0" y="217"/>
                    <a:pt x="0" y="249"/>
                  </a:cubicBezTo>
                  <a:cubicBezTo>
                    <a:pt x="0" y="249"/>
                    <a:pt x="0" y="257"/>
                    <a:pt x="8" y="257"/>
                  </a:cubicBezTo>
                  <a:cubicBezTo>
                    <a:pt x="43" y="257"/>
                    <a:pt x="43" y="257"/>
                    <a:pt x="43" y="257"/>
                  </a:cubicBezTo>
                  <a:cubicBezTo>
                    <a:pt x="45" y="251"/>
                    <a:pt x="48" y="245"/>
                    <a:pt x="51" y="24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9" y="225"/>
                    <a:pt x="28" y="220"/>
                    <a:pt x="38" y="216"/>
                  </a:cubicBezTo>
                  <a:moveTo>
                    <a:pt x="319" y="201"/>
                  </a:moveTo>
                  <a:cubicBezTo>
                    <a:pt x="319" y="201"/>
                    <a:pt x="301" y="197"/>
                    <a:pt x="301" y="173"/>
                  </a:cubicBezTo>
                  <a:cubicBezTo>
                    <a:pt x="301" y="153"/>
                    <a:pt x="307" y="145"/>
                    <a:pt x="311" y="140"/>
                  </a:cubicBezTo>
                  <a:cubicBezTo>
                    <a:pt x="311" y="140"/>
                    <a:pt x="318" y="133"/>
                    <a:pt x="312" y="113"/>
                  </a:cubicBezTo>
                  <a:cubicBezTo>
                    <a:pt x="317" y="104"/>
                    <a:pt x="325" y="86"/>
                    <a:pt x="318" y="69"/>
                  </a:cubicBezTo>
                  <a:cubicBezTo>
                    <a:pt x="310" y="50"/>
                    <a:pt x="304" y="44"/>
                    <a:pt x="292" y="39"/>
                  </a:cubicBezTo>
                  <a:cubicBezTo>
                    <a:pt x="287" y="36"/>
                    <a:pt x="276" y="32"/>
                    <a:pt x="265" y="32"/>
                  </a:cubicBezTo>
                  <a:cubicBezTo>
                    <a:pt x="259" y="32"/>
                    <a:pt x="254" y="33"/>
                    <a:pt x="248" y="35"/>
                  </a:cubicBezTo>
                  <a:cubicBezTo>
                    <a:pt x="250" y="40"/>
                    <a:pt x="252" y="46"/>
                    <a:pt x="253" y="51"/>
                  </a:cubicBezTo>
                  <a:cubicBezTo>
                    <a:pt x="254" y="51"/>
                    <a:pt x="254" y="50"/>
                    <a:pt x="254" y="50"/>
                  </a:cubicBezTo>
                  <a:cubicBezTo>
                    <a:pt x="257" y="49"/>
                    <a:pt x="260" y="48"/>
                    <a:pt x="265" y="48"/>
                  </a:cubicBezTo>
                  <a:cubicBezTo>
                    <a:pt x="273" y="48"/>
                    <a:pt x="281" y="51"/>
                    <a:pt x="283" y="52"/>
                  </a:cubicBezTo>
                  <a:cubicBezTo>
                    <a:pt x="284" y="53"/>
                    <a:pt x="284" y="53"/>
                    <a:pt x="285" y="53"/>
                  </a:cubicBezTo>
                  <a:cubicBezTo>
                    <a:pt x="293" y="57"/>
                    <a:pt x="296" y="58"/>
                    <a:pt x="303" y="75"/>
                  </a:cubicBezTo>
                  <a:cubicBezTo>
                    <a:pt x="307" y="85"/>
                    <a:pt x="301" y="99"/>
                    <a:pt x="298" y="106"/>
                  </a:cubicBezTo>
                  <a:cubicBezTo>
                    <a:pt x="297" y="109"/>
                    <a:pt x="296" y="113"/>
                    <a:pt x="297" y="117"/>
                  </a:cubicBezTo>
                  <a:cubicBezTo>
                    <a:pt x="299" y="126"/>
                    <a:pt x="298" y="130"/>
                    <a:pt x="298" y="131"/>
                  </a:cubicBezTo>
                  <a:cubicBezTo>
                    <a:pt x="298" y="131"/>
                    <a:pt x="298" y="131"/>
                    <a:pt x="298" y="131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3" y="138"/>
                    <a:pt x="285" y="148"/>
                    <a:pt x="285" y="173"/>
                  </a:cubicBezTo>
                  <a:cubicBezTo>
                    <a:pt x="285" y="201"/>
                    <a:pt x="303" y="213"/>
                    <a:pt x="314" y="216"/>
                  </a:cubicBezTo>
                  <a:cubicBezTo>
                    <a:pt x="324" y="220"/>
                    <a:pt x="334" y="225"/>
                    <a:pt x="336" y="241"/>
                  </a:cubicBezTo>
                  <a:cubicBezTo>
                    <a:pt x="301" y="241"/>
                    <a:pt x="301" y="241"/>
                    <a:pt x="301" y="241"/>
                  </a:cubicBezTo>
                  <a:cubicBezTo>
                    <a:pt x="304" y="245"/>
                    <a:pt x="307" y="251"/>
                    <a:pt x="309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53" y="257"/>
                    <a:pt x="353" y="249"/>
                    <a:pt x="353" y="249"/>
                  </a:cubicBezTo>
                  <a:cubicBezTo>
                    <a:pt x="353" y="217"/>
                    <a:pt x="333" y="206"/>
                    <a:pt x="319" y="201"/>
                  </a:cubicBezTo>
                  <a:moveTo>
                    <a:pt x="240" y="218"/>
                  </a:moveTo>
                  <a:cubicBezTo>
                    <a:pt x="240" y="218"/>
                    <a:pt x="211" y="211"/>
                    <a:pt x="211" y="181"/>
                  </a:cubicBezTo>
                  <a:cubicBezTo>
                    <a:pt x="211" y="155"/>
                    <a:pt x="223" y="146"/>
                    <a:pt x="228" y="139"/>
                  </a:cubicBezTo>
                  <a:cubicBezTo>
                    <a:pt x="228" y="139"/>
                    <a:pt x="237" y="131"/>
                    <a:pt x="231" y="105"/>
                  </a:cubicBezTo>
                  <a:cubicBezTo>
                    <a:pt x="241" y="90"/>
                    <a:pt x="245" y="66"/>
                    <a:pt x="232" y="37"/>
                  </a:cubicBezTo>
                  <a:cubicBezTo>
                    <a:pt x="225" y="20"/>
                    <a:pt x="219" y="11"/>
                    <a:pt x="209" y="5"/>
                  </a:cubicBezTo>
                  <a:cubicBezTo>
                    <a:pt x="202" y="1"/>
                    <a:pt x="194" y="0"/>
                    <a:pt x="186" y="0"/>
                  </a:cubicBezTo>
                  <a:cubicBezTo>
                    <a:pt x="172" y="0"/>
                    <a:pt x="158" y="5"/>
                    <a:pt x="152" y="9"/>
                  </a:cubicBezTo>
                  <a:cubicBezTo>
                    <a:pt x="136" y="16"/>
                    <a:pt x="125" y="22"/>
                    <a:pt x="115" y="48"/>
                  </a:cubicBezTo>
                  <a:cubicBezTo>
                    <a:pt x="107" y="69"/>
                    <a:pt x="117" y="92"/>
                    <a:pt x="122" y="104"/>
                  </a:cubicBezTo>
                  <a:cubicBezTo>
                    <a:pt x="116" y="130"/>
                    <a:pt x="125" y="139"/>
                    <a:pt x="125" y="139"/>
                  </a:cubicBezTo>
                  <a:cubicBezTo>
                    <a:pt x="129" y="146"/>
                    <a:pt x="141" y="155"/>
                    <a:pt x="141" y="181"/>
                  </a:cubicBezTo>
                  <a:cubicBezTo>
                    <a:pt x="141" y="211"/>
                    <a:pt x="112" y="218"/>
                    <a:pt x="112" y="218"/>
                  </a:cubicBezTo>
                  <a:cubicBezTo>
                    <a:pt x="94" y="225"/>
                    <a:pt x="56" y="238"/>
                    <a:pt x="56" y="281"/>
                  </a:cubicBezTo>
                  <a:cubicBezTo>
                    <a:pt x="56" y="281"/>
                    <a:pt x="56" y="289"/>
                    <a:pt x="64" y="289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97" y="289"/>
                    <a:pt x="297" y="281"/>
                    <a:pt x="297" y="281"/>
                  </a:cubicBezTo>
                  <a:cubicBezTo>
                    <a:pt x="297" y="238"/>
                    <a:pt x="258" y="225"/>
                    <a:pt x="240" y="218"/>
                  </a:cubicBezTo>
                  <a:moveTo>
                    <a:pt x="72" y="273"/>
                  </a:moveTo>
                  <a:cubicBezTo>
                    <a:pt x="76" y="250"/>
                    <a:pt x="96" y="241"/>
                    <a:pt x="116" y="234"/>
                  </a:cubicBezTo>
                  <a:cubicBezTo>
                    <a:pt x="117" y="234"/>
                    <a:pt x="117" y="234"/>
                    <a:pt x="117" y="234"/>
                  </a:cubicBezTo>
                  <a:cubicBezTo>
                    <a:pt x="131" y="230"/>
                    <a:pt x="157" y="214"/>
                    <a:pt x="157" y="181"/>
                  </a:cubicBezTo>
                  <a:cubicBezTo>
                    <a:pt x="157" y="153"/>
                    <a:pt x="146" y="140"/>
                    <a:pt x="140" y="132"/>
                  </a:cubicBezTo>
                  <a:cubicBezTo>
                    <a:pt x="138" y="131"/>
                    <a:pt x="137" y="129"/>
                    <a:pt x="137" y="129"/>
                  </a:cubicBezTo>
                  <a:cubicBezTo>
                    <a:pt x="137" y="128"/>
                    <a:pt x="134" y="122"/>
                    <a:pt x="138" y="107"/>
                  </a:cubicBezTo>
                  <a:cubicBezTo>
                    <a:pt x="139" y="100"/>
                    <a:pt x="137" y="97"/>
                    <a:pt x="137" y="97"/>
                  </a:cubicBezTo>
                  <a:cubicBezTo>
                    <a:pt x="132" y="87"/>
                    <a:pt x="124" y="69"/>
                    <a:pt x="130" y="54"/>
                  </a:cubicBezTo>
                  <a:cubicBezTo>
                    <a:pt x="138" y="33"/>
                    <a:pt x="146" y="29"/>
                    <a:pt x="159" y="23"/>
                  </a:cubicBezTo>
                  <a:cubicBezTo>
                    <a:pt x="160" y="23"/>
                    <a:pt x="160" y="22"/>
                    <a:pt x="161" y="22"/>
                  </a:cubicBezTo>
                  <a:cubicBezTo>
                    <a:pt x="164" y="20"/>
                    <a:pt x="174" y="16"/>
                    <a:pt x="186" y="16"/>
                  </a:cubicBezTo>
                  <a:cubicBezTo>
                    <a:pt x="192" y="16"/>
                    <a:pt x="197" y="17"/>
                    <a:pt x="201" y="19"/>
                  </a:cubicBezTo>
                  <a:cubicBezTo>
                    <a:pt x="206" y="22"/>
                    <a:pt x="210" y="27"/>
                    <a:pt x="217" y="44"/>
                  </a:cubicBezTo>
                  <a:cubicBezTo>
                    <a:pt x="230" y="73"/>
                    <a:pt x="222" y="89"/>
                    <a:pt x="218" y="95"/>
                  </a:cubicBezTo>
                  <a:cubicBezTo>
                    <a:pt x="215" y="99"/>
                    <a:pt x="214" y="104"/>
                    <a:pt x="215" y="108"/>
                  </a:cubicBezTo>
                  <a:cubicBezTo>
                    <a:pt x="218" y="122"/>
                    <a:pt x="216" y="127"/>
                    <a:pt x="216" y="129"/>
                  </a:cubicBezTo>
                  <a:cubicBezTo>
                    <a:pt x="216" y="129"/>
                    <a:pt x="214" y="131"/>
                    <a:pt x="213" y="132"/>
                  </a:cubicBezTo>
                  <a:cubicBezTo>
                    <a:pt x="207" y="140"/>
                    <a:pt x="195" y="153"/>
                    <a:pt x="195" y="181"/>
                  </a:cubicBezTo>
                  <a:cubicBezTo>
                    <a:pt x="195" y="214"/>
                    <a:pt x="221" y="230"/>
                    <a:pt x="235" y="234"/>
                  </a:cubicBezTo>
                  <a:cubicBezTo>
                    <a:pt x="236" y="234"/>
                    <a:pt x="236" y="234"/>
                    <a:pt x="236" y="234"/>
                  </a:cubicBezTo>
                  <a:cubicBezTo>
                    <a:pt x="256" y="241"/>
                    <a:pt x="276" y="250"/>
                    <a:pt x="280" y="273"/>
                  </a:cubicBezTo>
                  <a:lnTo>
                    <a:pt x="72" y="27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" name="Freeform 115"/>
            <p:cNvSpPr>
              <a:spLocks noEditPoints="1"/>
            </p:cNvSpPr>
            <p:nvPr/>
          </p:nvSpPr>
          <p:spPr bwMode="auto">
            <a:xfrm>
              <a:off x="5544382" y="3561303"/>
              <a:ext cx="219841" cy="219842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Freeform 117"/>
            <p:cNvSpPr>
              <a:spLocks noEditPoints="1"/>
            </p:cNvSpPr>
            <p:nvPr/>
          </p:nvSpPr>
          <p:spPr bwMode="auto">
            <a:xfrm>
              <a:off x="5110002" y="3044235"/>
              <a:ext cx="236695" cy="236695"/>
            </a:xfrm>
            <a:custGeom>
              <a:avLst/>
              <a:gdLst>
                <a:gd name="T0" fmla="*/ 353 w 353"/>
                <a:gd name="T1" fmla="*/ 136 h 353"/>
                <a:gd name="T2" fmla="*/ 349 w 353"/>
                <a:gd name="T3" fmla="*/ 97 h 353"/>
                <a:gd name="T4" fmla="*/ 180 w 353"/>
                <a:gd name="T5" fmla="*/ 1 h 353"/>
                <a:gd name="T6" fmla="*/ 176 w 353"/>
                <a:gd name="T7" fmla="*/ 0 h 353"/>
                <a:gd name="T8" fmla="*/ 173 w 353"/>
                <a:gd name="T9" fmla="*/ 1 h 353"/>
                <a:gd name="T10" fmla="*/ 4 w 353"/>
                <a:gd name="T11" fmla="*/ 97 h 353"/>
                <a:gd name="T12" fmla="*/ 0 w 353"/>
                <a:gd name="T13" fmla="*/ 136 h 353"/>
                <a:gd name="T14" fmla="*/ 32 w 353"/>
                <a:gd name="T15" fmla="*/ 144 h 353"/>
                <a:gd name="T16" fmla="*/ 24 w 353"/>
                <a:gd name="T17" fmla="*/ 289 h 353"/>
                <a:gd name="T18" fmla="*/ 16 w 353"/>
                <a:gd name="T19" fmla="*/ 294 h 353"/>
                <a:gd name="T20" fmla="*/ 0 w 353"/>
                <a:gd name="T21" fmla="*/ 342 h 353"/>
                <a:gd name="T22" fmla="*/ 8 w 353"/>
                <a:gd name="T23" fmla="*/ 353 h 353"/>
                <a:gd name="T24" fmla="*/ 353 w 353"/>
                <a:gd name="T25" fmla="*/ 345 h 353"/>
                <a:gd name="T26" fmla="*/ 353 w 353"/>
                <a:gd name="T27" fmla="*/ 342 h 353"/>
                <a:gd name="T28" fmla="*/ 337 w 353"/>
                <a:gd name="T29" fmla="*/ 294 h 353"/>
                <a:gd name="T30" fmla="*/ 321 w 353"/>
                <a:gd name="T31" fmla="*/ 289 h 353"/>
                <a:gd name="T32" fmla="*/ 345 w 353"/>
                <a:gd name="T33" fmla="*/ 144 h 353"/>
                <a:gd name="T34" fmla="*/ 315 w 353"/>
                <a:gd name="T35" fmla="*/ 96 h 353"/>
                <a:gd name="T36" fmla="*/ 176 w 353"/>
                <a:gd name="T37" fmla="*/ 17 h 353"/>
                <a:gd name="T38" fmla="*/ 334 w 353"/>
                <a:gd name="T39" fmla="*/ 337 h 353"/>
                <a:gd name="T40" fmla="*/ 30 w 353"/>
                <a:gd name="T41" fmla="*/ 305 h 353"/>
                <a:gd name="T42" fmla="*/ 48 w 353"/>
                <a:gd name="T43" fmla="*/ 144 h 353"/>
                <a:gd name="T44" fmla="*/ 80 w 353"/>
                <a:gd name="T45" fmla="*/ 289 h 353"/>
                <a:gd name="T46" fmla="*/ 48 w 353"/>
                <a:gd name="T47" fmla="*/ 144 h 353"/>
                <a:gd name="T48" fmla="*/ 128 w 353"/>
                <a:gd name="T49" fmla="*/ 144 h 353"/>
                <a:gd name="T50" fmla="*/ 96 w 353"/>
                <a:gd name="T51" fmla="*/ 289 h 353"/>
                <a:gd name="T52" fmla="*/ 144 w 353"/>
                <a:gd name="T53" fmla="*/ 144 h 353"/>
                <a:gd name="T54" fmla="*/ 209 w 353"/>
                <a:gd name="T55" fmla="*/ 289 h 353"/>
                <a:gd name="T56" fmla="*/ 144 w 353"/>
                <a:gd name="T57" fmla="*/ 144 h 353"/>
                <a:gd name="T58" fmla="*/ 257 w 353"/>
                <a:gd name="T59" fmla="*/ 144 h 353"/>
                <a:gd name="T60" fmla="*/ 225 w 353"/>
                <a:gd name="T61" fmla="*/ 289 h 353"/>
                <a:gd name="T62" fmla="*/ 273 w 353"/>
                <a:gd name="T63" fmla="*/ 144 h 353"/>
                <a:gd name="T64" fmla="*/ 305 w 353"/>
                <a:gd name="T65" fmla="*/ 289 h 353"/>
                <a:gd name="T66" fmla="*/ 273 w 353"/>
                <a:gd name="T67" fmla="*/ 144 h 353"/>
                <a:gd name="T68" fmla="*/ 337 w 353"/>
                <a:gd name="T69" fmla="*/ 112 h 353"/>
                <a:gd name="T70" fmla="*/ 16 w 353"/>
                <a:gd name="T71" fmla="*/ 12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53">
                  <a:moveTo>
                    <a:pt x="345" y="144"/>
                  </a:moveTo>
                  <a:cubicBezTo>
                    <a:pt x="350" y="144"/>
                    <a:pt x="353" y="141"/>
                    <a:pt x="353" y="136"/>
                  </a:cubicBezTo>
                  <a:cubicBezTo>
                    <a:pt x="353" y="104"/>
                    <a:pt x="353" y="104"/>
                    <a:pt x="353" y="104"/>
                  </a:cubicBezTo>
                  <a:cubicBezTo>
                    <a:pt x="353" y="101"/>
                    <a:pt x="351" y="99"/>
                    <a:pt x="349" y="97"/>
                  </a:cubicBezTo>
                  <a:cubicBezTo>
                    <a:pt x="349" y="97"/>
                    <a:pt x="349" y="97"/>
                    <a:pt x="349" y="97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80" y="1"/>
                    <a:pt x="180" y="1"/>
                    <a:pt x="180" y="1"/>
                  </a:cubicBezTo>
                  <a:cubicBezTo>
                    <a:pt x="179" y="0"/>
                    <a:pt x="178" y="0"/>
                    <a:pt x="176" y="0"/>
                  </a:cubicBezTo>
                  <a:cubicBezTo>
                    <a:pt x="175" y="0"/>
                    <a:pt x="174" y="0"/>
                    <a:pt x="173" y="1"/>
                  </a:cubicBezTo>
                  <a:cubicBezTo>
                    <a:pt x="173" y="1"/>
                    <a:pt x="173" y="1"/>
                    <a:pt x="173" y="1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2" y="99"/>
                    <a:pt x="0" y="101"/>
                    <a:pt x="0" y="104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41"/>
                    <a:pt x="3" y="144"/>
                    <a:pt x="8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32" y="289"/>
                    <a:pt x="32" y="289"/>
                    <a:pt x="32" y="289"/>
                  </a:cubicBezTo>
                  <a:cubicBezTo>
                    <a:pt x="24" y="289"/>
                    <a:pt x="24" y="289"/>
                    <a:pt x="24" y="289"/>
                  </a:cubicBezTo>
                  <a:cubicBezTo>
                    <a:pt x="20" y="289"/>
                    <a:pt x="18" y="291"/>
                    <a:pt x="16" y="294"/>
                  </a:cubicBezTo>
                  <a:cubicBezTo>
                    <a:pt x="16" y="294"/>
                    <a:pt x="16" y="294"/>
                    <a:pt x="16" y="294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43"/>
                    <a:pt x="0" y="344"/>
                    <a:pt x="0" y="345"/>
                  </a:cubicBezTo>
                  <a:cubicBezTo>
                    <a:pt x="0" y="349"/>
                    <a:pt x="3" y="353"/>
                    <a:pt x="8" y="353"/>
                  </a:cubicBezTo>
                  <a:cubicBezTo>
                    <a:pt x="345" y="353"/>
                    <a:pt x="345" y="353"/>
                    <a:pt x="345" y="353"/>
                  </a:cubicBezTo>
                  <a:cubicBezTo>
                    <a:pt x="350" y="353"/>
                    <a:pt x="353" y="349"/>
                    <a:pt x="353" y="345"/>
                  </a:cubicBezTo>
                  <a:cubicBezTo>
                    <a:pt x="353" y="344"/>
                    <a:pt x="353" y="343"/>
                    <a:pt x="353" y="342"/>
                  </a:cubicBezTo>
                  <a:cubicBezTo>
                    <a:pt x="353" y="342"/>
                    <a:pt x="353" y="342"/>
                    <a:pt x="353" y="342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7" y="294"/>
                    <a:pt x="337" y="294"/>
                    <a:pt x="337" y="294"/>
                  </a:cubicBezTo>
                  <a:cubicBezTo>
                    <a:pt x="335" y="291"/>
                    <a:pt x="333" y="289"/>
                    <a:pt x="329" y="289"/>
                  </a:cubicBezTo>
                  <a:cubicBezTo>
                    <a:pt x="321" y="289"/>
                    <a:pt x="321" y="289"/>
                    <a:pt x="321" y="289"/>
                  </a:cubicBezTo>
                  <a:cubicBezTo>
                    <a:pt x="321" y="144"/>
                    <a:pt x="321" y="144"/>
                    <a:pt x="321" y="144"/>
                  </a:cubicBezTo>
                  <a:lnTo>
                    <a:pt x="345" y="144"/>
                  </a:lnTo>
                  <a:close/>
                  <a:moveTo>
                    <a:pt x="176" y="17"/>
                  </a:moveTo>
                  <a:cubicBezTo>
                    <a:pt x="315" y="96"/>
                    <a:pt x="315" y="96"/>
                    <a:pt x="315" y="96"/>
                  </a:cubicBezTo>
                  <a:cubicBezTo>
                    <a:pt x="38" y="96"/>
                    <a:pt x="38" y="96"/>
                    <a:pt x="38" y="96"/>
                  </a:cubicBezTo>
                  <a:lnTo>
                    <a:pt x="176" y="17"/>
                  </a:lnTo>
                  <a:close/>
                  <a:moveTo>
                    <a:pt x="323" y="305"/>
                  </a:moveTo>
                  <a:cubicBezTo>
                    <a:pt x="334" y="337"/>
                    <a:pt x="334" y="337"/>
                    <a:pt x="334" y="337"/>
                  </a:cubicBezTo>
                  <a:cubicBezTo>
                    <a:pt x="19" y="337"/>
                    <a:pt x="19" y="337"/>
                    <a:pt x="19" y="337"/>
                  </a:cubicBezTo>
                  <a:cubicBezTo>
                    <a:pt x="30" y="305"/>
                    <a:pt x="30" y="305"/>
                    <a:pt x="30" y="305"/>
                  </a:cubicBezTo>
                  <a:lnTo>
                    <a:pt x="323" y="305"/>
                  </a:lnTo>
                  <a:close/>
                  <a:moveTo>
                    <a:pt x="48" y="144"/>
                  </a:moveTo>
                  <a:cubicBezTo>
                    <a:pt x="80" y="144"/>
                    <a:pt x="80" y="144"/>
                    <a:pt x="80" y="144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48" y="289"/>
                    <a:pt x="48" y="289"/>
                    <a:pt x="48" y="289"/>
                  </a:cubicBezTo>
                  <a:lnTo>
                    <a:pt x="48" y="144"/>
                  </a:lnTo>
                  <a:close/>
                  <a:moveTo>
                    <a:pt x="96" y="144"/>
                  </a:moveTo>
                  <a:cubicBezTo>
                    <a:pt x="128" y="144"/>
                    <a:pt x="128" y="144"/>
                    <a:pt x="128" y="144"/>
                  </a:cubicBezTo>
                  <a:cubicBezTo>
                    <a:pt x="128" y="289"/>
                    <a:pt x="128" y="289"/>
                    <a:pt x="128" y="289"/>
                  </a:cubicBezTo>
                  <a:cubicBezTo>
                    <a:pt x="96" y="289"/>
                    <a:pt x="96" y="289"/>
                    <a:pt x="96" y="289"/>
                  </a:cubicBezTo>
                  <a:lnTo>
                    <a:pt x="96" y="144"/>
                  </a:lnTo>
                  <a:close/>
                  <a:moveTo>
                    <a:pt x="144" y="144"/>
                  </a:moveTo>
                  <a:cubicBezTo>
                    <a:pt x="209" y="144"/>
                    <a:pt x="209" y="144"/>
                    <a:pt x="209" y="144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144" y="289"/>
                    <a:pt x="144" y="289"/>
                    <a:pt x="144" y="289"/>
                  </a:cubicBezTo>
                  <a:lnTo>
                    <a:pt x="144" y="144"/>
                  </a:lnTo>
                  <a:close/>
                  <a:moveTo>
                    <a:pt x="225" y="144"/>
                  </a:moveTo>
                  <a:cubicBezTo>
                    <a:pt x="257" y="144"/>
                    <a:pt x="257" y="144"/>
                    <a:pt x="257" y="144"/>
                  </a:cubicBezTo>
                  <a:cubicBezTo>
                    <a:pt x="257" y="289"/>
                    <a:pt x="257" y="289"/>
                    <a:pt x="257" y="289"/>
                  </a:cubicBezTo>
                  <a:cubicBezTo>
                    <a:pt x="225" y="289"/>
                    <a:pt x="225" y="289"/>
                    <a:pt x="225" y="289"/>
                  </a:cubicBezTo>
                  <a:lnTo>
                    <a:pt x="225" y="144"/>
                  </a:lnTo>
                  <a:close/>
                  <a:moveTo>
                    <a:pt x="273" y="144"/>
                  </a:moveTo>
                  <a:cubicBezTo>
                    <a:pt x="305" y="144"/>
                    <a:pt x="305" y="144"/>
                    <a:pt x="305" y="144"/>
                  </a:cubicBezTo>
                  <a:cubicBezTo>
                    <a:pt x="305" y="289"/>
                    <a:pt x="305" y="289"/>
                    <a:pt x="305" y="289"/>
                  </a:cubicBezTo>
                  <a:cubicBezTo>
                    <a:pt x="273" y="289"/>
                    <a:pt x="273" y="289"/>
                    <a:pt x="273" y="289"/>
                  </a:cubicBezTo>
                  <a:lnTo>
                    <a:pt x="273" y="144"/>
                  </a:lnTo>
                  <a:close/>
                  <a:moveTo>
                    <a:pt x="16" y="112"/>
                  </a:moveTo>
                  <a:cubicBezTo>
                    <a:pt x="337" y="112"/>
                    <a:pt x="337" y="112"/>
                    <a:pt x="337" y="112"/>
                  </a:cubicBezTo>
                  <a:cubicBezTo>
                    <a:pt x="337" y="128"/>
                    <a:pt x="337" y="128"/>
                    <a:pt x="337" y="128"/>
                  </a:cubicBezTo>
                  <a:cubicBezTo>
                    <a:pt x="16" y="128"/>
                    <a:pt x="16" y="128"/>
                    <a:pt x="16" y="128"/>
                  </a:cubicBezTo>
                  <a:lnTo>
                    <a:pt x="16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77"/>
            <p:cNvSpPr>
              <a:spLocks noEditPoints="1"/>
            </p:cNvSpPr>
            <p:nvPr/>
          </p:nvSpPr>
          <p:spPr bwMode="auto">
            <a:xfrm>
              <a:off x="3374685" y="3548105"/>
              <a:ext cx="257302" cy="258248"/>
            </a:xfrm>
            <a:custGeom>
              <a:avLst/>
              <a:gdLst>
                <a:gd name="T0" fmla="*/ 48 w 353"/>
                <a:gd name="T1" fmla="*/ 121 h 354"/>
                <a:gd name="T2" fmla="*/ 96 w 353"/>
                <a:gd name="T3" fmla="*/ 121 h 354"/>
                <a:gd name="T4" fmla="*/ 72 w 353"/>
                <a:gd name="T5" fmla="*/ 129 h 354"/>
                <a:gd name="T6" fmla="*/ 72 w 353"/>
                <a:gd name="T7" fmla="*/ 113 h 354"/>
                <a:gd name="T8" fmla="*/ 72 w 353"/>
                <a:gd name="T9" fmla="*/ 129 h 354"/>
                <a:gd name="T10" fmla="*/ 174 w 353"/>
                <a:gd name="T11" fmla="*/ 223 h 354"/>
                <a:gd name="T12" fmla="*/ 193 w 353"/>
                <a:gd name="T13" fmla="*/ 201 h 354"/>
                <a:gd name="T14" fmla="*/ 179 w 353"/>
                <a:gd name="T15" fmla="*/ 195 h 354"/>
                <a:gd name="T16" fmla="*/ 160 w 353"/>
                <a:gd name="T17" fmla="*/ 217 h 354"/>
                <a:gd name="T18" fmla="*/ 351 w 353"/>
                <a:gd name="T19" fmla="*/ 163 h 354"/>
                <a:gd name="T20" fmla="*/ 185 w 353"/>
                <a:gd name="T21" fmla="*/ 0 h 354"/>
                <a:gd name="T22" fmla="*/ 48 w 353"/>
                <a:gd name="T23" fmla="*/ 25 h 354"/>
                <a:gd name="T24" fmla="*/ 64 w 353"/>
                <a:gd name="T25" fmla="*/ 25 h 354"/>
                <a:gd name="T26" fmla="*/ 181 w 353"/>
                <a:gd name="T27" fmla="*/ 16 h 354"/>
                <a:gd name="T28" fmla="*/ 315 w 353"/>
                <a:gd name="T29" fmla="*/ 187 h 354"/>
                <a:gd name="T30" fmla="*/ 321 w 353"/>
                <a:gd name="T31" fmla="*/ 201 h 354"/>
                <a:gd name="T32" fmla="*/ 351 w 353"/>
                <a:gd name="T33" fmla="*/ 175 h 354"/>
                <a:gd name="T34" fmla="*/ 351 w 353"/>
                <a:gd name="T35" fmla="*/ 163 h 354"/>
                <a:gd name="T36" fmla="*/ 136 w 353"/>
                <a:gd name="T37" fmla="*/ 257 h 354"/>
                <a:gd name="T38" fmla="*/ 150 w 353"/>
                <a:gd name="T39" fmla="*/ 247 h 354"/>
                <a:gd name="T40" fmla="*/ 144 w 353"/>
                <a:gd name="T41" fmla="*/ 233 h 354"/>
                <a:gd name="T42" fmla="*/ 131 w 353"/>
                <a:gd name="T43" fmla="*/ 244 h 354"/>
                <a:gd name="T44" fmla="*/ 142 w 353"/>
                <a:gd name="T45" fmla="*/ 51 h 354"/>
                <a:gd name="T46" fmla="*/ 24 w 353"/>
                <a:gd name="T47" fmla="*/ 49 h 354"/>
                <a:gd name="T48" fmla="*/ 0 w 353"/>
                <a:gd name="T49" fmla="*/ 185 h 354"/>
                <a:gd name="T50" fmla="*/ 163 w 353"/>
                <a:gd name="T51" fmla="*/ 351 h 354"/>
                <a:gd name="T52" fmla="*/ 174 w 353"/>
                <a:gd name="T53" fmla="*/ 351 h 354"/>
                <a:gd name="T54" fmla="*/ 305 w 353"/>
                <a:gd name="T55" fmla="*/ 217 h 354"/>
                <a:gd name="T56" fmla="*/ 142 w 353"/>
                <a:gd name="T57" fmla="*/ 51 h 354"/>
                <a:gd name="T58" fmla="*/ 16 w 353"/>
                <a:gd name="T59" fmla="*/ 182 h 354"/>
                <a:gd name="T60" fmla="*/ 24 w 353"/>
                <a:gd name="T61" fmla="*/ 65 h 354"/>
                <a:gd name="T62" fmla="*/ 286 w 353"/>
                <a:gd name="T63" fmla="*/ 217 h 354"/>
                <a:gd name="T64" fmla="*/ 168 w 353"/>
                <a:gd name="T65" fmla="*/ 289 h 354"/>
                <a:gd name="T66" fmla="*/ 206 w 353"/>
                <a:gd name="T67" fmla="*/ 255 h 354"/>
                <a:gd name="T68" fmla="*/ 201 w 353"/>
                <a:gd name="T69" fmla="*/ 241 h 354"/>
                <a:gd name="T70" fmla="*/ 163 w 353"/>
                <a:gd name="T71" fmla="*/ 276 h 354"/>
                <a:gd name="T72" fmla="*/ 168 w 353"/>
                <a:gd name="T73" fmla="*/ 289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53" h="354">
                  <a:moveTo>
                    <a:pt x="72" y="97"/>
                  </a:moveTo>
                  <a:cubicBezTo>
                    <a:pt x="59" y="97"/>
                    <a:pt x="48" y="108"/>
                    <a:pt x="48" y="121"/>
                  </a:cubicBezTo>
                  <a:cubicBezTo>
                    <a:pt x="48" y="134"/>
                    <a:pt x="59" y="145"/>
                    <a:pt x="72" y="145"/>
                  </a:cubicBezTo>
                  <a:cubicBezTo>
                    <a:pt x="85" y="145"/>
                    <a:pt x="96" y="134"/>
                    <a:pt x="96" y="121"/>
                  </a:cubicBezTo>
                  <a:cubicBezTo>
                    <a:pt x="96" y="108"/>
                    <a:pt x="85" y="97"/>
                    <a:pt x="72" y="97"/>
                  </a:cubicBezTo>
                  <a:moveTo>
                    <a:pt x="72" y="129"/>
                  </a:moveTo>
                  <a:cubicBezTo>
                    <a:pt x="68" y="129"/>
                    <a:pt x="64" y="125"/>
                    <a:pt x="64" y="121"/>
                  </a:cubicBezTo>
                  <a:cubicBezTo>
                    <a:pt x="64" y="116"/>
                    <a:pt x="68" y="113"/>
                    <a:pt x="72" y="113"/>
                  </a:cubicBezTo>
                  <a:cubicBezTo>
                    <a:pt x="77" y="113"/>
                    <a:pt x="80" y="116"/>
                    <a:pt x="80" y="121"/>
                  </a:cubicBezTo>
                  <a:cubicBezTo>
                    <a:pt x="80" y="125"/>
                    <a:pt x="77" y="129"/>
                    <a:pt x="72" y="129"/>
                  </a:cubicBezTo>
                  <a:moveTo>
                    <a:pt x="168" y="225"/>
                  </a:moveTo>
                  <a:cubicBezTo>
                    <a:pt x="171" y="225"/>
                    <a:pt x="173" y="224"/>
                    <a:pt x="174" y="223"/>
                  </a:cubicBezTo>
                  <a:cubicBezTo>
                    <a:pt x="190" y="207"/>
                    <a:pt x="190" y="207"/>
                    <a:pt x="190" y="207"/>
                  </a:cubicBezTo>
                  <a:cubicBezTo>
                    <a:pt x="192" y="205"/>
                    <a:pt x="193" y="203"/>
                    <a:pt x="193" y="201"/>
                  </a:cubicBezTo>
                  <a:cubicBezTo>
                    <a:pt x="193" y="197"/>
                    <a:pt x="189" y="193"/>
                    <a:pt x="185" y="193"/>
                  </a:cubicBezTo>
                  <a:cubicBezTo>
                    <a:pt x="182" y="193"/>
                    <a:pt x="180" y="194"/>
                    <a:pt x="179" y="195"/>
                  </a:cubicBezTo>
                  <a:cubicBezTo>
                    <a:pt x="163" y="212"/>
                    <a:pt x="163" y="212"/>
                    <a:pt x="163" y="212"/>
                  </a:cubicBezTo>
                  <a:cubicBezTo>
                    <a:pt x="161" y="213"/>
                    <a:pt x="160" y="215"/>
                    <a:pt x="160" y="217"/>
                  </a:cubicBezTo>
                  <a:cubicBezTo>
                    <a:pt x="160" y="222"/>
                    <a:pt x="164" y="225"/>
                    <a:pt x="168" y="225"/>
                  </a:cubicBezTo>
                  <a:moveTo>
                    <a:pt x="351" y="163"/>
                  </a:moveTo>
                  <a:cubicBezTo>
                    <a:pt x="190" y="3"/>
                    <a:pt x="190" y="3"/>
                    <a:pt x="190" y="3"/>
                  </a:cubicBezTo>
                  <a:cubicBezTo>
                    <a:pt x="189" y="1"/>
                    <a:pt x="187" y="0"/>
                    <a:pt x="185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9" y="0"/>
                    <a:pt x="48" y="11"/>
                    <a:pt x="48" y="25"/>
                  </a:cubicBezTo>
                  <a:cubicBezTo>
                    <a:pt x="48" y="29"/>
                    <a:pt x="52" y="33"/>
                    <a:pt x="56" y="33"/>
                  </a:cubicBezTo>
                  <a:cubicBezTo>
                    <a:pt x="61" y="33"/>
                    <a:pt x="64" y="29"/>
                    <a:pt x="64" y="25"/>
                  </a:cubicBezTo>
                  <a:cubicBezTo>
                    <a:pt x="64" y="20"/>
                    <a:pt x="68" y="16"/>
                    <a:pt x="72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334" y="169"/>
                    <a:pt x="334" y="169"/>
                    <a:pt x="334" y="169"/>
                  </a:cubicBezTo>
                  <a:cubicBezTo>
                    <a:pt x="315" y="187"/>
                    <a:pt x="315" y="187"/>
                    <a:pt x="315" y="187"/>
                  </a:cubicBezTo>
                  <a:cubicBezTo>
                    <a:pt x="314" y="189"/>
                    <a:pt x="313" y="191"/>
                    <a:pt x="313" y="193"/>
                  </a:cubicBezTo>
                  <a:cubicBezTo>
                    <a:pt x="313" y="198"/>
                    <a:pt x="317" y="201"/>
                    <a:pt x="321" y="201"/>
                  </a:cubicBezTo>
                  <a:cubicBezTo>
                    <a:pt x="323" y="201"/>
                    <a:pt x="325" y="200"/>
                    <a:pt x="327" y="199"/>
                  </a:cubicBezTo>
                  <a:cubicBezTo>
                    <a:pt x="351" y="175"/>
                    <a:pt x="351" y="175"/>
                    <a:pt x="351" y="175"/>
                  </a:cubicBezTo>
                  <a:cubicBezTo>
                    <a:pt x="352" y="173"/>
                    <a:pt x="353" y="171"/>
                    <a:pt x="353" y="169"/>
                  </a:cubicBezTo>
                  <a:cubicBezTo>
                    <a:pt x="353" y="167"/>
                    <a:pt x="352" y="165"/>
                    <a:pt x="351" y="163"/>
                  </a:cubicBezTo>
                  <a:moveTo>
                    <a:pt x="128" y="249"/>
                  </a:moveTo>
                  <a:cubicBezTo>
                    <a:pt x="128" y="254"/>
                    <a:pt x="132" y="257"/>
                    <a:pt x="136" y="257"/>
                  </a:cubicBezTo>
                  <a:cubicBezTo>
                    <a:pt x="139" y="257"/>
                    <a:pt x="141" y="256"/>
                    <a:pt x="142" y="255"/>
                  </a:cubicBezTo>
                  <a:cubicBezTo>
                    <a:pt x="150" y="247"/>
                    <a:pt x="150" y="247"/>
                    <a:pt x="150" y="247"/>
                  </a:cubicBezTo>
                  <a:cubicBezTo>
                    <a:pt x="152" y="245"/>
                    <a:pt x="152" y="243"/>
                    <a:pt x="152" y="241"/>
                  </a:cubicBezTo>
                  <a:cubicBezTo>
                    <a:pt x="152" y="237"/>
                    <a:pt x="149" y="233"/>
                    <a:pt x="144" y="233"/>
                  </a:cubicBezTo>
                  <a:cubicBezTo>
                    <a:pt x="142" y="233"/>
                    <a:pt x="140" y="234"/>
                    <a:pt x="139" y="236"/>
                  </a:cubicBezTo>
                  <a:cubicBezTo>
                    <a:pt x="131" y="244"/>
                    <a:pt x="131" y="244"/>
                    <a:pt x="131" y="244"/>
                  </a:cubicBezTo>
                  <a:cubicBezTo>
                    <a:pt x="129" y="245"/>
                    <a:pt x="128" y="247"/>
                    <a:pt x="128" y="249"/>
                  </a:cubicBezTo>
                  <a:moveTo>
                    <a:pt x="142" y="51"/>
                  </a:moveTo>
                  <a:cubicBezTo>
                    <a:pt x="141" y="49"/>
                    <a:pt x="139" y="49"/>
                    <a:pt x="136" y="49"/>
                  </a:cubicBez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59"/>
                    <a:pt x="0" y="73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187"/>
                    <a:pt x="1" y="189"/>
                    <a:pt x="2" y="191"/>
                  </a:cubicBezTo>
                  <a:cubicBezTo>
                    <a:pt x="163" y="351"/>
                    <a:pt x="163" y="351"/>
                    <a:pt x="163" y="351"/>
                  </a:cubicBezTo>
                  <a:cubicBezTo>
                    <a:pt x="164" y="353"/>
                    <a:pt x="166" y="354"/>
                    <a:pt x="168" y="354"/>
                  </a:cubicBezTo>
                  <a:cubicBezTo>
                    <a:pt x="171" y="354"/>
                    <a:pt x="173" y="353"/>
                    <a:pt x="174" y="351"/>
                  </a:cubicBezTo>
                  <a:cubicBezTo>
                    <a:pt x="303" y="223"/>
                    <a:pt x="303" y="223"/>
                    <a:pt x="303" y="223"/>
                  </a:cubicBezTo>
                  <a:cubicBezTo>
                    <a:pt x="304" y="221"/>
                    <a:pt x="305" y="219"/>
                    <a:pt x="305" y="217"/>
                  </a:cubicBezTo>
                  <a:cubicBezTo>
                    <a:pt x="305" y="215"/>
                    <a:pt x="304" y="213"/>
                    <a:pt x="303" y="212"/>
                  </a:cubicBezTo>
                  <a:lnTo>
                    <a:pt x="142" y="51"/>
                  </a:lnTo>
                  <a:close/>
                  <a:moveTo>
                    <a:pt x="168" y="334"/>
                  </a:moveTo>
                  <a:cubicBezTo>
                    <a:pt x="16" y="182"/>
                    <a:pt x="16" y="182"/>
                    <a:pt x="16" y="182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68"/>
                    <a:pt x="20" y="65"/>
                    <a:pt x="24" y="65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286" y="217"/>
                    <a:pt x="286" y="217"/>
                    <a:pt x="286" y="217"/>
                  </a:cubicBezTo>
                  <a:lnTo>
                    <a:pt x="168" y="334"/>
                  </a:lnTo>
                  <a:close/>
                  <a:moveTo>
                    <a:pt x="168" y="289"/>
                  </a:moveTo>
                  <a:cubicBezTo>
                    <a:pt x="171" y="289"/>
                    <a:pt x="173" y="289"/>
                    <a:pt x="174" y="287"/>
                  </a:cubicBezTo>
                  <a:cubicBezTo>
                    <a:pt x="206" y="255"/>
                    <a:pt x="206" y="255"/>
                    <a:pt x="206" y="255"/>
                  </a:cubicBezTo>
                  <a:cubicBezTo>
                    <a:pt x="208" y="254"/>
                    <a:pt x="209" y="252"/>
                    <a:pt x="209" y="249"/>
                  </a:cubicBezTo>
                  <a:cubicBezTo>
                    <a:pt x="209" y="245"/>
                    <a:pt x="205" y="241"/>
                    <a:pt x="201" y="241"/>
                  </a:cubicBezTo>
                  <a:cubicBezTo>
                    <a:pt x="198" y="241"/>
                    <a:pt x="196" y="242"/>
                    <a:pt x="195" y="244"/>
                  </a:cubicBezTo>
                  <a:cubicBezTo>
                    <a:pt x="163" y="276"/>
                    <a:pt x="163" y="276"/>
                    <a:pt x="163" y="276"/>
                  </a:cubicBezTo>
                  <a:cubicBezTo>
                    <a:pt x="161" y="277"/>
                    <a:pt x="160" y="279"/>
                    <a:pt x="160" y="281"/>
                  </a:cubicBezTo>
                  <a:cubicBezTo>
                    <a:pt x="160" y="286"/>
                    <a:pt x="164" y="289"/>
                    <a:pt x="168" y="2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853621" y="1534857"/>
            <a:ext cx="1436758" cy="481004"/>
            <a:chOff x="3853621" y="1534857"/>
            <a:chExt cx="1436758" cy="481004"/>
          </a:xfrm>
        </p:grpSpPr>
        <p:sp>
          <p:nvSpPr>
            <p:cNvPr id="48" name="TextBox 47"/>
            <p:cNvSpPr txBox="1"/>
            <p:nvPr/>
          </p:nvSpPr>
          <p:spPr>
            <a:xfrm>
              <a:off x="385365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rabalh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ur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853621" y="1731552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524620" y="2168941"/>
            <a:ext cx="1436758" cy="481004"/>
            <a:chOff x="1524620" y="2168941"/>
            <a:chExt cx="1436758" cy="481004"/>
          </a:xfrm>
        </p:grpSpPr>
        <p:sp>
          <p:nvSpPr>
            <p:cNvPr id="55" name="TextBox 54"/>
            <p:cNvSpPr txBox="1"/>
            <p:nvPr/>
          </p:nvSpPr>
          <p:spPr>
            <a:xfrm>
              <a:off x="1524649" y="2168941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esso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524620" y="2365636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291485" y="2168941"/>
            <a:ext cx="1436758" cy="479786"/>
            <a:chOff x="6291485" y="2168941"/>
            <a:chExt cx="1436758" cy="479786"/>
          </a:xfrm>
        </p:grpSpPr>
        <p:sp>
          <p:nvSpPr>
            <p:cNvPr id="58" name="TextBox 57"/>
            <p:cNvSpPr txBox="1"/>
            <p:nvPr/>
          </p:nvSpPr>
          <p:spPr>
            <a:xfrm>
              <a:off x="6291514" y="2168941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blema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291485" y="2365636"/>
              <a:ext cx="143675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63841" y="3341870"/>
            <a:ext cx="1436758" cy="479786"/>
            <a:chOff x="1063841" y="3341870"/>
            <a:chExt cx="1436758" cy="479786"/>
          </a:xfrm>
        </p:grpSpPr>
        <p:sp>
          <p:nvSpPr>
            <p:cNvPr id="52" name="TextBox 51"/>
            <p:cNvSpPr txBox="1"/>
            <p:nvPr/>
          </p:nvSpPr>
          <p:spPr>
            <a:xfrm>
              <a:off x="1063870" y="3341870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Novas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arca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063841" y="3538565"/>
              <a:ext cx="143675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643401" y="3341870"/>
            <a:ext cx="1436758" cy="479786"/>
            <a:chOff x="6643401" y="3341870"/>
            <a:chExt cx="1436758" cy="479786"/>
          </a:xfrm>
        </p:grpSpPr>
        <p:sp>
          <p:nvSpPr>
            <p:cNvPr id="61" name="TextBox 60"/>
            <p:cNvSpPr txBox="1"/>
            <p:nvPr/>
          </p:nvSpPr>
          <p:spPr>
            <a:xfrm>
              <a:off x="6643430" y="3341870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dados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643401" y="3538565"/>
              <a:ext cx="1436758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117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BLEMAS &amp; </a:t>
            </a:r>
            <a:r>
              <a:rPr lang="en-US" dirty="0">
                <a:solidFill>
                  <a:srgbClr val="EC0000"/>
                </a:solidFill>
              </a:rPr>
              <a:t>SOLUÇÕ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634113" y="2026794"/>
            <a:ext cx="1333678" cy="1701475"/>
            <a:chOff x="12577763" y="4062413"/>
            <a:chExt cx="3833812" cy="4891087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13144500" y="4062413"/>
              <a:ext cx="3267075" cy="4456113"/>
            </a:xfrm>
            <a:custGeom>
              <a:avLst/>
              <a:gdLst>
                <a:gd name="T0" fmla="*/ 12 w 2415"/>
                <a:gd name="T1" fmla="*/ 2769 h 3295"/>
                <a:gd name="T2" fmla="*/ 1457 w 2415"/>
                <a:gd name="T3" fmla="*/ 3295 h 3295"/>
                <a:gd name="T4" fmla="*/ 1553 w 2415"/>
                <a:gd name="T5" fmla="*/ 2819 h 3295"/>
                <a:gd name="T6" fmla="*/ 1703 w 2415"/>
                <a:gd name="T7" fmla="*/ 2656 h 3295"/>
                <a:gd name="T8" fmla="*/ 1882 w 2415"/>
                <a:gd name="T9" fmla="*/ 2589 h 3295"/>
                <a:gd name="T10" fmla="*/ 2063 w 2415"/>
                <a:gd name="T11" fmla="*/ 2487 h 3295"/>
                <a:gd name="T12" fmla="*/ 2123 w 2415"/>
                <a:gd name="T13" fmla="*/ 2306 h 3295"/>
                <a:gd name="T14" fmla="*/ 2102 w 2415"/>
                <a:gd name="T15" fmla="*/ 2196 h 3295"/>
                <a:gd name="T16" fmla="*/ 2135 w 2415"/>
                <a:gd name="T17" fmla="*/ 2070 h 3295"/>
                <a:gd name="T18" fmla="*/ 2187 w 2415"/>
                <a:gd name="T19" fmla="*/ 2019 h 3295"/>
                <a:gd name="T20" fmla="*/ 2193 w 2415"/>
                <a:gd name="T21" fmla="*/ 1949 h 3295"/>
                <a:gd name="T22" fmla="*/ 2191 w 2415"/>
                <a:gd name="T23" fmla="*/ 1946 h 3295"/>
                <a:gd name="T24" fmla="*/ 2186 w 2415"/>
                <a:gd name="T25" fmla="*/ 1935 h 3295"/>
                <a:gd name="T26" fmla="*/ 2199 w 2415"/>
                <a:gd name="T27" fmla="*/ 1909 h 3295"/>
                <a:gd name="T28" fmla="*/ 2200 w 2415"/>
                <a:gd name="T29" fmla="*/ 1909 h 3295"/>
                <a:gd name="T30" fmla="*/ 2211 w 2415"/>
                <a:gd name="T31" fmla="*/ 1865 h 3295"/>
                <a:gd name="T32" fmla="*/ 2160 w 2415"/>
                <a:gd name="T33" fmla="*/ 1730 h 3295"/>
                <a:gd name="T34" fmla="*/ 2165 w 2415"/>
                <a:gd name="T35" fmla="*/ 1685 h 3295"/>
                <a:gd name="T36" fmla="*/ 2204 w 2415"/>
                <a:gd name="T37" fmla="*/ 1657 h 3295"/>
                <a:gd name="T38" fmla="*/ 2294 w 2415"/>
                <a:gd name="T39" fmla="*/ 1646 h 3295"/>
                <a:gd name="T40" fmla="*/ 2403 w 2415"/>
                <a:gd name="T41" fmla="*/ 1503 h 3295"/>
                <a:gd name="T42" fmla="*/ 2374 w 2415"/>
                <a:gd name="T43" fmla="*/ 1442 h 3295"/>
                <a:gd name="T44" fmla="*/ 2112 w 2415"/>
                <a:gd name="T45" fmla="*/ 1157 h 3295"/>
                <a:gd name="T46" fmla="*/ 2023 w 2415"/>
                <a:gd name="T47" fmla="*/ 1009 h 3295"/>
                <a:gd name="T48" fmla="*/ 1839 w 2415"/>
                <a:gd name="T49" fmla="*/ 582 h 3295"/>
                <a:gd name="T50" fmla="*/ 1868 w 2415"/>
                <a:gd name="T51" fmla="*/ 536 h 3295"/>
                <a:gd name="T52" fmla="*/ 1939 w 2415"/>
                <a:gd name="T53" fmla="*/ 519 h 3295"/>
                <a:gd name="T54" fmla="*/ 1992 w 2415"/>
                <a:gd name="T55" fmla="*/ 461 h 3295"/>
                <a:gd name="T56" fmla="*/ 1972 w 2415"/>
                <a:gd name="T57" fmla="*/ 413 h 3295"/>
                <a:gd name="T58" fmla="*/ 1504 w 2415"/>
                <a:gd name="T59" fmla="*/ 81 h 3295"/>
                <a:gd name="T60" fmla="*/ 922 w 2415"/>
                <a:gd name="T61" fmla="*/ 8 h 3295"/>
                <a:gd name="T62" fmla="*/ 268 w 2415"/>
                <a:gd name="T63" fmla="*/ 265 h 3295"/>
                <a:gd name="T64" fmla="*/ 7 w 2415"/>
                <a:gd name="T65" fmla="*/ 988 h 3295"/>
                <a:gd name="T66" fmla="*/ 225 w 2415"/>
                <a:gd name="T67" fmla="*/ 2202 h 3295"/>
                <a:gd name="T68" fmla="*/ 223 w 2415"/>
                <a:gd name="T69" fmla="*/ 2448 h 3295"/>
                <a:gd name="T70" fmla="*/ 12 w 2415"/>
                <a:gd name="T71" fmla="*/ 2769 h 3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5" h="3295">
                  <a:moveTo>
                    <a:pt x="12" y="2769"/>
                  </a:moveTo>
                  <a:cubicBezTo>
                    <a:pt x="1457" y="3295"/>
                    <a:pt x="1457" y="3295"/>
                    <a:pt x="1457" y="3295"/>
                  </a:cubicBezTo>
                  <a:cubicBezTo>
                    <a:pt x="1553" y="2819"/>
                    <a:pt x="1553" y="2819"/>
                    <a:pt x="1553" y="2819"/>
                  </a:cubicBezTo>
                  <a:cubicBezTo>
                    <a:pt x="1569" y="2741"/>
                    <a:pt x="1627" y="2678"/>
                    <a:pt x="1703" y="2656"/>
                  </a:cubicBezTo>
                  <a:cubicBezTo>
                    <a:pt x="1749" y="2642"/>
                    <a:pt x="1809" y="2621"/>
                    <a:pt x="1882" y="2589"/>
                  </a:cubicBezTo>
                  <a:cubicBezTo>
                    <a:pt x="1954" y="2558"/>
                    <a:pt x="2027" y="2521"/>
                    <a:pt x="2063" y="2487"/>
                  </a:cubicBezTo>
                  <a:cubicBezTo>
                    <a:pt x="2113" y="2441"/>
                    <a:pt x="2135" y="2372"/>
                    <a:pt x="2123" y="2306"/>
                  </a:cubicBezTo>
                  <a:cubicBezTo>
                    <a:pt x="2102" y="2196"/>
                    <a:pt x="2102" y="2196"/>
                    <a:pt x="2102" y="2196"/>
                  </a:cubicBezTo>
                  <a:cubicBezTo>
                    <a:pt x="2082" y="2152"/>
                    <a:pt x="2095" y="2099"/>
                    <a:pt x="2135" y="2070"/>
                  </a:cubicBezTo>
                  <a:cubicBezTo>
                    <a:pt x="2187" y="2019"/>
                    <a:pt x="2187" y="2019"/>
                    <a:pt x="2187" y="2019"/>
                  </a:cubicBezTo>
                  <a:cubicBezTo>
                    <a:pt x="2209" y="1998"/>
                    <a:pt x="2216" y="1970"/>
                    <a:pt x="2193" y="1949"/>
                  </a:cubicBezTo>
                  <a:cubicBezTo>
                    <a:pt x="2192" y="1948"/>
                    <a:pt x="2192" y="1947"/>
                    <a:pt x="2191" y="1946"/>
                  </a:cubicBezTo>
                  <a:cubicBezTo>
                    <a:pt x="2190" y="1944"/>
                    <a:pt x="2187" y="1937"/>
                    <a:pt x="2186" y="1935"/>
                  </a:cubicBezTo>
                  <a:cubicBezTo>
                    <a:pt x="2183" y="1924"/>
                    <a:pt x="2189" y="1913"/>
                    <a:pt x="2199" y="1909"/>
                  </a:cubicBezTo>
                  <a:cubicBezTo>
                    <a:pt x="2200" y="1909"/>
                    <a:pt x="2200" y="1909"/>
                    <a:pt x="2200" y="1909"/>
                  </a:cubicBezTo>
                  <a:cubicBezTo>
                    <a:pt x="2211" y="1897"/>
                    <a:pt x="2215" y="1880"/>
                    <a:pt x="2211" y="1865"/>
                  </a:cubicBezTo>
                  <a:cubicBezTo>
                    <a:pt x="2160" y="1730"/>
                    <a:pt x="2160" y="1730"/>
                    <a:pt x="2160" y="1730"/>
                  </a:cubicBezTo>
                  <a:cubicBezTo>
                    <a:pt x="2156" y="1714"/>
                    <a:pt x="2158" y="1699"/>
                    <a:pt x="2165" y="1685"/>
                  </a:cubicBezTo>
                  <a:cubicBezTo>
                    <a:pt x="2173" y="1670"/>
                    <a:pt x="2187" y="1660"/>
                    <a:pt x="2204" y="1657"/>
                  </a:cubicBezTo>
                  <a:cubicBezTo>
                    <a:pt x="2294" y="1646"/>
                    <a:pt x="2294" y="1646"/>
                    <a:pt x="2294" y="1646"/>
                  </a:cubicBezTo>
                  <a:cubicBezTo>
                    <a:pt x="2364" y="1637"/>
                    <a:pt x="2415" y="1572"/>
                    <a:pt x="2403" y="1503"/>
                  </a:cubicBezTo>
                  <a:cubicBezTo>
                    <a:pt x="2399" y="1481"/>
                    <a:pt x="2390" y="1460"/>
                    <a:pt x="2374" y="1442"/>
                  </a:cubicBezTo>
                  <a:cubicBezTo>
                    <a:pt x="2112" y="1157"/>
                    <a:pt x="2112" y="1157"/>
                    <a:pt x="2112" y="1157"/>
                  </a:cubicBezTo>
                  <a:cubicBezTo>
                    <a:pt x="2074" y="1113"/>
                    <a:pt x="2044" y="1063"/>
                    <a:pt x="2023" y="1009"/>
                  </a:cubicBezTo>
                  <a:cubicBezTo>
                    <a:pt x="1839" y="582"/>
                    <a:pt x="1839" y="582"/>
                    <a:pt x="1839" y="582"/>
                  </a:cubicBezTo>
                  <a:cubicBezTo>
                    <a:pt x="1830" y="560"/>
                    <a:pt x="1845" y="537"/>
                    <a:pt x="1868" y="536"/>
                  </a:cubicBezTo>
                  <a:cubicBezTo>
                    <a:pt x="1889" y="536"/>
                    <a:pt x="1913" y="532"/>
                    <a:pt x="1939" y="519"/>
                  </a:cubicBezTo>
                  <a:cubicBezTo>
                    <a:pt x="1974" y="502"/>
                    <a:pt x="1985" y="485"/>
                    <a:pt x="1992" y="461"/>
                  </a:cubicBezTo>
                  <a:cubicBezTo>
                    <a:pt x="1996" y="446"/>
                    <a:pt x="1983" y="428"/>
                    <a:pt x="1972" y="413"/>
                  </a:cubicBezTo>
                  <a:cubicBezTo>
                    <a:pt x="1915" y="335"/>
                    <a:pt x="1729" y="184"/>
                    <a:pt x="1504" y="81"/>
                  </a:cubicBezTo>
                  <a:cubicBezTo>
                    <a:pt x="1327" y="1"/>
                    <a:pt x="1068" y="0"/>
                    <a:pt x="922" y="8"/>
                  </a:cubicBezTo>
                  <a:cubicBezTo>
                    <a:pt x="746" y="19"/>
                    <a:pt x="467" y="66"/>
                    <a:pt x="268" y="265"/>
                  </a:cubicBezTo>
                  <a:cubicBezTo>
                    <a:pt x="59" y="474"/>
                    <a:pt x="0" y="690"/>
                    <a:pt x="7" y="988"/>
                  </a:cubicBezTo>
                  <a:cubicBezTo>
                    <a:pt x="17" y="1449"/>
                    <a:pt x="187" y="2042"/>
                    <a:pt x="225" y="2202"/>
                  </a:cubicBezTo>
                  <a:cubicBezTo>
                    <a:pt x="229" y="2221"/>
                    <a:pt x="247" y="2342"/>
                    <a:pt x="223" y="2448"/>
                  </a:cubicBezTo>
                  <a:cubicBezTo>
                    <a:pt x="209" y="2513"/>
                    <a:pt x="12" y="2769"/>
                    <a:pt x="12" y="2769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2577763" y="7947025"/>
              <a:ext cx="2598737" cy="1006475"/>
            </a:xfrm>
            <a:custGeom>
              <a:avLst/>
              <a:gdLst>
                <a:gd name="T0" fmla="*/ 372 w 1921"/>
                <a:gd name="T1" fmla="*/ 0 h 744"/>
                <a:gd name="T2" fmla="*/ 12 w 1921"/>
                <a:gd name="T3" fmla="*/ 691 h 744"/>
                <a:gd name="T4" fmla="*/ 44 w 1921"/>
                <a:gd name="T5" fmla="*/ 744 h 744"/>
                <a:gd name="T6" fmla="*/ 1878 w 1921"/>
                <a:gd name="T7" fmla="*/ 744 h 744"/>
                <a:gd name="T8" fmla="*/ 1912 w 1921"/>
                <a:gd name="T9" fmla="*/ 694 h 744"/>
                <a:gd name="T10" fmla="*/ 1868 w 1921"/>
                <a:gd name="T11" fmla="*/ 584 h 744"/>
                <a:gd name="T12" fmla="*/ 372 w 1921"/>
                <a:gd name="T13" fmla="*/ 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1" h="744">
                  <a:moveTo>
                    <a:pt x="372" y="0"/>
                  </a:moveTo>
                  <a:cubicBezTo>
                    <a:pt x="12" y="691"/>
                    <a:pt x="12" y="691"/>
                    <a:pt x="12" y="691"/>
                  </a:cubicBezTo>
                  <a:cubicBezTo>
                    <a:pt x="0" y="715"/>
                    <a:pt x="17" y="744"/>
                    <a:pt x="44" y="744"/>
                  </a:cubicBezTo>
                  <a:cubicBezTo>
                    <a:pt x="1878" y="744"/>
                    <a:pt x="1878" y="744"/>
                    <a:pt x="1878" y="744"/>
                  </a:cubicBezTo>
                  <a:cubicBezTo>
                    <a:pt x="1904" y="744"/>
                    <a:pt x="1921" y="718"/>
                    <a:pt x="1912" y="694"/>
                  </a:cubicBezTo>
                  <a:cubicBezTo>
                    <a:pt x="1868" y="584"/>
                    <a:pt x="1868" y="584"/>
                    <a:pt x="1868" y="584"/>
                  </a:cubicBezTo>
                  <a:lnTo>
                    <a:pt x="37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7" name="Freeform 7"/>
            <p:cNvSpPr>
              <a:spLocks/>
            </p:cNvSpPr>
            <p:nvPr/>
          </p:nvSpPr>
          <p:spPr bwMode="auto">
            <a:xfrm>
              <a:off x="12982575" y="7742238"/>
              <a:ext cx="2193925" cy="1047750"/>
            </a:xfrm>
            <a:custGeom>
              <a:avLst/>
              <a:gdLst>
                <a:gd name="T0" fmla="*/ 150 w 1622"/>
                <a:gd name="T1" fmla="*/ 5 h 774"/>
                <a:gd name="T2" fmla="*/ 1601 w 1622"/>
                <a:gd name="T3" fmla="*/ 524 h 774"/>
                <a:gd name="T4" fmla="*/ 1619 w 1622"/>
                <a:gd name="T5" fmla="*/ 556 h 774"/>
                <a:gd name="T6" fmla="*/ 1576 w 1622"/>
                <a:gd name="T7" fmla="*/ 748 h 774"/>
                <a:gd name="T8" fmla="*/ 1541 w 1622"/>
                <a:gd name="T9" fmla="*/ 768 h 774"/>
                <a:gd name="T10" fmla="*/ 24 w 1622"/>
                <a:gd name="T11" fmla="*/ 247 h 774"/>
                <a:gd name="T12" fmla="*/ 9 w 1622"/>
                <a:gd name="T13" fmla="*/ 208 h 774"/>
                <a:gd name="T14" fmla="*/ 117 w 1622"/>
                <a:gd name="T15" fmla="*/ 17 h 774"/>
                <a:gd name="T16" fmla="*/ 150 w 1622"/>
                <a:gd name="T17" fmla="*/ 5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2" h="774">
                  <a:moveTo>
                    <a:pt x="150" y="5"/>
                  </a:moveTo>
                  <a:cubicBezTo>
                    <a:pt x="1601" y="524"/>
                    <a:pt x="1601" y="524"/>
                    <a:pt x="1601" y="524"/>
                  </a:cubicBezTo>
                  <a:cubicBezTo>
                    <a:pt x="1614" y="529"/>
                    <a:pt x="1622" y="543"/>
                    <a:pt x="1619" y="556"/>
                  </a:cubicBezTo>
                  <a:cubicBezTo>
                    <a:pt x="1576" y="748"/>
                    <a:pt x="1576" y="748"/>
                    <a:pt x="1576" y="748"/>
                  </a:cubicBezTo>
                  <a:cubicBezTo>
                    <a:pt x="1573" y="764"/>
                    <a:pt x="1556" y="774"/>
                    <a:pt x="1541" y="768"/>
                  </a:cubicBezTo>
                  <a:cubicBezTo>
                    <a:pt x="24" y="247"/>
                    <a:pt x="24" y="247"/>
                    <a:pt x="24" y="247"/>
                  </a:cubicBezTo>
                  <a:cubicBezTo>
                    <a:pt x="7" y="241"/>
                    <a:pt x="0" y="223"/>
                    <a:pt x="9" y="208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4" y="6"/>
                    <a:pt x="138" y="0"/>
                    <a:pt x="150" y="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8" name="Group 7"/>
          <p:cNvGrpSpPr/>
          <p:nvPr/>
        </p:nvGrpSpPr>
        <p:grpSpPr>
          <a:xfrm flipH="1">
            <a:off x="3176209" y="2026794"/>
            <a:ext cx="1333678" cy="1701475"/>
            <a:chOff x="12577763" y="4062413"/>
            <a:chExt cx="3833812" cy="4891087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13144500" y="4062413"/>
              <a:ext cx="3267075" cy="4456113"/>
            </a:xfrm>
            <a:custGeom>
              <a:avLst/>
              <a:gdLst>
                <a:gd name="T0" fmla="*/ 12 w 2415"/>
                <a:gd name="T1" fmla="*/ 2769 h 3295"/>
                <a:gd name="T2" fmla="*/ 1457 w 2415"/>
                <a:gd name="T3" fmla="*/ 3295 h 3295"/>
                <a:gd name="T4" fmla="*/ 1553 w 2415"/>
                <a:gd name="T5" fmla="*/ 2819 h 3295"/>
                <a:gd name="T6" fmla="*/ 1703 w 2415"/>
                <a:gd name="T7" fmla="*/ 2656 h 3295"/>
                <a:gd name="T8" fmla="*/ 1882 w 2415"/>
                <a:gd name="T9" fmla="*/ 2589 h 3295"/>
                <a:gd name="T10" fmla="*/ 2063 w 2415"/>
                <a:gd name="T11" fmla="*/ 2487 h 3295"/>
                <a:gd name="T12" fmla="*/ 2123 w 2415"/>
                <a:gd name="T13" fmla="*/ 2306 h 3295"/>
                <a:gd name="T14" fmla="*/ 2102 w 2415"/>
                <a:gd name="T15" fmla="*/ 2196 h 3295"/>
                <a:gd name="T16" fmla="*/ 2135 w 2415"/>
                <a:gd name="T17" fmla="*/ 2070 h 3295"/>
                <a:gd name="T18" fmla="*/ 2187 w 2415"/>
                <a:gd name="T19" fmla="*/ 2019 h 3295"/>
                <a:gd name="T20" fmla="*/ 2193 w 2415"/>
                <a:gd name="T21" fmla="*/ 1949 h 3295"/>
                <a:gd name="T22" fmla="*/ 2191 w 2415"/>
                <a:gd name="T23" fmla="*/ 1946 h 3295"/>
                <a:gd name="T24" fmla="*/ 2186 w 2415"/>
                <a:gd name="T25" fmla="*/ 1935 h 3295"/>
                <a:gd name="T26" fmla="*/ 2199 w 2415"/>
                <a:gd name="T27" fmla="*/ 1909 h 3295"/>
                <a:gd name="T28" fmla="*/ 2200 w 2415"/>
                <a:gd name="T29" fmla="*/ 1909 h 3295"/>
                <a:gd name="T30" fmla="*/ 2211 w 2415"/>
                <a:gd name="T31" fmla="*/ 1865 h 3295"/>
                <a:gd name="T32" fmla="*/ 2160 w 2415"/>
                <a:gd name="T33" fmla="*/ 1730 h 3295"/>
                <a:gd name="T34" fmla="*/ 2165 w 2415"/>
                <a:gd name="T35" fmla="*/ 1685 h 3295"/>
                <a:gd name="T36" fmla="*/ 2204 w 2415"/>
                <a:gd name="T37" fmla="*/ 1657 h 3295"/>
                <a:gd name="T38" fmla="*/ 2294 w 2415"/>
                <a:gd name="T39" fmla="*/ 1646 h 3295"/>
                <a:gd name="T40" fmla="*/ 2403 w 2415"/>
                <a:gd name="T41" fmla="*/ 1503 h 3295"/>
                <a:gd name="T42" fmla="*/ 2374 w 2415"/>
                <a:gd name="T43" fmla="*/ 1442 h 3295"/>
                <a:gd name="T44" fmla="*/ 2112 w 2415"/>
                <a:gd name="T45" fmla="*/ 1157 h 3295"/>
                <a:gd name="T46" fmla="*/ 2023 w 2415"/>
                <a:gd name="T47" fmla="*/ 1009 h 3295"/>
                <a:gd name="T48" fmla="*/ 1839 w 2415"/>
                <a:gd name="T49" fmla="*/ 582 h 3295"/>
                <a:gd name="T50" fmla="*/ 1868 w 2415"/>
                <a:gd name="T51" fmla="*/ 536 h 3295"/>
                <a:gd name="T52" fmla="*/ 1939 w 2415"/>
                <a:gd name="T53" fmla="*/ 519 h 3295"/>
                <a:gd name="T54" fmla="*/ 1992 w 2415"/>
                <a:gd name="T55" fmla="*/ 461 h 3295"/>
                <a:gd name="T56" fmla="*/ 1972 w 2415"/>
                <a:gd name="T57" fmla="*/ 413 h 3295"/>
                <a:gd name="T58" fmla="*/ 1504 w 2415"/>
                <a:gd name="T59" fmla="*/ 81 h 3295"/>
                <a:gd name="T60" fmla="*/ 922 w 2415"/>
                <a:gd name="T61" fmla="*/ 8 h 3295"/>
                <a:gd name="T62" fmla="*/ 268 w 2415"/>
                <a:gd name="T63" fmla="*/ 265 h 3295"/>
                <a:gd name="T64" fmla="*/ 7 w 2415"/>
                <a:gd name="T65" fmla="*/ 988 h 3295"/>
                <a:gd name="T66" fmla="*/ 225 w 2415"/>
                <a:gd name="T67" fmla="*/ 2202 h 3295"/>
                <a:gd name="T68" fmla="*/ 223 w 2415"/>
                <a:gd name="T69" fmla="*/ 2448 h 3295"/>
                <a:gd name="T70" fmla="*/ 12 w 2415"/>
                <a:gd name="T71" fmla="*/ 2769 h 3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415" h="3295">
                  <a:moveTo>
                    <a:pt x="12" y="2769"/>
                  </a:moveTo>
                  <a:cubicBezTo>
                    <a:pt x="1457" y="3295"/>
                    <a:pt x="1457" y="3295"/>
                    <a:pt x="1457" y="3295"/>
                  </a:cubicBezTo>
                  <a:cubicBezTo>
                    <a:pt x="1553" y="2819"/>
                    <a:pt x="1553" y="2819"/>
                    <a:pt x="1553" y="2819"/>
                  </a:cubicBezTo>
                  <a:cubicBezTo>
                    <a:pt x="1569" y="2741"/>
                    <a:pt x="1627" y="2678"/>
                    <a:pt x="1703" y="2656"/>
                  </a:cubicBezTo>
                  <a:cubicBezTo>
                    <a:pt x="1749" y="2642"/>
                    <a:pt x="1809" y="2621"/>
                    <a:pt x="1882" y="2589"/>
                  </a:cubicBezTo>
                  <a:cubicBezTo>
                    <a:pt x="1954" y="2558"/>
                    <a:pt x="2027" y="2521"/>
                    <a:pt x="2063" y="2487"/>
                  </a:cubicBezTo>
                  <a:cubicBezTo>
                    <a:pt x="2113" y="2441"/>
                    <a:pt x="2135" y="2372"/>
                    <a:pt x="2123" y="2306"/>
                  </a:cubicBezTo>
                  <a:cubicBezTo>
                    <a:pt x="2102" y="2196"/>
                    <a:pt x="2102" y="2196"/>
                    <a:pt x="2102" y="2196"/>
                  </a:cubicBezTo>
                  <a:cubicBezTo>
                    <a:pt x="2082" y="2152"/>
                    <a:pt x="2095" y="2099"/>
                    <a:pt x="2135" y="2070"/>
                  </a:cubicBezTo>
                  <a:cubicBezTo>
                    <a:pt x="2187" y="2019"/>
                    <a:pt x="2187" y="2019"/>
                    <a:pt x="2187" y="2019"/>
                  </a:cubicBezTo>
                  <a:cubicBezTo>
                    <a:pt x="2209" y="1998"/>
                    <a:pt x="2216" y="1970"/>
                    <a:pt x="2193" y="1949"/>
                  </a:cubicBezTo>
                  <a:cubicBezTo>
                    <a:pt x="2192" y="1948"/>
                    <a:pt x="2192" y="1947"/>
                    <a:pt x="2191" y="1946"/>
                  </a:cubicBezTo>
                  <a:cubicBezTo>
                    <a:pt x="2190" y="1944"/>
                    <a:pt x="2187" y="1937"/>
                    <a:pt x="2186" y="1935"/>
                  </a:cubicBezTo>
                  <a:cubicBezTo>
                    <a:pt x="2183" y="1924"/>
                    <a:pt x="2189" y="1913"/>
                    <a:pt x="2199" y="1909"/>
                  </a:cubicBezTo>
                  <a:cubicBezTo>
                    <a:pt x="2200" y="1909"/>
                    <a:pt x="2200" y="1909"/>
                    <a:pt x="2200" y="1909"/>
                  </a:cubicBezTo>
                  <a:cubicBezTo>
                    <a:pt x="2211" y="1897"/>
                    <a:pt x="2215" y="1880"/>
                    <a:pt x="2211" y="1865"/>
                  </a:cubicBezTo>
                  <a:cubicBezTo>
                    <a:pt x="2160" y="1730"/>
                    <a:pt x="2160" y="1730"/>
                    <a:pt x="2160" y="1730"/>
                  </a:cubicBezTo>
                  <a:cubicBezTo>
                    <a:pt x="2156" y="1714"/>
                    <a:pt x="2158" y="1699"/>
                    <a:pt x="2165" y="1685"/>
                  </a:cubicBezTo>
                  <a:cubicBezTo>
                    <a:pt x="2173" y="1670"/>
                    <a:pt x="2187" y="1660"/>
                    <a:pt x="2204" y="1657"/>
                  </a:cubicBezTo>
                  <a:cubicBezTo>
                    <a:pt x="2294" y="1646"/>
                    <a:pt x="2294" y="1646"/>
                    <a:pt x="2294" y="1646"/>
                  </a:cubicBezTo>
                  <a:cubicBezTo>
                    <a:pt x="2364" y="1637"/>
                    <a:pt x="2415" y="1572"/>
                    <a:pt x="2403" y="1503"/>
                  </a:cubicBezTo>
                  <a:cubicBezTo>
                    <a:pt x="2399" y="1481"/>
                    <a:pt x="2390" y="1460"/>
                    <a:pt x="2374" y="1442"/>
                  </a:cubicBezTo>
                  <a:cubicBezTo>
                    <a:pt x="2112" y="1157"/>
                    <a:pt x="2112" y="1157"/>
                    <a:pt x="2112" y="1157"/>
                  </a:cubicBezTo>
                  <a:cubicBezTo>
                    <a:pt x="2074" y="1113"/>
                    <a:pt x="2044" y="1063"/>
                    <a:pt x="2023" y="1009"/>
                  </a:cubicBezTo>
                  <a:cubicBezTo>
                    <a:pt x="1839" y="582"/>
                    <a:pt x="1839" y="582"/>
                    <a:pt x="1839" y="582"/>
                  </a:cubicBezTo>
                  <a:cubicBezTo>
                    <a:pt x="1830" y="560"/>
                    <a:pt x="1845" y="537"/>
                    <a:pt x="1868" y="536"/>
                  </a:cubicBezTo>
                  <a:cubicBezTo>
                    <a:pt x="1889" y="536"/>
                    <a:pt x="1913" y="532"/>
                    <a:pt x="1939" y="519"/>
                  </a:cubicBezTo>
                  <a:cubicBezTo>
                    <a:pt x="1974" y="502"/>
                    <a:pt x="1985" y="485"/>
                    <a:pt x="1992" y="461"/>
                  </a:cubicBezTo>
                  <a:cubicBezTo>
                    <a:pt x="1996" y="446"/>
                    <a:pt x="1983" y="428"/>
                    <a:pt x="1972" y="413"/>
                  </a:cubicBezTo>
                  <a:cubicBezTo>
                    <a:pt x="1915" y="335"/>
                    <a:pt x="1729" y="184"/>
                    <a:pt x="1504" y="81"/>
                  </a:cubicBezTo>
                  <a:cubicBezTo>
                    <a:pt x="1327" y="1"/>
                    <a:pt x="1068" y="0"/>
                    <a:pt x="922" y="8"/>
                  </a:cubicBezTo>
                  <a:cubicBezTo>
                    <a:pt x="746" y="19"/>
                    <a:pt x="467" y="66"/>
                    <a:pt x="268" y="265"/>
                  </a:cubicBezTo>
                  <a:cubicBezTo>
                    <a:pt x="59" y="474"/>
                    <a:pt x="0" y="690"/>
                    <a:pt x="7" y="988"/>
                  </a:cubicBezTo>
                  <a:cubicBezTo>
                    <a:pt x="17" y="1449"/>
                    <a:pt x="187" y="2042"/>
                    <a:pt x="225" y="2202"/>
                  </a:cubicBezTo>
                  <a:cubicBezTo>
                    <a:pt x="229" y="2221"/>
                    <a:pt x="247" y="2342"/>
                    <a:pt x="223" y="2448"/>
                  </a:cubicBezTo>
                  <a:cubicBezTo>
                    <a:pt x="209" y="2513"/>
                    <a:pt x="12" y="2769"/>
                    <a:pt x="12" y="2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12577763" y="7947025"/>
              <a:ext cx="2598737" cy="1006475"/>
            </a:xfrm>
            <a:custGeom>
              <a:avLst/>
              <a:gdLst>
                <a:gd name="T0" fmla="*/ 372 w 1921"/>
                <a:gd name="T1" fmla="*/ 0 h 744"/>
                <a:gd name="T2" fmla="*/ 12 w 1921"/>
                <a:gd name="T3" fmla="*/ 691 h 744"/>
                <a:gd name="T4" fmla="*/ 44 w 1921"/>
                <a:gd name="T5" fmla="*/ 744 h 744"/>
                <a:gd name="T6" fmla="*/ 1878 w 1921"/>
                <a:gd name="T7" fmla="*/ 744 h 744"/>
                <a:gd name="T8" fmla="*/ 1912 w 1921"/>
                <a:gd name="T9" fmla="*/ 694 h 744"/>
                <a:gd name="T10" fmla="*/ 1868 w 1921"/>
                <a:gd name="T11" fmla="*/ 584 h 744"/>
                <a:gd name="T12" fmla="*/ 372 w 1921"/>
                <a:gd name="T13" fmla="*/ 0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1" h="744">
                  <a:moveTo>
                    <a:pt x="372" y="0"/>
                  </a:moveTo>
                  <a:cubicBezTo>
                    <a:pt x="12" y="691"/>
                    <a:pt x="12" y="691"/>
                    <a:pt x="12" y="691"/>
                  </a:cubicBezTo>
                  <a:cubicBezTo>
                    <a:pt x="0" y="715"/>
                    <a:pt x="17" y="744"/>
                    <a:pt x="44" y="744"/>
                  </a:cubicBezTo>
                  <a:cubicBezTo>
                    <a:pt x="1878" y="744"/>
                    <a:pt x="1878" y="744"/>
                    <a:pt x="1878" y="744"/>
                  </a:cubicBezTo>
                  <a:cubicBezTo>
                    <a:pt x="1904" y="744"/>
                    <a:pt x="1921" y="718"/>
                    <a:pt x="1912" y="694"/>
                  </a:cubicBezTo>
                  <a:cubicBezTo>
                    <a:pt x="1868" y="584"/>
                    <a:pt x="1868" y="584"/>
                    <a:pt x="1868" y="584"/>
                  </a:cubicBezTo>
                  <a:lnTo>
                    <a:pt x="37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2982575" y="7742238"/>
              <a:ext cx="2193925" cy="1047750"/>
            </a:xfrm>
            <a:custGeom>
              <a:avLst/>
              <a:gdLst>
                <a:gd name="T0" fmla="*/ 150 w 1622"/>
                <a:gd name="T1" fmla="*/ 5 h 774"/>
                <a:gd name="T2" fmla="*/ 1601 w 1622"/>
                <a:gd name="T3" fmla="*/ 524 h 774"/>
                <a:gd name="T4" fmla="*/ 1619 w 1622"/>
                <a:gd name="T5" fmla="*/ 556 h 774"/>
                <a:gd name="T6" fmla="*/ 1576 w 1622"/>
                <a:gd name="T7" fmla="*/ 748 h 774"/>
                <a:gd name="T8" fmla="*/ 1541 w 1622"/>
                <a:gd name="T9" fmla="*/ 768 h 774"/>
                <a:gd name="T10" fmla="*/ 24 w 1622"/>
                <a:gd name="T11" fmla="*/ 247 h 774"/>
                <a:gd name="T12" fmla="*/ 9 w 1622"/>
                <a:gd name="T13" fmla="*/ 208 h 774"/>
                <a:gd name="T14" fmla="*/ 117 w 1622"/>
                <a:gd name="T15" fmla="*/ 17 h 774"/>
                <a:gd name="T16" fmla="*/ 150 w 1622"/>
                <a:gd name="T17" fmla="*/ 5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2" h="774">
                  <a:moveTo>
                    <a:pt x="150" y="5"/>
                  </a:moveTo>
                  <a:cubicBezTo>
                    <a:pt x="1601" y="524"/>
                    <a:pt x="1601" y="524"/>
                    <a:pt x="1601" y="524"/>
                  </a:cubicBezTo>
                  <a:cubicBezTo>
                    <a:pt x="1614" y="529"/>
                    <a:pt x="1622" y="543"/>
                    <a:pt x="1619" y="556"/>
                  </a:cubicBezTo>
                  <a:cubicBezTo>
                    <a:pt x="1576" y="748"/>
                    <a:pt x="1576" y="748"/>
                    <a:pt x="1576" y="748"/>
                  </a:cubicBezTo>
                  <a:cubicBezTo>
                    <a:pt x="1573" y="764"/>
                    <a:pt x="1556" y="774"/>
                    <a:pt x="1541" y="768"/>
                  </a:cubicBezTo>
                  <a:cubicBezTo>
                    <a:pt x="24" y="247"/>
                    <a:pt x="24" y="247"/>
                    <a:pt x="24" y="247"/>
                  </a:cubicBezTo>
                  <a:cubicBezTo>
                    <a:pt x="7" y="241"/>
                    <a:pt x="0" y="223"/>
                    <a:pt x="9" y="208"/>
                  </a:cubicBezTo>
                  <a:cubicBezTo>
                    <a:pt x="117" y="17"/>
                    <a:pt x="117" y="17"/>
                    <a:pt x="117" y="17"/>
                  </a:cubicBezTo>
                  <a:cubicBezTo>
                    <a:pt x="124" y="6"/>
                    <a:pt x="138" y="0"/>
                    <a:pt x="150" y="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3615356" y="2247709"/>
            <a:ext cx="454311" cy="549095"/>
          </a:xfrm>
          <a:custGeom>
            <a:avLst/>
            <a:gdLst>
              <a:gd name="T0" fmla="*/ 1386 w 1610"/>
              <a:gd name="T1" fmla="*/ 897 h 1946"/>
              <a:gd name="T2" fmla="*/ 1023 w 1610"/>
              <a:gd name="T3" fmla="*/ 0 h 1946"/>
              <a:gd name="T4" fmla="*/ 224 w 1610"/>
              <a:gd name="T5" fmla="*/ 363 h 1946"/>
              <a:gd name="T6" fmla="*/ 89 w 1610"/>
              <a:gd name="T7" fmla="*/ 897 h 1946"/>
              <a:gd name="T8" fmla="*/ 0 w 1610"/>
              <a:gd name="T9" fmla="*/ 1857 h 1946"/>
              <a:gd name="T10" fmla="*/ 1521 w 1610"/>
              <a:gd name="T11" fmla="*/ 1946 h 1946"/>
              <a:gd name="T12" fmla="*/ 1610 w 1610"/>
              <a:gd name="T13" fmla="*/ 986 h 1946"/>
              <a:gd name="T14" fmla="*/ 265 w 1610"/>
              <a:gd name="T15" fmla="*/ 363 h 1946"/>
              <a:gd name="T16" fmla="*/ 1023 w 1610"/>
              <a:gd name="T17" fmla="*/ 41 h 1946"/>
              <a:gd name="T18" fmla="*/ 1345 w 1610"/>
              <a:gd name="T19" fmla="*/ 897 h 1946"/>
              <a:gd name="T20" fmla="*/ 1179 w 1610"/>
              <a:gd name="T21" fmla="*/ 382 h 1946"/>
              <a:gd name="T22" fmla="*/ 623 w 1610"/>
              <a:gd name="T23" fmla="*/ 190 h 1946"/>
              <a:gd name="T24" fmla="*/ 431 w 1610"/>
              <a:gd name="T25" fmla="*/ 897 h 1946"/>
              <a:gd name="T26" fmla="*/ 265 w 1610"/>
              <a:gd name="T27" fmla="*/ 363 h 1946"/>
              <a:gd name="T28" fmla="*/ 472 w 1610"/>
              <a:gd name="T29" fmla="*/ 897 h 1946"/>
              <a:gd name="T30" fmla="*/ 623 w 1610"/>
              <a:gd name="T31" fmla="*/ 231 h 1946"/>
              <a:gd name="T32" fmla="*/ 1138 w 1610"/>
              <a:gd name="T33" fmla="*/ 382 h 1946"/>
              <a:gd name="T34" fmla="*/ 1569 w 1610"/>
              <a:gd name="T35" fmla="*/ 1857 h 1946"/>
              <a:gd name="T36" fmla="*/ 89 w 1610"/>
              <a:gd name="T37" fmla="*/ 1905 h 1946"/>
              <a:gd name="T38" fmla="*/ 41 w 1610"/>
              <a:gd name="T39" fmla="*/ 986 h 1946"/>
              <a:gd name="T40" fmla="*/ 244 w 1610"/>
              <a:gd name="T41" fmla="*/ 938 h 1946"/>
              <a:gd name="T42" fmla="*/ 1158 w 1610"/>
              <a:gd name="T43" fmla="*/ 938 h 1946"/>
              <a:gd name="T44" fmla="*/ 1521 w 1610"/>
              <a:gd name="T45" fmla="*/ 938 h 1946"/>
              <a:gd name="T46" fmla="*/ 1569 w 1610"/>
              <a:gd name="T47" fmla="*/ 1857 h 1946"/>
              <a:gd name="T48" fmla="*/ 651 w 1610"/>
              <a:gd name="T49" fmla="*/ 1292 h 1946"/>
              <a:gd name="T50" fmla="*/ 665 w 1610"/>
              <a:gd name="T51" fmla="*/ 1681 h 1946"/>
              <a:gd name="T52" fmla="*/ 686 w 1610"/>
              <a:gd name="T53" fmla="*/ 1705 h 1946"/>
              <a:gd name="T54" fmla="*/ 939 w 1610"/>
              <a:gd name="T55" fmla="*/ 1698 h 1946"/>
              <a:gd name="T56" fmla="*/ 903 w 1610"/>
              <a:gd name="T57" fmla="*/ 1411 h 1946"/>
              <a:gd name="T58" fmla="*/ 805 w 1610"/>
              <a:gd name="T59" fmla="*/ 1138 h 1946"/>
              <a:gd name="T60" fmla="*/ 710 w 1610"/>
              <a:gd name="T61" fmla="*/ 1664 h 1946"/>
              <a:gd name="T62" fmla="*/ 741 w 1610"/>
              <a:gd name="T63" fmla="*/ 1385 h 1946"/>
              <a:gd name="T64" fmla="*/ 805 w 1610"/>
              <a:gd name="T65" fmla="*/ 1179 h 1946"/>
              <a:gd name="T66" fmla="*/ 869 w 1610"/>
              <a:gd name="T67" fmla="*/ 1385 h 1946"/>
              <a:gd name="T68" fmla="*/ 900 w 1610"/>
              <a:gd name="T69" fmla="*/ 1664 h 19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10" h="1946">
                <a:moveTo>
                  <a:pt x="1521" y="897"/>
                </a:moveTo>
                <a:cubicBezTo>
                  <a:pt x="1386" y="897"/>
                  <a:pt x="1386" y="897"/>
                  <a:pt x="1386" y="897"/>
                </a:cubicBezTo>
                <a:cubicBezTo>
                  <a:pt x="1386" y="363"/>
                  <a:pt x="1386" y="363"/>
                  <a:pt x="1386" y="363"/>
                </a:cubicBezTo>
                <a:cubicBezTo>
                  <a:pt x="1386" y="163"/>
                  <a:pt x="1223" y="0"/>
                  <a:pt x="1023" y="0"/>
                </a:cubicBezTo>
                <a:cubicBezTo>
                  <a:pt x="587" y="0"/>
                  <a:pt x="587" y="0"/>
                  <a:pt x="587" y="0"/>
                </a:cubicBezTo>
                <a:cubicBezTo>
                  <a:pt x="387" y="0"/>
                  <a:pt x="224" y="163"/>
                  <a:pt x="224" y="363"/>
                </a:cubicBezTo>
                <a:cubicBezTo>
                  <a:pt x="224" y="897"/>
                  <a:pt x="224" y="897"/>
                  <a:pt x="224" y="897"/>
                </a:cubicBezTo>
                <a:cubicBezTo>
                  <a:pt x="89" y="897"/>
                  <a:pt x="89" y="897"/>
                  <a:pt x="89" y="897"/>
                </a:cubicBezTo>
                <a:cubicBezTo>
                  <a:pt x="40" y="897"/>
                  <a:pt x="0" y="936"/>
                  <a:pt x="0" y="986"/>
                </a:cubicBezTo>
                <a:cubicBezTo>
                  <a:pt x="0" y="1857"/>
                  <a:pt x="0" y="1857"/>
                  <a:pt x="0" y="1857"/>
                </a:cubicBezTo>
                <a:cubicBezTo>
                  <a:pt x="0" y="1907"/>
                  <a:pt x="40" y="1946"/>
                  <a:pt x="89" y="1946"/>
                </a:cubicBezTo>
                <a:cubicBezTo>
                  <a:pt x="1521" y="1946"/>
                  <a:pt x="1521" y="1946"/>
                  <a:pt x="1521" y="1946"/>
                </a:cubicBezTo>
                <a:cubicBezTo>
                  <a:pt x="1570" y="1946"/>
                  <a:pt x="1610" y="1907"/>
                  <a:pt x="1610" y="1857"/>
                </a:cubicBezTo>
                <a:cubicBezTo>
                  <a:pt x="1610" y="986"/>
                  <a:pt x="1610" y="986"/>
                  <a:pt x="1610" y="986"/>
                </a:cubicBezTo>
                <a:cubicBezTo>
                  <a:pt x="1610" y="936"/>
                  <a:pt x="1570" y="897"/>
                  <a:pt x="1521" y="897"/>
                </a:cubicBezTo>
                <a:close/>
                <a:moveTo>
                  <a:pt x="265" y="363"/>
                </a:moveTo>
                <a:cubicBezTo>
                  <a:pt x="265" y="185"/>
                  <a:pt x="409" y="41"/>
                  <a:pt x="587" y="41"/>
                </a:cubicBezTo>
                <a:cubicBezTo>
                  <a:pt x="1023" y="41"/>
                  <a:pt x="1023" y="41"/>
                  <a:pt x="1023" y="41"/>
                </a:cubicBezTo>
                <a:cubicBezTo>
                  <a:pt x="1200" y="41"/>
                  <a:pt x="1345" y="185"/>
                  <a:pt x="1345" y="363"/>
                </a:cubicBezTo>
                <a:cubicBezTo>
                  <a:pt x="1345" y="897"/>
                  <a:pt x="1345" y="897"/>
                  <a:pt x="1345" y="897"/>
                </a:cubicBezTo>
                <a:cubicBezTo>
                  <a:pt x="1179" y="897"/>
                  <a:pt x="1179" y="897"/>
                  <a:pt x="1179" y="897"/>
                </a:cubicBezTo>
                <a:cubicBezTo>
                  <a:pt x="1179" y="382"/>
                  <a:pt x="1179" y="382"/>
                  <a:pt x="1179" y="382"/>
                </a:cubicBezTo>
                <a:cubicBezTo>
                  <a:pt x="1179" y="276"/>
                  <a:pt x="1093" y="190"/>
                  <a:pt x="987" y="190"/>
                </a:cubicBezTo>
                <a:cubicBezTo>
                  <a:pt x="623" y="190"/>
                  <a:pt x="623" y="190"/>
                  <a:pt x="623" y="190"/>
                </a:cubicBezTo>
                <a:cubicBezTo>
                  <a:pt x="517" y="190"/>
                  <a:pt x="431" y="276"/>
                  <a:pt x="431" y="382"/>
                </a:cubicBezTo>
                <a:cubicBezTo>
                  <a:pt x="431" y="897"/>
                  <a:pt x="431" y="897"/>
                  <a:pt x="431" y="897"/>
                </a:cubicBezTo>
                <a:cubicBezTo>
                  <a:pt x="265" y="897"/>
                  <a:pt x="265" y="897"/>
                  <a:pt x="265" y="897"/>
                </a:cubicBezTo>
                <a:lnTo>
                  <a:pt x="265" y="363"/>
                </a:lnTo>
                <a:close/>
                <a:moveTo>
                  <a:pt x="1138" y="897"/>
                </a:moveTo>
                <a:cubicBezTo>
                  <a:pt x="472" y="897"/>
                  <a:pt x="472" y="897"/>
                  <a:pt x="472" y="897"/>
                </a:cubicBezTo>
                <a:cubicBezTo>
                  <a:pt x="472" y="382"/>
                  <a:pt x="472" y="382"/>
                  <a:pt x="472" y="382"/>
                </a:cubicBezTo>
                <a:cubicBezTo>
                  <a:pt x="472" y="298"/>
                  <a:pt x="540" y="231"/>
                  <a:pt x="623" y="231"/>
                </a:cubicBezTo>
                <a:cubicBezTo>
                  <a:pt x="987" y="231"/>
                  <a:pt x="987" y="231"/>
                  <a:pt x="987" y="231"/>
                </a:cubicBezTo>
                <a:cubicBezTo>
                  <a:pt x="1070" y="231"/>
                  <a:pt x="1138" y="298"/>
                  <a:pt x="1138" y="382"/>
                </a:cubicBezTo>
                <a:lnTo>
                  <a:pt x="1138" y="897"/>
                </a:lnTo>
                <a:close/>
                <a:moveTo>
                  <a:pt x="1569" y="1857"/>
                </a:moveTo>
                <a:cubicBezTo>
                  <a:pt x="1569" y="1884"/>
                  <a:pt x="1547" y="1905"/>
                  <a:pt x="1521" y="1905"/>
                </a:cubicBezTo>
                <a:cubicBezTo>
                  <a:pt x="89" y="1905"/>
                  <a:pt x="89" y="1905"/>
                  <a:pt x="89" y="1905"/>
                </a:cubicBezTo>
                <a:cubicBezTo>
                  <a:pt x="62" y="1905"/>
                  <a:pt x="41" y="1884"/>
                  <a:pt x="41" y="1857"/>
                </a:cubicBezTo>
                <a:cubicBezTo>
                  <a:pt x="41" y="986"/>
                  <a:pt x="41" y="986"/>
                  <a:pt x="41" y="986"/>
                </a:cubicBezTo>
                <a:cubicBezTo>
                  <a:pt x="41" y="959"/>
                  <a:pt x="62" y="938"/>
                  <a:pt x="89" y="938"/>
                </a:cubicBezTo>
                <a:cubicBezTo>
                  <a:pt x="244" y="938"/>
                  <a:pt x="244" y="938"/>
                  <a:pt x="244" y="938"/>
                </a:cubicBezTo>
                <a:cubicBezTo>
                  <a:pt x="451" y="938"/>
                  <a:pt x="451" y="938"/>
                  <a:pt x="451" y="938"/>
                </a:cubicBezTo>
                <a:cubicBezTo>
                  <a:pt x="1158" y="938"/>
                  <a:pt x="1158" y="938"/>
                  <a:pt x="1158" y="938"/>
                </a:cubicBezTo>
                <a:cubicBezTo>
                  <a:pt x="1365" y="938"/>
                  <a:pt x="1365" y="938"/>
                  <a:pt x="1365" y="938"/>
                </a:cubicBezTo>
                <a:cubicBezTo>
                  <a:pt x="1521" y="938"/>
                  <a:pt x="1521" y="938"/>
                  <a:pt x="1521" y="938"/>
                </a:cubicBezTo>
                <a:cubicBezTo>
                  <a:pt x="1547" y="938"/>
                  <a:pt x="1569" y="959"/>
                  <a:pt x="1569" y="986"/>
                </a:cubicBezTo>
                <a:lnTo>
                  <a:pt x="1569" y="1857"/>
                </a:lnTo>
                <a:close/>
                <a:moveTo>
                  <a:pt x="805" y="1138"/>
                </a:moveTo>
                <a:cubicBezTo>
                  <a:pt x="720" y="1138"/>
                  <a:pt x="651" y="1207"/>
                  <a:pt x="651" y="1292"/>
                </a:cubicBezTo>
                <a:cubicBezTo>
                  <a:pt x="651" y="1338"/>
                  <a:pt x="671" y="1382"/>
                  <a:pt x="707" y="1411"/>
                </a:cubicBezTo>
                <a:cubicBezTo>
                  <a:pt x="665" y="1681"/>
                  <a:pt x="665" y="1681"/>
                  <a:pt x="665" y="1681"/>
                </a:cubicBezTo>
                <a:cubicBezTo>
                  <a:pt x="665" y="1687"/>
                  <a:pt x="666" y="1693"/>
                  <a:pt x="670" y="1698"/>
                </a:cubicBezTo>
                <a:cubicBezTo>
                  <a:pt x="674" y="1702"/>
                  <a:pt x="680" y="1705"/>
                  <a:pt x="686" y="1705"/>
                </a:cubicBezTo>
                <a:cubicBezTo>
                  <a:pt x="924" y="1705"/>
                  <a:pt x="924" y="1705"/>
                  <a:pt x="924" y="1705"/>
                </a:cubicBezTo>
                <a:cubicBezTo>
                  <a:pt x="930" y="1705"/>
                  <a:pt x="936" y="1702"/>
                  <a:pt x="939" y="1698"/>
                </a:cubicBezTo>
                <a:cubicBezTo>
                  <a:pt x="943" y="1693"/>
                  <a:pt x="945" y="1687"/>
                  <a:pt x="944" y="1681"/>
                </a:cubicBezTo>
                <a:cubicBezTo>
                  <a:pt x="903" y="1411"/>
                  <a:pt x="903" y="1411"/>
                  <a:pt x="903" y="1411"/>
                </a:cubicBezTo>
                <a:cubicBezTo>
                  <a:pt x="938" y="1382"/>
                  <a:pt x="959" y="1338"/>
                  <a:pt x="959" y="1292"/>
                </a:cubicBezTo>
                <a:cubicBezTo>
                  <a:pt x="959" y="1207"/>
                  <a:pt x="890" y="1138"/>
                  <a:pt x="805" y="1138"/>
                </a:cubicBezTo>
                <a:close/>
                <a:moveTo>
                  <a:pt x="900" y="1664"/>
                </a:moveTo>
                <a:cubicBezTo>
                  <a:pt x="710" y="1664"/>
                  <a:pt x="710" y="1664"/>
                  <a:pt x="710" y="1664"/>
                </a:cubicBezTo>
                <a:cubicBezTo>
                  <a:pt x="749" y="1405"/>
                  <a:pt x="749" y="1405"/>
                  <a:pt x="749" y="1405"/>
                </a:cubicBezTo>
                <a:cubicBezTo>
                  <a:pt x="750" y="1397"/>
                  <a:pt x="747" y="1390"/>
                  <a:pt x="741" y="1385"/>
                </a:cubicBezTo>
                <a:cubicBezTo>
                  <a:pt x="710" y="1364"/>
                  <a:pt x="692" y="1329"/>
                  <a:pt x="692" y="1292"/>
                </a:cubicBezTo>
                <a:cubicBezTo>
                  <a:pt x="692" y="1230"/>
                  <a:pt x="743" y="1179"/>
                  <a:pt x="805" y="1179"/>
                </a:cubicBezTo>
                <a:cubicBezTo>
                  <a:pt x="867" y="1179"/>
                  <a:pt x="918" y="1230"/>
                  <a:pt x="918" y="1292"/>
                </a:cubicBezTo>
                <a:cubicBezTo>
                  <a:pt x="918" y="1329"/>
                  <a:pt x="900" y="1364"/>
                  <a:pt x="869" y="1385"/>
                </a:cubicBezTo>
                <a:cubicBezTo>
                  <a:pt x="863" y="1390"/>
                  <a:pt x="859" y="1397"/>
                  <a:pt x="860" y="1405"/>
                </a:cubicBezTo>
                <a:lnTo>
                  <a:pt x="900" y="16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12"/>
          <p:cNvSpPr>
            <a:spLocks noEditPoints="1"/>
          </p:cNvSpPr>
          <p:nvPr/>
        </p:nvSpPr>
        <p:spPr bwMode="auto">
          <a:xfrm>
            <a:off x="5053194" y="2247709"/>
            <a:ext cx="489174" cy="549095"/>
          </a:xfrm>
          <a:custGeom>
            <a:avLst/>
            <a:gdLst>
              <a:gd name="T0" fmla="*/ 773 w 1732"/>
              <a:gd name="T1" fmla="*/ 1292 h 1946"/>
              <a:gd name="T2" fmla="*/ 787 w 1732"/>
              <a:gd name="T3" fmla="*/ 1681 h 1946"/>
              <a:gd name="T4" fmla="*/ 808 w 1732"/>
              <a:gd name="T5" fmla="*/ 1705 h 1946"/>
              <a:gd name="T6" fmla="*/ 1062 w 1732"/>
              <a:gd name="T7" fmla="*/ 1698 h 1946"/>
              <a:gd name="T8" fmla="*/ 1025 w 1732"/>
              <a:gd name="T9" fmla="*/ 1411 h 1946"/>
              <a:gd name="T10" fmla="*/ 927 w 1732"/>
              <a:gd name="T11" fmla="*/ 1138 h 1946"/>
              <a:gd name="T12" fmla="*/ 832 w 1732"/>
              <a:gd name="T13" fmla="*/ 1664 h 1946"/>
              <a:gd name="T14" fmla="*/ 863 w 1732"/>
              <a:gd name="T15" fmla="*/ 1385 h 1946"/>
              <a:gd name="T16" fmla="*/ 927 w 1732"/>
              <a:gd name="T17" fmla="*/ 1179 h 1946"/>
              <a:gd name="T18" fmla="*/ 991 w 1732"/>
              <a:gd name="T19" fmla="*/ 1385 h 1946"/>
              <a:gd name="T20" fmla="*/ 1022 w 1732"/>
              <a:gd name="T21" fmla="*/ 1664 h 1946"/>
              <a:gd name="T22" fmla="*/ 1508 w 1732"/>
              <a:gd name="T23" fmla="*/ 897 h 1946"/>
              <a:gd name="T24" fmla="*/ 1145 w 1732"/>
              <a:gd name="T25" fmla="*/ 0 h 1946"/>
              <a:gd name="T26" fmla="*/ 346 w 1732"/>
              <a:gd name="T27" fmla="*/ 363 h 1946"/>
              <a:gd name="T28" fmla="*/ 366 w 1732"/>
              <a:gd name="T29" fmla="*/ 679 h 1946"/>
              <a:gd name="T30" fmla="*/ 594 w 1732"/>
              <a:gd name="T31" fmla="*/ 659 h 1946"/>
              <a:gd name="T32" fmla="*/ 745 w 1732"/>
              <a:gd name="T33" fmla="*/ 231 h 1946"/>
              <a:gd name="T34" fmla="*/ 1260 w 1732"/>
              <a:gd name="T35" fmla="*/ 381 h 1946"/>
              <a:gd name="T36" fmla="*/ 211 w 1732"/>
              <a:gd name="T37" fmla="*/ 897 h 1946"/>
              <a:gd name="T38" fmla="*/ 122 w 1732"/>
              <a:gd name="T39" fmla="*/ 1857 h 1946"/>
              <a:gd name="T40" fmla="*/ 1643 w 1732"/>
              <a:gd name="T41" fmla="*/ 1946 h 1946"/>
              <a:gd name="T42" fmla="*/ 1732 w 1732"/>
              <a:gd name="T43" fmla="*/ 986 h 1946"/>
              <a:gd name="T44" fmla="*/ 1109 w 1732"/>
              <a:gd name="T45" fmla="*/ 190 h 1946"/>
              <a:gd name="T46" fmla="*/ 553 w 1732"/>
              <a:gd name="T47" fmla="*/ 381 h 1946"/>
              <a:gd name="T48" fmla="*/ 387 w 1732"/>
              <a:gd name="T49" fmla="*/ 638 h 1946"/>
              <a:gd name="T50" fmla="*/ 709 w 1732"/>
              <a:gd name="T51" fmla="*/ 41 h 1946"/>
              <a:gd name="T52" fmla="*/ 1467 w 1732"/>
              <a:gd name="T53" fmla="*/ 363 h 1946"/>
              <a:gd name="T54" fmla="*/ 1301 w 1732"/>
              <a:gd name="T55" fmla="*/ 897 h 1946"/>
              <a:gd name="T56" fmla="*/ 1109 w 1732"/>
              <a:gd name="T57" fmla="*/ 190 h 1946"/>
              <a:gd name="T58" fmla="*/ 1643 w 1732"/>
              <a:gd name="T59" fmla="*/ 1905 h 1946"/>
              <a:gd name="T60" fmla="*/ 163 w 1732"/>
              <a:gd name="T61" fmla="*/ 1857 h 1946"/>
              <a:gd name="T62" fmla="*/ 211 w 1732"/>
              <a:gd name="T63" fmla="*/ 938 h 1946"/>
              <a:gd name="T64" fmla="*/ 1280 w 1732"/>
              <a:gd name="T65" fmla="*/ 938 h 1946"/>
              <a:gd name="T66" fmla="*/ 1488 w 1732"/>
              <a:gd name="T67" fmla="*/ 938 h 1946"/>
              <a:gd name="T68" fmla="*/ 1691 w 1732"/>
              <a:gd name="T69" fmla="*/ 986 h 1946"/>
              <a:gd name="T70" fmla="*/ 198 w 1732"/>
              <a:gd name="T71" fmla="*/ 679 h 1946"/>
              <a:gd name="T72" fmla="*/ 0 w 1732"/>
              <a:gd name="T73" fmla="*/ 659 h 1946"/>
              <a:gd name="T74" fmla="*/ 198 w 1732"/>
              <a:gd name="T75" fmla="*/ 638 h 1946"/>
              <a:gd name="T76" fmla="*/ 198 w 1732"/>
              <a:gd name="T77" fmla="*/ 679 h 1946"/>
              <a:gd name="T78" fmla="*/ 118 w 1732"/>
              <a:gd name="T79" fmla="*/ 454 h 1946"/>
              <a:gd name="T80" fmla="*/ 259 w 1732"/>
              <a:gd name="T81" fmla="*/ 566 h 1946"/>
              <a:gd name="T82" fmla="*/ 245 w 1732"/>
              <a:gd name="T83" fmla="*/ 601 h 1946"/>
              <a:gd name="T84" fmla="*/ 118 w 1732"/>
              <a:gd name="T85" fmla="*/ 483 h 1946"/>
              <a:gd name="T86" fmla="*/ 118 w 1732"/>
              <a:gd name="T87" fmla="*/ 866 h 1946"/>
              <a:gd name="T88" fmla="*/ 230 w 1732"/>
              <a:gd name="T89" fmla="*/ 725 h 1946"/>
              <a:gd name="T90" fmla="*/ 259 w 1732"/>
              <a:gd name="T91" fmla="*/ 754 h 1946"/>
              <a:gd name="T92" fmla="*/ 133 w 1732"/>
              <a:gd name="T93" fmla="*/ 872 h 19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732" h="1946">
                <a:moveTo>
                  <a:pt x="927" y="1138"/>
                </a:moveTo>
                <a:cubicBezTo>
                  <a:pt x="842" y="1138"/>
                  <a:pt x="773" y="1207"/>
                  <a:pt x="773" y="1292"/>
                </a:cubicBezTo>
                <a:cubicBezTo>
                  <a:pt x="773" y="1338"/>
                  <a:pt x="794" y="1382"/>
                  <a:pt x="829" y="1411"/>
                </a:cubicBezTo>
                <a:cubicBezTo>
                  <a:pt x="787" y="1681"/>
                  <a:pt x="787" y="1681"/>
                  <a:pt x="787" y="1681"/>
                </a:cubicBezTo>
                <a:cubicBezTo>
                  <a:pt x="787" y="1687"/>
                  <a:pt x="788" y="1693"/>
                  <a:pt x="792" y="1698"/>
                </a:cubicBezTo>
                <a:cubicBezTo>
                  <a:pt x="796" y="1702"/>
                  <a:pt x="802" y="1705"/>
                  <a:pt x="808" y="1705"/>
                </a:cubicBezTo>
                <a:cubicBezTo>
                  <a:pt x="1046" y="1705"/>
                  <a:pt x="1046" y="1705"/>
                  <a:pt x="1046" y="1705"/>
                </a:cubicBezTo>
                <a:cubicBezTo>
                  <a:pt x="1052" y="1705"/>
                  <a:pt x="1058" y="1702"/>
                  <a:pt x="1062" y="1698"/>
                </a:cubicBezTo>
                <a:cubicBezTo>
                  <a:pt x="1065" y="1693"/>
                  <a:pt x="1067" y="1687"/>
                  <a:pt x="1066" y="1681"/>
                </a:cubicBezTo>
                <a:cubicBezTo>
                  <a:pt x="1025" y="1411"/>
                  <a:pt x="1025" y="1411"/>
                  <a:pt x="1025" y="1411"/>
                </a:cubicBezTo>
                <a:cubicBezTo>
                  <a:pt x="1060" y="1382"/>
                  <a:pt x="1081" y="1338"/>
                  <a:pt x="1081" y="1292"/>
                </a:cubicBezTo>
                <a:cubicBezTo>
                  <a:pt x="1081" y="1207"/>
                  <a:pt x="1012" y="1138"/>
                  <a:pt x="927" y="1138"/>
                </a:cubicBezTo>
                <a:close/>
                <a:moveTo>
                  <a:pt x="1022" y="1664"/>
                </a:moveTo>
                <a:cubicBezTo>
                  <a:pt x="832" y="1664"/>
                  <a:pt x="832" y="1664"/>
                  <a:pt x="832" y="1664"/>
                </a:cubicBezTo>
                <a:cubicBezTo>
                  <a:pt x="871" y="1405"/>
                  <a:pt x="871" y="1405"/>
                  <a:pt x="871" y="1405"/>
                </a:cubicBezTo>
                <a:cubicBezTo>
                  <a:pt x="872" y="1397"/>
                  <a:pt x="869" y="1390"/>
                  <a:pt x="863" y="1385"/>
                </a:cubicBezTo>
                <a:cubicBezTo>
                  <a:pt x="832" y="1364"/>
                  <a:pt x="814" y="1329"/>
                  <a:pt x="814" y="1292"/>
                </a:cubicBezTo>
                <a:cubicBezTo>
                  <a:pt x="814" y="1230"/>
                  <a:pt x="865" y="1179"/>
                  <a:pt x="927" y="1179"/>
                </a:cubicBezTo>
                <a:cubicBezTo>
                  <a:pt x="989" y="1179"/>
                  <a:pt x="1040" y="1230"/>
                  <a:pt x="1040" y="1292"/>
                </a:cubicBezTo>
                <a:cubicBezTo>
                  <a:pt x="1040" y="1329"/>
                  <a:pt x="1022" y="1364"/>
                  <a:pt x="991" y="1385"/>
                </a:cubicBezTo>
                <a:cubicBezTo>
                  <a:pt x="985" y="1390"/>
                  <a:pt x="981" y="1397"/>
                  <a:pt x="983" y="1405"/>
                </a:cubicBezTo>
                <a:lnTo>
                  <a:pt x="1022" y="1664"/>
                </a:lnTo>
                <a:close/>
                <a:moveTo>
                  <a:pt x="1643" y="897"/>
                </a:moveTo>
                <a:cubicBezTo>
                  <a:pt x="1508" y="897"/>
                  <a:pt x="1508" y="897"/>
                  <a:pt x="1508" y="897"/>
                </a:cubicBezTo>
                <a:cubicBezTo>
                  <a:pt x="1508" y="363"/>
                  <a:pt x="1508" y="363"/>
                  <a:pt x="1508" y="363"/>
                </a:cubicBezTo>
                <a:cubicBezTo>
                  <a:pt x="1508" y="163"/>
                  <a:pt x="1345" y="0"/>
                  <a:pt x="1145" y="0"/>
                </a:cubicBezTo>
                <a:cubicBezTo>
                  <a:pt x="709" y="0"/>
                  <a:pt x="709" y="0"/>
                  <a:pt x="709" y="0"/>
                </a:cubicBezTo>
                <a:cubicBezTo>
                  <a:pt x="509" y="0"/>
                  <a:pt x="346" y="163"/>
                  <a:pt x="346" y="363"/>
                </a:cubicBezTo>
                <a:cubicBezTo>
                  <a:pt x="346" y="659"/>
                  <a:pt x="346" y="659"/>
                  <a:pt x="346" y="659"/>
                </a:cubicBezTo>
                <a:cubicBezTo>
                  <a:pt x="346" y="670"/>
                  <a:pt x="355" y="679"/>
                  <a:pt x="366" y="679"/>
                </a:cubicBezTo>
                <a:cubicBezTo>
                  <a:pt x="573" y="679"/>
                  <a:pt x="573" y="679"/>
                  <a:pt x="573" y="679"/>
                </a:cubicBezTo>
                <a:cubicBezTo>
                  <a:pt x="585" y="679"/>
                  <a:pt x="594" y="670"/>
                  <a:pt x="594" y="659"/>
                </a:cubicBezTo>
                <a:cubicBezTo>
                  <a:pt x="594" y="381"/>
                  <a:pt x="594" y="381"/>
                  <a:pt x="594" y="381"/>
                </a:cubicBezTo>
                <a:cubicBezTo>
                  <a:pt x="594" y="298"/>
                  <a:pt x="662" y="231"/>
                  <a:pt x="745" y="231"/>
                </a:cubicBezTo>
                <a:cubicBezTo>
                  <a:pt x="1109" y="231"/>
                  <a:pt x="1109" y="231"/>
                  <a:pt x="1109" y="231"/>
                </a:cubicBezTo>
                <a:cubicBezTo>
                  <a:pt x="1192" y="231"/>
                  <a:pt x="1260" y="298"/>
                  <a:pt x="1260" y="381"/>
                </a:cubicBezTo>
                <a:cubicBezTo>
                  <a:pt x="1260" y="897"/>
                  <a:pt x="1260" y="897"/>
                  <a:pt x="1260" y="897"/>
                </a:cubicBezTo>
                <a:cubicBezTo>
                  <a:pt x="211" y="897"/>
                  <a:pt x="211" y="897"/>
                  <a:pt x="211" y="897"/>
                </a:cubicBezTo>
                <a:cubicBezTo>
                  <a:pt x="162" y="897"/>
                  <a:pt x="122" y="936"/>
                  <a:pt x="122" y="986"/>
                </a:cubicBezTo>
                <a:cubicBezTo>
                  <a:pt x="122" y="1857"/>
                  <a:pt x="122" y="1857"/>
                  <a:pt x="122" y="1857"/>
                </a:cubicBezTo>
                <a:cubicBezTo>
                  <a:pt x="122" y="1907"/>
                  <a:pt x="162" y="1946"/>
                  <a:pt x="211" y="1946"/>
                </a:cubicBezTo>
                <a:cubicBezTo>
                  <a:pt x="1643" y="1946"/>
                  <a:pt x="1643" y="1946"/>
                  <a:pt x="1643" y="1946"/>
                </a:cubicBezTo>
                <a:cubicBezTo>
                  <a:pt x="1692" y="1946"/>
                  <a:pt x="1732" y="1907"/>
                  <a:pt x="1732" y="1857"/>
                </a:cubicBezTo>
                <a:cubicBezTo>
                  <a:pt x="1732" y="986"/>
                  <a:pt x="1732" y="986"/>
                  <a:pt x="1732" y="986"/>
                </a:cubicBezTo>
                <a:cubicBezTo>
                  <a:pt x="1732" y="936"/>
                  <a:pt x="1692" y="897"/>
                  <a:pt x="1643" y="897"/>
                </a:cubicBezTo>
                <a:close/>
                <a:moveTo>
                  <a:pt x="1109" y="190"/>
                </a:moveTo>
                <a:cubicBezTo>
                  <a:pt x="745" y="190"/>
                  <a:pt x="745" y="190"/>
                  <a:pt x="745" y="190"/>
                </a:cubicBezTo>
                <a:cubicBezTo>
                  <a:pt x="639" y="190"/>
                  <a:pt x="553" y="276"/>
                  <a:pt x="553" y="381"/>
                </a:cubicBezTo>
                <a:cubicBezTo>
                  <a:pt x="553" y="638"/>
                  <a:pt x="553" y="638"/>
                  <a:pt x="553" y="638"/>
                </a:cubicBezTo>
                <a:cubicBezTo>
                  <a:pt x="387" y="638"/>
                  <a:pt x="387" y="638"/>
                  <a:pt x="387" y="638"/>
                </a:cubicBezTo>
                <a:cubicBezTo>
                  <a:pt x="387" y="363"/>
                  <a:pt x="387" y="363"/>
                  <a:pt x="387" y="363"/>
                </a:cubicBezTo>
                <a:cubicBezTo>
                  <a:pt x="387" y="185"/>
                  <a:pt x="531" y="41"/>
                  <a:pt x="709" y="41"/>
                </a:cubicBezTo>
                <a:cubicBezTo>
                  <a:pt x="1145" y="41"/>
                  <a:pt x="1145" y="41"/>
                  <a:pt x="1145" y="41"/>
                </a:cubicBezTo>
                <a:cubicBezTo>
                  <a:pt x="1322" y="41"/>
                  <a:pt x="1467" y="185"/>
                  <a:pt x="1467" y="363"/>
                </a:cubicBezTo>
                <a:cubicBezTo>
                  <a:pt x="1467" y="897"/>
                  <a:pt x="1467" y="897"/>
                  <a:pt x="1467" y="897"/>
                </a:cubicBezTo>
                <a:cubicBezTo>
                  <a:pt x="1301" y="897"/>
                  <a:pt x="1301" y="897"/>
                  <a:pt x="1301" y="897"/>
                </a:cubicBezTo>
                <a:cubicBezTo>
                  <a:pt x="1301" y="381"/>
                  <a:pt x="1301" y="381"/>
                  <a:pt x="1301" y="381"/>
                </a:cubicBezTo>
                <a:cubicBezTo>
                  <a:pt x="1301" y="276"/>
                  <a:pt x="1215" y="190"/>
                  <a:pt x="1109" y="190"/>
                </a:cubicBezTo>
                <a:close/>
                <a:moveTo>
                  <a:pt x="1691" y="1857"/>
                </a:moveTo>
                <a:cubicBezTo>
                  <a:pt x="1691" y="1884"/>
                  <a:pt x="1669" y="1905"/>
                  <a:pt x="1643" y="1905"/>
                </a:cubicBezTo>
                <a:cubicBezTo>
                  <a:pt x="211" y="1905"/>
                  <a:pt x="211" y="1905"/>
                  <a:pt x="211" y="1905"/>
                </a:cubicBezTo>
                <a:cubicBezTo>
                  <a:pt x="184" y="1905"/>
                  <a:pt x="163" y="1884"/>
                  <a:pt x="163" y="1857"/>
                </a:cubicBezTo>
                <a:cubicBezTo>
                  <a:pt x="163" y="986"/>
                  <a:pt x="163" y="986"/>
                  <a:pt x="163" y="986"/>
                </a:cubicBezTo>
                <a:cubicBezTo>
                  <a:pt x="163" y="959"/>
                  <a:pt x="184" y="938"/>
                  <a:pt x="211" y="938"/>
                </a:cubicBezTo>
                <a:cubicBezTo>
                  <a:pt x="1280" y="938"/>
                  <a:pt x="1280" y="938"/>
                  <a:pt x="1280" y="938"/>
                </a:cubicBezTo>
                <a:cubicBezTo>
                  <a:pt x="1280" y="938"/>
                  <a:pt x="1280" y="938"/>
                  <a:pt x="1280" y="938"/>
                </a:cubicBezTo>
                <a:cubicBezTo>
                  <a:pt x="1487" y="938"/>
                  <a:pt x="1487" y="938"/>
                  <a:pt x="1487" y="938"/>
                </a:cubicBezTo>
                <a:cubicBezTo>
                  <a:pt x="1487" y="938"/>
                  <a:pt x="1488" y="938"/>
                  <a:pt x="1488" y="938"/>
                </a:cubicBezTo>
                <a:cubicBezTo>
                  <a:pt x="1643" y="938"/>
                  <a:pt x="1643" y="938"/>
                  <a:pt x="1643" y="938"/>
                </a:cubicBezTo>
                <a:cubicBezTo>
                  <a:pt x="1669" y="938"/>
                  <a:pt x="1691" y="959"/>
                  <a:pt x="1691" y="986"/>
                </a:cubicBezTo>
                <a:lnTo>
                  <a:pt x="1691" y="1857"/>
                </a:lnTo>
                <a:close/>
                <a:moveTo>
                  <a:pt x="198" y="679"/>
                </a:moveTo>
                <a:cubicBezTo>
                  <a:pt x="21" y="679"/>
                  <a:pt x="21" y="679"/>
                  <a:pt x="21" y="679"/>
                </a:cubicBezTo>
                <a:cubicBezTo>
                  <a:pt x="9" y="679"/>
                  <a:pt x="0" y="670"/>
                  <a:pt x="0" y="659"/>
                </a:cubicBezTo>
                <a:cubicBezTo>
                  <a:pt x="0" y="647"/>
                  <a:pt x="9" y="638"/>
                  <a:pt x="21" y="638"/>
                </a:cubicBezTo>
                <a:cubicBezTo>
                  <a:pt x="198" y="638"/>
                  <a:pt x="198" y="638"/>
                  <a:pt x="198" y="638"/>
                </a:cubicBezTo>
                <a:cubicBezTo>
                  <a:pt x="210" y="638"/>
                  <a:pt x="219" y="647"/>
                  <a:pt x="219" y="659"/>
                </a:cubicBezTo>
                <a:cubicBezTo>
                  <a:pt x="219" y="670"/>
                  <a:pt x="210" y="679"/>
                  <a:pt x="198" y="679"/>
                </a:cubicBezTo>
                <a:close/>
                <a:moveTo>
                  <a:pt x="118" y="483"/>
                </a:moveTo>
                <a:cubicBezTo>
                  <a:pt x="110" y="475"/>
                  <a:pt x="110" y="462"/>
                  <a:pt x="118" y="454"/>
                </a:cubicBezTo>
                <a:cubicBezTo>
                  <a:pt x="126" y="446"/>
                  <a:pt x="139" y="446"/>
                  <a:pt x="147" y="454"/>
                </a:cubicBezTo>
                <a:cubicBezTo>
                  <a:pt x="259" y="566"/>
                  <a:pt x="259" y="566"/>
                  <a:pt x="259" y="566"/>
                </a:cubicBezTo>
                <a:cubicBezTo>
                  <a:pt x="267" y="574"/>
                  <a:pt x="267" y="587"/>
                  <a:pt x="259" y="595"/>
                </a:cubicBezTo>
                <a:cubicBezTo>
                  <a:pt x="255" y="599"/>
                  <a:pt x="250" y="601"/>
                  <a:pt x="245" y="601"/>
                </a:cubicBezTo>
                <a:cubicBezTo>
                  <a:pt x="240" y="601"/>
                  <a:pt x="234" y="599"/>
                  <a:pt x="230" y="595"/>
                </a:cubicBezTo>
                <a:lnTo>
                  <a:pt x="118" y="483"/>
                </a:lnTo>
                <a:close/>
                <a:moveTo>
                  <a:pt x="133" y="872"/>
                </a:moveTo>
                <a:cubicBezTo>
                  <a:pt x="128" y="872"/>
                  <a:pt x="122" y="870"/>
                  <a:pt x="118" y="866"/>
                </a:cubicBezTo>
                <a:cubicBezTo>
                  <a:pt x="110" y="858"/>
                  <a:pt x="110" y="845"/>
                  <a:pt x="118" y="837"/>
                </a:cubicBezTo>
                <a:cubicBezTo>
                  <a:pt x="230" y="725"/>
                  <a:pt x="230" y="725"/>
                  <a:pt x="230" y="725"/>
                </a:cubicBezTo>
                <a:cubicBezTo>
                  <a:pt x="238" y="717"/>
                  <a:pt x="251" y="717"/>
                  <a:pt x="259" y="725"/>
                </a:cubicBezTo>
                <a:cubicBezTo>
                  <a:pt x="267" y="733"/>
                  <a:pt x="267" y="746"/>
                  <a:pt x="259" y="754"/>
                </a:cubicBezTo>
                <a:cubicBezTo>
                  <a:pt x="147" y="866"/>
                  <a:pt x="147" y="866"/>
                  <a:pt x="147" y="866"/>
                </a:cubicBezTo>
                <a:cubicBezTo>
                  <a:pt x="143" y="870"/>
                  <a:pt x="138" y="872"/>
                  <a:pt x="133" y="87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16" name="Straight Connector 15"/>
          <p:cNvCxnSpPr/>
          <p:nvPr/>
        </p:nvCxnSpPr>
        <p:spPr>
          <a:xfrm>
            <a:off x="2473557" y="1803093"/>
            <a:ext cx="628898" cy="615136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2473558" y="2996893"/>
            <a:ext cx="633773" cy="611187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2473558" y="2742099"/>
            <a:ext cx="516042" cy="0"/>
          </a:xfrm>
          <a:prstGeom prst="straightConnector1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rot="10800000">
            <a:off x="6041546" y="2992944"/>
            <a:ext cx="628898" cy="615136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10800000" flipV="1">
            <a:off x="6036671" y="1803093"/>
            <a:ext cx="633773" cy="611187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rot="10800000" flipH="1">
            <a:off x="6154402" y="2669074"/>
            <a:ext cx="516042" cy="0"/>
          </a:xfrm>
          <a:prstGeom prst="straightConnector1">
            <a:avLst/>
          </a:prstGeom>
          <a:ln w="9525">
            <a:solidFill>
              <a:schemeClr val="accent5"/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/>
          <p:cNvGrpSpPr/>
          <p:nvPr/>
        </p:nvGrpSpPr>
        <p:grpSpPr>
          <a:xfrm>
            <a:off x="7003512" y="1661743"/>
            <a:ext cx="1545390" cy="522032"/>
            <a:chOff x="7003512" y="1661743"/>
            <a:chExt cx="1545390" cy="522032"/>
          </a:xfrm>
        </p:grpSpPr>
        <p:sp>
          <p:nvSpPr>
            <p:cNvPr id="22" name="TextBox 21"/>
            <p:cNvSpPr txBox="1"/>
            <p:nvPr/>
          </p:nvSpPr>
          <p:spPr>
            <a:xfrm>
              <a:off x="7003512" y="1661743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rgbClr val="EC0000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LUÇÃO 01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003512" y="1880422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7003512" y="2595688"/>
            <a:ext cx="1545390" cy="522032"/>
            <a:chOff x="7003512" y="2595688"/>
            <a:chExt cx="1545390" cy="522032"/>
          </a:xfrm>
        </p:grpSpPr>
        <p:sp>
          <p:nvSpPr>
            <p:cNvPr id="24" name="TextBox 23"/>
            <p:cNvSpPr txBox="1"/>
            <p:nvPr/>
          </p:nvSpPr>
          <p:spPr>
            <a:xfrm>
              <a:off x="7003512" y="2595688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rgbClr val="EC0000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LUÇÃO 02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003512" y="2814367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003512" y="3543479"/>
            <a:ext cx="1545390" cy="522032"/>
            <a:chOff x="7003512" y="3543479"/>
            <a:chExt cx="1545390" cy="522032"/>
          </a:xfrm>
        </p:grpSpPr>
        <p:sp>
          <p:nvSpPr>
            <p:cNvPr id="26" name="TextBox 25"/>
            <p:cNvSpPr txBox="1"/>
            <p:nvPr/>
          </p:nvSpPr>
          <p:spPr>
            <a:xfrm>
              <a:off x="7003512" y="3543479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rgbClr val="EC0000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LUÇÃO 03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003512" y="3762158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593725" y="1661743"/>
            <a:ext cx="1545390" cy="522032"/>
            <a:chOff x="593725" y="1661743"/>
            <a:chExt cx="1545390" cy="522032"/>
          </a:xfrm>
        </p:grpSpPr>
        <p:sp>
          <p:nvSpPr>
            <p:cNvPr id="28" name="TextBox 27"/>
            <p:cNvSpPr txBox="1"/>
            <p:nvPr/>
          </p:nvSpPr>
          <p:spPr>
            <a:xfrm>
              <a:off x="593725" y="1661743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blema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01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593725" y="1880422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93725" y="2595688"/>
            <a:ext cx="1545390" cy="522032"/>
            <a:chOff x="593725" y="2595688"/>
            <a:chExt cx="1545390" cy="522032"/>
          </a:xfrm>
        </p:grpSpPr>
        <p:sp>
          <p:nvSpPr>
            <p:cNvPr id="30" name="TextBox 29"/>
            <p:cNvSpPr txBox="1"/>
            <p:nvPr/>
          </p:nvSpPr>
          <p:spPr>
            <a:xfrm>
              <a:off x="593725" y="2595688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blema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02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93725" y="2814367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593725" y="3543479"/>
            <a:ext cx="1545390" cy="522032"/>
            <a:chOff x="593725" y="3543479"/>
            <a:chExt cx="1545390" cy="522032"/>
          </a:xfrm>
        </p:grpSpPr>
        <p:sp>
          <p:nvSpPr>
            <p:cNvPr id="32" name="TextBox 31"/>
            <p:cNvSpPr txBox="1"/>
            <p:nvPr/>
          </p:nvSpPr>
          <p:spPr>
            <a:xfrm>
              <a:off x="593725" y="3543479"/>
              <a:ext cx="154539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blema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03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93725" y="3762158"/>
              <a:ext cx="154539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fermentum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nibh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vitae nisi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liqu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ongue</a:t>
              </a:r>
              <a:endParaRPr lang="en-US" sz="80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74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cliente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23"/>
          <p:cNvSpPr>
            <a:spLocks/>
          </p:cNvSpPr>
          <p:nvPr/>
        </p:nvSpPr>
        <p:spPr bwMode="auto">
          <a:xfrm>
            <a:off x="3535612" y="1543050"/>
            <a:ext cx="2374863" cy="2745709"/>
          </a:xfrm>
          <a:custGeom>
            <a:avLst/>
            <a:gdLst>
              <a:gd name="T0" fmla="*/ 2061 w 2071"/>
              <a:gd name="T1" fmla="*/ 1264 h 2395"/>
              <a:gd name="T2" fmla="*/ 2036 w 2071"/>
              <a:gd name="T3" fmla="*/ 1213 h 2395"/>
              <a:gd name="T4" fmla="*/ 1816 w 2071"/>
              <a:gd name="T5" fmla="*/ 973 h 2395"/>
              <a:gd name="T6" fmla="*/ 1741 w 2071"/>
              <a:gd name="T7" fmla="*/ 848 h 2395"/>
              <a:gd name="T8" fmla="*/ 1586 w 2071"/>
              <a:gd name="T9" fmla="*/ 489 h 2395"/>
              <a:gd name="T10" fmla="*/ 1611 w 2071"/>
              <a:gd name="T11" fmla="*/ 451 h 2395"/>
              <a:gd name="T12" fmla="*/ 1670 w 2071"/>
              <a:gd name="T13" fmla="*/ 437 h 2395"/>
              <a:gd name="T14" fmla="*/ 1715 w 2071"/>
              <a:gd name="T15" fmla="*/ 387 h 2395"/>
              <a:gd name="T16" fmla="*/ 1698 w 2071"/>
              <a:gd name="T17" fmla="*/ 347 h 2395"/>
              <a:gd name="T18" fmla="*/ 1304 w 2071"/>
              <a:gd name="T19" fmla="*/ 68 h 2395"/>
              <a:gd name="T20" fmla="*/ 814 w 2071"/>
              <a:gd name="T21" fmla="*/ 7 h 2395"/>
              <a:gd name="T22" fmla="*/ 264 w 2071"/>
              <a:gd name="T23" fmla="*/ 223 h 2395"/>
              <a:gd name="T24" fmla="*/ 45 w 2071"/>
              <a:gd name="T25" fmla="*/ 831 h 2395"/>
              <a:gd name="T26" fmla="*/ 228 w 2071"/>
              <a:gd name="T27" fmla="*/ 1852 h 2395"/>
              <a:gd name="T28" fmla="*/ 227 w 2071"/>
              <a:gd name="T29" fmla="*/ 2059 h 2395"/>
              <a:gd name="T30" fmla="*/ 0 w 2071"/>
              <a:gd name="T31" fmla="*/ 2395 h 2395"/>
              <a:gd name="T32" fmla="*/ 1341 w 2071"/>
              <a:gd name="T33" fmla="*/ 2395 h 2395"/>
              <a:gd name="T34" fmla="*/ 1346 w 2071"/>
              <a:gd name="T35" fmla="*/ 2372 h 2395"/>
              <a:gd name="T36" fmla="*/ 1472 w 2071"/>
              <a:gd name="T37" fmla="*/ 2234 h 2395"/>
              <a:gd name="T38" fmla="*/ 1622 w 2071"/>
              <a:gd name="T39" fmla="*/ 2178 h 2395"/>
              <a:gd name="T40" fmla="*/ 1775 w 2071"/>
              <a:gd name="T41" fmla="*/ 2092 h 2395"/>
              <a:gd name="T42" fmla="*/ 1825 w 2071"/>
              <a:gd name="T43" fmla="*/ 1939 h 2395"/>
              <a:gd name="T44" fmla="*/ 1807 w 2071"/>
              <a:gd name="T45" fmla="*/ 1848 h 2395"/>
              <a:gd name="T46" fmla="*/ 1835 w 2071"/>
              <a:gd name="T47" fmla="*/ 1741 h 2395"/>
              <a:gd name="T48" fmla="*/ 1879 w 2071"/>
              <a:gd name="T49" fmla="*/ 1699 h 2395"/>
              <a:gd name="T50" fmla="*/ 1884 w 2071"/>
              <a:gd name="T51" fmla="*/ 1639 h 2395"/>
              <a:gd name="T52" fmla="*/ 1883 w 2071"/>
              <a:gd name="T53" fmla="*/ 1637 h 2395"/>
              <a:gd name="T54" fmla="*/ 1878 w 2071"/>
              <a:gd name="T55" fmla="*/ 1627 h 2395"/>
              <a:gd name="T56" fmla="*/ 1889 w 2071"/>
              <a:gd name="T57" fmla="*/ 1606 h 2395"/>
              <a:gd name="T58" fmla="*/ 1890 w 2071"/>
              <a:gd name="T59" fmla="*/ 1606 h 2395"/>
              <a:gd name="T60" fmla="*/ 1899 w 2071"/>
              <a:gd name="T61" fmla="*/ 1569 h 2395"/>
              <a:gd name="T62" fmla="*/ 1856 w 2071"/>
              <a:gd name="T63" fmla="*/ 1455 h 2395"/>
              <a:gd name="T64" fmla="*/ 1860 w 2071"/>
              <a:gd name="T65" fmla="*/ 1417 h 2395"/>
              <a:gd name="T66" fmla="*/ 1893 w 2071"/>
              <a:gd name="T67" fmla="*/ 1394 h 2395"/>
              <a:gd name="T68" fmla="*/ 1969 w 2071"/>
              <a:gd name="T69" fmla="*/ 1384 h 2395"/>
              <a:gd name="T70" fmla="*/ 2061 w 2071"/>
              <a:gd name="T71" fmla="*/ 1264 h 23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71" h="2395">
                <a:moveTo>
                  <a:pt x="2061" y="1264"/>
                </a:moveTo>
                <a:cubicBezTo>
                  <a:pt x="2057" y="1246"/>
                  <a:pt x="2049" y="1228"/>
                  <a:pt x="2036" y="1213"/>
                </a:cubicBezTo>
                <a:cubicBezTo>
                  <a:pt x="1816" y="973"/>
                  <a:pt x="1816" y="973"/>
                  <a:pt x="1816" y="973"/>
                </a:cubicBezTo>
                <a:cubicBezTo>
                  <a:pt x="1784" y="936"/>
                  <a:pt x="1758" y="894"/>
                  <a:pt x="1741" y="848"/>
                </a:cubicBezTo>
                <a:cubicBezTo>
                  <a:pt x="1586" y="489"/>
                  <a:pt x="1586" y="489"/>
                  <a:pt x="1586" y="489"/>
                </a:cubicBezTo>
                <a:cubicBezTo>
                  <a:pt x="1579" y="471"/>
                  <a:pt x="1592" y="451"/>
                  <a:pt x="1611" y="451"/>
                </a:cubicBezTo>
                <a:cubicBezTo>
                  <a:pt x="1628" y="450"/>
                  <a:pt x="1649" y="447"/>
                  <a:pt x="1670" y="437"/>
                </a:cubicBezTo>
                <a:cubicBezTo>
                  <a:pt x="1699" y="422"/>
                  <a:pt x="1709" y="408"/>
                  <a:pt x="1715" y="387"/>
                </a:cubicBezTo>
                <a:cubicBezTo>
                  <a:pt x="1719" y="375"/>
                  <a:pt x="1707" y="360"/>
                  <a:pt x="1698" y="347"/>
                </a:cubicBezTo>
                <a:cubicBezTo>
                  <a:pt x="1650" y="281"/>
                  <a:pt x="1494" y="154"/>
                  <a:pt x="1304" y="68"/>
                </a:cubicBezTo>
                <a:cubicBezTo>
                  <a:pt x="1156" y="0"/>
                  <a:pt x="938" y="0"/>
                  <a:pt x="814" y="7"/>
                </a:cubicBezTo>
                <a:cubicBezTo>
                  <a:pt x="667" y="15"/>
                  <a:pt x="432" y="55"/>
                  <a:pt x="264" y="223"/>
                </a:cubicBezTo>
                <a:cubicBezTo>
                  <a:pt x="89" y="399"/>
                  <a:pt x="39" y="580"/>
                  <a:pt x="45" y="831"/>
                </a:cubicBezTo>
                <a:cubicBezTo>
                  <a:pt x="54" y="1219"/>
                  <a:pt x="196" y="1718"/>
                  <a:pt x="228" y="1852"/>
                </a:cubicBezTo>
                <a:cubicBezTo>
                  <a:pt x="232" y="1868"/>
                  <a:pt x="247" y="1970"/>
                  <a:pt x="227" y="2059"/>
                </a:cubicBezTo>
                <a:cubicBezTo>
                  <a:pt x="216" y="2111"/>
                  <a:pt x="23" y="2365"/>
                  <a:pt x="0" y="2395"/>
                </a:cubicBezTo>
                <a:cubicBezTo>
                  <a:pt x="1341" y="2395"/>
                  <a:pt x="1341" y="2395"/>
                  <a:pt x="1341" y="2395"/>
                </a:cubicBezTo>
                <a:cubicBezTo>
                  <a:pt x="1346" y="2372"/>
                  <a:pt x="1346" y="2372"/>
                  <a:pt x="1346" y="2372"/>
                </a:cubicBezTo>
                <a:cubicBezTo>
                  <a:pt x="1359" y="2306"/>
                  <a:pt x="1408" y="2253"/>
                  <a:pt x="1472" y="2234"/>
                </a:cubicBezTo>
                <a:cubicBezTo>
                  <a:pt x="1511" y="2222"/>
                  <a:pt x="1561" y="2205"/>
                  <a:pt x="1622" y="2178"/>
                </a:cubicBezTo>
                <a:cubicBezTo>
                  <a:pt x="1683" y="2151"/>
                  <a:pt x="1745" y="2120"/>
                  <a:pt x="1775" y="2092"/>
                </a:cubicBezTo>
                <a:cubicBezTo>
                  <a:pt x="1817" y="2053"/>
                  <a:pt x="1836" y="1996"/>
                  <a:pt x="1825" y="1939"/>
                </a:cubicBezTo>
                <a:cubicBezTo>
                  <a:pt x="1807" y="1848"/>
                  <a:pt x="1807" y="1848"/>
                  <a:pt x="1807" y="1848"/>
                </a:cubicBezTo>
                <a:cubicBezTo>
                  <a:pt x="1790" y="1810"/>
                  <a:pt x="1802" y="1766"/>
                  <a:pt x="1835" y="1741"/>
                </a:cubicBezTo>
                <a:cubicBezTo>
                  <a:pt x="1879" y="1699"/>
                  <a:pt x="1879" y="1699"/>
                  <a:pt x="1879" y="1699"/>
                </a:cubicBezTo>
                <a:cubicBezTo>
                  <a:pt x="1898" y="1681"/>
                  <a:pt x="1903" y="1657"/>
                  <a:pt x="1884" y="1639"/>
                </a:cubicBezTo>
                <a:cubicBezTo>
                  <a:pt x="1883" y="1639"/>
                  <a:pt x="1883" y="1638"/>
                  <a:pt x="1883" y="1637"/>
                </a:cubicBezTo>
                <a:cubicBezTo>
                  <a:pt x="1881" y="1635"/>
                  <a:pt x="1879" y="1629"/>
                  <a:pt x="1878" y="1627"/>
                </a:cubicBezTo>
                <a:cubicBezTo>
                  <a:pt x="1876" y="1618"/>
                  <a:pt x="1881" y="1609"/>
                  <a:pt x="1889" y="1606"/>
                </a:cubicBezTo>
                <a:cubicBezTo>
                  <a:pt x="1890" y="1606"/>
                  <a:pt x="1890" y="1606"/>
                  <a:pt x="1890" y="1606"/>
                </a:cubicBezTo>
                <a:cubicBezTo>
                  <a:pt x="1899" y="1596"/>
                  <a:pt x="1903" y="1582"/>
                  <a:pt x="1899" y="1569"/>
                </a:cubicBezTo>
                <a:cubicBezTo>
                  <a:pt x="1856" y="1455"/>
                  <a:pt x="1856" y="1455"/>
                  <a:pt x="1856" y="1455"/>
                </a:cubicBezTo>
                <a:cubicBezTo>
                  <a:pt x="1853" y="1442"/>
                  <a:pt x="1855" y="1429"/>
                  <a:pt x="1860" y="1417"/>
                </a:cubicBezTo>
                <a:cubicBezTo>
                  <a:pt x="1867" y="1405"/>
                  <a:pt x="1879" y="1396"/>
                  <a:pt x="1893" y="1394"/>
                </a:cubicBezTo>
                <a:cubicBezTo>
                  <a:pt x="1969" y="1384"/>
                  <a:pt x="1969" y="1384"/>
                  <a:pt x="1969" y="1384"/>
                </a:cubicBezTo>
                <a:cubicBezTo>
                  <a:pt x="2028" y="1377"/>
                  <a:pt x="2071" y="1322"/>
                  <a:pt x="2061" y="126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Oval 4"/>
          <p:cNvSpPr/>
          <p:nvPr/>
        </p:nvSpPr>
        <p:spPr>
          <a:xfrm>
            <a:off x="3699369" y="1681937"/>
            <a:ext cx="1693773" cy="16937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27" name="Group 26"/>
          <p:cNvGrpSpPr/>
          <p:nvPr/>
        </p:nvGrpSpPr>
        <p:grpSpPr>
          <a:xfrm>
            <a:off x="1153604" y="1644906"/>
            <a:ext cx="1617637" cy="498927"/>
            <a:chOff x="1153604" y="1644906"/>
            <a:chExt cx="1617637" cy="498927"/>
          </a:xfrm>
        </p:grpSpPr>
        <p:sp>
          <p:nvSpPr>
            <p:cNvPr id="6" name="TextBox 5"/>
            <p:cNvSpPr txBox="1"/>
            <p:nvPr/>
          </p:nvSpPr>
          <p:spPr>
            <a:xfrm>
              <a:off x="1157844" y="1644906"/>
              <a:ext cx="161339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s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do website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153604" y="1860742"/>
              <a:ext cx="161607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76683451"/>
              </p:ext>
            </p:extLst>
          </p:nvPr>
        </p:nvGraphicFramePr>
        <p:xfrm>
          <a:off x="3594704" y="1572683"/>
          <a:ext cx="1903104" cy="1912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912641" y="2251478"/>
            <a:ext cx="56994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5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197612" y="2838163"/>
            <a:ext cx="56994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5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97365" y="2491346"/>
            <a:ext cx="56994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8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15906" y="1978430"/>
            <a:ext cx="569941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  <a:spcAft>
                <a:spcPts val="1350"/>
              </a:spcAft>
            </a:pPr>
            <a:r>
              <a:rPr lang="en-US" sz="1200" b="1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2%</a:t>
            </a:r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3095853" y="1714220"/>
            <a:ext cx="969475" cy="448450"/>
          </a:xfrm>
          <a:custGeom>
            <a:avLst/>
            <a:gdLst>
              <a:gd name="T0" fmla="*/ 0 w 2194"/>
              <a:gd name="T1" fmla="*/ 0 h 473"/>
              <a:gd name="T2" fmla="*/ 1464 w 2194"/>
              <a:gd name="T3" fmla="*/ 0 h 473"/>
              <a:gd name="T4" fmla="*/ 2194 w 2194"/>
              <a:gd name="T5" fmla="*/ 473 h 473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9411"/>
              <a:gd name="connsiteY0" fmla="*/ 0 h 11384"/>
              <a:gd name="connsiteX1" fmla="*/ 6673 w 9411"/>
              <a:gd name="connsiteY1" fmla="*/ 0 h 11384"/>
              <a:gd name="connsiteX2" fmla="*/ 9411 w 9411"/>
              <a:gd name="connsiteY2" fmla="*/ 11384 h 11384"/>
              <a:gd name="connsiteX0" fmla="*/ 0 w 10548"/>
              <a:gd name="connsiteY0" fmla="*/ 0 h 10000"/>
              <a:gd name="connsiteX1" fmla="*/ 7091 w 10548"/>
              <a:gd name="connsiteY1" fmla="*/ 0 h 10000"/>
              <a:gd name="connsiteX2" fmla="*/ 10000 w 10548"/>
              <a:gd name="connsiteY2" fmla="*/ 10000 h 10000"/>
              <a:gd name="connsiteX0" fmla="*/ 0 w 10000"/>
              <a:gd name="connsiteY0" fmla="*/ 0 h 10000"/>
              <a:gd name="connsiteX1" fmla="*/ 7091 w 10000"/>
              <a:gd name="connsiteY1" fmla="*/ 0 h 10000"/>
              <a:gd name="connsiteX2" fmla="*/ 10000 w 10000"/>
              <a:gd name="connsiteY2" fmla="*/ 10000 h 10000"/>
              <a:gd name="connsiteX0" fmla="*/ 0 w 9750"/>
              <a:gd name="connsiteY0" fmla="*/ 0 h 8887"/>
              <a:gd name="connsiteX1" fmla="*/ 7091 w 9750"/>
              <a:gd name="connsiteY1" fmla="*/ 0 h 8887"/>
              <a:gd name="connsiteX2" fmla="*/ 9750 w 9750"/>
              <a:gd name="connsiteY2" fmla="*/ 8887 h 8887"/>
              <a:gd name="connsiteX0" fmla="*/ 0 w 6085"/>
              <a:gd name="connsiteY0" fmla="*/ 0 h 10029"/>
              <a:gd name="connsiteX1" fmla="*/ 3358 w 6085"/>
              <a:gd name="connsiteY1" fmla="*/ 29 h 10029"/>
              <a:gd name="connsiteX2" fmla="*/ 6085 w 6085"/>
              <a:gd name="connsiteY2" fmla="*/ 10029 h 10029"/>
              <a:gd name="connsiteX0" fmla="*/ 0 w 8494"/>
              <a:gd name="connsiteY0" fmla="*/ 0 h 10029"/>
              <a:gd name="connsiteX1" fmla="*/ 4012 w 8494"/>
              <a:gd name="connsiteY1" fmla="*/ 58 h 10029"/>
              <a:gd name="connsiteX2" fmla="*/ 8494 w 8494"/>
              <a:gd name="connsiteY2" fmla="*/ 10029 h 1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94" h="10029">
                <a:moveTo>
                  <a:pt x="0" y="0"/>
                </a:moveTo>
                <a:lnTo>
                  <a:pt x="4012" y="58"/>
                </a:lnTo>
                <a:lnTo>
                  <a:pt x="8494" y="10029"/>
                </a:lnTo>
              </a:path>
            </a:pathLst>
          </a:custGeom>
          <a:noFill/>
          <a:ln w="9525" cap="flat">
            <a:solidFill>
              <a:schemeClr val="accent1"/>
            </a:solidFill>
            <a:prstDash val="solid"/>
            <a:miter lim="800000"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grpSp>
        <p:nvGrpSpPr>
          <p:cNvPr id="28" name="Group 27"/>
          <p:cNvGrpSpPr/>
          <p:nvPr/>
        </p:nvGrpSpPr>
        <p:grpSpPr>
          <a:xfrm>
            <a:off x="1153604" y="3269776"/>
            <a:ext cx="1617637" cy="498927"/>
            <a:chOff x="1153604" y="3269776"/>
            <a:chExt cx="1617637" cy="498927"/>
          </a:xfrm>
        </p:grpSpPr>
        <p:sp>
          <p:nvSpPr>
            <p:cNvPr id="14" name="TextBox 13"/>
            <p:cNvSpPr txBox="1"/>
            <p:nvPr/>
          </p:nvSpPr>
          <p:spPr>
            <a:xfrm>
              <a:off x="1157844" y="3269776"/>
              <a:ext cx="161339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rketing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ret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153604" y="3485612"/>
              <a:ext cx="161607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16" name="Freeform 6"/>
          <p:cNvSpPr>
            <a:spLocks/>
          </p:cNvSpPr>
          <p:nvPr/>
        </p:nvSpPr>
        <p:spPr bwMode="auto">
          <a:xfrm flipV="1">
            <a:off x="3085034" y="2971598"/>
            <a:ext cx="1022734" cy="382563"/>
          </a:xfrm>
          <a:custGeom>
            <a:avLst/>
            <a:gdLst>
              <a:gd name="T0" fmla="*/ 0 w 2194"/>
              <a:gd name="T1" fmla="*/ 0 h 473"/>
              <a:gd name="T2" fmla="*/ 1464 w 2194"/>
              <a:gd name="T3" fmla="*/ 0 h 473"/>
              <a:gd name="T4" fmla="*/ 2194 w 2194"/>
              <a:gd name="T5" fmla="*/ 473 h 473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9411"/>
              <a:gd name="connsiteY0" fmla="*/ 0 h 11384"/>
              <a:gd name="connsiteX1" fmla="*/ 6673 w 9411"/>
              <a:gd name="connsiteY1" fmla="*/ 0 h 11384"/>
              <a:gd name="connsiteX2" fmla="*/ 9411 w 9411"/>
              <a:gd name="connsiteY2" fmla="*/ 11384 h 11384"/>
              <a:gd name="connsiteX0" fmla="*/ 0 w 10548"/>
              <a:gd name="connsiteY0" fmla="*/ 0 h 10000"/>
              <a:gd name="connsiteX1" fmla="*/ 7091 w 10548"/>
              <a:gd name="connsiteY1" fmla="*/ 0 h 10000"/>
              <a:gd name="connsiteX2" fmla="*/ 10000 w 10548"/>
              <a:gd name="connsiteY2" fmla="*/ 10000 h 10000"/>
              <a:gd name="connsiteX0" fmla="*/ 0 w 10000"/>
              <a:gd name="connsiteY0" fmla="*/ 0 h 10000"/>
              <a:gd name="connsiteX1" fmla="*/ 7091 w 10000"/>
              <a:gd name="connsiteY1" fmla="*/ 0 h 10000"/>
              <a:gd name="connsiteX2" fmla="*/ 10000 w 10000"/>
              <a:gd name="connsiteY2" fmla="*/ 10000 h 10000"/>
              <a:gd name="connsiteX0" fmla="*/ 0 w 9750"/>
              <a:gd name="connsiteY0" fmla="*/ 0 h 8887"/>
              <a:gd name="connsiteX1" fmla="*/ 7091 w 9750"/>
              <a:gd name="connsiteY1" fmla="*/ 0 h 8887"/>
              <a:gd name="connsiteX2" fmla="*/ 9750 w 9750"/>
              <a:gd name="connsiteY2" fmla="*/ 8887 h 8887"/>
              <a:gd name="connsiteX0" fmla="*/ 0 w 6085"/>
              <a:gd name="connsiteY0" fmla="*/ 0 h 10029"/>
              <a:gd name="connsiteX1" fmla="*/ 3358 w 6085"/>
              <a:gd name="connsiteY1" fmla="*/ 29 h 10029"/>
              <a:gd name="connsiteX2" fmla="*/ 6085 w 6085"/>
              <a:gd name="connsiteY2" fmla="*/ 10029 h 10029"/>
              <a:gd name="connsiteX0" fmla="*/ 0 w 8494"/>
              <a:gd name="connsiteY0" fmla="*/ 0 h 10029"/>
              <a:gd name="connsiteX1" fmla="*/ 4012 w 8494"/>
              <a:gd name="connsiteY1" fmla="*/ 58 h 10029"/>
              <a:gd name="connsiteX2" fmla="*/ 8494 w 8494"/>
              <a:gd name="connsiteY2" fmla="*/ 10029 h 10029"/>
              <a:gd name="connsiteX0" fmla="*/ 0 w 11715"/>
              <a:gd name="connsiteY0" fmla="*/ 0 h 8391"/>
              <a:gd name="connsiteX1" fmla="*/ 4723 w 11715"/>
              <a:gd name="connsiteY1" fmla="*/ 58 h 8391"/>
              <a:gd name="connsiteX2" fmla="*/ 11715 w 11715"/>
              <a:gd name="connsiteY2" fmla="*/ 8391 h 8391"/>
              <a:gd name="connsiteX0" fmla="*/ 0 w 9834"/>
              <a:gd name="connsiteY0" fmla="*/ 0 h 11834"/>
              <a:gd name="connsiteX1" fmla="*/ 4032 w 9834"/>
              <a:gd name="connsiteY1" fmla="*/ 69 h 11834"/>
              <a:gd name="connsiteX2" fmla="*/ 9834 w 9834"/>
              <a:gd name="connsiteY2" fmla="*/ 11834 h 11834"/>
              <a:gd name="connsiteX0" fmla="*/ 0 w 9157"/>
              <a:gd name="connsiteY0" fmla="*/ 0 h 8591"/>
              <a:gd name="connsiteX1" fmla="*/ 4100 w 9157"/>
              <a:gd name="connsiteY1" fmla="*/ 58 h 8591"/>
              <a:gd name="connsiteX2" fmla="*/ 9157 w 9157"/>
              <a:gd name="connsiteY2" fmla="*/ 8591 h 8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57" h="8591">
                <a:moveTo>
                  <a:pt x="0" y="0"/>
                </a:moveTo>
                <a:lnTo>
                  <a:pt x="4100" y="58"/>
                </a:lnTo>
                <a:lnTo>
                  <a:pt x="9157" y="8591"/>
                </a:lnTo>
              </a:path>
            </a:pathLst>
          </a:custGeom>
          <a:noFill/>
          <a:ln w="9525" cap="flat">
            <a:solidFill>
              <a:schemeClr val="accent1"/>
            </a:solidFill>
            <a:prstDash val="solid"/>
            <a:miter lim="800000"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grpSp>
        <p:nvGrpSpPr>
          <p:cNvPr id="30" name="Group 29"/>
          <p:cNvGrpSpPr/>
          <p:nvPr/>
        </p:nvGrpSpPr>
        <p:grpSpPr>
          <a:xfrm>
            <a:off x="6325264" y="1632357"/>
            <a:ext cx="1616071" cy="498927"/>
            <a:chOff x="6325264" y="1632357"/>
            <a:chExt cx="1616071" cy="498927"/>
          </a:xfrm>
        </p:grpSpPr>
        <p:sp>
          <p:nvSpPr>
            <p:cNvPr id="17" name="TextBox 16"/>
            <p:cNvSpPr txBox="1"/>
            <p:nvPr/>
          </p:nvSpPr>
          <p:spPr>
            <a:xfrm>
              <a:off x="6325264" y="1632357"/>
              <a:ext cx="161339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des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ciais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325264" y="1848193"/>
              <a:ext cx="161607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325264" y="3269776"/>
            <a:ext cx="1616071" cy="498927"/>
            <a:chOff x="6325264" y="3269776"/>
            <a:chExt cx="1616071" cy="498927"/>
          </a:xfrm>
        </p:grpSpPr>
        <p:sp>
          <p:nvSpPr>
            <p:cNvPr id="19" name="TextBox 18"/>
            <p:cNvSpPr txBox="1"/>
            <p:nvPr/>
          </p:nvSpPr>
          <p:spPr>
            <a:xfrm>
              <a:off x="6325264" y="3269776"/>
              <a:ext cx="161339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lefonia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325264" y="3485612"/>
              <a:ext cx="1616071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1" name="Freeform 6"/>
          <p:cNvSpPr>
            <a:spLocks/>
          </p:cNvSpPr>
          <p:nvPr/>
        </p:nvSpPr>
        <p:spPr bwMode="auto">
          <a:xfrm flipH="1">
            <a:off x="5040789" y="1714220"/>
            <a:ext cx="969475" cy="448450"/>
          </a:xfrm>
          <a:custGeom>
            <a:avLst/>
            <a:gdLst>
              <a:gd name="T0" fmla="*/ 0 w 2194"/>
              <a:gd name="T1" fmla="*/ 0 h 473"/>
              <a:gd name="T2" fmla="*/ 1464 w 2194"/>
              <a:gd name="T3" fmla="*/ 0 h 473"/>
              <a:gd name="T4" fmla="*/ 2194 w 2194"/>
              <a:gd name="T5" fmla="*/ 473 h 473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9411"/>
              <a:gd name="connsiteY0" fmla="*/ 0 h 11384"/>
              <a:gd name="connsiteX1" fmla="*/ 6673 w 9411"/>
              <a:gd name="connsiteY1" fmla="*/ 0 h 11384"/>
              <a:gd name="connsiteX2" fmla="*/ 9411 w 9411"/>
              <a:gd name="connsiteY2" fmla="*/ 11384 h 11384"/>
              <a:gd name="connsiteX0" fmla="*/ 0 w 10548"/>
              <a:gd name="connsiteY0" fmla="*/ 0 h 10000"/>
              <a:gd name="connsiteX1" fmla="*/ 7091 w 10548"/>
              <a:gd name="connsiteY1" fmla="*/ 0 h 10000"/>
              <a:gd name="connsiteX2" fmla="*/ 10000 w 10548"/>
              <a:gd name="connsiteY2" fmla="*/ 10000 h 10000"/>
              <a:gd name="connsiteX0" fmla="*/ 0 w 10000"/>
              <a:gd name="connsiteY0" fmla="*/ 0 h 10000"/>
              <a:gd name="connsiteX1" fmla="*/ 7091 w 10000"/>
              <a:gd name="connsiteY1" fmla="*/ 0 h 10000"/>
              <a:gd name="connsiteX2" fmla="*/ 10000 w 10000"/>
              <a:gd name="connsiteY2" fmla="*/ 10000 h 10000"/>
              <a:gd name="connsiteX0" fmla="*/ 0 w 9750"/>
              <a:gd name="connsiteY0" fmla="*/ 0 h 8887"/>
              <a:gd name="connsiteX1" fmla="*/ 7091 w 9750"/>
              <a:gd name="connsiteY1" fmla="*/ 0 h 8887"/>
              <a:gd name="connsiteX2" fmla="*/ 9750 w 9750"/>
              <a:gd name="connsiteY2" fmla="*/ 8887 h 8887"/>
              <a:gd name="connsiteX0" fmla="*/ 0 w 6085"/>
              <a:gd name="connsiteY0" fmla="*/ 0 h 10029"/>
              <a:gd name="connsiteX1" fmla="*/ 3358 w 6085"/>
              <a:gd name="connsiteY1" fmla="*/ 29 h 10029"/>
              <a:gd name="connsiteX2" fmla="*/ 6085 w 6085"/>
              <a:gd name="connsiteY2" fmla="*/ 10029 h 10029"/>
              <a:gd name="connsiteX0" fmla="*/ 0 w 8494"/>
              <a:gd name="connsiteY0" fmla="*/ 0 h 10029"/>
              <a:gd name="connsiteX1" fmla="*/ 4012 w 8494"/>
              <a:gd name="connsiteY1" fmla="*/ 58 h 10029"/>
              <a:gd name="connsiteX2" fmla="*/ 8494 w 8494"/>
              <a:gd name="connsiteY2" fmla="*/ 10029 h 10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494" h="10029">
                <a:moveTo>
                  <a:pt x="0" y="0"/>
                </a:moveTo>
                <a:lnTo>
                  <a:pt x="4012" y="58"/>
                </a:lnTo>
                <a:lnTo>
                  <a:pt x="8494" y="10029"/>
                </a:lnTo>
              </a:path>
            </a:pathLst>
          </a:custGeom>
          <a:noFill/>
          <a:ln w="9525" cap="flat">
            <a:solidFill>
              <a:schemeClr val="accent1"/>
            </a:solidFill>
            <a:prstDash val="solid"/>
            <a:miter lim="800000"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2" name="Freeform 6"/>
          <p:cNvSpPr>
            <a:spLocks/>
          </p:cNvSpPr>
          <p:nvPr/>
        </p:nvSpPr>
        <p:spPr bwMode="auto">
          <a:xfrm flipH="1" flipV="1">
            <a:off x="5029971" y="2971598"/>
            <a:ext cx="1022734" cy="382563"/>
          </a:xfrm>
          <a:custGeom>
            <a:avLst/>
            <a:gdLst>
              <a:gd name="T0" fmla="*/ 0 w 2194"/>
              <a:gd name="T1" fmla="*/ 0 h 473"/>
              <a:gd name="T2" fmla="*/ 1464 w 2194"/>
              <a:gd name="T3" fmla="*/ 0 h 473"/>
              <a:gd name="T4" fmla="*/ 2194 w 2194"/>
              <a:gd name="T5" fmla="*/ 473 h 473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10177"/>
              <a:gd name="connsiteY0" fmla="*/ 0 h 15045"/>
              <a:gd name="connsiteX1" fmla="*/ 6673 w 10177"/>
              <a:gd name="connsiteY1" fmla="*/ 0 h 15045"/>
              <a:gd name="connsiteX2" fmla="*/ 10177 w 10177"/>
              <a:gd name="connsiteY2" fmla="*/ 15045 h 15045"/>
              <a:gd name="connsiteX0" fmla="*/ 0 w 9411"/>
              <a:gd name="connsiteY0" fmla="*/ 0 h 11384"/>
              <a:gd name="connsiteX1" fmla="*/ 6673 w 9411"/>
              <a:gd name="connsiteY1" fmla="*/ 0 h 11384"/>
              <a:gd name="connsiteX2" fmla="*/ 9411 w 9411"/>
              <a:gd name="connsiteY2" fmla="*/ 11384 h 11384"/>
              <a:gd name="connsiteX0" fmla="*/ 0 w 10548"/>
              <a:gd name="connsiteY0" fmla="*/ 0 h 10000"/>
              <a:gd name="connsiteX1" fmla="*/ 7091 w 10548"/>
              <a:gd name="connsiteY1" fmla="*/ 0 h 10000"/>
              <a:gd name="connsiteX2" fmla="*/ 10000 w 10548"/>
              <a:gd name="connsiteY2" fmla="*/ 10000 h 10000"/>
              <a:gd name="connsiteX0" fmla="*/ 0 w 10000"/>
              <a:gd name="connsiteY0" fmla="*/ 0 h 10000"/>
              <a:gd name="connsiteX1" fmla="*/ 7091 w 10000"/>
              <a:gd name="connsiteY1" fmla="*/ 0 h 10000"/>
              <a:gd name="connsiteX2" fmla="*/ 10000 w 10000"/>
              <a:gd name="connsiteY2" fmla="*/ 10000 h 10000"/>
              <a:gd name="connsiteX0" fmla="*/ 0 w 9750"/>
              <a:gd name="connsiteY0" fmla="*/ 0 h 8887"/>
              <a:gd name="connsiteX1" fmla="*/ 7091 w 9750"/>
              <a:gd name="connsiteY1" fmla="*/ 0 h 8887"/>
              <a:gd name="connsiteX2" fmla="*/ 9750 w 9750"/>
              <a:gd name="connsiteY2" fmla="*/ 8887 h 8887"/>
              <a:gd name="connsiteX0" fmla="*/ 0 w 6085"/>
              <a:gd name="connsiteY0" fmla="*/ 0 h 10029"/>
              <a:gd name="connsiteX1" fmla="*/ 3358 w 6085"/>
              <a:gd name="connsiteY1" fmla="*/ 29 h 10029"/>
              <a:gd name="connsiteX2" fmla="*/ 6085 w 6085"/>
              <a:gd name="connsiteY2" fmla="*/ 10029 h 10029"/>
              <a:gd name="connsiteX0" fmla="*/ 0 w 8494"/>
              <a:gd name="connsiteY0" fmla="*/ 0 h 10029"/>
              <a:gd name="connsiteX1" fmla="*/ 4012 w 8494"/>
              <a:gd name="connsiteY1" fmla="*/ 58 h 10029"/>
              <a:gd name="connsiteX2" fmla="*/ 8494 w 8494"/>
              <a:gd name="connsiteY2" fmla="*/ 10029 h 10029"/>
              <a:gd name="connsiteX0" fmla="*/ 0 w 11715"/>
              <a:gd name="connsiteY0" fmla="*/ 0 h 8391"/>
              <a:gd name="connsiteX1" fmla="*/ 4723 w 11715"/>
              <a:gd name="connsiteY1" fmla="*/ 58 h 8391"/>
              <a:gd name="connsiteX2" fmla="*/ 11715 w 11715"/>
              <a:gd name="connsiteY2" fmla="*/ 8391 h 8391"/>
              <a:gd name="connsiteX0" fmla="*/ 0 w 9834"/>
              <a:gd name="connsiteY0" fmla="*/ 0 h 11834"/>
              <a:gd name="connsiteX1" fmla="*/ 4032 w 9834"/>
              <a:gd name="connsiteY1" fmla="*/ 69 h 11834"/>
              <a:gd name="connsiteX2" fmla="*/ 9834 w 9834"/>
              <a:gd name="connsiteY2" fmla="*/ 11834 h 11834"/>
              <a:gd name="connsiteX0" fmla="*/ 0 w 9157"/>
              <a:gd name="connsiteY0" fmla="*/ 0 h 8591"/>
              <a:gd name="connsiteX1" fmla="*/ 4100 w 9157"/>
              <a:gd name="connsiteY1" fmla="*/ 58 h 8591"/>
              <a:gd name="connsiteX2" fmla="*/ 9157 w 9157"/>
              <a:gd name="connsiteY2" fmla="*/ 8591 h 8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57" h="8591">
                <a:moveTo>
                  <a:pt x="0" y="0"/>
                </a:moveTo>
                <a:lnTo>
                  <a:pt x="4100" y="58"/>
                </a:lnTo>
                <a:lnTo>
                  <a:pt x="9157" y="8591"/>
                </a:lnTo>
              </a:path>
            </a:pathLst>
          </a:custGeom>
          <a:noFill/>
          <a:ln w="9525" cap="flat">
            <a:solidFill>
              <a:schemeClr val="accent1"/>
            </a:solidFill>
            <a:prstDash val="solid"/>
            <a:miter lim="800000"/>
            <a:headEnd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3" name="Oval 22"/>
          <p:cNvSpPr/>
          <p:nvPr/>
        </p:nvSpPr>
        <p:spPr>
          <a:xfrm>
            <a:off x="4999990" y="2121872"/>
            <a:ext cx="81598" cy="8159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/>
          <p:cNvSpPr/>
          <p:nvPr/>
        </p:nvSpPr>
        <p:spPr>
          <a:xfrm>
            <a:off x="4024529" y="2121872"/>
            <a:ext cx="81598" cy="8159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4073088" y="2930800"/>
            <a:ext cx="81598" cy="8159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4984398" y="2930800"/>
            <a:ext cx="81598" cy="81596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225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IDEIAS</a:t>
            </a:r>
            <a:r>
              <a:rPr lang="en-US" dirty="0"/>
              <a:t> DE NEGÓCIO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3401852" y="2142967"/>
            <a:ext cx="417168" cy="223351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2902925" y="2899771"/>
            <a:ext cx="797542" cy="0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3492601" y="3579027"/>
            <a:ext cx="260458" cy="115203"/>
          </a:xfrm>
          <a:prstGeom prst="line">
            <a:avLst/>
          </a:prstGeom>
          <a:ln w="9525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5556231" y="2899771"/>
            <a:ext cx="678694" cy="0"/>
          </a:xfrm>
          <a:prstGeom prst="line">
            <a:avLst/>
          </a:prstGeom>
          <a:ln w="9525">
            <a:solidFill>
              <a:schemeClr val="accent5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5277303" y="3579027"/>
            <a:ext cx="371592" cy="115203"/>
          </a:xfrm>
          <a:prstGeom prst="line">
            <a:avLst/>
          </a:prstGeom>
          <a:ln w="9525">
            <a:solidFill>
              <a:schemeClr val="accent5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5486003" y="2142600"/>
            <a:ext cx="256514" cy="157782"/>
          </a:xfrm>
          <a:prstGeom prst="line">
            <a:avLst/>
          </a:prstGeom>
          <a:ln w="9525">
            <a:solidFill>
              <a:schemeClr val="accent5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13"/>
          <p:cNvSpPr>
            <a:spLocks/>
          </p:cNvSpPr>
          <p:nvPr/>
        </p:nvSpPr>
        <p:spPr bwMode="auto">
          <a:xfrm>
            <a:off x="3635221" y="1842982"/>
            <a:ext cx="1850783" cy="2450639"/>
          </a:xfrm>
          <a:custGeom>
            <a:avLst/>
            <a:gdLst>
              <a:gd name="T0" fmla="*/ 117 w 6369"/>
              <a:gd name="T1" fmla="*/ 4739 h 8435"/>
              <a:gd name="T2" fmla="*/ 217 w 6369"/>
              <a:gd name="T3" fmla="*/ 4760 h 8435"/>
              <a:gd name="T4" fmla="*/ 416 w 6369"/>
              <a:gd name="T5" fmla="*/ 4798 h 8435"/>
              <a:gd name="T6" fmla="*/ 517 w 6369"/>
              <a:gd name="T7" fmla="*/ 4900 h 8435"/>
              <a:gd name="T8" fmla="*/ 533 w 6369"/>
              <a:gd name="T9" fmla="*/ 5042 h 8435"/>
              <a:gd name="T10" fmla="*/ 503 w 6369"/>
              <a:gd name="T11" fmla="*/ 5134 h 8435"/>
              <a:gd name="T12" fmla="*/ 483 w 6369"/>
              <a:gd name="T13" fmla="*/ 5228 h 8435"/>
              <a:gd name="T14" fmla="*/ 517 w 6369"/>
              <a:gd name="T15" fmla="*/ 5320 h 8435"/>
              <a:gd name="T16" fmla="*/ 593 w 6369"/>
              <a:gd name="T17" fmla="*/ 5384 h 8435"/>
              <a:gd name="T18" fmla="*/ 629 w 6369"/>
              <a:gd name="T19" fmla="*/ 5407 h 8435"/>
              <a:gd name="T20" fmla="*/ 641 w 6369"/>
              <a:gd name="T21" fmla="*/ 5424 h 8435"/>
              <a:gd name="T22" fmla="*/ 640 w 6369"/>
              <a:gd name="T23" fmla="*/ 5445 h 8435"/>
              <a:gd name="T24" fmla="*/ 623 w 6369"/>
              <a:gd name="T25" fmla="*/ 5463 h 8435"/>
              <a:gd name="T26" fmla="*/ 602 w 6369"/>
              <a:gd name="T27" fmla="*/ 5477 h 8435"/>
              <a:gd name="T28" fmla="*/ 588 w 6369"/>
              <a:gd name="T29" fmla="*/ 5500 h 8435"/>
              <a:gd name="T30" fmla="*/ 581 w 6369"/>
              <a:gd name="T31" fmla="*/ 5527 h 8435"/>
              <a:gd name="T32" fmla="*/ 583 w 6369"/>
              <a:gd name="T33" fmla="*/ 5648 h 8435"/>
              <a:gd name="T34" fmla="*/ 637 w 6369"/>
              <a:gd name="T35" fmla="*/ 5755 h 8435"/>
              <a:gd name="T36" fmla="*/ 752 w 6369"/>
              <a:gd name="T37" fmla="*/ 5836 h 8435"/>
              <a:gd name="T38" fmla="*/ 865 w 6369"/>
              <a:gd name="T39" fmla="*/ 5916 h 8435"/>
              <a:gd name="T40" fmla="*/ 917 w 6369"/>
              <a:gd name="T41" fmla="*/ 6046 h 8435"/>
              <a:gd name="T42" fmla="*/ 860 w 6369"/>
              <a:gd name="T43" fmla="*/ 6200 h 8435"/>
              <a:gd name="T44" fmla="*/ 788 w 6369"/>
              <a:gd name="T45" fmla="*/ 6349 h 8435"/>
              <a:gd name="T46" fmla="*/ 837 w 6369"/>
              <a:gd name="T47" fmla="*/ 6565 h 8435"/>
              <a:gd name="T48" fmla="*/ 1017 w 6369"/>
              <a:gd name="T49" fmla="*/ 6699 h 8435"/>
              <a:gd name="T50" fmla="*/ 1296 w 6369"/>
              <a:gd name="T51" fmla="*/ 6750 h 8435"/>
              <a:gd name="T52" fmla="*/ 1580 w 6369"/>
              <a:gd name="T53" fmla="*/ 6733 h 8435"/>
              <a:gd name="T54" fmla="*/ 1864 w 6369"/>
              <a:gd name="T55" fmla="*/ 6728 h 8435"/>
              <a:gd name="T56" fmla="*/ 2133 w 6369"/>
              <a:gd name="T57" fmla="*/ 6811 h 8435"/>
              <a:gd name="T58" fmla="*/ 2287 w 6369"/>
              <a:gd name="T59" fmla="*/ 6997 h 8435"/>
              <a:gd name="T60" fmla="*/ 2291 w 6369"/>
              <a:gd name="T61" fmla="*/ 7212 h 8435"/>
              <a:gd name="T62" fmla="*/ 2281 w 6369"/>
              <a:gd name="T63" fmla="*/ 7427 h 8435"/>
              <a:gd name="T64" fmla="*/ 2360 w 6369"/>
              <a:gd name="T65" fmla="*/ 7601 h 8435"/>
              <a:gd name="T66" fmla="*/ 2478 w 6369"/>
              <a:gd name="T67" fmla="*/ 7752 h 8435"/>
              <a:gd name="T68" fmla="*/ 2135 w 6369"/>
              <a:gd name="T69" fmla="*/ 8435 h 8435"/>
              <a:gd name="T70" fmla="*/ 6369 w 6369"/>
              <a:gd name="T71" fmla="*/ 8435 h 8435"/>
              <a:gd name="T72" fmla="*/ 6361 w 6369"/>
              <a:gd name="T73" fmla="*/ 8417 h 8435"/>
              <a:gd name="T74" fmla="*/ 5454 w 6369"/>
              <a:gd name="T75" fmla="*/ 6891 h 8435"/>
              <a:gd name="T76" fmla="*/ 5337 w 6369"/>
              <a:gd name="T77" fmla="*/ 5743 h 8435"/>
              <a:gd name="T78" fmla="*/ 5371 w 6369"/>
              <a:gd name="T79" fmla="*/ 5540 h 8435"/>
              <a:gd name="T80" fmla="*/ 5510 w 6369"/>
              <a:gd name="T81" fmla="*/ 5203 h 8435"/>
              <a:gd name="T82" fmla="*/ 6060 w 6369"/>
              <a:gd name="T83" fmla="*/ 4022 h 8435"/>
              <a:gd name="T84" fmla="*/ 6282 w 6369"/>
              <a:gd name="T85" fmla="*/ 2714 h 8435"/>
              <a:gd name="T86" fmla="*/ 6023 w 6369"/>
              <a:gd name="T87" fmla="*/ 1330 h 8435"/>
              <a:gd name="T88" fmla="*/ 3892 w 6369"/>
              <a:gd name="T89" fmla="*/ 1 h 8435"/>
              <a:gd name="T90" fmla="*/ 3781 w 6369"/>
              <a:gd name="T91" fmla="*/ 0 h 8435"/>
              <a:gd name="T92" fmla="*/ 3781 w 6369"/>
              <a:gd name="T93" fmla="*/ 0 h 8435"/>
              <a:gd name="T94" fmla="*/ 2149 w 6369"/>
              <a:gd name="T95" fmla="*/ 356 h 8435"/>
              <a:gd name="T96" fmla="*/ 1225 w 6369"/>
              <a:gd name="T97" fmla="*/ 1100 h 8435"/>
              <a:gd name="T98" fmla="*/ 820 w 6369"/>
              <a:gd name="T99" fmla="*/ 1992 h 8435"/>
              <a:gd name="T100" fmla="*/ 640 w 6369"/>
              <a:gd name="T101" fmla="*/ 2725 h 8435"/>
              <a:gd name="T102" fmla="*/ 593 w 6369"/>
              <a:gd name="T103" fmla="*/ 2876 h 8435"/>
              <a:gd name="T104" fmla="*/ 586 w 6369"/>
              <a:gd name="T105" fmla="*/ 3034 h 8435"/>
              <a:gd name="T106" fmla="*/ 663 w 6369"/>
              <a:gd name="T107" fmla="*/ 3201 h 8435"/>
              <a:gd name="T108" fmla="*/ 724 w 6369"/>
              <a:gd name="T109" fmla="*/ 3373 h 8435"/>
              <a:gd name="T110" fmla="*/ 679 w 6369"/>
              <a:gd name="T111" fmla="*/ 3531 h 8435"/>
              <a:gd name="T112" fmla="*/ 581 w 6369"/>
              <a:gd name="T113" fmla="*/ 3666 h 8435"/>
              <a:gd name="T114" fmla="*/ 151 w 6369"/>
              <a:gd name="T115" fmla="*/ 4298 h 8435"/>
              <a:gd name="T116" fmla="*/ 25 w 6369"/>
              <a:gd name="T117" fmla="*/ 4474 h 8435"/>
              <a:gd name="T118" fmla="*/ 1 w 6369"/>
              <a:gd name="T119" fmla="*/ 4580 h 8435"/>
              <a:gd name="T120" fmla="*/ 34 w 6369"/>
              <a:gd name="T121" fmla="*/ 4681 h 8435"/>
              <a:gd name="T122" fmla="*/ 117 w 6369"/>
              <a:gd name="T123" fmla="*/ 4739 h 8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369" h="8435">
                <a:moveTo>
                  <a:pt x="117" y="4739"/>
                </a:moveTo>
                <a:cubicBezTo>
                  <a:pt x="148" y="4751"/>
                  <a:pt x="183" y="4757"/>
                  <a:pt x="217" y="4760"/>
                </a:cubicBezTo>
                <a:cubicBezTo>
                  <a:pt x="285" y="4767"/>
                  <a:pt x="355" y="4767"/>
                  <a:pt x="416" y="4798"/>
                </a:cubicBezTo>
                <a:cubicBezTo>
                  <a:pt x="460" y="4820"/>
                  <a:pt x="496" y="4856"/>
                  <a:pt x="517" y="4900"/>
                </a:cubicBezTo>
                <a:cubicBezTo>
                  <a:pt x="537" y="4944"/>
                  <a:pt x="543" y="4995"/>
                  <a:pt x="533" y="5042"/>
                </a:cubicBezTo>
                <a:cubicBezTo>
                  <a:pt x="527" y="5074"/>
                  <a:pt x="514" y="5104"/>
                  <a:pt x="503" y="5134"/>
                </a:cubicBezTo>
                <a:cubicBezTo>
                  <a:pt x="492" y="5164"/>
                  <a:pt x="482" y="5196"/>
                  <a:pt x="483" y="5228"/>
                </a:cubicBezTo>
                <a:cubicBezTo>
                  <a:pt x="484" y="5261"/>
                  <a:pt x="497" y="5293"/>
                  <a:pt x="517" y="5320"/>
                </a:cubicBezTo>
                <a:cubicBezTo>
                  <a:pt x="536" y="5347"/>
                  <a:pt x="563" y="5368"/>
                  <a:pt x="593" y="5384"/>
                </a:cubicBezTo>
                <a:cubicBezTo>
                  <a:pt x="606" y="5390"/>
                  <a:pt x="619" y="5396"/>
                  <a:pt x="629" y="5407"/>
                </a:cubicBezTo>
                <a:cubicBezTo>
                  <a:pt x="634" y="5412"/>
                  <a:pt x="639" y="5417"/>
                  <a:pt x="641" y="5424"/>
                </a:cubicBezTo>
                <a:cubicBezTo>
                  <a:pt x="643" y="5431"/>
                  <a:pt x="643" y="5439"/>
                  <a:pt x="640" y="5445"/>
                </a:cubicBezTo>
                <a:cubicBezTo>
                  <a:pt x="636" y="5453"/>
                  <a:pt x="630" y="5459"/>
                  <a:pt x="623" y="5463"/>
                </a:cubicBezTo>
                <a:cubicBezTo>
                  <a:pt x="616" y="5467"/>
                  <a:pt x="608" y="5471"/>
                  <a:pt x="602" y="5477"/>
                </a:cubicBezTo>
                <a:cubicBezTo>
                  <a:pt x="595" y="5483"/>
                  <a:pt x="591" y="5491"/>
                  <a:pt x="588" y="5500"/>
                </a:cubicBezTo>
                <a:cubicBezTo>
                  <a:pt x="584" y="5508"/>
                  <a:pt x="583" y="5518"/>
                  <a:pt x="581" y="5527"/>
                </a:cubicBezTo>
                <a:cubicBezTo>
                  <a:pt x="575" y="5567"/>
                  <a:pt x="575" y="5608"/>
                  <a:pt x="583" y="5648"/>
                </a:cubicBezTo>
                <a:cubicBezTo>
                  <a:pt x="592" y="5687"/>
                  <a:pt x="610" y="5725"/>
                  <a:pt x="637" y="5755"/>
                </a:cubicBezTo>
                <a:cubicBezTo>
                  <a:pt x="668" y="5790"/>
                  <a:pt x="710" y="5813"/>
                  <a:pt x="752" y="5836"/>
                </a:cubicBezTo>
                <a:cubicBezTo>
                  <a:pt x="793" y="5858"/>
                  <a:pt x="834" y="5882"/>
                  <a:pt x="865" y="5916"/>
                </a:cubicBezTo>
                <a:cubicBezTo>
                  <a:pt x="897" y="5952"/>
                  <a:pt x="917" y="5998"/>
                  <a:pt x="917" y="6046"/>
                </a:cubicBezTo>
                <a:cubicBezTo>
                  <a:pt x="916" y="6101"/>
                  <a:pt x="888" y="6153"/>
                  <a:pt x="860" y="6200"/>
                </a:cubicBezTo>
                <a:cubicBezTo>
                  <a:pt x="832" y="6248"/>
                  <a:pt x="801" y="6295"/>
                  <a:pt x="788" y="6349"/>
                </a:cubicBezTo>
                <a:cubicBezTo>
                  <a:pt x="771" y="6423"/>
                  <a:pt x="793" y="6503"/>
                  <a:pt x="837" y="6565"/>
                </a:cubicBezTo>
                <a:cubicBezTo>
                  <a:pt x="881" y="6626"/>
                  <a:pt x="947" y="6671"/>
                  <a:pt x="1017" y="6699"/>
                </a:cubicBezTo>
                <a:cubicBezTo>
                  <a:pt x="1105" y="6736"/>
                  <a:pt x="1201" y="6748"/>
                  <a:pt x="1296" y="6750"/>
                </a:cubicBezTo>
                <a:cubicBezTo>
                  <a:pt x="1390" y="6751"/>
                  <a:pt x="1485" y="6741"/>
                  <a:pt x="1580" y="6733"/>
                </a:cubicBezTo>
                <a:cubicBezTo>
                  <a:pt x="1674" y="6725"/>
                  <a:pt x="1769" y="6719"/>
                  <a:pt x="1864" y="6728"/>
                </a:cubicBezTo>
                <a:cubicBezTo>
                  <a:pt x="1958" y="6737"/>
                  <a:pt x="2052" y="6761"/>
                  <a:pt x="2133" y="6811"/>
                </a:cubicBezTo>
                <a:cubicBezTo>
                  <a:pt x="2203" y="6854"/>
                  <a:pt x="2263" y="6918"/>
                  <a:pt x="2287" y="6997"/>
                </a:cubicBezTo>
                <a:cubicBezTo>
                  <a:pt x="2308" y="7066"/>
                  <a:pt x="2301" y="7141"/>
                  <a:pt x="2291" y="7212"/>
                </a:cubicBezTo>
                <a:cubicBezTo>
                  <a:pt x="2281" y="7284"/>
                  <a:pt x="2268" y="7356"/>
                  <a:pt x="2281" y="7427"/>
                </a:cubicBezTo>
                <a:cubicBezTo>
                  <a:pt x="2293" y="7490"/>
                  <a:pt x="2323" y="7548"/>
                  <a:pt x="2360" y="7601"/>
                </a:cubicBezTo>
                <a:cubicBezTo>
                  <a:pt x="2396" y="7653"/>
                  <a:pt x="2438" y="7702"/>
                  <a:pt x="2478" y="7752"/>
                </a:cubicBezTo>
                <a:cubicBezTo>
                  <a:pt x="2493" y="7771"/>
                  <a:pt x="2341" y="8041"/>
                  <a:pt x="2135" y="8435"/>
                </a:cubicBezTo>
                <a:cubicBezTo>
                  <a:pt x="6369" y="8435"/>
                  <a:pt x="6369" y="8435"/>
                  <a:pt x="6369" y="8435"/>
                </a:cubicBezTo>
                <a:cubicBezTo>
                  <a:pt x="6366" y="8429"/>
                  <a:pt x="6364" y="8423"/>
                  <a:pt x="6361" y="8417"/>
                </a:cubicBezTo>
                <a:cubicBezTo>
                  <a:pt x="6137" y="7874"/>
                  <a:pt x="5473" y="6947"/>
                  <a:pt x="5454" y="6891"/>
                </a:cubicBezTo>
                <a:cubicBezTo>
                  <a:pt x="5330" y="6523"/>
                  <a:pt x="5288" y="6128"/>
                  <a:pt x="5337" y="5743"/>
                </a:cubicBezTo>
                <a:cubicBezTo>
                  <a:pt x="5346" y="5675"/>
                  <a:pt x="5357" y="5607"/>
                  <a:pt x="5371" y="5540"/>
                </a:cubicBezTo>
                <a:cubicBezTo>
                  <a:pt x="5396" y="5420"/>
                  <a:pt x="5445" y="5307"/>
                  <a:pt x="5510" y="5203"/>
                </a:cubicBezTo>
                <a:cubicBezTo>
                  <a:pt x="5741" y="4834"/>
                  <a:pt x="5926" y="4436"/>
                  <a:pt x="6060" y="4022"/>
                </a:cubicBezTo>
                <a:cubicBezTo>
                  <a:pt x="6196" y="3600"/>
                  <a:pt x="6277" y="3158"/>
                  <a:pt x="6282" y="2714"/>
                </a:cubicBezTo>
                <a:cubicBezTo>
                  <a:pt x="6287" y="2252"/>
                  <a:pt x="6285" y="1770"/>
                  <a:pt x="6023" y="1330"/>
                </a:cubicBezTo>
                <a:cubicBezTo>
                  <a:pt x="5425" y="328"/>
                  <a:pt x="4482" y="18"/>
                  <a:pt x="3892" y="1"/>
                </a:cubicBezTo>
                <a:cubicBezTo>
                  <a:pt x="3855" y="0"/>
                  <a:pt x="3818" y="0"/>
                  <a:pt x="3781" y="0"/>
                </a:cubicBezTo>
                <a:cubicBezTo>
                  <a:pt x="3781" y="0"/>
                  <a:pt x="3781" y="0"/>
                  <a:pt x="3781" y="0"/>
                </a:cubicBezTo>
                <a:cubicBezTo>
                  <a:pt x="3228" y="6"/>
                  <a:pt x="2651" y="120"/>
                  <a:pt x="2149" y="356"/>
                </a:cubicBezTo>
                <a:cubicBezTo>
                  <a:pt x="1788" y="525"/>
                  <a:pt x="1470" y="785"/>
                  <a:pt x="1225" y="1100"/>
                </a:cubicBezTo>
                <a:cubicBezTo>
                  <a:pt x="1022" y="1360"/>
                  <a:pt x="901" y="1673"/>
                  <a:pt x="820" y="1992"/>
                </a:cubicBezTo>
                <a:cubicBezTo>
                  <a:pt x="759" y="2236"/>
                  <a:pt x="720" y="2486"/>
                  <a:pt x="640" y="2725"/>
                </a:cubicBezTo>
                <a:cubicBezTo>
                  <a:pt x="623" y="2775"/>
                  <a:pt x="605" y="2825"/>
                  <a:pt x="593" y="2876"/>
                </a:cubicBezTo>
                <a:cubicBezTo>
                  <a:pt x="581" y="2928"/>
                  <a:pt x="576" y="2982"/>
                  <a:pt x="586" y="3034"/>
                </a:cubicBezTo>
                <a:cubicBezTo>
                  <a:pt x="599" y="3094"/>
                  <a:pt x="632" y="3147"/>
                  <a:pt x="663" y="3201"/>
                </a:cubicBezTo>
                <a:cubicBezTo>
                  <a:pt x="693" y="3255"/>
                  <a:pt x="722" y="3312"/>
                  <a:pt x="724" y="3373"/>
                </a:cubicBezTo>
                <a:cubicBezTo>
                  <a:pt x="726" y="3429"/>
                  <a:pt x="707" y="3483"/>
                  <a:pt x="679" y="3531"/>
                </a:cubicBezTo>
                <a:cubicBezTo>
                  <a:pt x="651" y="3579"/>
                  <a:pt x="615" y="3622"/>
                  <a:pt x="581" y="3666"/>
                </a:cubicBezTo>
                <a:cubicBezTo>
                  <a:pt x="426" y="3868"/>
                  <a:pt x="313" y="4101"/>
                  <a:pt x="151" y="4298"/>
                </a:cubicBezTo>
                <a:cubicBezTo>
                  <a:pt x="105" y="4354"/>
                  <a:pt x="54" y="4408"/>
                  <a:pt x="25" y="4474"/>
                </a:cubicBezTo>
                <a:cubicBezTo>
                  <a:pt x="10" y="4507"/>
                  <a:pt x="0" y="4543"/>
                  <a:pt x="1" y="4580"/>
                </a:cubicBezTo>
                <a:cubicBezTo>
                  <a:pt x="1" y="4616"/>
                  <a:pt x="12" y="4652"/>
                  <a:pt x="34" y="4681"/>
                </a:cubicBezTo>
                <a:cubicBezTo>
                  <a:pt x="55" y="4708"/>
                  <a:pt x="85" y="4727"/>
                  <a:pt x="117" y="47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1" name="Group 10"/>
          <p:cNvGrpSpPr/>
          <p:nvPr/>
        </p:nvGrpSpPr>
        <p:grpSpPr>
          <a:xfrm>
            <a:off x="2843221" y="1717670"/>
            <a:ext cx="509060" cy="509060"/>
            <a:chOff x="2843221" y="1717670"/>
            <a:chExt cx="509060" cy="509060"/>
          </a:xfrm>
        </p:grpSpPr>
        <p:sp>
          <p:nvSpPr>
            <p:cNvPr id="16" name="Oval 15"/>
            <p:cNvSpPr/>
            <p:nvPr/>
          </p:nvSpPr>
          <p:spPr>
            <a:xfrm flipH="1">
              <a:off x="2843221" y="1717670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2976527" y="1853766"/>
              <a:ext cx="242448" cy="242448"/>
            </a:xfrm>
            <a:custGeom>
              <a:avLst/>
              <a:gdLst>
                <a:gd name="T0" fmla="*/ 353 w 353"/>
                <a:gd name="T1" fmla="*/ 104 h 353"/>
                <a:gd name="T2" fmla="*/ 351 w 353"/>
                <a:gd name="T3" fmla="*/ 99 h 353"/>
                <a:gd name="T4" fmla="*/ 351 w 353"/>
                <a:gd name="T5" fmla="*/ 99 h 353"/>
                <a:gd name="T6" fmla="*/ 351 w 353"/>
                <a:gd name="T7" fmla="*/ 99 h 353"/>
                <a:gd name="T8" fmla="*/ 350 w 353"/>
                <a:gd name="T9" fmla="*/ 98 h 353"/>
                <a:gd name="T10" fmla="*/ 255 w 353"/>
                <a:gd name="T11" fmla="*/ 3 h 353"/>
                <a:gd name="T12" fmla="*/ 255 w 353"/>
                <a:gd name="T13" fmla="*/ 3 h 353"/>
                <a:gd name="T14" fmla="*/ 248 w 353"/>
                <a:gd name="T15" fmla="*/ 0 h 353"/>
                <a:gd name="T16" fmla="*/ 104 w 353"/>
                <a:gd name="T17" fmla="*/ 0 h 353"/>
                <a:gd name="T18" fmla="*/ 98 w 353"/>
                <a:gd name="T19" fmla="*/ 3 h 353"/>
                <a:gd name="T20" fmla="*/ 97 w 353"/>
                <a:gd name="T21" fmla="*/ 3 h 353"/>
                <a:gd name="T22" fmla="*/ 2 w 353"/>
                <a:gd name="T23" fmla="*/ 98 h 353"/>
                <a:gd name="T24" fmla="*/ 2 w 353"/>
                <a:gd name="T25" fmla="*/ 99 h 353"/>
                <a:gd name="T26" fmla="*/ 1 w 353"/>
                <a:gd name="T27" fmla="*/ 99 h 353"/>
                <a:gd name="T28" fmla="*/ 1 w 353"/>
                <a:gd name="T29" fmla="*/ 99 h 353"/>
                <a:gd name="T30" fmla="*/ 0 w 353"/>
                <a:gd name="T31" fmla="*/ 104 h 353"/>
                <a:gd name="T32" fmla="*/ 1 w 353"/>
                <a:gd name="T33" fmla="*/ 109 h 353"/>
                <a:gd name="T34" fmla="*/ 1 w 353"/>
                <a:gd name="T35" fmla="*/ 109 h 353"/>
                <a:gd name="T36" fmla="*/ 170 w 353"/>
                <a:gd name="T37" fmla="*/ 350 h 353"/>
                <a:gd name="T38" fmla="*/ 170 w 353"/>
                <a:gd name="T39" fmla="*/ 350 h 353"/>
                <a:gd name="T40" fmla="*/ 176 w 353"/>
                <a:gd name="T41" fmla="*/ 353 h 353"/>
                <a:gd name="T42" fmla="*/ 182 w 353"/>
                <a:gd name="T43" fmla="*/ 350 h 353"/>
                <a:gd name="T44" fmla="*/ 182 w 353"/>
                <a:gd name="T45" fmla="*/ 350 h 353"/>
                <a:gd name="T46" fmla="*/ 351 w 353"/>
                <a:gd name="T47" fmla="*/ 109 h 353"/>
                <a:gd name="T48" fmla="*/ 351 w 353"/>
                <a:gd name="T49" fmla="*/ 109 h 353"/>
                <a:gd name="T50" fmla="*/ 353 w 353"/>
                <a:gd name="T51" fmla="*/ 104 h 353"/>
                <a:gd name="T52" fmla="*/ 245 w 353"/>
                <a:gd name="T53" fmla="*/ 16 h 353"/>
                <a:gd name="T54" fmla="*/ 325 w 353"/>
                <a:gd name="T55" fmla="*/ 96 h 353"/>
                <a:gd name="T56" fmla="*/ 253 w 353"/>
                <a:gd name="T57" fmla="*/ 96 h 353"/>
                <a:gd name="T58" fmla="*/ 213 w 353"/>
                <a:gd name="T59" fmla="*/ 16 h 353"/>
                <a:gd name="T60" fmla="*/ 245 w 353"/>
                <a:gd name="T61" fmla="*/ 16 h 353"/>
                <a:gd name="T62" fmla="*/ 195 w 353"/>
                <a:gd name="T63" fmla="*/ 16 h 353"/>
                <a:gd name="T64" fmla="*/ 235 w 353"/>
                <a:gd name="T65" fmla="*/ 96 h 353"/>
                <a:gd name="T66" fmla="*/ 117 w 353"/>
                <a:gd name="T67" fmla="*/ 96 h 353"/>
                <a:gd name="T68" fmla="*/ 157 w 353"/>
                <a:gd name="T69" fmla="*/ 16 h 353"/>
                <a:gd name="T70" fmla="*/ 195 w 353"/>
                <a:gd name="T71" fmla="*/ 16 h 353"/>
                <a:gd name="T72" fmla="*/ 107 w 353"/>
                <a:gd name="T73" fmla="*/ 16 h 353"/>
                <a:gd name="T74" fmla="*/ 139 w 353"/>
                <a:gd name="T75" fmla="*/ 16 h 353"/>
                <a:gd name="T76" fmla="*/ 99 w 353"/>
                <a:gd name="T77" fmla="*/ 96 h 353"/>
                <a:gd name="T78" fmla="*/ 27 w 353"/>
                <a:gd name="T79" fmla="*/ 96 h 353"/>
                <a:gd name="T80" fmla="*/ 107 w 353"/>
                <a:gd name="T81" fmla="*/ 16 h 353"/>
                <a:gd name="T82" fmla="*/ 23 w 353"/>
                <a:gd name="T83" fmla="*/ 112 h 353"/>
                <a:gd name="T84" fmla="*/ 98 w 353"/>
                <a:gd name="T85" fmla="*/ 112 h 353"/>
                <a:gd name="T86" fmla="*/ 154 w 353"/>
                <a:gd name="T87" fmla="*/ 299 h 353"/>
                <a:gd name="T88" fmla="*/ 23 w 353"/>
                <a:gd name="T89" fmla="*/ 112 h 353"/>
                <a:gd name="T90" fmla="*/ 176 w 353"/>
                <a:gd name="T91" fmla="*/ 317 h 353"/>
                <a:gd name="T92" fmla="*/ 115 w 353"/>
                <a:gd name="T93" fmla="*/ 112 h 353"/>
                <a:gd name="T94" fmla="*/ 238 w 353"/>
                <a:gd name="T95" fmla="*/ 112 h 353"/>
                <a:gd name="T96" fmla="*/ 176 w 353"/>
                <a:gd name="T97" fmla="*/ 317 h 353"/>
                <a:gd name="T98" fmla="*/ 198 w 353"/>
                <a:gd name="T99" fmla="*/ 299 h 353"/>
                <a:gd name="T100" fmla="*/ 254 w 353"/>
                <a:gd name="T101" fmla="*/ 112 h 353"/>
                <a:gd name="T102" fmla="*/ 329 w 353"/>
                <a:gd name="T103" fmla="*/ 112 h 353"/>
                <a:gd name="T104" fmla="*/ 198 w 353"/>
                <a:gd name="T105" fmla="*/ 29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53" h="353">
                  <a:moveTo>
                    <a:pt x="353" y="104"/>
                  </a:moveTo>
                  <a:cubicBezTo>
                    <a:pt x="353" y="102"/>
                    <a:pt x="352" y="101"/>
                    <a:pt x="351" y="99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1" y="99"/>
                    <a:pt x="351" y="99"/>
                    <a:pt x="351" y="99"/>
                  </a:cubicBezTo>
                  <a:cubicBezTo>
                    <a:pt x="350" y="98"/>
                    <a:pt x="350" y="98"/>
                    <a:pt x="350" y="98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5" y="3"/>
                    <a:pt x="255" y="3"/>
                    <a:pt x="255" y="3"/>
                  </a:cubicBezTo>
                  <a:cubicBezTo>
                    <a:pt x="253" y="1"/>
                    <a:pt x="251" y="0"/>
                    <a:pt x="248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1" y="0"/>
                    <a:pt x="99" y="1"/>
                    <a:pt x="98" y="3"/>
                  </a:cubicBezTo>
                  <a:cubicBezTo>
                    <a:pt x="97" y="3"/>
                    <a:pt x="97" y="3"/>
                    <a:pt x="97" y="3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0" y="101"/>
                    <a:pt x="0" y="102"/>
                    <a:pt x="0" y="104"/>
                  </a:cubicBezTo>
                  <a:cubicBezTo>
                    <a:pt x="0" y="106"/>
                    <a:pt x="0" y="108"/>
                    <a:pt x="1" y="109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70" y="350"/>
                    <a:pt x="170" y="350"/>
                    <a:pt x="170" y="350"/>
                  </a:cubicBezTo>
                  <a:cubicBezTo>
                    <a:pt x="170" y="350"/>
                    <a:pt x="170" y="350"/>
                    <a:pt x="170" y="350"/>
                  </a:cubicBezTo>
                  <a:cubicBezTo>
                    <a:pt x="171" y="352"/>
                    <a:pt x="174" y="353"/>
                    <a:pt x="176" y="353"/>
                  </a:cubicBezTo>
                  <a:cubicBezTo>
                    <a:pt x="179" y="353"/>
                    <a:pt x="181" y="352"/>
                    <a:pt x="182" y="350"/>
                  </a:cubicBezTo>
                  <a:cubicBezTo>
                    <a:pt x="182" y="350"/>
                    <a:pt x="182" y="350"/>
                    <a:pt x="182" y="350"/>
                  </a:cubicBezTo>
                  <a:cubicBezTo>
                    <a:pt x="351" y="109"/>
                    <a:pt x="351" y="109"/>
                    <a:pt x="351" y="109"/>
                  </a:cubicBezTo>
                  <a:cubicBezTo>
                    <a:pt x="351" y="109"/>
                    <a:pt x="351" y="109"/>
                    <a:pt x="351" y="109"/>
                  </a:cubicBezTo>
                  <a:cubicBezTo>
                    <a:pt x="352" y="108"/>
                    <a:pt x="353" y="106"/>
                    <a:pt x="353" y="104"/>
                  </a:cubicBezTo>
                  <a:moveTo>
                    <a:pt x="245" y="16"/>
                  </a:moveTo>
                  <a:cubicBezTo>
                    <a:pt x="325" y="96"/>
                    <a:pt x="325" y="96"/>
                    <a:pt x="325" y="96"/>
                  </a:cubicBezTo>
                  <a:cubicBezTo>
                    <a:pt x="253" y="96"/>
                    <a:pt x="253" y="96"/>
                    <a:pt x="253" y="96"/>
                  </a:cubicBezTo>
                  <a:cubicBezTo>
                    <a:pt x="213" y="16"/>
                    <a:pt x="213" y="16"/>
                    <a:pt x="213" y="16"/>
                  </a:cubicBezTo>
                  <a:lnTo>
                    <a:pt x="245" y="16"/>
                  </a:lnTo>
                  <a:close/>
                  <a:moveTo>
                    <a:pt x="195" y="16"/>
                  </a:moveTo>
                  <a:cubicBezTo>
                    <a:pt x="235" y="96"/>
                    <a:pt x="235" y="96"/>
                    <a:pt x="235" y="96"/>
                  </a:cubicBezTo>
                  <a:cubicBezTo>
                    <a:pt x="117" y="96"/>
                    <a:pt x="117" y="96"/>
                    <a:pt x="117" y="96"/>
                  </a:cubicBezTo>
                  <a:cubicBezTo>
                    <a:pt x="157" y="16"/>
                    <a:pt x="157" y="16"/>
                    <a:pt x="157" y="16"/>
                  </a:cubicBezTo>
                  <a:lnTo>
                    <a:pt x="195" y="16"/>
                  </a:lnTo>
                  <a:close/>
                  <a:moveTo>
                    <a:pt x="107" y="16"/>
                  </a:moveTo>
                  <a:cubicBezTo>
                    <a:pt x="139" y="16"/>
                    <a:pt x="139" y="16"/>
                    <a:pt x="139" y="16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27" y="96"/>
                    <a:pt x="27" y="96"/>
                    <a:pt x="27" y="96"/>
                  </a:cubicBezTo>
                  <a:lnTo>
                    <a:pt x="107" y="16"/>
                  </a:lnTo>
                  <a:close/>
                  <a:moveTo>
                    <a:pt x="23" y="112"/>
                  </a:moveTo>
                  <a:cubicBezTo>
                    <a:pt x="98" y="112"/>
                    <a:pt x="98" y="112"/>
                    <a:pt x="98" y="112"/>
                  </a:cubicBezTo>
                  <a:cubicBezTo>
                    <a:pt x="154" y="299"/>
                    <a:pt x="154" y="299"/>
                    <a:pt x="154" y="299"/>
                  </a:cubicBezTo>
                  <a:lnTo>
                    <a:pt x="23" y="112"/>
                  </a:lnTo>
                  <a:close/>
                  <a:moveTo>
                    <a:pt x="176" y="317"/>
                  </a:moveTo>
                  <a:cubicBezTo>
                    <a:pt x="115" y="112"/>
                    <a:pt x="115" y="112"/>
                    <a:pt x="115" y="112"/>
                  </a:cubicBezTo>
                  <a:cubicBezTo>
                    <a:pt x="238" y="112"/>
                    <a:pt x="238" y="112"/>
                    <a:pt x="238" y="112"/>
                  </a:cubicBezTo>
                  <a:lnTo>
                    <a:pt x="176" y="317"/>
                  </a:lnTo>
                  <a:close/>
                  <a:moveTo>
                    <a:pt x="198" y="299"/>
                  </a:moveTo>
                  <a:cubicBezTo>
                    <a:pt x="254" y="112"/>
                    <a:pt x="254" y="112"/>
                    <a:pt x="254" y="112"/>
                  </a:cubicBezTo>
                  <a:cubicBezTo>
                    <a:pt x="329" y="112"/>
                    <a:pt x="329" y="112"/>
                    <a:pt x="329" y="112"/>
                  </a:cubicBezTo>
                  <a:lnTo>
                    <a:pt x="198" y="29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903813" y="3617120"/>
            <a:ext cx="509060" cy="509060"/>
            <a:chOff x="2903813" y="3617120"/>
            <a:chExt cx="509060" cy="509060"/>
          </a:xfrm>
        </p:grpSpPr>
        <p:sp>
          <p:nvSpPr>
            <p:cNvPr id="19" name="Oval 18"/>
            <p:cNvSpPr/>
            <p:nvPr/>
          </p:nvSpPr>
          <p:spPr>
            <a:xfrm flipH="1">
              <a:off x="2903813" y="3617120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1" name="Freeform 16"/>
            <p:cNvSpPr>
              <a:spLocks noEditPoints="1"/>
            </p:cNvSpPr>
            <p:nvPr/>
          </p:nvSpPr>
          <p:spPr bwMode="auto">
            <a:xfrm>
              <a:off x="3036231" y="3743762"/>
              <a:ext cx="243336" cy="244225"/>
            </a:xfrm>
            <a:custGeom>
              <a:avLst/>
              <a:gdLst>
                <a:gd name="T0" fmla="*/ 321 w 353"/>
                <a:gd name="T1" fmla="*/ 104 h 353"/>
                <a:gd name="T2" fmla="*/ 321 w 353"/>
                <a:gd name="T3" fmla="*/ 24 h 353"/>
                <a:gd name="T4" fmla="*/ 297 w 353"/>
                <a:gd name="T5" fmla="*/ 0 h 353"/>
                <a:gd name="T6" fmla="*/ 273 w 353"/>
                <a:gd name="T7" fmla="*/ 24 h 353"/>
                <a:gd name="T8" fmla="*/ 273 w 353"/>
                <a:gd name="T9" fmla="*/ 30 h 353"/>
                <a:gd name="T10" fmla="*/ 40 w 353"/>
                <a:gd name="T11" fmla="*/ 98 h 353"/>
                <a:gd name="T12" fmla="*/ 32 w 353"/>
                <a:gd name="T13" fmla="*/ 96 h 353"/>
                <a:gd name="T14" fmla="*/ 16 w 353"/>
                <a:gd name="T15" fmla="*/ 96 h 353"/>
                <a:gd name="T16" fmla="*/ 0 w 353"/>
                <a:gd name="T17" fmla="*/ 112 h 353"/>
                <a:gd name="T18" fmla="*/ 0 w 353"/>
                <a:gd name="T19" fmla="*/ 192 h 353"/>
                <a:gd name="T20" fmla="*/ 16 w 353"/>
                <a:gd name="T21" fmla="*/ 208 h 353"/>
                <a:gd name="T22" fmla="*/ 32 w 353"/>
                <a:gd name="T23" fmla="*/ 208 h 353"/>
                <a:gd name="T24" fmla="*/ 40 w 353"/>
                <a:gd name="T25" fmla="*/ 206 h 353"/>
                <a:gd name="T26" fmla="*/ 50 w 353"/>
                <a:gd name="T27" fmla="*/ 209 h 353"/>
                <a:gd name="T28" fmla="*/ 81 w 353"/>
                <a:gd name="T29" fmla="*/ 347 h 353"/>
                <a:gd name="T30" fmla="*/ 81 w 353"/>
                <a:gd name="T31" fmla="*/ 347 h 353"/>
                <a:gd name="T32" fmla="*/ 89 w 353"/>
                <a:gd name="T33" fmla="*/ 353 h 353"/>
                <a:gd name="T34" fmla="*/ 153 w 353"/>
                <a:gd name="T35" fmla="*/ 353 h 353"/>
                <a:gd name="T36" fmla="*/ 161 w 353"/>
                <a:gd name="T37" fmla="*/ 345 h 353"/>
                <a:gd name="T38" fmla="*/ 160 w 353"/>
                <a:gd name="T39" fmla="*/ 343 h 353"/>
                <a:gd name="T40" fmla="*/ 161 w 353"/>
                <a:gd name="T41" fmla="*/ 343 h 353"/>
                <a:gd name="T42" fmla="*/ 135 w 353"/>
                <a:gd name="T43" fmla="*/ 234 h 353"/>
                <a:gd name="T44" fmla="*/ 273 w 353"/>
                <a:gd name="T45" fmla="*/ 275 h 353"/>
                <a:gd name="T46" fmla="*/ 273 w 353"/>
                <a:gd name="T47" fmla="*/ 281 h 353"/>
                <a:gd name="T48" fmla="*/ 297 w 353"/>
                <a:gd name="T49" fmla="*/ 305 h 353"/>
                <a:gd name="T50" fmla="*/ 321 w 353"/>
                <a:gd name="T51" fmla="*/ 281 h 353"/>
                <a:gd name="T52" fmla="*/ 321 w 353"/>
                <a:gd name="T53" fmla="*/ 200 h 353"/>
                <a:gd name="T54" fmla="*/ 353 w 353"/>
                <a:gd name="T55" fmla="*/ 168 h 353"/>
                <a:gd name="T56" fmla="*/ 353 w 353"/>
                <a:gd name="T57" fmla="*/ 136 h 353"/>
                <a:gd name="T58" fmla="*/ 321 w 353"/>
                <a:gd name="T59" fmla="*/ 104 h 353"/>
                <a:gd name="T60" fmla="*/ 32 w 353"/>
                <a:gd name="T61" fmla="*/ 192 h 353"/>
                <a:gd name="T62" fmla="*/ 16 w 353"/>
                <a:gd name="T63" fmla="*/ 192 h 353"/>
                <a:gd name="T64" fmla="*/ 16 w 353"/>
                <a:gd name="T65" fmla="*/ 112 h 353"/>
                <a:gd name="T66" fmla="*/ 32 w 353"/>
                <a:gd name="T67" fmla="*/ 112 h 353"/>
                <a:gd name="T68" fmla="*/ 32 w 353"/>
                <a:gd name="T69" fmla="*/ 192 h 353"/>
                <a:gd name="T70" fmla="*/ 143 w 353"/>
                <a:gd name="T71" fmla="*/ 337 h 353"/>
                <a:gd name="T72" fmla="*/ 95 w 353"/>
                <a:gd name="T73" fmla="*/ 337 h 353"/>
                <a:gd name="T74" fmla="*/ 91 w 353"/>
                <a:gd name="T75" fmla="*/ 321 h 353"/>
                <a:gd name="T76" fmla="*/ 139 w 353"/>
                <a:gd name="T77" fmla="*/ 321 h 353"/>
                <a:gd name="T78" fmla="*/ 143 w 353"/>
                <a:gd name="T79" fmla="*/ 337 h 353"/>
                <a:gd name="T80" fmla="*/ 135 w 353"/>
                <a:gd name="T81" fmla="*/ 305 h 353"/>
                <a:gd name="T82" fmla="*/ 88 w 353"/>
                <a:gd name="T83" fmla="*/ 305 h 353"/>
                <a:gd name="T84" fmla="*/ 68 w 353"/>
                <a:gd name="T85" fmla="*/ 214 h 353"/>
                <a:gd name="T86" fmla="*/ 117 w 353"/>
                <a:gd name="T87" fmla="*/ 229 h 353"/>
                <a:gd name="T88" fmla="*/ 135 w 353"/>
                <a:gd name="T89" fmla="*/ 305 h 353"/>
                <a:gd name="T90" fmla="*/ 273 w 353"/>
                <a:gd name="T91" fmla="*/ 258 h 353"/>
                <a:gd name="T92" fmla="*/ 48 w 353"/>
                <a:gd name="T93" fmla="*/ 192 h 353"/>
                <a:gd name="T94" fmla="*/ 48 w 353"/>
                <a:gd name="T95" fmla="*/ 113 h 353"/>
                <a:gd name="T96" fmla="*/ 273 w 353"/>
                <a:gd name="T97" fmla="*/ 47 h 353"/>
                <a:gd name="T98" fmla="*/ 273 w 353"/>
                <a:gd name="T99" fmla="*/ 258 h 353"/>
                <a:gd name="T100" fmla="*/ 305 w 353"/>
                <a:gd name="T101" fmla="*/ 281 h 353"/>
                <a:gd name="T102" fmla="*/ 297 w 353"/>
                <a:gd name="T103" fmla="*/ 289 h 353"/>
                <a:gd name="T104" fmla="*/ 289 w 353"/>
                <a:gd name="T105" fmla="*/ 281 h 353"/>
                <a:gd name="T106" fmla="*/ 289 w 353"/>
                <a:gd name="T107" fmla="*/ 24 h 353"/>
                <a:gd name="T108" fmla="*/ 297 w 353"/>
                <a:gd name="T109" fmla="*/ 16 h 353"/>
                <a:gd name="T110" fmla="*/ 305 w 353"/>
                <a:gd name="T111" fmla="*/ 24 h 353"/>
                <a:gd name="T112" fmla="*/ 305 w 353"/>
                <a:gd name="T113" fmla="*/ 281 h 353"/>
                <a:gd name="T114" fmla="*/ 337 w 353"/>
                <a:gd name="T115" fmla="*/ 168 h 353"/>
                <a:gd name="T116" fmla="*/ 321 w 353"/>
                <a:gd name="T117" fmla="*/ 184 h 353"/>
                <a:gd name="T118" fmla="*/ 321 w 353"/>
                <a:gd name="T119" fmla="*/ 120 h 353"/>
                <a:gd name="T120" fmla="*/ 337 w 353"/>
                <a:gd name="T121" fmla="*/ 136 h 353"/>
                <a:gd name="T122" fmla="*/ 337 w 353"/>
                <a:gd name="T123" fmla="*/ 16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21" y="104"/>
                  </a:moveTo>
                  <a:cubicBezTo>
                    <a:pt x="321" y="24"/>
                    <a:pt x="321" y="24"/>
                    <a:pt x="321" y="24"/>
                  </a:cubicBezTo>
                  <a:cubicBezTo>
                    <a:pt x="321" y="11"/>
                    <a:pt x="311" y="0"/>
                    <a:pt x="297" y="0"/>
                  </a:cubicBezTo>
                  <a:cubicBezTo>
                    <a:pt x="284" y="0"/>
                    <a:pt x="273" y="11"/>
                    <a:pt x="273" y="24"/>
                  </a:cubicBezTo>
                  <a:cubicBezTo>
                    <a:pt x="273" y="30"/>
                    <a:pt x="273" y="30"/>
                    <a:pt x="273" y="30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38" y="97"/>
                    <a:pt x="35" y="96"/>
                    <a:pt x="32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7" y="96"/>
                    <a:pt x="0" y="103"/>
                    <a:pt x="0" y="112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01"/>
                    <a:pt x="7" y="208"/>
                    <a:pt x="16" y="208"/>
                  </a:cubicBezTo>
                  <a:cubicBezTo>
                    <a:pt x="32" y="208"/>
                    <a:pt x="32" y="208"/>
                    <a:pt x="32" y="208"/>
                  </a:cubicBezTo>
                  <a:cubicBezTo>
                    <a:pt x="35" y="208"/>
                    <a:pt x="38" y="208"/>
                    <a:pt x="40" y="206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1" y="347"/>
                    <a:pt x="81" y="347"/>
                    <a:pt x="81" y="347"/>
                  </a:cubicBezTo>
                  <a:cubicBezTo>
                    <a:pt x="82" y="350"/>
                    <a:pt x="85" y="353"/>
                    <a:pt x="89" y="353"/>
                  </a:cubicBezTo>
                  <a:cubicBezTo>
                    <a:pt x="153" y="353"/>
                    <a:pt x="153" y="353"/>
                    <a:pt x="153" y="353"/>
                  </a:cubicBezTo>
                  <a:cubicBezTo>
                    <a:pt x="157" y="353"/>
                    <a:pt x="161" y="349"/>
                    <a:pt x="161" y="345"/>
                  </a:cubicBezTo>
                  <a:cubicBezTo>
                    <a:pt x="161" y="344"/>
                    <a:pt x="161" y="344"/>
                    <a:pt x="160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35" y="234"/>
                    <a:pt x="135" y="234"/>
                    <a:pt x="135" y="234"/>
                  </a:cubicBezTo>
                  <a:cubicBezTo>
                    <a:pt x="273" y="275"/>
                    <a:pt x="273" y="275"/>
                    <a:pt x="273" y="27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273" y="294"/>
                    <a:pt x="284" y="305"/>
                    <a:pt x="297" y="305"/>
                  </a:cubicBezTo>
                  <a:cubicBezTo>
                    <a:pt x="311" y="305"/>
                    <a:pt x="321" y="294"/>
                    <a:pt x="321" y="281"/>
                  </a:cubicBezTo>
                  <a:cubicBezTo>
                    <a:pt x="321" y="200"/>
                    <a:pt x="321" y="200"/>
                    <a:pt x="321" y="200"/>
                  </a:cubicBezTo>
                  <a:cubicBezTo>
                    <a:pt x="339" y="200"/>
                    <a:pt x="353" y="186"/>
                    <a:pt x="353" y="168"/>
                  </a:cubicBezTo>
                  <a:cubicBezTo>
                    <a:pt x="353" y="136"/>
                    <a:pt x="353" y="136"/>
                    <a:pt x="353" y="136"/>
                  </a:cubicBezTo>
                  <a:cubicBezTo>
                    <a:pt x="353" y="118"/>
                    <a:pt x="339" y="104"/>
                    <a:pt x="321" y="104"/>
                  </a:cubicBezTo>
                  <a:moveTo>
                    <a:pt x="32" y="192"/>
                  </a:moveTo>
                  <a:cubicBezTo>
                    <a:pt x="16" y="192"/>
                    <a:pt x="16" y="192"/>
                    <a:pt x="16" y="192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32" y="112"/>
                    <a:pt x="32" y="112"/>
                    <a:pt x="32" y="112"/>
                  </a:cubicBezTo>
                  <a:lnTo>
                    <a:pt x="32" y="192"/>
                  </a:lnTo>
                  <a:close/>
                  <a:moveTo>
                    <a:pt x="143" y="337"/>
                  </a:moveTo>
                  <a:cubicBezTo>
                    <a:pt x="95" y="337"/>
                    <a:pt x="95" y="337"/>
                    <a:pt x="95" y="337"/>
                  </a:cubicBezTo>
                  <a:cubicBezTo>
                    <a:pt x="91" y="321"/>
                    <a:pt x="91" y="321"/>
                    <a:pt x="91" y="321"/>
                  </a:cubicBezTo>
                  <a:cubicBezTo>
                    <a:pt x="139" y="321"/>
                    <a:pt x="139" y="321"/>
                    <a:pt x="139" y="321"/>
                  </a:cubicBezTo>
                  <a:lnTo>
                    <a:pt x="143" y="337"/>
                  </a:lnTo>
                  <a:close/>
                  <a:moveTo>
                    <a:pt x="135" y="305"/>
                  </a:moveTo>
                  <a:cubicBezTo>
                    <a:pt x="88" y="305"/>
                    <a:pt x="88" y="305"/>
                    <a:pt x="88" y="305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117" y="229"/>
                    <a:pt x="117" y="229"/>
                    <a:pt x="117" y="229"/>
                  </a:cubicBezTo>
                  <a:lnTo>
                    <a:pt x="135" y="305"/>
                  </a:lnTo>
                  <a:close/>
                  <a:moveTo>
                    <a:pt x="273" y="258"/>
                  </a:moveTo>
                  <a:cubicBezTo>
                    <a:pt x="48" y="192"/>
                    <a:pt x="48" y="192"/>
                    <a:pt x="48" y="192"/>
                  </a:cubicBezTo>
                  <a:cubicBezTo>
                    <a:pt x="48" y="113"/>
                    <a:pt x="48" y="113"/>
                    <a:pt x="48" y="113"/>
                  </a:cubicBezTo>
                  <a:cubicBezTo>
                    <a:pt x="273" y="47"/>
                    <a:pt x="273" y="47"/>
                    <a:pt x="273" y="47"/>
                  </a:cubicBezTo>
                  <a:lnTo>
                    <a:pt x="273" y="258"/>
                  </a:lnTo>
                  <a:close/>
                  <a:moveTo>
                    <a:pt x="305" y="281"/>
                  </a:moveTo>
                  <a:cubicBezTo>
                    <a:pt x="305" y="285"/>
                    <a:pt x="302" y="289"/>
                    <a:pt x="297" y="289"/>
                  </a:cubicBezTo>
                  <a:cubicBezTo>
                    <a:pt x="293" y="289"/>
                    <a:pt x="289" y="285"/>
                    <a:pt x="289" y="281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93" y="16"/>
                    <a:pt x="297" y="16"/>
                  </a:cubicBezTo>
                  <a:cubicBezTo>
                    <a:pt x="302" y="16"/>
                    <a:pt x="305" y="19"/>
                    <a:pt x="305" y="24"/>
                  </a:cubicBezTo>
                  <a:lnTo>
                    <a:pt x="305" y="281"/>
                  </a:lnTo>
                  <a:close/>
                  <a:moveTo>
                    <a:pt x="337" y="168"/>
                  </a:moveTo>
                  <a:cubicBezTo>
                    <a:pt x="337" y="177"/>
                    <a:pt x="330" y="184"/>
                    <a:pt x="321" y="184"/>
                  </a:cubicBezTo>
                  <a:cubicBezTo>
                    <a:pt x="321" y="120"/>
                    <a:pt x="321" y="120"/>
                    <a:pt x="321" y="120"/>
                  </a:cubicBezTo>
                  <a:cubicBezTo>
                    <a:pt x="330" y="120"/>
                    <a:pt x="337" y="127"/>
                    <a:pt x="337" y="136"/>
                  </a:cubicBezTo>
                  <a:lnTo>
                    <a:pt x="337" y="16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791718" y="1717670"/>
            <a:ext cx="509060" cy="509060"/>
            <a:chOff x="5791718" y="1717670"/>
            <a:chExt cx="509060" cy="509060"/>
          </a:xfrm>
        </p:grpSpPr>
        <p:sp>
          <p:nvSpPr>
            <p:cNvPr id="22" name="Oval 21"/>
            <p:cNvSpPr/>
            <p:nvPr/>
          </p:nvSpPr>
          <p:spPr>
            <a:xfrm>
              <a:off x="5791718" y="1717670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4" name="Freeform 24"/>
            <p:cNvSpPr>
              <a:spLocks noEditPoints="1"/>
            </p:cNvSpPr>
            <p:nvPr/>
          </p:nvSpPr>
          <p:spPr bwMode="auto">
            <a:xfrm>
              <a:off x="5924580" y="1850088"/>
              <a:ext cx="243336" cy="244225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322775" y="2667395"/>
            <a:ext cx="509060" cy="509060"/>
            <a:chOff x="2322775" y="2667395"/>
            <a:chExt cx="509060" cy="509060"/>
          </a:xfrm>
        </p:grpSpPr>
        <p:sp>
          <p:nvSpPr>
            <p:cNvPr id="13" name="Oval 12"/>
            <p:cNvSpPr/>
            <p:nvPr/>
          </p:nvSpPr>
          <p:spPr>
            <a:xfrm flipH="1">
              <a:off x="2322775" y="2667395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Freeform 81"/>
            <p:cNvSpPr>
              <a:spLocks noEditPoints="1"/>
            </p:cNvSpPr>
            <p:nvPr/>
          </p:nvSpPr>
          <p:spPr bwMode="auto">
            <a:xfrm>
              <a:off x="2456525" y="2811802"/>
              <a:ext cx="241560" cy="220246"/>
            </a:xfrm>
            <a:custGeom>
              <a:avLst/>
              <a:gdLst>
                <a:gd name="T0" fmla="*/ 345 w 353"/>
                <a:gd name="T1" fmla="*/ 273 h 321"/>
                <a:gd name="T2" fmla="*/ 192 w 353"/>
                <a:gd name="T3" fmla="*/ 273 h 321"/>
                <a:gd name="T4" fmla="*/ 152 w 353"/>
                <a:gd name="T5" fmla="*/ 241 h 321"/>
                <a:gd name="T6" fmla="*/ 113 w 353"/>
                <a:gd name="T7" fmla="*/ 273 h 321"/>
                <a:gd name="T8" fmla="*/ 8 w 353"/>
                <a:gd name="T9" fmla="*/ 273 h 321"/>
                <a:gd name="T10" fmla="*/ 0 w 353"/>
                <a:gd name="T11" fmla="*/ 281 h 321"/>
                <a:gd name="T12" fmla="*/ 8 w 353"/>
                <a:gd name="T13" fmla="*/ 289 h 321"/>
                <a:gd name="T14" fmla="*/ 113 w 353"/>
                <a:gd name="T15" fmla="*/ 289 h 321"/>
                <a:gd name="T16" fmla="*/ 152 w 353"/>
                <a:gd name="T17" fmla="*/ 321 h 321"/>
                <a:gd name="T18" fmla="*/ 192 w 353"/>
                <a:gd name="T19" fmla="*/ 289 h 321"/>
                <a:gd name="T20" fmla="*/ 345 w 353"/>
                <a:gd name="T21" fmla="*/ 289 h 321"/>
                <a:gd name="T22" fmla="*/ 353 w 353"/>
                <a:gd name="T23" fmla="*/ 281 h 321"/>
                <a:gd name="T24" fmla="*/ 345 w 353"/>
                <a:gd name="T25" fmla="*/ 273 h 321"/>
                <a:gd name="T26" fmla="*/ 152 w 353"/>
                <a:gd name="T27" fmla="*/ 305 h 321"/>
                <a:gd name="T28" fmla="*/ 128 w 353"/>
                <a:gd name="T29" fmla="*/ 281 h 321"/>
                <a:gd name="T30" fmla="*/ 152 w 353"/>
                <a:gd name="T31" fmla="*/ 257 h 321"/>
                <a:gd name="T32" fmla="*/ 177 w 353"/>
                <a:gd name="T33" fmla="*/ 281 h 321"/>
                <a:gd name="T34" fmla="*/ 152 w 353"/>
                <a:gd name="T35" fmla="*/ 305 h 321"/>
                <a:gd name="T36" fmla="*/ 8 w 353"/>
                <a:gd name="T37" fmla="*/ 48 h 321"/>
                <a:gd name="T38" fmla="*/ 49 w 353"/>
                <a:gd name="T39" fmla="*/ 48 h 321"/>
                <a:gd name="T40" fmla="*/ 88 w 353"/>
                <a:gd name="T41" fmla="*/ 80 h 321"/>
                <a:gd name="T42" fmla="*/ 128 w 353"/>
                <a:gd name="T43" fmla="*/ 48 h 321"/>
                <a:gd name="T44" fmla="*/ 345 w 353"/>
                <a:gd name="T45" fmla="*/ 48 h 321"/>
                <a:gd name="T46" fmla="*/ 353 w 353"/>
                <a:gd name="T47" fmla="*/ 40 h 321"/>
                <a:gd name="T48" fmla="*/ 345 w 353"/>
                <a:gd name="T49" fmla="*/ 32 h 321"/>
                <a:gd name="T50" fmla="*/ 128 w 353"/>
                <a:gd name="T51" fmla="*/ 32 h 321"/>
                <a:gd name="T52" fmla="*/ 88 w 353"/>
                <a:gd name="T53" fmla="*/ 0 h 321"/>
                <a:gd name="T54" fmla="*/ 49 w 353"/>
                <a:gd name="T55" fmla="*/ 32 h 321"/>
                <a:gd name="T56" fmla="*/ 8 w 353"/>
                <a:gd name="T57" fmla="*/ 32 h 321"/>
                <a:gd name="T58" fmla="*/ 0 w 353"/>
                <a:gd name="T59" fmla="*/ 40 h 321"/>
                <a:gd name="T60" fmla="*/ 8 w 353"/>
                <a:gd name="T61" fmla="*/ 48 h 321"/>
                <a:gd name="T62" fmla="*/ 88 w 353"/>
                <a:gd name="T63" fmla="*/ 16 h 321"/>
                <a:gd name="T64" fmla="*/ 112 w 353"/>
                <a:gd name="T65" fmla="*/ 40 h 321"/>
                <a:gd name="T66" fmla="*/ 88 w 353"/>
                <a:gd name="T67" fmla="*/ 64 h 321"/>
                <a:gd name="T68" fmla="*/ 64 w 353"/>
                <a:gd name="T69" fmla="*/ 40 h 321"/>
                <a:gd name="T70" fmla="*/ 88 w 353"/>
                <a:gd name="T71" fmla="*/ 16 h 321"/>
                <a:gd name="T72" fmla="*/ 345 w 353"/>
                <a:gd name="T73" fmla="*/ 152 h 321"/>
                <a:gd name="T74" fmla="*/ 320 w 353"/>
                <a:gd name="T75" fmla="*/ 152 h 321"/>
                <a:gd name="T76" fmla="*/ 281 w 353"/>
                <a:gd name="T77" fmla="*/ 120 h 321"/>
                <a:gd name="T78" fmla="*/ 242 w 353"/>
                <a:gd name="T79" fmla="*/ 152 h 321"/>
                <a:gd name="T80" fmla="*/ 8 w 353"/>
                <a:gd name="T81" fmla="*/ 152 h 321"/>
                <a:gd name="T82" fmla="*/ 0 w 353"/>
                <a:gd name="T83" fmla="*/ 160 h 321"/>
                <a:gd name="T84" fmla="*/ 8 w 353"/>
                <a:gd name="T85" fmla="*/ 168 h 321"/>
                <a:gd name="T86" fmla="*/ 242 w 353"/>
                <a:gd name="T87" fmla="*/ 168 h 321"/>
                <a:gd name="T88" fmla="*/ 281 w 353"/>
                <a:gd name="T89" fmla="*/ 201 h 321"/>
                <a:gd name="T90" fmla="*/ 320 w 353"/>
                <a:gd name="T91" fmla="*/ 168 h 321"/>
                <a:gd name="T92" fmla="*/ 345 w 353"/>
                <a:gd name="T93" fmla="*/ 168 h 321"/>
                <a:gd name="T94" fmla="*/ 353 w 353"/>
                <a:gd name="T95" fmla="*/ 160 h 321"/>
                <a:gd name="T96" fmla="*/ 345 w 353"/>
                <a:gd name="T97" fmla="*/ 152 h 321"/>
                <a:gd name="T98" fmla="*/ 281 w 353"/>
                <a:gd name="T99" fmla="*/ 184 h 321"/>
                <a:gd name="T100" fmla="*/ 257 w 353"/>
                <a:gd name="T101" fmla="*/ 160 h 321"/>
                <a:gd name="T102" fmla="*/ 281 w 353"/>
                <a:gd name="T103" fmla="*/ 136 h 321"/>
                <a:gd name="T104" fmla="*/ 305 w 353"/>
                <a:gd name="T105" fmla="*/ 160 h 321"/>
                <a:gd name="T106" fmla="*/ 281 w 353"/>
                <a:gd name="T107" fmla="*/ 18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3" h="321">
                  <a:moveTo>
                    <a:pt x="345" y="273"/>
                  </a:moveTo>
                  <a:cubicBezTo>
                    <a:pt x="192" y="273"/>
                    <a:pt x="192" y="273"/>
                    <a:pt x="192" y="273"/>
                  </a:cubicBezTo>
                  <a:cubicBezTo>
                    <a:pt x="188" y="254"/>
                    <a:pt x="172" y="241"/>
                    <a:pt x="152" y="241"/>
                  </a:cubicBezTo>
                  <a:cubicBezTo>
                    <a:pt x="133" y="241"/>
                    <a:pt x="117" y="254"/>
                    <a:pt x="113" y="273"/>
                  </a:cubicBezTo>
                  <a:cubicBezTo>
                    <a:pt x="8" y="273"/>
                    <a:pt x="8" y="273"/>
                    <a:pt x="8" y="273"/>
                  </a:cubicBezTo>
                  <a:cubicBezTo>
                    <a:pt x="3" y="273"/>
                    <a:pt x="0" y="276"/>
                    <a:pt x="0" y="281"/>
                  </a:cubicBezTo>
                  <a:cubicBezTo>
                    <a:pt x="0" y="285"/>
                    <a:pt x="3" y="289"/>
                    <a:pt x="8" y="289"/>
                  </a:cubicBezTo>
                  <a:cubicBezTo>
                    <a:pt x="113" y="289"/>
                    <a:pt x="113" y="289"/>
                    <a:pt x="113" y="289"/>
                  </a:cubicBezTo>
                  <a:cubicBezTo>
                    <a:pt x="117" y="307"/>
                    <a:pt x="133" y="321"/>
                    <a:pt x="152" y="321"/>
                  </a:cubicBezTo>
                  <a:cubicBezTo>
                    <a:pt x="172" y="321"/>
                    <a:pt x="188" y="307"/>
                    <a:pt x="192" y="289"/>
                  </a:cubicBezTo>
                  <a:cubicBezTo>
                    <a:pt x="345" y="289"/>
                    <a:pt x="345" y="289"/>
                    <a:pt x="345" y="289"/>
                  </a:cubicBezTo>
                  <a:cubicBezTo>
                    <a:pt x="350" y="289"/>
                    <a:pt x="353" y="285"/>
                    <a:pt x="353" y="281"/>
                  </a:cubicBezTo>
                  <a:cubicBezTo>
                    <a:pt x="353" y="276"/>
                    <a:pt x="350" y="273"/>
                    <a:pt x="345" y="273"/>
                  </a:cubicBezTo>
                  <a:moveTo>
                    <a:pt x="152" y="305"/>
                  </a:moveTo>
                  <a:cubicBezTo>
                    <a:pt x="139" y="305"/>
                    <a:pt x="128" y="294"/>
                    <a:pt x="128" y="281"/>
                  </a:cubicBezTo>
                  <a:cubicBezTo>
                    <a:pt x="128" y="267"/>
                    <a:pt x="139" y="257"/>
                    <a:pt x="152" y="257"/>
                  </a:cubicBezTo>
                  <a:cubicBezTo>
                    <a:pt x="166" y="257"/>
                    <a:pt x="177" y="267"/>
                    <a:pt x="177" y="281"/>
                  </a:cubicBezTo>
                  <a:cubicBezTo>
                    <a:pt x="177" y="294"/>
                    <a:pt x="166" y="305"/>
                    <a:pt x="152" y="305"/>
                  </a:cubicBezTo>
                  <a:moveTo>
                    <a:pt x="8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53" y="66"/>
                    <a:pt x="69" y="80"/>
                    <a:pt x="88" y="80"/>
                  </a:cubicBezTo>
                  <a:cubicBezTo>
                    <a:pt x="108" y="80"/>
                    <a:pt x="124" y="66"/>
                    <a:pt x="128" y="48"/>
                  </a:cubicBezTo>
                  <a:cubicBezTo>
                    <a:pt x="345" y="48"/>
                    <a:pt x="345" y="48"/>
                    <a:pt x="345" y="48"/>
                  </a:cubicBezTo>
                  <a:cubicBezTo>
                    <a:pt x="350" y="48"/>
                    <a:pt x="353" y="44"/>
                    <a:pt x="353" y="40"/>
                  </a:cubicBezTo>
                  <a:cubicBezTo>
                    <a:pt x="353" y="36"/>
                    <a:pt x="350" y="32"/>
                    <a:pt x="345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4" y="14"/>
                    <a:pt x="108" y="0"/>
                    <a:pt x="88" y="0"/>
                  </a:cubicBezTo>
                  <a:cubicBezTo>
                    <a:pt x="69" y="0"/>
                    <a:pt x="53" y="14"/>
                    <a:pt x="4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3" y="32"/>
                    <a:pt x="0" y="36"/>
                    <a:pt x="0" y="40"/>
                  </a:cubicBezTo>
                  <a:cubicBezTo>
                    <a:pt x="0" y="44"/>
                    <a:pt x="3" y="48"/>
                    <a:pt x="8" y="48"/>
                  </a:cubicBezTo>
                  <a:moveTo>
                    <a:pt x="88" y="16"/>
                  </a:moveTo>
                  <a:cubicBezTo>
                    <a:pt x="102" y="16"/>
                    <a:pt x="112" y="27"/>
                    <a:pt x="112" y="40"/>
                  </a:cubicBezTo>
                  <a:cubicBezTo>
                    <a:pt x="112" y="53"/>
                    <a:pt x="102" y="64"/>
                    <a:pt x="88" y="64"/>
                  </a:cubicBezTo>
                  <a:cubicBezTo>
                    <a:pt x="75" y="64"/>
                    <a:pt x="64" y="53"/>
                    <a:pt x="64" y="40"/>
                  </a:cubicBezTo>
                  <a:cubicBezTo>
                    <a:pt x="64" y="27"/>
                    <a:pt x="75" y="16"/>
                    <a:pt x="88" y="16"/>
                  </a:cubicBezTo>
                  <a:moveTo>
                    <a:pt x="345" y="152"/>
                  </a:moveTo>
                  <a:cubicBezTo>
                    <a:pt x="320" y="152"/>
                    <a:pt x="320" y="152"/>
                    <a:pt x="320" y="152"/>
                  </a:cubicBezTo>
                  <a:cubicBezTo>
                    <a:pt x="316" y="134"/>
                    <a:pt x="300" y="120"/>
                    <a:pt x="281" y="120"/>
                  </a:cubicBezTo>
                  <a:cubicBezTo>
                    <a:pt x="261" y="120"/>
                    <a:pt x="245" y="134"/>
                    <a:pt x="242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3" y="152"/>
                    <a:pt x="0" y="156"/>
                    <a:pt x="0" y="160"/>
                  </a:cubicBezTo>
                  <a:cubicBezTo>
                    <a:pt x="0" y="165"/>
                    <a:pt x="3" y="168"/>
                    <a:pt x="8" y="168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5" y="187"/>
                    <a:pt x="261" y="201"/>
                    <a:pt x="281" y="201"/>
                  </a:cubicBezTo>
                  <a:cubicBezTo>
                    <a:pt x="300" y="201"/>
                    <a:pt x="316" y="187"/>
                    <a:pt x="320" y="168"/>
                  </a:cubicBezTo>
                  <a:cubicBezTo>
                    <a:pt x="345" y="168"/>
                    <a:pt x="345" y="168"/>
                    <a:pt x="345" y="168"/>
                  </a:cubicBezTo>
                  <a:cubicBezTo>
                    <a:pt x="350" y="168"/>
                    <a:pt x="353" y="165"/>
                    <a:pt x="353" y="160"/>
                  </a:cubicBezTo>
                  <a:cubicBezTo>
                    <a:pt x="353" y="156"/>
                    <a:pt x="350" y="152"/>
                    <a:pt x="345" y="152"/>
                  </a:cubicBezTo>
                  <a:moveTo>
                    <a:pt x="281" y="184"/>
                  </a:moveTo>
                  <a:cubicBezTo>
                    <a:pt x="268" y="184"/>
                    <a:pt x="257" y="174"/>
                    <a:pt x="257" y="160"/>
                  </a:cubicBezTo>
                  <a:cubicBezTo>
                    <a:pt x="257" y="147"/>
                    <a:pt x="268" y="136"/>
                    <a:pt x="281" y="136"/>
                  </a:cubicBezTo>
                  <a:cubicBezTo>
                    <a:pt x="294" y="136"/>
                    <a:pt x="305" y="147"/>
                    <a:pt x="305" y="160"/>
                  </a:cubicBezTo>
                  <a:cubicBezTo>
                    <a:pt x="305" y="174"/>
                    <a:pt x="294" y="184"/>
                    <a:pt x="281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312166" y="2667395"/>
            <a:ext cx="509060" cy="509060"/>
            <a:chOff x="6312166" y="2667395"/>
            <a:chExt cx="509060" cy="509060"/>
          </a:xfrm>
        </p:grpSpPr>
        <p:sp>
          <p:nvSpPr>
            <p:cNvPr id="25" name="Oval 24"/>
            <p:cNvSpPr/>
            <p:nvPr/>
          </p:nvSpPr>
          <p:spPr>
            <a:xfrm>
              <a:off x="6312166" y="2667395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7" name="Freeform 52"/>
            <p:cNvSpPr>
              <a:spLocks noEditPoints="1"/>
            </p:cNvSpPr>
            <p:nvPr/>
          </p:nvSpPr>
          <p:spPr bwMode="auto">
            <a:xfrm>
              <a:off x="6444584" y="2822015"/>
              <a:ext cx="244224" cy="199819"/>
            </a:xfrm>
            <a:custGeom>
              <a:avLst/>
              <a:gdLst>
                <a:gd name="T0" fmla="*/ 32 w 353"/>
                <a:gd name="T1" fmla="*/ 209 h 289"/>
                <a:gd name="T2" fmla="*/ 48 w 353"/>
                <a:gd name="T3" fmla="*/ 209 h 289"/>
                <a:gd name="T4" fmla="*/ 89 w 353"/>
                <a:gd name="T5" fmla="*/ 169 h 289"/>
                <a:gd name="T6" fmla="*/ 273 w 353"/>
                <a:gd name="T7" fmla="*/ 161 h 289"/>
                <a:gd name="T8" fmla="*/ 233 w 353"/>
                <a:gd name="T9" fmla="*/ 217 h 289"/>
                <a:gd name="T10" fmla="*/ 273 w 353"/>
                <a:gd name="T11" fmla="*/ 177 h 289"/>
                <a:gd name="T12" fmla="*/ 273 w 353"/>
                <a:gd name="T13" fmla="*/ 161 h 289"/>
                <a:gd name="T14" fmla="*/ 286 w 353"/>
                <a:gd name="T15" fmla="*/ 32 h 289"/>
                <a:gd name="T16" fmla="*/ 241 w 353"/>
                <a:gd name="T17" fmla="*/ 0 h 289"/>
                <a:gd name="T18" fmla="*/ 161 w 353"/>
                <a:gd name="T19" fmla="*/ 48 h 289"/>
                <a:gd name="T20" fmla="*/ 67 w 353"/>
                <a:gd name="T21" fmla="*/ 32 h 289"/>
                <a:gd name="T22" fmla="*/ 8 w 353"/>
                <a:gd name="T23" fmla="*/ 174 h 289"/>
                <a:gd name="T24" fmla="*/ 80 w 353"/>
                <a:gd name="T25" fmla="*/ 289 h 289"/>
                <a:gd name="T26" fmla="*/ 195 w 353"/>
                <a:gd name="T27" fmla="*/ 225 h 289"/>
                <a:gd name="T28" fmla="*/ 353 w 353"/>
                <a:gd name="T29" fmla="*/ 209 h 289"/>
                <a:gd name="T30" fmla="*/ 80 w 353"/>
                <a:gd name="T31" fmla="*/ 273 h 289"/>
                <a:gd name="T32" fmla="*/ 80 w 353"/>
                <a:gd name="T33" fmla="*/ 145 h 289"/>
                <a:gd name="T34" fmla="*/ 80 w 353"/>
                <a:gd name="T35" fmla="*/ 273 h 289"/>
                <a:gd name="T36" fmla="*/ 80 w 353"/>
                <a:gd name="T37" fmla="*/ 129 h 289"/>
                <a:gd name="T38" fmla="*/ 83 w 353"/>
                <a:gd name="T39" fmla="*/ 35 h 289"/>
                <a:gd name="T40" fmla="*/ 113 w 353"/>
                <a:gd name="T41" fmla="*/ 16 h 289"/>
                <a:gd name="T42" fmla="*/ 145 w 353"/>
                <a:gd name="T43" fmla="*/ 46 h 289"/>
                <a:gd name="T44" fmla="*/ 193 w 353"/>
                <a:gd name="T45" fmla="*/ 209 h 289"/>
                <a:gd name="T46" fmla="*/ 161 w 353"/>
                <a:gd name="T47" fmla="*/ 193 h 289"/>
                <a:gd name="T48" fmla="*/ 193 w 353"/>
                <a:gd name="T49" fmla="*/ 209 h 289"/>
                <a:gd name="T50" fmla="*/ 161 w 353"/>
                <a:gd name="T51" fmla="*/ 177 h 289"/>
                <a:gd name="T52" fmla="*/ 193 w 353"/>
                <a:gd name="T53" fmla="*/ 64 h 289"/>
                <a:gd name="T54" fmla="*/ 209 w 353"/>
                <a:gd name="T55" fmla="*/ 46 h 289"/>
                <a:gd name="T56" fmla="*/ 241 w 353"/>
                <a:gd name="T57" fmla="*/ 16 h 289"/>
                <a:gd name="T58" fmla="*/ 270 w 353"/>
                <a:gd name="T59" fmla="*/ 35 h 289"/>
                <a:gd name="T60" fmla="*/ 273 w 353"/>
                <a:gd name="T61" fmla="*/ 129 h 289"/>
                <a:gd name="T62" fmla="*/ 209 w 353"/>
                <a:gd name="T63" fmla="*/ 46 h 289"/>
                <a:gd name="T64" fmla="*/ 209 w 353"/>
                <a:gd name="T65" fmla="*/ 209 h 289"/>
                <a:gd name="T66" fmla="*/ 337 w 353"/>
                <a:gd name="T67" fmla="*/ 20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289">
                  <a:moveTo>
                    <a:pt x="80" y="161"/>
                  </a:moveTo>
                  <a:cubicBezTo>
                    <a:pt x="54" y="161"/>
                    <a:pt x="32" y="182"/>
                    <a:pt x="32" y="209"/>
                  </a:cubicBezTo>
                  <a:cubicBezTo>
                    <a:pt x="32" y="213"/>
                    <a:pt x="36" y="217"/>
                    <a:pt x="40" y="217"/>
                  </a:cubicBezTo>
                  <a:cubicBezTo>
                    <a:pt x="45" y="217"/>
                    <a:pt x="48" y="213"/>
                    <a:pt x="48" y="209"/>
                  </a:cubicBezTo>
                  <a:cubicBezTo>
                    <a:pt x="48" y="191"/>
                    <a:pt x="63" y="177"/>
                    <a:pt x="80" y="177"/>
                  </a:cubicBezTo>
                  <a:cubicBezTo>
                    <a:pt x="85" y="177"/>
                    <a:pt x="89" y="173"/>
                    <a:pt x="89" y="169"/>
                  </a:cubicBezTo>
                  <a:cubicBezTo>
                    <a:pt x="89" y="164"/>
                    <a:pt x="85" y="161"/>
                    <a:pt x="80" y="161"/>
                  </a:cubicBezTo>
                  <a:moveTo>
                    <a:pt x="273" y="161"/>
                  </a:moveTo>
                  <a:cubicBezTo>
                    <a:pt x="247" y="161"/>
                    <a:pt x="225" y="182"/>
                    <a:pt x="225" y="209"/>
                  </a:cubicBezTo>
                  <a:cubicBezTo>
                    <a:pt x="225" y="213"/>
                    <a:pt x="229" y="217"/>
                    <a:pt x="233" y="217"/>
                  </a:cubicBezTo>
                  <a:cubicBezTo>
                    <a:pt x="237" y="217"/>
                    <a:pt x="241" y="213"/>
                    <a:pt x="241" y="209"/>
                  </a:cubicBezTo>
                  <a:cubicBezTo>
                    <a:pt x="241" y="191"/>
                    <a:pt x="255" y="177"/>
                    <a:pt x="273" y="177"/>
                  </a:cubicBezTo>
                  <a:cubicBezTo>
                    <a:pt x="278" y="177"/>
                    <a:pt x="281" y="173"/>
                    <a:pt x="281" y="169"/>
                  </a:cubicBezTo>
                  <a:cubicBezTo>
                    <a:pt x="281" y="164"/>
                    <a:pt x="278" y="161"/>
                    <a:pt x="273" y="161"/>
                  </a:cubicBezTo>
                  <a:moveTo>
                    <a:pt x="345" y="174"/>
                  </a:moveTo>
                  <a:cubicBezTo>
                    <a:pt x="286" y="32"/>
                    <a:pt x="286" y="32"/>
                    <a:pt x="286" y="32"/>
                  </a:cubicBezTo>
                  <a:cubicBezTo>
                    <a:pt x="286" y="32"/>
                    <a:pt x="286" y="32"/>
                    <a:pt x="286" y="32"/>
                  </a:cubicBezTo>
                  <a:cubicBezTo>
                    <a:pt x="280" y="14"/>
                    <a:pt x="262" y="0"/>
                    <a:pt x="241" y="0"/>
                  </a:cubicBezTo>
                  <a:cubicBezTo>
                    <a:pt x="214" y="0"/>
                    <a:pt x="193" y="22"/>
                    <a:pt x="193" y="48"/>
                  </a:cubicBezTo>
                  <a:cubicBezTo>
                    <a:pt x="161" y="48"/>
                    <a:pt x="161" y="48"/>
                    <a:pt x="161" y="48"/>
                  </a:cubicBezTo>
                  <a:cubicBezTo>
                    <a:pt x="161" y="22"/>
                    <a:pt x="139" y="0"/>
                    <a:pt x="113" y="0"/>
                  </a:cubicBezTo>
                  <a:cubicBezTo>
                    <a:pt x="92" y="0"/>
                    <a:pt x="74" y="14"/>
                    <a:pt x="67" y="32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3" y="184"/>
                    <a:pt x="0" y="196"/>
                    <a:pt x="0" y="209"/>
                  </a:cubicBezTo>
                  <a:cubicBezTo>
                    <a:pt x="0" y="253"/>
                    <a:pt x="36" y="289"/>
                    <a:pt x="80" y="289"/>
                  </a:cubicBezTo>
                  <a:cubicBezTo>
                    <a:pt x="119" y="289"/>
                    <a:pt x="152" y="262"/>
                    <a:pt x="159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202" y="262"/>
                    <a:pt x="234" y="289"/>
                    <a:pt x="273" y="289"/>
                  </a:cubicBezTo>
                  <a:cubicBezTo>
                    <a:pt x="318" y="289"/>
                    <a:pt x="353" y="253"/>
                    <a:pt x="353" y="209"/>
                  </a:cubicBezTo>
                  <a:cubicBezTo>
                    <a:pt x="353" y="196"/>
                    <a:pt x="350" y="184"/>
                    <a:pt x="345" y="174"/>
                  </a:cubicBezTo>
                  <a:moveTo>
                    <a:pt x="80" y="273"/>
                  </a:moveTo>
                  <a:cubicBezTo>
                    <a:pt x="45" y="273"/>
                    <a:pt x="16" y="244"/>
                    <a:pt x="16" y="209"/>
                  </a:cubicBezTo>
                  <a:cubicBezTo>
                    <a:pt x="16" y="173"/>
                    <a:pt x="45" y="145"/>
                    <a:pt x="80" y="145"/>
                  </a:cubicBezTo>
                  <a:cubicBezTo>
                    <a:pt x="116" y="145"/>
                    <a:pt x="145" y="173"/>
                    <a:pt x="145" y="209"/>
                  </a:cubicBezTo>
                  <a:cubicBezTo>
                    <a:pt x="145" y="244"/>
                    <a:pt x="116" y="273"/>
                    <a:pt x="80" y="273"/>
                  </a:cubicBezTo>
                  <a:moveTo>
                    <a:pt x="145" y="161"/>
                  </a:moveTo>
                  <a:cubicBezTo>
                    <a:pt x="130" y="141"/>
                    <a:pt x="107" y="129"/>
                    <a:pt x="80" y="129"/>
                  </a:cubicBezTo>
                  <a:cubicBezTo>
                    <a:pt x="66" y="129"/>
                    <a:pt x="52" y="133"/>
                    <a:pt x="40" y="140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8" y="24"/>
                    <a:pt x="100" y="16"/>
                    <a:pt x="113" y="16"/>
                  </a:cubicBezTo>
                  <a:cubicBezTo>
                    <a:pt x="129" y="16"/>
                    <a:pt x="143" y="29"/>
                    <a:pt x="144" y="45"/>
                  </a:cubicBezTo>
                  <a:cubicBezTo>
                    <a:pt x="145" y="46"/>
                    <a:pt x="145" y="46"/>
                    <a:pt x="145" y="46"/>
                  </a:cubicBezTo>
                  <a:lnTo>
                    <a:pt x="145" y="161"/>
                  </a:lnTo>
                  <a:close/>
                  <a:moveTo>
                    <a:pt x="193" y="209"/>
                  </a:moveTo>
                  <a:cubicBezTo>
                    <a:pt x="161" y="209"/>
                    <a:pt x="161" y="209"/>
                    <a:pt x="161" y="209"/>
                  </a:cubicBezTo>
                  <a:cubicBezTo>
                    <a:pt x="161" y="193"/>
                    <a:pt x="161" y="193"/>
                    <a:pt x="161" y="193"/>
                  </a:cubicBezTo>
                  <a:cubicBezTo>
                    <a:pt x="193" y="193"/>
                    <a:pt x="193" y="193"/>
                    <a:pt x="193" y="193"/>
                  </a:cubicBezTo>
                  <a:lnTo>
                    <a:pt x="193" y="209"/>
                  </a:lnTo>
                  <a:close/>
                  <a:moveTo>
                    <a:pt x="193" y="177"/>
                  </a:moveTo>
                  <a:cubicBezTo>
                    <a:pt x="161" y="177"/>
                    <a:pt x="161" y="177"/>
                    <a:pt x="161" y="177"/>
                  </a:cubicBezTo>
                  <a:cubicBezTo>
                    <a:pt x="161" y="64"/>
                    <a:pt x="161" y="64"/>
                    <a:pt x="161" y="64"/>
                  </a:cubicBezTo>
                  <a:cubicBezTo>
                    <a:pt x="193" y="64"/>
                    <a:pt x="193" y="64"/>
                    <a:pt x="193" y="64"/>
                  </a:cubicBezTo>
                  <a:lnTo>
                    <a:pt x="193" y="177"/>
                  </a:lnTo>
                  <a:close/>
                  <a:moveTo>
                    <a:pt x="209" y="46"/>
                  </a:moveTo>
                  <a:cubicBezTo>
                    <a:pt x="209" y="45"/>
                    <a:pt x="209" y="45"/>
                    <a:pt x="209" y="45"/>
                  </a:cubicBezTo>
                  <a:cubicBezTo>
                    <a:pt x="211" y="29"/>
                    <a:pt x="224" y="16"/>
                    <a:pt x="241" y="16"/>
                  </a:cubicBezTo>
                  <a:cubicBezTo>
                    <a:pt x="254" y="16"/>
                    <a:pt x="265" y="24"/>
                    <a:pt x="270" y="35"/>
                  </a:cubicBezTo>
                  <a:cubicBezTo>
                    <a:pt x="270" y="35"/>
                    <a:pt x="270" y="35"/>
                    <a:pt x="270" y="35"/>
                  </a:cubicBezTo>
                  <a:cubicBezTo>
                    <a:pt x="314" y="140"/>
                    <a:pt x="314" y="140"/>
                    <a:pt x="314" y="140"/>
                  </a:cubicBezTo>
                  <a:cubicBezTo>
                    <a:pt x="302" y="133"/>
                    <a:pt x="288" y="129"/>
                    <a:pt x="273" y="129"/>
                  </a:cubicBezTo>
                  <a:cubicBezTo>
                    <a:pt x="247" y="129"/>
                    <a:pt x="224" y="141"/>
                    <a:pt x="209" y="161"/>
                  </a:cubicBezTo>
                  <a:lnTo>
                    <a:pt x="209" y="46"/>
                  </a:lnTo>
                  <a:close/>
                  <a:moveTo>
                    <a:pt x="273" y="273"/>
                  </a:moveTo>
                  <a:cubicBezTo>
                    <a:pt x="238" y="273"/>
                    <a:pt x="209" y="244"/>
                    <a:pt x="209" y="209"/>
                  </a:cubicBezTo>
                  <a:cubicBezTo>
                    <a:pt x="209" y="173"/>
                    <a:pt x="238" y="145"/>
                    <a:pt x="273" y="145"/>
                  </a:cubicBezTo>
                  <a:cubicBezTo>
                    <a:pt x="309" y="145"/>
                    <a:pt x="337" y="173"/>
                    <a:pt x="337" y="209"/>
                  </a:cubicBezTo>
                  <a:cubicBezTo>
                    <a:pt x="337" y="244"/>
                    <a:pt x="309" y="273"/>
                    <a:pt x="273" y="27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768944" y="3617120"/>
            <a:ext cx="509060" cy="509060"/>
            <a:chOff x="5768944" y="3617120"/>
            <a:chExt cx="509060" cy="509060"/>
          </a:xfrm>
        </p:grpSpPr>
        <p:sp>
          <p:nvSpPr>
            <p:cNvPr id="28" name="Oval 27"/>
            <p:cNvSpPr/>
            <p:nvPr/>
          </p:nvSpPr>
          <p:spPr>
            <a:xfrm>
              <a:off x="5768944" y="3617120"/>
              <a:ext cx="509060" cy="50906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0" name="Freeform 54"/>
            <p:cNvSpPr>
              <a:spLocks noEditPoints="1"/>
            </p:cNvSpPr>
            <p:nvPr/>
          </p:nvSpPr>
          <p:spPr bwMode="auto">
            <a:xfrm>
              <a:off x="5898253" y="3743762"/>
              <a:ext cx="250441" cy="244224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7100818" y="2693182"/>
            <a:ext cx="1436758" cy="458702"/>
            <a:chOff x="3804851" y="1534857"/>
            <a:chExt cx="1436758" cy="458702"/>
          </a:xfrm>
        </p:grpSpPr>
        <p:sp>
          <p:nvSpPr>
            <p:cNvPr id="43" name="TextBox 42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VIS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6571991" y="3668696"/>
            <a:ext cx="1436758" cy="458702"/>
            <a:chOff x="3804851" y="1534857"/>
            <a:chExt cx="1436758" cy="458702"/>
          </a:xfrm>
        </p:grpSpPr>
        <p:sp>
          <p:nvSpPr>
            <p:cNvPr id="47" name="TextBox 46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RESCIMENT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1135251" y="3668696"/>
            <a:ext cx="1436758" cy="458702"/>
            <a:chOff x="3804851" y="1534857"/>
            <a:chExt cx="1436758" cy="458702"/>
          </a:xfrm>
        </p:grpSpPr>
        <p:sp>
          <p:nvSpPr>
            <p:cNvPr id="50" name="TextBox 49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marketing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09823" y="2701980"/>
            <a:ext cx="1436758" cy="458702"/>
            <a:chOff x="3804851" y="1534857"/>
            <a:chExt cx="1436758" cy="458702"/>
          </a:xfrm>
        </p:grpSpPr>
        <p:sp>
          <p:nvSpPr>
            <p:cNvPr id="54" name="TextBox 53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STRATÉGI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612868" y="1739611"/>
            <a:ext cx="1436758" cy="458702"/>
            <a:chOff x="3804851" y="1534857"/>
            <a:chExt cx="1436758" cy="458702"/>
          </a:xfrm>
        </p:grpSpPr>
        <p:sp>
          <p:nvSpPr>
            <p:cNvPr id="39" name="TextBox 38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STRUTUR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enea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eugia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ringil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ec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qu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onvalli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mmodo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1094375" y="1757466"/>
            <a:ext cx="1436758" cy="458702"/>
            <a:chOff x="3804851" y="1534857"/>
            <a:chExt cx="1436758" cy="458702"/>
          </a:xfrm>
        </p:grpSpPr>
        <p:sp>
          <p:nvSpPr>
            <p:cNvPr id="58" name="TextBox 57"/>
            <p:cNvSpPr txBox="1"/>
            <p:nvPr/>
          </p:nvSpPr>
          <p:spPr>
            <a:xfrm>
              <a:off x="3804880" y="1534857"/>
              <a:ext cx="1436700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nov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3804851" y="1709250"/>
              <a:ext cx="1436758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aese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ucto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nte vitae ips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ffic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u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iverr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magna</a:t>
              </a:r>
              <a:endParaRPr lang="en-US" sz="750" spc="19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4021303" y="2282740"/>
            <a:ext cx="127883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  <a:latin typeface="Lato Black" panose="020F0A02020204030203" pitchFamily="34" charset="0"/>
              </a:rPr>
              <a:t>6.7%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021303" y="2667395"/>
            <a:ext cx="127883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000" b="1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PENSAM SOBRE NOSSOS PRODUTOS</a:t>
            </a:r>
          </a:p>
        </p:txBody>
      </p:sp>
    </p:spTree>
    <p:extLst>
      <p:ext uri="{BB962C8B-B14F-4D97-AF65-F5344CB8AC3E}">
        <p14:creationId xmlns:p14="http://schemas.microsoft.com/office/powerpoint/2010/main" val="104923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deia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sucess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13"/>
          <p:cNvSpPr>
            <a:spLocks/>
          </p:cNvSpPr>
          <p:nvPr/>
        </p:nvSpPr>
        <p:spPr bwMode="auto">
          <a:xfrm>
            <a:off x="3536134" y="1543050"/>
            <a:ext cx="2071733" cy="2743200"/>
          </a:xfrm>
          <a:custGeom>
            <a:avLst/>
            <a:gdLst>
              <a:gd name="T0" fmla="*/ 117 w 6369"/>
              <a:gd name="T1" fmla="*/ 4739 h 8435"/>
              <a:gd name="T2" fmla="*/ 217 w 6369"/>
              <a:gd name="T3" fmla="*/ 4760 h 8435"/>
              <a:gd name="T4" fmla="*/ 416 w 6369"/>
              <a:gd name="T5" fmla="*/ 4798 h 8435"/>
              <a:gd name="T6" fmla="*/ 517 w 6369"/>
              <a:gd name="T7" fmla="*/ 4900 h 8435"/>
              <a:gd name="T8" fmla="*/ 533 w 6369"/>
              <a:gd name="T9" fmla="*/ 5042 h 8435"/>
              <a:gd name="T10" fmla="*/ 503 w 6369"/>
              <a:gd name="T11" fmla="*/ 5134 h 8435"/>
              <a:gd name="T12" fmla="*/ 483 w 6369"/>
              <a:gd name="T13" fmla="*/ 5228 h 8435"/>
              <a:gd name="T14" fmla="*/ 517 w 6369"/>
              <a:gd name="T15" fmla="*/ 5320 h 8435"/>
              <a:gd name="T16" fmla="*/ 593 w 6369"/>
              <a:gd name="T17" fmla="*/ 5384 h 8435"/>
              <a:gd name="T18" fmla="*/ 629 w 6369"/>
              <a:gd name="T19" fmla="*/ 5407 h 8435"/>
              <a:gd name="T20" fmla="*/ 641 w 6369"/>
              <a:gd name="T21" fmla="*/ 5424 h 8435"/>
              <a:gd name="T22" fmla="*/ 640 w 6369"/>
              <a:gd name="T23" fmla="*/ 5445 h 8435"/>
              <a:gd name="T24" fmla="*/ 623 w 6369"/>
              <a:gd name="T25" fmla="*/ 5463 h 8435"/>
              <a:gd name="T26" fmla="*/ 602 w 6369"/>
              <a:gd name="T27" fmla="*/ 5477 h 8435"/>
              <a:gd name="T28" fmla="*/ 588 w 6369"/>
              <a:gd name="T29" fmla="*/ 5500 h 8435"/>
              <a:gd name="T30" fmla="*/ 581 w 6369"/>
              <a:gd name="T31" fmla="*/ 5527 h 8435"/>
              <a:gd name="T32" fmla="*/ 583 w 6369"/>
              <a:gd name="T33" fmla="*/ 5648 h 8435"/>
              <a:gd name="T34" fmla="*/ 637 w 6369"/>
              <a:gd name="T35" fmla="*/ 5755 h 8435"/>
              <a:gd name="T36" fmla="*/ 752 w 6369"/>
              <a:gd name="T37" fmla="*/ 5836 h 8435"/>
              <a:gd name="T38" fmla="*/ 865 w 6369"/>
              <a:gd name="T39" fmla="*/ 5916 h 8435"/>
              <a:gd name="T40" fmla="*/ 917 w 6369"/>
              <a:gd name="T41" fmla="*/ 6046 h 8435"/>
              <a:gd name="T42" fmla="*/ 860 w 6369"/>
              <a:gd name="T43" fmla="*/ 6200 h 8435"/>
              <a:gd name="T44" fmla="*/ 788 w 6369"/>
              <a:gd name="T45" fmla="*/ 6349 h 8435"/>
              <a:gd name="T46" fmla="*/ 837 w 6369"/>
              <a:gd name="T47" fmla="*/ 6565 h 8435"/>
              <a:gd name="T48" fmla="*/ 1017 w 6369"/>
              <a:gd name="T49" fmla="*/ 6699 h 8435"/>
              <a:gd name="T50" fmla="*/ 1296 w 6369"/>
              <a:gd name="T51" fmla="*/ 6750 h 8435"/>
              <a:gd name="T52" fmla="*/ 1580 w 6369"/>
              <a:gd name="T53" fmla="*/ 6733 h 8435"/>
              <a:gd name="T54" fmla="*/ 1864 w 6369"/>
              <a:gd name="T55" fmla="*/ 6728 h 8435"/>
              <a:gd name="T56" fmla="*/ 2133 w 6369"/>
              <a:gd name="T57" fmla="*/ 6811 h 8435"/>
              <a:gd name="T58" fmla="*/ 2287 w 6369"/>
              <a:gd name="T59" fmla="*/ 6997 h 8435"/>
              <a:gd name="T60" fmla="*/ 2291 w 6369"/>
              <a:gd name="T61" fmla="*/ 7212 h 8435"/>
              <a:gd name="T62" fmla="*/ 2281 w 6369"/>
              <a:gd name="T63" fmla="*/ 7427 h 8435"/>
              <a:gd name="T64" fmla="*/ 2360 w 6369"/>
              <a:gd name="T65" fmla="*/ 7601 h 8435"/>
              <a:gd name="T66" fmla="*/ 2478 w 6369"/>
              <a:gd name="T67" fmla="*/ 7752 h 8435"/>
              <a:gd name="T68" fmla="*/ 2135 w 6369"/>
              <a:gd name="T69" fmla="*/ 8435 h 8435"/>
              <a:gd name="T70" fmla="*/ 6369 w 6369"/>
              <a:gd name="T71" fmla="*/ 8435 h 8435"/>
              <a:gd name="T72" fmla="*/ 6361 w 6369"/>
              <a:gd name="T73" fmla="*/ 8417 h 8435"/>
              <a:gd name="T74" fmla="*/ 5454 w 6369"/>
              <a:gd name="T75" fmla="*/ 6891 h 8435"/>
              <a:gd name="T76" fmla="*/ 5337 w 6369"/>
              <a:gd name="T77" fmla="*/ 5743 h 8435"/>
              <a:gd name="T78" fmla="*/ 5371 w 6369"/>
              <a:gd name="T79" fmla="*/ 5540 h 8435"/>
              <a:gd name="T80" fmla="*/ 5510 w 6369"/>
              <a:gd name="T81" fmla="*/ 5203 h 8435"/>
              <a:gd name="T82" fmla="*/ 6060 w 6369"/>
              <a:gd name="T83" fmla="*/ 4022 h 8435"/>
              <a:gd name="T84" fmla="*/ 6282 w 6369"/>
              <a:gd name="T85" fmla="*/ 2714 h 8435"/>
              <a:gd name="T86" fmla="*/ 6023 w 6369"/>
              <a:gd name="T87" fmla="*/ 1330 h 8435"/>
              <a:gd name="T88" fmla="*/ 3892 w 6369"/>
              <a:gd name="T89" fmla="*/ 1 h 8435"/>
              <a:gd name="T90" fmla="*/ 3781 w 6369"/>
              <a:gd name="T91" fmla="*/ 0 h 8435"/>
              <a:gd name="T92" fmla="*/ 3781 w 6369"/>
              <a:gd name="T93" fmla="*/ 0 h 8435"/>
              <a:gd name="T94" fmla="*/ 2149 w 6369"/>
              <a:gd name="T95" fmla="*/ 356 h 8435"/>
              <a:gd name="T96" fmla="*/ 1225 w 6369"/>
              <a:gd name="T97" fmla="*/ 1100 h 8435"/>
              <a:gd name="T98" fmla="*/ 820 w 6369"/>
              <a:gd name="T99" fmla="*/ 1992 h 8435"/>
              <a:gd name="T100" fmla="*/ 640 w 6369"/>
              <a:gd name="T101" fmla="*/ 2725 h 8435"/>
              <a:gd name="T102" fmla="*/ 593 w 6369"/>
              <a:gd name="T103" fmla="*/ 2876 h 8435"/>
              <a:gd name="T104" fmla="*/ 586 w 6369"/>
              <a:gd name="T105" fmla="*/ 3034 h 8435"/>
              <a:gd name="T106" fmla="*/ 663 w 6369"/>
              <a:gd name="T107" fmla="*/ 3201 h 8435"/>
              <a:gd name="T108" fmla="*/ 724 w 6369"/>
              <a:gd name="T109" fmla="*/ 3373 h 8435"/>
              <a:gd name="T110" fmla="*/ 679 w 6369"/>
              <a:gd name="T111" fmla="*/ 3531 h 8435"/>
              <a:gd name="T112" fmla="*/ 581 w 6369"/>
              <a:gd name="T113" fmla="*/ 3666 h 8435"/>
              <a:gd name="T114" fmla="*/ 151 w 6369"/>
              <a:gd name="T115" fmla="*/ 4298 h 8435"/>
              <a:gd name="T116" fmla="*/ 25 w 6369"/>
              <a:gd name="T117" fmla="*/ 4474 h 8435"/>
              <a:gd name="T118" fmla="*/ 1 w 6369"/>
              <a:gd name="T119" fmla="*/ 4580 h 8435"/>
              <a:gd name="T120" fmla="*/ 34 w 6369"/>
              <a:gd name="T121" fmla="*/ 4681 h 8435"/>
              <a:gd name="T122" fmla="*/ 117 w 6369"/>
              <a:gd name="T123" fmla="*/ 4739 h 8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369" h="8435">
                <a:moveTo>
                  <a:pt x="117" y="4739"/>
                </a:moveTo>
                <a:cubicBezTo>
                  <a:pt x="148" y="4751"/>
                  <a:pt x="183" y="4757"/>
                  <a:pt x="217" y="4760"/>
                </a:cubicBezTo>
                <a:cubicBezTo>
                  <a:pt x="285" y="4767"/>
                  <a:pt x="355" y="4767"/>
                  <a:pt x="416" y="4798"/>
                </a:cubicBezTo>
                <a:cubicBezTo>
                  <a:pt x="460" y="4820"/>
                  <a:pt x="496" y="4856"/>
                  <a:pt x="517" y="4900"/>
                </a:cubicBezTo>
                <a:cubicBezTo>
                  <a:pt x="537" y="4944"/>
                  <a:pt x="543" y="4995"/>
                  <a:pt x="533" y="5042"/>
                </a:cubicBezTo>
                <a:cubicBezTo>
                  <a:pt x="527" y="5074"/>
                  <a:pt x="514" y="5104"/>
                  <a:pt x="503" y="5134"/>
                </a:cubicBezTo>
                <a:cubicBezTo>
                  <a:pt x="492" y="5164"/>
                  <a:pt x="482" y="5196"/>
                  <a:pt x="483" y="5228"/>
                </a:cubicBezTo>
                <a:cubicBezTo>
                  <a:pt x="484" y="5261"/>
                  <a:pt x="497" y="5293"/>
                  <a:pt x="517" y="5320"/>
                </a:cubicBezTo>
                <a:cubicBezTo>
                  <a:pt x="536" y="5347"/>
                  <a:pt x="563" y="5368"/>
                  <a:pt x="593" y="5384"/>
                </a:cubicBezTo>
                <a:cubicBezTo>
                  <a:pt x="606" y="5390"/>
                  <a:pt x="619" y="5396"/>
                  <a:pt x="629" y="5407"/>
                </a:cubicBezTo>
                <a:cubicBezTo>
                  <a:pt x="634" y="5412"/>
                  <a:pt x="639" y="5417"/>
                  <a:pt x="641" y="5424"/>
                </a:cubicBezTo>
                <a:cubicBezTo>
                  <a:pt x="643" y="5431"/>
                  <a:pt x="643" y="5439"/>
                  <a:pt x="640" y="5445"/>
                </a:cubicBezTo>
                <a:cubicBezTo>
                  <a:pt x="636" y="5453"/>
                  <a:pt x="630" y="5459"/>
                  <a:pt x="623" y="5463"/>
                </a:cubicBezTo>
                <a:cubicBezTo>
                  <a:pt x="616" y="5467"/>
                  <a:pt x="608" y="5471"/>
                  <a:pt x="602" y="5477"/>
                </a:cubicBezTo>
                <a:cubicBezTo>
                  <a:pt x="595" y="5483"/>
                  <a:pt x="591" y="5491"/>
                  <a:pt x="588" y="5500"/>
                </a:cubicBezTo>
                <a:cubicBezTo>
                  <a:pt x="584" y="5508"/>
                  <a:pt x="583" y="5518"/>
                  <a:pt x="581" y="5527"/>
                </a:cubicBezTo>
                <a:cubicBezTo>
                  <a:pt x="575" y="5567"/>
                  <a:pt x="575" y="5608"/>
                  <a:pt x="583" y="5648"/>
                </a:cubicBezTo>
                <a:cubicBezTo>
                  <a:pt x="592" y="5687"/>
                  <a:pt x="610" y="5725"/>
                  <a:pt x="637" y="5755"/>
                </a:cubicBezTo>
                <a:cubicBezTo>
                  <a:pt x="668" y="5790"/>
                  <a:pt x="710" y="5813"/>
                  <a:pt x="752" y="5836"/>
                </a:cubicBezTo>
                <a:cubicBezTo>
                  <a:pt x="793" y="5858"/>
                  <a:pt x="834" y="5882"/>
                  <a:pt x="865" y="5916"/>
                </a:cubicBezTo>
                <a:cubicBezTo>
                  <a:pt x="897" y="5952"/>
                  <a:pt x="917" y="5998"/>
                  <a:pt x="917" y="6046"/>
                </a:cubicBezTo>
                <a:cubicBezTo>
                  <a:pt x="916" y="6101"/>
                  <a:pt x="888" y="6153"/>
                  <a:pt x="860" y="6200"/>
                </a:cubicBezTo>
                <a:cubicBezTo>
                  <a:pt x="832" y="6248"/>
                  <a:pt x="801" y="6295"/>
                  <a:pt x="788" y="6349"/>
                </a:cubicBezTo>
                <a:cubicBezTo>
                  <a:pt x="771" y="6423"/>
                  <a:pt x="793" y="6503"/>
                  <a:pt x="837" y="6565"/>
                </a:cubicBezTo>
                <a:cubicBezTo>
                  <a:pt x="881" y="6626"/>
                  <a:pt x="947" y="6671"/>
                  <a:pt x="1017" y="6699"/>
                </a:cubicBezTo>
                <a:cubicBezTo>
                  <a:pt x="1105" y="6736"/>
                  <a:pt x="1201" y="6748"/>
                  <a:pt x="1296" y="6750"/>
                </a:cubicBezTo>
                <a:cubicBezTo>
                  <a:pt x="1390" y="6751"/>
                  <a:pt x="1485" y="6741"/>
                  <a:pt x="1580" y="6733"/>
                </a:cubicBezTo>
                <a:cubicBezTo>
                  <a:pt x="1674" y="6725"/>
                  <a:pt x="1769" y="6719"/>
                  <a:pt x="1864" y="6728"/>
                </a:cubicBezTo>
                <a:cubicBezTo>
                  <a:pt x="1958" y="6737"/>
                  <a:pt x="2052" y="6761"/>
                  <a:pt x="2133" y="6811"/>
                </a:cubicBezTo>
                <a:cubicBezTo>
                  <a:pt x="2203" y="6854"/>
                  <a:pt x="2263" y="6918"/>
                  <a:pt x="2287" y="6997"/>
                </a:cubicBezTo>
                <a:cubicBezTo>
                  <a:pt x="2308" y="7066"/>
                  <a:pt x="2301" y="7141"/>
                  <a:pt x="2291" y="7212"/>
                </a:cubicBezTo>
                <a:cubicBezTo>
                  <a:pt x="2281" y="7284"/>
                  <a:pt x="2268" y="7356"/>
                  <a:pt x="2281" y="7427"/>
                </a:cubicBezTo>
                <a:cubicBezTo>
                  <a:pt x="2293" y="7490"/>
                  <a:pt x="2323" y="7548"/>
                  <a:pt x="2360" y="7601"/>
                </a:cubicBezTo>
                <a:cubicBezTo>
                  <a:pt x="2396" y="7653"/>
                  <a:pt x="2438" y="7702"/>
                  <a:pt x="2478" y="7752"/>
                </a:cubicBezTo>
                <a:cubicBezTo>
                  <a:pt x="2493" y="7771"/>
                  <a:pt x="2341" y="8041"/>
                  <a:pt x="2135" y="8435"/>
                </a:cubicBezTo>
                <a:cubicBezTo>
                  <a:pt x="6369" y="8435"/>
                  <a:pt x="6369" y="8435"/>
                  <a:pt x="6369" y="8435"/>
                </a:cubicBezTo>
                <a:cubicBezTo>
                  <a:pt x="6366" y="8429"/>
                  <a:pt x="6364" y="8423"/>
                  <a:pt x="6361" y="8417"/>
                </a:cubicBezTo>
                <a:cubicBezTo>
                  <a:pt x="6137" y="7874"/>
                  <a:pt x="5473" y="6947"/>
                  <a:pt x="5454" y="6891"/>
                </a:cubicBezTo>
                <a:cubicBezTo>
                  <a:pt x="5330" y="6523"/>
                  <a:pt x="5288" y="6128"/>
                  <a:pt x="5337" y="5743"/>
                </a:cubicBezTo>
                <a:cubicBezTo>
                  <a:pt x="5346" y="5675"/>
                  <a:pt x="5357" y="5607"/>
                  <a:pt x="5371" y="5540"/>
                </a:cubicBezTo>
                <a:cubicBezTo>
                  <a:pt x="5396" y="5420"/>
                  <a:pt x="5445" y="5307"/>
                  <a:pt x="5510" y="5203"/>
                </a:cubicBezTo>
                <a:cubicBezTo>
                  <a:pt x="5741" y="4834"/>
                  <a:pt x="5926" y="4436"/>
                  <a:pt x="6060" y="4022"/>
                </a:cubicBezTo>
                <a:cubicBezTo>
                  <a:pt x="6196" y="3600"/>
                  <a:pt x="6277" y="3158"/>
                  <a:pt x="6282" y="2714"/>
                </a:cubicBezTo>
                <a:cubicBezTo>
                  <a:pt x="6287" y="2252"/>
                  <a:pt x="6285" y="1770"/>
                  <a:pt x="6023" y="1330"/>
                </a:cubicBezTo>
                <a:cubicBezTo>
                  <a:pt x="5425" y="328"/>
                  <a:pt x="4482" y="18"/>
                  <a:pt x="3892" y="1"/>
                </a:cubicBezTo>
                <a:cubicBezTo>
                  <a:pt x="3855" y="0"/>
                  <a:pt x="3818" y="0"/>
                  <a:pt x="3781" y="0"/>
                </a:cubicBezTo>
                <a:cubicBezTo>
                  <a:pt x="3781" y="0"/>
                  <a:pt x="3781" y="0"/>
                  <a:pt x="3781" y="0"/>
                </a:cubicBezTo>
                <a:cubicBezTo>
                  <a:pt x="3228" y="6"/>
                  <a:pt x="2651" y="120"/>
                  <a:pt x="2149" y="356"/>
                </a:cubicBezTo>
                <a:cubicBezTo>
                  <a:pt x="1788" y="525"/>
                  <a:pt x="1470" y="785"/>
                  <a:pt x="1225" y="1100"/>
                </a:cubicBezTo>
                <a:cubicBezTo>
                  <a:pt x="1022" y="1360"/>
                  <a:pt x="901" y="1673"/>
                  <a:pt x="820" y="1992"/>
                </a:cubicBezTo>
                <a:cubicBezTo>
                  <a:pt x="759" y="2236"/>
                  <a:pt x="720" y="2486"/>
                  <a:pt x="640" y="2725"/>
                </a:cubicBezTo>
                <a:cubicBezTo>
                  <a:pt x="623" y="2775"/>
                  <a:pt x="605" y="2825"/>
                  <a:pt x="593" y="2876"/>
                </a:cubicBezTo>
                <a:cubicBezTo>
                  <a:pt x="581" y="2928"/>
                  <a:pt x="576" y="2982"/>
                  <a:pt x="586" y="3034"/>
                </a:cubicBezTo>
                <a:cubicBezTo>
                  <a:pt x="599" y="3094"/>
                  <a:pt x="632" y="3147"/>
                  <a:pt x="663" y="3201"/>
                </a:cubicBezTo>
                <a:cubicBezTo>
                  <a:pt x="693" y="3255"/>
                  <a:pt x="722" y="3312"/>
                  <a:pt x="724" y="3373"/>
                </a:cubicBezTo>
                <a:cubicBezTo>
                  <a:pt x="726" y="3429"/>
                  <a:pt x="707" y="3483"/>
                  <a:pt x="679" y="3531"/>
                </a:cubicBezTo>
                <a:cubicBezTo>
                  <a:pt x="651" y="3579"/>
                  <a:pt x="615" y="3622"/>
                  <a:pt x="581" y="3666"/>
                </a:cubicBezTo>
                <a:cubicBezTo>
                  <a:pt x="426" y="3868"/>
                  <a:pt x="313" y="4101"/>
                  <a:pt x="151" y="4298"/>
                </a:cubicBezTo>
                <a:cubicBezTo>
                  <a:pt x="105" y="4354"/>
                  <a:pt x="54" y="4408"/>
                  <a:pt x="25" y="4474"/>
                </a:cubicBezTo>
                <a:cubicBezTo>
                  <a:pt x="10" y="4507"/>
                  <a:pt x="0" y="4543"/>
                  <a:pt x="1" y="4580"/>
                </a:cubicBezTo>
                <a:cubicBezTo>
                  <a:pt x="1" y="4616"/>
                  <a:pt x="12" y="4652"/>
                  <a:pt x="34" y="4681"/>
                </a:cubicBezTo>
                <a:cubicBezTo>
                  <a:pt x="55" y="4708"/>
                  <a:pt x="85" y="4727"/>
                  <a:pt x="117" y="47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3" name="Group 12"/>
          <p:cNvGrpSpPr/>
          <p:nvPr/>
        </p:nvGrpSpPr>
        <p:grpSpPr>
          <a:xfrm>
            <a:off x="3918094" y="1658935"/>
            <a:ext cx="1590994" cy="1395375"/>
            <a:chOff x="3918094" y="1658935"/>
            <a:chExt cx="1590994" cy="1395375"/>
          </a:xfrm>
        </p:grpSpPr>
        <p:grpSp>
          <p:nvGrpSpPr>
            <p:cNvPr id="17" name="Group 16"/>
            <p:cNvGrpSpPr/>
            <p:nvPr/>
          </p:nvGrpSpPr>
          <p:grpSpPr>
            <a:xfrm>
              <a:off x="3918094" y="1658935"/>
              <a:ext cx="1590994" cy="1395375"/>
              <a:chOff x="3533775" y="3709987"/>
              <a:chExt cx="5332413" cy="4676776"/>
            </a:xfrm>
            <a:solidFill>
              <a:schemeClr val="accent2"/>
            </a:solidFill>
          </p:grpSpPr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3533775" y="5027613"/>
                <a:ext cx="1744663" cy="2127250"/>
              </a:xfrm>
              <a:custGeom>
                <a:avLst/>
                <a:gdLst>
                  <a:gd name="T0" fmla="*/ 3022 w 3320"/>
                  <a:gd name="T1" fmla="*/ 1719 h 4048"/>
                  <a:gd name="T2" fmla="*/ 2998 w 3320"/>
                  <a:gd name="T3" fmla="*/ 559 h 4048"/>
                  <a:gd name="T4" fmla="*/ 1993 w 3320"/>
                  <a:gd name="T5" fmla="*/ 391 h 4048"/>
                  <a:gd name="T6" fmla="*/ 1063 w 3320"/>
                  <a:gd name="T7" fmla="*/ 0 h 4048"/>
                  <a:gd name="T8" fmla="*/ 864 w 3320"/>
                  <a:gd name="T9" fmla="*/ 33 h 4048"/>
                  <a:gd name="T10" fmla="*/ 39 w 3320"/>
                  <a:gd name="T11" fmla="*/ 957 h 4048"/>
                  <a:gd name="T12" fmla="*/ 265 w 3320"/>
                  <a:gd name="T13" fmla="*/ 1770 h 4048"/>
                  <a:gd name="T14" fmla="*/ 309 w 3320"/>
                  <a:gd name="T15" fmla="*/ 2856 h 4048"/>
                  <a:gd name="T16" fmla="*/ 2555 w 3320"/>
                  <a:gd name="T17" fmla="*/ 3670 h 4048"/>
                  <a:gd name="T18" fmla="*/ 2758 w 3320"/>
                  <a:gd name="T19" fmla="*/ 3569 h 4048"/>
                  <a:gd name="T20" fmla="*/ 3192 w 3320"/>
                  <a:gd name="T21" fmla="*/ 2460 h 4048"/>
                  <a:gd name="T22" fmla="*/ 3022 w 3320"/>
                  <a:gd name="T23" fmla="*/ 1719 h 40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20" h="4048">
                    <a:moveTo>
                      <a:pt x="3022" y="1719"/>
                    </a:moveTo>
                    <a:cubicBezTo>
                      <a:pt x="3320" y="1393"/>
                      <a:pt x="3313" y="884"/>
                      <a:pt x="2998" y="559"/>
                    </a:cubicBezTo>
                    <a:cubicBezTo>
                      <a:pt x="2728" y="280"/>
                      <a:pt x="2316" y="222"/>
                      <a:pt x="1993" y="391"/>
                    </a:cubicBezTo>
                    <a:cubicBezTo>
                      <a:pt x="1753" y="150"/>
                      <a:pt x="1425" y="0"/>
                      <a:pt x="1063" y="0"/>
                    </a:cubicBezTo>
                    <a:cubicBezTo>
                      <a:pt x="996" y="0"/>
                      <a:pt x="864" y="27"/>
                      <a:pt x="864" y="33"/>
                    </a:cubicBezTo>
                    <a:cubicBezTo>
                      <a:pt x="435" y="144"/>
                      <a:pt x="98" y="499"/>
                      <a:pt x="39" y="957"/>
                    </a:cubicBezTo>
                    <a:cubicBezTo>
                      <a:pt x="0" y="1258"/>
                      <a:pt x="89" y="1546"/>
                      <a:pt x="265" y="1770"/>
                    </a:cubicBezTo>
                    <a:cubicBezTo>
                      <a:pt x="153" y="2121"/>
                      <a:pt x="158" y="2502"/>
                      <a:pt x="309" y="2856"/>
                    </a:cubicBezTo>
                    <a:cubicBezTo>
                      <a:pt x="661" y="3684"/>
                      <a:pt x="1666" y="4048"/>
                      <a:pt x="2555" y="3670"/>
                    </a:cubicBezTo>
                    <a:cubicBezTo>
                      <a:pt x="2625" y="3640"/>
                      <a:pt x="2693" y="3606"/>
                      <a:pt x="2758" y="3569"/>
                    </a:cubicBezTo>
                    <a:cubicBezTo>
                      <a:pt x="2759" y="3574"/>
                      <a:pt x="3240" y="3129"/>
                      <a:pt x="3192" y="2460"/>
                    </a:cubicBezTo>
                    <a:cubicBezTo>
                      <a:pt x="3173" y="2194"/>
                      <a:pt x="3131" y="1942"/>
                      <a:pt x="3022" y="1719"/>
                    </a:cubicBezTo>
                    <a:close/>
                  </a:path>
                </a:pathLst>
              </a:custGeom>
              <a:solidFill>
                <a:srgbClr val="EC0000"/>
              </a:solidFill>
              <a:ln w="12700">
                <a:solidFill>
                  <a:schemeClr val="bg1"/>
                </a:solidFill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 dirty="0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3987800" y="3840163"/>
                <a:ext cx="3176588" cy="2679700"/>
              </a:xfrm>
              <a:custGeom>
                <a:avLst/>
                <a:gdLst>
                  <a:gd name="T0" fmla="*/ 199 w 6047"/>
                  <a:gd name="T1" fmla="*/ 2259 h 5098"/>
                  <a:gd name="T2" fmla="*/ 1129 w 6047"/>
                  <a:gd name="T3" fmla="*/ 2650 h 5098"/>
                  <a:gd name="T4" fmla="*/ 2134 w 6047"/>
                  <a:gd name="T5" fmla="*/ 2818 h 5098"/>
                  <a:gd name="T6" fmla="*/ 2158 w 6047"/>
                  <a:gd name="T7" fmla="*/ 3978 h 5098"/>
                  <a:gd name="T8" fmla="*/ 2328 w 6047"/>
                  <a:gd name="T9" fmla="*/ 4719 h 5098"/>
                  <a:gd name="T10" fmla="*/ 2300 w 6047"/>
                  <a:gd name="T11" fmla="*/ 5098 h 5098"/>
                  <a:gd name="T12" fmla="*/ 5212 w 6047"/>
                  <a:gd name="T13" fmla="*/ 4839 h 5098"/>
                  <a:gd name="T14" fmla="*/ 5360 w 6047"/>
                  <a:gd name="T15" fmla="*/ 4877 h 5098"/>
                  <a:gd name="T16" fmla="*/ 5811 w 6047"/>
                  <a:gd name="T17" fmla="*/ 3649 h 5098"/>
                  <a:gd name="T18" fmla="*/ 6047 w 6047"/>
                  <a:gd name="T19" fmla="*/ 3430 h 5098"/>
                  <a:gd name="T20" fmla="*/ 5092 w 6047"/>
                  <a:gd name="T21" fmla="*/ 3354 h 5098"/>
                  <a:gd name="T22" fmla="*/ 3514 w 6047"/>
                  <a:gd name="T23" fmla="*/ 920 h 5098"/>
                  <a:gd name="T24" fmla="*/ 3966 w 6047"/>
                  <a:gd name="T25" fmla="*/ 221 h 5098"/>
                  <a:gd name="T26" fmla="*/ 2891 w 6047"/>
                  <a:gd name="T27" fmla="*/ 121 h 5098"/>
                  <a:gd name="T28" fmla="*/ 2190 w 6047"/>
                  <a:gd name="T29" fmla="*/ 642 h 5098"/>
                  <a:gd name="T30" fmla="*/ 720 w 6047"/>
                  <a:gd name="T31" fmla="*/ 1041 h 5098"/>
                  <a:gd name="T32" fmla="*/ 0 w 6047"/>
                  <a:gd name="T33" fmla="*/ 2292 h 5098"/>
                  <a:gd name="T34" fmla="*/ 199 w 6047"/>
                  <a:gd name="T35" fmla="*/ 2259 h 50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047" h="5098">
                    <a:moveTo>
                      <a:pt x="199" y="2259"/>
                    </a:moveTo>
                    <a:cubicBezTo>
                      <a:pt x="561" y="2259"/>
                      <a:pt x="889" y="2409"/>
                      <a:pt x="1129" y="2650"/>
                    </a:cubicBezTo>
                    <a:cubicBezTo>
                      <a:pt x="1452" y="2481"/>
                      <a:pt x="1864" y="2539"/>
                      <a:pt x="2134" y="2818"/>
                    </a:cubicBezTo>
                    <a:cubicBezTo>
                      <a:pt x="2449" y="3143"/>
                      <a:pt x="2456" y="3652"/>
                      <a:pt x="2158" y="3978"/>
                    </a:cubicBezTo>
                    <a:cubicBezTo>
                      <a:pt x="2267" y="4201"/>
                      <a:pt x="2309" y="4453"/>
                      <a:pt x="2328" y="4719"/>
                    </a:cubicBezTo>
                    <a:cubicBezTo>
                      <a:pt x="2338" y="4855"/>
                      <a:pt x="2326" y="4982"/>
                      <a:pt x="2300" y="5098"/>
                    </a:cubicBezTo>
                    <a:cubicBezTo>
                      <a:pt x="3107" y="4702"/>
                      <a:pt x="4149" y="4583"/>
                      <a:pt x="5212" y="4839"/>
                    </a:cubicBezTo>
                    <a:cubicBezTo>
                      <a:pt x="5262" y="4851"/>
                      <a:pt x="5311" y="4864"/>
                      <a:pt x="5360" y="4877"/>
                    </a:cubicBezTo>
                    <a:cubicBezTo>
                      <a:pt x="5365" y="4416"/>
                      <a:pt x="5511" y="3985"/>
                      <a:pt x="5811" y="3649"/>
                    </a:cubicBezTo>
                    <a:cubicBezTo>
                      <a:pt x="5884" y="3568"/>
                      <a:pt x="5963" y="3495"/>
                      <a:pt x="6047" y="3430"/>
                    </a:cubicBezTo>
                    <a:cubicBezTo>
                      <a:pt x="5741" y="3467"/>
                      <a:pt x="5416" y="3445"/>
                      <a:pt x="5092" y="3354"/>
                    </a:cubicBezTo>
                    <a:cubicBezTo>
                      <a:pt x="3933" y="3026"/>
                      <a:pt x="3227" y="1936"/>
                      <a:pt x="3514" y="920"/>
                    </a:cubicBezTo>
                    <a:cubicBezTo>
                      <a:pt x="3592" y="644"/>
                      <a:pt x="3953" y="214"/>
                      <a:pt x="3966" y="221"/>
                    </a:cubicBezTo>
                    <a:cubicBezTo>
                      <a:pt x="3648" y="48"/>
                      <a:pt x="3263" y="0"/>
                      <a:pt x="2891" y="121"/>
                    </a:cubicBezTo>
                    <a:cubicBezTo>
                      <a:pt x="2595" y="217"/>
                      <a:pt x="2354" y="404"/>
                      <a:pt x="2190" y="642"/>
                    </a:cubicBezTo>
                    <a:cubicBezTo>
                      <a:pt x="1727" y="547"/>
                      <a:pt x="1177" y="680"/>
                      <a:pt x="720" y="1041"/>
                    </a:cubicBezTo>
                    <a:cubicBezTo>
                      <a:pt x="292" y="1380"/>
                      <a:pt x="41" y="1846"/>
                      <a:pt x="0" y="2292"/>
                    </a:cubicBezTo>
                    <a:cubicBezTo>
                      <a:pt x="0" y="2286"/>
                      <a:pt x="132" y="2259"/>
                      <a:pt x="199" y="225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2700">
                <a:solidFill>
                  <a:schemeClr val="bg1"/>
                </a:solidFill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0" name="Freeform 18"/>
              <p:cNvSpPr>
                <a:spLocks/>
              </p:cNvSpPr>
              <p:nvPr/>
            </p:nvSpPr>
            <p:spPr bwMode="auto">
              <a:xfrm>
                <a:off x="5683250" y="3709987"/>
                <a:ext cx="3165475" cy="3290888"/>
              </a:xfrm>
              <a:custGeom>
                <a:avLst/>
                <a:gdLst>
                  <a:gd name="T0" fmla="*/ 5746 w 6025"/>
                  <a:gd name="T1" fmla="*/ 5058 h 6260"/>
                  <a:gd name="T2" fmla="*/ 5517 w 6025"/>
                  <a:gd name="T3" fmla="*/ 4682 h 6260"/>
                  <a:gd name="T4" fmla="*/ 5749 w 6025"/>
                  <a:gd name="T5" fmla="*/ 2919 h 6260"/>
                  <a:gd name="T6" fmla="*/ 4483 w 6025"/>
                  <a:gd name="T7" fmla="*/ 1874 h 6260"/>
                  <a:gd name="T8" fmla="*/ 2683 w 6025"/>
                  <a:gd name="T9" fmla="*/ 161 h 6260"/>
                  <a:gd name="T10" fmla="*/ 739 w 6025"/>
                  <a:gd name="T11" fmla="*/ 468 h 6260"/>
                  <a:gd name="T12" fmla="*/ 287 w 6025"/>
                  <a:gd name="T13" fmla="*/ 1167 h 6260"/>
                  <a:gd name="T14" fmla="*/ 1865 w 6025"/>
                  <a:gd name="T15" fmla="*/ 3601 h 6260"/>
                  <a:gd name="T16" fmla="*/ 2897 w 6025"/>
                  <a:gd name="T17" fmla="*/ 3666 h 6260"/>
                  <a:gd name="T18" fmla="*/ 3246 w 6025"/>
                  <a:gd name="T19" fmla="*/ 4913 h 6260"/>
                  <a:gd name="T20" fmla="*/ 3911 w 6025"/>
                  <a:gd name="T21" fmla="*/ 5345 h 6260"/>
                  <a:gd name="T22" fmla="*/ 4720 w 6025"/>
                  <a:gd name="T23" fmla="*/ 6221 h 6260"/>
                  <a:gd name="T24" fmla="*/ 5861 w 6025"/>
                  <a:gd name="T25" fmla="*/ 5514 h 6260"/>
                  <a:gd name="T26" fmla="*/ 5746 w 6025"/>
                  <a:gd name="T27" fmla="*/ 5058 h 6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25" h="6260">
                    <a:moveTo>
                      <a:pt x="5746" y="5058"/>
                    </a:moveTo>
                    <a:cubicBezTo>
                      <a:pt x="5687" y="4919"/>
                      <a:pt x="5609" y="4794"/>
                      <a:pt x="5517" y="4682"/>
                    </a:cubicBezTo>
                    <a:cubicBezTo>
                      <a:pt x="5913" y="4268"/>
                      <a:pt x="6025" y="3568"/>
                      <a:pt x="5749" y="2919"/>
                    </a:cubicBezTo>
                    <a:cubicBezTo>
                      <a:pt x="5499" y="2332"/>
                      <a:pt x="5000" y="1944"/>
                      <a:pt x="4483" y="1874"/>
                    </a:cubicBezTo>
                    <a:cubicBezTo>
                      <a:pt x="4589" y="1151"/>
                      <a:pt x="3799" y="393"/>
                      <a:pt x="2683" y="161"/>
                    </a:cubicBezTo>
                    <a:cubicBezTo>
                      <a:pt x="1909" y="0"/>
                      <a:pt x="1178" y="135"/>
                      <a:pt x="739" y="468"/>
                    </a:cubicBezTo>
                    <a:cubicBezTo>
                      <a:pt x="726" y="461"/>
                      <a:pt x="365" y="891"/>
                      <a:pt x="287" y="1167"/>
                    </a:cubicBezTo>
                    <a:cubicBezTo>
                      <a:pt x="0" y="2183"/>
                      <a:pt x="706" y="3273"/>
                      <a:pt x="1865" y="3601"/>
                    </a:cubicBezTo>
                    <a:cubicBezTo>
                      <a:pt x="2216" y="3700"/>
                      <a:pt x="2568" y="3718"/>
                      <a:pt x="2897" y="3666"/>
                    </a:cubicBezTo>
                    <a:cubicBezTo>
                      <a:pt x="2836" y="4123"/>
                      <a:pt x="2947" y="4572"/>
                      <a:pt x="3246" y="4913"/>
                    </a:cubicBezTo>
                    <a:cubicBezTo>
                      <a:pt x="3427" y="5119"/>
                      <a:pt x="3656" y="5263"/>
                      <a:pt x="3911" y="5345"/>
                    </a:cubicBezTo>
                    <a:cubicBezTo>
                      <a:pt x="3846" y="5843"/>
                      <a:pt x="4198" y="6199"/>
                      <a:pt x="4720" y="6221"/>
                    </a:cubicBezTo>
                    <a:cubicBezTo>
                      <a:pt x="5624" y="6260"/>
                      <a:pt x="5839" y="5515"/>
                      <a:pt x="5861" y="5514"/>
                    </a:cubicBezTo>
                    <a:cubicBezTo>
                      <a:pt x="5846" y="5360"/>
                      <a:pt x="5809" y="5206"/>
                      <a:pt x="5746" y="5058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12700">
                <a:solidFill>
                  <a:schemeClr val="bg1"/>
                </a:solidFill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21" name="Freeform 19"/>
              <p:cNvSpPr>
                <a:spLocks/>
              </p:cNvSpPr>
              <p:nvPr/>
            </p:nvSpPr>
            <p:spPr bwMode="auto">
              <a:xfrm>
                <a:off x="4983163" y="5637213"/>
                <a:ext cx="3883025" cy="2749550"/>
              </a:xfrm>
              <a:custGeom>
                <a:avLst/>
                <a:gdLst>
                  <a:gd name="T0" fmla="*/ 7194 w 7390"/>
                  <a:gd name="T1" fmla="*/ 1848 h 5232"/>
                  <a:gd name="T2" fmla="*/ 6053 w 7390"/>
                  <a:gd name="T3" fmla="*/ 2555 h 5232"/>
                  <a:gd name="T4" fmla="*/ 5244 w 7390"/>
                  <a:gd name="T5" fmla="*/ 1679 h 5232"/>
                  <a:gd name="T6" fmla="*/ 4579 w 7390"/>
                  <a:gd name="T7" fmla="*/ 1247 h 5232"/>
                  <a:gd name="T8" fmla="*/ 4230 w 7390"/>
                  <a:gd name="T9" fmla="*/ 0 h 5232"/>
                  <a:gd name="T10" fmla="*/ 4153 w 7390"/>
                  <a:gd name="T11" fmla="*/ 11 h 5232"/>
                  <a:gd name="T12" fmla="*/ 3917 w 7390"/>
                  <a:gd name="T13" fmla="*/ 230 h 5232"/>
                  <a:gd name="T14" fmla="*/ 3466 w 7390"/>
                  <a:gd name="T15" fmla="*/ 1458 h 5232"/>
                  <a:gd name="T16" fmla="*/ 3318 w 7390"/>
                  <a:gd name="T17" fmla="*/ 1420 h 5232"/>
                  <a:gd name="T18" fmla="*/ 406 w 7390"/>
                  <a:gd name="T19" fmla="*/ 1679 h 5232"/>
                  <a:gd name="T20" fmla="*/ 0 w 7390"/>
                  <a:gd name="T21" fmla="*/ 2409 h 5232"/>
                  <a:gd name="T22" fmla="*/ 42 w 7390"/>
                  <a:gd name="T23" fmla="*/ 2523 h 5232"/>
                  <a:gd name="T24" fmla="*/ 2288 w 7390"/>
                  <a:gd name="T25" fmla="*/ 3336 h 5232"/>
                  <a:gd name="T26" fmla="*/ 2378 w 7390"/>
                  <a:gd name="T27" fmla="*/ 3295 h 5232"/>
                  <a:gd name="T28" fmla="*/ 3395 w 7390"/>
                  <a:gd name="T29" fmla="*/ 3553 h 5232"/>
                  <a:gd name="T30" fmla="*/ 3575 w 7390"/>
                  <a:gd name="T31" fmla="*/ 3985 h 5232"/>
                  <a:gd name="T32" fmla="*/ 5256 w 7390"/>
                  <a:gd name="T33" fmla="*/ 5232 h 5232"/>
                  <a:gd name="T34" fmla="*/ 5553 w 7390"/>
                  <a:gd name="T35" fmla="*/ 4964 h 5232"/>
                  <a:gd name="T36" fmla="*/ 5540 w 7390"/>
                  <a:gd name="T37" fmla="*/ 4952 h 5232"/>
                  <a:gd name="T38" fmla="*/ 4504 w 7390"/>
                  <a:gd name="T39" fmla="*/ 3548 h 5232"/>
                  <a:gd name="T40" fmla="*/ 4506 w 7390"/>
                  <a:gd name="T41" fmla="*/ 3489 h 5232"/>
                  <a:gd name="T42" fmla="*/ 6106 w 7390"/>
                  <a:gd name="T43" fmla="*/ 3574 h 5232"/>
                  <a:gd name="T44" fmla="*/ 7121 w 7390"/>
                  <a:gd name="T45" fmla="*/ 1504 h 5232"/>
                  <a:gd name="T46" fmla="*/ 7194 w 7390"/>
                  <a:gd name="T47" fmla="*/ 1848 h 5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390" h="5232">
                    <a:moveTo>
                      <a:pt x="7194" y="1848"/>
                    </a:moveTo>
                    <a:cubicBezTo>
                      <a:pt x="7172" y="1849"/>
                      <a:pt x="6957" y="2594"/>
                      <a:pt x="6053" y="2555"/>
                    </a:cubicBezTo>
                    <a:cubicBezTo>
                      <a:pt x="5531" y="2533"/>
                      <a:pt x="5179" y="2177"/>
                      <a:pt x="5244" y="1679"/>
                    </a:cubicBezTo>
                    <a:cubicBezTo>
                      <a:pt x="4989" y="1597"/>
                      <a:pt x="4760" y="1453"/>
                      <a:pt x="4579" y="1247"/>
                    </a:cubicBezTo>
                    <a:cubicBezTo>
                      <a:pt x="4280" y="906"/>
                      <a:pt x="4169" y="457"/>
                      <a:pt x="4230" y="0"/>
                    </a:cubicBezTo>
                    <a:cubicBezTo>
                      <a:pt x="4205" y="4"/>
                      <a:pt x="4179" y="8"/>
                      <a:pt x="4153" y="11"/>
                    </a:cubicBezTo>
                    <a:cubicBezTo>
                      <a:pt x="4069" y="76"/>
                      <a:pt x="3990" y="149"/>
                      <a:pt x="3917" y="230"/>
                    </a:cubicBezTo>
                    <a:cubicBezTo>
                      <a:pt x="3617" y="566"/>
                      <a:pt x="3471" y="997"/>
                      <a:pt x="3466" y="1458"/>
                    </a:cubicBezTo>
                    <a:cubicBezTo>
                      <a:pt x="3417" y="1445"/>
                      <a:pt x="3368" y="1432"/>
                      <a:pt x="3318" y="1420"/>
                    </a:cubicBezTo>
                    <a:cubicBezTo>
                      <a:pt x="2255" y="1164"/>
                      <a:pt x="1213" y="1283"/>
                      <a:pt x="406" y="1679"/>
                    </a:cubicBezTo>
                    <a:cubicBezTo>
                      <a:pt x="306" y="2132"/>
                      <a:pt x="1" y="2413"/>
                      <a:pt x="0" y="2409"/>
                    </a:cubicBezTo>
                    <a:cubicBezTo>
                      <a:pt x="12" y="2447"/>
                      <a:pt x="26" y="2485"/>
                      <a:pt x="42" y="2523"/>
                    </a:cubicBezTo>
                    <a:cubicBezTo>
                      <a:pt x="394" y="3350"/>
                      <a:pt x="1399" y="3714"/>
                      <a:pt x="2288" y="3336"/>
                    </a:cubicBezTo>
                    <a:cubicBezTo>
                      <a:pt x="2318" y="3323"/>
                      <a:pt x="2348" y="3310"/>
                      <a:pt x="2378" y="3295"/>
                    </a:cubicBezTo>
                    <a:cubicBezTo>
                      <a:pt x="2620" y="3562"/>
                      <a:pt x="3017" y="3669"/>
                      <a:pt x="3395" y="3553"/>
                    </a:cubicBezTo>
                    <a:cubicBezTo>
                      <a:pt x="3441" y="3699"/>
                      <a:pt x="3501" y="3843"/>
                      <a:pt x="3575" y="3985"/>
                    </a:cubicBezTo>
                    <a:cubicBezTo>
                      <a:pt x="3949" y="4696"/>
                      <a:pt x="4599" y="5148"/>
                      <a:pt x="5256" y="5232"/>
                    </a:cubicBezTo>
                    <a:cubicBezTo>
                      <a:pt x="5553" y="4964"/>
                      <a:pt x="5553" y="4964"/>
                      <a:pt x="5553" y="4964"/>
                    </a:cubicBezTo>
                    <a:cubicBezTo>
                      <a:pt x="5548" y="4960"/>
                      <a:pt x="5544" y="4955"/>
                      <a:pt x="5540" y="4952"/>
                    </a:cubicBezTo>
                    <a:cubicBezTo>
                      <a:pt x="4940" y="4767"/>
                      <a:pt x="4504" y="4208"/>
                      <a:pt x="4504" y="3548"/>
                    </a:cubicBezTo>
                    <a:cubicBezTo>
                      <a:pt x="4504" y="3528"/>
                      <a:pt x="4505" y="3508"/>
                      <a:pt x="4506" y="3489"/>
                    </a:cubicBezTo>
                    <a:cubicBezTo>
                      <a:pt x="4963" y="3757"/>
                      <a:pt x="5557" y="3807"/>
                      <a:pt x="6106" y="3574"/>
                    </a:cubicBezTo>
                    <a:cubicBezTo>
                      <a:pt x="6955" y="3213"/>
                      <a:pt x="7390" y="2306"/>
                      <a:pt x="7121" y="1504"/>
                    </a:cubicBezTo>
                    <a:cubicBezTo>
                      <a:pt x="7159" y="1617"/>
                      <a:pt x="7183" y="1732"/>
                      <a:pt x="7194" y="1848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>
                <a:solidFill>
                  <a:schemeClr val="bg1"/>
                </a:solidFill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  <p:sp>
          <p:nvSpPr>
            <p:cNvPr id="22" name="Title 2"/>
            <p:cNvSpPr txBox="1">
              <a:spLocks/>
            </p:cNvSpPr>
            <p:nvPr/>
          </p:nvSpPr>
          <p:spPr>
            <a:xfrm>
              <a:off x="4856401" y="1912228"/>
              <a:ext cx="311300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65%</a:t>
              </a:r>
            </a:p>
          </p:txBody>
        </p:sp>
        <p:sp>
          <p:nvSpPr>
            <p:cNvPr id="23" name="Title 2"/>
            <p:cNvSpPr txBox="1">
              <a:spLocks/>
            </p:cNvSpPr>
            <p:nvPr/>
          </p:nvSpPr>
          <p:spPr>
            <a:xfrm>
              <a:off x="4664842" y="2527084"/>
              <a:ext cx="421131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33%</a:t>
              </a:r>
            </a:p>
          </p:txBody>
        </p:sp>
        <p:sp>
          <p:nvSpPr>
            <p:cNvPr id="24" name="Title 2"/>
            <p:cNvSpPr txBox="1">
              <a:spLocks/>
            </p:cNvSpPr>
            <p:nvPr/>
          </p:nvSpPr>
          <p:spPr>
            <a:xfrm>
              <a:off x="4001977" y="2257016"/>
              <a:ext cx="352775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33%</a:t>
              </a:r>
            </a:p>
          </p:txBody>
        </p:sp>
        <p:sp>
          <p:nvSpPr>
            <p:cNvPr id="25" name="Title 2"/>
            <p:cNvSpPr txBox="1">
              <a:spLocks/>
            </p:cNvSpPr>
            <p:nvPr/>
          </p:nvSpPr>
          <p:spPr>
            <a:xfrm>
              <a:off x="4205577" y="1893578"/>
              <a:ext cx="364835" cy="15388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spc="0" dirty="0">
                  <a:solidFill>
                    <a:schemeClr val="bg1"/>
                  </a:solidFill>
                  <a:latin typeface="Lato" panose="020F0502020204030203" pitchFamily="34" charset="0"/>
                </a:rPr>
                <a:t>44%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676834" y="1726989"/>
            <a:ext cx="1870265" cy="495146"/>
            <a:chOff x="6676834" y="1726989"/>
            <a:chExt cx="1870265" cy="495146"/>
          </a:xfrm>
        </p:grpSpPr>
        <p:sp>
          <p:nvSpPr>
            <p:cNvPr id="53" name="TextBox 52"/>
            <p:cNvSpPr txBox="1"/>
            <p:nvPr/>
          </p:nvSpPr>
          <p:spPr>
            <a:xfrm>
              <a:off x="6676863" y="1726989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olabor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6676834" y="1937826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676834" y="3013534"/>
            <a:ext cx="1870265" cy="495146"/>
            <a:chOff x="6676834" y="3013534"/>
            <a:chExt cx="1870265" cy="495146"/>
          </a:xfrm>
        </p:grpSpPr>
        <p:sp>
          <p:nvSpPr>
            <p:cNvPr id="57" name="TextBox 56"/>
            <p:cNvSpPr txBox="1"/>
            <p:nvPr/>
          </p:nvSpPr>
          <p:spPr>
            <a:xfrm>
              <a:off x="6676863" y="3013534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omunic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676834" y="3224371"/>
              <a:ext cx="1870265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95418" y="1735484"/>
            <a:ext cx="1870265" cy="493928"/>
            <a:chOff x="595418" y="1735484"/>
            <a:chExt cx="1870265" cy="493928"/>
          </a:xfrm>
        </p:grpSpPr>
        <p:sp>
          <p:nvSpPr>
            <p:cNvPr id="61" name="TextBox 60"/>
            <p:cNvSpPr txBox="1"/>
            <p:nvPr/>
          </p:nvSpPr>
          <p:spPr>
            <a:xfrm>
              <a:off x="595447" y="1735484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lanejament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orre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95418" y="1946321"/>
              <a:ext cx="187026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95418" y="3022029"/>
            <a:ext cx="1870265" cy="493928"/>
            <a:chOff x="595418" y="3022029"/>
            <a:chExt cx="1870265" cy="493928"/>
          </a:xfrm>
        </p:grpSpPr>
        <p:sp>
          <p:nvSpPr>
            <p:cNvPr id="66" name="TextBox 65"/>
            <p:cNvSpPr txBox="1"/>
            <p:nvPr/>
          </p:nvSpPr>
          <p:spPr>
            <a:xfrm>
              <a:off x="595447" y="3022029"/>
              <a:ext cx="18701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lideranç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95418" y="3232866"/>
              <a:ext cx="1870265" cy="2830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Sed dictum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li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lesuad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in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ex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20297" y="3017781"/>
            <a:ext cx="487184" cy="487184"/>
            <a:chOff x="5920297" y="3017781"/>
            <a:chExt cx="487184" cy="487184"/>
          </a:xfrm>
        </p:grpSpPr>
        <p:sp>
          <p:nvSpPr>
            <p:cNvPr id="55" name="Oval 54"/>
            <p:cNvSpPr/>
            <p:nvPr/>
          </p:nvSpPr>
          <p:spPr>
            <a:xfrm>
              <a:off x="5920297" y="3017781"/>
              <a:ext cx="487184" cy="487184"/>
            </a:xfrm>
            <a:prstGeom prst="ellipse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Freeform 84"/>
            <p:cNvSpPr>
              <a:spLocks noEditPoints="1"/>
            </p:cNvSpPr>
            <p:nvPr/>
          </p:nvSpPr>
          <p:spPr bwMode="auto">
            <a:xfrm>
              <a:off x="6050973" y="3148457"/>
              <a:ext cx="225832" cy="225832"/>
            </a:xfrm>
            <a:custGeom>
              <a:avLst/>
              <a:gdLst>
                <a:gd name="T0" fmla="*/ 324 w 353"/>
                <a:gd name="T1" fmla="*/ 137 h 353"/>
                <a:gd name="T2" fmla="*/ 318 w 353"/>
                <a:gd name="T3" fmla="*/ 85 h 353"/>
                <a:gd name="T4" fmla="*/ 285 w 353"/>
                <a:gd name="T5" fmla="*/ 35 h 353"/>
                <a:gd name="T6" fmla="*/ 268 w 353"/>
                <a:gd name="T7" fmla="*/ 35 h 353"/>
                <a:gd name="T8" fmla="*/ 216 w 353"/>
                <a:gd name="T9" fmla="*/ 29 h 353"/>
                <a:gd name="T10" fmla="*/ 200 w 353"/>
                <a:gd name="T11" fmla="*/ 0 h 353"/>
                <a:gd name="T12" fmla="*/ 141 w 353"/>
                <a:gd name="T13" fmla="*/ 12 h 353"/>
                <a:gd name="T14" fmla="*/ 100 w 353"/>
                <a:gd name="T15" fmla="*/ 44 h 353"/>
                <a:gd name="T16" fmla="*/ 76 w 353"/>
                <a:gd name="T17" fmla="*/ 32 h 353"/>
                <a:gd name="T18" fmla="*/ 35 w 353"/>
                <a:gd name="T19" fmla="*/ 68 h 353"/>
                <a:gd name="T20" fmla="*/ 44 w 353"/>
                <a:gd name="T21" fmla="*/ 100 h 353"/>
                <a:gd name="T22" fmla="*/ 12 w 353"/>
                <a:gd name="T23" fmla="*/ 141 h 353"/>
                <a:gd name="T24" fmla="*/ 0 w 353"/>
                <a:gd name="T25" fmla="*/ 200 h 353"/>
                <a:gd name="T26" fmla="*/ 29 w 353"/>
                <a:gd name="T27" fmla="*/ 216 h 353"/>
                <a:gd name="T28" fmla="*/ 35 w 353"/>
                <a:gd name="T29" fmla="*/ 268 h 353"/>
                <a:gd name="T30" fmla="*/ 68 w 353"/>
                <a:gd name="T31" fmla="*/ 318 h 353"/>
                <a:gd name="T32" fmla="*/ 85 w 353"/>
                <a:gd name="T33" fmla="*/ 318 h 353"/>
                <a:gd name="T34" fmla="*/ 137 w 353"/>
                <a:gd name="T35" fmla="*/ 324 h 353"/>
                <a:gd name="T36" fmla="*/ 153 w 353"/>
                <a:gd name="T37" fmla="*/ 353 h 353"/>
                <a:gd name="T38" fmla="*/ 212 w 353"/>
                <a:gd name="T39" fmla="*/ 341 h 353"/>
                <a:gd name="T40" fmla="*/ 253 w 353"/>
                <a:gd name="T41" fmla="*/ 309 h 353"/>
                <a:gd name="T42" fmla="*/ 278 w 353"/>
                <a:gd name="T43" fmla="*/ 321 h 353"/>
                <a:gd name="T44" fmla="*/ 318 w 353"/>
                <a:gd name="T45" fmla="*/ 285 h 353"/>
                <a:gd name="T46" fmla="*/ 309 w 353"/>
                <a:gd name="T47" fmla="*/ 253 h 353"/>
                <a:gd name="T48" fmla="*/ 341 w 353"/>
                <a:gd name="T49" fmla="*/ 212 h 353"/>
                <a:gd name="T50" fmla="*/ 353 w 353"/>
                <a:gd name="T51" fmla="*/ 153 h 353"/>
                <a:gd name="T52" fmla="*/ 337 w 353"/>
                <a:gd name="T53" fmla="*/ 196 h 353"/>
                <a:gd name="T54" fmla="*/ 320 w 353"/>
                <a:gd name="T55" fmla="*/ 200 h 353"/>
                <a:gd name="T56" fmla="*/ 295 w 353"/>
                <a:gd name="T57" fmla="*/ 245 h 353"/>
                <a:gd name="T58" fmla="*/ 304 w 353"/>
                <a:gd name="T59" fmla="*/ 276 h 353"/>
                <a:gd name="T60" fmla="*/ 276 w 353"/>
                <a:gd name="T61" fmla="*/ 304 h 353"/>
                <a:gd name="T62" fmla="*/ 253 w 353"/>
                <a:gd name="T63" fmla="*/ 293 h 353"/>
                <a:gd name="T64" fmla="*/ 212 w 353"/>
                <a:gd name="T65" fmla="*/ 309 h 353"/>
                <a:gd name="T66" fmla="*/ 196 w 353"/>
                <a:gd name="T67" fmla="*/ 337 h 353"/>
                <a:gd name="T68" fmla="*/ 157 w 353"/>
                <a:gd name="T69" fmla="*/ 337 h 353"/>
                <a:gd name="T70" fmla="*/ 141 w 353"/>
                <a:gd name="T71" fmla="*/ 309 h 353"/>
                <a:gd name="T72" fmla="*/ 100 w 353"/>
                <a:gd name="T73" fmla="*/ 293 h 353"/>
                <a:gd name="T74" fmla="*/ 77 w 353"/>
                <a:gd name="T75" fmla="*/ 304 h 353"/>
                <a:gd name="T76" fmla="*/ 49 w 353"/>
                <a:gd name="T77" fmla="*/ 276 h 353"/>
                <a:gd name="T78" fmla="*/ 58 w 353"/>
                <a:gd name="T79" fmla="*/ 245 h 353"/>
                <a:gd name="T80" fmla="*/ 33 w 353"/>
                <a:gd name="T81" fmla="*/ 200 h 353"/>
                <a:gd name="T82" fmla="*/ 16 w 353"/>
                <a:gd name="T83" fmla="*/ 196 h 353"/>
                <a:gd name="T84" fmla="*/ 33 w 353"/>
                <a:gd name="T85" fmla="*/ 152 h 353"/>
                <a:gd name="T86" fmla="*/ 58 w 353"/>
                <a:gd name="T87" fmla="*/ 108 h 353"/>
                <a:gd name="T88" fmla="*/ 49 w 353"/>
                <a:gd name="T89" fmla="*/ 77 h 353"/>
                <a:gd name="T90" fmla="*/ 77 w 353"/>
                <a:gd name="T91" fmla="*/ 49 h 353"/>
                <a:gd name="T92" fmla="*/ 100 w 353"/>
                <a:gd name="T93" fmla="*/ 60 h 353"/>
                <a:gd name="T94" fmla="*/ 141 w 353"/>
                <a:gd name="T95" fmla="*/ 44 h 353"/>
                <a:gd name="T96" fmla="*/ 157 w 353"/>
                <a:gd name="T97" fmla="*/ 16 h 353"/>
                <a:gd name="T98" fmla="*/ 196 w 353"/>
                <a:gd name="T99" fmla="*/ 16 h 353"/>
                <a:gd name="T100" fmla="*/ 212 w 353"/>
                <a:gd name="T101" fmla="*/ 44 h 353"/>
                <a:gd name="T102" fmla="*/ 253 w 353"/>
                <a:gd name="T103" fmla="*/ 60 h 353"/>
                <a:gd name="T104" fmla="*/ 276 w 353"/>
                <a:gd name="T105" fmla="*/ 49 h 353"/>
                <a:gd name="T106" fmla="*/ 304 w 353"/>
                <a:gd name="T107" fmla="*/ 77 h 353"/>
                <a:gd name="T108" fmla="*/ 295 w 353"/>
                <a:gd name="T109" fmla="*/ 108 h 353"/>
                <a:gd name="T110" fmla="*/ 320 w 353"/>
                <a:gd name="T111" fmla="*/ 152 h 353"/>
                <a:gd name="T112" fmla="*/ 337 w 353"/>
                <a:gd name="T113" fmla="*/ 196 h 353"/>
                <a:gd name="T114" fmla="*/ 96 w 353"/>
                <a:gd name="T115" fmla="*/ 176 h 353"/>
                <a:gd name="T116" fmla="*/ 257 w 353"/>
                <a:gd name="T117" fmla="*/ 176 h 353"/>
                <a:gd name="T118" fmla="*/ 176 w 353"/>
                <a:gd name="T119" fmla="*/ 241 h 353"/>
                <a:gd name="T120" fmla="*/ 176 w 353"/>
                <a:gd name="T121" fmla="*/ 112 h 353"/>
                <a:gd name="T122" fmla="*/ 176 w 353"/>
                <a:gd name="T123" fmla="*/ 241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3" h="353">
                  <a:moveTo>
                    <a:pt x="341" y="141"/>
                  </a:moveTo>
                  <a:cubicBezTo>
                    <a:pt x="324" y="137"/>
                    <a:pt x="324" y="137"/>
                    <a:pt x="324" y="137"/>
                  </a:cubicBezTo>
                  <a:cubicBezTo>
                    <a:pt x="321" y="124"/>
                    <a:pt x="316" y="111"/>
                    <a:pt x="309" y="100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21" y="79"/>
                    <a:pt x="323" y="73"/>
                    <a:pt x="318" y="68"/>
                  </a:cubicBezTo>
                  <a:cubicBezTo>
                    <a:pt x="285" y="35"/>
                    <a:pt x="285" y="35"/>
                    <a:pt x="285" y="35"/>
                  </a:cubicBezTo>
                  <a:cubicBezTo>
                    <a:pt x="283" y="33"/>
                    <a:pt x="280" y="32"/>
                    <a:pt x="277" y="32"/>
                  </a:cubicBezTo>
                  <a:cubicBezTo>
                    <a:pt x="274" y="32"/>
                    <a:pt x="271" y="33"/>
                    <a:pt x="268" y="35"/>
                  </a:cubicBezTo>
                  <a:cubicBezTo>
                    <a:pt x="253" y="44"/>
                    <a:pt x="253" y="44"/>
                    <a:pt x="253" y="44"/>
                  </a:cubicBezTo>
                  <a:cubicBezTo>
                    <a:pt x="241" y="37"/>
                    <a:pt x="229" y="32"/>
                    <a:pt x="216" y="29"/>
                  </a:cubicBezTo>
                  <a:cubicBezTo>
                    <a:pt x="212" y="12"/>
                    <a:pt x="212" y="12"/>
                    <a:pt x="212" y="12"/>
                  </a:cubicBezTo>
                  <a:cubicBezTo>
                    <a:pt x="210" y="6"/>
                    <a:pt x="207" y="0"/>
                    <a:pt x="200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46" y="0"/>
                    <a:pt x="143" y="6"/>
                    <a:pt x="141" y="12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24" y="32"/>
                    <a:pt x="112" y="37"/>
                    <a:pt x="100" y="44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82" y="33"/>
                    <a:pt x="79" y="32"/>
                    <a:pt x="76" y="32"/>
                  </a:cubicBezTo>
                  <a:cubicBezTo>
                    <a:pt x="73" y="32"/>
                    <a:pt x="70" y="33"/>
                    <a:pt x="68" y="35"/>
                  </a:cubicBezTo>
                  <a:cubicBezTo>
                    <a:pt x="35" y="68"/>
                    <a:pt x="35" y="68"/>
                    <a:pt x="35" y="68"/>
                  </a:cubicBezTo>
                  <a:cubicBezTo>
                    <a:pt x="30" y="73"/>
                    <a:pt x="32" y="79"/>
                    <a:pt x="35" y="85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37" y="111"/>
                    <a:pt x="32" y="124"/>
                    <a:pt x="29" y="137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6" y="143"/>
                    <a:pt x="0" y="146"/>
                    <a:pt x="0" y="153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0" y="206"/>
                    <a:pt x="6" y="210"/>
                    <a:pt x="12" y="212"/>
                  </a:cubicBezTo>
                  <a:cubicBezTo>
                    <a:pt x="29" y="216"/>
                    <a:pt x="29" y="216"/>
                    <a:pt x="29" y="216"/>
                  </a:cubicBezTo>
                  <a:cubicBezTo>
                    <a:pt x="32" y="229"/>
                    <a:pt x="37" y="241"/>
                    <a:pt x="44" y="253"/>
                  </a:cubicBezTo>
                  <a:cubicBezTo>
                    <a:pt x="35" y="268"/>
                    <a:pt x="35" y="268"/>
                    <a:pt x="35" y="268"/>
                  </a:cubicBezTo>
                  <a:cubicBezTo>
                    <a:pt x="32" y="273"/>
                    <a:pt x="30" y="280"/>
                    <a:pt x="35" y="285"/>
                  </a:cubicBezTo>
                  <a:cubicBezTo>
                    <a:pt x="68" y="318"/>
                    <a:pt x="68" y="318"/>
                    <a:pt x="68" y="318"/>
                  </a:cubicBezTo>
                  <a:cubicBezTo>
                    <a:pt x="70" y="320"/>
                    <a:pt x="73" y="321"/>
                    <a:pt x="75" y="321"/>
                  </a:cubicBezTo>
                  <a:cubicBezTo>
                    <a:pt x="79" y="321"/>
                    <a:pt x="82" y="319"/>
                    <a:pt x="85" y="318"/>
                  </a:cubicBezTo>
                  <a:cubicBezTo>
                    <a:pt x="100" y="309"/>
                    <a:pt x="100" y="309"/>
                    <a:pt x="100" y="309"/>
                  </a:cubicBezTo>
                  <a:cubicBezTo>
                    <a:pt x="112" y="315"/>
                    <a:pt x="124" y="321"/>
                    <a:pt x="137" y="324"/>
                  </a:cubicBezTo>
                  <a:cubicBezTo>
                    <a:pt x="141" y="341"/>
                    <a:pt x="141" y="341"/>
                    <a:pt x="141" y="341"/>
                  </a:cubicBezTo>
                  <a:cubicBezTo>
                    <a:pt x="143" y="347"/>
                    <a:pt x="146" y="353"/>
                    <a:pt x="153" y="353"/>
                  </a:cubicBezTo>
                  <a:cubicBezTo>
                    <a:pt x="200" y="353"/>
                    <a:pt x="200" y="353"/>
                    <a:pt x="200" y="353"/>
                  </a:cubicBezTo>
                  <a:cubicBezTo>
                    <a:pt x="207" y="353"/>
                    <a:pt x="210" y="347"/>
                    <a:pt x="212" y="341"/>
                  </a:cubicBezTo>
                  <a:cubicBezTo>
                    <a:pt x="216" y="324"/>
                    <a:pt x="216" y="324"/>
                    <a:pt x="216" y="324"/>
                  </a:cubicBezTo>
                  <a:cubicBezTo>
                    <a:pt x="229" y="321"/>
                    <a:pt x="241" y="315"/>
                    <a:pt x="253" y="309"/>
                  </a:cubicBezTo>
                  <a:cubicBezTo>
                    <a:pt x="268" y="318"/>
                    <a:pt x="268" y="318"/>
                    <a:pt x="268" y="318"/>
                  </a:cubicBezTo>
                  <a:cubicBezTo>
                    <a:pt x="271" y="319"/>
                    <a:pt x="275" y="321"/>
                    <a:pt x="278" y="321"/>
                  </a:cubicBezTo>
                  <a:cubicBezTo>
                    <a:pt x="280" y="321"/>
                    <a:pt x="283" y="320"/>
                    <a:pt x="285" y="318"/>
                  </a:cubicBezTo>
                  <a:cubicBezTo>
                    <a:pt x="318" y="285"/>
                    <a:pt x="318" y="285"/>
                    <a:pt x="318" y="285"/>
                  </a:cubicBezTo>
                  <a:cubicBezTo>
                    <a:pt x="323" y="280"/>
                    <a:pt x="321" y="273"/>
                    <a:pt x="318" y="268"/>
                  </a:cubicBezTo>
                  <a:cubicBezTo>
                    <a:pt x="309" y="253"/>
                    <a:pt x="309" y="253"/>
                    <a:pt x="309" y="253"/>
                  </a:cubicBezTo>
                  <a:cubicBezTo>
                    <a:pt x="316" y="241"/>
                    <a:pt x="321" y="229"/>
                    <a:pt x="324" y="216"/>
                  </a:cubicBezTo>
                  <a:cubicBezTo>
                    <a:pt x="341" y="212"/>
                    <a:pt x="341" y="212"/>
                    <a:pt x="341" y="212"/>
                  </a:cubicBezTo>
                  <a:cubicBezTo>
                    <a:pt x="347" y="210"/>
                    <a:pt x="353" y="206"/>
                    <a:pt x="353" y="200"/>
                  </a:cubicBezTo>
                  <a:cubicBezTo>
                    <a:pt x="353" y="153"/>
                    <a:pt x="353" y="153"/>
                    <a:pt x="353" y="153"/>
                  </a:cubicBezTo>
                  <a:cubicBezTo>
                    <a:pt x="353" y="146"/>
                    <a:pt x="347" y="143"/>
                    <a:pt x="341" y="141"/>
                  </a:cubicBezTo>
                  <a:moveTo>
                    <a:pt x="337" y="196"/>
                  </a:moveTo>
                  <a:cubicBezTo>
                    <a:pt x="337" y="196"/>
                    <a:pt x="337" y="196"/>
                    <a:pt x="337" y="196"/>
                  </a:cubicBezTo>
                  <a:cubicBezTo>
                    <a:pt x="320" y="200"/>
                    <a:pt x="320" y="200"/>
                    <a:pt x="320" y="200"/>
                  </a:cubicBezTo>
                  <a:cubicBezTo>
                    <a:pt x="315" y="202"/>
                    <a:pt x="310" y="206"/>
                    <a:pt x="309" y="212"/>
                  </a:cubicBezTo>
                  <a:cubicBezTo>
                    <a:pt x="306" y="223"/>
                    <a:pt x="301" y="234"/>
                    <a:pt x="295" y="245"/>
                  </a:cubicBezTo>
                  <a:cubicBezTo>
                    <a:pt x="292" y="250"/>
                    <a:pt x="292" y="256"/>
                    <a:pt x="295" y="261"/>
                  </a:cubicBezTo>
                  <a:cubicBezTo>
                    <a:pt x="304" y="276"/>
                    <a:pt x="304" y="276"/>
                    <a:pt x="304" y="276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76" y="304"/>
                    <a:pt x="276" y="304"/>
                    <a:pt x="276" y="304"/>
                  </a:cubicBezTo>
                  <a:cubicBezTo>
                    <a:pt x="261" y="295"/>
                    <a:pt x="261" y="295"/>
                    <a:pt x="261" y="295"/>
                  </a:cubicBezTo>
                  <a:cubicBezTo>
                    <a:pt x="259" y="294"/>
                    <a:pt x="256" y="293"/>
                    <a:pt x="253" y="293"/>
                  </a:cubicBezTo>
                  <a:cubicBezTo>
                    <a:pt x="250" y="293"/>
                    <a:pt x="247" y="293"/>
                    <a:pt x="245" y="295"/>
                  </a:cubicBezTo>
                  <a:cubicBezTo>
                    <a:pt x="235" y="301"/>
                    <a:pt x="223" y="305"/>
                    <a:pt x="212" y="309"/>
                  </a:cubicBezTo>
                  <a:cubicBezTo>
                    <a:pt x="206" y="310"/>
                    <a:pt x="202" y="315"/>
                    <a:pt x="201" y="320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57" y="337"/>
                    <a:pt x="157" y="337"/>
                    <a:pt x="157" y="337"/>
                  </a:cubicBezTo>
                  <a:cubicBezTo>
                    <a:pt x="152" y="320"/>
                    <a:pt x="152" y="320"/>
                    <a:pt x="152" y="320"/>
                  </a:cubicBezTo>
                  <a:cubicBezTo>
                    <a:pt x="151" y="315"/>
                    <a:pt x="147" y="310"/>
                    <a:pt x="141" y="309"/>
                  </a:cubicBezTo>
                  <a:cubicBezTo>
                    <a:pt x="130" y="305"/>
                    <a:pt x="118" y="301"/>
                    <a:pt x="108" y="295"/>
                  </a:cubicBezTo>
                  <a:cubicBezTo>
                    <a:pt x="106" y="293"/>
                    <a:pt x="103" y="293"/>
                    <a:pt x="100" y="293"/>
                  </a:cubicBezTo>
                  <a:cubicBezTo>
                    <a:pt x="97" y="293"/>
                    <a:pt x="94" y="294"/>
                    <a:pt x="92" y="295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77" y="304"/>
                    <a:pt x="77" y="304"/>
                    <a:pt x="77" y="304"/>
                  </a:cubicBezTo>
                  <a:cubicBezTo>
                    <a:pt x="49" y="276"/>
                    <a:pt x="49" y="276"/>
                    <a:pt x="49" y="276"/>
                  </a:cubicBezTo>
                  <a:cubicBezTo>
                    <a:pt x="58" y="261"/>
                    <a:pt x="58" y="261"/>
                    <a:pt x="58" y="261"/>
                  </a:cubicBezTo>
                  <a:cubicBezTo>
                    <a:pt x="61" y="256"/>
                    <a:pt x="61" y="250"/>
                    <a:pt x="58" y="245"/>
                  </a:cubicBezTo>
                  <a:cubicBezTo>
                    <a:pt x="52" y="234"/>
                    <a:pt x="47" y="223"/>
                    <a:pt x="44" y="212"/>
                  </a:cubicBezTo>
                  <a:cubicBezTo>
                    <a:pt x="43" y="206"/>
                    <a:pt x="38" y="202"/>
                    <a:pt x="33" y="200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ubicBezTo>
                    <a:pt x="16" y="157"/>
                    <a:pt x="16" y="157"/>
                    <a:pt x="16" y="157"/>
                  </a:cubicBezTo>
                  <a:cubicBezTo>
                    <a:pt x="33" y="152"/>
                    <a:pt x="33" y="152"/>
                    <a:pt x="33" y="152"/>
                  </a:cubicBezTo>
                  <a:cubicBezTo>
                    <a:pt x="38" y="151"/>
                    <a:pt x="43" y="147"/>
                    <a:pt x="44" y="141"/>
                  </a:cubicBezTo>
                  <a:cubicBezTo>
                    <a:pt x="47" y="129"/>
                    <a:pt x="52" y="118"/>
                    <a:pt x="58" y="108"/>
                  </a:cubicBezTo>
                  <a:cubicBezTo>
                    <a:pt x="61" y="103"/>
                    <a:pt x="61" y="97"/>
                    <a:pt x="58" y="92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4" y="59"/>
                    <a:pt x="97" y="60"/>
                    <a:pt x="100" y="60"/>
                  </a:cubicBezTo>
                  <a:cubicBezTo>
                    <a:pt x="103" y="60"/>
                    <a:pt x="106" y="59"/>
                    <a:pt x="108" y="58"/>
                  </a:cubicBezTo>
                  <a:cubicBezTo>
                    <a:pt x="118" y="52"/>
                    <a:pt x="130" y="47"/>
                    <a:pt x="141" y="44"/>
                  </a:cubicBezTo>
                  <a:cubicBezTo>
                    <a:pt x="147" y="43"/>
                    <a:pt x="151" y="38"/>
                    <a:pt x="152" y="33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201" y="33"/>
                    <a:pt x="201" y="33"/>
                    <a:pt x="201" y="33"/>
                  </a:cubicBezTo>
                  <a:cubicBezTo>
                    <a:pt x="202" y="38"/>
                    <a:pt x="206" y="43"/>
                    <a:pt x="212" y="44"/>
                  </a:cubicBezTo>
                  <a:cubicBezTo>
                    <a:pt x="223" y="47"/>
                    <a:pt x="235" y="52"/>
                    <a:pt x="245" y="58"/>
                  </a:cubicBezTo>
                  <a:cubicBezTo>
                    <a:pt x="247" y="59"/>
                    <a:pt x="250" y="60"/>
                    <a:pt x="253" y="60"/>
                  </a:cubicBezTo>
                  <a:cubicBezTo>
                    <a:pt x="256" y="60"/>
                    <a:pt x="259" y="59"/>
                    <a:pt x="261" y="58"/>
                  </a:cubicBezTo>
                  <a:cubicBezTo>
                    <a:pt x="276" y="49"/>
                    <a:pt x="276" y="49"/>
                    <a:pt x="276" y="49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304" y="77"/>
                    <a:pt x="304" y="77"/>
                    <a:pt x="304" y="77"/>
                  </a:cubicBezTo>
                  <a:cubicBezTo>
                    <a:pt x="295" y="92"/>
                    <a:pt x="295" y="92"/>
                    <a:pt x="295" y="92"/>
                  </a:cubicBezTo>
                  <a:cubicBezTo>
                    <a:pt x="292" y="97"/>
                    <a:pt x="292" y="103"/>
                    <a:pt x="295" y="108"/>
                  </a:cubicBezTo>
                  <a:cubicBezTo>
                    <a:pt x="301" y="118"/>
                    <a:pt x="306" y="129"/>
                    <a:pt x="309" y="141"/>
                  </a:cubicBezTo>
                  <a:cubicBezTo>
                    <a:pt x="310" y="147"/>
                    <a:pt x="315" y="151"/>
                    <a:pt x="320" y="152"/>
                  </a:cubicBezTo>
                  <a:cubicBezTo>
                    <a:pt x="337" y="157"/>
                    <a:pt x="337" y="157"/>
                    <a:pt x="337" y="157"/>
                  </a:cubicBezTo>
                  <a:lnTo>
                    <a:pt x="337" y="196"/>
                  </a:lnTo>
                  <a:close/>
                  <a:moveTo>
                    <a:pt x="176" y="96"/>
                  </a:moveTo>
                  <a:cubicBezTo>
                    <a:pt x="132" y="96"/>
                    <a:pt x="96" y="132"/>
                    <a:pt x="96" y="176"/>
                  </a:cubicBezTo>
                  <a:cubicBezTo>
                    <a:pt x="96" y="221"/>
                    <a:pt x="132" y="257"/>
                    <a:pt x="176" y="257"/>
                  </a:cubicBezTo>
                  <a:cubicBezTo>
                    <a:pt x="221" y="257"/>
                    <a:pt x="257" y="221"/>
                    <a:pt x="257" y="176"/>
                  </a:cubicBezTo>
                  <a:cubicBezTo>
                    <a:pt x="257" y="132"/>
                    <a:pt x="221" y="96"/>
                    <a:pt x="176" y="96"/>
                  </a:cubicBezTo>
                  <a:moveTo>
                    <a:pt x="176" y="241"/>
                  </a:moveTo>
                  <a:cubicBezTo>
                    <a:pt x="141" y="241"/>
                    <a:pt x="112" y="212"/>
                    <a:pt x="112" y="176"/>
                  </a:cubicBezTo>
                  <a:cubicBezTo>
                    <a:pt x="112" y="141"/>
                    <a:pt x="141" y="112"/>
                    <a:pt x="176" y="112"/>
                  </a:cubicBezTo>
                  <a:cubicBezTo>
                    <a:pt x="212" y="112"/>
                    <a:pt x="241" y="141"/>
                    <a:pt x="241" y="176"/>
                  </a:cubicBezTo>
                  <a:cubicBezTo>
                    <a:pt x="241" y="212"/>
                    <a:pt x="212" y="241"/>
                    <a:pt x="176" y="24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736520" y="1731236"/>
            <a:ext cx="487184" cy="487184"/>
            <a:chOff x="2736520" y="1731236"/>
            <a:chExt cx="487184" cy="487184"/>
          </a:xfrm>
        </p:grpSpPr>
        <p:sp>
          <p:nvSpPr>
            <p:cNvPr id="59" name="Oval 58"/>
            <p:cNvSpPr/>
            <p:nvPr/>
          </p:nvSpPr>
          <p:spPr>
            <a:xfrm>
              <a:off x="2736520" y="1731236"/>
              <a:ext cx="487184" cy="487184"/>
            </a:xfrm>
            <a:prstGeom prst="ellipse">
              <a:avLst/>
            </a:prstGeom>
            <a:solidFill>
              <a:srgbClr val="EC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8" name="Freeform 115"/>
            <p:cNvSpPr>
              <a:spLocks noEditPoints="1"/>
            </p:cNvSpPr>
            <p:nvPr/>
          </p:nvSpPr>
          <p:spPr bwMode="auto">
            <a:xfrm>
              <a:off x="2867196" y="1861912"/>
              <a:ext cx="225832" cy="225832"/>
            </a:xfrm>
            <a:custGeom>
              <a:avLst/>
              <a:gdLst>
                <a:gd name="T0" fmla="*/ 289 w 353"/>
                <a:gd name="T1" fmla="*/ 32 h 353"/>
                <a:gd name="T2" fmla="*/ 281 w 353"/>
                <a:gd name="T3" fmla="*/ 0 h 353"/>
                <a:gd name="T4" fmla="*/ 273 w 353"/>
                <a:gd name="T5" fmla="*/ 32 h 353"/>
                <a:gd name="T6" fmla="*/ 80 w 353"/>
                <a:gd name="T7" fmla="*/ 8 h 353"/>
                <a:gd name="T8" fmla="*/ 64 w 353"/>
                <a:gd name="T9" fmla="*/ 8 h 353"/>
                <a:gd name="T10" fmla="*/ 32 w 353"/>
                <a:gd name="T11" fmla="*/ 32 h 353"/>
                <a:gd name="T12" fmla="*/ 0 w 353"/>
                <a:gd name="T13" fmla="*/ 321 h 353"/>
                <a:gd name="T14" fmla="*/ 321 w 353"/>
                <a:gd name="T15" fmla="*/ 353 h 353"/>
                <a:gd name="T16" fmla="*/ 353 w 353"/>
                <a:gd name="T17" fmla="*/ 64 h 353"/>
                <a:gd name="T18" fmla="*/ 337 w 353"/>
                <a:gd name="T19" fmla="*/ 321 h 353"/>
                <a:gd name="T20" fmla="*/ 32 w 353"/>
                <a:gd name="T21" fmla="*/ 337 h 353"/>
                <a:gd name="T22" fmla="*/ 16 w 353"/>
                <a:gd name="T23" fmla="*/ 128 h 353"/>
                <a:gd name="T24" fmla="*/ 337 w 353"/>
                <a:gd name="T25" fmla="*/ 321 h 353"/>
                <a:gd name="T26" fmla="*/ 16 w 353"/>
                <a:gd name="T27" fmla="*/ 112 h 353"/>
                <a:gd name="T28" fmla="*/ 32 w 353"/>
                <a:gd name="T29" fmla="*/ 48 h 353"/>
                <a:gd name="T30" fmla="*/ 64 w 353"/>
                <a:gd name="T31" fmla="*/ 72 h 353"/>
                <a:gd name="T32" fmla="*/ 80 w 353"/>
                <a:gd name="T33" fmla="*/ 72 h 353"/>
                <a:gd name="T34" fmla="*/ 273 w 353"/>
                <a:gd name="T35" fmla="*/ 48 h 353"/>
                <a:gd name="T36" fmla="*/ 281 w 353"/>
                <a:gd name="T37" fmla="*/ 80 h 353"/>
                <a:gd name="T38" fmla="*/ 289 w 353"/>
                <a:gd name="T39" fmla="*/ 48 h 353"/>
                <a:gd name="T40" fmla="*/ 337 w 353"/>
                <a:gd name="T41" fmla="*/ 64 h 353"/>
                <a:gd name="T42" fmla="*/ 233 w 353"/>
                <a:gd name="T43" fmla="*/ 297 h 353"/>
                <a:gd name="T44" fmla="*/ 248 w 353"/>
                <a:gd name="T45" fmla="*/ 168 h 353"/>
                <a:gd name="T46" fmla="*/ 232 w 353"/>
                <a:gd name="T47" fmla="*/ 180 h 353"/>
                <a:gd name="T48" fmla="*/ 213 w 353"/>
                <a:gd name="T49" fmla="*/ 191 h 353"/>
                <a:gd name="T50" fmla="*/ 201 w 353"/>
                <a:gd name="T51" fmla="*/ 204 h 353"/>
                <a:gd name="T52" fmla="*/ 233 w 353"/>
                <a:gd name="T53" fmla="*/ 297 h 353"/>
                <a:gd name="T54" fmla="*/ 148 w 353"/>
                <a:gd name="T55" fmla="*/ 283 h 353"/>
                <a:gd name="T56" fmla="*/ 118 w 353"/>
                <a:gd name="T57" fmla="*/ 277 h 353"/>
                <a:gd name="T58" fmla="*/ 96 w 353"/>
                <a:gd name="T59" fmla="*/ 257 h 353"/>
                <a:gd name="T60" fmla="*/ 107 w 353"/>
                <a:gd name="T61" fmla="*/ 288 h 353"/>
                <a:gd name="T62" fmla="*/ 138 w 353"/>
                <a:gd name="T63" fmla="*/ 299 h 353"/>
                <a:gd name="T64" fmla="*/ 168 w 353"/>
                <a:gd name="T65" fmla="*/ 289 h 353"/>
                <a:gd name="T66" fmla="*/ 181 w 353"/>
                <a:gd name="T67" fmla="*/ 259 h 353"/>
                <a:gd name="T68" fmla="*/ 158 w 353"/>
                <a:gd name="T69" fmla="*/ 228 h 353"/>
                <a:gd name="T70" fmla="*/ 171 w 353"/>
                <a:gd name="T71" fmla="*/ 218 h 353"/>
                <a:gd name="T72" fmla="*/ 173 w 353"/>
                <a:gd name="T73" fmla="*/ 187 h 353"/>
                <a:gd name="T74" fmla="*/ 153 w 353"/>
                <a:gd name="T75" fmla="*/ 170 h 353"/>
                <a:gd name="T76" fmla="*/ 121 w 353"/>
                <a:gd name="T77" fmla="*/ 171 h 353"/>
                <a:gd name="T78" fmla="*/ 102 w 353"/>
                <a:gd name="T79" fmla="*/ 192 h 353"/>
                <a:gd name="T80" fmla="*/ 114 w 353"/>
                <a:gd name="T81" fmla="*/ 209 h 353"/>
                <a:gd name="T82" fmla="*/ 120 w 353"/>
                <a:gd name="T83" fmla="*/ 190 h 353"/>
                <a:gd name="T84" fmla="*/ 137 w 353"/>
                <a:gd name="T85" fmla="*/ 181 h 353"/>
                <a:gd name="T86" fmla="*/ 160 w 353"/>
                <a:gd name="T87" fmla="*/ 202 h 353"/>
                <a:gd name="T88" fmla="*/ 153 w 353"/>
                <a:gd name="T89" fmla="*/ 218 h 353"/>
                <a:gd name="T90" fmla="*/ 136 w 353"/>
                <a:gd name="T91" fmla="*/ 223 h 353"/>
                <a:gd name="T92" fmla="*/ 129 w 353"/>
                <a:gd name="T93" fmla="*/ 223 h 353"/>
                <a:gd name="T94" fmla="*/ 138 w 353"/>
                <a:gd name="T95" fmla="*/ 235 h 353"/>
                <a:gd name="T96" fmla="*/ 157 w 353"/>
                <a:gd name="T97" fmla="*/ 242 h 353"/>
                <a:gd name="T98" fmla="*/ 165 w 353"/>
                <a:gd name="T99" fmla="*/ 260 h 353"/>
                <a:gd name="T100" fmla="*/ 157 w 353"/>
                <a:gd name="T101" fmla="*/ 27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3" h="353"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6" y="0"/>
                    <a:pt x="281" y="0"/>
                  </a:cubicBezTo>
                  <a:cubicBezTo>
                    <a:pt x="277" y="0"/>
                    <a:pt x="273" y="3"/>
                    <a:pt x="273" y="8"/>
                  </a:cubicBezTo>
                  <a:cubicBezTo>
                    <a:pt x="273" y="32"/>
                    <a:pt x="273" y="32"/>
                    <a:pt x="273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7" y="0"/>
                    <a:pt x="72" y="0"/>
                  </a:cubicBezTo>
                  <a:cubicBezTo>
                    <a:pt x="68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5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5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9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8" y="80"/>
                    <a:pt x="72" y="80"/>
                  </a:cubicBezTo>
                  <a:cubicBezTo>
                    <a:pt x="77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3" y="48"/>
                    <a:pt x="273" y="48"/>
                    <a:pt x="273" y="48"/>
                  </a:cubicBezTo>
                  <a:cubicBezTo>
                    <a:pt x="273" y="72"/>
                    <a:pt x="273" y="72"/>
                    <a:pt x="273" y="72"/>
                  </a:cubicBezTo>
                  <a:cubicBezTo>
                    <a:pt x="273" y="76"/>
                    <a:pt x="277" y="80"/>
                    <a:pt x="281" y="80"/>
                  </a:cubicBezTo>
                  <a:cubicBezTo>
                    <a:pt x="286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233" y="297"/>
                  </a:moveTo>
                  <a:cubicBezTo>
                    <a:pt x="248" y="297"/>
                    <a:pt x="248" y="297"/>
                    <a:pt x="248" y="297"/>
                  </a:cubicBezTo>
                  <a:cubicBezTo>
                    <a:pt x="248" y="168"/>
                    <a:pt x="248" y="168"/>
                    <a:pt x="248" y="168"/>
                  </a:cubicBezTo>
                  <a:cubicBezTo>
                    <a:pt x="237" y="168"/>
                    <a:pt x="237" y="168"/>
                    <a:pt x="237" y="168"/>
                  </a:cubicBezTo>
                  <a:cubicBezTo>
                    <a:pt x="236" y="172"/>
                    <a:pt x="235" y="176"/>
                    <a:pt x="232" y="180"/>
                  </a:cubicBezTo>
                  <a:cubicBezTo>
                    <a:pt x="230" y="183"/>
                    <a:pt x="227" y="185"/>
                    <a:pt x="224" y="187"/>
                  </a:cubicBezTo>
                  <a:cubicBezTo>
                    <a:pt x="221" y="189"/>
                    <a:pt x="217" y="190"/>
                    <a:pt x="213" y="191"/>
                  </a:cubicBezTo>
                  <a:cubicBezTo>
                    <a:pt x="209" y="191"/>
                    <a:pt x="205" y="192"/>
                    <a:pt x="201" y="192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33" y="204"/>
                    <a:pt x="233" y="204"/>
                    <a:pt x="233" y="204"/>
                  </a:cubicBezTo>
                  <a:lnTo>
                    <a:pt x="233" y="297"/>
                  </a:lnTo>
                  <a:close/>
                  <a:moveTo>
                    <a:pt x="157" y="278"/>
                  </a:moveTo>
                  <a:cubicBezTo>
                    <a:pt x="154" y="281"/>
                    <a:pt x="152" y="282"/>
                    <a:pt x="148" y="283"/>
                  </a:cubicBezTo>
                  <a:cubicBezTo>
                    <a:pt x="145" y="285"/>
                    <a:pt x="141" y="285"/>
                    <a:pt x="138" y="285"/>
                  </a:cubicBezTo>
                  <a:cubicBezTo>
                    <a:pt x="129" y="285"/>
                    <a:pt x="123" y="282"/>
                    <a:pt x="118" y="277"/>
                  </a:cubicBezTo>
                  <a:cubicBezTo>
                    <a:pt x="114" y="272"/>
                    <a:pt x="111" y="265"/>
                    <a:pt x="111" y="257"/>
                  </a:cubicBezTo>
                  <a:cubicBezTo>
                    <a:pt x="96" y="257"/>
                    <a:pt x="96" y="257"/>
                    <a:pt x="96" y="257"/>
                  </a:cubicBezTo>
                  <a:cubicBezTo>
                    <a:pt x="96" y="263"/>
                    <a:pt x="97" y="269"/>
                    <a:pt x="99" y="275"/>
                  </a:cubicBezTo>
                  <a:cubicBezTo>
                    <a:pt x="101" y="280"/>
                    <a:pt x="104" y="284"/>
                    <a:pt x="107" y="288"/>
                  </a:cubicBezTo>
                  <a:cubicBezTo>
                    <a:pt x="111" y="291"/>
                    <a:pt x="115" y="294"/>
                    <a:pt x="120" y="296"/>
                  </a:cubicBezTo>
                  <a:cubicBezTo>
                    <a:pt x="126" y="298"/>
                    <a:pt x="131" y="299"/>
                    <a:pt x="138" y="299"/>
                  </a:cubicBezTo>
                  <a:cubicBezTo>
                    <a:pt x="144" y="299"/>
                    <a:pt x="149" y="298"/>
                    <a:pt x="154" y="296"/>
                  </a:cubicBezTo>
                  <a:cubicBezTo>
                    <a:pt x="160" y="294"/>
                    <a:pt x="164" y="292"/>
                    <a:pt x="168" y="289"/>
                  </a:cubicBezTo>
                  <a:cubicBezTo>
                    <a:pt x="172" y="285"/>
                    <a:pt x="175" y="281"/>
                    <a:pt x="177" y="276"/>
                  </a:cubicBezTo>
                  <a:cubicBezTo>
                    <a:pt x="180" y="272"/>
                    <a:pt x="181" y="266"/>
                    <a:pt x="181" y="259"/>
                  </a:cubicBezTo>
                  <a:cubicBezTo>
                    <a:pt x="181" y="252"/>
                    <a:pt x="179" y="245"/>
                    <a:pt x="175" y="239"/>
                  </a:cubicBezTo>
                  <a:cubicBezTo>
                    <a:pt x="172" y="234"/>
                    <a:pt x="166" y="230"/>
                    <a:pt x="158" y="228"/>
                  </a:cubicBezTo>
                  <a:cubicBezTo>
                    <a:pt x="158" y="228"/>
                    <a:pt x="158" y="228"/>
                    <a:pt x="158" y="228"/>
                  </a:cubicBezTo>
                  <a:cubicBezTo>
                    <a:pt x="163" y="226"/>
                    <a:pt x="167" y="222"/>
                    <a:pt x="171" y="218"/>
                  </a:cubicBezTo>
                  <a:cubicBezTo>
                    <a:pt x="174" y="213"/>
                    <a:pt x="176" y="208"/>
                    <a:pt x="176" y="202"/>
                  </a:cubicBezTo>
                  <a:cubicBezTo>
                    <a:pt x="176" y="196"/>
                    <a:pt x="175" y="191"/>
                    <a:pt x="173" y="187"/>
                  </a:cubicBezTo>
                  <a:cubicBezTo>
                    <a:pt x="171" y="182"/>
                    <a:pt x="168" y="179"/>
                    <a:pt x="165" y="176"/>
                  </a:cubicBezTo>
                  <a:cubicBezTo>
                    <a:pt x="161" y="173"/>
                    <a:pt x="157" y="171"/>
                    <a:pt x="153" y="170"/>
                  </a:cubicBezTo>
                  <a:cubicBezTo>
                    <a:pt x="148" y="168"/>
                    <a:pt x="143" y="168"/>
                    <a:pt x="137" y="168"/>
                  </a:cubicBezTo>
                  <a:cubicBezTo>
                    <a:pt x="131" y="168"/>
                    <a:pt x="126" y="169"/>
                    <a:pt x="121" y="171"/>
                  </a:cubicBezTo>
                  <a:cubicBezTo>
                    <a:pt x="116" y="173"/>
                    <a:pt x="112" y="176"/>
                    <a:pt x="109" y="179"/>
                  </a:cubicBezTo>
                  <a:cubicBezTo>
                    <a:pt x="106" y="183"/>
                    <a:pt x="103" y="187"/>
                    <a:pt x="102" y="192"/>
                  </a:cubicBezTo>
                  <a:cubicBezTo>
                    <a:pt x="100" y="197"/>
                    <a:pt x="99" y="203"/>
                    <a:pt x="99" y="209"/>
                  </a:cubicBezTo>
                  <a:cubicBezTo>
                    <a:pt x="114" y="209"/>
                    <a:pt x="114" y="209"/>
                    <a:pt x="114" y="209"/>
                  </a:cubicBezTo>
                  <a:cubicBezTo>
                    <a:pt x="114" y="205"/>
                    <a:pt x="114" y="202"/>
                    <a:pt x="115" y="199"/>
                  </a:cubicBezTo>
                  <a:cubicBezTo>
                    <a:pt x="116" y="195"/>
                    <a:pt x="118" y="192"/>
                    <a:pt x="120" y="190"/>
                  </a:cubicBezTo>
                  <a:cubicBezTo>
                    <a:pt x="121" y="187"/>
                    <a:pt x="124" y="185"/>
                    <a:pt x="127" y="184"/>
                  </a:cubicBezTo>
                  <a:cubicBezTo>
                    <a:pt x="130" y="182"/>
                    <a:pt x="133" y="181"/>
                    <a:pt x="137" y="181"/>
                  </a:cubicBezTo>
                  <a:cubicBezTo>
                    <a:pt x="144" y="181"/>
                    <a:pt x="149" y="183"/>
                    <a:pt x="153" y="186"/>
                  </a:cubicBezTo>
                  <a:cubicBezTo>
                    <a:pt x="158" y="190"/>
                    <a:pt x="160" y="195"/>
                    <a:pt x="160" y="202"/>
                  </a:cubicBezTo>
                  <a:cubicBezTo>
                    <a:pt x="160" y="205"/>
                    <a:pt x="159" y="208"/>
                    <a:pt x="158" y="211"/>
                  </a:cubicBezTo>
                  <a:cubicBezTo>
                    <a:pt x="156" y="214"/>
                    <a:pt x="155" y="216"/>
                    <a:pt x="153" y="218"/>
                  </a:cubicBezTo>
                  <a:cubicBezTo>
                    <a:pt x="150" y="219"/>
                    <a:pt x="148" y="221"/>
                    <a:pt x="145" y="222"/>
                  </a:cubicBezTo>
                  <a:cubicBezTo>
                    <a:pt x="142" y="223"/>
                    <a:pt x="139" y="223"/>
                    <a:pt x="136" y="223"/>
                  </a:cubicBezTo>
                  <a:cubicBezTo>
                    <a:pt x="131" y="223"/>
                    <a:pt x="131" y="223"/>
                    <a:pt x="131" y="223"/>
                  </a:cubicBezTo>
                  <a:cubicBezTo>
                    <a:pt x="130" y="223"/>
                    <a:pt x="130" y="223"/>
                    <a:pt x="129" y="223"/>
                  </a:cubicBezTo>
                  <a:cubicBezTo>
                    <a:pt x="129" y="236"/>
                    <a:pt x="129" y="236"/>
                    <a:pt x="129" y="236"/>
                  </a:cubicBezTo>
                  <a:cubicBezTo>
                    <a:pt x="132" y="236"/>
                    <a:pt x="135" y="235"/>
                    <a:pt x="138" y="235"/>
                  </a:cubicBezTo>
                  <a:cubicBezTo>
                    <a:pt x="142" y="235"/>
                    <a:pt x="146" y="236"/>
                    <a:pt x="149" y="237"/>
                  </a:cubicBezTo>
                  <a:cubicBezTo>
                    <a:pt x="152" y="238"/>
                    <a:pt x="155" y="240"/>
                    <a:pt x="157" y="242"/>
                  </a:cubicBezTo>
                  <a:cubicBezTo>
                    <a:pt x="160" y="244"/>
                    <a:pt x="161" y="246"/>
                    <a:pt x="163" y="250"/>
                  </a:cubicBezTo>
                  <a:cubicBezTo>
                    <a:pt x="164" y="253"/>
                    <a:pt x="165" y="256"/>
                    <a:pt x="165" y="260"/>
                  </a:cubicBezTo>
                  <a:cubicBezTo>
                    <a:pt x="165" y="264"/>
                    <a:pt x="164" y="268"/>
                    <a:pt x="163" y="271"/>
                  </a:cubicBezTo>
                  <a:cubicBezTo>
                    <a:pt x="161" y="274"/>
                    <a:pt x="159" y="276"/>
                    <a:pt x="157" y="27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736520" y="3017781"/>
            <a:ext cx="487184" cy="487184"/>
            <a:chOff x="2736520" y="3017781"/>
            <a:chExt cx="487184" cy="487184"/>
          </a:xfrm>
        </p:grpSpPr>
        <p:sp>
          <p:nvSpPr>
            <p:cNvPr id="64" name="Oval 63"/>
            <p:cNvSpPr/>
            <p:nvPr/>
          </p:nvSpPr>
          <p:spPr>
            <a:xfrm>
              <a:off x="2736520" y="3017781"/>
              <a:ext cx="487184" cy="48718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Freeform 78"/>
            <p:cNvSpPr>
              <a:spLocks noEditPoints="1"/>
            </p:cNvSpPr>
            <p:nvPr/>
          </p:nvSpPr>
          <p:spPr bwMode="auto">
            <a:xfrm>
              <a:off x="2866780" y="3148042"/>
              <a:ext cx="226664" cy="226662"/>
            </a:xfrm>
            <a:custGeom>
              <a:avLst/>
              <a:gdLst>
                <a:gd name="T0" fmla="*/ 351 w 353"/>
                <a:gd name="T1" fmla="*/ 171 h 353"/>
                <a:gd name="T2" fmla="*/ 289 w 353"/>
                <a:gd name="T3" fmla="*/ 109 h 353"/>
                <a:gd name="T4" fmla="*/ 289 w 353"/>
                <a:gd name="T5" fmla="*/ 24 h 353"/>
                <a:gd name="T6" fmla="*/ 281 w 353"/>
                <a:gd name="T7" fmla="*/ 16 h 353"/>
                <a:gd name="T8" fmla="*/ 233 w 353"/>
                <a:gd name="T9" fmla="*/ 16 h 353"/>
                <a:gd name="T10" fmla="*/ 225 w 353"/>
                <a:gd name="T11" fmla="*/ 24 h 353"/>
                <a:gd name="T12" fmla="*/ 225 w 353"/>
                <a:gd name="T13" fmla="*/ 45 h 353"/>
                <a:gd name="T14" fmla="*/ 182 w 353"/>
                <a:gd name="T15" fmla="*/ 2 h 353"/>
                <a:gd name="T16" fmla="*/ 177 w 353"/>
                <a:gd name="T17" fmla="*/ 0 h 353"/>
                <a:gd name="T18" fmla="*/ 171 w 353"/>
                <a:gd name="T19" fmla="*/ 2 h 353"/>
                <a:gd name="T20" fmla="*/ 2 w 353"/>
                <a:gd name="T21" fmla="*/ 171 h 353"/>
                <a:gd name="T22" fmla="*/ 0 w 353"/>
                <a:gd name="T23" fmla="*/ 176 h 353"/>
                <a:gd name="T24" fmla="*/ 8 w 353"/>
                <a:gd name="T25" fmla="*/ 184 h 353"/>
                <a:gd name="T26" fmla="*/ 14 w 353"/>
                <a:gd name="T27" fmla="*/ 182 h 353"/>
                <a:gd name="T28" fmla="*/ 48 w 353"/>
                <a:gd name="T29" fmla="*/ 148 h 353"/>
                <a:gd name="T30" fmla="*/ 48 w 353"/>
                <a:gd name="T31" fmla="*/ 345 h 353"/>
                <a:gd name="T32" fmla="*/ 56 w 353"/>
                <a:gd name="T33" fmla="*/ 353 h 353"/>
                <a:gd name="T34" fmla="*/ 297 w 353"/>
                <a:gd name="T35" fmla="*/ 353 h 353"/>
                <a:gd name="T36" fmla="*/ 305 w 353"/>
                <a:gd name="T37" fmla="*/ 345 h 353"/>
                <a:gd name="T38" fmla="*/ 305 w 353"/>
                <a:gd name="T39" fmla="*/ 148 h 353"/>
                <a:gd name="T40" fmla="*/ 339 w 353"/>
                <a:gd name="T41" fmla="*/ 182 h 353"/>
                <a:gd name="T42" fmla="*/ 345 w 353"/>
                <a:gd name="T43" fmla="*/ 184 h 353"/>
                <a:gd name="T44" fmla="*/ 353 w 353"/>
                <a:gd name="T45" fmla="*/ 176 h 353"/>
                <a:gd name="T46" fmla="*/ 351 w 353"/>
                <a:gd name="T47" fmla="*/ 171 h 353"/>
                <a:gd name="T48" fmla="*/ 241 w 353"/>
                <a:gd name="T49" fmla="*/ 32 h 353"/>
                <a:gd name="T50" fmla="*/ 273 w 353"/>
                <a:gd name="T51" fmla="*/ 32 h 353"/>
                <a:gd name="T52" fmla="*/ 273 w 353"/>
                <a:gd name="T53" fmla="*/ 93 h 353"/>
                <a:gd name="T54" fmla="*/ 241 w 353"/>
                <a:gd name="T55" fmla="*/ 61 h 353"/>
                <a:gd name="T56" fmla="*/ 241 w 353"/>
                <a:gd name="T57" fmla="*/ 32 h 353"/>
                <a:gd name="T58" fmla="*/ 128 w 353"/>
                <a:gd name="T59" fmla="*/ 337 h 353"/>
                <a:gd name="T60" fmla="*/ 64 w 353"/>
                <a:gd name="T61" fmla="*/ 337 h 353"/>
                <a:gd name="T62" fmla="*/ 64 w 353"/>
                <a:gd name="T63" fmla="*/ 321 h 353"/>
                <a:gd name="T64" fmla="*/ 128 w 353"/>
                <a:gd name="T65" fmla="*/ 321 h 353"/>
                <a:gd name="T66" fmla="*/ 128 w 353"/>
                <a:gd name="T67" fmla="*/ 337 h 353"/>
                <a:gd name="T68" fmla="*/ 209 w 353"/>
                <a:gd name="T69" fmla="*/ 337 h 353"/>
                <a:gd name="T70" fmla="*/ 144 w 353"/>
                <a:gd name="T71" fmla="*/ 337 h 353"/>
                <a:gd name="T72" fmla="*/ 144 w 353"/>
                <a:gd name="T73" fmla="*/ 208 h 353"/>
                <a:gd name="T74" fmla="*/ 209 w 353"/>
                <a:gd name="T75" fmla="*/ 208 h 353"/>
                <a:gd name="T76" fmla="*/ 209 w 353"/>
                <a:gd name="T77" fmla="*/ 337 h 353"/>
                <a:gd name="T78" fmla="*/ 289 w 353"/>
                <a:gd name="T79" fmla="*/ 337 h 353"/>
                <a:gd name="T80" fmla="*/ 225 w 353"/>
                <a:gd name="T81" fmla="*/ 337 h 353"/>
                <a:gd name="T82" fmla="*/ 225 w 353"/>
                <a:gd name="T83" fmla="*/ 321 h 353"/>
                <a:gd name="T84" fmla="*/ 289 w 353"/>
                <a:gd name="T85" fmla="*/ 321 h 353"/>
                <a:gd name="T86" fmla="*/ 289 w 353"/>
                <a:gd name="T87" fmla="*/ 337 h 353"/>
                <a:gd name="T88" fmla="*/ 289 w 353"/>
                <a:gd name="T89" fmla="*/ 305 h 353"/>
                <a:gd name="T90" fmla="*/ 225 w 353"/>
                <a:gd name="T91" fmla="*/ 305 h 353"/>
                <a:gd name="T92" fmla="*/ 225 w 353"/>
                <a:gd name="T93" fmla="*/ 200 h 353"/>
                <a:gd name="T94" fmla="*/ 217 w 353"/>
                <a:gd name="T95" fmla="*/ 192 h 353"/>
                <a:gd name="T96" fmla="*/ 136 w 353"/>
                <a:gd name="T97" fmla="*/ 192 h 353"/>
                <a:gd name="T98" fmla="*/ 128 w 353"/>
                <a:gd name="T99" fmla="*/ 200 h 353"/>
                <a:gd name="T100" fmla="*/ 128 w 353"/>
                <a:gd name="T101" fmla="*/ 305 h 353"/>
                <a:gd name="T102" fmla="*/ 64 w 353"/>
                <a:gd name="T103" fmla="*/ 305 h 353"/>
                <a:gd name="T104" fmla="*/ 64 w 353"/>
                <a:gd name="T105" fmla="*/ 132 h 353"/>
                <a:gd name="T106" fmla="*/ 177 w 353"/>
                <a:gd name="T107" fmla="*/ 19 h 353"/>
                <a:gd name="T108" fmla="*/ 289 w 353"/>
                <a:gd name="T109" fmla="*/ 132 h 353"/>
                <a:gd name="T110" fmla="*/ 289 w 353"/>
                <a:gd name="T111" fmla="*/ 305 h 353"/>
                <a:gd name="T112" fmla="*/ 185 w 353"/>
                <a:gd name="T113" fmla="*/ 289 h 353"/>
                <a:gd name="T114" fmla="*/ 193 w 353"/>
                <a:gd name="T115" fmla="*/ 281 h 353"/>
                <a:gd name="T116" fmla="*/ 185 w 353"/>
                <a:gd name="T117" fmla="*/ 273 h 353"/>
                <a:gd name="T118" fmla="*/ 177 w 353"/>
                <a:gd name="T119" fmla="*/ 281 h 353"/>
                <a:gd name="T120" fmla="*/ 185 w 353"/>
                <a:gd name="T121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53">
                  <a:moveTo>
                    <a:pt x="351" y="171"/>
                  </a:moveTo>
                  <a:cubicBezTo>
                    <a:pt x="289" y="109"/>
                    <a:pt x="289" y="109"/>
                    <a:pt x="289" y="109"/>
                  </a:cubicBezTo>
                  <a:cubicBezTo>
                    <a:pt x="289" y="24"/>
                    <a:pt x="289" y="24"/>
                    <a:pt x="289" y="24"/>
                  </a:cubicBezTo>
                  <a:cubicBezTo>
                    <a:pt x="289" y="19"/>
                    <a:pt x="285" y="16"/>
                    <a:pt x="281" y="16"/>
                  </a:cubicBezTo>
                  <a:cubicBezTo>
                    <a:pt x="233" y="16"/>
                    <a:pt x="233" y="16"/>
                    <a:pt x="233" y="16"/>
                  </a:cubicBezTo>
                  <a:cubicBezTo>
                    <a:pt x="228" y="16"/>
                    <a:pt x="225" y="19"/>
                    <a:pt x="225" y="24"/>
                  </a:cubicBezTo>
                  <a:cubicBezTo>
                    <a:pt x="225" y="45"/>
                    <a:pt x="225" y="45"/>
                    <a:pt x="225" y="45"/>
                  </a:cubicBezTo>
                  <a:cubicBezTo>
                    <a:pt x="182" y="2"/>
                    <a:pt x="182" y="2"/>
                    <a:pt x="182" y="2"/>
                  </a:cubicBezTo>
                  <a:cubicBezTo>
                    <a:pt x="181" y="1"/>
                    <a:pt x="179" y="0"/>
                    <a:pt x="177" y="0"/>
                  </a:cubicBezTo>
                  <a:cubicBezTo>
                    <a:pt x="174" y="0"/>
                    <a:pt x="172" y="1"/>
                    <a:pt x="171" y="2"/>
                  </a:cubicBezTo>
                  <a:cubicBezTo>
                    <a:pt x="2" y="171"/>
                    <a:pt x="2" y="171"/>
                    <a:pt x="2" y="171"/>
                  </a:cubicBezTo>
                  <a:cubicBezTo>
                    <a:pt x="1" y="172"/>
                    <a:pt x="0" y="174"/>
                    <a:pt x="0" y="176"/>
                  </a:cubicBezTo>
                  <a:cubicBezTo>
                    <a:pt x="0" y="181"/>
                    <a:pt x="3" y="184"/>
                    <a:pt x="8" y="184"/>
                  </a:cubicBezTo>
                  <a:cubicBezTo>
                    <a:pt x="10" y="184"/>
                    <a:pt x="12" y="184"/>
                    <a:pt x="14" y="182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8" y="345"/>
                    <a:pt x="48" y="345"/>
                    <a:pt x="48" y="345"/>
                  </a:cubicBezTo>
                  <a:cubicBezTo>
                    <a:pt x="48" y="349"/>
                    <a:pt x="52" y="353"/>
                    <a:pt x="56" y="353"/>
                  </a:cubicBezTo>
                  <a:cubicBezTo>
                    <a:pt x="297" y="353"/>
                    <a:pt x="297" y="353"/>
                    <a:pt x="297" y="353"/>
                  </a:cubicBezTo>
                  <a:cubicBezTo>
                    <a:pt x="301" y="353"/>
                    <a:pt x="305" y="349"/>
                    <a:pt x="305" y="345"/>
                  </a:cubicBezTo>
                  <a:cubicBezTo>
                    <a:pt x="305" y="148"/>
                    <a:pt x="305" y="148"/>
                    <a:pt x="305" y="148"/>
                  </a:cubicBezTo>
                  <a:cubicBezTo>
                    <a:pt x="339" y="182"/>
                    <a:pt x="339" y="182"/>
                    <a:pt x="339" y="182"/>
                  </a:cubicBezTo>
                  <a:cubicBezTo>
                    <a:pt x="341" y="184"/>
                    <a:pt x="343" y="184"/>
                    <a:pt x="345" y="184"/>
                  </a:cubicBezTo>
                  <a:cubicBezTo>
                    <a:pt x="350" y="184"/>
                    <a:pt x="353" y="181"/>
                    <a:pt x="353" y="176"/>
                  </a:cubicBezTo>
                  <a:cubicBezTo>
                    <a:pt x="353" y="174"/>
                    <a:pt x="352" y="172"/>
                    <a:pt x="351" y="171"/>
                  </a:cubicBezTo>
                  <a:moveTo>
                    <a:pt x="241" y="32"/>
                  </a:moveTo>
                  <a:cubicBezTo>
                    <a:pt x="273" y="32"/>
                    <a:pt x="273" y="32"/>
                    <a:pt x="273" y="32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41" y="61"/>
                    <a:pt x="241" y="61"/>
                    <a:pt x="241" y="61"/>
                  </a:cubicBezTo>
                  <a:lnTo>
                    <a:pt x="241" y="32"/>
                  </a:lnTo>
                  <a:close/>
                  <a:moveTo>
                    <a:pt x="128" y="337"/>
                  </a:moveTo>
                  <a:cubicBezTo>
                    <a:pt x="64" y="337"/>
                    <a:pt x="64" y="337"/>
                    <a:pt x="64" y="337"/>
                  </a:cubicBezTo>
                  <a:cubicBezTo>
                    <a:pt x="64" y="321"/>
                    <a:pt x="64" y="321"/>
                    <a:pt x="64" y="321"/>
                  </a:cubicBezTo>
                  <a:cubicBezTo>
                    <a:pt x="128" y="321"/>
                    <a:pt x="128" y="321"/>
                    <a:pt x="128" y="321"/>
                  </a:cubicBezTo>
                  <a:lnTo>
                    <a:pt x="128" y="337"/>
                  </a:lnTo>
                  <a:close/>
                  <a:moveTo>
                    <a:pt x="209" y="337"/>
                  </a:moveTo>
                  <a:cubicBezTo>
                    <a:pt x="144" y="337"/>
                    <a:pt x="144" y="337"/>
                    <a:pt x="144" y="337"/>
                  </a:cubicBezTo>
                  <a:cubicBezTo>
                    <a:pt x="144" y="208"/>
                    <a:pt x="144" y="208"/>
                    <a:pt x="144" y="208"/>
                  </a:cubicBezTo>
                  <a:cubicBezTo>
                    <a:pt x="209" y="208"/>
                    <a:pt x="209" y="208"/>
                    <a:pt x="209" y="208"/>
                  </a:cubicBezTo>
                  <a:lnTo>
                    <a:pt x="209" y="337"/>
                  </a:lnTo>
                  <a:close/>
                  <a:moveTo>
                    <a:pt x="289" y="337"/>
                  </a:moveTo>
                  <a:cubicBezTo>
                    <a:pt x="225" y="337"/>
                    <a:pt x="225" y="337"/>
                    <a:pt x="225" y="337"/>
                  </a:cubicBezTo>
                  <a:cubicBezTo>
                    <a:pt x="225" y="321"/>
                    <a:pt x="225" y="321"/>
                    <a:pt x="225" y="321"/>
                  </a:cubicBezTo>
                  <a:cubicBezTo>
                    <a:pt x="289" y="321"/>
                    <a:pt x="289" y="321"/>
                    <a:pt x="289" y="321"/>
                  </a:cubicBezTo>
                  <a:lnTo>
                    <a:pt x="289" y="337"/>
                  </a:lnTo>
                  <a:close/>
                  <a:moveTo>
                    <a:pt x="289" y="305"/>
                  </a:moveTo>
                  <a:cubicBezTo>
                    <a:pt x="225" y="305"/>
                    <a:pt x="225" y="305"/>
                    <a:pt x="225" y="305"/>
                  </a:cubicBezTo>
                  <a:cubicBezTo>
                    <a:pt x="225" y="200"/>
                    <a:pt x="225" y="200"/>
                    <a:pt x="225" y="200"/>
                  </a:cubicBezTo>
                  <a:cubicBezTo>
                    <a:pt x="225" y="196"/>
                    <a:pt x="221" y="192"/>
                    <a:pt x="217" y="192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32" y="192"/>
                    <a:pt x="128" y="196"/>
                    <a:pt x="128" y="200"/>
                  </a:cubicBezTo>
                  <a:cubicBezTo>
                    <a:pt x="128" y="305"/>
                    <a:pt x="128" y="305"/>
                    <a:pt x="128" y="305"/>
                  </a:cubicBezTo>
                  <a:cubicBezTo>
                    <a:pt x="64" y="305"/>
                    <a:pt x="64" y="305"/>
                    <a:pt x="64" y="305"/>
                  </a:cubicBezTo>
                  <a:cubicBezTo>
                    <a:pt x="64" y="132"/>
                    <a:pt x="64" y="132"/>
                    <a:pt x="64" y="132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289" y="132"/>
                    <a:pt x="289" y="132"/>
                    <a:pt x="289" y="132"/>
                  </a:cubicBezTo>
                  <a:lnTo>
                    <a:pt x="289" y="305"/>
                  </a:lnTo>
                  <a:close/>
                  <a:moveTo>
                    <a:pt x="185" y="289"/>
                  </a:moveTo>
                  <a:cubicBezTo>
                    <a:pt x="189" y="289"/>
                    <a:pt x="193" y="285"/>
                    <a:pt x="193" y="281"/>
                  </a:cubicBezTo>
                  <a:cubicBezTo>
                    <a:pt x="193" y="276"/>
                    <a:pt x="189" y="273"/>
                    <a:pt x="185" y="273"/>
                  </a:cubicBezTo>
                  <a:cubicBezTo>
                    <a:pt x="180" y="273"/>
                    <a:pt x="177" y="276"/>
                    <a:pt x="177" y="281"/>
                  </a:cubicBezTo>
                  <a:cubicBezTo>
                    <a:pt x="177" y="285"/>
                    <a:pt x="180" y="289"/>
                    <a:pt x="185" y="28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920297" y="1731236"/>
            <a:ext cx="487184" cy="487184"/>
            <a:chOff x="5920297" y="1731236"/>
            <a:chExt cx="487184" cy="487184"/>
          </a:xfrm>
        </p:grpSpPr>
        <p:sp>
          <p:nvSpPr>
            <p:cNvPr id="51" name="Oval 50"/>
            <p:cNvSpPr/>
            <p:nvPr/>
          </p:nvSpPr>
          <p:spPr>
            <a:xfrm>
              <a:off x="5920297" y="1731236"/>
              <a:ext cx="487184" cy="487184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6050557" y="1871044"/>
              <a:ext cx="226664" cy="207568"/>
            </a:xfrm>
            <a:custGeom>
              <a:avLst/>
              <a:gdLst>
                <a:gd name="T0" fmla="*/ 96 w 353"/>
                <a:gd name="T1" fmla="*/ 121 h 322"/>
                <a:gd name="T2" fmla="*/ 72 w 353"/>
                <a:gd name="T3" fmla="*/ 145 h 322"/>
                <a:gd name="T4" fmla="*/ 96 w 353"/>
                <a:gd name="T5" fmla="*/ 169 h 322"/>
                <a:gd name="T6" fmla="*/ 120 w 353"/>
                <a:gd name="T7" fmla="*/ 145 h 322"/>
                <a:gd name="T8" fmla="*/ 96 w 353"/>
                <a:gd name="T9" fmla="*/ 121 h 322"/>
                <a:gd name="T10" fmla="*/ 176 w 353"/>
                <a:gd name="T11" fmla="*/ 121 h 322"/>
                <a:gd name="T12" fmla="*/ 152 w 353"/>
                <a:gd name="T13" fmla="*/ 145 h 322"/>
                <a:gd name="T14" fmla="*/ 176 w 353"/>
                <a:gd name="T15" fmla="*/ 169 h 322"/>
                <a:gd name="T16" fmla="*/ 200 w 353"/>
                <a:gd name="T17" fmla="*/ 145 h 322"/>
                <a:gd name="T18" fmla="*/ 176 w 353"/>
                <a:gd name="T19" fmla="*/ 121 h 322"/>
                <a:gd name="T20" fmla="*/ 176 w 353"/>
                <a:gd name="T21" fmla="*/ 0 h 322"/>
                <a:gd name="T22" fmla="*/ 0 w 353"/>
                <a:gd name="T23" fmla="*/ 145 h 322"/>
                <a:gd name="T24" fmla="*/ 50 w 353"/>
                <a:gd name="T25" fmla="*/ 246 h 322"/>
                <a:gd name="T26" fmla="*/ 32 w 353"/>
                <a:gd name="T27" fmla="*/ 322 h 322"/>
                <a:gd name="T28" fmla="*/ 127 w 353"/>
                <a:gd name="T29" fmla="*/ 284 h 322"/>
                <a:gd name="T30" fmla="*/ 176 w 353"/>
                <a:gd name="T31" fmla="*/ 289 h 322"/>
                <a:gd name="T32" fmla="*/ 353 w 353"/>
                <a:gd name="T33" fmla="*/ 145 h 322"/>
                <a:gd name="T34" fmla="*/ 176 w 353"/>
                <a:gd name="T35" fmla="*/ 0 h 322"/>
                <a:gd name="T36" fmla="*/ 176 w 353"/>
                <a:gd name="T37" fmla="*/ 273 h 322"/>
                <a:gd name="T38" fmla="*/ 130 w 353"/>
                <a:gd name="T39" fmla="*/ 268 h 322"/>
                <a:gd name="T40" fmla="*/ 127 w 353"/>
                <a:gd name="T41" fmla="*/ 268 h 322"/>
                <a:gd name="T42" fmla="*/ 121 w 353"/>
                <a:gd name="T43" fmla="*/ 269 h 322"/>
                <a:gd name="T44" fmla="*/ 54 w 353"/>
                <a:gd name="T45" fmla="*/ 295 h 322"/>
                <a:gd name="T46" fmla="*/ 65 w 353"/>
                <a:gd name="T47" fmla="*/ 249 h 322"/>
                <a:gd name="T48" fmla="*/ 60 w 353"/>
                <a:gd name="T49" fmla="*/ 233 h 322"/>
                <a:gd name="T50" fmla="*/ 16 w 353"/>
                <a:gd name="T51" fmla="*/ 145 h 322"/>
                <a:gd name="T52" fmla="*/ 176 w 353"/>
                <a:gd name="T53" fmla="*/ 17 h 322"/>
                <a:gd name="T54" fmla="*/ 337 w 353"/>
                <a:gd name="T55" fmla="*/ 145 h 322"/>
                <a:gd name="T56" fmla="*/ 176 w 353"/>
                <a:gd name="T57" fmla="*/ 273 h 322"/>
                <a:gd name="T58" fmla="*/ 256 w 353"/>
                <a:gd name="T59" fmla="*/ 121 h 322"/>
                <a:gd name="T60" fmla="*/ 232 w 353"/>
                <a:gd name="T61" fmla="*/ 145 h 322"/>
                <a:gd name="T62" fmla="*/ 256 w 353"/>
                <a:gd name="T63" fmla="*/ 169 h 322"/>
                <a:gd name="T64" fmla="*/ 281 w 353"/>
                <a:gd name="T65" fmla="*/ 145 h 322"/>
                <a:gd name="T66" fmla="*/ 256 w 353"/>
                <a:gd name="T67" fmla="*/ 12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3" h="322">
                  <a:moveTo>
                    <a:pt x="96" y="121"/>
                  </a:moveTo>
                  <a:cubicBezTo>
                    <a:pt x="83" y="121"/>
                    <a:pt x="72" y="132"/>
                    <a:pt x="72" y="145"/>
                  </a:cubicBezTo>
                  <a:cubicBezTo>
                    <a:pt x="72" y="158"/>
                    <a:pt x="83" y="169"/>
                    <a:pt x="96" y="169"/>
                  </a:cubicBezTo>
                  <a:cubicBezTo>
                    <a:pt x="109" y="169"/>
                    <a:pt x="120" y="158"/>
                    <a:pt x="120" y="145"/>
                  </a:cubicBezTo>
                  <a:cubicBezTo>
                    <a:pt x="120" y="132"/>
                    <a:pt x="109" y="121"/>
                    <a:pt x="96" y="121"/>
                  </a:cubicBezTo>
                  <a:moveTo>
                    <a:pt x="176" y="121"/>
                  </a:moveTo>
                  <a:cubicBezTo>
                    <a:pt x="163" y="121"/>
                    <a:pt x="152" y="132"/>
                    <a:pt x="152" y="145"/>
                  </a:cubicBezTo>
                  <a:cubicBezTo>
                    <a:pt x="152" y="158"/>
                    <a:pt x="163" y="169"/>
                    <a:pt x="176" y="169"/>
                  </a:cubicBezTo>
                  <a:cubicBezTo>
                    <a:pt x="189" y="169"/>
                    <a:pt x="200" y="158"/>
                    <a:pt x="200" y="145"/>
                  </a:cubicBezTo>
                  <a:cubicBezTo>
                    <a:pt x="200" y="132"/>
                    <a:pt x="189" y="121"/>
                    <a:pt x="176" y="121"/>
                  </a:cubicBezTo>
                  <a:moveTo>
                    <a:pt x="176" y="0"/>
                  </a:moveTo>
                  <a:cubicBezTo>
                    <a:pt x="79" y="0"/>
                    <a:pt x="0" y="65"/>
                    <a:pt x="0" y="145"/>
                  </a:cubicBezTo>
                  <a:cubicBezTo>
                    <a:pt x="0" y="184"/>
                    <a:pt x="19" y="220"/>
                    <a:pt x="50" y="246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127" y="284"/>
                    <a:pt x="127" y="284"/>
                    <a:pt x="127" y="284"/>
                  </a:cubicBezTo>
                  <a:cubicBezTo>
                    <a:pt x="142" y="287"/>
                    <a:pt x="159" y="289"/>
                    <a:pt x="176" y="289"/>
                  </a:cubicBezTo>
                  <a:cubicBezTo>
                    <a:pt x="274" y="289"/>
                    <a:pt x="353" y="225"/>
                    <a:pt x="353" y="145"/>
                  </a:cubicBezTo>
                  <a:cubicBezTo>
                    <a:pt x="353" y="65"/>
                    <a:pt x="274" y="0"/>
                    <a:pt x="176" y="0"/>
                  </a:cubicBezTo>
                  <a:moveTo>
                    <a:pt x="176" y="273"/>
                  </a:moveTo>
                  <a:cubicBezTo>
                    <a:pt x="161" y="273"/>
                    <a:pt x="145" y="272"/>
                    <a:pt x="130" y="268"/>
                  </a:cubicBezTo>
                  <a:cubicBezTo>
                    <a:pt x="129" y="268"/>
                    <a:pt x="128" y="268"/>
                    <a:pt x="127" y="268"/>
                  </a:cubicBezTo>
                  <a:cubicBezTo>
                    <a:pt x="125" y="268"/>
                    <a:pt x="123" y="268"/>
                    <a:pt x="121" y="26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65" y="249"/>
                    <a:pt x="65" y="249"/>
                    <a:pt x="65" y="249"/>
                  </a:cubicBezTo>
                  <a:cubicBezTo>
                    <a:pt x="67" y="243"/>
                    <a:pt x="65" y="237"/>
                    <a:pt x="60" y="233"/>
                  </a:cubicBezTo>
                  <a:cubicBezTo>
                    <a:pt x="31" y="209"/>
                    <a:pt x="16" y="178"/>
                    <a:pt x="16" y="145"/>
                  </a:cubicBezTo>
                  <a:cubicBezTo>
                    <a:pt x="16" y="74"/>
                    <a:pt x="88" y="17"/>
                    <a:pt x="176" y="17"/>
                  </a:cubicBezTo>
                  <a:cubicBezTo>
                    <a:pt x="265" y="17"/>
                    <a:pt x="337" y="74"/>
                    <a:pt x="337" y="145"/>
                  </a:cubicBezTo>
                  <a:cubicBezTo>
                    <a:pt x="337" y="216"/>
                    <a:pt x="265" y="273"/>
                    <a:pt x="176" y="273"/>
                  </a:cubicBezTo>
                  <a:moveTo>
                    <a:pt x="256" y="121"/>
                  </a:moveTo>
                  <a:cubicBezTo>
                    <a:pt x="243" y="121"/>
                    <a:pt x="232" y="132"/>
                    <a:pt x="232" y="145"/>
                  </a:cubicBezTo>
                  <a:cubicBezTo>
                    <a:pt x="232" y="158"/>
                    <a:pt x="243" y="169"/>
                    <a:pt x="256" y="169"/>
                  </a:cubicBezTo>
                  <a:cubicBezTo>
                    <a:pt x="270" y="169"/>
                    <a:pt x="281" y="158"/>
                    <a:pt x="281" y="145"/>
                  </a:cubicBezTo>
                  <a:cubicBezTo>
                    <a:pt x="281" y="132"/>
                    <a:pt x="270" y="121"/>
                    <a:pt x="256" y="12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121679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 95"/>
          <p:cNvSpPr/>
          <p:nvPr/>
        </p:nvSpPr>
        <p:spPr>
          <a:xfrm>
            <a:off x="7421818" y="1760404"/>
            <a:ext cx="948411" cy="215721"/>
          </a:xfrm>
          <a:custGeom>
            <a:avLst/>
            <a:gdLst>
              <a:gd name="connsiteX0" fmla="*/ 839516 w 948411"/>
              <a:gd name="connsiteY0" fmla="*/ 0 h 215721"/>
              <a:gd name="connsiteX1" fmla="*/ 948411 w 948411"/>
              <a:gd name="connsiteY1" fmla="*/ 107861 h 215721"/>
              <a:gd name="connsiteX2" fmla="*/ 839516 w 948411"/>
              <a:gd name="connsiteY2" fmla="*/ 215721 h 215721"/>
              <a:gd name="connsiteX3" fmla="*/ 839516 w 948411"/>
              <a:gd name="connsiteY3" fmla="*/ 160674 h 215721"/>
              <a:gd name="connsiteX4" fmla="*/ 671955 w 948411"/>
              <a:gd name="connsiteY4" fmla="*/ 160674 h 215721"/>
              <a:gd name="connsiteX5" fmla="*/ 260317 w 948411"/>
              <a:gd name="connsiteY5" fmla="*/ 160674 h 215721"/>
              <a:gd name="connsiteX6" fmla="*/ 0 w 948411"/>
              <a:gd name="connsiteY6" fmla="*/ 160674 h 215721"/>
              <a:gd name="connsiteX7" fmla="*/ 0 w 948411"/>
              <a:gd name="connsiteY7" fmla="*/ 55047 h 215721"/>
              <a:gd name="connsiteX8" fmla="*/ 260317 w 948411"/>
              <a:gd name="connsiteY8" fmla="*/ 55047 h 215721"/>
              <a:gd name="connsiteX9" fmla="*/ 671955 w 948411"/>
              <a:gd name="connsiteY9" fmla="*/ 55047 h 215721"/>
              <a:gd name="connsiteX10" fmla="*/ 839516 w 948411"/>
              <a:gd name="connsiteY10" fmla="*/ 55047 h 21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411" h="215721">
                <a:moveTo>
                  <a:pt x="839516" y="0"/>
                </a:moveTo>
                <a:lnTo>
                  <a:pt x="948411" y="107861"/>
                </a:lnTo>
                <a:lnTo>
                  <a:pt x="839516" y="215721"/>
                </a:lnTo>
                <a:lnTo>
                  <a:pt x="839516" y="160674"/>
                </a:lnTo>
                <a:lnTo>
                  <a:pt x="671955" y="160674"/>
                </a:lnTo>
                <a:lnTo>
                  <a:pt x="260317" y="160674"/>
                </a:lnTo>
                <a:lnTo>
                  <a:pt x="0" y="160674"/>
                </a:lnTo>
                <a:lnTo>
                  <a:pt x="0" y="55047"/>
                </a:lnTo>
                <a:lnTo>
                  <a:pt x="260317" y="55047"/>
                </a:lnTo>
                <a:lnTo>
                  <a:pt x="671955" y="55047"/>
                </a:lnTo>
                <a:lnTo>
                  <a:pt x="839516" y="5504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Freeform 96"/>
          <p:cNvSpPr/>
          <p:nvPr/>
        </p:nvSpPr>
        <p:spPr>
          <a:xfrm>
            <a:off x="6478407" y="1815450"/>
            <a:ext cx="943411" cy="105627"/>
          </a:xfrm>
          <a:custGeom>
            <a:avLst/>
            <a:gdLst>
              <a:gd name="connsiteX0" fmla="*/ 0 w 943411"/>
              <a:gd name="connsiteY0" fmla="*/ 0 h 105627"/>
              <a:gd name="connsiteX1" fmla="*/ 371504 w 943411"/>
              <a:gd name="connsiteY1" fmla="*/ 0 h 105627"/>
              <a:gd name="connsiteX2" fmla="*/ 777960 w 943411"/>
              <a:gd name="connsiteY2" fmla="*/ 0 h 105627"/>
              <a:gd name="connsiteX3" fmla="*/ 943411 w 943411"/>
              <a:gd name="connsiteY3" fmla="*/ 0 h 105627"/>
              <a:gd name="connsiteX4" fmla="*/ 943411 w 943411"/>
              <a:gd name="connsiteY4" fmla="*/ 105627 h 105627"/>
              <a:gd name="connsiteX5" fmla="*/ 777960 w 943411"/>
              <a:gd name="connsiteY5" fmla="*/ 105627 h 105627"/>
              <a:gd name="connsiteX6" fmla="*/ 371504 w 943411"/>
              <a:gd name="connsiteY6" fmla="*/ 105627 h 105627"/>
              <a:gd name="connsiteX7" fmla="*/ 0 w 943411"/>
              <a:gd name="connsiteY7" fmla="*/ 105627 h 105627"/>
              <a:gd name="connsiteX8" fmla="*/ 53033 w 943411"/>
              <a:gd name="connsiteY8" fmla="*/ 53033 h 105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411" h="105627">
                <a:moveTo>
                  <a:pt x="0" y="0"/>
                </a:moveTo>
                <a:lnTo>
                  <a:pt x="371504" y="0"/>
                </a:lnTo>
                <a:lnTo>
                  <a:pt x="777960" y="0"/>
                </a:lnTo>
                <a:lnTo>
                  <a:pt x="943411" y="0"/>
                </a:lnTo>
                <a:lnTo>
                  <a:pt x="943411" y="105627"/>
                </a:lnTo>
                <a:lnTo>
                  <a:pt x="777960" y="105627"/>
                </a:lnTo>
                <a:lnTo>
                  <a:pt x="371504" y="105627"/>
                </a:lnTo>
                <a:lnTo>
                  <a:pt x="0" y="105627"/>
                </a:lnTo>
                <a:lnTo>
                  <a:pt x="53033" y="53033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Freeform 93"/>
          <p:cNvSpPr/>
          <p:nvPr/>
        </p:nvSpPr>
        <p:spPr>
          <a:xfrm>
            <a:off x="5520636" y="1760404"/>
            <a:ext cx="948411" cy="215721"/>
          </a:xfrm>
          <a:custGeom>
            <a:avLst/>
            <a:gdLst>
              <a:gd name="connsiteX0" fmla="*/ 839516 w 948411"/>
              <a:gd name="connsiteY0" fmla="*/ 0 h 215721"/>
              <a:gd name="connsiteX1" fmla="*/ 948411 w 948411"/>
              <a:gd name="connsiteY1" fmla="*/ 107861 h 215721"/>
              <a:gd name="connsiteX2" fmla="*/ 839516 w 948411"/>
              <a:gd name="connsiteY2" fmla="*/ 215721 h 215721"/>
              <a:gd name="connsiteX3" fmla="*/ 839516 w 948411"/>
              <a:gd name="connsiteY3" fmla="*/ 160674 h 215721"/>
              <a:gd name="connsiteX4" fmla="*/ 671955 w 948411"/>
              <a:gd name="connsiteY4" fmla="*/ 160674 h 215721"/>
              <a:gd name="connsiteX5" fmla="*/ 260317 w 948411"/>
              <a:gd name="connsiteY5" fmla="*/ 160674 h 215721"/>
              <a:gd name="connsiteX6" fmla="*/ 0 w 948411"/>
              <a:gd name="connsiteY6" fmla="*/ 160674 h 215721"/>
              <a:gd name="connsiteX7" fmla="*/ 0 w 948411"/>
              <a:gd name="connsiteY7" fmla="*/ 55047 h 215721"/>
              <a:gd name="connsiteX8" fmla="*/ 260317 w 948411"/>
              <a:gd name="connsiteY8" fmla="*/ 55047 h 215721"/>
              <a:gd name="connsiteX9" fmla="*/ 671955 w 948411"/>
              <a:gd name="connsiteY9" fmla="*/ 55047 h 215721"/>
              <a:gd name="connsiteX10" fmla="*/ 839516 w 948411"/>
              <a:gd name="connsiteY10" fmla="*/ 55047 h 21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411" h="215721">
                <a:moveTo>
                  <a:pt x="839516" y="0"/>
                </a:moveTo>
                <a:lnTo>
                  <a:pt x="948411" y="107861"/>
                </a:lnTo>
                <a:lnTo>
                  <a:pt x="839516" y="215721"/>
                </a:lnTo>
                <a:lnTo>
                  <a:pt x="839516" y="160674"/>
                </a:lnTo>
                <a:lnTo>
                  <a:pt x="671955" y="160674"/>
                </a:lnTo>
                <a:lnTo>
                  <a:pt x="260317" y="160674"/>
                </a:lnTo>
                <a:lnTo>
                  <a:pt x="0" y="160674"/>
                </a:lnTo>
                <a:lnTo>
                  <a:pt x="0" y="55047"/>
                </a:lnTo>
                <a:lnTo>
                  <a:pt x="260317" y="55047"/>
                </a:lnTo>
                <a:lnTo>
                  <a:pt x="671955" y="55047"/>
                </a:lnTo>
                <a:lnTo>
                  <a:pt x="839516" y="5504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Freeform 94"/>
          <p:cNvSpPr/>
          <p:nvPr/>
        </p:nvSpPr>
        <p:spPr>
          <a:xfrm>
            <a:off x="4577225" y="1815450"/>
            <a:ext cx="943411" cy="105627"/>
          </a:xfrm>
          <a:custGeom>
            <a:avLst/>
            <a:gdLst>
              <a:gd name="connsiteX0" fmla="*/ 0 w 943411"/>
              <a:gd name="connsiteY0" fmla="*/ 0 h 105627"/>
              <a:gd name="connsiteX1" fmla="*/ 371504 w 943411"/>
              <a:gd name="connsiteY1" fmla="*/ 0 h 105627"/>
              <a:gd name="connsiteX2" fmla="*/ 777960 w 943411"/>
              <a:gd name="connsiteY2" fmla="*/ 0 h 105627"/>
              <a:gd name="connsiteX3" fmla="*/ 943411 w 943411"/>
              <a:gd name="connsiteY3" fmla="*/ 0 h 105627"/>
              <a:gd name="connsiteX4" fmla="*/ 943411 w 943411"/>
              <a:gd name="connsiteY4" fmla="*/ 105627 h 105627"/>
              <a:gd name="connsiteX5" fmla="*/ 777960 w 943411"/>
              <a:gd name="connsiteY5" fmla="*/ 105627 h 105627"/>
              <a:gd name="connsiteX6" fmla="*/ 371504 w 943411"/>
              <a:gd name="connsiteY6" fmla="*/ 105627 h 105627"/>
              <a:gd name="connsiteX7" fmla="*/ 0 w 943411"/>
              <a:gd name="connsiteY7" fmla="*/ 105627 h 105627"/>
              <a:gd name="connsiteX8" fmla="*/ 53033 w 943411"/>
              <a:gd name="connsiteY8" fmla="*/ 53033 h 105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411" h="105627">
                <a:moveTo>
                  <a:pt x="0" y="0"/>
                </a:moveTo>
                <a:lnTo>
                  <a:pt x="371504" y="0"/>
                </a:lnTo>
                <a:lnTo>
                  <a:pt x="777960" y="0"/>
                </a:lnTo>
                <a:lnTo>
                  <a:pt x="943411" y="0"/>
                </a:lnTo>
                <a:lnTo>
                  <a:pt x="943411" y="105627"/>
                </a:lnTo>
                <a:lnTo>
                  <a:pt x="777960" y="105627"/>
                </a:lnTo>
                <a:lnTo>
                  <a:pt x="371504" y="105627"/>
                </a:lnTo>
                <a:lnTo>
                  <a:pt x="0" y="105627"/>
                </a:lnTo>
                <a:lnTo>
                  <a:pt x="53033" y="53033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Freeform 91"/>
          <p:cNvSpPr/>
          <p:nvPr/>
        </p:nvSpPr>
        <p:spPr>
          <a:xfrm>
            <a:off x="3620113" y="1760404"/>
            <a:ext cx="948411" cy="215721"/>
          </a:xfrm>
          <a:custGeom>
            <a:avLst/>
            <a:gdLst>
              <a:gd name="connsiteX0" fmla="*/ 839516 w 948411"/>
              <a:gd name="connsiteY0" fmla="*/ 0 h 215721"/>
              <a:gd name="connsiteX1" fmla="*/ 948411 w 948411"/>
              <a:gd name="connsiteY1" fmla="*/ 107861 h 215721"/>
              <a:gd name="connsiteX2" fmla="*/ 839516 w 948411"/>
              <a:gd name="connsiteY2" fmla="*/ 215721 h 215721"/>
              <a:gd name="connsiteX3" fmla="*/ 839516 w 948411"/>
              <a:gd name="connsiteY3" fmla="*/ 160674 h 215721"/>
              <a:gd name="connsiteX4" fmla="*/ 671955 w 948411"/>
              <a:gd name="connsiteY4" fmla="*/ 160674 h 215721"/>
              <a:gd name="connsiteX5" fmla="*/ 260317 w 948411"/>
              <a:gd name="connsiteY5" fmla="*/ 160674 h 215721"/>
              <a:gd name="connsiteX6" fmla="*/ 0 w 948411"/>
              <a:gd name="connsiteY6" fmla="*/ 160674 h 215721"/>
              <a:gd name="connsiteX7" fmla="*/ 0 w 948411"/>
              <a:gd name="connsiteY7" fmla="*/ 55047 h 215721"/>
              <a:gd name="connsiteX8" fmla="*/ 260317 w 948411"/>
              <a:gd name="connsiteY8" fmla="*/ 55047 h 215721"/>
              <a:gd name="connsiteX9" fmla="*/ 671955 w 948411"/>
              <a:gd name="connsiteY9" fmla="*/ 55047 h 215721"/>
              <a:gd name="connsiteX10" fmla="*/ 839516 w 948411"/>
              <a:gd name="connsiteY10" fmla="*/ 55047 h 21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411" h="215721">
                <a:moveTo>
                  <a:pt x="839516" y="0"/>
                </a:moveTo>
                <a:lnTo>
                  <a:pt x="948411" y="107861"/>
                </a:lnTo>
                <a:lnTo>
                  <a:pt x="839516" y="215721"/>
                </a:lnTo>
                <a:lnTo>
                  <a:pt x="839516" y="160674"/>
                </a:lnTo>
                <a:lnTo>
                  <a:pt x="671955" y="160674"/>
                </a:lnTo>
                <a:lnTo>
                  <a:pt x="260317" y="160674"/>
                </a:lnTo>
                <a:lnTo>
                  <a:pt x="0" y="160674"/>
                </a:lnTo>
                <a:lnTo>
                  <a:pt x="0" y="55047"/>
                </a:lnTo>
                <a:lnTo>
                  <a:pt x="260317" y="55047"/>
                </a:lnTo>
                <a:lnTo>
                  <a:pt x="671955" y="55047"/>
                </a:lnTo>
                <a:lnTo>
                  <a:pt x="839516" y="5504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Freeform 92"/>
          <p:cNvSpPr/>
          <p:nvPr/>
        </p:nvSpPr>
        <p:spPr>
          <a:xfrm>
            <a:off x="2676702" y="1815450"/>
            <a:ext cx="943411" cy="105627"/>
          </a:xfrm>
          <a:custGeom>
            <a:avLst/>
            <a:gdLst>
              <a:gd name="connsiteX0" fmla="*/ 0 w 943411"/>
              <a:gd name="connsiteY0" fmla="*/ 0 h 105627"/>
              <a:gd name="connsiteX1" fmla="*/ 371504 w 943411"/>
              <a:gd name="connsiteY1" fmla="*/ 0 h 105627"/>
              <a:gd name="connsiteX2" fmla="*/ 777960 w 943411"/>
              <a:gd name="connsiteY2" fmla="*/ 0 h 105627"/>
              <a:gd name="connsiteX3" fmla="*/ 943411 w 943411"/>
              <a:gd name="connsiteY3" fmla="*/ 0 h 105627"/>
              <a:gd name="connsiteX4" fmla="*/ 943411 w 943411"/>
              <a:gd name="connsiteY4" fmla="*/ 105627 h 105627"/>
              <a:gd name="connsiteX5" fmla="*/ 777960 w 943411"/>
              <a:gd name="connsiteY5" fmla="*/ 105627 h 105627"/>
              <a:gd name="connsiteX6" fmla="*/ 371504 w 943411"/>
              <a:gd name="connsiteY6" fmla="*/ 105627 h 105627"/>
              <a:gd name="connsiteX7" fmla="*/ 0 w 943411"/>
              <a:gd name="connsiteY7" fmla="*/ 105627 h 105627"/>
              <a:gd name="connsiteX8" fmla="*/ 53033 w 943411"/>
              <a:gd name="connsiteY8" fmla="*/ 53033 h 105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411" h="105627">
                <a:moveTo>
                  <a:pt x="0" y="0"/>
                </a:moveTo>
                <a:lnTo>
                  <a:pt x="371504" y="0"/>
                </a:lnTo>
                <a:lnTo>
                  <a:pt x="777960" y="0"/>
                </a:lnTo>
                <a:lnTo>
                  <a:pt x="943411" y="0"/>
                </a:lnTo>
                <a:lnTo>
                  <a:pt x="943411" y="105627"/>
                </a:lnTo>
                <a:lnTo>
                  <a:pt x="777960" y="105627"/>
                </a:lnTo>
                <a:lnTo>
                  <a:pt x="371504" y="105627"/>
                </a:lnTo>
                <a:lnTo>
                  <a:pt x="0" y="105627"/>
                </a:lnTo>
                <a:lnTo>
                  <a:pt x="53033" y="53033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Freeform 87"/>
          <p:cNvSpPr/>
          <p:nvPr/>
        </p:nvSpPr>
        <p:spPr>
          <a:xfrm>
            <a:off x="1719534" y="1760404"/>
            <a:ext cx="948411" cy="215721"/>
          </a:xfrm>
          <a:custGeom>
            <a:avLst/>
            <a:gdLst>
              <a:gd name="connsiteX0" fmla="*/ 839516 w 948411"/>
              <a:gd name="connsiteY0" fmla="*/ 0 h 215721"/>
              <a:gd name="connsiteX1" fmla="*/ 948411 w 948411"/>
              <a:gd name="connsiteY1" fmla="*/ 107861 h 215721"/>
              <a:gd name="connsiteX2" fmla="*/ 839516 w 948411"/>
              <a:gd name="connsiteY2" fmla="*/ 215721 h 215721"/>
              <a:gd name="connsiteX3" fmla="*/ 839516 w 948411"/>
              <a:gd name="connsiteY3" fmla="*/ 160674 h 215721"/>
              <a:gd name="connsiteX4" fmla="*/ 671955 w 948411"/>
              <a:gd name="connsiteY4" fmla="*/ 160674 h 215721"/>
              <a:gd name="connsiteX5" fmla="*/ 260317 w 948411"/>
              <a:gd name="connsiteY5" fmla="*/ 160674 h 215721"/>
              <a:gd name="connsiteX6" fmla="*/ 0 w 948411"/>
              <a:gd name="connsiteY6" fmla="*/ 160674 h 215721"/>
              <a:gd name="connsiteX7" fmla="*/ 0 w 948411"/>
              <a:gd name="connsiteY7" fmla="*/ 55047 h 215721"/>
              <a:gd name="connsiteX8" fmla="*/ 260317 w 948411"/>
              <a:gd name="connsiteY8" fmla="*/ 55047 h 215721"/>
              <a:gd name="connsiteX9" fmla="*/ 671955 w 948411"/>
              <a:gd name="connsiteY9" fmla="*/ 55047 h 215721"/>
              <a:gd name="connsiteX10" fmla="*/ 839516 w 948411"/>
              <a:gd name="connsiteY10" fmla="*/ 55047 h 215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48411" h="215721">
                <a:moveTo>
                  <a:pt x="839516" y="0"/>
                </a:moveTo>
                <a:lnTo>
                  <a:pt x="948411" y="107861"/>
                </a:lnTo>
                <a:lnTo>
                  <a:pt x="839516" y="215721"/>
                </a:lnTo>
                <a:lnTo>
                  <a:pt x="839516" y="160674"/>
                </a:lnTo>
                <a:lnTo>
                  <a:pt x="671955" y="160674"/>
                </a:lnTo>
                <a:lnTo>
                  <a:pt x="260317" y="160674"/>
                </a:lnTo>
                <a:lnTo>
                  <a:pt x="0" y="160674"/>
                </a:lnTo>
                <a:lnTo>
                  <a:pt x="0" y="55047"/>
                </a:lnTo>
                <a:lnTo>
                  <a:pt x="260317" y="55047"/>
                </a:lnTo>
                <a:lnTo>
                  <a:pt x="671955" y="55047"/>
                </a:lnTo>
                <a:lnTo>
                  <a:pt x="839516" y="5504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Freeform 73"/>
          <p:cNvSpPr/>
          <p:nvPr/>
        </p:nvSpPr>
        <p:spPr>
          <a:xfrm>
            <a:off x="776123" y="1815450"/>
            <a:ext cx="943411" cy="105627"/>
          </a:xfrm>
          <a:custGeom>
            <a:avLst/>
            <a:gdLst>
              <a:gd name="connsiteX0" fmla="*/ 0 w 943411"/>
              <a:gd name="connsiteY0" fmla="*/ 0 h 105627"/>
              <a:gd name="connsiteX1" fmla="*/ 371504 w 943411"/>
              <a:gd name="connsiteY1" fmla="*/ 0 h 105627"/>
              <a:gd name="connsiteX2" fmla="*/ 777960 w 943411"/>
              <a:gd name="connsiteY2" fmla="*/ 0 h 105627"/>
              <a:gd name="connsiteX3" fmla="*/ 943411 w 943411"/>
              <a:gd name="connsiteY3" fmla="*/ 0 h 105627"/>
              <a:gd name="connsiteX4" fmla="*/ 943411 w 943411"/>
              <a:gd name="connsiteY4" fmla="*/ 105627 h 105627"/>
              <a:gd name="connsiteX5" fmla="*/ 777960 w 943411"/>
              <a:gd name="connsiteY5" fmla="*/ 105627 h 105627"/>
              <a:gd name="connsiteX6" fmla="*/ 371504 w 943411"/>
              <a:gd name="connsiteY6" fmla="*/ 105627 h 105627"/>
              <a:gd name="connsiteX7" fmla="*/ 0 w 943411"/>
              <a:gd name="connsiteY7" fmla="*/ 105627 h 105627"/>
              <a:gd name="connsiteX8" fmla="*/ 53033 w 943411"/>
              <a:gd name="connsiteY8" fmla="*/ 53033 h 105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411" h="105627">
                <a:moveTo>
                  <a:pt x="0" y="0"/>
                </a:moveTo>
                <a:lnTo>
                  <a:pt x="371504" y="0"/>
                </a:lnTo>
                <a:lnTo>
                  <a:pt x="777960" y="0"/>
                </a:lnTo>
                <a:lnTo>
                  <a:pt x="943411" y="0"/>
                </a:lnTo>
                <a:lnTo>
                  <a:pt x="943411" y="105627"/>
                </a:lnTo>
                <a:lnTo>
                  <a:pt x="777960" y="105627"/>
                </a:lnTo>
                <a:lnTo>
                  <a:pt x="371504" y="105627"/>
                </a:lnTo>
                <a:lnTo>
                  <a:pt x="0" y="105627"/>
                </a:lnTo>
                <a:lnTo>
                  <a:pt x="53033" y="53033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Processo</a:t>
            </a:r>
            <a:r>
              <a:rPr lang="en-US" dirty="0"/>
              <a:t> de </a:t>
            </a:r>
            <a:r>
              <a:rPr lang="en-US" dirty="0" err="1"/>
              <a:t>negóci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0" name="Freeform 9"/>
          <p:cNvSpPr>
            <a:spLocks noChangeArrowheads="1"/>
          </p:cNvSpPr>
          <p:nvPr/>
        </p:nvSpPr>
        <p:spPr bwMode="auto">
          <a:xfrm>
            <a:off x="1013380" y="1815124"/>
            <a:ext cx="1414790" cy="1418298"/>
          </a:xfrm>
          <a:custGeom>
            <a:avLst/>
            <a:gdLst>
              <a:gd name="connsiteX0" fmla="*/ 2169505 w 4339006"/>
              <a:gd name="connsiteY0" fmla="*/ 323947 h 4349760"/>
              <a:gd name="connsiteX1" fmla="*/ 323948 w 4339006"/>
              <a:gd name="connsiteY1" fmla="*/ 2172864 h 4349760"/>
              <a:gd name="connsiteX2" fmla="*/ 2169505 w 4339006"/>
              <a:gd name="connsiteY2" fmla="*/ 4021781 h 4349760"/>
              <a:gd name="connsiteX3" fmla="*/ 4015062 w 4339006"/>
              <a:gd name="connsiteY3" fmla="*/ 2172864 h 4349760"/>
              <a:gd name="connsiteX4" fmla="*/ 2169505 w 4339006"/>
              <a:gd name="connsiteY4" fmla="*/ 323947 h 4349760"/>
              <a:gd name="connsiteX5" fmla="*/ 2169503 w 4339006"/>
              <a:gd name="connsiteY5" fmla="*/ 0 h 4349760"/>
              <a:gd name="connsiteX6" fmla="*/ 4339006 w 4339006"/>
              <a:gd name="connsiteY6" fmla="*/ 2174880 h 4349760"/>
              <a:gd name="connsiteX7" fmla="*/ 2169503 w 4339006"/>
              <a:gd name="connsiteY7" fmla="*/ 4349760 h 4349760"/>
              <a:gd name="connsiteX8" fmla="*/ 0 w 4339006"/>
              <a:gd name="connsiteY8" fmla="*/ 2174880 h 4349760"/>
              <a:gd name="connsiteX9" fmla="*/ 2169503 w 4339006"/>
              <a:gd name="connsiteY9" fmla="*/ 0 h 4349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9006" h="4349760">
                <a:moveTo>
                  <a:pt x="2169505" y="323947"/>
                </a:moveTo>
                <a:cubicBezTo>
                  <a:pt x="1150232" y="323947"/>
                  <a:pt x="323948" y="1151735"/>
                  <a:pt x="323948" y="2172864"/>
                </a:cubicBezTo>
                <a:cubicBezTo>
                  <a:pt x="323948" y="3193993"/>
                  <a:pt x="1150232" y="4021781"/>
                  <a:pt x="2169505" y="4021781"/>
                </a:cubicBezTo>
                <a:cubicBezTo>
                  <a:pt x="3188778" y="4021781"/>
                  <a:pt x="4015062" y="3193993"/>
                  <a:pt x="4015062" y="2172864"/>
                </a:cubicBezTo>
                <a:cubicBezTo>
                  <a:pt x="4015062" y="1151735"/>
                  <a:pt x="3188778" y="323947"/>
                  <a:pt x="2169505" y="323947"/>
                </a:cubicBezTo>
                <a:close/>
                <a:moveTo>
                  <a:pt x="2169503" y="0"/>
                </a:moveTo>
                <a:cubicBezTo>
                  <a:pt x="3367686" y="0"/>
                  <a:pt x="4339006" y="973727"/>
                  <a:pt x="4339006" y="2174880"/>
                </a:cubicBezTo>
                <a:cubicBezTo>
                  <a:pt x="4339006" y="3376033"/>
                  <a:pt x="3367686" y="4349760"/>
                  <a:pt x="2169503" y="4349760"/>
                </a:cubicBezTo>
                <a:cubicBezTo>
                  <a:pt x="971320" y="4349760"/>
                  <a:pt x="0" y="3376033"/>
                  <a:pt x="0" y="2174880"/>
                </a:cubicBezTo>
                <a:cubicBezTo>
                  <a:pt x="0" y="973727"/>
                  <a:pt x="971320" y="0"/>
                  <a:pt x="2169503" y="0"/>
                </a:cubicBezTo>
                <a:close/>
              </a:path>
            </a:pathLst>
          </a:custGeom>
          <a:solidFill>
            <a:srgbClr val="EC0000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28" name="Freeform 24"/>
          <p:cNvSpPr>
            <a:spLocks noEditPoints="1"/>
          </p:cNvSpPr>
          <p:nvPr/>
        </p:nvSpPr>
        <p:spPr bwMode="auto">
          <a:xfrm>
            <a:off x="1494380" y="2226420"/>
            <a:ext cx="452791" cy="595907"/>
          </a:xfrm>
          <a:custGeom>
            <a:avLst/>
            <a:gdLst>
              <a:gd name="T0" fmla="*/ 992 w 1081"/>
              <a:gd name="T1" fmla="*/ 878 h 1423"/>
              <a:gd name="T2" fmla="*/ 930 w 1081"/>
              <a:gd name="T3" fmla="*/ 728 h 1423"/>
              <a:gd name="T4" fmla="*/ 450 w 1081"/>
              <a:gd name="T5" fmla="*/ 667 h 1423"/>
              <a:gd name="T6" fmla="*/ 274 w 1081"/>
              <a:gd name="T7" fmla="*/ 357 h 1423"/>
              <a:gd name="T8" fmla="*/ 176 w 1081"/>
              <a:gd name="T9" fmla="*/ 654 h 1423"/>
              <a:gd name="T10" fmla="*/ 176 w 1081"/>
              <a:gd name="T11" fmla="*/ 1423 h 1423"/>
              <a:gd name="T12" fmla="*/ 905 w 1081"/>
              <a:gd name="T13" fmla="*/ 1349 h 1423"/>
              <a:gd name="T14" fmla="*/ 979 w 1081"/>
              <a:gd name="T15" fmla="*/ 1201 h 1423"/>
              <a:gd name="T16" fmla="*/ 1025 w 1081"/>
              <a:gd name="T17" fmla="*/ 1039 h 1423"/>
              <a:gd name="T18" fmla="*/ 27 w 1081"/>
              <a:gd name="T19" fmla="*/ 1396 h 1423"/>
              <a:gd name="T20" fmla="*/ 148 w 1081"/>
              <a:gd name="T21" fmla="*/ 1396 h 1423"/>
              <a:gd name="T22" fmla="*/ 991 w 1081"/>
              <a:gd name="T23" fmla="*/ 816 h 1423"/>
              <a:gd name="T24" fmla="*/ 639 w 1081"/>
              <a:gd name="T25" fmla="*/ 859 h 1423"/>
              <a:gd name="T26" fmla="*/ 930 w 1081"/>
              <a:gd name="T27" fmla="*/ 755 h 1423"/>
              <a:gd name="T28" fmla="*/ 301 w 1081"/>
              <a:gd name="T29" fmla="*/ 755 h 1423"/>
              <a:gd name="T30" fmla="*/ 423 w 1081"/>
              <a:gd name="T31" fmla="*/ 445 h 1423"/>
              <a:gd name="T32" fmla="*/ 423 w 1081"/>
              <a:gd name="T33" fmla="*/ 948 h 1423"/>
              <a:gd name="T34" fmla="*/ 618 w 1081"/>
              <a:gd name="T35" fmla="*/ 755 h 1423"/>
              <a:gd name="T36" fmla="*/ 604 w 1081"/>
              <a:gd name="T37" fmla="*/ 776 h 1423"/>
              <a:gd name="T38" fmla="*/ 596 w 1081"/>
              <a:gd name="T39" fmla="*/ 798 h 1423"/>
              <a:gd name="T40" fmla="*/ 597 w 1081"/>
              <a:gd name="T41" fmla="*/ 838 h 1423"/>
              <a:gd name="T42" fmla="*/ 608 w 1081"/>
              <a:gd name="T43" fmla="*/ 864 h 1423"/>
              <a:gd name="T44" fmla="*/ 608 w 1081"/>
              <a:gd name="T45" fmla="*/ 876 h 1423"/>
              <a:gd name="T46" fmla="*/ 560 w 1081"/>
              <a:gd name="T47" fmla="*/ 1038 h 1423"/>
              <a:gd name="T48" fmla="*/ 557 w 1081"/>
              <a:gd name="T49" fmla="*/ 1041 h 1423"/>
              <a:gd name="T50" fmla="*/ 535 w 1081"/>
              <a:gd name="T51" fmla="*/ 1063 h 1423"/>
              <a:gd name="T52" fmla="*/ 526 w 1081"/>
              <a:gd name="T53" fmla="*/ 1079 h 1423"/>
              <a:gd name="T54" fmla="*/ 520 w 1081"/>
              <a:gd name="T55" fmla="*/ 1113 h 1423"/>
              <a:gd name="T56" fmla="*/ 618 w 1081"/>
              <a:gd name="T57" fmla="*/ 1201 h 1423"/>
              <a:gd name="T58" fmla="*/ 604 w 1081"/>
              <a:gd name="T59" fmla="*/ 1222 h 1423"/>
              <a:gd name="T60" fmla="*/ 596 w 1081"/>
              <a:gd name="T61" fmla="*/ 1244 h 1423"/>
              <a:gd name="T62" fmla="*/ 597 w 1081"/>
              <a:gd name="T63" fmla="*/ 1283 h 1423"/>
              <a:gd name="T64" fmla="*/ 608 w 1081"/>
              <a:gd name="T65" fmla="*/ 1309 h 1423"/>
              <a:gd name="T66" fmla="*/ 176 w 1081"/>
              <a:gd name="T67" fmla="*/ 1322 h 1423"/>
              <a:gd name="T68" fmla="*/ 905 w 1081"/>
              <a:gd name="T69" fmla="*/ 1322 h 1423"/>
              <a:gd name="T70" fmla="*/ 621 w 1081"/>
              <a:gd name="T71" fmla="*/ 1261 h 1423"/>
              <a:gd name="T72" fmla="*/ 947 w 1081"/>
              <a:gd name="T73" fmla="*/ 1218 h 1423"/>
              <a:gd name="T74" fmla="*/ 979 w 1081"/>
              <a:gd name="T75" fmla="*/ 1173 h 1423"/>
              <a:gd name="T76" fmla="*/ 608 w 1081"/>
              <a:gd name="T77" fmla="*/ 1173 h 1423"/>
              <a:gd name="T78" fmla="*/ 608 w 1081"/>
              <a:gd name="T79" fmla="*/ 1052 h 1423"/>
              <a:gd name="T80" fmla="*/ 979 w 1081"/>
              <a:gd name="T81" fmla="*/ 1025 h 1423"/>
              <a:gd name="T82" fmla="*/ 547 w 1081"/>
              <a:gd name="T83" fmla="*/ 964 h 1423"/>
              <a:gd name="T84" fmla="*/ 930 w 1081"/>
              <a:gd name="T85" fmla="*/ 904 h 1423"/>
              <a:gd name="T86" fmla="*/ 1039 w 1081"/>
              <a:gd name="T87" fmla="*/ 964 h 1423"/>
              <a:gd name="T88" fmla="*/ 671 w 1081"/>
              <a:gd name="T89" fmla="*/ 507 h 1423"/>
              <a:gd name="T90" fmla="*/ 793 w 1081"/>
              <a:gd name="T91" fmla="*/ 0 h 1423"/>
              <a:gd name="T92" fmla="*/ 515 w 1081"/>
              <a:gd name="T93" fmla="*/ 620 h 1423"/>
              <a:gd name="T94" fmla="*/ 1053 w 1081"/>
              <a:gd name="T95" fmla="*/ 266 h 1423"/>
              <a:gd name="T96" fmla="*/ 667 w 1081"/>
              <a:gd name="T97" fmla="*/ 476 h 1423"/>
              <a:gd name="T98" fmla="*/ 586 w 1081"/>
              <a:gd name="T99" fmla="*/ 411 h 1423"/>
              <a:gd name="T100" fmla="*/ 677 w 1081"/>
              <a:gd name="T101" fmla="*/ 197 h 1423"/>
              <a:gd name="T102" fmla="*/ 935 w 1081"/>
              <a:gd name="T103" fmla="*/ 197 h 1423"/>
              <a:gd name="T104" fmla="*/ 677 w 1081"/>
              <a:gd name="T105" fmla="*/ 249 h 1423"/>
              <a:gd name="T106" fmla="*/ 935 w 1081"/>
              <a:gd name="T107" fmla="*/ 356 h 1423"/>
              <a:gd name="T108" fmla="*/ 935 w 1081"/>
              <a:gd name="T109" fmla="*/ 329 h 1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1" h="1423">
                <a:moveTo>
                  <a:pt x="1067" y="964"/>
                </a:moveTo>
                <a:cubicBezTo>
                  <a:pt x="1067" y="941"/>
                  <a:pt x="1057" y="919"/>
                  <a:pt x="1041" y="902"/>
                </a:cubicBezTo>
                <a:cubicBezTo>
                  <a:pt x="1028" y="889"/>
                  <a:pt x="1011" y="881"/>
                  <a:pt x="992" y="878"/>
                </a:cubicBezTo>
                <a:cubicBezTo>
                  <a:pt x="1008" y="862"/>
                  <a:pt x="1018" y="840"/>
                  <a:pt x="1018" y="816"/>
                </a:cubicBezTo>
                <a:cubicBezTo>
                  <a:pt x="1018" y="792"/>
                  <a:pt x="1009" y="770"/>
                  <a:pt x="992" y="754"/>
                </a:cubicBezTo>
                <a:cubicBezTo>
                  <a:pt x="976" y="737"/>
                  <a:pt x="954" y="728"/>
                  <a:pt x="930" y="728"/>
                </a:cubicBezTo>
                <a:cubicBezTo>
                  <a:pt x="682" y="728"/>
                  <a:pt x="682" y="728"/>
                  <a:pt x="682" y="728"/>
                </a:cubicBezTo>
                <a:cubicBezTo>
                  <a:pt x="450" y="728"/>
                  <a:pt x="450" y="728"/>
                  <a:pt x="450" y="728"/>
                </a:cubicBezTo>
                <a:cubicBezTo>
                  <a:pt x="450" y="667"/>
                  <a:pt x="450" y="667"/>
                  <a:pt x="450" y="667"/>
                </a:cubicBezTo>
                <a:cubicBezTo>
                  <a:pt x="450" y="445"/>
                  <a:pt x="450" y="445"/>
                  <a:pt x="450" y="445"/>
                </a:cubicBezTo>
                <a:cubicBezTo>
                  <a:pt x="450" y="396"/>
                  <a:pt x="411" y="357"/>
                  <a:pt x="362" y="357"/>
                </a:cubicBezTo>
                <a:cubicBezTo>
                  <a:pt x="274" y="357"/>
                  <a:pt x="274" y="357"/>
                  <a:pt x="274" y="357"/>
                </a:cubicBezTo>
                <a:cubicBezTo>
                  <a:pt x="274" y="728"/>
                  <a:pt x="274" y="728"/>
                  <a:pt x="274" y="728"/>
                </a:cubicBezTo>
                <a:cubicBezTo>
                  <a:pt x="176" y="728"/>
                  <a:pt x="176" y="728"/>
                  <a:pt x="176" y="728"/>
                </a:cubicBezTo>
                <a:cubicBezTo>
                  <a:pt x="176" y="654"/>
                  <a:pt x="176" y="654"/>
                  <a:pt x="176" y="654"/>
                </a:cubicBezTo>
                <a:cubicBezTo>
                  <a:pt x="0" y="654"/>
                  <a:pt x="0" y="654"/>
                  <a:pt x="0" y="654"/>
                </a:cubicBezTo>
                <a:cubicBezTo>
                  <a:pt x="0" y="1423"/>
                  <a:pt x="0" y="1423"/>
                  <a:pt x="0" y="1423"/>
                </a:cubicBezTo>
                <a:cubicBezTo>
                  <a:pt x="176" y="1423"/>
                  <a:pt x="176" y="1423"/>
                  <a:pt x="176" y="1423"/>
                </a:cubicBezTo>
                <a:cubicBezTo>
                  <a:pt x="176" y="1349"/>
                  <a:pt x="176" y="1349"/>
                  <a:pt x="176" y="1349"/>
                </a:cubicBezTo>
                <a:cubicBezTo>
                  <a:pt x="682" y="1349"/>
                  <a:pt x="682" y="1349"/>
                  <a:pt x="682" y="1349"/>
                </a:cubicBezTo>
                <a:cubicBezTo>
                  <a:pt x="905" y="1349"/>
                  <a:pt x="905" y="1349"/>
                  <a:pt x="905" y="1349"/>
                </a:cubicBezTo>
                <a:cubicBezTo>
                  <a:pt x="953" y="1349"/>
                  <a:pt x="992" y="1310"/>
                  <a:pt x="992" y="1261"/>
                </a:cubicBezTo>
                <a:cubicBezTo>
                  <a:pt x="992" y="1238"/>
                  <a:pt x="984" y="1217"/>
                  <a:pt x="968" y="1201"/>
                </a:cubicBezTo>
                <a:cubicBezTo>
                  <a:pt x="979" y="1201"/>
                  <a:pt x="979" y="1201"/>
                  <a:pt x="979" y="1201"/>
                </a:cubicBezTo>
                <a:cubicBezTo>
                  <a:pt x="1027" y="1201"/>
                  <a:pt x="1067" y="1161"/>
                  <a:pt x="1067" y="1113"/>
                </a:cubicBezTo>
                <a:cubicBezTo>
                  <a:pt x="1067" y="1089"/>
                  <a:pt x="1057" y="1067"/>
                  <a:pt x="1041" y="1051"/>
                </a:cubicBezTo>
                <a:cubicBezTo>
                  <a:pt x="1036" y="1046"/>
                  <a:pt x="1031" y="1042"/>
                  <a:pt x="1025" y="1039"/>
                </a:cubicBezTo>
                <a:cubicBezTo>
                  <a:pt x="1050" y="1023"/>
                  <a:pt x="1067" y="996"/>
                  <a:pt x="1067" y="964"/>
                </a:cubicBezTo>
                <a:close/>
                <a:moveTo>
                  <a:pt x="148" y="1396"/>
                </a:moveTo>
                <a:cubicBezTo>
                  <a:pt x="27" y="1396"/>
                  <a:pt x="27" y="1396"/>
                  <a:pt x="27" y="1396"/>
                </a:cubicBezTo>
                <a:cubicBezTo>
                  <a:pt x="27" y="681"/>
                  <a:pt x="27" y="681"/>
                  <a:pt x="27" y="681"/>
                </a:cubicBezTo>
                <a:cubicBezTo>
                  <a:pt x="148" y="681"/>
                  <a:pt x="148" y="681"/>
                  <a:pt x="148" y="681"/>
                </a:cubicBezTo>
                <a:lnTo>
                  <a:pt x="148" y="1396"/>
                </a:lnTo>
                <a:close/>
                <a:moveTo>
                  <a:pt x="930" y="755"/>
                </a:moveTo>
                <a:cubicBezTo>
                  <a:pt x="946" y="755"/>
                  <a:pt x="962" y="761"/>
                  <a:pt x="973" y="773"/>
                </a:cubicBezTo>
                <a:cubicBezTo>
                  <a:pt x="984" y="784"/>
                  <a:pt x="991" y="800"/>
                  <a:pt x="991" y="816"/>
                </a:cubicBezTo>
                <a:cubicBezTo>
                  <a:pt x="991" y="849"/>
                  <a:pt x="964" y="876"/>
                  <a:pt x="930" y="876"/>
                </a:cubicBezTo>
                <a:cubicBezTo>
                  <a:pt x="682" y="876"/>
                  <a:pt x="682" y="876"/>
                  <a:pt x="682" y="876"/>
                </a:cubicBezTo>
                <a:cubicBezTo>
                  <a:pt x="666" y="876"/>
                  <a:pt x="651" y="870"/>
                  <a:pt x="639" y="859"/>
                </a:cubicBezTo>
                <a:cubicBezTo>
                  <a:pt x="628" y="847"/>
                  <a:pt x="621" y="832"/>
                  <a:pt x="621" y="816"/>
                </a:cubicBezTo>
                <a:cubicBezTo>
                  <a:pt x="621" y="782"/>
                  <a:pt x="648" y="755"/>
                  <a:pt x="682" y="755"/>
                </a:cubicBezTo>
                <a:lnTo>
                  <a:pt x="930" y="755"/>
                </a:lnTo>
                <a:close/>
                <a:moveTo>
                  <a:pt x="176" y="1322"/>
                </a:moveTo>
                <a:cubicBezTo>
                  <a:pt x="176" y="755"/>
                  <a:pt x="176" y="755"/>
                  <a:pt x="176" y="755"/>
                </a:cubicBezTo>
                <a:cubicBezTo>
                  <a:pt x="301" y="755"/>
                  <a:pt x="301" y="755"/>
                  <a:pt x="301" y="755"/>
                </a:cubicBezTo>
                <a:cubicBezTo>
                  <a:pt x="301" y="384"/>
                  <a:pt x="301" y="384"/>
                  <a:pt x="301" y="384"/>
                </a:cubicBezTo>
                <a:cubicBezTo>
                  <a:pt x="362" y="384"/>
                  <a:pt x="362" y="384"/>
                  <a:pt x="362" y="384"/>
                </a:cubicBezTo>
                <a:cubicBezTo>
                  <a:pt x="396" y="384"/>
                  <a:pt x="423" y="411"/>
                  <a:pt x="423" y="445"/>
                </a:cubicBezTo>
                <a:cubicBezTo>
                  <a:pt x="423" y="667"/>
                  <a:pt x="423" y="667"/>
                  <a:pt x="423" y="667"/>
                </a:cubicBezTo>
                <a:cubicBezTo>
                  <a:pt x="423" y="755"/>
                  <a:pt x="423" y="755"/>
                  <a:pt x="423" y="755"/>
                </a:cubicBezTo>
                <a:cubicBezTo>
                  <a:pt x="423" y="948"/>
                  <a:pt x="423" y="948"/>
                  <a:pt x="423" y="948"/>
                </a:cubicBezTo>
                <a:cubicBezTo>
                  <a:pt x="450" y="948"/>
                  <a:pt x="450" y="948"/>
                  <a:pt x="450" y="948"/>
                </a:cubicBezTo>
                <a:cubicBezTo>
                  <a:pt x="450" y="755"/>
                  <a:pt x="450" y="755"/>
                  <a:pt x="450" y="755"/>
                </a:cubicBezTo>
                <a:cubicBezTo>
                  <a:pt x="618" y="755"/>
                  <a:pt x="618" y="755"/>
                  <a:pt x="618" y="755"/>
                </a:cubicBezTo>
                <a:cubicBezTo>
                  <a:pt x="616" y="757"/>
                  <a:pt x="615" y="759"/>
                  <a:pt x="613" y="762"/>
                </a:cubicBezTo>
                <a:cubicBezTo>
                  <a:pt x="612" y="763"/>
                  <a:pt x="610" y="765"/>
                  <a:pt x="609" y="767"/>
                </a:cubicBezTo>
                <a:cubicBezTo>
                  <a:pt x="607" y="770"/>
                  <a:pt x="605" y="773"/>
                  <a:pt x="604" y="776"/>
                </a:cubicBezTo>
                <a:cubicBezTo>
                  <a:pt x="603" y="778"/>
                  <a:pt x="602" y="780"/>
                  <a:pt x="601" y="782"/>
                </a:cubicBezTo>
                <a:cubicBezTo>
                  <a:pt x="599" y="785"/>
                  <a:pt x="598" y="789"/>
                  <a:pt x="597" y="793"/>
                </a:cubicBezTo>
                <a:cubicBezTo>
                  <a:pt x="597" y="795"/>
                  <a:pt x="596" y="796"/>
                  <a:pt x="596" y="798"/>
                </a:cubicBezTo>
                <a:cubicBezTo>
                  <a:pt x="595" y="804"/>
                  <a:pt x="594" y="810"/>
                  <a:pt x="594" y="816"/>
                </a:cubicBezTo>
                <a:cubicBezTo>
                  <a:pt x="594" y="822"/>
                  <a:pt x="595" y="827"/>
                  <a:pt x="596" y="833"/>
                </a:cubicBezTo>
                <a:cubicBezTo>
                  <a:pt x="596" y="835"/>
                  <a:pt x="597" y="836"/>
                  <a:pt x="597" y="838"/>
                </a:cubicBezTo>
                <a:cubicBezTo>
                  <a:pt x="598" y="842"/>
                  <a:pt x="599" y="845"/>
                  <a:pt x="601" y="849"/>
                </a:cubicBezTo>
                <a:cubicBezTo>
                  <a:pt x="601" y="851"/>
                  <a:pt x="603" y="853"/>
                  <a:pt x="604" y="855"/>
                </a:cubicBezTo>
                <a:cubicBezTo>
                  <a:pt x="605" y="858"/>
                  <a:pt x="607" y="861"/>
                  <a:pt x="608" y="864"/>
                </a:cubicBezTo>
                <a:cubicBezTo>
                  <a:pt x="610" y="866"/>
                  <a:pt x="611" y="868"/>
                  <a:pt x="613" y="869"/>
                </a:cubicBezTo>
                <a:cubicBezTo>
                  <a:pt x="615" y="872"/>
                  <a:pt x="616" y="874"/>
                  <a:pt x="618" y="876"/>
                </a:cubicBezTo>
                <a:cubicBezTo>
                  <a:pt x="608" y="876"/>
                  <a:pt x="608" y="876"/>
                  <a:pt x="608" y="876"/>
                </a:cubicBezTo>
                <a:cubicBezTo>
                  <a:pt x="559" y="876"/>
                  <a:pt x="520" y="916"/>
                  <a:pt x="520" y="964"/>
                </a:cubicBezTo>
                <a:cubicBezTo>
                  <a:pt x="520" y="988"/>
                  <a:pt x="529" y="1010"/>
                  <a:pt x="545" y="1026"/>
                </a:cubicBezTo>
                <a:cubicBezTo>
                  <a:pt x="550" y="1031"/>
                  <a:pt x="555" y="1034"/>
                  <a:pt x="560" y="1038"/>
                </a:cubicBezTo>
                <a:cubicBezTo>
                  <a:pt x="560" y="1038"/>
                  <a:pt x="560" y="1038"/>
                  <a:pt x="561" y="1039"/>
                </a:cubicBezTo>
                <a:cubicBezTo>
                  <a:pt x="560" y="1039"/>
                  <a:pt x="560" y="1039"/>
                  <a:pt x="559" y="1040"/>
                </a:cubicBezTo>
                <a:cubicBezTo>
                  <a:pt x="558" y="1040"/>
                  <a:pt x="558" y="1041"/>
                  <a:pt x="557" y="1041"/>
                </a:cubicBezTo>
                <a:cubicBezTo>
                  <a:pt x="553" y="1044"/>
                  <a:pt x="550" y="1047"/>
                  <a:pt x="547" y="1050"/>
                </a:cubicBezTo>
                <a:cubicBezTo>
                  <a:pt x="546" y="1050"/>
                  <a:pt x="545" y="1051"/>
                  <a:pt x="545" y="1051"/>
                </a:cubicBezTo>
                <a:cubicBezTo>
                  <a:pt x="541" y="1055"/>
                  <a:pt x="538" y="1059"/>
                  <a:pt x="535" y="1063"/>
                </a:cubicBezTo>
                <a:cubicBezTo>
                  <a:pt x="535" y="1064"/>
                  <a:pt x="534" y="1065"/>
                  <a:pt x="534" y="1065"/>
                </a:cubicBezTo>
                <a:cubicBezTo>
                  <a:pt x="531" y="1069"/>
                  <a:pt x="529" y="1073"/>
                  <a:pt x="527" y="1077"/>
                </a:cubicBezTo>
                <a:cubicBezTo>
                  <a:pt x="527" y="1078"/>
                  <a:pt x="527" y="1078"/>
                  <a:pt x="526" y="1079"/>
                </a:cubicBezTo>
                <a:cubicBezTo>
                  <a:pt x="524" y="1084"/>
                  <a:pt x="523" y="1088"/>
                  <a:pt x="522" y="1093"/>
                </a:cubicBezTo>
                <a:cubicBezTo>
                  <a:pt x="522" y="1095"/>
                  <a:pt x="521" y="1096"/>
                  <a:pt x="521" y="1097"/>
                </a:cubicBezTo>
                <a:cubicBezTo>
                  <a:pt x="520" y="1102"/>
                  <a:pt x="520" y="1107"/>
                  <a:pt x="520" y="1113"/>
                </a:cubicBezTo>
                <a:cubicBezTo>
                  <a:pt x="520" y="1136"/>
                  <a:pt x="529" y="1158"/>
                  <a:pt x="546" y="1175"/>
                </a:cubicBezTo>
                <a:cubicBezTo>
                  <a:pt x="562" y="1191"/>
                  <a:pt x="584" y="1201"/>
                  <a:pt x="608" y="1201"/>
                </a:cubicBezTo>
                <a:cubicBezTo>
                  <a:pt x="618" y="1201"/>
                  <a:pt x="618" y="1201"/>
                  <a:pt x="618" y="1201"/>
                </a:cubicBezTo>
                <a:cubicBezTo>
                  <a:pt x="616" y="1203"/>
                  <a:pt x="615" y="1205"/>
                  <a:pt x="613" y="1207"/>
                </a:cubicBezTo>
                <a:cubicBezTo>
                  <a:pt x="612" y="1209"/>
                  <a:pt x="610" y="1211"/>
                  <a:pt x="609" y="1213"/>
                </a:cubicBezTo>
                <a:cubicBezTo>
                  <a:pt x="607" y="1216"/>
                  <a:pt x="605" y="1219"/>
                  <a:pt x="604" y="1222"/>
                </a:cubicBezTo>
                <a:cubicBezTo>
                  <a:pt x="603" y="1224"/>
                  <a:pt x="602" y="1225"/>
                  <a:pt x="601" y="1228"/>
                </a:cubicBezTo>
                <a:cubicBezTo>
                  <a:pt x="599" y="1231"/>
                  <a:pt x="598" y="1235"/>
                  <a:pt x="597" y="1238"/>
                </a:cubicBezTo>
                <a:cubicBezTo>
                  <a:pt x="597" y="1240"/>
                  <a:pt x="596" y="1242"/>
                  <a:pt x="596" y="1244"/>
                </a:cubicBezTo>
                <a:cubicBezTo>
                  <a:pt x="595" y="1249"/>
                  <a:pt x="594" y="1255"/>
                  <a:pt x="594" y="1261"/>
                </a:cubicBezTo>
                <a:cubicBezTo>
                  <a:pt x="594" y="1267"/>
                  <a:pt x="595" y="1273"/>
                  <a:pt x="596" y="1278"/>
                </a:cubicBezTo>
                <a:cubicBezTo>
                  <a:pt x="596" y="1280"/>
                  <a:pt x="597" y="1282"/>
                  <a:pt x="597" y="1283"/>
                </a:cubicBezTo>
                <a:cubicBezTo>
                  <a:pt x="598" y="1287"/>
                  <a:pt x="599" y="1291"/>
                  <a:pt x="601" y="1294"/>
                </a:cubicBezTo>
                <a:cubicBezTo>
                  <a:pt x="601" y="1296"/>
                  <a:pt x="603" y="1298"/>
                  <a:pt x="604" y="1300"/>
                </a:cubicBezTo>
                <a:cubicBezTo>
                  <a:pt x="605" y="1303"/>
                  <a:pt x="606" y="1306"/>
                  <a:pt x="608" y="1309"/>
                </a:cubicBezTo>
                <a:cubicBezTo>
                  <a:pt x="610" y="1311"/>
                  <a:pt x="611" y="1313"/>
                  <a:pt x="613" y="1315"/>
                </a:cubicBezTo>
                <a:cubicBezTo>
                  <a:pt x="615" y="1317"/>
                  <a:pt x="616" y="1320"/>
                  <a:pt x="618" y="1322"/>
                </a:cubicBezTo>
                <a:lnTo>
                  <a:pt x="176" y="1322"/>
                </a:lnTo>
                <a:close/>
                <a:moveTo>
                  <a:pt x="947" y="1218"/>
                </a:moveTo>
                <a:cubicBezTo>
                  <a:pt x="959" y="1230"/>
                  <a:pt x="965" y="1245"/>
                  <a:pt x="965" y="1261"/>
                </a:cubicBezTo>
                <a:cubicBezTo>
                  <a:pt x="965" y="1295"/>
                  <a:pt x="938" y="1322"/>
                  <a:pt x="905" y="1322"/>
                </a:cubicBezTo>
                <a:cubicBezTo>
                  <a:pt x="682" y="1322"/>
                  <a:pt x="682" y="1322"/>
                  <a:pt x="682" y="1322"/>
                </a:cubicBezTo>
                <a:cubicBezTo>
                  <a:pt x="666" y="1322"/>
                  <a:pt x="651" y="1316"/>
                  <a:pt x="639" y="1304"/>
                </a:cubicBezTo>
                <a:cubicBezTo>
                  <a:pt x="628" y="1293"/>
                  <a:pt x="621" y="1277"/>
                  <a:pt x="621" y="1261"/>
                </a:cubicBezTo>
                <a:cubicBezTo>
                  <a:pt x="621" y="1228"/>
                  <a:pt x="648" y="1201"/>
                  <a:pt x="682" y="1201"/>
                </a:cubicBezTo>
                <a:cubicBezTo>
                  <a:pt x="905" y="1201"/>
                  <a:pt x="905" y="1201"/>
                  <a:pt x="905" y="1201"/>
                </a:cubicBezTo>
                <a:cubicBezTo>
                  <a:pt x="921" y="1201"/>
                  <a:pt x="936" y="1207"/>
                  <a:pt x="947" y="1218"/>
                </a:cubicBezTo>
                <a:close/>
                <a:moveTo>
                  <a:pt x="1022" y="1070"/>
                </a:moveTo>
                <a:cubicBezTo>
                  <a:pt x="1033" y="1081"/>
                  <a:pt x="1039" y="1097"/>
                  <a:pt x="1039" y="1113"/>
                </a:cubicBezTo>
                <a:cubicBezTo>
                  <a:pt x="1039" y="1146"/>
                  <a:pt x="1012" y="1173"/>
                  <a:pt x="979" y="1173"/>
                </a:cubicBezTo>
                <a:cubicBezTo>
                  <a:pt x="905" y="1173"/>
                  <a:pt x="905" y="1173"/>
                  <a:pt x="905" y="1173"/>
                </a:cubicBezTo>
                <a:cubicBezTo>
                  <a:pt x="682" y="1173"/>
                  <a:pt x="682" y="1173"/>
                  <a:pt x="682" y="1173"/>
                </a:cubicBezTo>
                <a:cubicBezTo>
                  <a:pt x="608" y="1173"/>
                  <a:pt x="608" y="1173"/>
                  <a:pt x="608" y="1173"/>
                </a:cubicBezTo>
                <a:cubicBezTo>
                  <a:pt x="591" y="1173"/>
                  <a:pt x="576" y="1167"/>
                  <a:pt x="565" y="1155"/>
                </a:cubicBezTo>
                <a:cubicBezTo>
                  <a:pt x="553" y="1144"/>
                  <a:pt x="547" y="1129"/>
                  <a:pt x="547" y="1113"/>
                </a:cubicBezTo>
                <a:cubicBezTo>
                  <a:pt x="547" y="1079"/>
                  <a:pt x="574" y="1052"/>
                  <a:pt x="608" y="1052"/>
                </a:cubicBezTo>
                <a:cubicBezTo>
                  <a:pt x="979" y="1052"/>
                  <a:pt x="979" y="1052"/>
                  <a:pt x="979" y="1052"/>
                </a:cubicBezTo>
                <a:cubicBezTo>
                  <a:pt x="995" y="1052"/>
                  <a:pt x="1010" y="1059"/>
                  <a:pt x="1022" y="1070"/>
                </a:cubicBezTo>
                <a:close/>
                <a:moveTo>
                  <a:pt x="979" y="1025"/>
                </a:moveTo>
                <a:cubicBezTo>
                  <a:pt x="608" y="1025"/>
                  <a:pt x="608" y="1025"/>
                  <a:pt x="608" y="1025"/>
                </a:cubicBezTo>
                <a:cubicBezTo>
                  <a:pt x="591" y="1025"/>
                  <a:pt x="576" y="1019"/>
                  <a:pt x="565" y="1007"/>
                </a:cubicBezTo>
                <a:cubicBezTo>
                  <a:pt x="553" y="995"/>
                  <a:pt x="547" y="980"/>
                  <a:pt x="547" y="964"/>
                </a:cubicBezTo>
                <a:cubicBezTo>
                  <a:pt x="547" y="931"/>
                  <a:pt x="574" y="904"/>
                  <a:pt x="608" y="904"/>
                </a:cubicBezTo>
                <a:cubicBezTo>
                  <a:pt x="682" y="904"/>
                  <a:pt x="682" y="904"/>
                  <a:pt x="682" y="904"/>
                </a:cubicBezTo>
                <a:cubicBezTo>
                  <a:pt x="930" y="904"/>
                  <a:pt x="930" y="904"/>
                  <a:pt x="930" y="904"/>
                </a:cubicBezTo>
                <a:cubicBezTo>
                  <a:pt x="979" y="904"/>
                  <a:pt x="979" y="904"/>
                  <a:pt x="979" y="904"/>
                </a:cubicBezTo>
                <a:cubicBezTo>
                  <a:pt x="995" y="904"/>
                  <a:pt x="1010" y="910"/>
                  <a:pt x="1022" y="921"/>
                </a:cubicBezTo>
                <a:cubicBezTo>
                  <a:pt x="1033" y="933"/>
                  <a:pt x="1039" y="948"/>
                  <a:pt x="1039" y="964"/>
                </a:cubicBezTo>
                <a:cubicBezTo>
                  <a:pt x="1039" y="998"/>
                  <a:pt x="1012" y="1025"/>
                  <a:pt x="979" y="1025"/>
                </a:cubicBezTo>
                <a:close/>
                <a:moveTo>
                  <a:pt x="515" y="620"/>
                </a:moveTo>
                <a:cubicBezTo>
                  <a:pt x="671" y="507"/>
                  <a:pt x="671" y="507"/>
                  <a:pt x="671" y="507"/>
                </a:cubicBezTo>
                <a:cubicBezTo>
                  <a:pt x="709" y="524"/>
                  <a:pt x="750" y="533"/>
                  <a:pt x="793" y="533"/>
                </a:cubicBezTo>
                <a:cubicBezTo>
                  <a:pt x="952" y="533"/>
                  <a:pt x="1081" y="413"/>
                  <a:pt x="1081" y="266"/>
                </a:cubicBezTo>
                <a:cubicBezTo>
                  <a:pt x="1081" y="120"/>
                  <a:pt x="952" y="0"/>
                  <a:pt x="793" y="0"/>
                </a:cubicBezTo>
                <a:cubicBezTo>
                  <a:pt x="635" y="0"/>
                  <a:pt x="506" y="120"/>
                  <a:pt x="506" y="266"/>
                </a:cubicBezTo>
                <a:cubicBezTo>
                  <a:pt x="506" y="323"/>
                  <a:pt x="525" y="377"/>
                  <a:pt x="561" y="423"/>
                </a:cubicBezTo>
                <a:lnTo>
                  <a:pt x="515" y="620"/>
                </a:lnTo>
                <a:close/>
                <a:moveTo>
                  <a:pt x="533" y="266"/>
                </a:moveTo>
                <a:cubicBezTo>
                  <a:pt x="533" y="135"/>
                  <a:pt x="650" y="27"/>
                  <a:pt x="793" y="27"/>
                </a:cubicBezTo>
                <a:cubicBezTo>
                  <a:pt x="937" y="27"/>
                  <a:pt x="1053" y="135"/>
                  <a:pt x="1053" y="266"/>
                </a:cubicBezTo>
                <a:cubicBezTo>
                  <a:pt x="1053" y="398"/>
                  <a:pt x="937" y="505"/>
                  <a:pt x="793" y="505"/>
                </a:cubicBezTo>
                <a:cubicBezTo>
                  <a:pt x="752" y="505"/>
                  <a:pt x="712" y="497"/>
                  <a:pt x="675" y="479"/>
                </a:cubicBezTo>
                <a:cubicBezTo>
                  <a:pt x="667" y="476"/>
                  <a:pt x="667" y="476"/>
                  <a:pt x="667" y="476"/>
                </a:cubicBezTo>
                <a:cubicBezTo>
                  <a:pt x="558" y="555"/>
                  <a:pt x="558" y="555"/>
                  <a:pt x="558" y="555"/>
                </a:cubicBezTo>
                <a:cubicBezTo>
                  <a:pt x="591" y="416"/>
                  <a:pt x="591" y="416"/>
                  <a:pt x="591" y="416"/>
                </a:cubicBezTo>
                <a:cubicBezTo>
                  <a:pt x="586" y="411"/>
                  <a:pt x="586" y="411"/>
                  <a:pt x="586" y="411"/>
                </a:cubicBezTo>
                <a:cubicBezTo>
                  <a:pt x="551" y="369"/>
                  <a:pt x="533" y="319"/>
                  <a:pt x="533" y="266"/>
                </a:cubicBezTo>
                <a:close/>
                <a:moveTo>
                  <a:pt x="935" y="197"/>
                </a:moveTo>
                <a:cubicBezTo>
                  <a:pt x="677" y="197"/>
                  <a:pt x="677" y="197"/>
                  <a:pt x="677" y="197"/>
                </a:cubicBezTo>
                <a:cubicBezTo>
                  <a:pt x="677" y="170"/>
                  <a:pt x="677" y="170"/>
                  <a:pt x="677" y="170"/>
                </a:cubicBezTo>
                <a:cubicBezTo>
                  <a:pt x="935" y="170"/>
                  <a:pt x="935" y="170"/>
                  <a:pt x="935" y="170"/>
                </a:cubicBezTo>
                <a:lnTo>
                  <a:pt x="935" y="197"/>
                </a:lnTo>
                <a:close/>
                <a:moveTo>
                  <a:pt x="935" y="276"/>
                </a:moveTo>
                <a:cubicBezTo>
                  <a:pt x="677" y="276"/>
                  <a:pt x="677" y="276"/>
                  <a:pt x="677" y="276"/>
                </a:cubicBezTo>
                <a:cubicBezTo>
                  <a:pt x="677" y="249"/>
                  <a:pt x="677" y="249"/>
                  <a:pt x="677" y="249"/>
                </a:cubicBezTo>
                <a:cubicBezTo>
                  <a:pt x="935" y="249"/>
                  <a:pt x="935" y="249"/>
                  <a:pt x="935" y="249"/>
                </a:cubicBezTo>
                <a:lnTo>
                  <a:pt x="935" y="276"/>
                </a:lnTo>
                <a:close/>
                <a:moveTo>
                  <a:pt x="935" y="356"/>
                </a:moveTo>
                <a:cubicBezTo>
                  <a:pt x="677" y="356"/>
                  <a:pt x="677" y="356"/>
                  <a:pt x="677" y="356"/>
                </a:cubicBezTo>
                <a:cubicBezTo>
                  <a:pt x="677" y="329"/>
                  <a:pt x="677" y="329"/>
                  <a:pt x="677" y="329"/>
                </a:cubicBezTo>
                <a:cubicBezTo>
                  <a:pt x="935" y="329"/>
                  <a:pt x="935" y="329"/>
                  <a:pt x="935" y="329"/>
                </a:cubicBezTo>
                <a:lnTo>
                  <a:pt x="935" y="3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1" name="Freeform 10"/>
          <p:cNvSpPr>
            <a:spLocks noChangeArrowheads="1"/>
          </p:cNvSpPr>
          <p:nvPr/>
        </p:nvSpPr>
        <p:spPr bwMode="auto">
          <a:xfrm>
            <a:off x="2913466" y="1815124"/>
            <a:ext cx="1415667" cy="1418298"/>
          </a:xfrm>
          <a:custGeom>
            <a:avLst/>
            <a:gdLst>
              <a:gd name="connsiteX0" fmla="*/ 2172191 w 4341696"/>
              <a:gd name="connsiteY0" fmla="*/ 323947 h 4349760"/>
              <a:gd name="connsiteX1" fmla="*/ 326634 w 4341696"/>
              <a:gd name="connsiteY1" fmla="*/ 2172864 h 4349760"/>
              <a:gd name="connsiteX2" fmla="*/ 2172191 w 4341696"/>
              <a:gd name="connsiteY2" fmla="*/ 4021781 h 4349760"/>
              <a:gd name="connsiteX3" fmla="*/ 4017748 w 4341696"/>
              <a:gd name="connsiteY3" fmla="*/ 2172864 h 4349760"/>
              <a:gd name="connsiteX4" fmla="*/ 2172191 w 4341696"/>
              <a:gd name="connsiteY4" fmla="*/ 323947 h 4349760"/>
              <a:gd name="connsiteX5" fmla="*/ 2170848 w 4341696"/>
              <a:gd name="connsiteY5" fmla="*/ 0 h 4349760"/>
              <a:gd name="connsiteX6" fmla="*/ 4341696 w 4341696"/>
              <a:gd name="connsiteY6" fmla="*/ 2174880 h 4349760"/>
              <a:gd name="connsiteX7" fmla="*/ 2170848 w 4341696"/>
              <a:gd name="connsiteY7" fmla="*/ 4349760 h 4349760"/>
              <a:gd name="connsiteX8" fmla="*/ 0 w 4341696"/>
              <a:gd name="connsiteY8" fmla="*/ 2174880 h 4349760"/>
              <a:gd name="connsiteX9" fmla="*/ 2170848 w 4341696"/>
              <a:gd name="connsiteY9" fmla="*/ 0 h 4349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41696" h="4349760">
                <a:moveTo>
                  <a:pt x="2172191" y="323947"/>
                </a:moveTo>
                <a:cubicBezTo>
                  <a:pt x="1152918" y="323947"/>
                  <a:pt x="326634" y="1151735"/>
                  <a:pt x="326634" y="2172864"/>
                </a:cubicBezTo>
                <a:cubicBezTo>
                  <a:pt x="326634" y="3193993"/>
                  <a:pt x="1152918" y="4021781"/>
                  <a:pt x="2172191" y="4021781"/>
                </a:cubicBezTo>
                <a:cubicBezTo>
                  <a:pt x="3191464" y="4021781"/>
                  <a:pt x="4017748" y="3193993"/>
                  <a:pt x="4017748" y="2172864"/>
                </a:cubicBezTo>
                <a:cubicBezTo>
                  <a:pt x="4017748" y="1151735"/>
                  <a:pt x="3191464" y="323947"/>
                  <a:pt x="2172191" y="323947"/>
                </a:cubicBezTo>
                <a:close/>
                <a:moveTo>
                  <a:pt x="2170848" y="0"/>
                </a:moveTo>
                <a:cubicBezTo>
                  <a:pt x="3369774" y="0"/>
                  <a:pt x="4341696" y="973727"/>
                  <a:pt x="4341696" y="2174880"/>
                </a:cubicBezTo>
                <a:cubicBezTo>
                  <a:pt x="4341696" y="3376033"/>
                  <a:pt x="3369774" y="4349760"/>
                  <a:pt x="2170848" y="4349760"/>
                </a:cubicBezTo>
                <a:cubicBezTo>
                  <a:pt x="971922" y="4349760"/>
                  <a:pt x="0" y="3376033"/>
                  <a:pt x="0" y="2174880"/>
                </a:cubicBezTo>
                <a:cubicBezTo>
                  <a:pt x="0" y="973727"/>
                  <a:pt x="971922" y="0"/>
                  <a:pt x="2170848" y="0"/>
                </a:cubicBezTo>
                <a:close/>
              </a:path>
            </a:pathLst>
          </a:custGeom>
          <a:solidFill>
            <a:srgbClr val="EC0000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29" name="Freeform 28"/>
          <p:cNvSpPr>
            <a:spLocks noEditPoints="1"/>
          </p:cNvSpPr>
          <p:nvPr/>
        </p:nvSpPr>
        <p:spPr bwMode="auto">
          <a:xfrm>
            <a:off x="3319718" y="2287818"/>
            <a:ext cx="604069" cy="473110"/>
          </a:xfrm>
          <a:custGeom>
            <a:avLst/>
            <a:gdLst>
              <a:gd name="T0" fmla="*/ 155 w 1233"/>
              <a:gd name="T1" fmla="*/ 655 h 965"/>
              <a:gd name="T2" fmla="*/ 155 w 1233"/>
              <a:gd name="T3" fmla="*/ 965 h 965"/>
              <a:gd name="T4" fmla="*/ 1233 w 1233"/>
              <a:gd name="T5" fmla="*/ 810 h 965"/>
              <a:gd name="T6" fmla="*/ 1078 w 1233"/>
              <a:gd name="T7" fmla="*/ 939 h 965"/>
              <a:gd name="T8" fmla="*/ 26 w 1233"/>
              <a:gd name="T9" fmla="*/ 810 h 965"/>
              <a:gd name="T10" fmla="*/ 1078 w 1233"/>
              <a:gd name="T11" fmla="*/ 681 h 965"/>
              <a:gd name="T12" fmla="*/ 1078 w 1233"/>
              <a:gd name="T13" fmla="*/ 939 h 965"/>
              <a:gd name="T14" fmla="*/ 106 w 1233"/>
              <a:gd name="T15" fmla="*/ 810 h 965"/>
              <a:gd name="T16" fmla="*/ 274 w 1233"/>
              <a:gd name="T17" fmla="*/ 810 h 965"/>
              <a:gd name="T18" fmla="*/ 190 w 1233"/>
              <a:gd name="T19" fmla="*/ 868 h 965"/>
              <a:gd name="T20" fmla="*/ 190 w 1233"/>
              <a:gd name="T21" fmla="*/ 752 h 965"/>
              <a:gd name="T22" fmla="*/ 190 w 1233"/>
              <a:gd name="T23" fmla="*/ 868 h 965"/>
              <a:gd name="T24" fmla="*/ 319 w 1233"/>
              <a:gd name="T25" fmla="*/ 810 h 965"/>
              <a:gd name="T26" fmla="*/ 487 w 1233"/>
              <a:gd name="T27" fmla="*/ 810 h 965"/>
              <a:gd name="T28" fmla="*/ 403 w 1233"/>
              <a:gd name="T29" fmla="*/ 868 h 965"/>
              <a:gd name="T30" fmla="*/ 403 w 1233"/>
              <a:gd name="T31" fmla="*/ 752 h 965"/>
              <a:gd name="T32" fmla="*/ 403 w 1233"/>
              <a:gd name="T33" fmla="*/ 868 h 965"/>
              <a:gd name="T34" fmla="*/ 532 w 1233"/>
              <a:gd name="T35" fmla="*/ 810 h 965"/>
              <a:gd name="T36" fmla="*/ 700 w 1233"/>
              <a:gd name="T37" fmla="*/ 810 h 965"/>
              <a:gd name="T38" fmla="*/ 616 w 1233"/>
              <a:gd name="T39" fmla="*/ 868 h 965"/>
              <a:gd name="T40" fmla="*/ 616 w 1233"/>
              <a:gd name="T41" fmla="*/ 752 h 965"/>
              <a:gd name="T42" fmla="*/ 616 w 1233"/>
              <a:gd name="T43" fmla="*/ 868 h 965"/>
              <a:gd name="T44" fmla="*/ 745 w 1233"/>
              <a:gd name="T45" fmla="*/ 810 h 965"/>
              <a:gd name="T46" fmla="*/ 913 w 1233"/>
              <a:gd name="T47" fmla="*/ 810 h 965"/>
              <a:gd name="T48" fmla="*/ 829 w 1233"/>
              <a:gd name="T49" fmla="*/ 868 h 965"/>
              <a:gd name="T50" fmla="*/ 829 w 1233"/>
              <a:gd name="T51" fmla="*/ 752 h 965"/>
              <a:gd name="T52" fmla="*/ 829 w 1233"/>
              <a:gd name="T53" fmla="*/ 868 h 965"/>
              <a:gd name="T54" fmla="*/ 958 w 1233"/>
              <a:gd name="T55" fmla="*/ 810 h 965"/>
              <a:gd name="T56" fmla="*/ 1126 w 1233"/>
              <a:gd name="T57" fmla="*/ 810 h 965"/>
              <a:gd name="T58" fmla="*/ 1042 w 1233"/>
              <a:gd name="T59" fmla="*/ 868 h 965"/>
              <a:gd name="T60" fmla="*/ 1042 w 1233"/>
              <a:gd name="T61" fmla="*/ 752 h 965"/>
              <a:gd name="T62" fmla="*/ 1042 w 1233"/>
              <a:gd name="T63" fmla="*/ 868 h 965"/>
              <a:gd name="T64" fmla="*/ 964 w 1233"/>
              <a:gd name="T65" fmla="*/ 595 h 965"/>
              <a:gd name="T66" fmla="*/ 977 w 1233"/>
              <a:gd name="T67" fmla="*/ 13 h 965"/>
              <a:gd name="T68" fmla="*/ 711 w 1233"/>
              <a:gd name="T69" fmla="*/ 0 h 965"/>
              <a:gd name="T70" fmla="*/ 269 w 1233"/>
              <a:gd name="T71" fmla="*/ 0 h 965"/>
              <a:gd name="T72" fmla="*/ 256 w 1233"/>
              <a:gd name="T73" fmla="*/ 582 h 965"/>
              <a:gd name="T74" fmla="*/ 698 w 1233"/>
              <a:gd name="T75" fmla="*/ 26 h 965"/>
              <a:gd name="T76" fmla="*/ 623 w 1233"/>
              <a:gd name="T77" fmla="*/ 97 h 965"/>
              <a:gd name="T78" fmla="*/ 614 w 1233"/>
              <a:gd name="T79" fmla="*/ 93 h 965"/>
              <a:gd name="T80" fmla="*/ 535 w 1233"/>
              <a:gd name="T81" fmla="*/ 170 h 965"/>
              <a:gd name="T82" fmla="*/ 698 w 1233"/>
              <a:gd name="T83" fmla="*/ 26 h 965"/>
              <a:gd name="T84" fmla="*/ 509 w 1233"/>
              <a:gd name="T85" fmla="*/ 26 h 965"/>
              <a:gd name="T86" fmla="*/ 517 w 1233"/>
              <a:gd name="T87" fmla="*/ 215 h 965"/>
              <a:gd name="T88" fmla="*/ 531 w 1233"/>
              <a:gd name="T89" fmla="*/ 212 h 965"/>
              <a:gd name="T90" fmla="*/ 702 w 1233"/>
              <a:gd name="T91" fmla="*/ 212 h 965"/>
              <a:gd name="T92" fmla="*/ 724 w 1233"/>
              <a:gd name="T93" fmla="*/ 202 h 965"/>
              <a:gd name="T94" fmla="*/ 951 w 1233"/>
              <a:gd name="T95" fmla="*/ 26 h 965"/>
              <a:gd name="T96" fmla="*/ 282 w 1233"/>
              <a:gd name="T97" fmla="*/ 569 h 9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3" h="965">
                <a:moveTo>
                  <a:pt x="1078" y="655"/>
                </a:moveTo>
                <a:cubicBezTo>
                  <a:pt x="155" y="655"/>
                  <a:pt x="155" y="655"/>
                  <a:pt x="155" y="655"/>
                </a:cubicBezTo>
                <a:cubicBezTo>
                  <a:pt x="69" y="655"/>
                  <a:pt x="0" y="725"/>
                  <a:pt x="0" y="810"/>
                </a:cubicBezTo>
                <a:cubicBezTo>
                  <a:pt x="0" y="896"/>
                  <a:pt x="69" y="965"/>
                  <a:pt x="155" y="965"/>
                </a:cubicBezTo>
                <a:cubicBezTo>
                  <a:pt x="1078" y="965"/>
                  <a:pt x="1078" y="965"/>
                  <a:pt x="1078" y="965"/>
                </a:cubicBezTo>
                <a:cubicBezTo>
                  <a:pt x="1163" y="965"/>
                  <a:pt x="1233" y="896"/>
                  <a:pt x="1233" y="810"/>
                </a:cubicBezTo>
                <a:cubicBezTo>
                  <a:pt x="1233" y="725"/>
                  <a:pt x="1163" y="655"/>
                  <a:pt x="1078" y="655"/>
                </a:cubicBezTo>
                <a:close/>
                <a:moveTo>
                  <a:pt x="1078" y="939"/>
                </a:moveTo>
                <a:cubicBezTo>
                  <a:pt x="155" y="939"/>
                  <a:pt x="155" y="939"/>
                  <a:pt x="155" y="939"/>
                </a:cubicBezTo>
                <a:cubicBezTo>
                  <a:pt x="84" y="939"/>
                  <a:pt x="26" y="881"/>
                  <a:pt x="26" y="810"/>
                </a:cubicBezTo>
                <a:cubicBezTo>
                  <a:pt x="26" y="739"/>
                  <a:pt x="84" y="681"/>
                  <a:pt x="155" y="681"/>
                </a:cubicBezTo>
                <a:cubicBezTo>
                  <a:pt x="1078" y="681"/>
                  <a:pt x="1078" y="681"/>
                  <a:pt x="1078" y="681"/>
                </a:cubicBezTo>
                <a:cubicBezTo>
                  <a:pt x="1149" y="681"/>
                  <a:pt x="1207" y="739"/>
                  <a:pt x="1207" y="810"/>
                </a:cubicBezTo>
                <a:cubicBezTo>
                  <a:pt x="1207" y="881"/>
                  <a:pt x="1149" y="939"/>
                  <a:pt x="1078" y="939"/>
                </a:cubicBezTo>
                <a:close/>
                <a:moveTo>
                  <a:pt x="190" y="726"/>
                </a:moveTo>
                <a:cubicBezTo>
                  <a:pt x="144" y="726"/>
                  <a:pt x="106" y="764"/>
                  <a:pt x="106" y="810"/>
                </a:cubicBezTo>
                <a:cubicBezTo>
                  <a:pt x="106" y="857"/>
                  <a:pt x="144" y="894"/>
                  <a:pt x="190" y="894"/>
                </a:cubicBezTo>
                <a:cubicBezTo>
                  <a:pt x="237" y="894"/>
                  <a:pt x="274" y="857"/>
                  <a:pt x="274" y="810"/>
                </a:cubicBezTo>
                <a:cubicBezTo>
                  <a:pt x="274" y="764"/>
                  <a:pt x="237" y="726"/>
                  <a:pt x="190" y="726"/>
                </a:cubicBezTo>
                <a:close/>
                <a:moveTo>
                  <a:pt x="190" y="868"/>
                </a:moveTo>
                <a:cubicBezTo>
                  <a:pt x="158" y="868"/>
                  <a:pt x="132" y="842"/>
                  <a:pt x="132" y="810"/>
                </a:cubicBezTo>
                <a:cubicBezTo>
                  <a:pt x="132" y="778"/>
                  <a:pt x="158" y="752"/>
                  <a:pt x="190" y="752"/>
                </a:cubicBezTo>
                <a:cubicBezTo>
                  <a:pt x="222" y="752"/>
                  <a:pt x="248" y="778"/>
                  <a:pt x="248" y="810"/>
                </a:cubicBezTo>
                <a:cubicBezTo>
                  <a:pt x="248" y="842"/>
                  <a:pt x="222" y="868"/>
                  <a:pt x="190" y="868"/>
                </a:cubicBezTo>
                <a:close/>
                <a:moveTo>
                  <a:pt x="403" y="726"/>
                </a:moveTo>
                <a:cubicBezTo>
                  <a:pt x="357" y="726"/>
                  <a:pt x="319" y="764"/>
                  <a:pt x="319" y="810"/>
                </a:cubicBezTo>
                <a:cubicBezTo>
                  <a:pt x="319" y="857"/>
                  <a:pt x="357" y="894"/>
                  <a:pt x="403" y="894"/>
                </a:cubicBezTo>
                <a:cubicBezTo>
                  <a:pt x="450" y="894"/>
                  <a:pt x="487" y="857"/>
                  <a:pt x="487" y="810"/>
                </a:cubicBezTo>
                <a:cubicBezTo>
                  <a:pt x="487" y="764"/>
                  <a:pt x="450" y="726"/>
                  <a:pt x="403" y="726"/>
                </a:cubicBezTo>
                <a:close/>
                <a:moveTo>
                  <a:pt x="403" y="868"/>
                </a:moveTo>
                <a:cubicBezTo>
                  <a:pt x="371" y="868"/>
                  <a:pt x="345" y="842"/>
                  <a:pt x="345" y="810"/>
                </a:cubicBezTo>
                <a:cubicBezTo>
                  <a:pt x="345" y="778"/>
                  <a:pt x="371" y="752"/>
                  <a:pt x="403" y="752"/>
                </a:cubicBezTo>
                <a:cubicBezTo>
                  <a:pt x="435" y="752"/>
                  <a:pt x="461" y="778"/>
                  <a:pt x="461" y="810"/>
                </a:cubicBezTo>
                <a:cubicBezTo>
                  <a:pt x="461" y="842"/>
                  <a:pt x="435" y="868"/>
                  <a:pt x="403" y="868"/>
                </a:cubicBezTo>
                <a:close/>
                <a:moveTo>
                  <a:pt x="616" y="726"/>
                </a:moveTo>
                <a:cubicBezTo>
                  <a:pt x="570" y="726"/>
                  <a:pt x="532" y="764"/>
                  <a:pt x="532" y="810"/>
                </a:cubicBezTo>
                <a:cubicBezTo>
                  <a:pt x="532" y="857"/>
                  <a:pt x="570" y="894"/>
                  <a:pt x="616" y="894"/>
                </a:cubicBezTo>
                <a:cubicBezTo>
                  <a:pt x="663" y="894"/>
                  <a:pt x="700" y="857"/>
                  <a:pt x="700" y="810"/>
                </a:cubicBezTo>
                <a:cubicBezTo>
                  <a:pt x="700" y="764"/>
                  <a:pt x="663" y="726"/>
                  <a:pt x="616" y="726"/>
                </a:cubicBezTo>
                <a:close/>
                <a:moveTo>
                  <a:pt x="616" y="868"/>
                </a:moveTo>
                <a:cubicBezTo>
                  <a:pt x="584" y="868"/>
                  <a:pt x="558" y="842"/>
                  <a:pt x="558" y="810"/>
                </a:cubicBezTo>
                <a:cubicBezTo>
                  <a:pt x="558" y="778"/>
                  <a:pt x="584" y="752"/>
                  <a:pt x="616" y="752"/>
                </a:cubicBezTo>
                <a:cubicBezTo>
                  <a:pt x="648" y="752"/>
                  <a:pt x="674" y="778"/>
                  <a:pt x="674" y="810"/>
                </a:cubicBezTo>
                <a:cubicBezTo>
                  <a:pt x="674" y="842"/>
                  <a:pt x="648" y="868"/>
                  <a:pt x="616" y="868"/>
                </a:cubicBezTo>
                <a:close/>
                <a:moveTo>
                  <a:pt x="829" y="726"/>
                </a:moveTo>
                <a:cubicBezTo>
                  <a:pt x="783" y="726"/>
                  <a:pt x="745" y="764"/>
                  <a:pt x="745" y="810"/>
                </a:cubicBezTo>
                <a:cubicBezTo>
                  <a:pt x="745" y="857"/>
                  <a:pt x="783" y="894"/>
                  <a:pt x="829" y="894"/>
                </a:cubicBezTo>
                <a:cubicBezTo>
                  <a:pt x="876" y="894"/>
                  <a:pt x="913" y="857"/>
                  <a:pt x="913" y="810"/>
                </a:cubicBezTo>
                <a:cubicBezTo>
                  <a:pt x="913" y="764"/>
                  <a:pt x="876" y="726"/>
                  <a:pt x="829" y="726"/>
                </a:cubicBezTo>
                <a:close/>
                <a:moveTo>
                  <a:pt x="829" y="868"/>
                </a:moveTo>
                <a:cubicBezTo>
                  <a:pt x="797" y="868"/>
                  <a:pt x="771" y="842"/>
                  <a:pt x="771" y="810"/>
                </a:cubicBezTo>
                <a:cubicBezTo>
                  <a:pt x="771" y="778"/>
                  <a:pt x="797" y="752"/>
                  <a:pt x="829" y="752"/>
                </a:cubicBezTo>
                <a:cubicBezTo>
                  <a:pt x="861" y="752"/>
                  <a:pt x="887" y="778"/>
                  <a:pt x="887" y="810"/>
                </a:cubicBezTo>
                <a:cubicBezTo>
                  <a:pt x="887" y="842"/>
                  <a:pt x="861" y="868"/>
                  <a:pt x="829" y="868"/>
                </a:cubicBezTo>
                <a:close/>
                <a:moveTo>
                  <a:pt x="1042" y="726"/>
                </a:moveTo>
                <a:cubicBezTo>
                  <a:pt x="996" y="726"/>
                  <a:pt x="958" y="764"/>
                  <a:pt x="958" y="810"/>
                </a:cubicBezTo>
                <a:cubicBezTo>
                  <a:pt x="958" y="857"/>
                  <a:pt x="996" y="894"/>
                  <a:pt x="1042" y="894"/>
                </a:cubicBezTo>
                <a:cubicBezTo>
                  <a:pt x="1089" y="894"/>
                  <a:pt x="1126" y="857"/>
                  <a:pt x="1126" y="810"/>
                </a:cubicBezTo>
                <a:cubicBezTo>
                  <a:pt x="1126" y="764"/>
                  <a:pt x="1089" y="726"/>
                  <a:pt x="1042" y="726"/>
                </a:cubicBezTo>
                <a:close/>
                <a:moveTo>
                  <a:pt x="1042" y="868"/>
                </a:moveTo>
                <a:cubicBezTo>
                  <a:pt x="1010" y="868"/>
                  <a:pt x="984" y="842"/>
                  <a:pt x="984" y="810"/>
                </a:cubicBezTo>
                <a:cubicBezTo>
                  <a:pt x="984" y="778"/>
                  <a:pt x="1010" y="752"/>
                  <a:pt x="1042" y="752"/>
                </a:cubicBezTo>
                <a:cubicBezTo>
                  <a:pt x="1074" y="752"/>
                  <a:pt x="1100" y="778"/>
                  <a:pt x="1100" y="810"/>
                </a:cubicBezTo>
                <a:cubicBezTo>
                  <a:pt x="1100" y="842"/>
                  <a:pt x="1074" y="868"/>
                  <a:pt x="1042" y="868"/>
                </a:cubicBezTo>
                <a:close/>
                <a:moveTo>
                  <a:pt x="269" y="595"/>
                </a:moveTo>
                <a:cubicBezTo>
                  <a:pt x="964" y="595"/>
                  <a:pt x="964" y="595"/>
                  <a:pt x="964" y="595"/>
                </a:cubicBezTo>
                <a:cubicBezTo>
                  <a:pt x="971" y="595"/>
                  <a:pt x="977" y="589"/>
                  <a:pt x="977" y="582"/>
                </a:cubicBezTo>
                <a:cubicBezTo>
                  <a:pt x="977" y="13"/>
                  <a:pt x="977" y="13"/>
                  <a:pt x="977" y="13"/>
                </a:cubicBezTo>
                <a:cubicBezTo>
                  <a:pt x="977" y="6"/>
                  <a:pt x="971" y="0"/>
                  <a:pt x="964" y="0"/>
                </a:cubicBezTo>
                <a:cubicBezTo>
                  <a:pt x="711" y="0"/>
                  <a:pt x="711" y="0"/>
                  <a:pt x="711" y="0"/>
                </a:cubicBezTo>
                <a:cubicBezTo>
                  <a:pt x="522" y="0"/>
                  <a:pt x="522" y="0"/>
                  <a:pt x="522" y="0"/>
                </a:cubicBezTo>
                <a:cubicBezTo>
                  <a:pt x="269" y="0"/>
                  <a:pt x="269" y="0"/>
                  <a:pt x="269" y="0"/>
                </a:cubicBezTo>
                <a:cubicBezTo>
                  <a:pt x="262" y="0"/>
                  <a:pt x="256" y="6"/>
                  <a:pt x="256" y="13"/>
                </a:cubicBezTo>
                <a:cubicBezTo>
                  <a:pt x="256" y="582"/>
                  <a:pt x="256" y="582"/>
                  <a:pt x="256" y="582"/>
                </a:cubicBezTo>
                <a:cubicBezTo>
                  <a:pt x="256" y="589"/>
                  <a:pt x="262" y="595"/>
                  <a:pt x="269" y="595"/>
                </a:cubicBezTo>
                <a:close/>
                <a:moveTo>
                  <a:pt x="698" y="26"/>
                </a:moveTo>
                <a:cubicBezTo>
                  <a:pt x="698" y="171"/>
                  <a:pt x="698" y="171"/>
                  <a:pt x="698" y="171"/>
                </a:cubicBezTo>
                <a:cubicBezTo>
                  <a:pt x="623" y="97"/>
                  <a:pt x="623" y="97"/>
                  <a:pt x="623" y="97"/>
                </a:cubicBezTo>
                <a:cubicBezTo>
                  <a:pt x="621" y="94"/>
                  <a:pt x="618" y="93"/>
                  <a:pt x="614" y="93"/>
                </a:cubicBezTo>
                <a:cubicBezTo>
                  <a:pt x="614" y="93"/>
                  <a:pt x="614" y="93"/>
                  <a:pt x="614" y="93"/>
                </a:cubicBezTo>
                <a:cubicBezTo>
                  <a:pt x="610" y="93"/>
                  <a:pt x="607" y="94"/>
                  <a:pt x="605" y="97"/>
                </a:cubicBezTo>
                <a:cubicBezTo>
                  <a:pt x="535" y="170"/>
                  <a:pt x="535" y="170"/>
                  <a:pt x="535" y="170"/>
                </a:cubicBezTo>
                <a:cubicBezTo>
                  <a:pt x="535" y="26"/>
                  <a:pt x="535" y="26"/>
                  <a:pt x="535" y="26"/>
                </a:cubicBezTo>
                <a:lnTo>
                  <a:pt x="698" y="26"/>
                </a:lnTo>
                <a:close/>
                <a:moveTo>
                  <a:pt x="282" y="26"/>
                </a:moveTo>
                <a:cubicBezTo>
                  <a:pt x="509" y="26"/>
                  <a:pt x="509" y="26"/>
                  <a:pt x="509" y="26"/>
                </a:cubicBezTo>
                <a:cubicBezTo>
                  <a:pt x="509" y="202"/>
                  <a:pt x="509" y="202"/>
                  <a:pt x="509" y="202"/>
                </a:cubicBezTo>
                <a:cubicBezTo>
                  <a:pt x="509" y="208"/>
                  <a:pt x="512" y="213"/>
                  <a:pt x="517" y="215"/>
                </a:cubicBezTo>
                <a:cubicBezTo>
                  <a:pt x="518" y="215"/>
                  <a:pt x="520" y="216"/>
                  <a:pt x="522" y="216"/>
                </a:cubicBezTo>
                <a:cubicBezTo>
                  <a:pt x="525" y="216"/>
                  <a:pt x="528" y="214"/>
                  <a:pt x="531" y="212"/>
                </a:cubicBezTo>
                <a:cubicBezTo>
                  <a:pt x="614" y="125"/>
                  <a:pt x="614" y="125"/>
                  <a:pt x="614" y="125"/>
                </a:cubicBezTo>
                <a:cubicBezTo>
                  <a:pt x="702" y="212"/>
                  <a:pt x="702" y="212"/>
                  <a:pt x="702" y="212"/>
                </a:cubicBezTo>
                <a:cubicBezTo>
                  <a:pt x="706" y="215"/>
                  <a:pt x="711" y="217"/>
                  <a:pt x="716" y="215"/>
                </a:cubicBezTo>
                <a:cubicBezTo>
                  <a:pt x="721" y="212"/>
                  <a:pt x="724" y="208"/>
                  <a:pt x="724" y="202"/>
                </a:cubicBezTo>
                <a:cubicBezTo>
                  <a:pt x="724" y="26"/>
                  <a:pt x="724" y="26"/>
                  <a:pt x="724" y="26"/>
                </a:cubicBezTo>
                <a:cubicBezTo>
                  <a:pt x="951" y="26"/>
                  <a:pt x="951" y="26"/>
                  <a:pt x="951" y="26"/>
                </a:cubicBezTo>
                <a:cubicBezTo>
                  <a:pt x="951" y="569"/>
                  <a:pt x="951" y="569"/>
                  <a:pt x="951" y="569"/>
                </a:cubicBezTo>
                <a:cubicBezTo>
                  <a:pt x="282" y="569"/>
                  <a:pt x="282" y="569"/>
                  <a:pt x="282" y="569"/>
                </a:cubicBezTo>
                <a:lnTo>
                  <a:pt x="282" y="2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 noChangeArrowheads="1"/>
          </p:cNvSpPr>
          <p:nvPr/>
        </p:nvSpPr>
        <p:spPr bwMode="auto">
          <a:xfrm>
            <a:off x="4814429" y="1815124"/>
            <a:ext cx="1416106" cy="1418298"/>
          </a:xfrm>
          <a:custGeom>
            <a:avLst/>
            <a:gdLst>
              <a:gd name="connsiteX0" fmla="*/ 2169503 w 4343040"/>
              <a:gd name="connsiteY0" fmla="*/ 323947 h 4349760"/>
              <a:gd name="connsiteX1" fmla="*/ 323946 w 4343040"/>
              <a:gd name="connsiteY1" fmla="*/ 2172864 h 4349760"/>
              <a:gd name="connsiteX2" fmla="*/ 2169503 w 4343040"/>
              <a:gd name="connsiteY2" fmla="*/ 4021781 h 4349760"/>
              <a:gd name="connsiteX3" fmla="*/ 4015060 w 4343040"/>
              <a:gd name="connsiteY3" fmla="*/ 2172864 h 4349760"/>
              <a:gd name="connsiteX4" fmla="*/ 2169503 w 4343040"/>
              <a:gd name="connsiteY4" fmla="*/ 323947 h 4349760"/>
              <a:gd name="connsiteX5" fmla="*/ 2171520 w 4343040"/>
              <a:gd name="connsiteY5" fmla="*/ 0 h 4349760"/>
              <a:gd name="connsiteX6" fmla="*/ 4343040 w 4343040"/>
              <a:gd name="connsiteY6" fmla="*/ 2174880 h 4349760"/>
              <a:gd name="connsiteX7" fmla="*/ 2171520 w 4343040"/>
              <a:gd name="connsiteY7" fmla="*/ 4349760 h 4349760"/>
              <a:gd name="connsiteX8" fmla="*/ 0 w 4343040"/>
              <a:gd name="connsiteY8" fmla="*/ 2174880 h 4349760"/>
              <a:gd name="connsiteX9" fmla="*/ 2171520 w 4343040"/>
              <a:gd name="connsiteY9" fmla="*/ 0 h 4349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43040" h="4349760">
                <a:moveTo>
                  <a:pt x="2169503" y="323947"/>
                </a:moveTo>
                <a:cubicBezTo>
                  <a:pt x="1150230" y="323947"/>
                  <a:pt x="323946" y="1151735"/>
                  <a:pt x="323946" y="2172864"/>
                </a:cubicBezTo>
                <a:cubicBezTo>
                  <a:pt x="323946" y="3193993"/>
                  <a:pt x="1150230" y="4021781"/>
                  <a:pt x="2169503" y="4021781"/>
                </a:cubicBezTo>
                <a:cubicBezTo>
                  <a:pt x="3188776" y="4021781"/>
                  <a:pt x="4015060" y="3193993"/>
                  <a:pt x="4015060" y="2172864"/>
                </a:cubicBezTo>
                <a:cubicBezTo>
                  <a:pt x="4015060" y="1151735"/>
                  <a:pt x="3188776" y="323947"/>
                  <a:pt x="2169503" y="323947"/>
                </a:cubicBezTo>
                <a:close/>
                <a:moveTo>
                  <a:pt x="2171520" y="0"/>
                </a:moveTo>
                <a:cubicBezTo>
                  <a:pt x="3370817" y="0"/>
                  <a:pt x="4343040" y="973727"/>
                  <a:pt x="4343040" y="2174880"/>
                </a:cubicBezTo>
                <a:cubicBezTo>
                  <a:pt x="4343040" y="3376033"/>
                  <a:pt x="3370817" y="4349760"/>
                  <a:pt x="2171520" y="4349760"/>
                </a:cubicBezTo>
                <a:cubicBezTo>
                  <a:pt x="972223" y="4349760"/>
                  <a:pt x="0" y="3376033"/>
                  <a:pt x="0" y="2174880"/>
                </a:cubicBezTo>
                <a:cubicBezTo>
                  <a:pt x="0" y="973727"/>
                  <a:pt x="972223" y="0"/>
                  <a:pt x="2171520" y="0"/>
                </a:cubicBezTo>
                <a:close/>
              </a:path>
            </a:pathLst>
          </a:custGeom>
          <a:solidFill>
            <a:srgbClr val="EC0000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30" name="Freeform 36"/>
          <p:cNvSpPr>
            <a:spLocks noEditPoints="1"/>
          </p:cNvSpPr>
          <p:nvPr/>
        </p:nvSpPr>
        <p:spPr bwMode="auto">
          <a:xfrm>
            <a:off x="5190192" y="2268915"/>
            <a:ext cx="595787" cy="590497"/>
          </a:xfrm>
          <a:custGeom>
            <a:avLst/>
            <a:gdLst>
              <a:gd name="T0" fmla="*/ 1141 w 2252"/>
              <a:gd name="T1" fmla="*/ 1884 h 2233"/>
              <a:gd name="T2" fmla="*/ 1169 w 2252"/>
              <a:gd name="T3" fmla="*/ 2142 h 2233"/>
              <a:gd name="T4" fmla="*/ 1281 w 2252"/>
              <a:gd name="T5" fmla="*/ 1945 h 2233"/>
              <a:gd name="T6" fmla="*/ 1169 w 2252"/>
              <a:gd name="T7" fmla="*/ 2094 h 2233"/>
              <a:gd name="T8" fmla="*/ 1152 w 2252"/>
              <a:gd name="T9" fmla="*/ 1930 h 2233"/>
              <a:gd name="T10" fmla="*/ 1235 w 2252"/>
              <a:gd name="T11" fmla="*/ 1963 h 2233"/>
              <a:gd name="T12" fmla="*/ 1252 w 2252"/>
              <a:gd name="T13" fmla="*/ 2011 h 2233"/>
              <a:gd name="T14" fmla="*/ 1031 w 2252"/>
              <a:gd name="T15" fmla="*/ 1026 h 2233"/>
              <a:gd name="T16" fmla="*/ 951 w 2252"/>
              <a:gd name="T17" fmla="*/ 1070 h 2233"/>
              <a:gd name="T18" fmla="*/ 1266 w 2252"/>
              <a:gd name="T19" fmla="*/ 1788 h 2233"/>
              <a:gd name="T20" fmla="*/ 1297 w 2252"/>
              <a:gd name="T21" fmla="*/ 1800 h 2233"/>
              <a:gd name="T22" fmla="*/ 2010 w 2252"/>
              <a:gd name="T23" fmla="*/ 1472 h 2233"/>
              <a:gd name="T24" fmla="*/ 1695 w 2252"/>
              <a:gd name="T25" fmla="*/ 754 h 2233"/>
              <a:gd name="T26" fmla="*/ 1595 w 2252"/>
              <a:gd name="T27" fmla="*/ 773 h 2233"/>
              <a:gd name="T28" fmla="*/ 1358 w 2252"/>
              <a:gd name="T29" fmla="*/ 261 h 2233"/>
              <a:gd name="T30" fmla="*/ 1079 w 2252"/>
              <a:gd name="T31" fmla="*/ 378 h 2233"/>
              <a:gd name="T32" fmla="*/ 979 w 2252"/>
              <a:gd name="T33" fmla="*/ 424 h 2233"/>
              <a:gd name="T34" fmla="*/ 807 w 2252"/>
              <a:gd name="T35" fmla="*/ 527 h 2233"/>
              <a:gd name="T36" fmla="*/ 1446 w 2252"/>
              <a:gd name="T37" fmla="*/ 892 h 2233"/>
              <a:gd name="T38" fmla="*/ 1396 w 2252"/>
              <a:gd name="T39" fmla="*/ 1049 h 2233"/>
              <a:gd name="T40" fmla="*/ 1298 w 2252"/>
              <a:gd name="T41" fmla="*/ 1168 h 2233"/>
              <a:gd name="T42" fmla="*/ 1446 w 2252"/>
              <a:gd name="T43" fmla="*/ 892 h 2233"/>
              <a:gd name="T44" fmla="*/ 1299 w 2252"/>
              <a:gd name="T45" fmla="*/ 1746 h 2233"/>
              <a:gd name="T46" fmla="*/ 1176 w 2252"/>
              <a:gd name="T47" fmla="*/ 1014 h 2233"/>
              <a:gd name="T48" fmla="*/ 1291 w 2252"/>
              <a:gd name="T49" fmla="*/ 1240 h 2233"/>
              <a:gd name="T50" fmla="*/ 1313 w 2252"/>
              <a:gd name="T51" fmla="*/ 1230 h 2233"/>
              <a:gd name="T52" fmla="*/ 1561 w 2252"/>
              <a:gd name="T53" fmla="*/ 1119 h 2233"/>
              <a:gd name="T54" fmla="*/ 1585 w 2252"/>
              <a:gd name="T55" fmla="*/ 1085 h 2233"/>
              <a:gd name="T56" fmla="*/ 1661 w 2252"/>
              <a:gd name="T57" fmla="*/ 796 h 2233"/>
              <a:gd name="T58" fmla="*/ 1099 w 2252"/>
              <a:gd name="T59" fmla="*/ 422 h 2233"/>
              <a:gd name="T60" fmla="*/ 1229 w 2252"/>
              <a:gd name="T61" fmla="*/ 502 h 2233"/>
              <a:gd name="T62" fmla="*/ 1120 w 2252"/>
              <a:gd name="T63" fmla="*/ 504 h 2233"/>
              <a:gd name="T64" fmla="*/ 1020 w 2252"/>
              <a:gd name="T65" fmla="*/ 457 h 2233"/>
              <a:gd name="T66" fmla="*/ 976 w 2252"/>
              <a:gd name="T67" fmla="*/ 477 h 2233"/>
              <a:gd name="T68" fmla="*/ 1065 w 2252"/>
              <a:gd name="T69" fmla="*/ 644 h 2233"/>
              <a:gd name="T70" fmla="*/ 1086 w 2252"/>
              <a:gd name="T71" fmla="*/ 634 h 2233"/>
              <a:gd name="T72" fmla="*/ 1266 w 2252"/>
              <a:gd name="T73" fmla="*/ 553 h 2233"/>
              <a:gd name="T74" fmla="*/ 1290 w 2252"/>
              <a:gd name="T75" fmla="*/ 520 h 2233"/>
              <a:gd name="T76" fmla="*/ 1337 w 2252"/>
              <a:gd name="T77" fmla="*/ 315 h 2233"/>
              <a:gd name="T78" fmla="*/ 1075 w 2252"/>
              <a:gd name="T79" fmla="*/ 1006 h 2233"/>
              <a:gd name="T80" fmla="*/ 976 w 2252"/>
              <a:gd name="T81" fmla="*/ 477 h 2233"/>
              <a:gd name="T82" fmla="*/ 2215 w 2252"/>
              <a:gd name="T83" fmla="*/ 1487 h 2233"/>
              <a:gd name="T84" fmla="*/ 1169 w 2252"/>
              <a:gd name="T85" fmla="*/ 1790 h 2233"/>
              <a:gd name="T86" fmla="*/ 434 w 2252"/>
              <a:gd name="T87" fmla="*/ 166 h 2233"/>
              <a:gd name="T88" fmla="*/ 35 w 2252"/>
              <a:gd name="T89" fmla="*/ 5 h 2233"/>
              <a:gd name="T90" fmla="*/ 18 w 2252"/>
              <a:gd name="T91" fmla="*/ 50 h 2233"/>
              <a:gd name="T92" fmla="*/ 1096 w 2252"/>
              <a:gd name="T93" fmla="*/ 1803 h 2233"/>
              <a:gd name="T94" fmla="*/ 1169 w 2252"/>
              <a:gd name="T95" fmla="*/ 2233 h 2233"/>
              <a:gd name="T96" fmla="*/ 1371 w 2252"/>
              <a:gd name="T97" fmla="*/ 1921 h 2233"/>
              <a:gd name="T98" fmla="*/ 2247 w 2252"/>
              <a:gd name="T99" fmla="*/ 1499 h 2233"/>
              <a:gd name="T100" fmla="*/ 996 w 2252"/>
              <a:gd name="T101" fmla="*/ 2011 h 2233"/>
              <a:gd name="T102" fmla="*/ 1135 w 2252"/>
              <a:gd name="T103" fmla="*/ 1842 h 2233"/>
              <a:gd name="T104" fmla="*/ 1319 w 2252"/>
              <a:gd name="T105" fmla="*/ 1925 h 2233"/>
              <a:gd name="T106" fmla="*/ 1322 w 2252"/>
              <a:gd name="T107" fmla="*/ 1929 h 2233"/>
              <a:gd name="T108" fmla="*/ 1169 w 2252"/>
              <a:gd name="T109" fmla="*/ 2185 h 2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252" h="2233">
                <a:moveTo>
                  <a:pt x="1273" y="1934"/>
                </a:moveTo>
                <a:cubicBezTo>
                  <a:pt x="1246" y="1895"/>
                  <a:pt x="1194" y="1872"/>
                  <a:pt x="1141" y="1884"/>
                </a:cubicBezTo>
                <a:cubicBezTo>
                  <a:pt x="1082" y="1897"/>
                  <a:pt x="1039" y="1950"/>
                  <a:pt x="1039" y="2011"/>
                </a:cubicBezTo>
                <a:cubicBezTo>
                  <a:pt x="1039" y="2083"/>
                  <a:pt x="1097" y="2142"/>
                  <a:pt x="1169" y="2142"/>
                </a:cubicBezTo>
                <a:cubicBezTo>
                  <a:pt x="1241" y="2142"/>
                  <a:pt x="1299" y="2083"/>
                  <a:pt x="1299" y="2011"/>
                </a:cubicBezTo>
                <a:cubicBezTo>
                  <a:pt x="1299" y="1986"/>
                  <a:pt x="1292" y="1962"/>
                  <a:pt x="1281" y="1945"/>
                </a:cubicBezTo>
                <a:cubicBezTo>
                  <a:pt x="1278" y="1940"/>
                  <a:pt x="1275" y="1936"/>
                  <a:pt x="1273" y="1934"/>
                </a:cubicBezTo>
                <a:close/>
                <a:moveTo>
                  <a:pt x="1169" y="2094"/>
                </a:moveTo>
                <a:cubicBezTo>
                  <a:pt x="1124" y="2094"/>
                  <a:pt x="1087" y="2057"/>
                  <a:pt x="1087" y="2011"/>
                </a:cubicBezTo>
                <a:cubicBezTo>
                  <a:pt x="1087" y="1973"/>
                  <a:pt x="1114" y="1939"/>
                  <a:pt x="1152" y="1930"/>
                </a:cubicBezTo>
                <a:cubicBezTo>
                  <a:pt x="1157" y="1929"/>
                  <a:pt x="1162" y="1929"/>
                  <a:pt x="1169" y="1929"/>
                </a:cubicBezTo>
                <a:cubicBezTo>
                  <a:pt x="1195" y="1929"/>
                  <a:pt x="1220" y="1941"/>
                  <a:pt x="1235" y="1963"/>
                </a:cubicBezTo>
                <a:cubicBezTo>
                  <a:pt x="1239" y="1969"/>
                  <a:pt x="1239" y="1969"/>
                  <a:pt x="1239" y="1969"/>
                </a:cubicBezTo>
                <a:cubicBezTo>
                  <a:pt x="1247" y="1981"/>
                  <a:pt x="1252" y="1996"/>
                  <a:pt x="1252" y="2011"/>
                </a:cubicBezTo>
                <a:cubicBezTo>
                  <a:pt x="1252" y="2057"/>
                  <a:pt x="1215" y="2094"/>
                  <a:pt x="1169" y="2094"/>
                </a:cubicBezTo>
                <a:close/>
                <a:moveTo>
                  <a:pt x="1031" y="1026"/>
                </a:moveTo>
                <a:cubicBezTo>
                  <a:pt x="963" y="1056"/>
                  <a:pt x="963" y="1056"/>
                  <a:pt x="963" y="1056"/>
                </a:cubicBezTo>
                <a:cubicBezTo>
                  <a:pt x="957" y="1059"/>
                  <a:pt x="953" y="1064"/>
                  <a:pt x="951" y="1070"/>
                </a:cubicBezTo>
                <a:cubicBezTo>
                  <a:pt x="948" y="1076"/>
                  <a:pt x="949" y="1082"/>
                  <a:pt x="951" y="1088"/>
                </a:cubicBezTo>
                <a:cubicBezTo>
                  <a:pt x="1266" y="1788"/>
                  <a:pt x="1266" y="1788"/>
                  <a:pt x="1266" y="1788"/>
                </a:cubicBezTo>
                <a:cubicBezTo>
                  <a:pt x="1270" y="1797"/>
                  <a:pt x="1278" y="1802"/>
                  <a:pt x="1287" y="1802"/>
                </a:cubicBezTo>
                <a:cubicBezTo>
                  <a:pt x="1291" y="1802"/>
                  <a:pt x="1294" y="1801"/>
                  <a:pt x="1297" y="1800"/>
                </a:cubicBezTo>
                <a:cubicBezTo>
                  <a:pt x="1997" y="1486"/>
                  <a:pt x="1997" y="1486"/>
                  <a:pt x="1997" y="1486"/>
                </a:cubicBezTo>
                <a:cubicBezTo>
                  <a:pt x="2003" y="1483"/>
                  <a:pt x="2007" y="1478"/>
                  <a:pt x="2010" y="1472"/>
                </a:cubicBezTo>
                <a:cubicBezTo>
                  <a:pt x="2012" y="1466"/>
                  <a:pt x="2012" y="1460"/>
                  <a:pt x="2009" y="1454"/>
                </a:cubicBezTo>
                <a:cubicBezTo>
                  <a:pt x="1695" y="754"/>
                  <a:pt x="1695" y="754"/>
                  <a:pt x="1695" y="754"/>
                </a:cubicBezTo>
                <a:cubicBezTo>
                  <a:pt x="1689" y="742"/>
                  <a:pt x="1675" y="737"/>
                  <a:pt x="1663" y="742"/>
                </a:cubicBezTo>
                <a:cubicBezTo>
                  <a:pt x="1595" y="773"/>
                  <a:pt x="1595" y="773"/>
                  <a:pt x="1595" y="773"/>
                </a:cubicBezTo>
                <a:cubicBezTo>
                  <a:pt x="1371" y="274"/>
                  <a:pt x="1371" y="274"/>
                  <a:pt x="1371" y="274"/>
                </a:cubicBezTo>
                <a:cubicBezTo>
                  <a:pt x="1368" y="268"/>
                  <a:pt x="1364" y="263"/>
                  <a:pt x="1358" y="261"/>
                </a:cubicBezTo>
                <a:cubicBezTo>
                  <a:pt x="1352" y="259"/>
                  <a:pt x="1345" y="259"/>
                  <a:pt x="1339" y="262"/>
                </a:cubicBezTo>
                <a:cubicBezTo>
                  <a:pt x="1079" y="378"/>
                  <a:pt x="1079" y="378"/>
                  <a:pt x="1079" y="378"/>
                </a:cubicBezTo>
                <a:cubicBezTo>
                  <a:pt x="979" y="424"/>
                  <a:pt x="979" y="424"/>
                  <a:pt x="979" y="424"/>
                </a:cubicBezTo>
                <a:cubicBezTo>
                  <a:pt x="979" y="424"/>
                  <a:pt x="979" y="424"/>
                  <a:pt x="979" y="424"/>
                </a:cubicBezTo>
                <a:cubicBezTo>
                  <a:pt x="819" y="495"/>
                  <a:pt x="819" y="495"/>
                  <a:pt x="819" y="495"/>
                </a:cubicBezTo>
                <a:cubicBezTo>
                  <a:pt x="807" y="501"/>
                  <a:pt x="802" y="515"/>
                  <a:pt x="807" y="527"/>
                </a:cubicBezTo>
                <a:lnTo>
                  <a:pt x="1031" y="1026"/>
                </a:lnTo>
                <a:close/>
                <a:moveTo>
                  <a:pt x="1446" y="892"/>
                </a:moveTo>
                <a:cubicBezTo>
                  <a:pt x="1524" y="1066"/>
                  <a:pt x="1524" y="1066"/>
                  <a:pt x="1524" y="1066"/>
                </a:cubicBezTo>
                <a:cubicBezTo>
                  <a:pt x="1396" y="1049"/>
                  <a:pt x="1396" y="1049"/>
                  <a:pt x="1396" y="1049"/>
                </a:cubicBezTo>
                <a:cubicBezTo>
                  <a:pt x="1387" y="1048"/>
                  <a:pt x="1378" y="1052"/>
                  <a:pt x="1373" y="1060"/>
                </a:cubicBezTo>
                <a:cubicBezTo>
                  <a:pt x="1298" y="1168"/>
                  <a:pt x="1298" y="1168"/>
                  <a:pt x="1298" y="1168"/>
                </a:cubicBezTo>
                <a:cubicBezTo>
                  <a:pt x="1220" y="994"/>
                  <a:pt x="1220" y="994"/>
                  <a:pt x="1220" y="994"/>
                </a:cubicBezTo>
                <a:lnTo>
                  <a:pt x="1446" y="892"/>
                </a:lnTo>
                <a:close/>
                <a:moveTo>
                  <a:pt x="1955" y="1452"/>
                </a:moveTo>
                <a:cubicBezTo>
                  <a:pt x="1299" y="1746"/>
                  <a:pt x="1299" y="1746"/>
                  <a:pt x="1299" y="1746"/>
                </a:cubicBezTo>
                <a:cubicBezTo>
                  <a:pt x="1005" y="1090"/>
                  <a:pt x="1005" y="1090"/>
                  <a:pt x="1005" y="1090"/>
                </a:cubicBezTo>
                <a:cubicBezTo>
                  <a:pt x="1176" y="1014"/>
                  <a:pt x="1176" y="1014"/>
                  <a:pt x="1176" y="1014"/>
                </a:cubicBezTo>
                <a:cubicBezTo>
                  <a:pt x="1271" y="1226"/>
                  <a:pt x="1271" y="1226"/>
                  <a:pt x="1271" y="1226"/>
                </a:cubicBezTo>
                <a:cubicBezTo>
                  <a:pt x="1275" y="1234"/>
                  <a:pt x="1282" y="1240"/>
                  <a:pt x="1291" y="1240"/>
                </a:cubicBezTo>
                <a:cubicBezTo>
                  <a:pt x="1292" y="1240"/>
                  <a:pt x="1292" y="1240"/>
                  <a:pt x="1293" y="1240"/>
                </a:cubicBezTo>
                <a:cubicBezTo>
                  <a:pt x="1301" y="1240"/>
                  <a:pt x="1308" y="1237"/>
                  <a:pt x="1313" y="1230"/>
                </a:cubicBezTo>
                <a:cubicBezTo>
                  <a:pt x="1404" y="1099"/>
                  <a:pt x="1404" y="1099"/>
                  <a:pt x="1404" y="1099"/>
                </a:cubicBezTo>
                <a:cubicBezTo>
                  <a:pt x="1561" y="1119"/>
                  <a:pt x="1561" y="1119"/>
                  <a:pt x="1561" y="1119"/>
                </a:cubicBezTo>
                <a:cubicBezTo>
                  <a:pt x="1569" y="1120"/>
                  <a:pt x="1578" y="1116"/>
                  <a:pt x="1583" y="1109"/>
                </a:cubicBezTo>
                <a:cubicBezTo>
                  <a:pt x="1588" y="1102"/>
                  <a:pt x="1589" y="1093"/>
                  <a:pt x="1585" y="1085"/>
                </a:cubicBezTo>
                <a:cubicBezTo>
                  <a:pt x="1490" y="873"/>
                  <a:pt x="1490" y="873"/>
                  <a:pt x="1490" y="873"/>
                </a:cubicBezTo>
                <a:cubicBezTo>
                  <a:pt x="1661" y="796"/>
                  <a:pt x="1661" y="796"/>
                  <a:pt x="1661" y="796"/>
                </a:cubicBezTo>
                <a:lnTo>
                  <a:pt x="1955" y="1452"/>
                </a:lnTo>
                <a:close/>
                <a:moveTo>
                  <a:pt x="1099" y="422"/>
                </a:moveTo>
                <a:cubicBezTo>
                  <a:pt x="1177" y="387"/>
                  <a:pt x="1177" y="387"/>
                  <a:pt x="1177" y="387"/>
                </a:cubicBezTo>
                <a:cubicBezTo>
                  <a:pt x="1229" y="502"/>
                  <a:pt x="1229" y="502"/>
                  <a:pt x="1229" y="502"/>
                </a:cubicBezTo>
                <a:cubicBezTo>
                  <a:pt x="1141" y="494"/>
                  <a:pt x="1141" y="494"/>
                  <a:pt x="1141" y="494"/>
                </a:cubicBezTo>
                <a:cubicBezTo>
                  <a:pt x="1132" y="493"/>
                  <a:pt x="1125" y="497"/>
                  <a:pt x="1120" y="504"/>
                </a:cubicBezTo>
                <a:cubicBezTo>
                  <a:pt x="1072" y="572"/>
                  <a:pt x="1072" y="572"/>
                  <a:pt x="1072" y="572"/>
                </a:cubicBezTo>
                <a:cubicBezTo>
                  <a:pt x="1020" y="457"/>
                  <a:pt x="1020" y="457"/>
                  <a:pt x="1020" y="457"/>
                </a:cubicBezTo>
                <a:lnTo>
                  <a:pt x="1099" y="422"/>
                </a:lnTo>
                <a:close/>
                <a:moveTo>
                  <a:pt x="976" y="477"/>
                </a:moveTo>
                <a:cubicBezTo>
                  <a:pt x="1045" y="630"/>
                  <a:pt x="1045" y="630"/>
                  <a:pt x="1045" y="630"/>
                </a:cubicBezTo>
                <a:cubicBezTo>
                  <a:pt x="1049" y="637"/>
                  <a:pt x="1056" y="643"/>
                  <a:pt x="1065" y="644"/>
                </a:cubicBezTo>
                <a:cubicBezTo>
                  <a:pt x="1065" y="644"/>
                  <a:pt x="1066" y="644"/>
                  <a:pt x="1067" y="644"/>
                </a:cubicBezTo>
                <a:cubicBezTo>
                  <a:pt x="1075" y="644"/>
                  <a:pt x="1082" y="640"/>
                  <a:pt x="1086" y="634"/>
                </a:cubicBezTo>
                <a:cubicBezTo>
                  <a:pt x="1151" y="543"/>
                  <a:pt x="1151" y="543"/>
                  <a:pt x="1151" y="543"/>
                </a:cubicBezTo>
                <a:cubicBezTo>
                  <a:pt x="1266" y="553"/>
                  <a:pt x="1266" y="553"/>
                  <a:pt x="1266" y="553"/>
                </a:cubicBezTo>
                <a:cubicBezTo>
                  <a:pt x="1274" y="554"/>
                  <a:pt x="1282" y="550"/>
                  <a:pt x="1287" y="543"/>
                </a:cubicBezTo>
                <a:cubicBezTo>
                  <a:pt x="1292" y="537"/>
                  <a:pt x="1293" y="527"/>
                  <a:pt x="1290" y="520"/>
                </a:cubicBezTo>
                <a:cubicBezTo>
                  <a:pt x="1221" y="367"/>
                  <a:pt x="1221" y="367"/>
                  <a:pt x="1221" y="367"/>
                </a:cubicBezTo>
                <a:cubicBezTo>
                  <a:pt x="1337" y="315"/>
                  <a:pt x="1337" y="315"/>
                  <a:pt x="1337" y="315"/>
                </a:cubicBezTo>
                <a:cubicBezTo>
                  <a:pt x="1551" y="792"/>
                  <a:pt x="1551" y="792"/>
                  <a:pt x="1551" y="792"/>
                </a:cubicBezTo>
                <a:cubicBezTo>
                  <a:pt x="1075" y="1006"/>
                  <a:pt x="1075" y="1006"/>
                  <a:pt x="1075" y="1006"/>
                </a:cubicBezTo>
                <a:cubicBezTo>
                  <a:pt x="861" y="529"/>
                  <a:pt x="861" y="529"/>
                  <a:pt x="861" y="529"/>
                </a:cubicBezTo>
                <a:lnTo>
                  <a:pt x="976" y="477"/>
                </a:lnTo>
                <a:close/>
                <a:moveTo>
                  <a:pt x="2247" y="1499"/>
                </a:moveTo>
                <a:cubicBezTo>
                  <a:pt x="2242" y="1487"/>
                  <a:pt x="2227" y="1482"/>
                  <a:pt x="2215" y="1487"/>
                </a:cubicBezTo>
                <a:cubicBezTo>
                  <a:pt x="1346" y="1880"/>
                  <a:pt x="1346" y="1880"/>
                  <a:pt x="1346" y="1880"/>
                </a:cubicBezTo>
                <a:cubicBezTo>
                  <a:pt x="1305" y="1824"/>
                  <a:pt x="1239" y="1790"/>
                  <a:pt x="1169" y="1790"/>
                </a:cubicBezTo>
                <a:cubicBezTo>
                  <a:pt x="1160" y="1790"/>
                  <a:pt x="1152" y="1792"/>
                  <a:pt x="1144" y="1793"/>
                </a:cubicBezTo>
                <a:cubicBezTo>
                  <a:pt x="434" y="166"/>
                  <a:pt x="434" y="166"/>
                  <a:pt x="434" y="166"/>
                </a:cubicBezTo>
                <a:cubicBezTo>
                  <a:pt x="432" y="160"/>
                  <a:pt x="427" y="155"/>
                  <a:pt x="421" y="153"/>
                </a:cubicBezTo>
                <a:cubicBezTo>
                  <a:pt x="35" y="5"/>
                  <a:pt x="35" y="5"/>
                  <a:pt x="35" y="5"/>
                </a:cubicBezTo>
                <a:cubicBezTo>
                  <a:pt x="23" y="0"/>
                  <a:pt x="9" y="7"/>
                  <a:pt x="4" y="19"/>
                </a:cubicBezTo>
                <a:cubicBezTo>
                  <a:pt x="0" y="31"/>
                  <a:pt x="6" y="45"/>
                  <a:pt x="18" y="50"/>
                </a:cubicBezTo>
                <a:cubicBezTo>
                  <a:pt x="394" y="194"/>
                  <a:pt x="394" y="194"/>
                  <a:pt x="394" y="194"/>
                </a:cubicBezTo>
                <a:cubicBezTo>
                  <a:pt x="1096" y="1803"/>
                  <a:pt x="1096" y="1803"/>
                  <a:pt x="1096" y="1803"/>
                </a:cubicBezTo>
                <a:cubicBezTo>
                  <a:pt x="1007" y="1834"/>
                  <a:pt x="948" y="1916"/>
                  <a:pt x="948" y="2011"/>
                </a:cubicBezTo>
                <a:cubicBezTo>
                  <a:pt x="948" y="2133"/>
                  <a:pt x="1047" y="2233"/>
                  <a:pt x="1169" y="2233"/>
                </a:cubicBezTo>
                <a:cubicBezTo>
                  <a:pt x="1291" y="2233"/>
                  <a:pt x="1391" y="2133"/>
                  <a:pt x="1391" y="2011"/>
                </a:cubicBezTo>
                <a:cubicBezTo>
                  <a:pt x="1391" y="1980"/>
                  <a:pt x="1384" y="1950"/>
                  <a:pt x="1371" y="1921"/>
                </a:cubicBezTo>
                <a:cubicBezTo>
                  <a:pt x="2235" y="1531"/>
                  <a:pt x="2235" y="1531"/>
                  <a:pt x="2235" y="1531"/>
                </a:cubicBezTo>
                <a:cubicBezTo>
                  <a:pt x="2247" y="1526"/>
                  <a:pt x="2252" y="1511"/>
                  <a:pt x="2247" y="1499"/>
                </a:cubicBezTo>
                <a:close/>
                <a:moveTo>
                  <a:pt x="1169" y="2185"/>
                </a:moveTo>
                <a:cubicBezTo>
                  <a:pt x="1073" y="2185"/>
                  <a:pt x="996" y="2107"/>
                  <a:pt x="996" y="2011"/>
                </a:cubicBezTo>
                <a:cubicBezTo>
                  <a:pt x="996" y="1935"/>
                  <a:pt x="1044" y="1869"/>
                  <a:pt x="1117" y="1846"/>
                </a:cubicBezTo>
                <a:cubicBezTo>
                  <a:pt x="1123" y="1844"/>
                  <a:pt x="1128" y="1843"/>
                  <a:pt x="1135" y="1842"/>
                </a:cubicBezTo>
                <a:cubicBezTo>
                  <a:pt x="1146" y="1839"/>
                  <a:pt x="1157" y="1838"/>
                  <a:pt x="1169" y="1838"/>
                </a:cubicBezTo>
                <a:cubicBezTo>
                  <a:pt x="1229" y="1838"/>
                  <a:pt x="1286" y="1870"/>
                  <a:pt x="1319" y="1925"/>
                </a:cubicBezTo>
                <a:cubicBezTo>
                  <a:pt x="1320" y="1926"/>
                  <a:pt x="1320" y="1927"/>
                  <a:pt x="1321" y="1928"/>
                </a:cubicBezTo>
                <a:cubicBezTo>
                  <a:pt x="1321" y="1929"/>
                  <a:pt x="1321" y="1929"/>
                  <a:pt x="1322" y="1929"/>
                </a:cubicBezTo>
                <a:cubicBezTo>
                  <a:pt x="1335" y="1954"/>
                  <a:pt x="1343" y="1983"/>
                  <a:pt x="1343" y="2011"/>
                </a:cubicBezTo>
                <a:cubicBezTo>
                  <a:pt x="1343" y="2107"/>
                  <a:pt x="1265" y="2185"/>
                  <a:pt x="1169" y="218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5" name="Freeform 14"/>
          <p:cNvSpPr>
            <a:spLocks noChangeArrowheads="1"/>
          </p:cNvSpPr>
          <p:nvPr/>
        </p:nvSpPr>
        <p:spPr bwMode="auto">
          <a:xfrm>
            <a:off x="6715831" y="1815124"/>
            <a:ext cx="1414790" cy="1418298"/>
          </a:xfrm>
          <a:custGeom>
            <a:avLst/>
            <a:gdLst>
              <a:gd name="connsiteX0" fmla="*/ 2169504 w 4339006"/>
              <a:gd name="connsiteY0" fmla="*/ 323947 h 4349760"/>
              <a:gd name="connsiteX1" fmla="*/ 323948 w 4339006"/>
              <a:gd name="connsiteY1" fmla="*/ 2172864 h 4349760"/>
              <a:gd name="connsiteX2" fmla="*/ 2169504 w 4339006"/>
              <a:gd name="connsiteY2" fmla="*/ 4021781 h 4349760"/>
              <a:gd name="connsiteX3" fmla="*/ 4015062 w 4339006"/>
              <a:gd name="connsiteY3" fmla="*/ 2172864 h 4349760"/>
              <a:gd name="connsiteX4" fmla="*/ 2169504 w 4339006"/>
              <a:gd name="connsiteY4" fmla="*/ 323947 h 4349760"/>
              <a:gd name="connsiteX5" fmla="*/ 2169504 w 4339006"/>
              <a:gd name="connsiteY5" fmla="*/ 0 h 4349760"/>
              <a:gd name="connsiteX6" fmla="*/ 4339006 w 4339006"/>
              <a:gd name="connsiteY6" fmla="*/ 2174880 h 4349760"/>
              <a:gd name="connsiteX7" fmla="*/ 2169504 w 4339006"/>
              <a:gd name="connsiteY7" fmla="*/ 4349760 h 4349760"/>
              <a:gd name="connsiteX8" fmla="*/ 0 w 4339006"/>
              <a:gd name="connsiteY8" fmla="*/ 2174880 h 4349760"/>
              <a:gd name="connsiteX9" fmla="*/ 2169504 w 4339006"/>
              <a:gd name="connsiteY9" fmla="*/ 0 h 4349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9006" h="4349760">
                <a:moveTo>
                  <a:pt x="2169504" y="323947"/>
                </a:moveTo>
                <a:cubicBezTo>
                  <a:pt x="1150232" y="323947"/>
                  <a:pt x="323948" y="1151735"/>
                  <a:pt x="323948" y="2172864"/>
                </a:cubicBezTo>
                <a:cubicBezTo>
                  <a:pt x="323948" y="3193993"/>
                  <a:pt x="1150232" y="4021781"/>
                  <a:pt x="2169504" y="4021781"/>
                </a:cubicBezTo>
                <a:cubicBezTo>
                  <a:pt x="3188778" y="4021781"/>
                  <a:pt x="4015062" y="3193993"/>
                  <a:pt x="4015062" y="2172864"/>
                </a:cubicBezTo>
                <a:cubicBezTo>
                  <a:pt x="4015062" y="1151735"/>
                  <a:pt x="3188778" y="323947"/>
                  <a:pt x="2169504" y="323947"/>
                </a:cubicBezTo>
                <a:close/>
                <a:moveTo>
                  <a:pt x="2169504" y="0"/>
                </a:moveTo>
                <a:cubicBezTo>
                  <a:pt x="3367686" y="0"/>
                  <a:pt x="4339006" y="973727"/>
                  <a:pt x="4339006" y="2174880"/>
                </a:cubicBezTo>
                <a:cubicBezTo>
                  <a:pt x="4339006" y="3376033"/>
                  <a:pt x="3367686" y="4349760"/>
                  <a:pt x="2169504" y="4349760"/>
                </a:cubicBezTo>
                <a:cubicBezTo>
                  <a:pt x="971320" y="4349760"/>
                  <a:pt x="0" y="3376033"/>
                  <a:pt x="0" y="2174880"/>
                </a:cubicBezTo>
                <a:cubicBezTo>
                  <a:pt x="0" y="973727"/>
                  <a:pt x="971320" y="0"/>
                  <a:pt x="2169504" y="0"/>
                </a:cubicBezTo>
                <a:close/>
              </a:path>
            </a:pathLst>
          </a:custGeom>
          <a:solidFill>
            <a:srgbClr val="EC0000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31" name="Freeform 40"/>
          <p:cNvSpPr>
            <a:spLocks noEditPoints="1"/>
          </p:cNvSpPr>
          <p:nvPr/>
        </p:nvSpPr>
        <p:spPr bwMode="auto">
          <a:xfrm>
            <a:off x="7045138" y="2376850"/>
            <a:ext cx="756250" cy="374243"/>
          </a:xfrm>
          <a:custGeom>
            <a:avLst/>
            <a:gdLst>
              <a:gd name="T0" fmla="*/ 3096 w 3099"/>
              <a:gd name="T1" fmla="*/ 556 h 1531"/>
              <a:gd name="T2" fmla="*/ 2328 w 3099"/>
              <a:gd name="T3" fmla="*/ 28 h 1531"/>
              <a:gd name="T4" fmla="*/ 840 w 3099"/>
              <a:gd name="T5" fmla="*/ 184 h 1531"/>
              <a:gd name="T6" fmla="*/ 1195 w 3099"/>
              <a:gd name="T7" fmla="*/ 1345 h 1531"/>
              <a:gd name="T8" fmla="*/ 2300 w 3099"/>
              <a:gd name="T9" fmla="*/ 1345 h 1531"/>
              <a:gd name="T10" fmla="*/ 2916 w 3099"/>
              <a:gd name="T11" fmla="*/ 1345 h 1531"/>
              <a:gd name="T12" fmla="*/ 3096 w 3099"/>
              <a:gd name="T13" fmla="*/ 742 h 1531"/>
              <a:gd name="T14" fmla="*/ 3038 w 3099"/>
              <a:gd name="T15" fmla="*/ 701 h 1531"/>
              <a:gd name="T16" fmla="*/ 2807 w 3099"/>
              <a:gd name="T17" fmla="*/ 325 h 1531"/>
              <a:gd name="T18" fmla="*/ 2412 w 3099"/>
              <a:gd name="T19" fmla="*/ 701 h 1531"/>
              <a:gd name="T20" fmla="*/ 2412 w 3099"/>
              <a:gd name="T21" fmla="*/ 325 h 1531"/>
              <a:gd name="T22" fmla="*/ 2271 w 3099"/>
              <a:gd name="T23" fmla="*/ 57 h 1531"/>
              <a:gd name="T24" fmla="*/ 1664 w 3099"/>
              <a:gd name="T25" fmla="*/ 1287 h 1531"/>
              <a:gd name="T26" fmla="*/ 1651 w 3099"/>
              <a:gd name="T27" fmla="*/ 1218 h 1531"/>
              <a:gd name="T28" fmla="*/ 1623 w 3099"/>
              <a:gd name="T29" fmla="*/ 1159 h 1531"/>
              <a:gd name="T30" fmla="*/ 1574 w 3099"/>
              <a:gd name="T31" fmla="*/ 1108 h 1531"/>
              <a:gd name="T32" fmla="*/ 1518 w 3099"/>
              <a:gd name="T33" fmla="*/ 1074 h 1531"/>
              <a:gd name="T34" fmla="*/ 1427 w 3099"/>
              <a:gd name="T35" fmla="*/ 1055 h 1531"/>
              <a:gd name="T36" fmla="*/ 1335 w 3099"/>
              <a:gd name="T37" fmla="*/ 1074 h 1531"/>
              <a:gd name="T38" fmla="*/ 1279 w 3099"/>
              <a:gd name="T39" fmla="*/ 1108 h 1531"/>
              <a:gd name="T40" fmla="*/ 1230 w 3099"/>
              <a:gd name="T41" fmla="*/ 1159 h 1531"/>
              <a:gd name="T42" fmla="*/ 1202 w 3099"/>
              <a:gd name="T43" fmla="*/ 1218 h 1531"/>
              <a:gd name="T44" fmla="*/ 1189 w 3099"/>
              <a:gd name="T45" fmla="*/ 1287 h 1531"/>
              <a:gd name="T46" fmla="*/ 1427 w 3099"/>
              <a:gd name="T47" fmla="*/ 1474 h 1531"/>
              <a:gd name="T48" fmla="*/ 1427 w 3099"/>
              <a:gd name="T49" fmla="*/ 1112 h 1531"/>
              <a:gd name="T50" fmla="*/ 1427 w 3099"/>
              <a:gd name="T51" fmla="*/ 1474 h 1531"/>
              <a:gd name="T52" fmla="*/ 2504 w 3099"/>
              <a:gd name="T53" fmla="*/ 1293 h 1531"/>
              <a:gd name="T54" fmla="*/ 2865 w 3099"/>
              <a:gd name="T55" fmla="*/ 1313 h 1531"/>
              <a:gd name="T56" fmla="*/ 2920 w 3099"/>
              <a:gd name="T57" fmla="*/ 1264 h 1531"/>
              <a:gd name="T58" fmla="*/ 2903 w 3099"/>
              <a:gd name="T59" fmla="*/ 1199 h 1531"/>
              <a:gd name="T60" fmla="*/ 2865 w 3099"/>
              <a:gd name="T61" fmla="*/ 1140 h 1531"/>
              <a:gd name="T62" fmla="*/ 2817 w 3099"/>
              <a:gd name="T63" fmla="*/ 1096 h 1531"/>
              <a:gd name="T64" fmla="*/ 2748 w 3099"/>
              <a:gd name="T65" fmla="*/ 1065 h 1531"/>
              <a:gd name="T66" fmla="*/ 2637 w 3099"/>
              <a:gd name="T67" fmla="*/ 1060 h 1531"/>
              <a:gd name="T68" fmla="*/ 2576 w 3099"/>
              <a:gd name="T69" fmla="*/ 1083 h 1531"/>
              <a:gd name="T70" fmla="*/ 2518 w 3099"/>
              <a:gd name="T71" fmla="*/ 1124 h 1531"/>
              <a:gd name="T72" fmla="*/ 2479 w 3099"/>
              <a:gd name="T73" fmla="*/ 1177 h 1531"/>
              <a:gd name="T74" fmla="*/ 2452 w 3099"/>
              <a:gd name="T75" fmla="*/ 1243 h 1531"/>
              <a:gd name="T76" fmla="*/ 2328 w 3099"/>
              <a:gd name="T77" fmla="*/ 1287 h 1531"/>
              <a:gd name="T78" fmla="*/ 2441 w 3099"/>
              <a:gd name="T79" fmla="*/ 760 h 1531"/>
              <a:gd name="T80" fmla="*/ 3038 w 3099"/>
              <a:gd name="T81" fmla="*/ 1287 h 1531"/>
              <a:gd name="T82" fmla="*/ 703 w 3099"/>
              <a:gd name="T83" fmla="*/ 688 h 1531"/>
              <a:gd name="T84" fmla="*/ 28 w 3099"/>
              <a:gd name="T85" fmla="*/ 631 h 1531"/>
              <a:gd name="T86" fmla="*/ 732 w 3099"/>
              <a:gd name="T87" fmla="*/ 424 h 1531"/>
              <a:gd name="T88" fmla="*/ 279 w 3099"/>
              <a:gd name="T89" fmla="*/ 424 h 1531"/>
              <a:gd name="T90" fmla="*/ 732 w 3099"/>
              <a:gd name="T91" fmla="*/ 424 h 1531"/>
              <a:gd name="T92" fmla="*/ 308 w 3099"/>
              <a:gd name="T93" fmla="*/ 924 h 1531"/>
              <a:gd name="T94" fmla="*/ 703 w 3099"/>
              <a:gd name="T95" fmla="*/ 867 h 1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099" h="1531">
                <a:moveTo>
                  <a:pt x="3099" y="729"/>
                </a:moveTo>
                <a:cubicBezTo>
                  <a:pt x="3099" y="725"/>
                  <a:pt x="3097" y="721"/>
                  <a:pt x="3096" y="717"/>
                </a:cubicBezTo>
                <a:cubicBezTo>
                  <a:pt x="3096" y="556"/>
                  <a:pt x="3096" y="556"/>
                  <a:pt x="3096" y="556"/>
                </a:cubicBezTo>
                <a:cubicBezTo>
                  <a:pt x="3096" y="397"/>
                  <a:pt x="2966" y="268"/>
                  <a:pt x="2807" y="268"/>
                </a:cubicBezTo>
                <a:cubicBezTo>
                  <a:pt x="2328" y="268"/>
                  <a:pt x="2328" y="268"/>
                  <a:pt x="2328" y="268"/>
                </a:cubicBezTo>
                <a:cubicBezTo>
                  <a:pt x="2328" y="28"/>
                  <a:pt x="2328" y="28"/>
                  <a:pt x="2328" y="28"/>
                </a:cubicBezTo>
                <a:cubicBezTo>
                  <a:pt x="2328" y="13"/>
                  <a:pt x="2316" y="0"/>
                  <a:pt x="2300" y="0"/>
                </a:cubicBezTo>
                <a:cubicBezTo>
                  <a:pt x="1024" y="0"/>
                  <a:pt x="1024" y="0"/>
                  <a:pt x="1024" y="0"/>
                </a:cubicBezTo>
                <a:cubicBezTo>
                  <a:pt x="922" y="0"/>
                  <a:pt x="840" y="83"/>
                  <a:pt x="840" y="184"/>
                </a:cubicBezTo>
                <a:cubicBezTo>
                  <a:pt x="840" y="1316"/>
                  <a:pt x="840" y="1316"/>
                  <a:pt x="840" y="1316"/>
                </a:cubicBezTo>
                <a:cubicBezTo>
                  <a:pt x="840" y="1332"/>
                  <a:pt x="852" y="1345"/>
                  <a:pt x="868" y="1345"/>
                </a:cubicBezTo>
                <a:cubicBezTo>
                  <a:pt x="1195" y="1345"/>
                  <a:pt x="1195" y="1345"/>
                  <a:pt x="1195" y="1345"/>
                </a:cubicBezTo>
                <a:cubicBezTo>
                  <a:pt x="1219" y="1452"/>
                  <a:pt x="1314" y="1531"/>
                  <a:pt x="1427" y="1531"/>
                </a:cubicBezTo>
                <a:cubicBezTo>
                  <a:pt x="1539" y="1531"/>
                  <a:pt x="1634" y="1453"/>
                  <a:pt x="1658" y="1345"/>
                </a:cubicBezTo>
                <a:cubicBezTo>
                  <a:pt x="2300" y="1345"/>
                  <a:pt x="2300" y="1345"/>
                  <a:pt x="2300" y="1345"/>
                </a:cubicBezTo>
                <a:cubicBezTo>
                  <a:pt x="2453" y="1345"/>
                  <a:pt x="2453" y="1345"/>
                  <a:pt x="2453" y="1345"/>
                </a:cubicBezTo>
                <a:cubicBezTo>
                  <a:pt x="2477" y="1452"/>
                  <a:pt x="2572" y="1531"/>
                  <a:pt x="2685" y="1531"/>
                </a:cubicBezTo>
                <a:cubicBezTo>
                  <a:pt x="2797" y="1531"/>
                  <a:pt x="2892" y="1453"/>
                  <a:pt x="2916" y="1345"/>
                </a:cubicBezTo>
                <a:cubicBezTo>
                  <a:pt x="3067" y="1345"/>
                  <a:pt x="3067" y="1345"/>
                  <a:pt x="3067" y="1345"/>
                </a:cubicBezTo>
                <a:cubicBezTo>
                  <a:pt x="3083" y="1345"/>
                  <a:pt x="3096" y="1332"/>
                  <a:pt x="3096" y="1316"/>
                </a:cubicBezTo>
                <a:cubicBezTo>
                  <a:pt x="3096" y="742"/>
                  <a:pt x="3096" y="742"/>
                  <a:pt x="3096" y="742"/>
                </a:cubicBezTo>
                <a:cubicBezTo>
                  <a:pt x="3097" y="738"/>
                  <a:pt x="3099" y="734"/>
                  <a:pt x="3099" y="729"/>
                </a:cubicBezTo>
                <a:close/>
                <a:moveTo>
                  <a:pt x="3038" y="556"/>
                </a:moveTo>
                <a:cubicBezTo>
                  <a:pt x="3038" y="701"/>
                  <a:pt x="3038" y="701"/>
                  <a:pt x="3038" y="701"/>
                </a:cubicBezTo>
                <a:cubicBezTo>
                  <a:pt x="2469" y="701"/>
                  <a:pt x="2469" y="701"/>
                  <a:pt x="2469" y="701"/>
                </a:cubicBezTo>
                <a:cubicBezTo>
                  <a:pt x="2469" y="325"/>
                  <a:pt x="2469" y="325"/>
                  <a:pt x="2469" y="325"/>
                </a:cubicBezTo>
                <a:cubicBezTo>
                  <a:pt x="2807" y="325"/>
                  <a:pt x="2807" y="325"/>
                  <a:pt x="2807" y="325"/>
                </a:cubicBezTo>
                <a:cubicBezTo>
                  <a:pt x="2935" y="325"/>
                  <a:pt x="3038" y="429"/>
                  <a:pt x="3038" y="556"/>
                </a:cubicBezTo>
                <a:close/>
                <a:moveTo>
                  <a:pt x="2412" y="325"/>
                </a:moveTo>
                <a:cubicBezTo>
                  <a:pt x="2412" y="701"/>
                  <a:pt x="2412" y="701"/>
                  <a:pt x="2412" y="701"/>
                </a:cubicBezTo>
                <a:cubicBezTo>
                  <a:pt x="2328" y="701"/>
                  <a:pt x="2328" y="701"/>
                  <a:pt x="2328" y="701"/>
                </a:cubicBezTo>
                <a:cubicBezTo>
                  <a:pt x="2328" y="325"/>
                  <a:pt x="2328" y="325"/>
                  <a:pt x="2328" y="325"/>
                </a:cubicBezTo>
                <a:lnTo>
                  <a:pt x="2412" y="325"/>
                </a:lnTo>
                <a:close/>
                <a:moveTo>
                  <a:pt x="897" y="184"/>
                </a:moveTo>
                <a:cubicBezTo>
                  <a:pt x="897" y="114"/>
                  <a:pt x="954" y="57"/>
                  <a:pt x="1024" y="57"/>
                </a:cubicBezTo>
                <a:cubicBezTo>
                  <a:pt x="2271" y="57"/>
                  <a:pt x="2271" y="57"/>
                  <a:pt x="2271" y="57"/>
                </a:cubicBezTo>
                <a:cubicBezTo>
                  <a:pt x="2271" y="296"/>
                  <a:pt x="2271" y="296"/>
                  <a:pt x="2271" y="296"/>
                </a:cubicBezTo>
                <a:cubicBezTo>
                  <a:pt x="2271" y="1287"/>
                  <a:pt x="2271" y="1287"/>
                  <a:pt x="2271" y="1287"/>
                </a:cubicBezTo>
                <a:cubicBezTo>
                  <a:pt x="1664" y="1287"/>
                  <a:pt x="1664" y="1287"/>
                  <a:pt x="1664" y="1287"/>
                </a:cubicBezTo>
                <a:cubicBezTo>
                  <a:pt x="1664" y="1279"/>
                  <a:pt x="1663" y="1272"/>
                  <a:pt x="1662" y="1264"/>
                </a:cubicBezTo>
                <a:cubicBezTo>
                  <a:pt x="1661" y="1257"/>
                  <a:pt x="1660" y="1250"/>
                  <a:pt x="1659" y="1243"/>
                </a:cubicBezTo>
                <a:cubicBezTo>
                  <a:pt x="1657" y="1235"/>
                  <a:pt x="1654" y="1227"/>
                  <a:pt x="1651" y="1218"/>
                </a:cubicBezTo>
                <a:cubicBezTo>
                  <a:pt x="1649" y="1212"/>
                  <a:pt x="1648" y="1205"/>
                  <a:pt x="1645" y="1199"/>
                </a:cubicBezTo>
                <a:cubicBezTo>
                  <a:pt x="1641" y="1191"/>
                  <a:pt x="1637" y="1184"/>
                  <a:pt x="1633" y="1177"/>
                </a:cubicBezTo>
                <a:cubicBezTo>
                  <a:pt x="1629" y="1171"/>
                  <a:pt x="1627" y="1165"/>
                  <a:pt x="1623" y="1159"/>
                </a:cubicBezTo>
                <a:cubicBezTo>
                  <a:pt x="1618" y="1152"/>
                  <a:pt x="1612" y="1146"/>
                  <a:pt x="1607" y="1140"/>
                </a:cubicBezTo>
                <a:cubicBezTo>
                  <a:pt x="1602" y="1135"/>
                  <a:pt x="1599" y="1129"/>
                  <a:pt x="1594" y="1124"/>
                </a:cubicBezTo>
                <a:cubicBezTo>
                  <a:pt x="1588" y="1118"/>
                  <a:pt x="1581" y="1113"/>
                  <a:pt x="1574" y="1108"/>
                </a:cubicBezTo>
                <a:cubicBezTo>
                  <a:pt x="1569" y="1104"/>
                  <a:pt x="1564" y="1099"/>
                  <a:pt x="1559" y="1096"/>
                </a:cubicBezTo>
                <a:cubicBezTo>
                  <a:pt x="1551" y="1091"/>
                  <a:pt x="1543" y="1087"/>
                  <a:pt x="1535" y="1083"/>
                </a:cubicBezTo>
                <a:cubicBezTo>
                  <a:pt x="1530" y="1080"/>
                  <a:pt x="1524" y="1076"/>
                  <a:pt x="1518" y="1074"/>
                </a:cubicBezTo>
                <a:cubicBezTo>
                  <a:pt x="1509" y="1070"/>
                  <a:pt x="1500" y="1068"/>
                  <a:pt x="1490" y="1065"/>
                </a:cubicBezTo>
                <a:cubicBezTo>
                  <a:pt x="1485" y="1063"/>
                  <a:pt x="1480" y="1061"/>
                  <a:pt x="1474" y="1060"/>
                </a:cubicBezTo>
                <a:cubicBezTo>
                  <a:pt x="1459" y="1057"/>
                  <a:pt x="1443" y="1055"/>
                  <a:pt x="1427" y="1055"/>
                </a:cubicBezTo>
                <a:cubicBezTo>
                  <a:pt x="1410" y="1055"/>
                  <a:pt x="1394" y="1057"/>
                  <a:pt x="1379" y="1060"/>
                </a:cubicBezTo>
                <a:cubicBezTo>
                  <a:pt x="1374" y="1061"/>
                  <a:pt x="1369" y="1063"/>
                  <a:pt x="1363" y="1065"/>
                </a:cubicBezTo>
                <a:cubicBezTo>
                  <a:pt x="1354" y="1068"/>
                  <a:pt x="1344" y="1070"/>
                  <a:pt x="1335" y="1074"/>
                </a:cubicBezTo>
                <a:cubicBezTo>
                  <a:pt x="1329" y="1076"/>
                  <a:pt x="1324" y="1080"/>
                  <a:pt x="1318" y="1083"/>
                </a:cubicBezTo>
                <a:cubicBezTo>
                  <a:pt x="1310" y="1087"/>
                  <a:pt x="1302" y="1091"/>
                  <a:pt x="1295" y="1096"/>
                </a:cubicBezTo>
                <a:cubicBezTo>
                  <a:pt x="1289" y="1099"/>
                  <a:pt x="1284" y="1104"/>
                  <a:pt x="1279" y="1108"/>
                </a:cubicBezTo>
                <a:cubicBezTo>
                  <a:pt x="1273" y="1113"/>
                  <a:pt x="1266" y="1118"/>
                  <a:pt x="1260" y="1124"/>
                </a:cubicBezTo>
                <a:cubicBezTo>
                  <a:pt x="1255" y="1129"/>
                  <a:pt x="1251" y="1135"/>
                  <a:pt x="1246" y="1140"/>
                </a:cubicBezTo>
                <a:cubicBezTo>
                  <a:pt x="1241" y="1146"/>
                  <a:pt x="1235" y="1152"/>
                  <a:pt x="1230" y="1159"/>
                </a:cubicBezTo>
                <a:cubicBezTo>
                  <a:pt x="1227" y="1165"/>
                  <a:pt x="1224" y="1171"/>
                  <a:pt x="1220" y="1177"/>
                </a:cubicBezTo>
                <a:cubicBezTo>
                  <a:pt x="1216" y="1184"/>
                  <a:pt x="1212" y="1191"/>
                  <a:pt x="1208" y="1199"/>
                </a:cubicBezTo>
                <a:cubicBezTo>
                  <a:pt x="1206" y="1205"/>
                  <a:pt x="1204" y="1212"/>
                  <a:pt x="1202" y="1218"/>
                </a:cubicBezTo>
                <a:cubicBezTo>
                  <a:pt x="1199" y="1227"/>
                  <a:pt x="1196" y="1235"/>
                  <a:pt x="1194" y="1243"/>
                </a:cubicBezTo>
                <a:cubicBezTo>
                  <a:pt x="1193" y="1250"/>
                  <a:pt x="1193" y="1257"/>
                  <a:pt x="1192" y="1264"/>
                </a:cubicBezTo>
                <a:cubicBezTo>
                  <a:pt x="1191" y="1272"/>
                  <a:pt x="1189" y="1279"/>
                  <a:pt x="1189" y="1287"/>
                </a:cubicBezTo>
                <a:cubicBezTo>
                  <a:pt x="897" y="1287"/>
                  <a:pt x="897" y="1287"/>
                  <a:pt x="897" y="1287"/>
                </a:cubicBezTo>
                <a:lnTo>
                  <a:pt x="897" y="184"/>
                </a:lnTo>
                <a:close/>
                <a:moveTo>
                  <a:pt x="1427" y="1474"/>
                </a:moveTo>
                <a:cubicBezTo>
                  <a:pt x="1334" y="1474"/>
                  <a:pt x="1257" y="1405"/>
                  <a:pt x="1247" y="1314"/>
                </a:cubicBezTo>
                <a:cubicBezTo>
                  <a:pt x="1246" y="1307"/>
                  <a:pt x="1246" y="1300"/>
                  <a:pt x="1246" y="1293"/>
                </a:cubicBezTo>
                <a:cubicBezTo>
                  <a:pt x="1246" y="1194"/>
                  <a:pt x="1327" y="1112"/>
                  <a:pt x="1427" y="1112"/>
                </a:cubicBezTo>
                <a:cubicBezTo>
                  <a:pt x="1526" y="1112"/>
                  <a:pt x="1607" y="1194"/>
                  <a:pt x="1607" y="1293"/>
                </a:cubicBezTo>
                <a:cubicBezTo>
                  <a:pt x="1607" y="1300"/>
                  <a:pt x="1607" y="1307"/>
                  <a:pt x="1606" y="1313"/>
                </a:cubicBezTo>
                <a:cubicBezTo>
                  <a:pt x="1596" y="1405"/>
                  <a:pt x="1519" y="1474"/>
                  <a:pt x="1427" y="1474"/>
                </a:cubicBezTo>
                <a:close/>
                <a:moveTo>
                  <a:pt x="2685" y="1474"/>
                </a:moveTo>
                <a:cubicBezTo>
                  <a:pt x="2592" y="1474"/>
                  <a:pt x="2515" y="1405"/>
                  <a:pt x="2505" y="1314"/>
                </a:cubicBezTo>
                <a:cubicBezTo>
                  <a:pt x="2504" y="1307"/>
                  <a:pt x="2504" y="1300"/>
                  <a:pt x="2504" y="1293"/>
                </a:cubicBezTo>
                <a:cubicBezTo>
                  <a:pt x="2504" y="1194"/>
                  <a:pt x="2585" y="1112"/>
                  <a:pt x="2685" y="1112"/>
                </a:cubicBezTo>
                <a:cubicBezTo>
                  <a:pt x="2784" y="1112"/>
                  <a:pt x="2865" y="1194"/>
                  <a:pt x="2865" y="1293"/>
                </a:cubicBezTo>
                <a:cubicBezTo>
                  <a:pt x="2865" y="1300"/>
                  <a:pt x="2865" y="1307"/>
                  <a:pt x="2865" y="1313"/>
                </a:cubicBezTo>
                <a:cubicBezTo>
                  <a:pt x="2854" y="1405"/>
                  <a:pt x="2777" y="1474"/>
                  <a:pt x="2685" y="1474"/>
                </a:cubicBezTo>
                <a:close/>
                <a:moveTo>
                  <a:pt x="2923" y="1287"/>
                </a:moveTo>
                <a:cubicBezTo>
                  <a:pt x="2922" y="1279"/>
                  <a:pt x="2921" y="1272"/>
                  <a:pt x="2920" y="1264"/>
                </a:cubicBezTo>
                <a:cubicBezTo>
                  <a:pt x="2919" y="1257"/>
                  <a:pt x="2918" y="1250"/>
                  <a:pt x="2917" y="1243"/>
                </a:cubicBezTo>
                <a:cubicBezTo>
                  <a:pt x="2915" y="1235"/>
                  <a:pt x="2912" y="1227"/>
                  <a:pt x="2909" y="1218"/>
                </a:cubicBezTo>
                <a:cubicBezTo>
                  <a:pt x="2907" y="1212"/>
                  <a:pt x="2906" y="1205"/>
                  <a:pt x="2903" y="1199"/>
                </a:cubicBezTo>
                <a:cubicBezTo>
                  <a:pt x="2900" y="1191"/>
                  <a:pt x="2895" y="1184"/>
                  <a:pt x="2891" y="1177"/>
                </a:cubicBezTo>
                <a:cubicBezTo>
                  <a:pt x="2887" y="1171"/>
                  <a:pt x="2885" y="1165"/>
                  <a:pt x="2881" y="1159"/>
                </a:cubicBezTo>
                <a:cubicBezTo>
                  <a:pt x="2876" y="1152"/>
                  <a:pt x="2870" y="1146"/>
                  <a:pt x="2865" y="1140"/>
                </a:cubicBezTo>
                <a:cubicBezTo>
                  <a:pt x="2860" y="1135"/>
                  <a:pt x="2857" y="1129"/>
                  <a:pt x="2852" y="1124"/>
                </a:cubicBezTo>
                <a:cubicBezTo>
                  <a:pt x="2846" y="1118"/>
                  <a:pt x="2839" y="1113"/>
                  <a:pt x="2832" y="1108"/>
                </a:cubicBezTo>
                <a:cubicBezTo>
                  <a:pt x="2827" y="1104"/>
                  <a:pt x="2822" y="1099"/>
                  <a:pt x="2817" y="1096"/>
                </a:cubicBezTo>
                <a:cubicBezTo>
                  <a:pt x="2809" y="1091"/>
                  <a:pt x="2801" y="1087"/>
                  <a:pt x="2793" y="1083"/>
                </a:cubicBezTo>
                <a:cubicBezTo>
                  <a:pt x="2788" y="1080"/>
                  <a:pt x="2782" y="1076"/>
                  <a:pt x="2777" y="1074"/>
                </a:cubicBezTo>
                <a:cubicBezTo>
                  <a:pt x="2767" y="1070"/>
                  <a:pt x="2758" y="1068"/>
                  <a:pt x="2748" y="1065"/>
                </a:cubicBezTo>
                <a:cubicBezTo>
                  <a:pt x="2743" y="1063"/>
                  <a:pt x="2738" y="1061"/>
                  <a:pt x="2732" y="1060"/>
                </a:cubicBezTo>
                <a:cubicBezTo>
                  <a:pt x="2717" y="1057"/>
                  <a:pt x="2701" y="1055"/>
                  <a:pt x="2685" y="1055"/>
                </a:cubicBezTo>
                <a:cubicBezTo>
                  <a:pt x="2668" y="1055"/>
                  <a:pt x="2653" y="1057"/>
                  <a:pt x="2637" y="1060"/>
                </a:cubicBezTo>
                <a:cubicBezTo>
                  <a:pt x="2632" y="1061"/>
                  <a:pt x="2627" y="1063"/>
                  <a:pt x="2621" y="1065"/>
                </a:cubicBezTo>
                <a:cubicBezTo>
                  <a:pt x="2612" y="1068"/>
                  <a:pt x="2602" y="1070"/>
                  <a:pt x="2593" y="1074"/>
                </a:cubicBezTo>
                <a:cubicBezTo>
                  <a:pt x="2587" y="1076"/>
                  <a:pt x="2582" y="1080"/>
                  <a:pt x="2576" y="1083"/>
                </a:cubicBezTo>
                <a:cubicBezTo>
                  <a:pt x="2568" y="1087"/>
                  <a:pt x="2560" y="1091"/>
                  <a:pt x="2553" y="1096"/>
                </a:cubicBezTo>
                <a:cubicBezTo>
                  <a:pt x="2547" y="1099"/>
                  <a:pt x="2542" y="1104"/>
                  <a:pt x="2537" y="1108"/>
                </a:cubicBezTo>
                <a:cubicBezTo>
                  <a:pt x="2530" y="1113"/>
                  <a:pt x="2524" y="1118"/>
                  <a:pt x="2518" y="1124"/>
                </a:cubicBezTo>
                <a:cubicBezTo>
                  <a:pt x="2513" y="1129"/>
                  <a:pt x="2509" y="1135"/>
                  <a:pt x="2504" y="1140"/>
                </a:cubicBezTo>
                <a:cubicBezTo>
                  <a:pt x="2499" y="1146"/>
                  <a:pt x="2493" y="1152"/>
                  <a:pt x="2489" y="1159"/>
                </a:cubicBezTo>
                <a:cubicBezTo>
                  <a:pt x="2485" y="1165"/>
                  <a:pt x="2482" y="1171"/>
                  <a:pt x="2479" y="1177"/>
                </a:cubicBezTo>
                <a:cubicBezTo>
                  <a:pt x="2474" y="1184"/>
                  <a:pt x="2470" y="1191"/>
                  <a:pt x="2466" y="1199"/>
                </a:cubicBezTo>
                <a:cubicBezTo>
                  <a:pt x="2464" y="1205"/>
                  <a:pt x="2462" y="1212"/>
                  <a:pt x="2460" y="1218"/>
                </a:cubicBezTo>
                <a:cubicBezTo>
                  <a:pt x="2457" y="1227"/>
                  <a:pt x="2454" y="1235"/>
                  <a:pt x="2452" y="1243"/>
                </a:cubicBezTo>
                <a:cubicBezTo>
                  <a:pt x="2451" y="1250"/>
                  <a:pt x="2451" y="1257"/>
                  <a:pt x="2450" y="1264"/>
                </a:cubicBezTo>
                <a:cubicBezTo>
                  <a:pt x="2449" y="1272"/>
                  <a:pt x="2447" y="1279"/>
                  <a:pt x="2447" y="1287"/>
                </a:cubicBezTo>
                <a:cubicBezTo>
                  <a:pt x="2328" y="1287"/>
                  <a:pt x="2328" y="1287"/>
                  <a:pt x="2328" y="1287"/>
                </a:cubicBezTo>
                <a:cubicBezTo>
                  <a:pt x="2328" y="758"/>
                  <a:pt x="2328" y="758"/>
                  <a:pt x="2328" y="758"/>
                </a:cubicBezTo>
                <a:cubicBezTo>
                  <a:pt x="2432" y="758"/>
                  <a:pt x="2432" y="758"/>
                  <a:pt x="2432" y="758"/>
                </a:cubicBezTo>
                <a:cubicBezTo>
                  <a:pt x="2435" y="759"/>
                  <a:pt x="2438" y="760"/>
                  <a:pt x="2441" y="760"/>
                </a:cubicBezTo>
                <a:cubicBezTo>
                  <a:pt x="2444" y="760"/>
                  <a:pt x="2447" y="759"/>
                  <a:pt x="2450" y="758"/>
                </a:cubicBezTo>
                <a:cubicBezTo>
                  <a:pt x="3038" y="758"/>
                  <a:pt x="3038" y="758"/>
                  <a:pt x="3038" y="758"/>
                </a:cubicBezTo>
                <a:cubicBezTo>
                  <a:pt x="3038" y="1287"/>
                  <a:pt x="3038" y="1287"/>
                  <a:pt x="3038" y="1287"/>
                </a:cubicBezTo>
                <a:lnTo>
                  <a:pt x="2923" y="1287"/>
                </a:lnTo>
                <a:close/>
                <a:moveTo>
                  <a:pt x="732" y="660"/>
                </a:moveTo>
                <a:cubicBezTo>
                  <a:pt x="732" y="676"/>
                  <a:pt x="719" y="688"/>
                  <a:pt x="703" y="688"/>
                </a:cubicBezTo>
                <a:cubicBezTo>
                  <a:pt x="28" y="688"/>
                  <a:pt x="28" y="688"/>
                  <a:pt x="28" y="688"/>
                </a:cubicBezTo>
                <a:cubicBezTo>
                  <a:pt x="12" y="688"/>
                  <a:pt x="0" y="676"/>
                  <a:pt x="0" y="660"/>
                </a:cubicBezTo>
                <a:cubicBezTo>
                  <a:pt x="0" y="644"/>
                  <a:pt x="12" y="631"/>
                  <a:pt x="28" y="631"/>
                </a:cubicBezTo>
                <a:cubicBezTo>
                  <a:pt x="703" y="631"/>
                  <a:pt x="703" y="631"/>
                  <a:pt x="703" y="631"/>
                </a:cubicBezTo>
                <a:cubicBezTo>
                  <a:pt x="719" y="631"/>
                  <a:pt x="732" y="644"/>
                  <a:pt x="732" y="660"/>
                </a:cubicBezTo>
                <a:close/>
                <a:moveTo>
                  <a:pt x="732" y="424"/>
                </a:moveTo>
                <a:cubicBezTo>
                  <a:pt x="732" y="440"/>
                  <a:pt x="719" y="453"/>
                  <a:pt x="703" y="453"/>
                </a:cubicBezTo>
                <a:cubicBezTo>
                  <a:pt x="308" y="453"/>
                  <a:pt x="308" y="453"/>
                  <a:pt x="308" y="453"/>
                </a:cubicBezTo>
                <a:cubicBezTo>
                  <a:pt x="292" y="453"/>
                  <a:pt x="279" y="440"/>
                  <a:pt x="279" y="424"/>
                </a:cubicBezTo>
                <a:cubicBezTo>
                  <a:pt x="279" y="408"/>
                  <a:pt x="292" y="395"/>
                  <a:pt x="308" y="395"/>
                </a:cubicBezTo>
                <a:cubicBezTo>
                  <a:pt x="703" y="395"/>
                  <a:pt x="703" y="395"/>
                  <a:pt x="703" y="395"/>
                </a:cubicBezTo>
                <a:cubicBezTo>
                  <a:pt x="719" y="395"/>
                  <a:pt x="732" y="408"/>
                  <a:pt x="732" y="424"/>
                </a:cubicBezTo>
                <a:close/>
                <a:moveTo>
                  <a:pt x="732" y="896"/>
                </a:moveTo>
                <a:cubicBezTo>
                  <a:pt x="732" y="912"/>
                  <a:pt x="719" y="924"/>
                  <a:pt x="703" y="924"/>
                </a:cubicBezTo>
                <a:cubicBezTo>
                  <a:pt x="308" y="924"/>
                  <a:pt x="308" y="924"/>
                  <a:pt x="308" y="924"/>
                </a:cubicBezTo>
                <a:cubicBezTo>
                  <a:pt x="292" y="924"/>
                  <a:pt x="279" y="912"/>
                  <a:pt x="279" y="896"/>
                </a:cubicBezTo>
                <a:cubicBezTo>
                  <a:pt x="279" y="880"/>
                  <a:pt x="292" y="867"/>
                  <a:pt x="308" y="867"/>
                </a:cubicBezTo>
                <a:cubicBezTo>
                  <a:pt x="703" y="867"/>
                  <a:pt x="703" y="867"/>
                  <a:pt x="703" y="867"/>
                </a:cubicBezTo>
                <a:cubicBezTo>
                  <a:pt x="719" y="867"/>
                  <a:pt x="732" y="880"/>
                  <a:pt x="732" y="89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4" name="Group 3"/>
          <p:cNvGrpSpPr/>
          <p:nvPr/>
        </p:nvGrpSpPr>
        <p:grpSpPr>
          <a:xfrm>
            <a:off x="1081844" y="3492132"/>
            <a:ext cx="1269396" cy="674855"/>
            <a:chOff x="1081844" y="3492132"/>
            <a:chExt cx="1269396" cy="674855"/>
          </a:xfrm>
        </p:grpSpPr>
        <p:sp>
          <p:nvSpPr>
            <p:cNvPr id="34" name="TextBox 33"/>
            <p:cNvSpPr txBox="1"/>
            <p:nvPr/>
          </p:nvSpPr>
          <p:spPr>
            <a:xfrm>
              <a:off x="1081870" y="3492132"/>
              <a:ext cx="12693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STRATÉGI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81844" y="3703590"/>
              <a:ext cx="1269396" cy="4633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986601" y="3492132"/>
            <a:ext cx="1269396" cy="691589"/>
            <a:chOff x="2986601" y="3492132"/>
            <a:chExt cx="1269396" cy="691589"/>
          </a:xfrm>
        </p:grpSpPr>
        <p:sp>
          <p:nvSpPr>
            <p:cNvPr id="36" name="TextBox 35"/>
            <p:cNvSpPr txBox="1"/>
            <p:nvPr/>
          </p:nvSpPr>
          <p:spPr>
            <a:xfrm>
              <a:off x="2986627" y="3492132"/>
              <a:ext cx="12693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CRI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986601" y="3703590"/>
              <a:ext cx="1269396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4887784" y="3492132"/>
            <a:ext cx="1269396" cy="691589"/>
            <a:chOff x="4887784" y="3492132"/>
            <a:chExt cx="1269396" cy="691589"/>
          </a:xfrm>
        </p:grpSpPr>
        <p:sp>
          <p:nvSpPr>
            <p:cNvPr id="46" name="TextBox 45"/>
            <p:cNvSpPr txBox="1"/>
            <p:nvPr/>
          </p:nvSpPr>
          <p:spPr>
            <a:xfrm>
              <a:off x="4887810" y="3492132"/>
              <a:ext cx="12693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XECU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4887784" y="3703590"/>
              <a:ext cx="1269396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788528" y="3492132"/>
            <a:ext cx="1269396" cy="673444"/>
            <a:chOff x="6788528" y="3492132"/>
            <a:chExt cx="1269396" cy="673444"/>
          </a:xfrm>
        </p:grpSpPr>
        <p:sp>
          <p:nvSpPr>
            <p:cNvPr id="49" name="TextBox 48"/>
            <p:cNvSpPr txBox="1"/>
            <p:nvPr/>
          </p:nvSpPr>
          <p:spPr>
            <a:xfrm>
              <a:off x="6788554" y="3492132"/>
              <a:ext cx="12693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VALIA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788528" y="3703590"/>
              <a:ext cx="1269396" cy="4619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li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ug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olesti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ell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rhonc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fficitur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1339484" y="1578728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 01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243101" y="1578728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 02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151175" y="1578728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 03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046989" y="1578728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 04</a:t>
            </a:r>
          </a:p>
        </p:txBody>
      </p:sp>
    </p:spTree>
    <p:extLst>
      <p:ext uri="{BB962C8B-B14F-4D97-AF65-F5344CB8AC3E}">
        <p14:creationId xmlns:p14="http://schemas.microsoft.com/office/powerpoint/2010/main" val="984741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Freeform 58"/>
          <p:cNvSpPr/>
          <p:nvPr/>
        </p:nvSpPr>
        <p:spPr>
          <a:xfrm>
            <a:off x="593725" y="4201654"/>
            <a:ext cx="824663" cy="91440"/>
          </a:xfrm>
          <a:custGeom>
            <a:avLst/>
            <a:gdLst>
              <a:gd name="connsiteX0" fmla="*/ 45720 w 824663"/>
              <a:gd name="connsiteY0" fmla="*/ 0 h 91440"/>
              <a:gd name="connsiteX1" fmla="*/ 139700 w 824663"/>
              <a:gd name="connsiteY1" fmla="*/ 0 h 91440"/>
              <a:gd name="connsiteX2" fmla="*/ 478155 w 824663"/>
              <a:gd name="connsiteY2" fmla="*/ 0 h 91440"/>
              <a:gd name="connsiteX3" fmla="*/ 824663 w 824663"/>
              <a:gd name="connsiteY3" fmla="*/ 0 h 91440"/>
              <a:gd name="connsiteX4" fmla="*/ 824663 w 824663"/>
              <a:gd name="connsiteY4" fmla="*/ 91440 h 91440"/>
              <a:gd name="connsiteX5" fmla="*/ 478155 w 824663"/>
              <a:gd name="connsiteY5" fmla="*/ 91440 h 91440"/>
              <a:gd name="connsiteX6" fmla="*/ 139700 w 824663"/>
              <a:gd name="connsiteY6" fmla="*/ 91440 h 91440"/>
              <a:gd name="connsiteX7" fmla="*/ 45720 w 824663"/>
              <a:gd name="connsiteY7" fmla="*/ 91440 h 91440"/>
              <a:gd name="connsiteX8" fmla="*/ 0 w 824663"/>
              <a:gd name="connsiteY8" fmla="*/ 45720 h 91440"/>
              <a:gd name="connsiteX9" fmla="*/ 45720 w 824663"/>
              <a:gd name="connsiteY9" fmla="*/ 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24663" h="91440">
                <a:moveTo>
                  <a:pt x="45720" y="0"/>
                </a:moveTo>
                <a:lnTo>
                  <a:pt x="139700" y="0"/>
                </a:lnTo>
                <a:lnTo>
                  <a:pt x="478155" y="0"/>
                </a:lnTo>
                <a:lnTo>
                  <a:pt x="824663" y="0"/>
                </a:lnTo>
                <a:lnTo>
                  <a:pt x="824663" y="91440"/>
                </a:lnTo>
                <a:lnTo>
                  <a:pt x="478155" y="91440"/>
                </a:lnTo>
                <a:lnTo>
                  <a:pt x="139700" y="91440"/>
                </a:lnTo>
                <a:lnTo>
                  <a:pt x="45720" y="91440"/>
                </a:lnTo>
                <a:cubicBezTo>
                  <a:pt x="20470" y="91440"/>
                  <a:pt x="0" y="70970"/>
                  <a:pt x="0" y="45720"/>
                </a:cubicBezTo>
                <a:cubicBezTo>
                  <a:pt x="0" y="20470"/>
                  <a:pt x="20470" y="0"/>
                  <a:pt x="4572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506"/>
          </a:p>
        </p:txBody>
      </p:sp>
      <p:sp>
        <p:nvSpPr>
          <p:cNvPr id="51" name="Freeform 50"/>
          <p:cNvSpPr/>
          <p:nvPr/>
        </p:nvSpPr>
        <p:spPr>
          <a:xfrm>
            <a:off x="6480394" y="1044020"/>
            <a:ext cx="2066706" cy="91440"/>
          </a:xfrm>
          <a:custGeom>
            <a:avLst/>
            <a:gdLst>
              <a:gd name="connsiteX0" fmla="*/ 0 w 2066706"/>
              <a:gd name="connsiteY0" fmla="*/ 0 h 91440"/>
              <a:gd name="connsiteX1" fmla="*/ 1155164 w 2066706"/>
              <a:gd name="connsiteY1" fmla="*/ 0 h 91440"/>
              <a:gd name="connsiteX2" fmla="*/ 1873032 w 2066706"/>
              <a:gd name="connsiteY2" fmla="*/ 0 h 91440"/>
              <a:gd name="connsiteX3" fmla="*/ 2020986 w 2066706"/>
              <a:gd name="connsiteY3" fmla="*/ 0 h 91440"/>
              <a:gd name="connsiteX4" fmla="*/ 2066706 w 2066706"/>
              <a:gd name="connsiteY4" fmla="*/ 45720 h 91440"/>
              <a:gd name="connsiteX5" fmla="*/ 2020986 w 2066706"/>
              <a:gd name="connsiteY5" fmla="*/ 91440 h 91440"/>
              <a:gd name="connsiteX6" fmla="*/ 1873032 w 2066706"/>
              <a:gd name="connsiteY6" fmla="*/ 91440 h 91440"/>
              <a:gd name="connsiteX7" fmla="*/ 1155164 w 2066706"/>
              <a:gd name="connsiteY7" fmla="*/ 91440 h 91440"/>
              <a:gd name="connsiteX8" fmla="*/ 0 w 2066706"/>
              <a:gd name="connsiteY8" fmla="*/ 9144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6706" h="91440">
                <a:moveTo>
                  <a:pt x="0" y="0"/>
                </a:moveTo>
                <a:lnTo>
                  <a:pt x="1155164" y="0"/>
                </a:lnTo>
                <a:lnTo>
                  <a:pt x="1873032" y="0"/>
                </a:lnTo>
                <a:lnTo>
                  <a:pt x="2020986" y="0"/>
                </a:lnTo>
                <a:cubicBezTo>
                  <a:pt x="2046236" y="0"/>
                  <a:pt x="2066706" y="20470"/>
                  <a:pt x="2066706" y="45720"/>
                </a:cubicBezTo>
                <a:cubicBezTo>
                  <a:pt x="2066706" y="70970"/>
                  <a:pt x="2046236" y="91440"/>
                  <a:pt x="2020986" y="91440"/>
                </a:cubicBezTo>
                <a:lnTo>
                  <a:pt x="1873032" y="91440"/>
                </a:lnTo>
                <a:lnTo>
                  <a:pt x="1155164" y="91440"/>
                </a:lnTo>
                <a:lnTo>
                  <a:pt x="0" y="9144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1418388" y="3411434"/>
            <a:ext cx="1689769" cy="885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Rectangle 4"/>
          <p:cNvSpPr/>
          <p:nvPr/>
        </p:nvSpPr>
        <p:spPr>
          <a:xfrm>
            <a:off x="3108157" y="2621689"/>
            <a:ext cx="1689765" cy="885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Rectangle 5"/>
          <p:cNvSpPr/>
          <p:nvPr/>
        </p:nvSpPr>
        <p:spPr>
          <a:xfrm>
            <a:off x="4797924" y="1831945"/>
            <a:ext cx="1689765" cy="885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Processo</a:t>
            </a:r>
            <a:r>
              <a:rPr lang="en-US" dirty="0"/>
              <a:t> de EXECUÇÃ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28" name="Flowchart: Connector 27"/>
          <p:cNvSpPr/>
          <p:nvPr/>
        </p:nvSpPr>
        <p:spPr>
          <a:xfrm>
            <a:off x="2669140" y="2621961"/>
            <a:ext cx="878033" cy="878034"/>
          </a:xfrm>
          <a:prstGeom prst="flowChartConnector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</a:endParaRPr>
          </a:p>
        </p:txBody>
      </p:sp>
      <p:sp>
        <p:nvSpPr>
          <p:cNvPr id="24" name="Freeform 28"/>
          <p:cNvSpPr>
            <a:spLocks noEditPoints="1"/>
          </p:cNvSpPr>
          <p:nvPr/>
        </p:nvSpPr>
        <p:spPr bwMode="auto">
          <a:xfrm>
            <a:off x="2861397" y="2867335"/>
            <a:ext cx="493520" cy="387286"/>
          </a:xfrm>
          <a:custGeom>
            <a:avLst/>
            <a:gdLst>
              <a:gd name="T0" fmla="*/ 1033 w 1488"/>
              <a:gd name="T1" fmla="*/ 885 h 1166"/>
              <a:gd name="T2" fmla="*/ 775 w 1488"/>
              <a:gd name="T3" fmla="*/ 799 h 1166"/>
              <a:gd name="T4" fmla="*/ 1102 w 1488"/>
              <a:gd name="T5" fmla="*/ 907 h 1166"/>
              <a:gd name="T6" fmla="*/ 959 w 1488"/>
              <a:gd name="T7" fmla="*/ 1123 h 1166"/>
              <a:gd name="T8" fmla="*/ 744 w 1488"/>
              <a:gd name="T9" fmla="*/ 1112 h 1166"/>
              <a:gd name="T10" fmla="*/ 529 w 1488"/>
              <a:gd name="T11" fmla="*/ 1123 h 1166"/>
              <a:gd name="T12" fmla="*/ 388 w 1488"/>
              <a:gd name="T13" fmla="*/ 1014 h 1166"/>
              <a:gd name="T14" fmla="*/ 345 w 1488"/>
              <a:gd name="T15" fmla="*/ 775 h 1166"/>
              <a:gd name="T16" fmla="*/ 432 w 1488"/>
              <a:gd name="T17" fmla="*/ 0 h 1166"/>
              <a:gd name="T18" fmla="*/ 902 w 1488"/>
              <a:gd name="T19" fmla="*/ 153 h 1166"/>
              <a:gd name="T20" fmla="*/ 153 w 1488"/>
              <a:gd name="T21" fmla="*/ 537 h 1166"/>
              <a:gd name="T22" fmla="*/ 959 w 1488"/>
              <a:gd name="T23" fmla="*/ 161 h 1166"/>
              <a:gd name="T24" fmla="*/ 1440 w 1488"/>
              <a:gd name="T25" fmla="*/ 432 h 1166"/>
              <a:gd name="T26" fmla="*/ 431 w 1488"/>
              <a:gd name="T27" fmla="*/ 861 h 1166"/>
              <a:gd name="T28" fmla="*/ 517 w 1488"/>
              <a:gd name="T29" fmla="*/ 713 h 1166"/>
              <a:gd name="T30" fmla="*/ 356 w 1488"/>
              <a:gd name="T31" fmla="*/ 830 h 1166"/>
              <a:gd name="T32" fmla="*/ 658 w 1488"/>
              <a:gd name="T33" fmla="*/ 787 h 1166"/>
              <a:gd name="T34" fmla="*/ 632 w 1488"/>
              <a:gd name="T35" fmla="*/ 747 h 1166"/>
              <a:gd name="T36" fmla="*/ 598 w 1488"/>
              <a:gd name="T37" fmla="*/ 747 h 1166"/>
              <a:gd name="T38" fmla="*/ 541 w 1488"/>
              <a:gd name="T39" fmla="*/ 799 h 1166"/>
              <a:gd name="T40" fmla="*/ 399 w 1488"/>
              <a:gd name="T41" fmla="*/ 959 h 1166"/>
              <a:gd name="T42" fmla="*/ 732 w 1488"/>
              <a:gd name="T43" fmla="*/ 904 h 1166"/>
              <a:gd name="T44" fmla="*/ 714 w 1488"/>
              <a:gd name="T45" fmla="*/ 832 h 1166"/>
              <a:gd name="T46" fmla="*/ 670 w 1488"/>
              <a:gd name="T47" fmla="*/ 842 h 1166"/>
              <a:gd name="T48" fmla="*/ 720 w 1488"/>
              <a:gd name="T49" fmla="*/ 1088 h 1166"/>
              <a:gd name="T50" fmla="*/ 784 w 1488"/>
              <a:gd name="T51" fmla="*/ 985 h 1166"/>
              <a:gd name="T52" fmla="*/ 713 w 1488"/>
              <a:gd name="T53" fmla="*/ 971 h 1166"/>
              <a:gd name="T54" fmla="*/ 689 w 1488"/>
              <a:gd name="T55" fmla="*/ 1119 h 1166"/>
              <a:gd name="T56" fmla="*/ 820 w 1488"/>
              <a:gd name="T57" fmla="*/ 1017 h 1166"/>
              <a:gd name="T58" fmla="*/ 808 w 1488"/>
              <a:gd name="T59" fmla="*/ 1046 h 1166"/>
              <a:gd name="T60" fmla="*/ 861 w 1488"/>
              <a:gd name="T61" fmla="*/ 1119 h 1166"/>
              <a:gd name="T62" fmla="*/ 701 w 1488"/>
              <a:gd name="T63" fmla="*/ 637 h 1166"/>
              <a:gd name="T64" fmla="*/ 628 w 1488"/>
              <a:gd name="T65" fmla="*/ 644 h 1166"/>
              <a:gd name="T66" fmla="*/ 586 w 1488"/>
              <a:gd name="T67" fmla="*/ 543 h 1166"/>
              <a:gd name="T68" fmla="*/ 400 w 1488"/>
              <a:gd name="T69" fmla="*/ 720 h 1166"/>
              <a:gd name="T70" fmla="*/ 552 w 1488"/>
              <a:gd name="T71" fmla="*/ 703 h 1166"/>
              <a:gd name="T72" fmla="*/ 563 w 1488"/>
              <a:gd name="T73" fmla="*/ 729 h 1166"/>
              <a:gd name="T74" fmla="*/ 596 w 1488"/>
              <a:gd name="T75" fmla="*/ 712 h 1166"/>
              <a:gd name="T76" fmla="*/ 617 w 1488"/>
              <a:gd name="T77" fmla="*/ 709 h 1166"/>
              <a:gd name="T78" fmla="*/ 658 w 1488"/>
              <a:gd name="T79" fmla="*/ 722 h 1166"/>
              <a:gd name="T80" fmla="*/ 693 w 1488"/>
              <a:gd name="T81" fmla="*/ 787 h 1166"/>
              <a:gd name="T82" fmla="*/ 710 w 1488"/>
              <a:gd name="T83" fmla="*/ 796 h 1166"/>
              <a:gd name="T84" fmla="*/ 756 w 1488"/>
              <a:gd name="T85" fmla="*/ 818 h 1166"/>
              <a:gd name="T86" fmla="*/ 770 w 1488"/>
              <a:gd name="T87" fmla="*/ 907 h 1166"/>
              <a:gd name="T88" fmla="*/ 760 w 1488"/>
              <a:gd name="T89" fmla="*/ 926 h 1166"/>
              <a:gd name="T90" fmla="*/ 799 w 1488"/>
              <a:gd name="T91" fmla="*/ 947 h 1166"/>
              <a:gd name="T92" fmla="*/ 990 w 1488"/>
              <a:gd name="T93" fmla="*/ 1076 h 1166"/>
              <a:gd name="T94" fmla="*/ 1076 w 1488"/>
              <a:gd name="T95" fmla="*/ 928 h 1166"/>
              <a:gd name="T96" fmla="*/ 1119 w 1488"/>
              <a:gd name="T97" fmla="*/ 861 h 1166"/>
              <a:gd name="T98" fmla="*/ 768 w 1488"/>
              <a:gd name="T99" fmla="*/ 400 h 1166"/>
              <a:gd name="T100" fmla="*/ 627 w 1488"/>
              <a:gd name="T101" fmla="*/ 603 h 1166"/>
              <a:gd name="T102" fmla="*/ 830 w 1488"/>
              <a:gd name="T103" fmla="*/ 462 h 1166"/>
              <a:gd name="T104" fmla="*/ 212 w 1488"/>
              <a:gd name="T105" fmla="*/ 416 h 1166"/>
              <a:gd name="T106" fmla="*/ 1276 w 1488"/>
              <a:gd name="T107" fmla="*/ 416 h 1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88" h="1166">
                <a:moveTo>
                  <a:pt x="1033" y="885"/>
                </a:moveTo>
                <a:cubicBezTo>
                  <a:pt x="861" y="713"/>
                  <a:pt x="861" y="713"/>
                  <a:pt x="861" y="713"/>
                </a:cubicBezTo>
                <a:cubicBezTo>
                  <a:pt x="885" y="689"/>
                  <a:pt x="885" y="689"/>
                  <a:pt x="885" y="689"/>
                </a:cubicBezTo>
                <a:cubicBezTo>
                  <a:pt x="1057" y="861"/>
                  <a:pt x="1057" y="861"/>
                  <a:pt x="1057" y="861"/>
                </a:cubicBezTo>
                <a:lnTo>
                  <a:pt x="1033" y="885"/>
                </a:lnTo>
                <a:close/>
                <a:moveTo>
                  <a:pt x="775" y="799"/>
                </a:moveTo>
                <a:cubicBezTo>
                  <a:pt x="990" y="1014"/>
                  <a:pt x="990" y="1014"/>
                  <a:pt x="990" y="1014"/>
                </a:cubicBezTo>
                <a:cubicBezTo>
                  <a:pt x="1014" y="990"/>
                  <a:pt x="1014" y="990"/>
                  <a:pt x="1014" y="990"/>
                </a:cubicBezTo>
                <a:cubicBezTo>
                  <a:pt x="799" y="775"/>
                  <a:pt x="799" y="775"/>
                  <a:pt x="799" y="775"/>
                </a:cubicBezTo>
                <a:lnTo>
                  <a:pt x="775" y="799"/>
                </a:lnTo>
                <a:close/>
                <a:moveTo>
                  <a:pt x="1303" y="553"/>
                </a:moveTo>
                <a:cubicBezTo>
                  <a:pt x="1112" y="744"/>
                  <a:pt x="1112" y="744"/>
                  <a:pt x="1112" y="744"/>
                </a:cubicBezTo>
                <a:cubicBezTo>
                  <a:pt x="1143" y="775"/>
                  <a:pt x="1143" y="775"/>
                  <a:pt x="1143" y="775"/>
                </a:cubicBezTo>
                <a:cubicBezTo>
                  <a:pt x="1173" y="805"/>
                  <a:pt x="1173" y="855"/>
                  <a:pt x="1143" y="885"/>
                </a:cubicBezTo>
                <a:cubicBezTo>
                  <a:pt x="1131" y="897"/>
                  <a:pt x="1117" y="904"/>
                  <a:pt x="1102" y="907"/>
                </a:cubicBezTo>
                <a:cubicBezTo>
                  <a:pt x="1115" y="921"/>
                  <a:pt x="1123" y="939"/>
                  <a:pt x="1123" y="959"/>
                </a:cubicBezTo>
                <a:cubicBezTo>
                  <a:pt x="1123" y="980"/>
                  <a:pt x="1115" y="999"/>
                  <a:pt x="1100" y="1014"/>
                </a:cubicBezTo>
                <a:cubicBezTo>
                  <a:pt x="1083" y="1031"/>
                  <a:pt x="1059" y="1039"/>
                  <a:pt x="1036" y="1036"/>
                </a:cubicBezTo>
                <a:cubicBezTo>
                  <a:pt x="1039" y="1059"/>
                  <a:pt x="1031" y="1083"/>
                  <a:pt x="1014" y="1100"/>
                </a:cubicBezTo>
                <a:cubicBezTo>
                  <a:pt x="999" y="1115"/>
                  <a:pt x="980" y="1123"/>
                  <a:pt x="959" y="1123"/>
                </a:cubicBezTo>
                <a:cubicBezTo>
                  <a:pt x="939" y="1123"/>
                  <a:pt x="921" y="1115"/>
                  <a:pt x="906" y="1102"/>
                </a:cubicBezTo>
                <a:cubicBezTo>
                  <a:pt x="904" y="1118"/>
                  <a:pt x="896" y="1132"/>
                  <a:pt x="885" y="1143"/>
                </a:cubicBezTo>
                <a:cubicBezTo>
                  <a:pt x="870" y="1158"/>
                  <a:pt x="850" y="1166"/>
                  <a:pt x="830" y="1166"/>
                </a:cubicBezTo>
                <a:cubicBezTo>
                  <a:pt x="810" y="1166"/>
                  <a:pt x="790" y="1158"/>
                  <a:pt x="775" y="1143"/>
                </a:cubicBezTo>
                <a:cubicBezTo>
                  <a:pt x="744" y="1112"/>
                  <a:pt x="744" y="1112"/>
                  <a:pt x="744" y="1112"/>
                </a:cubicBezTo>
                <a:cubicBezTo>
                  <a:pt x="713" y="1143"/>
                  <a:pt x="713" y="1143"/>
                  <a:pt x="713" y="1143"/>
                </a:cubicBezTo>
                <a:cubicBezTo>
                  <a:pt x="698" y="1158"/>
                  <a:pt x="678" y="1166"/>
                  <a:pt x="658" y="1166"/>
                </a:cubicBezTo>
                <a:cubicBezTo>
                  <a:pt x="638" y="1166"/>
                  <a:pt x="618" y="1158"/>
                  <a:pt x="603" y="1143"/>
                </a:cubicBezTo>
                <a:cubicBezTo>
                  <a:pt x="592" y="1132"/>
                  <a:pt x="584" y="1118"/>
                  <a:pt x="581" y="1102"/>
                </a:cubicBezTo>
                <a:cubicBezTo>
                  <a:pt x="567" y="1116"/>
                  <a:pt x="548" y="1123"/>
                  <a:pt x="529" y="1123"/>
                </a:cubicBezTo>
                <a:cubicBezTo>
                  <a:pt x="509" y="1123"/>
                  <a:pt x="489" y="1115"/>
                  <a:pt x="474" y="1100"/>
                </a:cubicBezTo>
                <a:cubicBezTo>
                  <a:pt x="459" y="1085"/>
                  <a:pt x="451" y="1066"/>
                  <a:pt x="451" y="1045"/>
                </a:cubicBezTo>
                <a:cubicBezTo>
                  <a:pt x="451" y="1042"/>
                  <a:pt x="452" y="1039"/>
                  <a:pt x="452" y="1036"/>
                </a:cubicBezTo>
                <a:cubicBezTo>
                  <a:pt x="449" y="1036"/>
                  <a:pt x="446" y="1037"/>
                  <a:pt x="443" y="1037"/>
                </a:cubicBezTo>
                <a:cubicBezTo>
                  <a:pt x="422" y="1037"/>
                  <a:pt x="403" y="1029"/>
                  <a:pt x="388" y="1014"/>
                </a:cubicBezTo>
                <a:cubicBezTo>
                  <a:pt x="373" y="999"/>
                  <a:pt x="365" y="980"/>
                  <a:pt x="365" y="959"/>
                </a:cubicBezTo>
                <a:cubicBezTo>
                  <a:pt x="365" y="939"/>
                  <a:pt x="373" y="921"/>
                  <a:pt x="386" y="907"/>
                </a:cubicBezTo>
                <a:cubicBezTo>
                  <a:pt x="371" y="904"/>
                  <a:pt x="356" y="897"/>
                  <a:pt x="345" y="885"/>
                </a:cubicBezTo>
                <a:cubicBezTo>
                  <a:pt x="330" y="870"/>
                  <a:pt x="322" y="851"/>
                  <a:pt x="322" y="830"/>
                </a:cubicBezTo>
                <a:cubicBezTo>
                  <a:pt x="322" y="809"/>
                  <a:pt x="330" y="790"/>
                  <a:pt x="345" y="775"/>
                </a:cubicBezTo>
                <a:cubicBezTo>
                  <a:pt x="376" y="744"/>
                  <a:pt x="376" y="744"/>
                  <a:pt x="376" y="744"/>
                </a:cubicBezTo>
                <a:cubicBezTo>
                  <a:pt x="185" y="553"/>
                  <a:pt x="185" y="553"/>
                  <a:pt x="185" y="553"/>
                </a:cubicBezTo>
                <a:cubicBezTo>
                  <a:pt x="153" y="586"/>
                  <a:pt x="153" y="586"/>
                  <a:pt x="153" y="586"/>
                </a:cubicBezTo>
                <a:cubicBezTo>
                  <a:pt x="0" y="432"/>
                  <a:pt x="0" y="432"/>
                  <a:pt x="0" y="432"/>
                </a:cubicBezTo>
                <a:cubicBezTo>
                  <a:pt x="432" y="0"/>
                  <a:pt x="432" y="0"/>
                  <a:pt x="432" y="0"/>
                </a:cubicBezTo>
                <a:cubicBezTo>
                  <a:pt x="586" y="153"/>
                  <a:pt x="586" y="153"/>
                  <a:pt x="586" y="153"/>
                </a:cubicBezTo>
                <a:cubicBezTo>
                  <a:pt x="553" y="185"/>
                  <a:pt x="553" y="185"/>
                  <a:pt x="553" y="185"/>
                </a:cubicBezTo>
                <a:cubicBezTo>
                  <a:pt x="744" y="376"/>
                  <a:pt x="744" y="376"/>
                  <a:pt x="744" y="376"/>
                </a:cubicBezTo>
                <a:cubicBezTo>
                  <a:pt x="935" y="185"/>
                  <a:pt x="935" y="185"/>
                  <a:pt x="935" y="185"/>
                </a:cubicBezTo>
                <a:cubicBezTo>
                  <a:pt x="902" y="153"/>
                  <a:pt x="902" y="153"/>
                  <a:pt x="902" y="153"/>
                </a:cubicBezTo>
                <a:cubicBezTo>
                  <a:pt x="1055" y="0"/>
                  <a:pt x="1055" y="0"/>
                  <a:pt x="1055" y="0"/>
                </a:cubicBezTo>
                <a:cubicBezTo>
                  <a:pt x="1488" y="432"/>
                  <a:pt x="1488" y="432"/>
                  <a:pt x="1488" y="432"/>
                </a:cubicBezTo>
                <a:cubicBezTo>
                  <a:pt x="1335" y="586"/>
                  <a:pt x="1335" y="586"/>
                  <a:pt x="1335" y="586"/>
                </a:cubicBezTo>
                <a:lnTo>
                  <a:pt x="1303" y="553"/>
                </a:lnTo>
                <a:close/>
                <a:moveTo>
                  <a:pt x="153" y="537"/>
                </a:moveTo>
                <a:cubicBezTo>
                  <a:pt x="537" y="153"/>
                  <a:pt x="537" y="153"/>
                  <a:pt x="537" y="153"/>
                </a:cubicBezTo>
                <a:cubicBezTo>
                  <a:pt x="432" y="48"/>
                  <a:pt x="432" y="48"/>
                  <a:pt x="432" y="48"/>
                </a:cubicBezTo>
                <a:cubicBezTo>
                  <a:pt x="48" y="432"/>
                  <a:pt x="48" y="432"/>
                  <a:pt x="48" y="432"/>
                </a:cubicBezTo>
                <a:lnTo>
                  <a:pt x="153" y="537"/>
                </a:lnTo>
                <a:close/>
                <a:moveTo>
                  <a:pt x="959" y="161"/>
                </a:moveTo>
                <a:cubicBezTo>
                  <a:pt x="959" y="161"/>
                  <a:pt x="959" y="161"/>
                  <a:pt x="959" y="161"/>
                </a:cubicBezTo>
                <a:cubicBezTo>
                  <a:pt x="1327" y="529"/>
                  <a:pt x="1327" y="529"/>
                  <a:pt x="1327" y="529"/>
                </a:cubicBezTo>
                <a:cubicBezTo>
                  <a:pt x="1327" y="529"/>
                  <a:pt x="1327" y="529"/>
                  <a:pt x="1327" y="529"/>
                </a:cubicBezTo>
                <a:cubicBezTo>
                  <a:pt x="1335" y="537"/>
                  <a:pt x="1335" y="537"/>
                  <a:pt x="1335" y="537"/>
                </a:cubicBezTo>
                <a:cubicBezTo>
                  <a:pt x="1440" y="432"/>
                  <a:pt x="1440" y="432"/>
                  <a:pt x="1440" y="432"/>
                </a:cubicBezTo>
                <a:cubicBezTo>
                  <a:pt x="1055" y="48"/>
                  <a:pt x="1055" y="48"/>
                  <a:pt x="1055" y="48"/>
                </a:cubicBezTo>
                <a:cubicBezTo>
                  <a:pt x="951" y="153"/>
                  <a:pt x="951" y="153"/>
                  <a:pt x="951" y="153"/>
                </a:cubicBezTo>
                <a:lnTo>
                  <a:pt x="959" y="161"/>
                </a:lnTo>
                <a:close/>
                <a:moveTo>
                  <a:pt x="369" y="861"/>
                </a:moveTo>
                <a:cubicBezTo>
                  <a:pt x="386" y="878"/>
                  <a:pt x="414" y="878"/>
                  <a:pt x="431" y="861"/>
                </a:cubicBezTo>
                <a:cubicBezTo>
                  <a:pt x="517" y="775"/>
                  <a:pt x="517" y="775"/>
                  <a:pt x="517" y="775"/>
                </a:cubicBezTo>
                <a:cubicBezTo>
                  <a:pt x="518" y="774"/>
                  <a:pt x="518" y="773"/>
                  <a:pt x="519" y="773"/>
                </a:cubicBezTo>
                <a:cubicBezTo>
                  <a:pt x="526" y="765"/>
                  <a:pt x="530" y="755"/>
                  <a:pt x="530" y="744"/>
                </a:cubicBezTo>
                <a:cubicBezTo>
                  <a:pt x="530" y="738"/>
                  <a:pt x="528" y="733"/>
                  <a:pt x="526" y="727"/>
                </a:cubicBezTo>
                <a:cubicBezTo>
                  <a:pt x="524" y="722"/>
                  <a:pt x="521" y="717"/>
                  <a:pt x="517" y="713"/>
                </a:cubicBezTo>
                <a:cubicBezTo>
                  <a:pt x="500" y="697"/>
                  <a:pt x="472" y="697"/>
                  <a:pt x="455" y="713"/>
                </a:cubicBezTo>
                <a:cubicBezTo>
                  <a:pt x="400" y="768"/>
                  <a:pt x="400" y="768"/>
                  <a:pt x="400" y="768"/>
                </a:cubicBezTo>
                <a:cubicBezTo>
                  <a:pt x="400" y="768"/>
                  <a:pt x="400" y="768"/>
                  <a:pt x="400" y="768"/>
                </a:cubicBezTo>
                <a:cubicBezTo>
                  <a:pt x="369" y="799"/>
                  <a:pt x="369" y="799"/>
                  <a:pt x="369" y="799"/>
                </a:cubicBezTo>
                <a:cubicBezTo>
                  <a:pt x="361" y="807"/>
                  <a:pt x="356" y="818"/>
                  <a:pt x="356" y="830"/>
                </a:cubicBezTo>
                <a:cubicBezTo>
                  <a:pt x="356" y="842"/>
                  <a:pt x="361" y="853"/>
                  <a:pt x="369" y="861"/>
                </a:cubicBezTo>
                <a:close/>
                <a:moveTo>
                  <a:pt x="474" y="990"/>
                </a:moveTo>
                <a:cubicBezTo>
                  <a:pt x="646" y="818"/>
                  <a:pt x="646" y="818"/>
                  <a:pt x="646" y="818"/>
                </a:cubicBezTo>
                <a:cubicBezTo>
                  <a:pt x="648" y="815"/>
                  <a:pt x="651" y="812"/>
                  <a:pt x="652" y="809"/>
                </a:cubicBezTo>
                <a:cubicBezTo>
                  <a:pt x="656" y="803"/>
                  <a:pt x="658" y="795"/>
                  <a:pt x="658" y="787"/>
                </a:cubicBezTo>
                <a:cubicBezTo>
                  <a:pt x="658" y="781"/>
                  <a:pt x="657" y="775"/>
                  <a:pt x="655" y="770"/>
                </a:cubicBezTo>
                <a:cubicBezTo>
                  <a:pt x="654" y="767"/>
                  <a:pt x="652" y="765"/>
                  <a:pt x="651" y="762"/>
                </a:cubicBezTo>
                <a:cubicBezTo>
                  <a:pt x="649" y="760"/>
                  <a:pt x="648" y="758"/>
                  <a:pt x="646" y="756"/>
                </a:cubicBezTo>
                <a:cubicBezTo>
                  <a:pt x="642" y="753"/>
                  <a:pt x="638" y="750"/>
                  <a:pt x="634" y="748"/>
                </a:cubicBezTo>
                <a:cubicBezTo>
                  <a:pt x="633" y="748"/>
                  <a:pt x="632" y="747"/>
                  <a:pt x="632" y="747"/>
                </a:cubicBezTo>
                <a:cubicBezTo>
                  <a:pt x="630" y="746"/>
                  <a:pt x="628" y="745"/>
                  <a:pt x="626" y="745"/>
                </a:cubicBezTo>
                <a:cubicBezTo>
                  <a:pt x="625" y="745"/>
                  <a:pt x="624" y="744"/>
                  <a:pt x="624" y="744"/>
                </a:cubicBezTo>
                <a:cubicBezTo>
                  <a:pt x="621" y="744"/>
                  <a:pt x="618" y="744"/>
                  <a:pt x="615" y="744"/>
                </a:cubicBezTo>
                <a:cubicBezTo>
                  <a:pt x="615" y="744"/>
                  <a:pt x="615" y="744"/>
                  <a:pt x="615" y="744"/>
                </a:cubicBezTo>
                <a:cubicBezTo>
                  <a:pt x="609" y="744"/>
                  <a:pt x="603" y="745"/>
                  <a:pt x="598" y="747"/>
                </a:cubicBezTo>
                <a:cubicBezTo>
                  <a:pt x="598" y="747"/>
                  <a:pt x="597" y="747"/>
                  <a:pt x="597" y="747"/>
                </a:cubicBezTo>
                <a:cubicBezTo>
                  <a:pt x="595" y="748"/>
                  <a:pt x="593" y="749"/>
                  <a:pt x="591" y="751"/>
                </a:cubicBezTo>
                <a:cubicBezTo>
                  <a:pt x="590" y="751"/>
                  <a:pt x="589" y="752"/>
                  <a:pt x="589" y="752"/>
                </a:cubicBezTo>
                <a:cubicBezTo>
                  <a:pt x="587" y="754"/>
                  <a:pt x="586" y="755"/>
                  <a:pt x="584" y="756"/>
                </a:cubicBezTo>
                <a:cubicBezTo>
                  <a:pt x="541" y="799"/>
                  <a:pt x="541" y="799"/>
                  <a:pt x="541" y="799"/>
                </a:cubicBezTo>
                <a:cubicBezTo>
                  <a:pt x="541" y="799"/>
                  <a:pt x="541" y="799"/>
                  <a:pt x="541" y="799"/>
                </a:cubicBezTo>
                <a:cubicBezTo>
                  <a:pt x="455" y="885"/>
                  <a:pt x="455" y="885"/>
                  <a:pt x="455" y="885"/>
                </a:cubicBezTo>
                <a:cubicBezTo>
                  <a:pt x="455" y="885"/>
                  <a:pt x="455" y="885"/>
                  <a:pt x="455" y="885"/>
                </a:cubicBezTo>
                <a:cubicBezTo>
                  <a:pt x="412" y="928"/>
                  <a:pt x="412" y="928"/>
                  <a:pt x="412" y="928"/>
                </a:cubicBezTo>
                <a:cubicBezTo>
                  <a:pt x="404" y="936"/>
                  <a:pt x="399" y="947"/>
                  <a:pt x="399" y="959"/>
                </a:cubicBezTo>
                <a:cubicBezTo>
                  <a:pt x="399" y="971"/>
                  <a:pt x="404" y="982"/>
                  <a:pt x="412" y="990"/>
                </a:cubicBezTo>
                <a:cubicBezTo>
                  <a:pt x="429" y="1007"/>
                  <a:pt x="457" y="1007"/>
                  <a:pt x="474" y="990"/>
                </a:cubicBezTo>
                <a:close/>
                <a:moveTo>
                  <a:pt x="560" y="1076"/>
                </a:moveTo>
                <a:cubicBezTo>
                  <a:pt x="689" y="947"/>
                  <a:pt x="689" y="947"/>
                  <a:pt x="689" y="947"/>
                </a:cubicBezTo>
                <a:cubicBezTo>
                  <a:pt x="732" y="904"/>
                  <a:pt x="732" y="904"/>
                  <a:pt x="732" y="904"/>
                </a:cubicBezTo>
                <a:cubicBezTo>
                  <a:pt x="740" y="896"/>
                  <a:pt x="744" y="885"/>
                  <a:pt x="744" y="873"/>
                </a:cubicBezTo>
                <a:cubicBezTo>
                  <a:pt x="744" y="861"/>
                  <a:pt x="740" y="850"/>
                  <a:pt x="732" y="842"/>
                </a:cubicBezTo>
                <a:cubicBezTo>
                  <a:pt x="729" y="840"/>
                  <a:pt x="726" y="838"/>
                  <a:pt x="723" y="836"/>
                </a:cubicBezTo>
                <a:cubicBezTo>
                  <a:pt x="723" y="835"/>
                  <a:pt x="722" y="835"/>
                  <a:pt x="721" y="834"/>
                </a:cubicBezTo>
                <a:cubicBezTo>
                  <a:pt x="719" y="833"/>
                  <a:pt x="716" y="832"/>
                  <a:pt x="714" y="832"/>
                </a:cubicBezTo>
                <a:cubicBezTo>
                  <a:pt x="713" y="831"/>
                  <a:pt x="712" y="831"/>
                  <a:pt x="711" y="831"/>
                </a:cubicBezTo>
                <a:cubicBezTo>
                  <a:pt x="708" y="830"/>
                  <a:pt x="705" y="830"/>
                  <a:pt x="702" y="830"/>
                </a:cubicBezTo>
                <a:cubicBezTo>
                  <a:pt x="701" y="830"/>
                  <a:pt x="701" y="829"/>
                  <a:pt x="701" y="829"/>
                </a:cubicBezTo>
                <a:cubicBezTo>
                  <a:pt x="697" y="829"/>
                  <a:pt x="693" y="830"/>
                  <a:pt x="689" y="831"/>
                </a:cubicBezTo>
                <a:cubicBezTo>
                  <a:pt x="682" y="833"/>
                  <a:pt x="676" y="837"/>
                  <a:pt x="670" y="842"/>
                </a:cubicBezTo>
                <a:cubicBezTo>
                  <a:pt x="498" y="1014"/>
                  <a:pt x="498" y="1014"/>
                  <a:pt x="498" y="1014"/>
                </a:cubicBezTo>
                <a:cubicBezTo>
                  <a:pt x="490" y="1022"/>
                  <a:pt x="485" y="1033"/>
                  <a:pt x="485" y="1045"/>
                </a:cubicBezTo>
                <a:cubicBezTo>
                  <a:pt x="485" y="1056"/>
                  <a:pt x="490" y="1068"/>
                  <a:pt x="498" y="1076"/>
                </a:cubicBezTo>
                <a:cubicBezTo>
                  <a:pt x="515" y="1093"/>
                  <a:pt x="543" y="1093"/>
                  <a:pt x="560" y="1076"/>
                </a:cubicBezTo>
                <a:close/>
                <a:moveTo>
                  <a:pt x="720" y="1088"/>
                </a:moveTo>
                <a:cubicBezTo>
                  <a:pt x="775" y="1033"/>
                  <a:pt x="775" y="1033"/>
                  <a:pt x="775" y="1033"/>
                </a:cubicBezTo>
                <a:cubicBezTo>
                  <a:pt x="783" y="1025"/>
                  <a:pt x="788" y="1014"/>
                  <a:pt x="788" y="1002"/>
                </a:cubicBezTo>
                <a:cubicBezTo>
                  <a:pt x="788" y="999"/>
                  <a:pt x="787" y="996"/>
                  <a:pt x="787" y="993"/>
                </a:cubicBezTo>
                <a:cubicBezTo>
                  <a:pt x="787" y="993"/>
                  <a:pt x="786" y="993"/>
                  <a:pt x="786" y="992"/>
                </a:cubicBezTo>
                <a:cubicBezTo>
                  <a:pt x="786" y="990"/>
                  <a:pt x="785" y="988"/>
                  <a:pt x="784" y="985"/>
                </a:cubicBezTo>
                <a:cubicBezTo>
                  <a:pt x="784" y="985"/>
                  <a:pt x="784" y="985"/>
                  <a:pt x="784" y="985"/>
                </a:cubicBezTo>
                <a:cubicBezTo>
                  <a:pt x="782" y="980"/>
                  <a:pt x="779" y="975"/>
                  <a:pt x="775" y="971"/>
                </a:cubicBezTo>
                <a:cubicBezTo>
                  <a:pt x="766" y="963"/>
                  <a:pt x="755" y="958"/>
                  <a:pt x="744" y="958"/>
                </a:cubicBezTo>
                <a:cubicBezTo>
                  <a:pt x="740" y="958"/>
                  <a:pt x="736" y="959"/>
                  <a:pt x="733" y="960"/>
                </a:cubicBezTo>
                <a:cubicBezTo>
                  <a:pt x="726" y="962"/>
                  <a:pt x="719" y="965"/>
                  <a:pt x="713" y="971"/>
                </a:cubicBezTo>
                <a:cubicBezTo>
                  <a:pt x="708" y="976"/>
                  <a:pt x="708" y="976"/>
                  <a:pt x="708" y="976"/>
                </a:cubicBezTo>
                <a:cubicBezTo>
                  <a:pt x="627" y="1057"/>
                  <a:pt x="627" y="1057"/>
                  <a:pt x="627" y="1057"/>
                </a:cubicBezTo>
                <a:cubicBezTo>
                  <a:pt x="619" y="1065"/>
                  <a:pt x="614" y="1076"/>
                  <a:pt x="614" y="1088"/>
                </a:cubicBezTo>
                <a:cubicBezTo>
                  <a:pt x="614" y="1100"/>
                  <a:pt x="619" y="1111"/>
                  <a:pt x="627" y="1119"/>
                </a:cubicBezTo>
                <a:cubicBezTo>
                  <a:pt x="644" y="1136"/>
                  <a:pt x="672" y="1136"/>
                  <a:pt x="689" y="1119"/>
                </a:cubicBezTo>
                <a:lnTo>
                  <a:pt x="720" y="1088"/>
                </a:lnTo>
                <a:close/>
                <a:moveTo>
                  <a:pt x="873" y="1088"/>
                </a:moveTo>
                <a:cubicBezTo>
                  <a:pt x="873" y="1076"/>
                  <a:pt x="869" y="1065"/>
                  <a:pt x="861" y="1057"/>
                </a:cubicBezTo>
                <a:cubicBezTo>
                  <a:pt x="820" y="1017"/>
                  <a:pt x="820" y="1017"/>
                  <a:pt x="820" y="1017"/>
                </a:cubicBezTo>
                <a:cubicBezTo>
                  <a:pt x="820" y="1017"/>
                  <a:pt x="820" y="1017"/>
                  <a:pt x="820" y="1017"/>
                </a:cubicBezTo>
                <a:cubicBezTo>
                  <a:pt x="820" y="1018"/>
                  <a:pt x="820" y="1018"/>
                  <a:pt x="820" y="1018"/>
                </a:cubicBezTo>
                <a:cubicBezTo>
                  <a:pt x="819" y="1022"/>
                  <a:pt x="818" y="1026"/>
                  <a:pt x="816" y="1030"/>
                </a:cubicBezTo>
                <a:cubicBezTo>
                  <a:pt x="816" y="1031"/>
                  <a:pt x="815" y="1033"/>
                  <a:pt x="815" y="1034"/>
                </a:cubicBezTo>
                <a:cubicBezTo>
                  <a:pt x="813" y="1037"/>
                  <a:pt x="812" y="1040"/>
                  <a:pt x="810" y="1043"/>
                </a:cubicBezTo>
                <a:cubicBezTo>
                  <a:pt x="809" y="1044"/>
                  <a:pt x="809" y="1045"/>
                  <a:pt x="808" y="1046"/>
                </a:cubicBezTo>
                <a:cubicBezTo>
                  <a:pt x="805" y="1050"/>
                  <a:pt x="802" y="1054"/>
                  <a:pt x="799" y="1057"/>
                </a:cubicBezTo>
                <a:cubicBezTo>
                  <a:pt x="768" y="1088"/>
                  <a:pt x="768" y="1088"/>
                  <a:pt x="768" y="1088"/>
                </a:cubicBezTo>
                <a:cubicBezTo>
                  <a:pt x="799" y="1119"/>
                  <a:pt x="799" y="1119"/>
                  <a:pt x="799" y="1119"/>
                </a:cubicBezTo>
                <a:cubicBezTo>
                  <a:pt x="815" y="1135"/>
                  <a:pt x="844" y="1135"/>
                  <a:pt x="861" y="1119"/>
                </a:cubicBezTo>
                <a:cubicBezTo>
                  <a:pt x="861" y="1119"/>
                  <a:pt x="861" y="1119"/>
                  <a:pt x="861" y="1119"/>
                </a:cubicBezTo>
                <a:cubicBezTo>
                  <a:pt x="869" y="1111"/>
                  <a:pt x="873" y="1100"/>
                  <a:pt x="873" y="1088"/>
                </a:cubicBezTo>
                <a:close/>
                <a:moveTo>
                  <a:pt x="1119" y="799"/>
                </a:moveTo>
                <a:cubicBezTo>
                  <a:pt x="830" y="510"/>
                  <a:pt x="830" y="510"/>
                  <a:pt x="830" y="510"/>
                </a:cubicBezTo>
                <a:cubicBezTo>
                  <a:pt x="713" y="627"/>
                  <a:pt x="713" y="627"/>
                  <a:pt x="713" y="627"/>
                </a:cubicBezTo>
                <a:cubicBezTo>
                  <a:pt x="709" y="631"/>
                  <a:pt x="705" y="634"/>
                  <a:pt x="701" y="637"/>
                </a:cubicBezTo>
                <a:cubicBezTo>
                  <a:pt x="699" y="638"/>
                  <a:pt x="697" y="639"/>
                  <a:pt x="695" y="640"/>
                </a:cubicBezTo>
                <a:cubicBezTo>
                  <a:pt x="692" y="642"/>
                  <a:pt x="690" y="643"/>
                  <a:pt x="688" y="644"/>
                </a:cubicBezTo>
                <a:cubicBezTo>
                  <a:pt x="684" y="646"/>
                  <a:pt x="679" y="647"/>
                  <a:pt x="675" y="648"/>
                </a:cubicBezTo>
                <a:cubicBezTo>
                  <a:pt x="674" y="648"/>
                  <a:pt x="674" y="648"/>
                  <a:pt x="673" y="648"/>
                </a:cubicBezTo>
                <a:cubicBezTo>
                  <a:pt x="658" y="651"/>
                  <a:pt x="643" y="650"/>
                  <a:pt x="628" y="644"/>
                </a:cubicBezTo>
                <a:cubicBezTo>
                  <a:pt x="627" y="644"/>
                  <a:pt x="627" y="643"/>
                  <a:pt x="626" y="643"/>
                </a:cubicBezTo>
                <a:cubicBezTo>
                  <a:pt x="618" y="639"/>
                  <a:pt x="610" y="634"/>
                  <a:pt x="603" y="627"/>
                </a:cubicBezTo>
                <a:cubicBezTo>
                  <a:pt x="598" y="623"/>
                  <a:pt x="595" y="618"/>
                  <a:pt x="592" y="613"/>
                </a:cubicBezTo>
                <a:cubicBezTo>
                  <a:pt x="584" y="601"/>
                  <a:pt x="580" y="587"/>
                  <a:pt x="580" y="572"/>
                </a:cubicBezTo>
                <a:cubicBezTo>
                  <a:pt x="580" y="562"/>
                  <a:pt x="582" y="552"/>
                  <a:pt x="586" y="543"/>
                </a:cubicBezTo>
                <a:cubicBezTo>
                  <a:pt x="589" y="534"/>
                  <a:pt x="595" y="525"/>
                  <a:pt x="603" y="517"/>
                </a:cubicBezTo>
                <a:cubicBezTo>
                  <a:pt x="720" y="400"/>
                  <a:pt x="720" y="400"/>
                  <a:pt x="720" y="400"/>
                </a:cubicBezTo>
                <a:cubicBezTo>
                  <a:pt x="529" y="210"/>
                  <a:pt x="529" y="210"/>
                  <a:pt x="529" y="210"/>
                </a:cubicBezTo>
                <a:cubicBezTo>
                  <a:pt x="209" y="529"/>
                  <a:pt x="209" y="529"/>
                  <a:pt x="209" y="529"/>
                </a:cubicBezTo>
                <a:cubicBezTo>
                  <a:pt x="400" y="720"/>
                  <a:pt x="400" y="720"/>
                  <a:pt x="400" y="720"/>
                </a:cubicBezTo>
                <a:cubicBezTo>
                  <a:pt x="431" y="689"/>
                  <a:pt x="431" y="689"/>
                  <a:pt x="431" y="689"/>
                </a:cubicBezTo>
                <a:cubicBezTo>
                  <a:pt x="461" y="659"/>
                  <a:pt x="511" y="659"/>
                  <a:pt x="541" y="689"/>
                </a:cubicBezTo>
                <a:cubicBezTo>
                  <a:pt x="542" y="690"/>
                  <a:pt x="543" y="691"/>
                  <a:pt x="544" y="692"/>
                </a:cubicBezTo>
                <a:cubicBezTo>
                  <a:pt x="546" y="694"/>
                  <a:pt x="548" y="697"/>
                  <a:pt x="550" y="699"/>
                </a:cubicBezTo>
                <a:cubicBezTo>
                  <a:pt x="551" y="701"/>
                  <a:pt x="551" y="702"/>
                  <a:pt x="552" y="703"/>
                </a:cubicBezTo>
                <a:cubicBezTo>
                  <a:pt x="554" y="706"/>
                  <a:pt x="555" y="709"/>
                  <a:pt x="557" y="712"/>
                </a:cubicBezTo>
                <a:cubicBezTo>
                  <a:pt x="557" y="713"/>
                  <a:pt x="558" y="714"/>
                  <a:pt x="558" y="716"/>
                </a:cubicBezTo>
                <a:cubicBezTo>
                  <a:pt x="560" y="719"/>
                  <a:pt x="561" y="723"/>
                  <a:pt x="562" y="727"/>
                </a:cubicBezTo>
                <a:cubicBezTo>
                  <a:pt x="562" y="728"/>
                  <a:pt x="562" y="728"/>
                  <a:pt x="562" y="729"/>
                </a:cubicBezTo>
                <a:cubicBezTo>
                  <a:pt x="562" y="729"/>
                  <a:pt x="562" y="729"/>
                  <a:pt x="563" y="729"/>
                </a:cubicBezTo>
                <a:cubicBezTo>
                  <a:pt x="564" y="728"/>
                  <a:pt x="566" y="727"/>
                  <a:pt x="568" y="725"/>
                </a:cubicBezTo>
                <a:cubicBezTo>
                  <a:pt x="570" y="724"/>
                  <a:pt x="571" y="723"/>
                  <a:pt x="573" y="721"/>
                </a:cubicBezTo>
                <a:cubicBezTo>
                  <a:pt x="576" y="720"/>
                  <a:pt x="579" y="718"/>
                  <a:pt x="581" y="717"/>
                </a:cubicBezTo>
                <a:cubicBezTo>
                  <a:pt x="583" y="716"/>
                  <a:pt x="585" y="715"/>
                  <a:pt x="586" y="715"/>
                </a:cubicBezTo>
                <a:cubicBezTo>
                  <a:pt x="589" y="713"/>
                  <a:pt x="593" y="713"/>
                  <a:pt x="596" y="712"/>
                </a:cubicBezTo>
                <a:cubicBezTo>
                  <a:pt x="598" y="711"/>
                  <a:pt x="599" y="711"/>
                  <a:pt x="600" y="711"/>
                </a:cubicBezTo>
                <a:cubicBezTo>
                  <a:pt x="604" y="710"/>
                  <a:pt x="608" y="710"/>
                  <a:pt x="611" y="710"/>
                </a:cubicBezTo>
                <a:cubicBezTo>
                  <a:pt x="612" y="710"/>
                  <a:pt x="614" y="709"/>
                  <a:pt x="615" y="709"/>
                </a:cubicBezTo>
                <a:cubicBezTo>
                  <a:pt x="615" y="709"/>
                  <a:pt x="615" y="709"/>
                  <a:pt x="615" y="709"/>
                </a:cubicBezTo>
                <a:cubicBezTo>
                  <a:pt x="616" y="709"/>
                  <a:pt x="617" y="709"/>
                  <a:pt x="617" y="709"/>
                </a:cubicBezTo>
                <a:cubicBezTo>
                  <a:pt x="622" y="710"/>
                  <a:pt x="626" y="710"/>
                  <a:pt x="630" y="711"/>
                </a:cubicBezTo>
                <a:cubicBezTo>
                  <a:pt x="633" y="711"/>
                  <a:pt x="636" y="712"/>
                  <a:pt x="639" y="713"/>
                </a:cubicBezTo>
                <a:cubicBezTo>
                  <a:pt x="641" y="714"/>
                  <a:pt x="643" y="714"/>
                  <a:pt x="644" y="715"/>
                </a:cubicBezTo>
                <a:cubicBezTo>
                  <a:pt x="647" y="716"/>
                  <a:pt x="650" y="718"/>
                  <a:pt x="653" y="719"/>
                </a:cubicBezTo>
                <a:cubicBezTo>
                  <a:pt x="654" y="720"/>
                  <a:pt x="656" y="721"/>
                  <a:pt x="658" y="722"/>
                </a:cubicBezTo>
                <a:cubicBezTo>
                  <a:pt x="660" y="723"/>
                  <a:pt x="662" y="725"/>
                  <a:pt x="663" y="727"/>
                </a:cubicBezTo>
                <a:cubicBezTo>
                  <a:pt x="666" y="728"/>
                  <a:pt x="668" y="730"/>
                  <a:pt x="670" y="732"/>
                </a:cubicBezTo>
                <a:cubicBezTo>
                  <a:pt x="672" y="734"/>
                  <a:pt x="673" y="736"/>
                  <a:pt x="675" y="738"/>
                </a:cubicBezTo>
                <a:cubicBezTo>
                  <a:pt x="680" y="744"/>
                  <a:pt x="684" y="750"/>
                  <a:pt x="687" y="757"/>
                </a:cubicBezTo>
                <a:cubicBezTo>
                  <a:pt x="691" y="767"/>
                  <a:pt x="693" y="777"/>
                  <a:pt x="693" y="787"/>
                </a:cubicBezTo>
                <a:cubicBezTo>
                  <a:pt x="693" y="788"/>
                  <a:pt x="693" y="788"/>
                  <a:pt x="693" y="789"/>
                </a:cubicBezTo>
                <a:cubicBezTo>
                  <a:pt x="693" y="791"/>
                  <a:pt x="692" y="793"/>
                  <a:pt x="692" y="796"/>
                </a:cubicBezTo>
                <a:cubicBezTo>
                  <a:pt x="693" y="796"/>
                  <a:pt x="693" y="796"/>
                  <a:pt x="693" y="796"/>
                </a:cubicBezTo>
                <a:cubicBezTo>
                  <a:pt x="698" y="795"/>
                  <a:pt x="704" y="795"/>
                  <a:pt x="709" y="796"/>
                </a:cubicBezTo>
                <a:cubicBezTo>
                  <a:pt x="709" y="796"/>
                  <a:pt x="710" y="796"/>
                  <a:pt x="710" y="796"/>
                </a:cubicBezTo>
                <a:cubicBezTo>
                  <a:pt x="715" y="796"/>
                  <a:pt x="720" y="798"/>
                  <a:pt x="725" y="799"/>
                </a:cubicBezTo>
                <a:cubicBezTo>
                  <a:pt x="726" y="800"/>
                  <a:pt x="727" y="800"/>
                  <a:pt x="728" y="800"/>
                </a:cubicBezTo>
                <a:cubicBezTo>
                  <a:pt x="732" y="802"/>
                  <a:pt x="737" y="804"/>
                  <a:pt x="741" y="807"/>
                </a:cubicBezTo>
                <a:cubicBezTo>
                  <a:pt x="742" y="807"/>
                  <a:pt x="743" y="808"/>
                  <a:pt x="743" y="808"/>
                </a:cubicBezTo>
                <a:cubicBezTo>
                  <a:pt x="748" y="811"/>
                  <a:pt x="752" y="814"/>
                  <a:pt x="756" y="818"/>
                </a:cubicBezTo>
                <a:cubicBezTo>
                  <a:pt x="771" y="833"/>
                  <a:pt x="779" y="852"/>
                  <a:pt x="779" y="873"/>
                </a:cubicBezTo>
                <a:cubicBezTo>
                  <a:pt x="779" y="878"/>
                  <a:pt x="778" y="883"/>
                  <a:pt x="777" y="888"/>
                </a:cubicBezTo>
                <a:cubicBezTo>
                  <a:pt x="777" y="890"/>
                  <a:pt x="776" y="891"/>
                  <a:pt x="776" y="893"/>
                </a:cubicBezTo>
                <a:cubicBezTo>
                  <a:pt x="775" y="896"/>
                  <a:pt x="774" y="899"/>
                  <a:pt x="773" y="902"/>
                </a:cubicBezTo>
                <a:cubicBezTo>
                  <a:pt x="772" y="904"/>
                  <a:pt x="771" y="906"/>
                  <a:pt x="770" y="907"/>
                </a:cubicBezTo>
                <a:cubicBezTo>
                  <a:pt x="769" y="910"/>
                  <a:pt x="768" y="913"/>
                  <a:pt x="766" y="915"/>
                </a:cubicBezTo>
                <a:cubicBezTo>
                  <a:pt x="765" y="917"/>
                  <a:pt x="764" y="919"/>
                  <a:pt x="762" y="920"/>
                </a:cubicBezTo>
                <a:cubicBezTo>
                  <a:pt x="761" y="922"/>
                  <a:pt x="760" y="924"/>
                  <a:pt x="759" y="925"/>
                </a:cubicBezTo>
                <a:cubicBezTo>
                  <a:pt x="759" y="925"/>
                  <a:pt x="759" y="925"/>
                  <a:pt x="759" y="925"/>
                </a:cubicBezTo>
                <a:cubicBezTo>
                  <a:pt x="759" y="926"/>
                  <a:pt x="759" y="926"/>
                  <a:pt x="760" y="926"/>
                </a:cubicBezTo>
                <a:cubicBezTo>
                  <a:pt x="764" y="927"/>
                  <a:pt x="768" y="928"/>
                  <a:pt x="772" y="929"/>
                </a:cubicBezTo>
                <a:cubicBezTo>
                  <a:pt x="773" y="930"/>
                  <a:pt x="774" y="930"/>
                  <a:pt x="775" y="931"/>
                </a:cubicBezTo>
                <a:cubicBezTo>
                  <a:pt x="779" y="932"/>
                  <a:pt x="781" y="934"/>
                  <a:pt x="784" y="936"/>
                </a:cubicBezTo>
                <a:cubicBezTo>
                  <a:pt x="786" y="936"/>
                  <a:pt x="787" y="937"/>
                  <a:pt x="788" y="938"/>
                </a:cubicBezTo>
                <a:cubicBezTo>
                  <a:pt x="792" y="940"/>
                  <a:pt x="795" y="943"/>
                  <a:pt x="799" y="947"/>
                </a:cubicBezTo>
                <a:cubicBezTo>
                  <a:pt x="799" y="947"/>
                  <a:pt x="799" y="947"/>
                  <a:pt x="799" y="947"/>
                </a:cubicBezTo>
                <a:cubicBezTo>
                  <a:pt x="799" y="947"/>
                  <a:pt x="799" y="947"/>
                  <a:pt x="799" y="947"/>
                </a:cubicBezTo>
                <a:cubicBezTo>
                  <a:pt x="799" y="947"/>
                  <a:pt x="799" y="947"/>
                  <a:pt x="799" y="947"/>
                </a:cubicBezTo>
                <a:cubicBezTo>
                  <a:pt x="928" y="1076"/>
                  <a:pt x="928" y="1076"/>
                  <a:pt x="928" y="1076"/>
                </a:cubicBezTo>
                <a:cubicBezTo>
                  <a:pt x="944" y="1092"/>
                  <a:pt x="973" y="1092"/>
                  <a:pt x="990" y="1076"/>
                </a:cubicBezTo>
                <a:cubicBezTo>
                  <a:pt x="1007" y="1059"/>
                  <a:pt x="1007" y="1031"/>
                  <a:pt x="990" y="1014"/>
                </a:cubicBezTo>
                <a:cubicBezTo>
                  <a:pt x="1014" y="990"/>
                  <a:pt x="1014" y="990"/>
                  <a:pt x="1014" y="990"/>
                </a:cubicBezTo>
                <a:cubicBezTo>
                  <a:pt x="1030" y="1006"/>
                  <a:pt x="1059" y="1006"/>
                  <a:pt x="1076" y="990"/>
                </a:cubicBezTo>
                <a:cubicBezTo>
                  <a:pt x="1084" y="982"/>
                  <a:pt x="1088" y="971"/>
                  <a:pt x="1088" y="959"/>
                </a:cubicBezTo>
                <a:cubicBezTo>
                  <a:pt x="1088" y="947"/>
                  <a:pt x="1084" y="936"/>
                  <a:pt x="1076" y="928"/>
                </a:cubicBezTo>
                <a:cubicBezTo>
                  <a:pt x="1033" y="885"/>
                  <a:pt x="1033" y="885"/>
                  <a:pt x="1033" y="885"/>
                </a:cubicBezTo>
                <a:cubicBezTo>
                  <a:pt x="1057" y="861"/>
                  <a:pt x="1057" y="861"/>
                  <a:pt x="1057" y="861"/>
                </a:cubicBezTo>
                <a:cubicBezTo>
                  <a:pt x="1065" y="869"/>
                  <a:pt x="1076" y="874"/>
                  <a:pt x="1088" y="874"/>
                </a:cubicBezTo>
                <a:cubicBezTo>
                  <a:pt x="1088" y="874"/>
                  <a:pt x="1088" y="874"/>
                  <a:pt x="1088" y="874"/>
                </a:cubicBezTo>
                <a:cubicBezTo>
                  <a:pt x="1100" y="874"/>
                  <a:pt x="1110" y="869"/>
                  <a:pt x="1119" y="861"/>
                </a:cubicBezTo>
                <a:cubicBezTo>
                  <a:pt x="1136" y="844"/>
                  <a:pt x="1136" y="816"/>
                  <a:pt x="1119" y="799"/>
                </a:cubicBezTo>
                <a:close/>
                <a:moveTo>
                  <a:pt x="1278" y="529"/>
                </a:moveTo>
                <a:cubicBezTo>
                  <a:pt x="959" y="209"/>
                  <a:pt x="959" y="209"/>
                  <a:pt x="959" y="209"/>
                </a:cubicBezTo>
                <a:cubicBezTo>
                  <a:pt x="768" y="400"/>
                  <a:pt x="768" y="400"/>
                  <a:pt x="768" y="400"/>
                </a:cubicBezTo>
                <a:cubicBezTo>
                  <a:pt x="768" y="400"/>
                  <a:pt x="768" y="400"/>
                  <a:pt x="768" y="400"/>
                </a:cubicBezTo>
                <a:cubicBezTo>
                  <a:pt x="627" y="541"/>
                  <a:pt x="627" y="541"/>
                  <a:pt x="627" y="541"/>
                </a:cubicBezTo>
                <a:cubicBezTo>
                  <a:pt x="623" y="546"/>
                  <a:pt x="620" y="551"/>
                  <a:pt x="617" y="556"/>
                </a:cubicBezTo>
                <a:cubicBezTo>
                  <a:pt x="615" y="561"/>
                  <a:pt x="614" y="567"/>
                  <a:pt x="614" y="572"/>
                </a:cubicBezTo>
                <a:cubicBezTo>
                  <a:pt x="614" y="579"/>
                  <a:pt x="616" y="585"/>
                  <a:pt x="619" y="591"/>
                </a:cubicBezTo>
                <a:cubicBezTo>
                  <a:pt x="621" y="595"/>
                  <a:pt x="624" y="599"/>
                  <a:pt x="627" y="603"/>
                </a:cubicBezTo>
                <a:cubicBezTo>
                  <a:pt x="635" y="611"/>
                  <a:pt x="646" y="616"/>
                  <a:pt x="658" y="616"/>
                </a:cubicBezTo>
                <a:cubicBezTo>
                  <a:pt x="658" y="616"/>
                  <a:pt x="658" y="616"/>
                  <a:pt x="658" y="616"/>
                </a:cubicBezTo>
                <a:cubicBezTo>
                  <a:pt x="667" y="616"/>
                  <a:pt x="675" y="613"/>
                  <a:pt x="682" y="608"/>
                </a:cubicBezTo>
                <a:cubicBezTo>
                  <a:pt x="685" y="607"/>
                  <a:pt x="687" y="605"/>
                  <a:pt x="689" y="603"/>
                </a:cubicBezTo>
                <a:cubicBezTo>
                  <a:pt x="830" y="462"/>
                  <a:pt x="830" y="462"/>
                  <a:pt x="830" y="462"/>
                </a:cubicBezTo>
                <a:cubicBezTo>
                  <a:pt x="1088" y="720"/>
                  <a:pt x="1088" y="720"/>
                  <a:pt x="1088" y="720"/>
                </a:cubicBezTo>
                <a:lnTo>
                  <a:pt x="1278" y="529"/>
                </a:lnTo>
                <a:close/>
                <a:moveTo>
                  <a:pt x="126" y="416"/>
                </a:moveTo>
                <a:cubicBezTo>
                  <a:pt x="169" y="459"/>
                  <a:pt x="169" y="459"/>
                  <a:pt x="169" y="459"/>
                </a:cubicBezTo>
                <a:cubicBezTo>
                  <a:pt x="212" y="416"/>
                  <a:pt x="212" y="416"/>
                  <a:pt x="212" y="416"/>
                </a:cubicBezTo>
                <a:cubicBezTo>
                  <a:pt x="169" y="373"/>
                  <a:pt x="169" y="373"/>
                  <a:pt x="169" y="373"/>
                </a:cubicBezTo>
                <a:lnTo>
                  <a:pt x="126" y="416"/>
                </a:lnTo>
                <a:close/>
                <a:moveTo>
                  <a:pt x="1362" y="416"/>
                </a:moveTo>
                <a:cubicBezTo>
                  <a:pt x="1319" y="373"/>
                  <a:pt x="1319" y="373"/>
                  <a:pt x="1319" y="373"/>
                </a:cubicBezTo>
                <a:cubicBezTo>
                  <a:pt x="1276" y="416"/>
                  <a:pt x="1276" y="416"/>
                  <a:pt x="1276" y="416"/>
                </a:cubicBezTo>
                <a:cubicBezTo>
                  <a:pt x="1319" y="459"/>
                  <a:pt x="1319" y="459"/>
                  <a:pt x="1319" y="459"/>
                </a:cubicBezTo>
                <a:lnTo>
                  <a:pt x="1362" y="4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0" name="Flowchart: Connector 29"/>
          <p:cNvSpPr/>
          <p:nvPr/>
        </p:nvSpPr>
        <p:spPr>
          <a:xfrm>
            <a:off x="6048675" y="1042472"/>
            <a:ext cx="878033" cy="878034"/>
          </a:xfrm>
          <a:prstGeom prst="flowChartConnector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</a:endParaRPr>
          </a:p>
        </p:txBody>
      </p:sp>
      <p:sp>
        <p:nvSpPr>
          <p:cNvPr id="25" name="Freeform 29"/>
          <p:cNvSpPr>
            <a:spLocks noEditPoints="1"/>
          </p:cNvSpPr>
          <p:nvPr/>
        </p:nvSpPr>
        <p:spPr bwMode="auto">
          <a:xfrm>
            <a:off x="6243606" y="1357436"/>
            <a:ext cx="488170" cy="243368"/>
          </a:xfrm>
          <a:custGeom>
            <a:avLst/>
            <a:gdLst>
              <a:gd name="T0" fmla="*/ 1371 w 1373"/>
              <a:gd name="T1" fmla="*/ 249 h 683"/>
              <a:gd name="T2" fmla="*/ 1034 w 1373"/>
              <a:gd name="T3" fmla="*/ 17 h 683"/>
              <a:gd name="T4" fmla="*/ 370 w 1373"/>
              <a:gd name="T5" fmla="*/ 86 h 683"/>
              <a:gd name="T6" fmla="*/ 527 w 1373"/>
              <a:gd name="T7" fmla="*/ 601 h 683"/>
              <a:gd name="T8" fmla="*/ 1017 w 1373"/>
              <a:gd name="T9" fmla="*/ 601 h 683"/>
              <a:gd name="T10" fmla="*/ 1291 w 1373"/>
              <a:gd name="T11" fmla="*/ 601 h 683"/>
              <a:gd name="T12" fmla="*/ 1371 w 1373"/>
              <a:gd name="T13" fmla="*/ 332 h 683"/>
              <a:gd name="T14" fmla="*/ 1337 w 1373"/>
              <a:gd name="T15" fmla="*/ 308 h 683"/>
              <a:gd name="T16" fmla="*/ 1240 w 1373"/>
              <a:gd name="T17" fmla="*/ 152 h 683"/>
              <a:gd name="T18" fmla="*/ 1061 w 1373"/>
              <a:gd name="T19" fmla="*/ 308 h 683"/>
              <a:gd name="T20" fmla="*/ 1061 w 1373"/>
              <a:gd name="T21" fmla="*/ 152 h 683"/>
              <a:gd name="T22" fmla="*/ 999 w 1373"/>
              <a:gd name="T23" fmla="*/ 34 h 683"/>
              <a:gd name="T24" fmla="*/ 741 w 1373"/>
              <a:gd name="T25" fmla="*/ 567 h 683"/>
              <a:gd name="T26" fmla="*/ 735 w 1373"/>
              <a:gd name="T27" fmla="*/ 538 h 683"/>
              <a:gd name="T28" fmla="*/ 722 w 1373"/>
              <a:gd name="T29" fmla="*/ 511 h 683"/>
              <a:gd name="T30" fmla="*/ 699 w 1373"/>
              <a:gd name="T31" fmla="*/ 488 h 683"/>
              <a:gd name="T32" fmla="*/ 674 w 1373"/>
              <a:gd name="T33" fmla="*/ 473 h 683"/>
              <a:gd name="T34" fmla="*/ 632 w 1373"/>
              <a:gd name="T35" fmla="*/ 464 h 683"/>
              <a:gd name="T36" fmla="*/ 591 w 1373"/>
              <a:gd name="T37" fmla="*/ 473 h 683"/>
              <a:gd name="T38" fmla="*/ 565 w 1373"/>
              <a:gd name="T39" fmla="*/ 488 h 683"/>
              <a:gd name="T40" fmla="*/ 543 w 1373"/>
              <a:gd name="T41" fmla="*/ 511 h 683"/>
              <a:gd name="T42" fmla="*/ 530 w 1373"/>
              <a:gd name="T43" fmla="*/ 538 h 683"/>
              <a:gd name="T44" fmla="*/ 523 w 1373"/>
              <a:gd name="T45" fmla="*/ 567 h 683"/>
              <a:gd name="T46" fmla="*/ 632 w 1373"/>
              <a:gd name="T47" fmla="*/ 649 h 683"/>
              <a:gd name="T48" fmla="*/ 632 w 1373"/>
              <a:gd name="T49" fmla="*/ 499 h 683"/>
              <a:gd name="T50" fmla="*/ 632 w 1373"/>
              <a:gd name="T51" fmla="*/ 649 h 683"/>
              <a:gd name="T52" fmla="*/ 1111 w 1373"/>
              <a:gd name="T53" fmla="*/ 574 h 683"/>
              <a:gd name="T54" fmla="*/ 1260 w 1373"/>
              <a:gd name="T55" fmla="*/ 582 h 683"/>
              <a:gd name="T56" fmla="*/ 1294 w 1373"/>
              <a:gd name="T57" fmla="*/ 559 h 683"/>
              <a:gd name="T58" fmla="*/ 1285 w 1373"/>
              <a:gd name="T59" fmla="*/ 529 h 683"/>
              <a:gd name="T60" fmla="*/ 1268 w 1373"/>
              <a:gd name="T61" fmla="*/ 502 h 683"/>
              <a:gd name="T62" fmla="*/ 1246 w 1373"/>
              <a:gd name="T63" fmla="*/ 483 h 683"/>
              <a:gd name="T64" fmla="*/ 1214 w 1373"/>
              <a:gd name="T65" fmla="*/ 469 h 683"/>
              <a:gd name="T66" fmla="*/ 1164 w 1373"/>
              <a:gd name="T67" fmla="*/ 467 h 683"/>
              <a:gd name="T68" fmla="*/ 1137 w 1373"/>
              <a:gd name="T69" fmla="*/ 477 h 683"/>
              <a:gd name="T70" fmla="*/ 1110 w 1373"/>
              <a:gd name="T71" fmla="*/ 495 h 683"/>
              <a:gd name="T72" fmla="*/ 1092 w 1373"/>
              <a:gd name="T73" fmla="*/ 519 h 683"/>
              <a:gd name="T74" fmla="*/ 1080 w 1373"/>
              <a:gd name="T75" fmla="*/ 549 h 683"/>
              <a:gd name="T76" fmla="*/ 1034 w 1373"/>
              <a:gd name="T77" fmla="*/ 567 h 683"/>
              <a:gd name="T78" fmla="*/ 1079 w 1373"/>
              <a:gd name="T79" fmla="*/ 344 h 683"/>
              <a:gd name="T80" fmla="*/ 1337 w 1373"/>
              <a:gd name="T81" fmla="*/ 567 h 683"/>
              <a:gd name="T82" fmla="*/ 314 w 1373"/>
              <a:gd name="T83" fmla="*/ 312 h 683"/>
              <a:gd name="T84" fmla="*/ 17 w 1373"/>
              <a:gd name="T85" fmla="*/ 278 h 683"/>
              <a:gd name="T86" fmla="*/ 331 w 1373"/>
              <a:gd name="T87" fmla="*/ 191 h 683"/>
              <a:gd name="T88" fmla="*/ 123 w 1373"/>
              <a:gd name="T89" fmla="*/ 191 h 683"/>
              <a:gd name="T90" fmla="*/ 331 w 1373"/>
              <a:gd name="T91" fmla="*/ 191 h 683"/>
              <a:gd name="T92" fmla="*/ 140 w 1373"/>
              <a:gd name="T93" fmla="*/ 416 h 683"/>
              <a:gd name="T94" fmla="*/ 314 w 1373"/>
              <a:gd name="T95" fmla="*/ 382 h 6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373" h="683">
                <a:moveTo>
                  <a:pt x="1373" y="326"/>
                </a:moveTo>
                <a:cubicBezTo>
                  <a:pt x="1373" y="323"/>
                  <a:pt x="1372" y="321"/>
                  <a:pt x="1371" y="319"/>
                </a:cubicBezTo>
                <a:cubicBezTo>
                  <a:pt x="1371" y="249"/>
                  <a:pt x="1371" y="249"/>
                  <a:pt x="1371" y="249"/>
                </a:cubicBezTo>
                <a:cubicBezTo>
                  <a:pt x="1371" y="177"/>
                  <a:pt x="1312" y="118"/>
                  <a:pt x="1240" y="118"/>
                </a:cubicBezTo>
                <a:cubicBezTo>
                  <a:pt x="1034" y="118"/>
                  <a:pt x="1034" y="118"/>
                  <a:pt x="1034" y="118"/>
                </a:cubicBezTo>
                <a:cubicBezTo>
                  <a:pt x="1034" y="17"/>
                  <a:pt x="1034" y="17"/>
                  <a:pt x="1034" y="17"/>
                </a:cubicBezTo>
                <a:cubicBezTo>
                  <a:pt x="1034" y="8"/>
                  <a:pt x="1026" y="0"/>
                  <a:pt x="1017" y="0"/>
                </a:cubicBezTo>
                <a:cubicBezTo>
                  <a:pt x="455" y="0"/>
                  <a:pt x="455" y="0"/>
                  <a:pt x="455" y="0"/>
                </a:cubicBezTo>
                <a:cubicBezTo>
                  <a:pt x="408" y="0"/>
                  <a:pt x="370" y="38"/>
                  <a:pt x="370" y="86"/>
                </a:cubicBezTo>
                <a:cubicBezTo>
                  <a:pt x="370" y="584"/>
                  <a:pt x="370" y="584"/>
                  <a:pt x="370" y="584"/>
                </a:cubicBezTo>
                <a:cubicBezTo>
                  <a:pt x="370" y="593"/>
                  <a:pt x="377" y="601"/>
                  <a:pt x="387" y="601"/>
                </a:cubicBezTo>
                <a:cubicBezTo>
                  <a:pt x="527" y="601"/>
                  <a:pt x="527" y="601"/>
                  <a:pt x="527" y="601"/>
                </a:cubicBezTo>
                <a:cubicBezTo>
                  <a:pt x="539" y="649"/>
                  <a:pt x="582" y="683"/>
                  <a:pt x="632" y="683"/>
                </a:cubicBezTo>
                <a:cubicBezTo>
                  <a:pt x="683" y="683"/>
                  <a:pt x="726" y="649"/>
                  <a:pt x="738" y="601"/>
                </a:cubicBezTo>
                <a:cubicBezTo>
                  <a:pt x="1017" y="601"/>
                  <a:pt x="1017" y="601"/>
                  <a:pt x="1017" y="601"/>
                </a:cubicBezTo>
                <a:cubicBezTo>
                  <a:pt x="1080" y="601"/>
                  <a:pt x="1080" y="601"/>
                  <a:pt x="1080" y="601"/>
                </a:cubicBezTo>
                <a:cubicBezTo>
                  <a:pt x="1093" y="649"/>
                  <a:pt x="1135" y="683"/>
                  <a:pt x="1186" y="683"/>
                </a:cubicBezTo>
                <a:cubicBezTo>
                  <a:pt x="1236" y="683"/>
                  <a:pt x="1279" y="649"/>
                  <a:pt x="1291" y="601"/>
                </a:cubicBezTo>
                <a:cubicBezTo>
                  <a:pt x="1354" y="601"/>
                  <a:pt x="1354" y="601"/>
                  <a:pt x="1354" y="601"/>
                </a:cubicBezTo>
                <a:cubicBezTo>
                  <a:pt x="1364" y="601"/>
                  <a:pt x="1371" y="593"/>
                  <a:pt x="1371" y="584"/>
                </a:cubicBezTo>
                <a:cubicBezTo>
                  <a:pt x="1371" y="332"/>
                  <a:pt x="1371" y="332"/>
                  <a:pt x="1371" y="332"/>
                </a:cubicBezTo>
                <a:cubicBezTo>
                  <a:pt x="1372" y="330"/>
                  <a:pt x="1373" y="328"/>
                  <a:pt x="1373" y="326"/>
                </a:cubicBezTo>
                <a:close/>
                <a:moveTo>
                  <a:pt x="1337" y="249"/>
                </a:moveTo>
                <a:cubicBezTo>
                  <a:pt x="1337" y="308"/>
                  <a:pt x="1337" y="308"/>
                  <a:pt x="1337" y="308"/>
                </a:cubicBezTo>
                <a:cubicBezTo>
                  <a:pt x="1096" y="308"/>
                  <a:pt x="1096" y="308"/>
                  <a:pt x="1096" y="308"/>
                </a:cubicBezTo>
                <a:cubicBezTo>
                  <a:pt x="1096" y="152"/>
                  <a:pt x="1096" y="152"/>
                  <a:pt x="1096" y="152"/>
                </a:cubicBezTo>
                <a:cubicBezTo>
                  <a:pt x="1240" y="152"/>
                  <a:pt x="1240" y="152"/>
                  <a:pt x="1240" y="152"/>
                </a:cubicBezTo>
                <a:cubicBezTo>
                  <a:pt x="1293" y="152"/>
                  <a:pt x="1337" y="196"/>
                  <a:pt x="1337" y="249"/>
                </a:cubicBezTo>
                <a:close/>
                <a:moveTo>
                  <a:pt x="1061" y="152"/>
                </a:moveTo>
                <a:cubicBezTo>
                  <a:pt x="1061" y="308"/>
                  <a:pt x="1061" y="308"/>
                  <a:pt x="1061" y="308"/>
                </a:cubicBezTo>
                <a:cubicBezTo>
                  <a:pt x="1034" y="308"/>
                  <a:pt x="1034" y="308"/>
                  <a:pt x="1034" y="308"/>
                </a:cubicBezTo>
                <a:cubicBezTo>
                  <a:pt x="1034" y="152"/>
                  <a:pt x="1034" y="152"/>
                  <a:pt x="1034" y="152"/>
                </a:cubicBezTo>
                <a:lnTo>
                  <a:pt x="1061" y="152"/>
                </a:lnTo>
                <a:close/>
                <a:moveTo>
                  <a:pt x="404" y="86"/>
                </a:moveTo>
                <a:cubicBezTo>
                  <a:pt x="404" y="57"/>
                  <a:pt x="427" y="34"/>
                  <a:pt x="455" y="34"/>
                </a:cubicBezTo>
                <a:cubicBezTo>
                  <a:pt x="999" y="34"/>
                  <a:pt x="999" y="34"/>
                  <a:pt x="999" y="34"/>
                </a:cubicBezTo>
                <a:cubicBezTo>
                  <a:pt x="999" y="135"/>
                  <a:pt x="999" y="135"/>
                  <a:pt x="999" y="135"/>
                </a:cubicBezTo>
                <a:cubicBezTo>
                  <a:pt x="999" y="567"/>
                  <a:pt x="999" y="567"/>
                  <a:pt x="999" y="567"/>
                </a:cubicBezTo>
                <a:cubicBezTo>
                  <a:pt x="741" y="567"/>
                  <a:pt x="741" y="567"/>
                  <a:pt x="741" y="567"/>
                </a:cubicBezTo>
                <a:cubicBezTo>
                  <a:pt x="741" y="564"/>
                  <a:pt x="740" y="561"/>
                  <a:pt x="740" y="559"/>
                </a:cubicBezTo>
                <a:cubicBezTo>
                  <a:pt x="740" y="555"/>
                  <a:pt x="739" y="552"/>
                  <a:pt x="739" y="549"/>
                </a:cubicBezTo>
                <a:cubicBezTo>
                  <a:pt x="738" y="545"/>
                  <a:pt x="736" y="542"/>
                  <a:pt x="735" y="538"/>
                </a:cubicBezTo>
                <a:cubicBezTo>
                  <a:pt x="734" y="535"/>
                  <a:pt x="733" y="532"/>
                  <a:pt x="732" y="529"/>
                </a:cubicBezTo>
                <a:cubicBezTo>
                  <a:pt x="730" y="526"/>
                  <a:pt x="728" y="522"/>
                  <a:pt x="726" y="519"/>
                </a:cubicBezTo>
                <a:cubicBezTo>
                  <a:pt x="725" y="516"/>
                  <a:pt x="723" y="514"/>
                  <a:pt x="722" y="511"/>
                </a:cubicBezTo>
                <a:cubicBezTo>
                  <a:pt x="719" y="508"/>
                  <a:pt x="717" y="505"/>
                  <a:pt x="714" y="502"/>
                </a:cubicBezTo>
                <a:cubicBezTo>
                  <a:pt x="712" y="500"/>
                  <a:pt x="710" y="498"/>
                  <a:pt x="708" y="495"/>
                </a:cubicBezTo>
                <a:cubicBezTo>
                  <a:pt x="706" y="493"/>
                  <a:pt x="702" y="490"/>
                  <a:pt x="699" y="488"/>
                </a:cubicBezTo>
                <a:cubicBezTo>
                  <a:pt x="697" y="486"/>
                  <a:pt x="695" y="484"/>
                  <a:pt x="692" y="483"/>
                </a:cubicBezTo>
                <a:cubicBezTo>
                  <a:pt x="689" y="480"/>
                  <a:pt x="685" y="478"/>
                  <a:pt x="681" y="477"/>
                </a:cubicBezTo>
                <a:cubicBezTo>
                  <a:pt x="679" y="475"/>
                  <a:pt x="677" y="474"/>
                  <a:pt x="674" y="473"/>
                </a:cubicBezTo>
                <a:cubicBezTo>
                  <a:pt x="670" y="471"/>
                  <a:pt x="665" y="470"/>
                  <a:pt x="661" y="469"/>
                </a:cubicBezTo>
                <a:cubicBezTo>
                  <a:pt x="658" y="468"/>
                  <a:pt x="656" y="467"/>
                  <a:pt x="654" y="467"/>
                </a:cubicBezTo>
                <a:cubicBezTo>
                  <a:pt x="647" y="465"/>
                  <a:pt x="640" y="464"/>
                  <a:pt x="632" y="464"/>
                </a:cubicBezTo>
                <a:cubicBezTo>
                  <a:pt x="625" y="464"/>
                  <a:pt x="618" y="465"/>
                  <a:pt x="611" y="467"/>
                </a:cubicBezTo>
                <a:cubicBezTo>
                  <a:pt x="608" y="467"/>
                  <a:pt x="606" y="468"/>
                  <a:pt x="604" y="469"/>
                </a:cubicBezTo>
                <a:cubicBezTo>
                  <a:pt x="599" y="470"/>
                  <a:pt x="595" y="471"/>
                  <a:pt x="591" y="473"/>
                </a:cubicBezTo>
                <a:cubicBezTo>
                  <a:pt x="588" y="474"/>
                  <a:pt x="586" y="475"/>
                  <a:pt x="583" y="477"/>
                </a:cubicBezTo>
                <a:cubicBezTo>
                  <a:pt x="580" y="479"/>
                  <a:pt x="576" y="480"/>
                  <a:pt x="572" y="483"/>
                </a:cubicBezTo>
                <a:cubicBezTo>
                  <a:pt x="570" y="484"/>
                  <a:pt x="568" y="486"/>
                  <a:pt x="565" y="488"/>
                </a:cubicBezTo>
                <a:cubicBezTo>
                  <a:pt x="562" y="490"/>
                  <a:pt x="559" y="493"/>
                  <a:pt x="556" y="495"/>
                </a:cubicBezTo>
                <a:cubicBezTo>
                  <a:pt x="554" y="498"/>
                  <a:pt x="552" y="500"/>
                  <a:pt x="550" y="502"/>
                </a:cubicBezTo>
                <a:cubicBezTo>
                  <a:pt x="548" y="505"/>
                  <a:pt x="545" y="508"/>
                  <a:pt x="543" y="511"/>
                </a:cubicBezTo>
                <a:cubicBezTo>
                  <a:pt x="541" y="514"/>
                  <a:pt x="540" y="516"/>
                  <a:pt x="538" y="519"/>
                </a:cubicBezTo>
                <a:cubicBezTo>
                  <a:pt x="536" y="522"/>
                  <a:pt x="535" y="526"/>
                  <a:pt x="533" y="529"/>
                </a:cubicBezTo>
                <a:cubicBezTo>
                  <a:pt x="532" y="532"/>
                  <a:pt x="531" y="535"/>
                  <a:pt x="530" y="538"/>
                </a:cubicBezTo>
                <a:cubicBezTo>
                  <a:pt x="528" y="542"/>
                  <a:pt x="527" y="545"/>
                  <a:pt x="526" y="549"/>
                </a:cubicBezTo>
                <a:cubicBezTo>
                  <a:pt x="526" y="552"/>
                  <a:pt x="525" y="555"/>
                  <a:pt x="525" y="559"/>
                </a:cubicBezTo>
                <a:cubicBezTo>
                  <a:pt x="524" y="561"/>
                  <a:pt x="524" y="564"/>
                  <a:pt x="523" y="567"/>
                </a:cubicBezTo>
                <a:cubicBezTo>
                  <a:pt x="404" y="567"/>
                  <a:pt x="404" y="567"/>
                  <a:pt x="404" y="567"/>
                </a:cubicBezTo>
                <a:lnTo>
                  <a:pt x="404" y="86"/>
                </a:lnTo>
                <a:close/>
                <a:moveTo>
                  <a:pt x="632" y="649"/>
                </a:moveTo>
                <a:cubicBezTo>
                  <a:pt x="594" y="649"/>
                  <a:pt x="562" y="620"/>
                  <a:pt x="558" y="583"/>
                </a:cubicBezTo>
                <a:cubicBezTo>
                  <a:pt x="558" y="580"/>
                  <a:pt x="557" y="577"/>
                  <a:pt x="557" y="574"/>
                </a:cubicBezTo>
                <a:cubicBezTo>
                  <a:pt x="557" y="532"/>
                  <a:pt x="591" y="499"/>
                  <a:pt x="632" y="499"/>
                </a:cubicBezTo>
                <a:cubicBezTo>
                  <a:pt x="674" y="499"/>
                  <a:pt x="707" y="532"/>
                  <a:pt x="707" y="574"/>
                </a:cubicBezTo>
                <a:cubicBezTo>
                  <a:pt x="707" y="577"/>
                  <a:pt x="707" y="579"/>
                  <a:pt x="707" y="582"/>
                </a:cubicBezTo>
                <a:cubicBezTo>
                  <a:pt x="703" y="620"/>
                  <a:pt x="671" y="649"/>
                  <a:pt x="632" y="649"/>
                </a:cubicBezTo>
                <a:close/>
                <a:moveTo>
                  <a:pt x="1186" y="649"/>
                </a:moveTo>
                <a:cubicBezTo>
                  <a:pt x="1148" y="649"/>
                  <a:pt x="1115" y="620"/>
                  <a:pt x="1111" y="583"/>
                </a:cubicBezTo>
                <a:cubicBezTo>
                  <a:pt x="1111" y="580"/>
                  <a:pt x="1111" y="577"/>
                  <a:pt x="1111" y="574"/>
                </a:cubicBezTo>
                <a:cubicBezTo>
                  <a:pt x="1111" y="532"/>
                  <a:pt x="1145" y="499"/>
                  <a:pt x="1186" y="499"/>
                </a:cubicBezTo>
                <a:cubicBezTo>
                  <a:pt x="1227" y="499"/>
                  <a:pt x="1261" y="532"/>
                  <a:pt x="1261" y="574"/>
                </a:cubicBezTo>
                <a:cubicBezTo>
                  <a:pt x="1261" y="577"/>
                  <a:pt x="1261" y="579"/>
                  <a:pt x="1260" y="582"/>
                </a:cubicBezTo>
                <a:cubicBezTo>
                  <a:pt x="1256" y="620"/>
                  <a:pt x="1224" y="649"/>
                  <a:pt x="1186" y="649"/>
                </a:cubicBezTo>
                <a:close/>
                <a:moveTo>
                  <a:pt x="1295" y="567"/>
                </a:moveTo>
                <a:cubicBezTo>
                  <a:pt x="1295" y="564"/>
                  <a:pt x="1294" y="561"/>
                  <a:pt x="1294" y="559"/>
                </a:cubicBezTo>
                <a:cubicBezTo>
                  <a:pt x="1293" y="555"/>
                  <a:pt x="1293" y="552"/>
                  <a:pt x="1292" y="549"/>
                </a:cubicBezTo>
                <a:cubicBezTo>
                  <a:pt x="1291" y="545"/>
                  <a:pt x="1290" y="542"/>
                  <a:pt x="1289" y="538"/>
                </a:cubicBezTo>
                <a:cubicBezTo>
                  <a:pt x="1288" y="535"/>
                  <a:pt x="1287" y="532"/>
                  <a:pt x="1285" y="529"/>
                </a:cubicBezTo>
                <a:cubicBezTo>
                  <a:pt x="1284" y="526"/>
                  <a:pt x="1282" y="522"/>
                  <a:pt x="1280" y="519"/>
                </a:cubicBezTo>
                <a:cubicBezTo>
                  <a:pt x="1278" y="516"/>
                  <a:pt x="1277" y="514"/>
                  <a:pt x="1275" y="511"/>
                </a:cubicBezTo>
                <a:cubicBezTo>
                  <a:pt x="1273" y="508"/>
                  <a:pt x="1270" y="505"/>
                  <a:pt x="1268" y="502"/>
                </a:cubicBezTo>
                <a:cubicBezTo>
                  <a:pt x="1266" y="500"/>
                  <a:pt x="1264" y="498"/>
                  <a:pt x="1262" y="495"/>
                </a:cubicBezTo>
                <a:cubicBezTo>
                  <a:pt x="1259" y="493"/>
                  <a:pt x="1256" y="490"/>
                  <a:pt x="1253" y="488"/>
                </a:cubicBezTo>
                <a:cubicBezTo>
                  <a:pt x="1251" y="486"/>
                  <a:pt x="1248" y="484"/>
                  <a:pt x="1246" y="483"/>
                </a:cubicBezTo>
                <a:cubicBezTo>
                  <a:pt x="1242" y="480"/>
                  <a:pt x="1239" y="479"/>
                  <a:pt x="1235" y="477"/>
                </a:cubicBezTo>
                <a:cubicBezTo>
                  <a:pt x="1233" y="475"/>
                  <a:pt x="1230" y="474"/>
                  <a:pt x="1228" y="473"/>
                </a:cubicBezTo>
                <a:cubicBezTo>
                  <a:pt x="1223" y="471"/>
                  <a:pt x="1219" y="470"/>
                  <a:pt x="1214" y="469"/>
                </a:cubicBezTo>
                <a:cubicBezTo>
                  <a:pt x="1212" y="468"/>
                  <a:pt x="1210" y="467"/>
                  <a:pt x="1208" y="467"/>
                </a:cubicBezTo>
                <a:cubicBezTo>
                  <a:pt x="1201" y="465"/>
                  <a:pt x="1193" y="464"/>
                  <a:pt x="1186" y="464"/>
                </a:cubicBezTo>
                <a:cubicBezTo>
                  <a:pt x="1179" y="464"/>
                  <a:pt x="1171" y="465"/>
                  <a:pt x="1164" y="467"/>
                </a:cubicBezTo>
                <a:cubicBezTo>
                  <a:pt x="1162" y="467"/>
                  <a:pt x="1160" y="468"/>
                  <a:pt x="1158" y="469"/>
                </a:cubicBezTo>
                <a:cubicBezTo>
                  <a:pt x="1153" y="470"/>
                  <a:pt x="1149" y="471"/>
                  <a:pt x="1144" y="473"/>
                </a:cubicBezTo>
                <a:cubicBezTo>
                  <a:pt x="1142" y="474"/>
                  <a:pt x="1139" y="475"/>
                  <a:pt x="1137" y="477"/>
                </a:cubicBezTo>
                <a:cubicBezTo>
                  <a:pt x="1133" y="478"/>
                  <a:pt x="1129" y="480"/>
                  <a:pt x="1126" y="483"/>
                </a:cubicBezTo>
                <a:cubicBezTo>
                  <a:pt x="1124" y="484"/>
                  <a:pt x="1121" y="486"/>
                  <a:pt x="1119" y="488"/>
                </a:cubicBezTo>
                <a:cubicBezTo>
                  <a:pt x="1116" y="490"/>
                  <a:pt x="1113" y="493"/>
                  <a:pt x="1110" y="495"/>
                </a:cubicBezTo>
                <a:cubicBezTo>
                  <a:pt x="1108" y="498"/>
                  <a:pt x="1106" y="500"/>
                  <a:pt x="1104" y="502"/>
                </a:cubicBezTo>
                <a:cubicBezTo>
                  <a:pt x="1102" y="505"/>
                  <a:pt x="1099" y="508"/>
                  <a:pt x="1097" y="511"/>
                </a:cubicBezTo>
                <a:cubicBezTo>
                  <a:pt x="1095" y="514"/>
                  <a:pt x="1094" y="516"/>
                  <a:pt x="1092" y="519"/>
                </a:cubicBezTo>
                <a:cubicBezTo>
                  <a:pt x="1090" y="522"/>
                  <a:pt x="1088" y="526"/>
                  <a:pt x="1086" y="529"/>
                </a:cubicBezTo>
                <a:cubicBezTo>
                  <a:pt x="1085" y="532"/>
                  <a:pt x="1084" y="535"/>
                  <a:pt x="1083" y="538"/>
                </a:cubicBezTo>
                <a:cubicBezTo>
                  <a:pt x="1082" y="542"/>
                  <a:pt x="1081" y="545"/>
                  <a:pt x="1080" y="549"/>
                </a:cubicBezTo>
                <a:cubicBezTo>
                  <a:pt x="1079" y="552"/>
                  <a:pt x="1079" y="555"/>
                  <a:pt x="1078" y="559"/>
                </a:cubicBezTo>
                <a:cubicBezTo>
                  <a:pt x="1078" y="561"/>
                  <a:pt x="1077" y="564"/>
                  <a:pt x="1077" y="567"/>
                </a:cubicBezTo>
                <a:cubicBezTo>
                  <a:pt x="1034" y="567"/>
                  <a:pt x="1034" y="567"/>
                  <a:pt x="1034" y="567"/>
                </a:cubicBezTo>
                <a:cubicBezTo>
                  <a:pt x="1034" y="343"/>
                  <a:pt x="1034" y="343"/>
                  <a:pt x="1034" y="343"/>
                </a:cubicBezTo>
                <a:cubicBezTo>
                  <a:pt x="1075" y="343"/>
                  <a:pt x="1075" y="343"/>
                  <a:pt x="1075" y="343"/>
                </a:cubicBezTo>
                <a:cubicBezTo>
                  <a:pt x="1076" y="343"/>
                  <a:pt x="1077" y="344"/>
                  <a:pt x="1079" y="344"/>
                </a:cubicBezTo>
                <a:cubicBezTo>
                  <a:pt x="1080" y="344"/>
                  <a:pt x="1081" y="343"/>
                  <a:pt x="1083" y="343"/>
                </a:cubicBezTo>
                <a:cubicBezTo>
                  <a:pt x="1337" y="343"/>
                  <a:pt x="1337" y="343"/>
                  <a:pt x="1337" y="343"/>
                </a:cubicBezTo>
                <a:cubicBezTo>
                  <a:pt x="1337" y="567"/>
                  <a:pt x="1337" y="567"/>
                  <a:pt x="1337" y="567"/>
                </a:cubicBezTo>
                <a:lnTo>
                  <a:pt x="1295" y="567"/>
                </a:lnTo>
                <a:close/>
                <a:moveTo>
                  <a:pt x="331" y="295"/>
                </a:moveTo>
                <a:cubicBezTo>
                  <a:pt x="331" y="304"/>
                  <a:pt x="324" y="312"/>
                  <a:pt x="314" y="312"/>
                </a:cubicBezTo>
                <a:cubicBezTo>
                  <a:pt x="17" y="312"/>
                  <a:pt x="17" y="312"/>
                  <a:pt x="17" y="312"/>
                </a:cubicBezTo>
                <a:cubicBezTo>
                  <a:pt x="8" y="312"/>
                  <a:pt x="0" y="304"/>
                  <a:pt x="0" y="295"/>
                </a:cubicBezTo>
                <a:cubicBezTo>
                  <a:pt x="0" y="286"/>
                  <a:pt x="8" y="278"/>
                  <a:pt x="17" y="278"/>
                </a:cubicBezTo>
                <a:cubicBezTo>
                  <a:pt x="314" y="278"/>
                  <a:pt x="314" y="278"/>
                  <a:pt x="314" y="278"/>
                </a:cubicBezTo>
                <a:cubicBezTo>
                  <a:pt x="324" y="278"/>
                  <a:pt x="331" y="286"/>
                  <a:pt x="331" y="295"/>
                </a:cubicBezTo>
                <a:close/>
                <a:moveTo>
                  <a:pt x="331" y="191"/>
                </a:moveTo>
                <a:cubicBezTo>
                  <a:pt x="331" y="201"/>
                  <a:pt x="324" y="208"/>
                  <a:pt x="314" y="208"/>
                </a:cubicBezTo>
                <a:cubicBezTo>
                  <a:pt x="140" y="208"/>
                  <a:pt x="140" y="208"/>
                  <a:pt x="140" y="208"/>
                </a:cubicBezTo>
                <a:cubicBezTo>
                  <a:pt x="131" y="208"/>
                  <a:pt x="123" y="201"/>
                  <a:pt x="123" y="191"/>
                </a:cubicBezTo>
                <a:cubicBezTo>
                  <a:pt x="123" y="182"/>
                  <a:pt x="131" y="174"/>
                  <a:pt x="140" y="174"/>
                </a:cubicBezTo>
                <a:cubicBezTo>
                  <a:pt x="314" y="174"/>
                  <a:pt x="314" y="174"/>
                  <a:pt x="314" y="174"/>
                </a:cubicBezTo>
                <a:cubicBezTo>
                  <a:pt x="324" y="174"/>
                  <a:pt x="331" y="182"/>
                  <a:pt x="331" y="191"/>
                </a:cubicBezTo>
                <a:close/>
                <a:moveTo>
                  <a:pt x="331" y="399"/>
                </a:moveTo>
                <a:cubicBezTo>
                  <a:pt x="331" y="408"/>
                  <a:pt x="324" y="416"/>
                  <a:pt x="314" y="416"/>
                </a:cubicBezTo>
                <a:cubicBezTo>
                  <a:pt x="140" y="416"/>
                  <a:pt x="140" y="416"/>
                  <a:pt x="140" y="416"/>
                </a:cubicBezTo>
                <a:cubicBezTo>
                  <a:pt x="131" y="416"/>
                  <a:pt x="123" y="408"/>
                  <a:pt x="123" y="399"/>
                </a:cubicBezTo>
                <a:cubicBezTo>
                  <a:pt x="123" y="389"/>
                  <a:pt x="131" y="382"/>
                  <a:pt x="140" y="382"/>
                </a:cubicBezTo>
                <a:cubicBezTo>
                  <a:pt x="314" y="382"/>
                  <a:pt x="314" y="382"/>
                  <a:pt x="314" y="382"/>
                </a:cubicBezTo>
                <a:cubicBezTo>
                  <a:pt x="324" y="382"/>
                  <a:pt x="331" y="389"/>
                  <a:pt x="331" y="39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9" name="Flowchart: Connector 28"/>
          <p:cNvSpPr/>
          <p:nvPr/>
        </p:nvSpPr>
        <p:spPr>
          <a:xfrm>
            <a:off x="4358907" y="1832216"/>
            <a:ext cx="878033" cy="878034"/>
          </a:xfrm>
          <a:prstGeom prst="flowChartConnector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</a:endParaRPr>
          </a:p>
        </p:txBody>
      </p:sp>
      <p:sp>
        <p:nvSpPr>
          <p:cNvPr id="26" name="Freeform 31"/>
          <p:cNvSpPr>
            <a:spLocks noEditPoints="1"/>
          </p:cNvSpPr>
          <p:nvPr/>
        </p:nvSpPr>
        <p:spPr bwMode="auto">
          <a:xfrm>
            <a:off x="4589054" y="2107178"/>
            <a:ext cx="417738" cy="328110"/>
          </a:xfrm>
          <a:custGeom>
            <a:avLst/>
            <a:gdLst>
              <a:gd name="T0" fmla="*/ 167 w 1306"/>
              <a:gd name="T1" fmla="*/ 690 h 1024"/>
              <a:gd name="T2" fmla="*/ 167 w 1306"/>
              <a:gd name="T3" fmla="*/ 1024 h 1024"/>
              <a:gd name="T4" fmla="*/ 1306 w 1306"/>
              <a:gd name="T5" fmla="*/ 857 h 1024"/>
              <a:gd name="T6" fmla="*/ 1139 w 1306"/>
              <a:gd name="T7" fmla="*/ 989 h 1024"/>
              <a:gd name="T8" fmla="*/ 34 w 1306"/>
              <a:gd name="T9" fmla="*/ 857 h 1024"/>
              <a:gd name="T10" fmla="*/ 1139 w 1306"/>
              <a:gd name="T11" fmla="*/ 724 h 1024"/>
              <a:gd name="T12" fmla="*/ 1139 w 1306"/>
              <a:gd name="T13" fmla="*/ 989 h 1024"/>
              <a:gd name="T14" fmla="*/ 112 w 1306"/>
              <a:gd name="T15" fmla="*/ 857 h 1024"/>
              <a:gd name="T16" fmla="*/ 296 w 1306"/>
              <a:gd name="T17" fmla="*/ 857 h 1024"/>
              <a:gd name="T18" fmla="*/ 204 w 1306"/>
              <a:gd name="T19" fmla="*/ 915 h 1024"/>
              <a:gd name="T20" fmla="*/ 204 w 1306"/>
              <a:gd name="T21" fmla="*/ 799 h 1024"/>
              <a:gd name="T22" fmla="*/ 204 w 1306"/>
              <a:gd name="T23" fmla="*/ 915 h 1024"/>
              <a:gd name="T24" fmla="*/ 337 w 1306"/>
              <a:gd name="T25" fmla="*/ 857 h 1024"/>
              <a:gd name="T26" fmla="*/ 520 w 1306"/>
              <a:gd name="T27" fmla="*/ 857 h 1024"/>
              <a:gd name="T28" fmla="*/ 429 w 1306"/>
              <a:gd name="T29" fmla="*/ 915 h 1024"/>
              <a:gd name="T30" fmla="*/ 429 w 1306"/>
              <a:gd name="T31" fmla="*/ 799 h 1024"/>
              <a:gd name="T32" fmla="*/ 429 w 1306"/>
              <a:gd name="T33" fmla="*/ 915 h 1024"/>
              <a:gd name="T34" fmla="*/ 561 w 1306"/>
              <a:gd name="T35" fmla="*/ 857 h 1024"/>
              <a:gd name="T36" fmla="*/ 745 w 1306"/>
              <a:gd name="T37" fmla="*/ 857 h 1024"/>
              <a:gd name="T38" fmla="*/ 653 w 1306"/>
              <a:gd name="T39" fmla="*/ 915 h 1024"/>
              <a:gd name="T40" fmla="*/ 653 w 1306"/>
              <a:gd name="T41" fmla="*/ 799 h 1024"/>
              <a:gd name="T42" fmla="*/ 653 w 1306"/>
              <a:gd name="T43" fmla="*/ 915 h 1024"/>
              <a:gd name="T44" fmla="*/ 785 w 1306"/>
              <a:gd name="T45" fmla="*/ 857 h 1024"/>
              <a:gd name="T46" fmla="*/ 969 w 1306"/>
              <a:gd name="T47" fmla="*/ 857 h 1024"/>
              <a:gd name="T48" fmla="*/ 877 w 1306"/>
              <a:gd name="T49" fmla="*/ 915 h 1024"/>
              <a:gd name="T50" fmla="*/ 877 w 1306"/>
              <a:gd name="T51" fmla="*/ 799 h 1024"/>
              <a:gd name="T52" fmla="*/ 877 w 1306"/>
              <a:gd name="T53" fmla="*/ 915 h 1024"/>
              <a:gd name="T54" fmla="*/ 1010 w 1306"/>
              <a:gd name="T55" fmla="*/ 857 h 1024"/>
              <a:gd name="T56" fmla="*/ 1194 w 1306"/>
              <a:gd name="T57" fmla="*/ 857 h 1024"/>
              <a:gd name="T58" fmla="*/ 1102 w 1306"/>
              <a:gd name="T59" fmla="*/ 915 h 1024"/>
              <a:gd name="T60" fmla="*/ 1102 w 1306"/>
              <a:gd name="T61" fmla="*/ 799 h 1024"/>
              <a:gd name="T62" fmla="*/ 1102 w 1306"/>
              <a:gd name="T63" fmla="*/ 915 h 1024"/>
              <a:gd name="T64" fmla="*/ 1019 w 1306"/>
              <a:gd name="T65" fmla="*/ 633 h 1024"/>
              <a:gd name="T66" fmla="*/ 1036 w 1306"/>
              <a:gd name="T67" fmla="*/ 17 h 1024"/>
              <a:gd name="T68" fmla="*/ 753 w 1306"/>
              <a:gd name="T69" fmla="*/ 0 h 1024"/>
              <a:gd name="T70" fmla="*/ 287 w 1306"/>
              <a:gd name="T71" fmla="*/ 0 h 1024"/>
              <a:gd name="T72" fmla="*/ 270 w 1306"/>
              <a:gd name="T73" fmla="*/ 616 h 1024"/>
              <a:gd name="T74" fmla="*/ 736 w 1306"/>
              <a:gd name="T75" fmla="*/ 34 h 1024"/>
              <a:gd name="T76" fmla="*/ 663 w 1306"/>
              <a:gd name="T77" fmla="*/ 103 h 1024"/>
              <a:gd name="T78" fmla="*/ 650 w 1306"/>
              <a:gd name="T79" fmla="*/ 98 h 1024"/>
              <a:gd name="T80" fmla="*/ 570 w 1306"/>
              <a:gd name="T81" fmla="*/ 174 h 1024"/>
              <a:gd name="T82" fmla="*/ 736 w 1306"/>
              <a:gd name="T83" fmla="*/ 34 h 1024"/>
              <a:gd name="T84" fmla="*/ 536 w 1306"/>
              <a:gd name="T85" fmla="*/ 34 h 1024"/>
              <a:gd name="T86" fmla="*/ 547 w 1306"/>
              <a:gd name="T87" fmla="*/ 232 h 1024"/>
              <a:gd name="T88" fmla="*/ 565 w 1306"/>
              <a:gd name="T89" fmla="*/ 228 h 1024"/>
              <a:gd name="T90" fmla="*/ 741 w 1306"/>
              <a:gd name="T91" fmla="*/ 229 h 1024"/>
              <a:gd name="T92" fmla="*/ 770 w 1306"/>
              <a:gd name="T93" fmla="*/ 216 h 1024"/>
              <a:gd name="T94" fmla="*/ 1002 w 1306"/>
              <a:gd name="T95" fmla="*/ 34 h 1024"/>
              <a:gd name="T96" fmla="*/ 304 w 1306"/>
              <a:gd name="T97" fmla="*/ 599 h 10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306" h="1024">
                <a:moveTo>
                  <a:pt x="1139" y="690"/>
                </a:moveTo>
                <a:cubicBezTo>
                  <a:pt x="167" y="690"/>
                  <a:pt x="167" y="690"/>
                  <a:pt x="167" y="690"/>
                </a:cubicBezTo>
                <a:cubicBezTo>
                  <a:pt x="75" y="690"/>
                  <a:pt x="0" y="765"/>
                  <a:pt x="0" y="857"/>
                </a:cubicBezTo>
                <a:cubicBezTo>
                  <a:pt x="0" y="949"/>
                  <a:pt x="75" y="1024"/>
                  <a:pt x="167" y="1024"/>
                </a:cubicBezTo>
                <a:cubicBezTo>
                  <a:pt x="1139" y="1024"/>
                  <a:pt x="1139" y="1024"/>
                  <a:pt x="1139" y="1024"/>
                </a:cubicBezTo>
                <a:cubicBezTo>
                  <a:pt x="1231" y="1024"/>
                  <a:pt x="1306" y="949"/>
                  <a:pt x="1306" y="857"/>
                </a:cubicBezTo>
                <a:cubicBezTo>
                  <a:pt x="1306" y="765"/>
                  <a:pt x="1231" y="690"/>
                  <a:pt x="1139" y="690"/>
                </a:cubicBezTo>
                <a:close/>
                <a:moveTo>
                  <a:pt x="1139" y="989"/>
                </a:moveTo>
                <a:cubicBezTo>
                  <a:pt x="167" y="989"/>
                  <a:pt x="167" y="989"/>
                  <a:pt x="167" y="989"/>
                </a:cubicBezTo>
                <a:cubicBezTo>
                  <a:pt x="94" y="989"/>
                  <a:pt x="34" y="930"/>
                  <a:pt x="34" y="857"/>
                </a:cubicBezTo>
                <a:cubicBezTo>
                  <a:pt x="34" y="784"/>
                  <a:pt x="94" y="724"/>
                  <a:pt x="167" y="724"/>
                </a:cubicBezTo>
                <a:cubicBezTo>
                  <a:pt x="1139" y="724"/>
                  <a:pt x="1139" y="724"/>
                  <a:pt x="1139" y="724"/>
                </a:cubicBezTo>
                <a:cubicBezTo>
                  <a:pt x="1212" y="724"/>
                  <a:pt x="1272" y="784"/>
                  <a:pt x="1272" y="857"/>
                </a:cubicBezTo>
                <a:cubicBezTo>
                  <a:pt x="1272" y="930"/>
                  <a:pt x="1212" y="989"/>
                  <a:pt x="1139" y="989"/>
                </a:cubicBezTo>
                <a:close/>
                <a:moveTo>
                  <a:pt x="204" y="765"/>
                </a:moveTo>
                <a:cubicBezTo>
                  <a:pt x="153" y="765"/>
                  <a:pt x="112" y="806"/>
                  <a:pt x="112" y="857"/>
                </a:cubicBezTo>
                <a:cubicBezTo>
                  <a:pt x="112" y="908"/>
                  <a:pt x="153" y="949"/>
                  <a:pt x="204" y="949"/>
                </a:cubicBezTo>
                <a:cubicBezTo>
                  <a:pt x="255" y="949"/>
                  <a:pt x="296" y="908"/>
                  <a:pt x="296" y="857"/>
                </a:cubicBezTo>
                <a:cubicBezTo>
                  <a:pt x="296" y="806"/>
                  <a:pt x="255" y="765"/>
                  <a:pt x="204" y="765"/>
                </a:cubicBezTo>
                <a:close/>
                <a:moveTo>
                  <a:pt x="204" y="915"/>
                </a:moveTo>
                <a:cubicBezTo>
                  <a:pt x="172" y="915"/>
                  <a:pt x="146" y="889"/>
                  <a:pt x="146" y="857"/>
                </a:cubicBezTo>
                <a:cubicBezTo>
                  <a:pt x="146" y="825"/>
                  <a:pt x="172" y="799"/>
                  <a:pt x="204" y="799"/>
                </a:cubicBezTo>
                <a:cubicBezTo>
                  <a:pt x="236" y="799"/>
                  <a:pt x="262" y="825"/>
                  <a:pt x="262" y="857"/>
                </a:cubicBezTo>
                <a:cubicBezTo>
                  <a:pt x="262" y="889"/>
                  <a:pt x="236" y="915"/>
                  <a:pt x="204" y="915"/>
                </a:cubicBezTo>
                <a:close/>
                <a:moveTo>
                  <a:pt x="429" y="765"/>
                </a:moveTo>
                <a:cubicBezTo>
                  <a:pt x="378" y="765"/>
                  <a:pt x="337" y="806"/>
                  <a:pt x="337" y="857"/>
                </a:cubicBezTo>
                <a:cubicBezTo>
                  <a:pt x="337" y="908"/>
                  <a:pt x="378" y="949"/>
                  <a:pt x="429" y="949"/>
                </a:cubicBezTo>
                <a:cubicBezTo>
                  <a:pt x="479" y="949"/>
                  <a:pt x="520" y="908"/>
                  <a:pt x="520" y="857"/>
                </a:cubicBezTo>
                <a:cubicBezTo>
                  <a:pt x="520" y="806"/>
                  <a:pt x="479" y="765"/>
                  <a:pt x="429" y="765"/>
                </a:cubicBezTo>
                <a:close/>
                <a:moveTo>
                  <a:pt x="429" y="915"/>
                </a:moveTo>
                <a:cubicBezTo>
                  <a:pt x="397" y="915"/>
                  <a:pt x="371" y="889"/>
                  <a:pt x="371" y="857"/>
                </a:cubicBezTo>
                <a:cubicBezTo>
                  <a:pt x="371" y="825"/>
                  <a:pt x="397" y="799"/>
                  <a:pt x="429" y="799"/>
                </a:cubicBezTo>
                <a:cubicBezTo>
                  <a:pt x="460" y="799"/>
                  <a:pt x="486" y="825"/>
                  <a:pt x="486" y="857"/>
                </a:cubicBezTo>
                <a:cubicBezTo>
                  <a:pt x="486" y="889"/>
                  <a:pt x="460" y="915"/>
                  <a:pt x="429" y="915"/>
                </a:cubicBezTo>
                <a:close/>
                <a:moveTo>
                  <a:pt x="653" y="765"/>
                </a:moveTo>
                <a:cubicBezTo>
                  <a:pt x="602" y="765"/>
                  <a:pt x="561" y="806"/>
                  <a:pt x="561" y="857"/>
                </a:cubicBezTo>
                <a:cubicBezTo>
                  <a:pt x="561" y="908"/>
                  <a:pt x="602" y="949"/>
                  <a:pt x="653" y="949"/>
                </a:cubicBezTo>
                <a:cubicBezTo>
                  <a:pt x="704" y="949"/>
                  <a:pt x="745" y="908"/>
                  <a:pt x="745" y="857"/>
                </a:cubicBezTo>
                <a:cubicBezTo>
                  <a:pt x="745" y="806"/>
                  <a:pt x="704" y="765"/>
                  <a:pt x="653" y="765"/>
                </a:cubicBezTo>
                <a:close/>
                <a:moveTo>
                  <a:pt x="653" y="915"/>
                </a:moveTo>
                <a:cubicBezTo>
                  <a:pt x="621" y="915"/>
                  <a:pt x="595" y="889"/>
                  <a:pt x="595" y="857"/>
                </a:cubicBezTo>
                <a:cubicBezTo>
                  <a:pt x="595" y="825"/>
                  <a:pt x="621" y="799"/>
                  <a:pt x="653" y="799"/>
                </a:cubicBezTo>
                <a:cubicBezTo>
                  <a:pt x="685" y="799"/>
                  <a:pt x="711" y="825"/>
                  <a:pt x="711" y="857"/>
                </a:cubicBezTo>
                <a:cubicBezTo>
                  <a:pt x="711" y="889"/>
                  <a:pt x="685" y="915"/>
                  <a:pt x="653" y="915"/>
                </a:cubicBezTo>
                <a:close/>
                <a:moveTo>
                  <a:pt x="877" y="765"/>
                </a:moveTo>
                <a:cubicBezTo>
                  <a:pt x="827" y="765"/>
                  <a:pt x="785" y="806"/>
                  <a:pt x="785" y="857"/>
                </a:cubicBezTo>
                <a:cubicBezTo>
                  <a:pt x="785" y="908"/>
                  <a:pt x="827" y="949"/>
                  <a:pt x="877" y="949"/>
                </a:cubicBezTo>
                <a:cubicBezTo>
                  <a:pt x="928" y="949"/>
                  <a:pt x="969" y="908"/>
                  <a:pt x="969" y="857"/>
                </a:cubicBezTo>
                <a:cubicBezTo>
                  <a:pt x="969" y="806"/>
                  <a:pt x="928" y="765"/>
                  <a:pt x="877" y="765"/>
                </a:cubicBezTo>
                <a:close/>
                <a:moveTo>
                  <a:pt x="877" y="915"/>
                </a:moveTo>
                <a:cubicBezTo>
                  <a:pt x="846" y="915"/>
                  <a:pt x="820" y="889"/>
                  <a:pt x="820" y="857"/>
                </a:cubicBezTo>
                <a:cubicBezTo>
                  <a:pt x="820" y="825"/>
                  <a:pt x="846" y="799"/>
                  <a:pt x="877" y="799"/>
                </a:cubicBezTo>
                <a:cubicBezTo>
                  <a:pt x="909" y="799"/>
                  <a:pt x="935" y="825"/>
                  <a:pt x="935" y="857"/>
                </a:cubicBezTo>
                <a:cubicBezTo>
                  <a:pt x="935" y="889"/>
                  <a:pt x="909" y="915"/>
                  <a:pt x="877" y="915"/>
                </a:cubicBezTo>
                <a:close/>
                <a:moveTo>
                  <a:pt x="1102" y="765"/>
                </a:moveTo>
                <a:cubicBezTo>
                  <a:pt x="1051" y="765"/>
                  <a:pt x="1010" y="806"/>
                  <a:pt x="1010" y="857"/>
                </a:cubicBezTo>
                <a:cubicBezTo>
                  <a:pt x="1010" y="908"/>
                  <a:pt x="1051" y="949"/>
                  <a:pt x="1102" y="949"/>
                </a:cubicBezTo>
                <a:cubicBezTo>
                  <a:pt x="1152" y="949"/>
                  <a:pt x="1194" y="908"/>
                  <a:pt x="1194" y="857"/>
                </a:cubicBezTo>
                <a:cubicBezTo>
                  <a:pt x="1194" y="806"/>
                  <a:pt x="1152" y="765"/>
                  <a:pt x="1102" y="765"/>
                </a:cubicBezTo>
                <a:close/>
                <a:moveTo>
                  <a:pt x="1102" y="915"/>
                </a:moveTo>
                <a:cubicBezTo>
                  <a:pt x="1070" y="915"/>
                  <a:pt x="1044" y="889"/>
                  <a:pt x="1044" y="857"/>
                </a:cubicBezTo>
                <a:cubicBezTo>
                  <a:pt x="1044" y="825"/>
                  <a:pt x="1070" y="799"/>
                  <a:pt x="1102" y="799"/>
                </a:cubicBezTo>
                <a:cubicBezTo>
                  <a:pt x="1133" y="799"/>
                  <a:pt x="1159" y="825"/>
                  <a:pt x="1159" y="857"/>
                </a:cubicBezTo>
                <a:cubicBezTo>
                  <a:pt x="1159" y="889"/>
                  <a:pt x="1133" y="915"/>
                  <a:pt x="1102" y="915"/>
                </a:cubicBezTo>
                <a:close/>
                <a:moveTo>
                  <a:pt x="287" y="633"/>
                </a:moveTo>
                <a:cubicBezTo>
                  <a:pt x="1019" y="633"/>
                  <a:pt x="1019" y="633"/>
                  <a:pt x="1019" y="633"/>
                </a:cubicBezTo>
                <a:cubicBezTo>
                  <a:pt x="1028" y="633"/>
                  <a:pt x="1036" y="625"/>
                  <a:pt x="1036" y="616"/>
                </a:cubicBezTo>
                <a:cubicBezTo>
                  <a:pt x="1036" y="17"/>
                  <a:pt x="1036" y="17"/>
                  <a:pt x="1036" y="17"/>
                </a:cubicBezTo>
                <a:cubicBezTo>
                  <a:pt x="1036" y="7"/>
                  <a:pt x="1028" y="0"/>
                  <a:pt x="1019" y="0"/>
                </a:cubicBezTo>
                <a:cubicBezTo>
                  <a:pt x="753" y="0"/>
                  <a:pt x="753" y="0"/>
                  <a:pt x="753" y="0"/>
                </a:cubicBezTo>
                <a:cubicBezTo>
                  <a:pt x="553" y="0"/>
                  <a:pt x="553" y="0"/>
                  <a:pt x="553" y="0"/>
                </a:cubicBezTo>
                <a:cubicBezTo>
                  <a:pt x="287" y="0"/>
                  <a:pt x="287" y="0"/>
                  <a:pt x="287" y="0"/>
                </a:cubicBezTo>
                <a:cubicBezTo>
                  <a:pt x="277" y="0"/>
                  <a:pt x="270" y="7"/>
                  <a:pt x="270" y="17"/>
                </a:cubicBezTo>
                <a:cubicBezTo>
                  <a:pt x="270" y="616"/>
                  <a:pt x="270" y="616"/>
                  <a:pt x="270" y="616"/>
                </a:cubicBezTo>
                <a:cubicBezTo>
                  <a:pt x="270" y="625"/>
                  <a:pt x="277" y="633"/>
                  <a:pt x="287" y="633"/>
                </a:cubicBezTo>
                <a:close/>
                <a:moveTo>
                  <a:pt x="736" y="34"/>
                </a:moveTo>
                <a:cubicBezTo>
                  <a:pt x="736" y="175"/>
                  <a:pt x="736" y="175"/>
                  <a:pt x="736" y="175"/>
                </a:cubicBezTo>
                <a:cubicBezTo>
                  <a:pt x="663" y="103"/>
                  <a:pt x="663" y="103"/>
                  <a:pt x="663" y="103"/>
                </a:cubicBezTo>
                <a:cubicBezTo>
                  <a:pt x="659" y="99"/>
                  <a:pt x="655" y="98"/>
                  <a:pt x="651" y="98"/>
                </a:cubicBezTo>
                <a:cubicBezTo>
                  <a:pt x="651" y="98"/>
                  <a:pt x="650" y="98"/>
                  <a:pt x="650" y="98"/>
                </a:cubicBezTo>
                <a:cubicBezTo>
                  <a:pt x="646" y="98"/>
                  <a:pt x="641" y="100"/>
                  <a:pt x="638" y="103"/>
                </a:cubicBezTo>
                <a:cubicBezTo>
                  <a:pt x="570" y="174"/>
                  <a:pt x="570" y="174"/>
                  <a:pt x="570" y="174"/>
                </a:cubicBezTo>
                <a:cubicBezTo>
                  <a:pt x="570" y="34"/>
                  <a:pt x="570" y="34"/>
                  <a:pt x="570" y="34"/>
                </a:cubicBezTo>
                <a:lnTo>
                  <a:pt x="736" y="34"/>
                </a:lnTo>
                <a:close/>
                <a:moveTo>
                  <a:pt x="304" y="34"/>
                </a:moveTo>
                <a:cubicBezTo>
                  <a:pt x="536" y="34"/>
                  <a:pt x="536" y="34"/>
                  <a:pt x="536" y="34"/>
                </a:cubicBezTo>
                <a:cubicBezTo>
                  <a:pt x="536" y="216"/>
                  <a:pt x="536" y="216"/>
                  <a:pt x="536" y="216"/>
                </a:cubicBezTo>
                <a:cubicBezTo>
                  <a:pt x="536" y="223"/>
                  <a:pt x="540" y="230"/>
                  <a:pt x="547" y="232"/>
                </a:cubicBezTo>
                <a:cubicBezTo>
                  <a:pt x="549" y="233"/>
                  <a:pt x="551" y="234"/>
                  <a:pt x="553" y="234"/>
                </a:cubicBezTo>
                <a:cubicBezTo>
                  <a:pt x="558" y="234"/>
                  <a:pt x="562" y="232"/>
                  <a:pt x="565" y="228"/>
                </a:cubicBezTo>
                <a:cubicBezTo>
                  <a:pt x="651" y="139"/>
                  <a:pt x="651" y="139"/>
                  <a:pt x="651" y="139"/>
                </a:cubicBezTo>
                <a:cubicBezTo>
                  <a:pt x="741" y="229"/>
                  <a:pt x="741" y="229"/>
                  <a:pt x="741" y="229"/>
                </a:cubicBezTo>
                <a:cubicBezTo>
                  <a:pt x="746" y="234"/>
                  <a:pt x="753" y="235"/>
                  <a:pt x="759" y="232"/>
                </a:cubicBezTo>
                <a:cubicBezTo>
                  <a:pt x="766" y="230"/>
                  <a:pt x="770" y="223"/>
                  <a:pt x="770" y="216"/>
                </a:cubicBezTo>
                <a:cubicBezTo>
                  <a:pt x="770" y="34"/>
                  <a:pt x="770" y="34"/>
                  <a:pt x="770" y="34"/>
                </a:cubicBezTo>
                <a:cubicBezTo>
                  <a:pt x="1002" y="34"/>
                  <a:pt x="1002" y="34"/>
                  <a:pt x="1002" y="34"/>
                </a:cubicBezTo>
                <a:cubicBezTo>
                  <a:pt x="1002" y="599"/>
                  <a:pt x="1002" y="599"/>
                  <a:pt x="1002" y="599"/>
                </a:cubicBezTo>
                <a:cubicBezTo>
                  <a:pt x="304" y="599"/>
                  <a:pt x="304" y="599"/>
                  <a:pt x="304" y="599"/>
                </a:cubicBezTo>
                <a:lnTo>
                  <a:pt x="304" y="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9" name="Flowchart: Connector 8"/>
          <p:cNvSpPr/>
          <p:nvPr/>
        </p:nvSpPr>
        <p:spPr>
          <a:xfrm>
            <a:off x="979373" y="3411434"/>
            <a:ext cx="878033" cy="878034"/>
          </a:xfrm>
          <a:prstGeom prst="flowChartConnector">
            <a:avLst/>
          </a:prstGeom>
          <a:solidFill>
            <a:srgbClr val="EC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>
              <a:solidFill>
                <a:schemeClr val="tx1"/>
              </a:solidFill>
            </a:endParaRPr>
          </a:p>
        </p:txBody>
      </p:sp>
      <p:sp>
        <p:nvSpPr>
          <p:cNvPr id="27" name="Freeform 32"/>
          <p:cNvSpPr>
            <a:spLocks noEditPoints="1"/>
          </p:cNvSpPr>
          <p:nvPr/>
        </p:nvSpPr>
        <p:spPr bwMode="auto">
          <a:xfrm>
            <a:off x="1292744" y="3628600"/>
            <a:ext cx="251294" cy="443702"/>
          </a:xfrm>
          <a:custGeom>
            <a:avLst/>
            <a:gdLst>
              <a:gd name="T0" fmla="*/ 109 w 783"/>
              <a:gd name="T1" fmla="*/ 0 h 1381"/>
              <a:gd name="T2" fmla="*/ 0 w 783"/>
              <a:gd name="T3" fmla="*/ 316 h 1381"/>
              <a:gd name="T4" fmla="*/ 2 w 783"/>
              <a:gd name="T5" fmla="*/ 1072 h 1381"/>
              <a:gd name="T6" fmla="*/ 152 w 783"/>
              <a:gd name="T7" fmla="*/ 1371 h 1381"/>
              <a:gd name="T8" fmla="*/ 182 w 783"/>
              <a:gd name="T9" fmla="*/ 1371 h 1381"/>
              <a:gd name="T10" fmla="*/ 251 w 783"/>
              <a:gd name="T11" fmla="*/ 1235 h 1381"/>
              <a:gd name="T12" fmla="*/ 332 w 783"/>
              <a:gd name="T13" fmla="*/ 1072 h 1381"/>
              <a:gd name="T14" fmla="*/ 334 w 783"/>
              <a:gd name="T15" fmla="*/ 316 h 1381"/>
              <a:gd name="T16" fmla="*/ 225 w 783"/>
              <a:gd name="T17" fmla="*/ 0 h 1381"/>
              <a:gd name="T18" fmla="*/ 121 w 783"/>
              <a:gd name="T19" fmla="*/ 333 h 1381"/>
              <a:gd name="T20" fmla="*/ 213 w 783"/>
              <a:gd name="T21" fmla="*/ 1047 h 1381"/>
              <a:gd name="T22" fmla="*/ 35 w 783"/>
              <a:gd name="T23" fmla="*/ 1047 h 1381"/>
              <a:gd name="T24" fmla="*/ 87 w 783"/>
              <a:gd name="T25" fmla="*/ 333 h 1381"/>
              <a:gd name="T26" fmla="*/ 35 w 783"/>
              <a:gd name="T27" fmla="*/ 1047 h 1381"/>
              <a:gd name="T28" fmla="*/ 35 w 783"/>
              <a:gd name="T29" fmla="*/ 230 h 1381"/>
              <a:gd name="T30" fmla="*/ 300 w 783"/>
              <a:gd name="T31" fmla="*/ 299 h 1381"/>
              <a:gd name="T32" fmla="*/ 248 w 783"/>
              <a:gd name="T33" fmla="*/ 333 h 1381"/>
              <a:gd name="T34" fmla="*/ 300 w 783"/>
              <a:gd name="T35" fmla="*/ 1047 h 1381"/>
              <a:gd name="T36" fmla="*/ 248 w 783"/>
              <a:gd name="T37" fmla="*/ 333 h 1381"/>
              <a:gd name="T38" fmla="*/ 225 w 783"/>
              <a:gd name="T39" fmla="*/ 34 h 1381"/>
              <a:gd name="T40" fmla="*/ 300 w 783"/>
              <a:gd name="T41" fmla="*/ 195 h 1381"/>
              <a:gd name="T42" fmla="*/ 35 w 783"/>
              <a:gd name="T43" fmla="*/ 109 h 1381"/>
              <a:gd name="T44" fmla="*/ 167 w 783"/>
              <a:gd name="T45" fmla="*/ 1325 h 1381"/>
              <a:gd name="T46" fmla="*/ 207 w 783"/>
              <a:gd name="T47" fmla="*/ 1246 h 1381"/>
              <a:gd name="T48" fmla="*/ 224 w 783"/>
              <a:gd name="T49" fmla="*/ 1212 h 1381"/>
              <a:gd name="T50" fmla="*/ 45 w 783"/>
              <a:gd name="T51" fmla="*/ 1081 h 1381"/>
              <a:gd name="T52" fmla="*/ 224 w 783"/>
              <a:gd name="T53" fmla="*/ 1212 h 1381"/>
              <a:gd name="T54" fmla="*/ 449 w 783"/>
              <a:gd name="T55" fmla="*/ 1381 h 1381"/>
              <a:gd name="T56" fmla="*/ 783 w 783"/>
              <a:gd name="T57" fmla="*/ 0 h 1381"/>
              <a:gd name="T58" fmla="*/ 748 w 783"/>
              <a:gd name="T59" fmla="*/ 1346 h 1381"/>
              <a:gd name="T60" fmla="*/ 483 w 783"/>
              <a:gd name="T61" fmla="*/ 1306 h 1381"/>
              <a:gd name="T62" fmla="*/ 616 w 783"/>
              <a:gd name="T63" fmla="*/ 1272 h 1381"/>
              <a:gd name="T64" fmla="*/ 483 w 783"/>
              <a:gd name="T65" fmla="*/ 1166 h 1381"/>
              <a:gd name="T66" fmla="*/ 570 w 783"/>
              <a:gd name="T67" fmla="*/ 1131 h 1381"/>
              <a:gd name="T68" fmla="*/ 483 w 783"/>
              <a:gd name="T69" fmla="*/ 1025 h 1381"/>
              <a:gd name="T70" fmla="*/ 616 w 783"/>
              <a:gd name="T71" fmla="*/ 991 h 1381"/>
              <a:gd name="T72" fmla="*/ 483 w 783"/>
              <a:gd name="T73" fmla="*/ 885 h 1381"/>
              <a:gd name="T74" fmla="*/ 570 w 783"/>
              <a:gd name="T75" fmla="*/ 851 h 1381"/>
              <a:gd name="T76" fmla="*/ 483 w 783"/>
              <a:gd name="T77" fmla="*/ 745 h 1381"/>
              <a:gd name="T78" fmla="*/ 616 w 783"/>
              <a:gd name="T79" fmla="*/ 711 h 1381"/>
              <a:gd name="T80" fmla="*/ 483 w 783"/>
              <a:gd name="T81" fmla="*/ 605 h 1381"/>
              <a:gd name="T82" fmla="*/ 570 w 783"/>
              <a:gd name="T83" fmla="*/ 570 h 1381"/>
              <a:gd name="T84" fmla="*/ 483 w 783"/>
              <a:gd name="T85" fmla="*/ 464 h 1381"/>
              <a:gd name="T86" fmla="*/ 616 w 783"/>
              <a:gd name="T87" fmla="*/ 430 h 1381"/>
              <a:gd name="T88" fmla="*/ 483 w 783"/>
              <a:gd name="T89" fmla="*/ 324 h 1381"/>
              <a:gd name="T90" fmla="*/ 570 w 783"/>
              <a:gd name="T91" fmla="*/ 290 h 1381"/>
              <a:gd name="T92" fmla="*/ 483 w 783"/>
              <a:gd name="T93" fmla="*/ 184 h 1381"/>
              <a:gd name="T94" fmla="*/ 616 w 783"/>
              <a:gd name="T95" fmla="*/ 150 h 1381"/>
              <a:gd name="T96" fmla="*/ 483 w 783"/>
              <a:gd name="T97" fmla="*/ 34 h 1381"/>
              <a:gd name="T98" fmla="*/ 748 w 783"/>
              <a:gd name="T99" fmla="*/ 1346 h 13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783" h="1381">
                <a:moveTo>
                  <a:pt x="225" y="0"/>
                </a:moveTo>
                <a:cubicBezTo>
                  <a:pt x="109" y="0"/>
                  <a:pt x="109" y="0"/>
                  <a:pt x="109" y="0"/>
                </a:cubicBezTo>
                <a:cubicBezTo>
                  <a:pt x="49" y="0"/>
                  <a:pt x="0" y="49"/>
                  <a:pt x="0" y="109"/>
                </a:cubicBezTo>
                <a:cubicBezTo>
                  <a:pt x="0" y="316"/>
                  <a:pt x="0" y="316"/>
                  <a:pt x="0" y="316"/>
                </a:cubicBezTo>
                <a:cubicBezTo>
                  <a:pt x="0" y="1064"/>
                  <a:pt x="0" y="1064"/>
                  <a:pt x="0" y="1064"/>
                </a:cubicBezTo>
                <a:cubicBezTo>
                  <a:pt x="0" y="1067"/>
                  <a:pt x="1" y="1069"/>
                  <a:pt x="2" y="1072"/>
                </a:cubicBezTo>
                <a:cubicBezTo>
                  <a:pt x="2" y="1072"/>
                  <a:pt x="2" y="1072"/>
                  <a:pt x="2" y="1072"/>
                </a:cubicBezTo>
                <a:cubicBezTo>
                  <a:pt x="152" y="1371"/>
                  <a:pt x="152" y="1371"/>
                  <a:pt x="152" y="1371"/>
                </a:cubicBezTo>
                <a:cubicBezTo>
                  <a:pt x="155" y="1377"/>
                  <a:pt x="161" y="1381"/>
                  <a:pt x="167" y="1381"/>
                </a:cubicBezTo>
                <a:cubicBezTo>
                  <a:pt x="174" y="1381"/>
                  <a:pt x="179" y="1377"/>
                  <a:pt x="182" y="1371"/>
                </a:cubicBezTo>
                <a:cubicBezTo>
                  <a:pt x="250" y="1237"/>
                  <a:pt x="250" y="1237"/>
                  <a:pt x="250" y="1237"/>
                </a:cubicBezTo>
                <a:cubicBezTo>
                  <a:pt x="250" y="1236"/>
                  <a:pt x="250" y="1235"/>
                  <a:pt x="251" y="1235"/>
                </a:cubicBezTo>
                <a:cubicBezTo>
                  <a:pt x="332" y="1072"/>
                  <a:pt x="332" y="1072"/>
                  <a:pt x="332" y="1072"/>
                </a:cubicBezTo>
                <a:cubicBezTo>
                  <a:pt x="332" y="1072"/>
                  <a:pt x="332" y="1072"/>
                  <a:pt x="332" y="1072"/>
                </a:cubicBezTo>
                <a:cubicBezTo>
                  <a:pt x="333" y="1069"/>
                  <a:pt x="334" y="1067"/>
                  <a:pt x="334" y="1064"/>
                </a:cubicBezTo>
                <a:cubicBezTo>
                  <a:pt x="334" y="316"/>
                  <a:pt x="334" y="316"/>
                  <a:pt x="334" y="316"/>
                </a:cubicBezTo>
                <a:cubicBezTo>
                  <a:pt x="334" y="109"/>
                  <a:pt x="334" y="109"/>
                  <a:pt x="334" y="109"/>
                </a:cubicBezTo>
                <a:cubicBezTo>
                  <a:pt x="334" y="49"/>
                  <a:pt x="285" y="0"/>
                  <a:pt x="225" y="0"/>
                </a:cubicBezTo>
                <a:close/>
                <a:moveTo>
                  <a:pt x="121" y="1047"/>
                </a:moveTo>
                <a:cubicBezTo>
                  <a:pt x="121" y="333"/>
                  <a:pt x="121" y="333"/>
                  <a:pt x="121" y="333"/>
                </a:cubicBezTo>
                <a:cubicBezTo>
                  <a:pt x="213" y="333"/>
                  <a:pt x="213" y="333"/>
                  <a:pt x="213" y="333"/>
                </a:cubicBezTo>
                <a:cubicBezTo>
                  <a:pt x="213" y="1047"/>
                  <a:pt x="213" y="1047"/>
                  <a:pt x="213" y="1047"/>
                </a:cubicBezTo>
                <a:lnTo>
                  <a:pt x="121" y="1047"/>
                </a:lnTo>
                <a:close/>
                <a:moveTo>
                  <a:pt x="35" y="1047"/>
                </a:moveTo>
                <a:cubicBezTo>
                  <a:pt x="35" y="333"/>
                  <a:pt x="35" y="333"/>
                  <a:pt x="35" y="333"/>
                </a:cubicBezTo>
                <a:cubicBezTo>
                  <a:pt x="87" y="333"/>
                  <a:pt x="87" y="333"/>
                  <a:pt x="87" y="333"/>
                </a:cubicBezTo>
                <a:cubicBezTo>
                  <a:pt x="87" y="1047"/>
                  <a:pt x="87" y="1047"/>
                  <a:pt x="87" y="1047"/>
                </a:cubicBezTo>
                <a:lnTo>
                  <a:pt x="35" y="1047"/>
                </a:lnTo>
                <a:close/>
                <a:moveTo>
                  <a:pt x="35" y="299"/>
                </a:moveTo>
                <a:cubicBezTo>
                  <a:pt x="35" y="230"/>
                  <a:pt x="35" y="230"/>
                  <a:pt x="35" y="230"/>
                </a:cubicBezTo>
                <a:cubicBezTo>
                  <a:pt x="300" y="230"/>
                  <a:pt x="300" y="230"/>
                  <a:pt x="300" y="230"/>
                </a:cubicBezTo>
                <a:cubicBezTo>
                  <a:pt x="300" y="299"/>
                  <a:pt x="300" y="299"/>
                  <a:pt x="300" y="299"/>
                </a:cubicBezTo>
                <a:lnTo>
                  <a:pt x="35" y="299"/>
                </a:lnTo>
                <a:close/>
                <a:moveTo>
                  <a:pt x="248" y="333"/>
                </a:moveTo>
                <a:cubicBezTo>
                  <a:pt x="300" y="333"/>
                  <a:pt x="300" y="333"/>
                  <a:pt x="300" y="333"/>
                </a:cubicBezTo>
                <a:cubicBezTo>
                  <a:pt x="300" y="1047"/>
                  <a:pt x="300" y="1047"/>
                  <a:pt x="300" y="1047"/>
                </a:cubicBezTo>
                <a:cubicBezTo>
                  <a:pt x="248" y="1047"/>
                  <a:pt x="248" y="1047"/>
                  <a:pt x="248" y="1047"/>
                </a:cubicBezTo>
                <a:lnTo>
                  <a:pt x="248" y="333"/>
                </a:lnTo>
                <a:close/>
                <a:moveTo>
                  <a:pt x="109" y="34"/>
                </a:moveTo>
                <a:cubicBezTo>
                  <a:pt x="225" y="34"/>
                  <a:pt x="225" y="34"/>
                  <a:pt x="225" y="34"/>
                </a:cubicBezTo>
                <a:cubicBezTo>
                  <a:pt x="266" y="34"/>
                  <a:pt x="300" y="68"/>
                  <a:pt x="300" y="109"/>
                </a:cubicBezTo>
                <a:cubicBezTo>
                  <a:pt x="300" y="195"/>
                  <a:pt x="300" y="195"/>
                  <a:pt x="300" y="195"/>
                </a:cubicBezTo>
                <a:cubicBezTo>
                  <a:pt x="35" y="195"/>
                  <a:pt x="35" y="195"/>
                  <a:pt x="35" y="195"/>
                </a:cubicBezTo>
                <a:cubicBezTo>
                  <a:pt x="35" y="109"/>
                  <a:pt x="35" y="109"/>
                  <a:pt x="35" y="109"/>
                </a:cubicBezTo>
                <a:cubicBezTo>
                  <a:pt x="35" y="68"/>
                  <a:pt x="68" y="34"/>
                  <a:pt x="109" y="34"/>
                </a:cubicBezTo>
                <a:close/>
                <a:moveTo>
                  <a:pt x="167" y="1325"/>
                </a:moveTo>
                <a:cubicBezTo>
                  <a:pt x="127" y="1246"/>
                  <a:pt x="127" y="1246"/>
                  <a:pt x="127" y="1246"/>
                </a:cubicBezTo>
                <a:cubicBezTo>
                  <a:pt x="207" y="1246"/>
                  <a:pt x="207" y="1246"/>
                  <a:pt x="207" y="1246"/>
                </a:cubicBezTo>
                <a:lnTo>
                  <a:pt x="167" y="1325"/>
                </a:lnTo>
                <a:close/>
                <a:moveTo>
                  <a:pt x="224" y="1212"/>
                </a:moveTo>
                <a:cubicBezTo>
                  <a:pt x="110" y="1212"/>
                  <a:pt x="110" y="1212"/>
                  <a:pt x="110" y="1212"/>
                </a:cubicBezTo>
                <a:cubicBezTo>
                  <a:pt x="45" y="1081"/>
                  <a:pt x="45" y="1081"/>
                  <a:pt x="45" y="1081"/>
                </a:cubicBezTo>
                <a:cubicBezTo>
                  <a:pt x="289" y="1081"/>
                  <a:pt x="289" y="1081"/>
                  <a:pt x="289" y="1081"/>
                </a:cubicBezTo>
                <a:lnTo>
                  <a:pt x="224" y="1212"/>
                </a:lnTo>
                <a:close/>
                <a:moveTo>
                  <a:pt x="449" y="0"/>
                </a:moveTo>
                <a:cubicBezTo>
                  <a:pt x="449" y="1381"/>
                  <a:pt x="449" y="1381"/>
                  <a:pt x="449" y="1381"/>
                </a:cubicBezTo>
                <a:cubicBezTo>
                  <a:pt x="783" y="1381"/>
                  <a:pt x="783" y="1381"/>
                  <a:pt x="783" y="1381"/>
                </a:cubicBezTo>
                <a:cubicBezTo>
                  <a:pt x="783" y="0"/>
                  <a:pt x="783" y="0"/>
                  <a:pt x="783" y="0"/>
                </a:cubicBezTo>
                <a:lnTo>
                  <a:pt x="449" y="0"/>
                </a:lnTo>
                <a:close/>
                <a:moveTo>
                  <a:pt x="748" y="1346"/>
                </a:moveTo>
                <a:cubicBezTo>
                  <a:pt x="483" y="1346"/>
                  <a:pt x="483" y="1346"/>
                  <a:pt x="483" y="1346"/>
                </a:cubicBezTo>
                <a:cubicBezTo>
                  <a:pt x="483" y="1306"/>
                  <a:pt x="483" y="1306"/>
                  <a:pt x="483" y="1306"/>
                </a:cubicBezTo>
                <a:cubicBezTo>
                  <a:pt x="616" y="1306"/>
                  <a:pt x="616" y="1306"/>
                  <a:pt x="616" y="1306"/>
                </a:cubicBezTo>
                <a:cubicBezTo>
                  <a:pt x="616" y="1272"/>
                  <a:pt x="616" y="1272"/>
                  <a:pt x="616" y="1272"/>
                </a:cubicBezTo>
                <a:cubicBezTo>
                  <a:pt x="483" y="1272"/>
                  <a:pt x="483" y="1272"/>
                  <a:pt x="483" y="1272"/>
                </a:cubicBezTo>
                <a:cubicBezTo>
                  <a:pt x="483" y="1166"/>
                  <a:pt x="483" y="1166"/>
                  <a:pt x="483" y="1166"/>
                </a:cubicBezTo>
                <a:cubicBezTo>
                  <a:pt x="570" y="1166"/>
                  <a:pt x="570" y="1166"/>
                  <a:pt x="570" y="1166"/>
                </a:cubicBezTo>
                <a:cubicBezTo>
                  <a:pt x="570" y="1131"/>
                  <a:pt x="570" y="1131"/>
                  <a:pt x="570" y="1131"/>
                </a:cubicBezTo>
                <a:cubicBezTo>
                  <a:pt x="483" y="1131"/>
                  <a:pt x="483" y="1131"/>
                  <a:pt x="483" y="1131"/>
                </a:cubicBezTo>
                <a:cubicBezTo>
                  <a:pt x="483" y="1025"/>
                  <a:pt x="483" y="1025"/>
                  <a:pt x="483" y="1025"/>
                </a:cubicBezTo>
                <a:cubicBezTo>
                  <a:pt x="616" y="1025"/>
                  <a:pt x="616" y="1025"/>
                  <a:pt x="616" y="1025"/>
                </a:cubicBezTo>
                <a:cubicBezTo>
                  <a:pt x="616" y="991"/>
                  <a:pt x="616" y="991"/>
                  <a:pt x="616" y="991"/>
                </a:cubicBezTo>
                <a:cubicBezTo>
                  <a:pt x="483" y="991"/>
                  <a:pt x="483" y="991"/>
                  <a:pt x="483" y="991"/>
                </a:cubicBezTo>
                <a:cubicBezTo>
                  <a:pt x="483" y="885"/>
                  <a:pt x="483" y="885"/>
                  <a:pt x="483" y="885"/>
                </a:cubicBezTo>
                <a:cubicBezTo>
                  <a:pt x="570" y="885"/>
                  <a:pt x="570" y="885"/>
                  <a:pt x="570" y="885"/>
                </a:cubicBezTo>
                <a:cubicBezTo>
                  <a:pt x="570" y="851"/>
                  <a:pt x="570" y="851"/>
                  <a:pt x="570" y="851"/>
                </a:cubicBezTo>
                <a:cubicBezTo>
                  <a:pt x="483" y="851"/>
                  <a:pt x="483" y="851"/>
                  <a:pt x="483" y="851"/>
                </a:cubicBezTo>
                <a:cubicBezTo>
                  <a:pt x="483" y="745"/>
                  <a:pt x="483" y="745"/>
                  <a:pt x="483" y="745"/>
                </a:cubicBezTo>
                <a:cubicBezTo>
                  <a:pt x="616" y="745"/>
                  <a:pt x="616" y="745"/>
                  <a:pt x="616" y="745"/>
                </a:cubicBezTo>
                <a:cubicBezTo>
                  <a:pt x="616" y="711"/>
                  <a:pt x="616" y="711"/>
                  <a:pt x="616" y="711"/>
                </a:cubicBezTo>
                <a:cubicBezTo>
                  <a:pt x="483" y="711"/>
                  <a:pt x="483" y="711"/>
                  <a:pt x="483" y="711"/>
                </a:cubicBezTo>
                <a:cubicBezTo>
                  <a:pt x="483" y="605"/>
                  <a:pt x="483" y="605"/>
                  <a:pt x="483" y="605"/>
                </a:cubicBezTo>
                <a:cubicBezTo>
                  <a:pt x="570" y="605"/>
                  <a:pt x="570" y="605"/>
                  <a:pt x="570" y="605"/>
                </a:cubicBezTo>
                <a:cubicBezTo>
                  <a:pt x="570" y="570"/>
                  <a:pt x="570" y="570"/>
                  <a:pt x="570" y="570"/>
                </a:cubicBezTo>
                <a:cubicBezTo>
                  <a:pt x="483" y="570"/>
                  <a:pt x="483" y="570"/>
                  <a:pt x="483" y="570"/>
                </a:cubicBezTo>
                <a:cubicBezTo>
                  <a:pt x="483" y="464"/>
                  <a:pt x="483" y="464"/>
                  <a:pt x="483" y="464"/>
                </a:cubicBezTo>
                <a:cubicBezTo>
                  <a:pt x="616" y="464"/>
                  <a:pt x="616" y="464"/>
                  <a:pt x="616" y="464"/>
                </a:cubicBezTo>
                <a:cubicBezTo>
                  <a:pt x="616" y="430"/>
                  <a:pt x="616" y="430"/>
                  <a:pt x="616" y="430"/>
                </a:cubicBezTo>
                <a:cubicBezTo>
                  <a:pt x="483" y="430"/>
                  <a:pt x="483" y="430"/>
                  <a:pt x="483" y="430"/>
                </a:cubicBezTo>
                <a:cubicBezTo>
                  <a:pt x="483" y="324"/>
                  <a:pt x="483" y="324"/>
                  <a:pt x="483" y="324"/>
                </a:cubicBezTo>
                <a:cubicBezTo>
                  <a:pt x="570" y="324"/>
                  <a:pt x="570" y="324"/>
                  <a:pt x="570" y="324"/>
                </a:cubicBezTo>
                <a:cubicBezTo>
                  <a:pt x="570" y="290"/>
                  <a:pt x="570" y="290"/>
                  <a:pt x="570" y="290"/>
                </a:cubicBezTo>
                <a:cubicBezTo>
                  <a:pt x="483" y="290"/>
                  <a:pt x="483" y="290"/>
                  <a:pt x="483" y="290"/>
                </a:cubicBezTo>
                <a:cubicBezTo>
                  <a:pt x="483" y="184"/>
                  <a:pt x="483" y="184"/>
                  <a:pt x="483" y="184"/>
                </a:cubicBezTo>
                <a:cubicBezTo>
                  <a:pt x="616" y="184"/>
                  <a:pt x="616" y="184"/>
                  <a:pt x="616" y="184"/>
                </a:cubicBezTo>
                <a:cubicBezTo>
                  <a:pt x="616" y="150"/>
                  <a:pt x="616" y="150"/>
                  <a:pt x="616" y="150"/>
                </a:cubicBezTo>
                <a:cubicBezTo>
                  <a:pt x="483" y="150"/>
                  <a:pt x="483" y="150"/>
                  <a:pt x="483" y="150"/>
                </a:cubicBezTo>
                <a:cubicBezTo>
                  <a:pt x="483" y="34"/>
                  <a:pt x="483" y="34"/>
                  <a:pt x="483" y="34"/>
                </a:cubicBezTo>
                <a:cubicBezTo>
                  <a:pt x="748" y="34"/>
                  <a:pt x="748" y="34"/>
                  <a:pt x="748" y="34"/>
                </a:cubicBezTo>
                <a:lnTo>
                  <a:pt x="748" y="13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2" name="TextBox 31"/>
          <p:cNvSpPr txBox="1"/>
          <p:nvPr/>
        </p:nvSpPr>
        <p:spPr>
          <a:xfrm>
            <a:off x="593725" y="3758619"/>
            <a:ext cx="271282" cy="183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b="1" cap="all" spc="20" dirty="0">
                <a:solidFill>
                  <a:schemeClr val="accent5"/>
                </a:solidFill>
                <a:latin typeface="Lato" panose="020F0502020204030203" pitchFamily="34" charset="0"/>
              </a:rPr>
              <a:t>01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2008780" y="3651463"/>
            <a:ext cx="1458036" cy="458702"/>
            <a:chOff x="2008780" y="3629121"/>
            <a:chExt cx="1458036" cy="458702"/>
          </a:xfrm>
        </p:grpSpPr>
        <p:sp>
          <p:nvSpPr>
            <p:cNvPr id="33" name="TextBox 32"/>
            <p:cNvSpPr txBox="1"/>
            <p:nvPr/>
          </p:nvSpPr>
          <p:spPr>
            <a:xfrm>
              <a:off x="2008808" y="3629121"/>
              <a:ext cx="14579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TOTIP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008780" y="3803514"/>
              <a:ext cx="145803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Ut et mi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incidu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</a:t>
              </a: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704122" y="2862871"/>
            <a:ext cx="1458036" cy="458702"/>
            <a:chOff x="3704122" y="2892506"/>
            <a:chExt cx="1458036" cy="458702"/>
          </a:xfrm>
        </p:grpSpPr>
        <p:sp>
          <p:nvSpPr>
            <p:cNvPr id="35" name="TextBox 34"/>
            <p:cNvSpPr txBox="1"/>
            <p:nvPr/>
          </p:nvSpPr>
          <p:spPr>
            <a:xfrm>
              <a:off x="3704150" y="2892506"/>
              <a:ext cx="14579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APROVA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704122" y="3066899"/>
              <a:ext cx="145803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Ut et mi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incidu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388314" y="2062371"/>
            <a:ext cx="1458036" cy="458702"/>
            <a:chOff x="5388314" y="2139945"/>
            <a:chExt cx="1458036" cy="458702"/>
          </a:xfrm>
        </p:grpSpPr>
        <p:sp>
          <p:nvSpPr>
            <p:cNvPr id="37" name="TextBox 36"/>
            <p:cNvSpPr txBox="1"/>
            <p:nvPr/>
          </p:nvSpPr>
          <p:spPr>
            <a:xfrm>
              <a:off x="5388342" y="2139945"/>
              <a:ext cx="145797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5388314" y="2314338"/>
              <a:ext cx="145803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Ut et mi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incidu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7074399" y="1278334"/>
            <a:ext cx="1472701" cy="458702"/>
            <a:chOff x="7074399" y="1343844"/>
            <a:chExt cx="1472701" cy="458702"/>
          </a:xfrm>
        </p:grpSpPr>
        <p:sp>
          <p:nvSpPr>
            <p:cNvPr id="39" name="TextBox 38"/>
            <p:cNvSpPr txBox="1"/>
            <p:nvPr/>
          </p:nvSpPr>
          <p:spPr>
            <a:xfrm>
              <a:off x="7074427" y="1343844"/>
              <a:ext cx="147267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ENTREGA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7074399" y="1518237"/>
              <a:ext cx="145803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Ut et mi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cursus 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tincidu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2283471" y="2969146"/>
            <a:ext cx="271282" cy="183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b="1" cap="all" spc="20" dirty="0">
                <a:solidFill>
                  <a:schemeClr val="accent5"/>
                </a:solidFill>
                <a:latin typeface="Lato" panose="020F0502020204030203" pitchFamily="34" charset="0"/>
              </a:rPr>
              <a:t>02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973258" y="2181546"/>
            <a:ext cx="271282" cy="183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b="1" cap="all" spc="20" dirty="0">
                <a:solidFill>
                  <a:schemeClr val="accent5"/>
                </a:solidFill>
                <a:latin typeface="Lato" panose="020F0502020204030203" pitchFamily="34" charset="0"/>
              </a:rPr>
              <a:t>03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663026" y="1387288"/>
            <a:ext cx="271282" cy="183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200" b="1" cap="all" spc="20" dirty="0">
                <a:solidFill>
                  <a:schemeClr val="accent5"/>
                </a:solidFill>
                <a:latin typeface="Lato" panose="020F0502020204030203" pitchFamily="34" charset="0"/>
              </a:rPr>
              <a:t>04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02153" y="1526735"/>
            <a:ext cx="1552576" cy="801082"/>
            <a:chOff x="593725" y="1526735"/>
            <a:chExt cx="1552576" cy="801082"/>
          </a:xfrm>
        </p:grpSpPr>
        <p:sp>
          <p:nvSpPr>
            <p:cNvPr id="53" name="TextBox 52"/>
            <p:cNvSpPr txBox="1"/>
            <p:nvPr/>
          </p:nvSpPr>
          <p:spPr>
            <a:xfrm>
              <a:off x="593725" y="1526735"/>
              <a:ext cx="1552576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800" cap="all" spc="20" dirty="0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R$48M</a:t>
              </a:r>
              <a:r>
                <a:rPr lang="en-US" sz="1800" cap="all" spc="20" dirty="0">
                  <a:solidFill>
                    <a:srgbClr val="EC1C24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000" cap="all" spc="20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DESPESAS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93725" y="1862946"/>
              <a:ext cx="1552575" cy="4648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 et mi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.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761567" y="3698664"/>
            <a:ext cx="2775988" cy="585584"/>
            <a:chOff x="5761567" y="3698664"/>
            <a:chExt cx="2775988" cy="585584"/>
          </a:xfrm>
        </p:grpSpPr>
        <p:sp>
          <p:nvSpPr>
            <p:cNvPr id="48" name="TextBox 47"/>
            <p:cNvSpPr txBox="1"/>
            <p:nvPr/>
          </p:nvSpPr>
          <p:spPr>
            <a:xfrm>
              <a:off x="5761567" y="3959351"/>
              <a:ext cx="2775988" cy="3248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Ut et mi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etu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llentesque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cursus 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tincidun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Curabi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a ligul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le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761567" y="3698664"/>
              <a:ext cx="2775988" cy="2207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200" b="1" cap="all" spc="30" dirty="0">
                  <a:solidFill>
                    <a:srgbClr val="EC0000"/>
                  </a:solidFill>
                  <a:latin typeface="Lato" panose="020F0502020204030203" pitchFamily="34" charset="0"/>
                </a:rPr>
                <a:t>Schedule dur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7394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/>
          <p:cNvCxnSpPr/>
          <p:nvPr/>
        </p:nvCxnSpPr>
        <p:spPr>
          <a:xfrm>
            <a:off x="593725" y="2285827"/>
            <a:ext cx="0" cy="57184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805226" y="2396926"/>
            <a:ext cx="3618064" cy="3385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200" cap="all" spc="80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gend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212841" y="1084709"/>
            <a:ext cx="2241213" cy="2970172"/>
            <a:chOff x="5212841" y="1084709"/>
            <a:chExt cx="2241213" cy="2970172"/>
          </a:xfrm>
        </p:grpSpPr>
        <p:sp>
          <p:nvSpPr>
            <p:cNvPr id="6" name="TextBox 5"/>
            <p:cNvSpPr txBox="1"/>
            <p:nvPr/>
          </p:nvSpPr>
          <p:spPr>
            <a:xfrm>
              <a:off x="5809289" y="1088301"/>
              <a:ext cx="1644765" cy="32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Introdução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Getnet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809289" y="1757538"/>
              <a:ext cx="1644765" cy="32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ossos</a:t>
              </a:r>
              <a:r>
                <a:rPr lang="en-US" sz="10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erviços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  <a:p>
              <a:pPr>
                <a:lnSpc>
                  <a:spcPct val="110000"/>
                </a:lnSpc>
              </a:pPr>
              <a:r>
                <a:rPr lang="en-US" sz="10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&amp; </a:t>
              </a: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oluções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809289" y="2411771"/>
              <a:ext cx="1644765" cy="32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jeto</a:t>
              </a:r>
              <a:r>
                <a:rPr lang="en-US" sz="10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financeiro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Revisão</a:t>
              </a:r>
              <a:r>
                <a:rPr lang="en-US" sz="10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do </a:t>
              </a: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investimento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809289" y="3066004"/>
              <a:ext cx="1644765" cy="32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nálise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Financeira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809289" y="3720237"/>
              <a:ext cx="1644765" cy="32528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erviços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  <a:p>
              <a:pPr>
                <a:lnSpc>
                  <a:spcPct val="110000"/>
                </a:lnSpc>
              </a:pPr>
              <a:r>
                <a:rPr lang="en-US" sz="1000" b="1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&amp; </a:t>
              </a:r>
              <a:r>
                <a:rPr lang="en-US" sz="1000" b="1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dutos</a:t>
              </a:r>
              <a:endPara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5212841" y="1084709"/>
              <a:ext cx="345738" cy="345738"/>
              <a:chOff x="4967307" y="1084709"/>
              <a:chExt cx="345738" cy="345738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4967307" y="1084709"/>
                <a:ext cx="345738" cy="345738"/>
              </a:xfrm>
              <a:prstGeom prst="ellipse">
                <a:avLst/>
              </a:prstGeom>
              <a:solidFill>
                <a:schemeClr val="bg1"/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4979964" y="1165245"/>
                <a:ext cx="320425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1200" b="1" spc="20" dirty="0">
                    <a:solidFill>
                      <a:srgbClr val="EC1C24"/>
                    </a:solidFill>
                    <a:latin typeface="Lato" panose="020F0502020204030203" pitchFamily="34" charset="0"/>
                    <a:cs typeface="Poppins SemiBold" panose="02000000000000000000" pitchFamily="2" charset="0"/>
                  </a:rPr>
                  <a:t>01</a:t>
                </a:r>
              </a:p>
            </p:txBody>
          </p:sp>
        </p:grpSp>
        <p:sp>
          <p:nvSpPr>
            <p:cNvPr id="11" name="Oval 10"/>
            <p:cNvSpPr/>
            <p:nvPr/>
          </p:nvSpPr>
          <p:spPr>
            <a:xfrm>
              <a:off x="5212841" y="1740817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225498" y="1821353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spc="20" dirty="0">
                  <a:solidFill>
                    <a:srgbClr val="EC1C2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2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5212841" y="2396926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225498" y="2477462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spc="20" dirty="0">
                  <a:solidFill>
                    <a:srgbClr val="EC1C2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3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5212841" y="3053035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225498" y="3133571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spc="20" dirty="0">
                  <a:solidFill>
                    <a:srgbClr val="EC1C2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4</a:t>
              </a:r>
            </a:p>
          </p:txBody>
        </p:sp>
        <p:sp>
          <p:nvSpPr>
            <p:cNvPr id="20" name="Oval 19"/>
            <p:cNvSpPr/>
            <p:nvPr/>
          </p:nvSpPr>
          <p:spPr>
            <a:xfrm>
              <a:off x="5212841" y="3709143"/>
              <a:ext cx="345738" cy="345738"/>
            </a:xfrm>
            <a:prstGeom prst="ellipse">
              <a:avLst/>
            </a:prstGeom>
            <a:solidFill>
              <a:schemeClr val="bg1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225498" y="3789679"/>
              <a:ext cx="32042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spc="20" dirty="0">
                  <a:solidFill>
                    <a:srgbClr val="EC1C24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5</a:t>
              </a:r>
            </a:p>
          </p:txBody>
        </p:sp>
        <p:cxnSp>
          <p:nvCxnSpPr>
            <p:cNvPr id="34" name="Straight Connector 33"/>
            <p:cNvCxnSpPr>
              <a:stCxn id="8" idx="4"/>
              <a:endCxn id="11" idx="0"/>
            </p:cNvCxnSpPr>
            <p:nvPr/>
          </p:nvCxnSpPr>
          <p:spPr>
            <a:xfrm>
              <a:off x="5385710" y="1430447"/>
              <a:ext cx="0" cy="31037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>
              <a:stCxn id="11" idx="4"/>
              <a:endCxn id="14" idx="0"/>
            </p:cNvCxnSpPr>
            <p:nvPr/>
          </p:nvCxnSpPr>
          <p:spPr>
            <a:xfrm>
              <a:off x="5385710" y="2086555"/>
              <a:ext cx="0" cy="31037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14" idx="4"/>
              <a:endCxn id="17" idx="0"/>
            </p:cNvCxnSpPr>
            <p:nvPr/>
          </p:nvCxnSpPr>
          <p:spPr>
            <a:xfrm>
              <a:off x="5385710" y="2742664"/>
              <a:ext cx="0" cy="310371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17" idx="4"/>
              <a:endCxn id="20" idx="0"/>
            </p:cNvCxnSpPr>
            <p:nvPr/>
          </p:nvCxnSpPr>
          <p:spPr>
            <a:xfrm>
              <a:off x="5385710" y="3398773"/>
              <a:ext cx="0" cy="31037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172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STRATÉGIAS </a:t>
            </a:r>
            <a:r>
              <a:rPr lang="en-US" dirty="0">
                <a:solidFill>
                  <a:srgbClr val="EC0000"/>
                </a:solidFill>
              </a:rPr>
              <a:t>CONECTADA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9" name="Freeform 81"/>
          <p:cNvSpPr>
            <a:spLocks noEditPoints="1"/>
          </p:cNvSpPr>
          <p:nvPr/>
        </p:nvSpPr>
        <p:spPr bwMode="auto">
          <a:xfrm>
            <a:off x="5839688" y="1963748"/>
            <a:ext cx="319902" cy="291676"/>
          </a:xfrm>
          <a:custGeom>
            <a:avLst/>
            <a:gdLst>
              <a:gd name="T0" fmla="*/ 345 w 353"/>
              <a:gd name="T1" fmla="*/ 273 h 321"/>
              <a:gd name="T2" fmla="*/ 192 w 353"/>
              <a:gd name="T3" fmla="*/ 273 h 321"/>
              <a:gd name="T4" fmla="*/ 152 w 353"/>
              <a:gd name="T5" fmla="*/ 241 h 321"/>
              <a:gd name="T6" fmla="*/ 113 w 353"/>
              <a:gd name="T7" fmla="*/ 273 h 321"/>
              <a:gd name="T8" fmla="*/ 8 w 353"/>
              <a:gd name="T9" fmla="*/ 273 h 321"/>
              <a:gd name="T10" fmla="*/ 0 w 353"/>
              <a:gd name="T11" fmla="*/ 281 h 321"/>
              <a:gd name="T12" fmla="*/ 8 w 353"/>
              <a:gd name="T13" fmla="*/ 289 h 321"/>
              <a:gd name="T14" fmla="*/ 113 w 353"/>
              <a:gd name="T15" fmla="*/ 289 h 321"/>
              <a:gd name="T16" fmla="*/ 152 w 353"/>
              <a:gd name="T17" fmla="*/ 321 h 321"/>
              <a:gd name="T18" fmla="*/ 192 w 353"/>
              <a:gd name="T19" fmla="*/ 289 h 321"/>
              <a:gd name="T20" fmla="*/ 345 w 353"/>
              <a:gd name="T21" fmla="*/ 289 h 321"/>
              <a:gd name="T22" fmla="*/ 353 w 353"/>
              <a:gd name="T23" fmla="*/ 281 h 321"/>
              <a:gd name="T24" fmla="*/ 345 w 353"/>
              <a:gd name="T25" fmla="*/ 273 h 321"/>
              <a:gd name="T26" fmla="*/ 152 w 353"/>
              <a:gd name="T27" fmla="*/ 305 h 321"/>
              <a:gd name="T28" fmla="*/ 128 w 353"/>
              <a:gd name="T29" fmla="*/ 281 h 321"/>
              <a:gd name="T30" fmla="*/ 152 w 353"/>
              <a:gd name="T31" fmla="*/ 257 h 321"/>
              <a:gd name="T32" fmla="*/ 177 w 353"/>
              <a:gd name="T33" fmla="*/ 281 h 321"/>
              <a:gd name="T34" fmla="*/ 152 w 353"/>
              <a:gd name="T35" fmla="*/ 305 h 321"/>
              <a:gd name="T36" fmla="*/ 8 w 353"/>
              <a:gd name="T37" fmla="*/ 48 h 321"/>
              <a:gd name="T38" fmla="*/ 49 w 353"/>
              <a:gd name="T39" fmla="*/ 48 h 321"/>
              <a:gd name="T40" fmla="*/ 88 w 353"/>
              <a:gd name="T41" fmla="*/ 80 h 321"/>
              <a:gd name="T42" fmla="*/ 128 w 353"/>
              <a:gd name="T43" fmla="*/ 48 h 321"/>
              <a:gd name="T44" fmla="*/ 345 w 353"/>
              <a:gd name="T45" fmla="*/ 48 h 321"/>
              <a:gd name="T46" fmla="*/ 353 w 353"/>
              <a:gd name="T47" fmla="*/ 40 h 321"/>
              <a:gd name="T48" fmla="*/ 345 w 353"/>
              <a:gd name="T49" fmla="*/ 32 h 321"/>
              <a:gd name="T50" fmla="*/ 128 w 353"/>
              <a:gd name="T51" fmla="*/ 32 h 321"/>
              <a:gd name="T52" fmla="*/ 88 w 353"/>
              <a:gd name="T53" fmla="*/ 0 h 321"/>
              <a:gd name="T54" fmla="*/ 49 w 353"/>
              <a:gd name="T55" fmla="*/ 32 h 321"/>
              <a:gd name="T56" fmla="*/ 8 w 353"/>
              <a:gd name="T57" fmla="*/ 32 h 321"/>
              <a:gd name="T58" fmla="*/ 0 w 353"/>
              <a:gd name="T59" fmla="*/ 40 h 321"/>
              <a:gd name="T60" fmla="*/ 8 w 353"/>
              <a:gd name="T61" fmla="*/ 48 h 321"/>
              <a:gd name="T62" fmla="*/ 88 w 353"/>
              <a:gd name="T63" fmla="*/ 16 h 321"/>
              <a:gd name="T64" fmla="*/ 112 w 353"/>
              <a:gd name="T65" fmla="*/ 40 h 321"/>
              <a:gd name="T66" fmla="*/ 88 w 353"/>
              <a:gd name="T67" fmla="*/ 64 h 321"/>
              <a:gd name="T68" fmla="*/ 64 w 353"/>
              <a:gd name="T69" fmla="*/ 40 h 321"/>
              <a:gd name="T70" fmla="*/ 88 w 353"/>
              <a:gd name="T71" fmla="*/ 16 h 321"/>
              <a:gd name="T72" fmla="*/ 345 w 353"/>
              <a:gd name="T73" fmla="*/ 152 h 321"/>
              <a:gd name="T74" fmla="*/ 320 w 353"/>
              <a:gd name="T75" fmla="*/ 152 h 321"/>
              <a:gd name="T76" fmla="*/ 281 w 353"/>
              <a:gd name="T77" fmla="*/ 120 h 321"/>
              <a:gd name="T78" fmla="*/ 242 w 353"/>
              <a:gd name="T79" fmla="*/ 152 h 321"/>
              <a:gd name="T80" fmla="*/ 8 w 353"/>
              <a:gd name="T81" fmla="*/ 152 h 321"/>
              <a:gd name="T82" fmla="*/ 0 w 353"/>
              <a:gd name="T83" fmla="*/ 160 h 321"/>
              <a:gd name="T84" fmla="*/ 8 w 353"/>
              <a:gd name="T85" fmla="*/ 168 h 321"/>
              <a:gd name="T86" fmla="*/ 242 w 353"/>
              <a:gd name="T87" fmla="*/ 168 h 321"/>
              <a:gd name="T88" fmla="*/ 281 w 353"/>
              <a:gd name="T89" fmla="*/ 201 h 321"/>
              <a:gd name="T90" fmla="*/ 320 w 353"/>
              <a:gd name="T91" fmla="*/ 168 h 321"/>
              <a:gd name="T92" fmla="*/ 345 w 353"/>
              <a:gd name="T93" fmla="*/ 168 h 321"/>
              <a:gd name="T94" fmla="*/ 353 w 353"/>
              <a:gd name="T95" fmla="*/ 160 h 321"/>
              <a:gd name="T96" fmla="*/ 345 w 353"/>
              <a:gd name="T97" fmla="*/ 152 h 321"/>
              <a:gd name="T98" fmla="*/ 281 w 353"/>
              <a:gd name="T99" fmla="*/ 184 h 321"/>
              <a:gd name="T100" fmla="*/ 257 w 353"/>
              <a:gd name="T101" fmla="*/ 160 h 321"/>
              <a:gd name="T102" fmla="*/ 281 w 353"/>
              <a:gd name="T103" fmla="*/ 136 h 321"/>
              <a:gd name="T104" fmla="*/ 305 w 353"/>
              <a:gd name="T105" fmla="*/ 160 h 321"/>
              <a:gd name="T106" fmla="*/ 281 w 353"/>
              <a:gd name="T107" fmla="*/ 184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53" h="321">
                <a:moveTo>
                  <a:pt x="345" y="273"/>
                </a:moveTo>
                <a:cubicBezTo>
                  <a:pt x="192" y="273"/>
                  <a:pt x="192" y="273"/>
                  <a:pt x="192" y="273"/>
                </a:cubicBezTo>
                <a:cubicBezTo>
                  <a:pt x="188" y="254"/>
                  <a:pt x="172" y="241"/>
                  <a:pt x="152" y="241"/>
                </a:cubicBezTo>
                <a:cubicBezTo>
                  <a:pt x="133" y="241"/>
                  <a:pt x="117" y="254"/>
                  <a:pt x="113" y="273"/>
                </a:cubicBezTo>
                <a:cubicBezTo>
                  <a:pt x="8" y="273"/>
                  <a:pt x="8" y="273"/>
                  <a:pt x="8" y="273"/>
                </a:cubicBezTo>
                <a:cubicBezTo>
                  <a:pt x="3" y="273"/>
                  <a:pt x="0" y="276"/>
                  <a:pt x="0" y="281"/>
                </a:cubicBezTo>
                <a:cubicBezTo>
                  <a:pt x="0" y="285"/>
                  <a:pt x="3" y="289"/>
                  <a:pt x="8" y="289"/>
                </a:cubicBezTo>
                <a:cubicBezTo>
                  <a:pt x="113" y="289"/>
                  <a:pt x="113" y="289"/>
                  <a:pt x="113" y="289"/>
                </a:cubicBezTo>
                <a:cubicBezTo>
                  <a:pt x="117" y="307"/>
                  <a:pt x="133" y="321"/>
                  <a:pt x="152" y="321"/>
                </a:cubicBezTo>
                <a:cubicBezTo>
                  <a:pt x="172" y="321"/>
                  <a:pt x="188" y="307"/>
                  <a:pt x="192" y="289"/>
                </a:cubicBezTo>
                <a:cubicBezTo>
                  <a:pt x="345" y="289"/>
                  <a:pt x="345" y="289"/>
                  <a:pt x="345" y="289"/>
                </a:cubicBezTo>
                <a:cubicBezTo>
                  <a:pt x="350" y="289"/>
                  <a:pt x="353" y="285"/>
                  <a:pt x="353" y="281"/>
                </a:cubicBezTo>
                <a:cubicBezTo>
                  <a:pt x="353" y="276"/>
                  <a:pt x="350" y="273"/>
                  <a:pt x="345" y="273"/>
                </a:cubicBezTo>
                <a:moveTo>
                  <a:pt x="152" y="305"/>
                </a:moveTo>
                <a:cubicBezTo>
                  <a:pt x="139" y="305"/>
                  <a:pt x="128" y="294"/>
                  <a:pt x="128" y="281"/>
                </a:cubicBezTo>
                <a:cubicBezTo>
                  <a:pt x="128" y="267"/>
                  <a:pt x="139" y="257"/>
                  <a:pt x="152" y="257"/>
                </a:cubicBezTo>
                <a:cubicBezTo>
                  <a:pt x="166" y="257"/>
                  <a:pt x="177" y="267"/>
                  <a:pt x="177" y="281"/>
                </a:cubicBezTo>
                <a:cubicBezTo>
                  <a:pt x="177" y="294"/>
                  <a:pt x="166" y="305"/>
                  <a:pt x="152" y="305"/>
                </a:cubicBezTo>
                <a:moveTo>
                  <a:pt x="8" y="48"/>
                </a:moveTo>
                <a:cubicBezTo>
                  <a:pt x="49" y="48"/>
                  <a:pt x="49" y="48"/>
                  <a:pt x="49" y="48"/>
                </a:cubicBezTo>
                <a:cubicBezTo>
                  <a:pt x="53" y="66"/>
                  <a:pt x="69" y="80"/>
                  <a:pt x="88" y="80"/>
                </a:cubicBezTo>
                <a:cubicBezTo>
                  <a:pt x="108" y="80"/>
                  <a:pt x="124" y="66"/>
                  <a:pt x="128" y="48"/>
                </a:cubicBezTo>
                <a:cubicBezTo>
                  <a:pt x="345" y="48"/>
                  <a:pt x="345" y="48"/>
                  <a:pt x="345" y="48"/>
                </a:cubicBezTo>
                <a:cubicBezTo>
                  <a:pt x="350" y="48"/>
                  <a:pt x="353" y="44"/>
                  <a:pt x="353" y="40"/>
                </a:cubicBezTo>
                <a:cubicBezTo>
                  <a:pt x="353" y="36"/>
                  <a:pt x="350" y="32"/>
                  <a:pt x="34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4" y="14"/>
                  <a:pt x="108" y="0"/>
                  <a:pt x="88" y="0"/>
                </a:cubicBezTo>
                <a:cubicBezTo>
                  <a:pt x="69" y="0"/>
                  <a:pt x="53" y="14"/>
                  <a:pt x="49" y="32"/>
                </a:cubicBezTo>
                <a:cubicBezTo>
                  <a:pt x="8" y="32"/>
                  <a:pt x="8" y="32"/>
                  <a:pt x="8" y="32"/>
                </a:cubicBezTo>
                <a:cubicBezTo>
                  <a:pt x="3" y="32"/>
                  <a:pt x="0" y="36"/>
                  <a:pt x="0" y="40"/>
                </a:cubicBezTo>
                <a:cubicBezTo>
                  <a:pt x="0" y="44"/>
                  <a:pt x="3" y="48"/>
                  <a:pt x="8" y="48"/>
                </a:cubicBezTo>
                <a:moveTo>
                  <a:pt x="88" y="16"/>
                </a:moveTo>
                <a:cubicBezTo>
                  <a:pt x="102" y="16"/>
                  <a:pt x="112" y="27"/>
                  <a:pt x="112" y="40"/>
                </a:cubicBezTo>
                <a:cubicBezTo>
                  <a:pt x="112" y="53"/>
                  <a:pt x="102" y="64"/>
                  <a:pt x="88" y="64"/>
                </a:cubicBezTo>
                <a:cubicBezTo>
                  <a:pt x="75" y="64"/>
                  <a:pt x="64" y="53"/>
                  <a:pt x="64" y="40"/>
                </a:cubicBezTo>
                <a:cubicBezTo>
                  <a:pt x="64" y="27"/>
                  <a:pt x="75" y="16"/>
                  <a:pt x="88" y="16"/>
                </a:cubicBezTo>
                <a:moveTo>
                  <a:pt x="345" y="152"/>
                </a:moveTo>
                <a:cubicBezTo>
                  <a:pt x="320" y="152"/>
                  <a:pt x="320" y="152"/>
                  <a:pt x="320" y="152"/>
                </a:cubicBezTo>
                <a:cubicBezTo>
                  <a:pt x="316" y="134"/>
                  <a:pt x="300" y="120"/>
                  <a:pt x="281" y="120"/>
                </a:cubicBezTo>
                <a:cubicBezTo>
                  <a:pt x="261" y="120"/>
                  <a:pt x="245" y="134"/>
                  <a:pt x="242" y="152"/>
                </a:cubicBezTo>
                <a:cubicBezTo>
                  <a:pt x="8" y="152"/>
                  <a:pt x="8" y="152"/>
                  <a:pt x="8" y="152"/>
                </a:cubicBezTo>
                <a:cubicBezTo>
                  <a:pt x="3" y="152"/>
                  <a:pt x="0" y="156"/>
                  <a:pt x="0" y="160"/>
                </a:cubicBezTo>
                <a:cubicBezTo>
                  <a:pt x="0" y="165"/>
                  <a:pt x="3" y="168"/>
                  <a:pt x="8" y="168"/>
                </a:cubicBezTo>
                <a:cubicBezTo>
                  <a:pt x="242" y="168"/>
                  <a:pt x="242" y="168"/>
                  <a:pt x="242" y="168"/>
                </a:cubicBezTo>
                <a:cubicBezTo>
                  <a:pt x="245" y="187"/>
                  <a:pt x="261" y="201"/>
                  <a:pt x="281" y="201"/>
                </a:cubicBezTo>
                <a:cubicBezTo>
                  <a:pt x="300" y="201"/>
                  <a:pt x="316" y="187"/>
                  <a:pt x="320" y="168"/>
                </a:cubicBezTo>
                <a:cubicBezTo>
                  <a:pt x="345" y="168"/>
                  <a:pt x="345" y="168"/>
                  <a:pt x="345" y="168"/>
                </a:cubicBezTo>
                <a:cubicBezTo>
                  <a:pt x="350" y="168"/>
                  <a:pt x="353" y="165"/>
                  <a:pt x="353" y="160"/>
                </a:cubicBezTo>
                <a:cubicBezTo>
                  <a:pt x="353" y="156"/>
                  <a:pt x="350" y="152"/>
                  <a:pt x="345" y="152"/>
                </a:cubicBezTo>
                <a:moveTo>
                  <a:pt x="281" y="184"/>
                </a:moveTo>
                <a:cubicBezTo>
                  <a:pt x="268" y="184"/>
                  <a:pt x="257" y="174"/>
                  <a:pt x="257" y="160"/>
                </a:cubicBezTo>
                <a:cubicBezTo>
                  <a:pt x="257" y="147"/>
                  <a:pt x="268" y="136"/>
                  <a:pt x="281" y="136"/>
                </a:cubicBezTo>
                <a:cubicBezTo>
                  <a:pt x="294" y="136"/>
                  <a:pt x="305" y="147"/>
                  <a:pt x="305" y="160"/>
                </a:cubicBezTo>
                <a:cubicBezTo>
                  <a:pt x="305" y="174"/>
                  <a:pt x="294" y="184"/>
                  <a:pt x="281" y="184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10" name="Freeform 9"/>
          <p:cNvSpPr>
            <a:spLocks noEditPoints="1"/>
          </p:cNvSpPr>
          <p:nvPr/>
        </p:nvSpPr>
        <p:spPr bwMode="auto">
          <a:xfrm>
            <a:off x="7296641" y="2851683"/>
            <a:ext cx="262275" cy="321079"/>
          </a:xfrm>
          <a:custGeom>
            <a:avLst/>
            <a:gdLst>
              <a:gd name="T0" fmla="*/ 144 w 289"/>
              <a:gd name="T1" fmla="*/ 145 h 353"/>
              <a:gd name="T2" fmla="*/ 144 w 289"/>
              <a:gd name="T3" fmla="*/ 129 h 353"/>
              <a:gd name="T4" fmla="*/ 40 w 289"/>
              <a:gd name="T5" fmla="*/ 137 h 353"/>
              <a:gd name="T6" fmla="*/ 273 w 289"/>
              <a:gd name="T7" fmla="*/ 32 h 353"/>
              <a:gd name="T8" fmla="*/ 232 w 289"/>
              <a:gd name="T9" fmla="*/ 8 h 353"/>
              <a:gd name="T10" fmla="*/ 216 w 289"/>
              <a:gd name="T11" fmla="*/ 8 h 353"/>
              <a:gd name="T12" fmla="*/ 200 w 289"/>
              <a:gd name="T13" fmla="*/ 32 h 353"/>
              <a:gd name="T14" fmla="*/ 192 w 289"/>
              <a:gd name="T15" fmla="*/ 0 h 353"/>
              <a:gd name="T16" fmla="*/ 184 w 289"/>
              <a:gd name="T17" fmla="*/ 32 h 353"/>
              <a:gd name="T18" fmla="*/ 168 w 289"/>
              <a:gd name="T19" fmla="*/ 8 h 353"/>
              <a:gd name="T20" fmla="*/ 152 w 289"/>
              <a:gd name="T21" fmla="*/ 8 h 353"/>
              <a:gd name="T22" fmla="*/ 136 w 289"/>
              <a:gd name="T23" fmla="*/ 32 h 353"/>
              <a:gd name="T24" fmla="*/ 128 w 289"/>
              <a:gd name="T25" fmla="*/ 0 h 353"/>
              <a:gd name="T26" fmla="*/ 120 w 289"/>
              <a:gd name="T27" fmla="*/ 32 h 353"/>
              <a:gd name="T28" fmla="*/ 104 w 289"/>
              <a:gd name="T29" fmla="*/ 8 h 353"/>
              <a:gd name="T30" fmla="*/ 88 w 289"/>
              <a:gd name="T31" fmla="*/ 8 h 353"/>
              <a:gd name="T32" fmla="*/ 72 w 289"/>
              <a:gd name="T33" fmla="*/ 32 h 353"/>
              <a:gd name="T34" fmla="*/ 64 w 289"/>
              <a:gd name="T35" fmla="*/ 0 h 353"/>
              <a:gd name="T36" fmla="*/ 56 w 289"/>
              <a:gd name="T37" fmla="*/ 32 h 353"/>
              <a:gd name="T38" fmla="*/ 0 w 289"/>
              <a:gd name="T39" fmla="*/ 48 h 353"/>
              <a:gd name="T40" fmla="*/ 16 w 289"/>
              <a:gd name="T41" fmla="*/ 353 h 353"/>
              <a:gd name="T42" fmla="*/ 289 w 289"/>
              <a:gd name="T43" fmla="*/ 337 h 353"/>
              <a:gd name="T44" fmla="*/ 273 w 289"/>
              <a:gd name="T45" fmla="*/ 32 h 353"/>
              <a:gd name="T46" fmla="*/ 16 w 289"/>
              <a:gd name="T47" fmla="*/ 289 h 353"/>
              <a:gd name="T48" fmla="*/ 16 w 289"/>
              <a:gd name="T49" fmla="*/ 337 h 353"/>
              <a:gd name="T50" fmla="*/ 88 w 289"/>
              <a:gd name="T51" fmla="*/ 337 h 353"/>
              <a:gd name="T52" fmla="*/ 16 w 289"/>
              <a:gd name="T53" fmla="*/ 48 h 353"/>
              <a:gd name="T54" fmla="*/ 56 w 289"/>
              <a:gd name="T55" fmla="*/ 72 h 353"/>
              <a:gd name="T56" fmla="*/ 72 w 289"/>
              <a:gd name="T57" fmla="*/ 72 h 353"/>
              <a:gd name="T58" fmla="*/ 88 w 289"/>
              <a:gd name="T59" fmla="*/ 48 h 353"/>
              <a:gd name="T60" fmla="*/ 96 w 289"/>
              <a:gd name="T61" fmla="*/ 80 h 353"/>
              <a:gd name="T62" fmla="*/ 104 w 289"/>
              <a:gd name="T63" fmla="*/ 48 h 353"/>
              <a:gd name="T64" fmla="*/ 120 w 289"/>
              <a:gd name="T65" fmla="*/ 72 h 353"/>
              <a:gd name="T66" fmla="*/ 136 w 289"/>
              <a:gd name="T67" fmla="*/ 72 h 353"/>
              <a:gd name="T68" fmla="*/ 152 w 289"/>
              <a:gd name="T69" fmla="*/ 48 h 353"/>
              <a:gd name="T70" fmla="*/ 160 w 289"/>
              <a:gd name="T71" fmla="*/ 80 h 353"/>
              <a:gd name="T72" fmla="*/ 168 w 289"/>
              <a:gd name="T73" fmla="*/ 48 h 353"/>
              <a:gd name="T74" fmla="*/ 184 w 289"/>
              <a:gd name="T75" fmla="*/ 72 h 353"/>
              <a:gd name="T76" fmla="*/ 200 w 289"/>
              <a:gd name="T77" fmla="*/ 72 h 353"/>
              <a:gd name="T78" fmla="*/ 216 w 289"/>
              <a:gd name="T79" fmla="*/ 48 h 353"/>
              <a:gd name="T80" fmla="*/ 224 w 289"/>
              <a:gd name="T81" fmla="*/ 80 h 353"/>
              <a:gd name="T82" fmla="*/ 232 w 289"/>
              <a:gd name="T83" fmla="*/ 48 h 353"/>
              <a:gd name="T84" fmla="*/ 273 w 289"/>
              <a:gd name="T85" fmla="*/ 337 h 353"/>
              <a:gd name="T86" fmla="*/ 48 w 289"/>
              <a:gd name="T87" fmla="*/ 193 h 353"/>
              <a:gd name="T88" fmla="*/ 249 w 289"/>
              <a:gd name="T89" fmla="*/ 185 h 353"/>
              <a:gd name="T90" fmla="*/ 48 w 289"/>
              <a:gd name="T91" fmla="*/ 177 h 353"/>
              <a:gd name="T92" fmla="*/ 192 w 289"/>
              <a:gd name="T93" fmla="*/ 225 h 353"/>
              <a:gd name="T94" fmla="*/ 40 w 289"/>
              <a:gd name="T95" fmla="*/ 233 h 353"/>
              <a:gd name="T96" fmla="*/ 192 w 289"/>
              <a:gd name="T97" fmla="*/ 241 h 353"/>
              <a:gd name="T98" fmla="*/ 192 w 289"/>
              <a:gd name="T99" fmla="*/ 225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89" h="353">
                <a:moveTo>
                  <a:pt x="48" y="145"/>
                </a:moveTo>
                <a:cubicBezTo>
                  <a:pt x="144" y="145"/>
                  <a:pt x="144" y="145"/>
                  <a:pt x="144" y="145"/>
                </a:cubicBezTo>
                <a:cubicBezTo>
                  <a:pt x="149" y="145"/>
                  <a:pt x="152" y="141"/>
                  <a:pt x="152" y="137"/>
                </a:cubicBezTo>
                <a:cubicBezTo>
                  <a:pt x="152" y="132"/>
                  <a:pt x="149" y="129"/>
                  <a:pt x="144" y="129"/>
                </a:cubicBezTo>
                <a:cubicBezTo>
                  <a:pt x="48" y="129"/>
                  <a:pt x="48" y="129"/>
                  <a:pt x="48" y="129"/>
                </a:cubicBezTo>
                <a:cubicBezTo>
                  <a:pt x="43" y="129"/>
                  <a:pt x="40" y="132"/>
                  <a:pt x="40" y="137"/>
                </a:cubicBezTo>
                <a:cubicBezTo>
                  <a:pt x="40" y="141"/>
                  <a:pt x="43" y="145"/>
                  <a:pt x="48" y="145"/>
                </a:cubicBezTo>
                <a:moveTo>
                  <a:pt x="273" y="32"/>
                </a:moveTo>
                <a:cubicBezTo>
                  <a:pt x="232" y="32"/>
                  <a:pt x="232" y="32"/>
                  <a:pt x="232" y="32"/>
                </a:cubicBezTo>
                <a:cubicBezTo>
                  <a:pt x="232" y="8"/>
                  <a:pt x="232" y="8"/>
                  <a:pt x="232" y="8"/>
                </a:cubicBezTo>
                <a:cubicBezTo>
                  <a:pt x="232" y="4"/>
                  <a:pt x="229" y="0"/>
                  <a:pt x="224" y="0"/>
                </a:cubicBezTo>
                <a:cubicBezTo>
                  <a:pt x="220" y="0"/>
                  <a:pt x="216" y="4"/>
                  <a:pt x="216" y="8"/>
                </a:cubicBezTo>
                <a:cubicBezTo>
                  <a:pt x="216" y="32"/>
                  <a:pt x="216" y="32"/>
                  <a:pt x="216" y="32"/>
                </a:cubicBezTo>
                <a:cubicBezTo>
                  <a:pt x="200" y="32"/>
                  <a:pt x="200" y="32"/>
                  <a:pt x="200" y="32"/>
                </a:cubicBezTo>
                <a:cubicBezTo>
                  <a:pt x="200" y="8"/>
                  <a:pt x="200" y="8"/>
                  <a:pt x="200" y="8"/>
                </a:cubicBezTo>
                <a:cubicBezTo>
                  <a:pt x="200" y="4"/>
                  <a:pt x="197" y="0"/>
                  <a:pt x="192" y="0"/>
                </a:cubicBezTo>
                <a:cubicBezTo>
                  <a:pt x="188" y="0"/>
                  <a:pt x="184" y="4"/>
                  <a:pt x="184" y="8"/>
                </a:cubicBezTo>
                <a:cubicBezTo>
                  <a:pt x="184" y="32"/>
                  <a:pt x="184" y="32"/>
                  <a:pt x="184" y="32"/>
                </a:cubicBezTo>
                <a:cubicBezTo>
                  <a:pt x="168" y="32"/>
                  <a:pt x="168" y="32"/>
                  <a:pt x="168" y="32"/>
                </a:cubicBezTo>
                <a:cubicBezTo>
                  <a:pt x="168" y="8"/>
                  <a:pt x="168" y="8"/>
                  <a:pt x="168" y="8"/>
                </a:cubicBezTo>
                <a:cubicBezTo>
                  <a:pt x="168" y="4"/>
                  <a:pt x="165" y="0"/>
                  <a:pt x="160" y="0"/>
                </a:cubicBezTo>
                <a:cubicBezTo>
                  <a:pt x="156" y="0"/>
                  <a:pt x="152" y="4"/>
                  <a:pt x="152" y="8"/>
                </a:cubicBezTo>
                <a:cubicBezTo>
                  <a:pt x="152" y="32"/>
                  <a:pt x="152" y="32"/>
                  <a:pt x="152" y="32"/>
                </a:cubicBezTo>
                <a:cubicBezTo>
                  <a:pt x="136" y="32"/>
                  <a:pt x="136" y="32"/>
                  <a:pt x="136" y="32"/>
                </a:cubicBezTo>
                <a:cubicBezTo>
                  <a:pt x="136" y="8"/>
                  <a:pt x="136" y="8"/>
                  <a:pt x="136" y="8"/>
                </a:cubicBezTo>
                <a:cubicBezTo>
                  <a:pt x="136" y="4"/>
                  <a:pt x="133" y="0"/>
                  <a:pt x="128" y="0"/>
                </a:cubicBezTo>
                <a:cubicBezTo>
                  <a:pt x="124" y="0"/>
                  <a:pt x="120" y="4"/>
                  <a:pt x="120" y="8"/>
                </a:cubicBezTo>
                <a:cubicBezTo>
                  <a:pt x="120" y="32"/>
                  <a:pt x="120" y="32"/>
                  <a:pt x="120" y="32"/>
                </a:cubicBezTo>
                <a:cubicBezTo>
                  <a:pt x="104" y="32"/>
                  <a:pt x="104" y="32"/>
                  <a:pt x="104" y="32"/>
                </a:cubicBezTo>
                <a:cubicBezTo>
                  <a:pt x="104" y="8"/>
                  <a:pt x="104" y="8"/>
                  <a:pt x="104" y="8"/>
                </a:cubicBezTo>
                <a:cubicBezTo>
                  <a:pt x="104" y="4"/>
                  <a:pt x="100" y="0"/>
                  <a:pt x="96" y="0"/>
                </a:cubicBezTo>
                <a:cubicBezTo>
                  <a:pt x="92" y="0"/>
                  <a:pt x="88" y="4"/>
                  <a:pt x="88" y="8"/>
                </a:cubicBezTo>
                <a:cubicBezTo>
                  <a:pt x="88" y="32"/>
                  <a:pt x="88" y="32"/>
                  <a:pt x="88" y="32"/>
                </a:cubicBezTo>
                <a:cubicBezTo>
                  <a:pt x="72" y="32"/>
                  <a:pt x="72" y="32"/>
                  <a:pt x="72" y="32"/>
                </a:cubicBezTo>
                <a:cubicBezTo>
                  <a:pt x="72" y="8"/>
                  <a:pt x="72" y="8"/>
                  <a:pt x="72" y="8"/>
                </a:cubicBezTo>
                <a:cubicBezTo>
                  <a:pt x="72" y="4"/>
                  <a:pt x="68" y="0"/>
                  <a:pt x="64" y="0"/>
                </a:cubicBezTo>
                <a:cubicBezTo>
                  <a:pt x="59" y="0"/>
                  <a:pt x="56" y="4"/>
                  <a:pt x="56" y="8"/>
                </a:cubicBezTo>
                <a:cubicBezTo>
                  <a:pt x="56" y="32"/>
                  <a:pt x="56" y="32"/>
                  <a:pt x="56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39"/>
                  <a:pt x="0" y="48"/>
                </a:cubicBezTo>
                <a:cubicBezTo>
                  <a:pt x="0" y="337"/>
                  <a:pt x="0" y="337"/>
                  <a:pt x="0" y="337"/>
                </a:cubicBezTo>
                <a:cubicBezTo>
                  <a:pt x="0" y="346"/>
                  <a:pt x="7" y="353"/>
                  <a:pt x="16" y="353"/>
                </a:cubicBezTo>
                <a:cubicBezTo>
                  <a:pt x="273" y="353"/>
                  <a:pt x="273" y="353"/>
                  <a:pt x="273" y="353"/>
                </a:cubicBezTo>
                <a:cubicBezTo>
                  <a:pt x="281" y="353"/>
                  <a:pt x="289" y="346"/>
                  <a:pt x="289" y="337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289" y="39"/>
                  <a:pt x="281" y="32"/>
                  <a:pt x="273" y="32"/>
                </a:cubicBezTo>
                <a:moveTo>
                  <a:pt x="16" y="337"/>
                </a:moveTo>
                <a:cubicBezTo>
                  <a:pt x="16" y="289"/>
                  <a:pt x="16" y="289"/>
                  <a:pt x="16" y="289"/>
                </a:cubicBezTo>
                <a:cubicBezTo>
                  <a:pt x="64" y="337"/>
                  <a:pt x="64" y="337"/>
                  <a:pt x="64" y="337"/>
                </a:cubicBezTo>
                <a:lnTo>
                  <a:pt x="16" y="337"/>
                </a:lnTo>
                <a:close/>
                <a:moveTo>
                  <a:pt x="273" y="337"/>
                </a:moveTo>
                <a:cubicBezTo>
                  <a:pt x="88" y="337"/>
                  <a:pt x="88" y="337"/>
                  <a:pt x="88" y="337"/>
                </a:cubicBezTo>
                <a:cubicBezTo>
                  <a:pt x="16" y="265"/>
                  <a:pt x="16" y="265"/>
                  <a:pt x="16" y="265"/>
                </a:cubicBezTo>
                <a:cubicBezTo>
                  <a:pt x="16" y="48"/>
                  <a:pt x="16" y="48"/>
                  <a:pt x="16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56" y="72"/>
                  <a:pt x="56" y="72"/>
                  <a:pt x="56" y="72"/>
                </a:cubicBezTo>
                <a:cubicBezTo>
                  <a:pt x="56" y="77"/>
                  <a:pt x="59" y="80"/>
                  <a:pt x="64" y="80"/>
                </a:cubicBezTo>
                <a:cubicBezTo>
                  <a:pt x="68" y="80"/>
                  <a:pt x="72" y="77"/>
                  <a:pt x="72" y="72"/>
                </a:cubicBezTo>
                <a:cubicBezTo>
                  <a:pt x="72" y="48"/>
                  <a:pt x="72" y="48"/>
                  <a:pt x="72" y="48"/>
                </a:cubicBezTo>
                <a:cubicBezTo>
                  <a:pt x="88" y="48"/>
                  <a:pt x="88" y="48"/>
                  <a:pt x="88" y="48"/>
                </a:cubicBezTo>
                <a:cubicBezTo>
                  <a:pt x="88" y="72"/>
                  <a:pt x="88" y="72"/>
                  <a:pt x="88" y="72"/>
                </a:cubicBezTo>
                <a:cubicBezTo>
                  <a:pt x="88" y="77"/>
                  <a:pt x="92" y="80"/>
                  <a:pt x="96" y="80"/>
                </a:cubicBezTo>
                <a:cubicBezTo>
                  <a:pt x="100" y="80"/>
                  <a:pt x="104" y="77"/>
                  <a:pt x="104" y="72"/>
                </a:cubicBezTo>
                <a:cubicBezTo>
                  <a:pt x="104" y="48"/>
                  <a:pt x="104" y="48"/>
                  <a:pt x="104" y="48"/>
                </a:cubicBezTo>
                <a:cubicBezTo>
                  <a:pt x="120" y="48"/>
                  <a:pt x="120" y="48"/>
                  <a:pt x="120" y="48"/>
                </a:cubicBezTo>
                <a:cubicBezTo>
                  <a:pt x="120" y="72"/>
                  <a:pt x="120" y="72"/>
                  <a:pt x="120" y="72"/>
                </a:cubicBezTo>
                <a:cubicBezTo>
                  <a:pt x="120" y="77"/>
                  <a:pt x="124" y="80"/>
                  <a:pt x="128" y="80"/>
                </a:cubicBezTo>
                <a:cubicBezTo>
                  <a:pt x="133" y="80"/>
                  <a:pt x="136" y="77"/>
                  <a:pt x="136" y="72"/>
                </a:cubicBezTo>
                <a:cubicBezTo>
                  <a:pt x="136" y="48"/>
                  <a:pt x="136" y="48"/>
                  <a:pt x="136" y="48"/>
                </a:cubicBezTo>
                <a:cubicBezTo>
                  <a:pt x="152" y="48"/>
                  <a:pt x="152" y="48"/>
                  <a:pt x="152" y="48"/>
                </a:cubicBezTo>
                <a:cubicBezTo>
                  <a:pt x="152" y="72"/>
                  <a:pt x="152" y="72"/>
                  <a:pt x="152" y="72"/>
                </a:cubicBezTo>
                <a:cubicBezTo>
                  <a:pt x="152" y="77"/>
                  <a:pt x="156" y="80"/>
                  <a:pt x="160" y="80"/>
                </a:cubicBezTo>
                <a:cubicBezTo>
                  <a:pt x="165" y="80"/>
                  <a:pt x="168" y="77"/>
                  <a:pt x="168" y="72"/>
                </a:cubicBezTo>
                <a:cubicBezTo>
                  <a:pt x="168" y="48"/>
                  <a:pt x="168" y="48"/>
                  <a:pt x="168" y="48"/>
                </a:cubicBezTo>
                <a:cubicBezTo>
                  <a:pt x="184" y="48"/>
                  <a:pt x="184" y="48"/>
                  <a:pt x="184" y="48"/>
                </a:cubicBezTo>
                <a:cubicBezTo>
                  <a:pt x="184" y="72"/>
                  <a:pt x="184" y="72"/>
                  <a:pt x="184" y="72"/>
                </a:cubicBezTo>
                <a:cubicBezTo>
                  <a:pt x="184" y="77"/>
                  <a:pt x="188" y="80"/>
                  <a:pt x="192" y="80"/>
                </a:cubicBezTo>
                <a:cubicBezTo>
                  <a:pt x="197" y="80"/>
                  <a:pt x="200" y="77"/>
                  <a:pt x="200" y="72"/>
                </a:cubicBezTo>
                <a:cubicBezTo>
                  <a:pt x="200" y="48"/>
                  <a:pt x="200" y="48"/>
                  <a:pt x="200" y="48"/>
                </a:cubicBezTo>
                <a:cubicBezTo>
                  <a:pt x="216" y="48"/>
                  <a:pt x="216" y="48"/>
                  <a:pt x="216" y="48"/>
                </a:cubicBezTo>
                <a:cubicBezTo>
                  <a:pt x="216" y="72"/>
                  <a:pt x="216" y="72"/>
                  <a:pt x="216" y="72"/>
                </a:cubicBezTo>
                <a:cubicBezTo>
                  <a:pt x="216" y="77"/>
                  <a:pt x="220" y="80"/>
                  <a:pt x="224" y="80"/>
                </a:cubicBezTo>
                <a:cubicBezTo>
                  <a:pt x="229" y="80"/>
                  <a:pt x="232" y="77"/>
                  <a:pt x="232" y="72"/>
                </a:cubicBezTo>
                <a:cubicBezTo>
                  <a:pt x="232" y="48"/>
                  <a:pt x="232" y="48"/>
                  <a:pt x="232" y="48"/>
                </a:cubicBezTo>
                <a:cubicBezTo>
                  <a:pt x="273" y="48"/>
                  <a:pt x="273" y="48"/>
                  <a:pt x="273" y="48"/>
                </a:cubicBezTo>
                <a:lnTo>
                  <a:pt x="273" y="337"/>
                </a:lnTo>
                <a:close/>
                <a:moveTo>
                  <a:pt x="40" y="185"/>
                </a:moveTo>
                <a:cubicBezTo>
                  <a:pt x="40" y="189"/>
                  <a:pt x="43" y="193"/>
                  <a:pt x="48" y="193"/>
                </a:cubicBezTo>
                <a:cubicBezTo>
                  <a:pt x="241" y="193"/>
                  <a:pt x="241" y="193"/>
                  <a:pt x="241" y="193"/>
                </a:cubicBezTo>
                <a:cubicBezTo>
                  <a:pt x="245" y="193"/>
                  <a:pt x="249" y="189"/>
                  <a:pt x="249" y="185"/>
                </a:cubicBezTo>
                <a:cubicBezTo>
                  <a:pt x="249" y="180"/>
                  <a:pt x="245" y="177"/>
                  <a:pt x="241" y="177"/>
                </a:cubicBezTo>
                <a:cubicBezTo>
                  <a:pt x="48" y="177"/>
                  <a:pt x="48" y="177"/>
                  <a:pt x="48" y="177"/>
                </a:cubicBezTo>
                <a:cubicBezTo>
                  <a:pt x="43" y="177"/>
                  <a:pt x="40" y="180"/>
                  <a:pt x="40" y="185"/>
                </a:cubicBezTo>
                <a:moveTo>
                  <a:pt x="192" y="225"/>
                </a:moveTo>
                <a:cubicBezTo>
                  <a:pt x="48" y="225"/>
                  <a:pt x="48" y="225"/>
                  <a:pt x="48" y="225"/>
                </a:cubicBezTo>
                <a:cubicBezTo>
                  <a:pt x="43" y="225"/>
                  <a:pt x="40" y="228"/>
                  <a:pt x="40" y="233"/>
                </a:cubicBezTo>
                <a:cubicBezTo>
                  <a:pt x="40" y="237"/>
                  <a:pt x="43" y="241"/>
                  <a:pt x="48" y="241"/>
                </a:cubicBezTo>
                <a:cubicBezTo>
                  <a:pt x="192" y="241"/>
                  <a:pt x="192" y="241"/>
                  <a:pt x="192" y="241"/>
                </a:cubicBezTo>
                <a:cubicBezTo>
                  <a:pt x="197" y="241"/>
                  <a:pt x="200" y="237"/>
                  <a:pt x="200" y="233"/>
                </a:cubicBezTo>
                <a:cubicBezTo>
                  <a:pt x="200" y="228"/>
                  <a:pt x="197" y="225"/>
                  <a:pt x="192" y="225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>
              <a:solidFill>
                <a:schemeClr val="tx2"/>
              </a:solidFill>
            </a:endParaRPr>
          </a:p>
        </p:txBody>
      </p:sp>
      <p:sp>
        <p:nvSpPr>
          <p:cNvPr id="12" name="Freeform 83"/>
          <p:cNvSpPr>
            <a:spLocks noEditPoints="1"/>
          </p:cNvSpPr>
          <p:nvPr/>
        </p:nvSpPr>
        <p:spPr bwMode="auto">
          <a:xfrm>
            <a:off x="4415607" y="2860788"/>
            <a:ext cx="312786" cy="312786"/>
          </a:xfrm>
          <a:custGeom>
            <a:avLst/>
            <a:gdLst>
              <a:gd name="T0" fmla="*/ 191 w 353"/>
              <a:gd name="T1" fmla="*/ 257 h 353"/>
              <a:gd name="T2" fmla="*/ 129 w 353"/>
              <a:gd name="T3" fmla="*/ 257 h 353"/>
              <a:gd name="T4" fmla="*/ 48 w 353"/>
              <a:gd name="T5" fmla="*/ 265 h 353"/>
              <a:gd name="T6" fmla="*/ 129 w 353"/>
              <a:gd name="T7" fmla="*/ 273 h 353"/>
              <a:gd name="T8" fmla="*/ 191 w 353"/>
              <a:gd name="T9" fmla="*/ 273 h 353"/>
              <a:gd name="T10" fmla="*/ 305 w 353"/>
              <a:gd name="T11" fmla="*/ 265 h 353"/>
              <a:gd name="T12" fmla="*/ 160 w 353"/>
              <a:gd name="T13" fmla="*/ 281 h 353"/>
              <a:gd name="T14" fmla="*/ 160 w 353"/>
              <a:gd name="T15" fmla="*/ 249 h 353"/>
              <a:gd name="T16" fmla="*/ 160 w 353"/>
              <a:gd name="T17" fmla="*/ 281 h 353"/>
              <a:gd name="T18" fmla="*/ 271 w 353"/>
              <a:gd name="T19" fmla="*/ 168 h 353"/>
              <a:gd name="T20" fmla="*/ 209 w 353"/>
              <a:gd name="T21" fmla="*/ 168 h 353"/>
              <a:gd name="T22" fmla="*/ 48 w 353"/>
              <a:gd name="T23" fmla="*/ 176 h 353"/>
              <a:gd name="T24" fmla="*/ 209 w 353"/>
              <a:gd name="T25" fmla="*/ 184 h 353"/>
              <a:gd name="T26" fmla="*/ 271 w 353"/>
              <a:gd name="T27" fmla="*/ 184 h 353"/>
              <a:gd name="T28" fmla="*/ 305 w 353"/>
              <a:gd name="T29" fmla="*/ 176 h 353"/>
              <a:gd name="T30" fmla="*/ 240 w 353"/>
              <a:gd name="T31" fmla="*/ 192 h 353"/>
              <a:gd name="T32" fmla="*/ 240 w 353"/>
              <a:gd name="T33" fmla="*/ 160 h 353"/>
              <a:gd name="T34" fmla="*/ 240 w 353"/>
              <a:gd name="T35" fmla="*/ 192 h 353"/>
              <a:gd name="T36" fmla="*/ 159 w 353"/>
              <a:gd name="T37" fmla="*/ 80 h 353"/>
              <a:gd name="T38" fmla="*/ 97 w 353"/>
              <a:gd name="T39" fmla="*/ 80 h 353"/>
              <a:gd name="T40" fmla="*/ 48 w 353"/>
              <a:gd name="T41" fmla="*/ 88 h 353"/>
              <a:gd name="T42" fmla="*/ 97 w 353"/>
              <a:gd name="T43" fmla="*/ 96 h 353"/>
              <a:gd name="T44" fmla="*/ 159 w 353"/>
              <a:gd name="T45" fmla="*/ 96 h 353"/>
              <a:gd name="T46" fmla="*/ 305 w 353"/>
              <a:gd name="T47" fmla="*/ 88 h 353"/>
              <a:gd name="T48" fmla="*/ 128 w 353"/>
              <a:gd name="T49" fmla="*/ 104 h 353"/>
              <a:gd name="T50" fmla="*/ 128 w 353"/>
              <a:gd name="T51" fmla="*/ 72 h 353"/>
              <a:gd name="T52" fmla="*/ 128 w 353"/>
              <a:gd name="T53" fmla="*/ 104 h 353"/>
              <a:gd name="T54" fmla="*/ 32 w 353"/>
              <a:gd name="T55" fmla="*/ 0 h 353"/>
              <a:gd name="T56" fmla="*/ 0 w 353"/>
              <a:gd name="T57" fmla="*/ 321 h 353"/>
              <a:gd name="T58" fmla="*/ 321 w 353"/>
              <a:gd name="T59" fmla="*/ 353 h 353"/>
              <a:gd name="T60" fmla="*/ 353 w 353"/>
              <a:gd name="T61" fmla="*/ 32 h 353"/>
              <a:gd name="T62" fmla="*/ 337 w 353"/>
              <a:gd name="T63" fmla="*/ 321 h 353"/>
              <a:gd name="T64" fmla="*/ 32 w 353"/>
              <a:gd name="T65" fmla="*/ 337 h 353"/>
              <a:gd name="T66" fmla="*/ 16 w 353"/>
              <a:gd name="T67" fmla="*/ 32 h 353"/>
              <a:gd name="T68" fmla="*/ 321 w 353"/>
              <a:gd name="T69" fmla="*/ 16 h 353"/>
              <a:gd name="T70" fmla="*/ 337 w 353"/>
              <a:gd name="T71" fmla="*/ 32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297" y="257"/>
                </a:moveTo>
                <a:cubicBezTo>
                  <a:pt x="191" y="257"/>
                  <a:pt x="191" y="257"/>
                  <a:pt x="191" y="257"/>
                </a:cubicBezTo>
                <a:cubicBezTo>
                  <a:pt x="188" y="243"/>
                  <a:pt x="175" y="233"/>
                  <a:pt x="160" y="233"/>
                </a:cubicBezTo>
                <a:cubicBezTo>
                  <a:pt x="145" y="233"/>
                  <a:pt x="133" y="243"/>
                  <a:pt x="129" y="257"/>
                </a:cubicBezTo>
                <a:cubicBezTo>
                  <a:pt x="56" y="257"/>
                  <a:pt x="56" y="257"/>
                  <a:pt x="56" y="257"/>
                </a:cubicBezTo>
                <a:cubicBezTo>
                  <a:pt x="51" y="257"/>
                  <a:pt x="48" y="260"/>
                  <a:pt x="48" y="265"/>
                </a:cubicBezTo>
                <a:cubicBezTo>
                  <a:pt x="48" y="269"/>
                  <a:pt x="51" y="273"/>
                  <a:pt x="56" y="273"/>
                </a:cubicBezTo>
                <a:cubicBezTo>
                  <a:pt x="129" y="273"/>
                  <a:pt x="129" y="273"/>
                  <a:pt x="129" y="273"/>
                </a:cubicBezTo>
                <a:cubicBezTo>
                  <a:pt x="133" y="287"/>
                  <a:pt x="145" y="297"/>
                  <a:pt x="160" y="297"/>
                </a:cubicBezTo>
                <a:cubicBezTo>
                  <a:pt x="175" y="297"/>
                  <a:pt x="188" y="287"/>
                  <a:pt x="191" y="273"/>
                </a:cubicBezTo>
                <a:cubicBezTo>
                  <a:pt x="297" y="273"/>
                  <a:pt x="297" y="273"/>
                  <a:pt x="297" y="273"/>
                </a:cubicBezTo>
                <a:cubicBezTo>
                  <a:pt x="301" y="273"/>
                  <a:pt x="305" y="269"/>
                  <a:pt x="305" y="265"/>
                </a:cubicBezTo>
                <a:cubicBezTo>
                  <a:pt x="305" y="260"/>
                  <a:pt x="301" y="257"/>
                  <a:pt x="297" y="257"/>
                </a:cubicBezTo>
                <a:moveTo>
                  <a:pt x="160" y="281"/>
                </a:moveTo>
                <a:cubicBezTo>
                  <a:pt x="151" y="281"/>
                  <a:pt x="144" y="274"/>
                  <a:pt x="144" y="265"/>
                </a:cubicBezTo>
                <a:cubicBezTo>
                  <a:pt x="144" y="256"/>
                  <a:pt x="151" y="249"/>
                  <a:pt x="160" y="249"/>
                </a:cubicBezTo>
                <a:cubicBezTo>
                  <a:pt x="169" y="249"/>
                  <a:pt x="176" y="256"/>
                  <a:pt x="176" y="265"/>
                </a:cubicBezTo>
                <a:cubicBezTo>
                  <a:pt x="176" y="274"/>
                  <a:pt x="169" y="281"/>
                  <a:pt x="160" y="281"/>
                </a:cubicBezTo>
                <a:moveTo>
                  <a:pt x="297" y="168"/>
                </a:moveTo>
                <a:cubicBezTo>
                  <a:pt x="271" y="168"/>
                  <a:pt x="271" y="168"/>
                  <a:pt x="271" y="168"/>
                </a:cubicBezTo>
                <a:cubicBezTo>
                  <a:pt x="268" y="155"/>
                  <a:pt x="255" y="144"/>
                  <a:pt x="240" y="144"/>
                </a:cubicBezTo>
                <a:cubicBezTo>
                  <a:pt x="225" y="144"/>
                  <a:pt x="213" y="155"/>
                  <a:pt x="209" y="168"/>
                </a:cubicBezTo>
                <a:cubicBezTo>
                  <a:pt x="56" y="168"/>
                  <a:pt x="56" y="168"/>
                  <a:pt x="56" y="168"/>
                </a:cubicBezTo>
                <a:cubicBezTo>
                  <a:pt x="51" y="168"/>
                  <a:pt x="48" y="172"/>
                  <a:pt x="48" y="176"/>
                </a:cubicBezTo>
                <a:cubicBezTo>
                  <a:pt x="48" y="181"/>
                  <a:pt x="51" y="184"/>
                  <a:pt x="56" y="184"/>
                </a:cubicBezTo>
                <a:cubicBezTo>
                  <a:pt x="209" y="184"/>
                  <a:pt x="209" y="184"/>
                  <a:pt x="209" y="184"/>
                </a:cubicBezTo>
                <a:cubicBezTo>
                  <a:pt x="213" y="198"/>
                  <a:pt x="225" y="208"/>
                  <a:pt x="240" y="208"/>
                </a:cubicBezTo>
                <a:cubicBezTo>
                  <a:pt x="255" y="208"/>
                  <a:pt x="268" y="198"/>
                  <a:pt x="271" y="184"/>
                </a:cubicBezTo>
                <a:cubicBezTo>
                  <a:pt x="297" y="184"/>
                  <a:pt x="297" y="184"/>
                  <a:pt x="297" y="184"/>
                </a:cubicBezTo>
                <a:cubicBezTo>
                  <a:pt x="301" y="184"/>
                  <a:pt x="305" y="181"/>
                  <a:pt x="305" y="176"/>
                </a:cubicBezTo>
                <a:cubicBezTo>
                  <a:pt x="305" y="172"/>
                  <a:pt x="301" y="168"/>
                  <a:pt x="297" y="168"/>
                </a:cubicBezTo>
                <a:moveTo>
                  <a:pt x="240" y="192"/>
                </a:moveTo>
                <a:cubicBezTo>
                  <a:pt x="232" y="192"/>
                  <a:pt x="224" y="185"/>
                  <a:pt x="224" y="176"/>
                </a:cubicBezTo>
                <a:cubicBezTo>
                  <a:pt x="224" y="168"/>
                  <a:pt x="232" y="160"/>
                  <a:pt x="240" y="160"/>
                </a:cubicBezTo>
                <a:cubicBezTo>
                  <a:pt x="249" y="160"/>
                  <a:pt x="256" y="168"/>
                  <a:pt x="256" y="176"/>
                </a:cubicBezTo>
                <a:cubicBezTo>
                  <a:pt x="256" y="185"/>
                  <a:pt x="249" y="192"/>
                  <a:pt x="240" y="192"/>
                </a:cubicBezTo>
                <a:moveTo>
                  <a:pt x="297" y="80"/>
                </a:moveTo>
                <a:cubicBezTo>
                  <a:pt x="159" y="80"/>
                  <a:pt x="159" y="80"/>
                  <a:pt x="159" y="80"/>
                </a:cubicBezTo>
                <a:cubicBezTo>
                  <a:pt x="155" y="66"/>
                  <a:pt x="143" y="56"/>
                  <a:pt x="128" y="56"/>
                </a:cubicBezTo>
                <a:cubicBezTo>
                  <a:pt x="113" y="56"/>
                  <a:pt x="101" y="66"/>
                  <a:pt x="97" y="80"/>
                </a:cubicBezTo>
                <a:cubicBezTo>
                  <a:pt x="56" y="80"/>
                  <a:pt x="56" y="80"/>
                  <a:pt x="56" y="80"/>
                </a:cubicBezTo>
                <a:cubicBezTo>
                  <a:pt x="51" y="80"/>
                  <a:pt x="48" y="84"/>
                  <a:pt x="48" y="88"/>
                </a:cubicBezTo>
                <a:cubicBezTo>
                  <a:pt x="48" y="93"/>
                  <a:pt x="51" y="96"/>
                  <a:pt x="56" y="96"/>
                </a:cubicBezTo>
                <a:cubicBezTo>
                  <a:pt x="97" y="96"/>
                  <a:pt x="97" y="96"/>
                  <a:pt x="97" y="96"/>
                </a:cubicBezTo>
                <a:cubicBezTo>
                  <a:pt x="101" y="110"/>
                  <a:pt x="113" y="120"/>
                  <a:pt x="128" y="120"/>
                </a:cubicBezTo>
                <a:cubicBezTo>
                  <a:pt x="143" y="120"/>
                  <a:pt x="155" y="110"/>
                  <a:pt x="159" y="96"/>
                </a:cubicBezTo>
                <a:cubicBezTo>
                  <a:pt x="297" y="96"/>
                  <a:pt x="297" y="96"/>
                  <a:pt x="297" y="96"/>
                </a:cubicBezTo>
                <a:cubicBezTo>
                  <a:pt x="301" y="96"/>
                  <a:pt x="305" y="93"/>
                  <a:pt x="305" y="88"/>
                </a:cubicBezTo>
                <a:cubicBezTo>
                  <a:pt x="305" y="84"/>
                  <a:pt x="301" y="80"/>
                  <a:pt x="297" y="80"/>
                </a:cubicBezTo>
                <a:moveTo>
                  <a:pt x="128" y="104"/>
                </a:moveTo>
                <a:cubicBezTo>
                  <a:pt x="119" y="104"/>
                  <a:pt x="112" y="97"/>
                  <a:pt x="112" y="88"/>
                </a:cubicBezTo>
                <a:cubicBezTo>
                  <a:pt x="112" y="79"/>
                  <a:pt x="119" y="72"/>
                  <a:pt x="128" y="72"/>
                </a:cubicBezTo>
                <a:cubicBezTo>
                  <a:pt x="137" y="72"/>
                  <a:pt x="144" y="79"/>
                  <a:pt x="144" y="88"/>
                </a:cubicBezTo>
                <a:cubicBezTo>
                  <a:pt x="144" y="97"/>
                  <a:pt x="137" y="104"/>
                  <a:pt x="128" y="104"/>
                </a:cubicBezTo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8" y="0"/>
                  <a:pt x="321" y="0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3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24"/>
          <p:cNvSpPr>
            <a:spLocks noEditPoints="1"/>
          </p:cNvSpPr>
          <p:nvPr/>
        </p:nvSpPr>
        <p:spPr bwMode="auto">
          <a:xfrm>
            <a:off x="1558178" y="2860788"/>
            <a:ext cx="315086" cy="316237"/>
          </a:xfrm>
          <a:custGeom>
            <a:avLst/>
            <a:gdLst>
              <a:gd name="T0" fmla="*/ 193 w 353"/>
              <a:gd name="T1" fmla="*/ 96 h 353"/>
              <a:gd name="T2" fmla="*/ 225 w 353"/>
              <a:gd name="T3" fmla="*/ 32 h 353"/>
              <a:gd name="T4" fmla="*/ 160 w 353"/>
              <a:gd name="T5" fmla="*/ 0 h 353"/>
              <a:gd name="T6" fmla="*/ 128 w 353"/>
              <a:gd name="T7" fmla="*/ 64 h 353"/>
              <a:gd name="T8" fmla="*/ 144 w 353"/>
              <a:gd name="T9" fmla="*/ 32 h 353"/>
              <a:gd name="T10" fmla="*/ 193 w 353"/>
              <a:gd name="T11" fmla="*/ 16 h 353"/>
              <a:gd name="T12" fmla="*/ 209 w 353"/>
              <a:gd name="T13" fmla="*/ 64 h 353"/>
              <a:gd name="T14" fmla="*/ 160 w 353"/>
              <a:gd name="T15" fmla="*/ 80 h 353"/>
              <a:gd name="T16" fmla="*/ 144 w 353"/>
              <a:gd name="T17" fmla="*/ 32 h 353"/>
              <a:gd name="T18" fmla="*/ 56 w 353"/>
              <a:gd name="T19" fmla="*/ 233 h 353"/>
              <a:gd name="T20" fmla="*/ 168 w 353"/>
              <a:gd name="T21" fmla="*/ 176 h 353"/>
              <a:gd name="T22" fmla="*/ 176 w 353"/>
              <a:gd name="T23" fmla="*/ 241 h 353"/>
              <a:gd name="T24" fmla="*/ 185 w 353"/>
              <a:gd name="T25" fmla="*/ 176 h 353"/>
              <a:gd name="T26" fmla="*/ 297 w 353"/>
              <a:gd name="T27" fmla="*/ 233 h 353"/>
              <a:gd name="T28" fmla="*/ 313 w 353"/>
              <a:gd name="T29" fmla="*/ 233 h 353"/>
              <a:gd name="T30" fmla="*/ 305 w 353"/>
              <a:gd name="T31" fmla="*/ 160 h 353"/>
              <a:gd name="T32" fmla="*/ 185 w 353"/>
              <a:gd name="T33" fmla="*/ 120 h 353"/>
              <a:gd name="T34" fmla="*/ 168 w 353"/>
              <a:gd name="T35" fmla="*/ 120 h 353"/>
              <a:gd name="T36" fmla="*/ 48 w 353"/>
              <a:gd name="T37" fmla="*/ 160 h 353"/>
              <a:gd name="T38" fmla="*/ 40 w 353"/>
              <a:gd name="T39" fmla="*/ 233 h 353"/>
              <a:gd name="T40" fmla="*/ 64 w 353"/>
              <a:gd name="T41" fmla="*/ 257 h 353"/>
              <a:gd name="T42" fmla="*/ 0 w 353"/>
              <a:gd name="T43" fmla="*/ 289 h 353"/>
              <a:gd name="T44" fmla="*/ 32 w 353"/>
              <a:gd name="T45" fmla="*/ 353 h 353"/>
              <a:gd name="T46" fmla="*/ 96 w 353"/>
              <a:gd name="T47" fmla="*/ 321 h 353"/>
              <a:gd name="T48" fmla="*/ 64 w 353"/>
              <a:gd name="T49" fmla="*/ 257 h 353"/>
              <a:gd name="T50" fmla="*/ 64 w 353"/>
              <a:gd name="T51" fmla="*/ 337 h 353"/>
              <a:gd name="T52" fmla="*/ 16 w 353"/>
              <a:gd name="T53" fmla="*/ 321 h 353"/>
              <a:gd name="T54" fmla="*/ 32 w 353"/>
              <a:gd name="T55" fmla="*/ 273 h 353"/>
              <a:gd name="T56" fmla="*/ 80 w 353"/>
              <a:gd name="T57" fmla="*/ 289 h 353"/>
              <a:gd name="T58" fmla="*/ 321 w 353"/>
              <a:gd name="T59" fmla="*/ 257 h 353"/>
              <a:gd name="T60" fmla="*/ 257 w 353"/>
              <a:gd name="T61" fmla="*/ 289 h 353"/>
              <a:gd name="T62" fmla="*/ 289 w 353"/>
              <a:gd name="T63" fmla="*/ 353 h 353"/>
              <a:gd name="T64" fmla="*/ 353 w 353"/>
              <a:gd name="T65" fmla="*/ 321 h 353"/>
              <a:gd name="T66" fmla="*/ 321 w 353"/>
              <a:gd name="T67" fmla="*/ 257 h 353"/>
              <a:gd name="T68" fmla="*/ 321 w 353"/>
              <a:gd name="T69" fmla="*/ 337 h 353"/>
              <a:gd name="T70" fmla="*/ 273 w 353"/>
              <a:gd name="T71" fmla="*/ 321 h 353"/>
              <a:gd name="T72" fmla="*/ 289 w 353"/>
              <a:gd name="T73" fmla="*/ 273 h 353"/>
              <a:gd name="T74" fmla="*/ 337 w 353"/>
              <a:gd name="T75" fmla="*/ 289 h 353"/>
              <a:gd name="T76" fmla="*/ 193 w 353"/>
              <a:gd name="T77" fmla="*/ 257 h 353"/>
              <a:gd name="T78" fmla="*/ 128 w 353"/>
              <a:gd name="T79" fmla="*/ 289 h 353"/>
              <a:gd name="T80" fmla="*/ 160 w 353"/>
              <a:gd name="T81" fmla="*/ 353 h 353"/>
              <a:gd name="T82" fmla="*/ 225 w 353"/>
              <a:gd name="T83" fmla="*/ 321 h 353"/>
              <a:gd name="T84" fmla="*/ 193 w 353"/>
              <a:gd name="T85" fmla="*/ 257 h 353"/>
              <a:gd name="T86" fmla="*/ 193 w 353"/>
              <a:gd name="T87" fmla="*/ 337 h 353"/>
              <a:gd name="T88" fmla="*/ 144 w 353"/>
              <a:gd name="T89" fmla="*/ 321 h 353"/>
              <a:gd name="T90" fmla="*/ 160 w 353"/>
              <a:gd name="T91" fmla="*/ 273 h 353"/>
              <a:gd name="T92" fmla="*/ 209 w 353"/>
              <a:gd name="T93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353">
                <a:moveTo>
                  <a:pt x="160" y="96"/>
                </a:moveTo>
                <a:cubicBezTo>
                  <a:pt x="193" y="96"/>
                  <a:pt x="193" y="96"/>
                  <a:pt x="193" y="96"/>
                </a:cubicBezTo>
                <a:cubicBezTo>
                  <a:pt x="210" y="96"/>
                  <a:pt x="225" y="82"/>
                  <a:pt x="225" y="64"/>
                </a:cubicBezTo>
                <a:cubicBezTo>
                  <a:pt x="225" y="32"/>
                  <a:pt x="225" y="32"/>
                  <a:pt x="225" y="32"/>
                </a:cubicBezTo>
                <a:cubicBezTo>
                  <a:pt x="225" y="14"/>
                  <a:pt x="210" y="0"/>
                  <a:pt x="193" y="0"/>
                </a:cubicBezTo>
                <a:cubicBezTo>
                  <a:pt x="160" y="0"/>
                  <a:pt x="160" y="0"/>
                  <a:pt x="160" y="0"/>
                </a:cubicBezTo>
                <a:cubicBezTo>
                  <a:pt x="143" y="0"/>
                  <a:pt x="128" y="14"/>
                  <a:pt x="128" y="32"/>
                </a:cubicBezTo>
                <a:cubicBezTo>
                  <a:pt x="128" y="64"/>
                  <a:pt x="128" y="64"/>
                  <a:pt x="128" y="64"/>
                </a:cubicBezTo>
                <a:cubicBezTo>
                  <a:pt x="128" y="82"/>
                  <a:pt x="143" y="96"/>
                  <a:pt x="160" y="96"/>
                </a:cubicBezTo>
                <a:moveTo>
                  <a:pt x="144" y="32"/>
                </a:moveTo>
                <a:cubicBezTo>
                  <a:pt x="144" y="23"/>
                  <a:pt x="152" y="16"/>
                  <a:pt x="160" y="16"/>
                </a:cubicBezTo>
                <a:cubicBezTo>
                  <a:pt x="193" y="16"/>
                  <a:pt x="193" y="16"/>
                  <a:pt x="193" y="16"/>
                </a:cubicBezTo>
                <a:cubicBezTo>
                  <a:pt x="201" y="16"/>
                  <a:pt x="209" y="23"/>
                  <a:pt x="209" y="32"/>
                </a:cubicBezTo>
                <a:cubicBezTo>
                  <a:pt x="209" y="64"/>
                  <a:pt x="209" y="64"/>
                  <a:pt x="209" y="64"/>
                </a:cubicBezTo>
                <a:cubicBezTo>
                  <a:pt x="209" y="73"/>
                  <a:pt x="201" y="80"/>
                  <a:pt x="193" y="80"/>
                </a:cubicBezTo>
                <a:cubicBezTo>
                  <a:pt x="160" y="80"/>
                  <a:pt x="160" y="80"/>
                  <a:pt x="160" y="80"/>
                </a:cubicBezTo>
                <a:cubicBezTo>
                  <a:pt x="152" y="80"/>
                  <a:pt x="144" y="73"/>
                  <a:pt x="144" y="64"/>
                </a:cubicBezTo>
                <a:lnTo>
                  <a:pt x="144" y="32"/>
                </a:lnTo>
                <a:close/>
                <a:moveTo>
                  <a:pt x="48" y="241"/>
                </a:moveTo>
                <a:cubicBezTo>
                  <a:pt x="52" y="241"/>
                  <a:pt x="56" y="237"/>
                  <a:pt x="56" y="233"/>
                </a:cubicBezTo>
                <a:cubicBezTo>
                  <a:pt x="56" y="176"/>
                  <a:pt x="56" y="176"/>
                  <a:pt x="56" y="176"/>
                </a:cubicBezTo>
                <a:cubicBezTo>
                  <a:pt x="168" y="176"/>
                  <a:pt x="168" y="176"/>
                  <a:pt x="168" y="176"/>
                </a:cubicBezTo>
                <a:cubicBezTo>
                  <a:pt x="168" y="233"/>
                  <a:pt x="168" y="233"/>
                  <a:pt x="168" y="233"/>
                </a:cubicBezTo>
                <a:cubicBezTo>
                  <a:pt x="168" y="237"/>
                  <a:pt x="172" y="241"/>
                  <a:pt x="176" y="241"/>
                </a:cubicBezTo>
                <a:cubicBezTo>
                  <a:pt x="181" y="241"/>
                  <a:pt x="185" y="237"/>
                  <a:pt x="185" y="233"/>
                </a:cubicBezTo>
                <a:cubicBezTo>
                  <a:pt x="185" y="176"/>
                  <a:pt x="185" y="176"/>
                  <a:pt x="185" y="176"/>
                </a:cubicBezTo>
                <a:cubicBezTo>
                  <a:pt x="297" y="176"/>
                  <a:pt x="297" y="176"/>
                  <a:pt x="297" y="176"/>
                </a:cubicBezTo>
                <a:cubicBezTo>
                  <a:pt x="297" y="233"/>
                  <a:pt x="297" y="233"/>
                  <a:pt x="297" y="233"/>
                </a:cubicBezTo>
                <a:cubicBezTo>
                  <a:pt x="297" y="237"/>
                  <a:pt x="301" y="241"/>
                  <a:pt x="305" y="241"/>
                </a:cubicBezTo>
                <a:cubicBezTo>
                  <a:pt x="309" y="241"/>
                  <a:pt x="313" y="237"/>
                  <a:pt x="313" y="233"/>
                </a:cubicBezTo>
                <a:cubicBezTo>
                  <a:pt x="313" y="168"/>
                  <a:pt x="313" y="168"/>
                  <a:pt x="313" y="168"/>
                </a:cubicBezTo>
                <a:cubicBezTo>
                  <a:pt x="313" y="164"/>
                  <a:pt x="309" y="160"/>
                  <a:pt x="305" y="160"/>
                </a:cubicBezTo>
                <a:cubicBezTo>
                  <a:pt x="185" y="160"/>
                  <a:pt x="185" y="160"/>
                  <a:pt x="185" y="160"/>
                </a:cubicBezTo>
                <a:cubicBezTo>
                  <a:pt x="185" y="120"/>
                  <a:pt x="185" y="120"/>
                  <a:pt x="185" y="120"/>
                </a:cubicBezTo>
                <a:cubicBezTo>
                  <a:pt x="185" y="116"/>
                  <a:pt x="181" y="112"/>
                  <a:pt x="176" y="112"/>
                </a:cubicBezTo>
                <a:cubicBezTo>
                  <a:pt x="172" y="112"/>
                  <a:pt x="168" y="116"/>
                  <a:pt x="168" y="120"/>
                </a:cubicBezTo>
                <a:cubicBezTo>
                  <a:pt x="168" y="160"/>
                  <a:pt x="168" y="160"/>
                  <a:pt x="168" y="160"/>
                </a:cubicBezTo>
                <a:cubicBezTo>
                  <a:pt x="48" y="160"/>
                  <a:pt x="48" y="160"/>
                  <a:pt x="48" y="160"/>
                </a:cubicBezTo>
                <a:cubicBezTo>
                  <a:pt x="44" y="160"/>
                  <a:pt x="40" y="164"/>
                  <a:pt x="40" y="168"/>
                </a:cubicBezTo>
                <a:cubicBezTo>
                  <a:pt x="40" y="233"/>
                  <a:pt x="40" y="233"/>
                  <a:pt x="40" y="233"/>
                </a:cubicBezTo>
                <a:cubicBezTo>
                  <a:pt x="40" y="237"/>
                  <a:pt x="44" y="241"/>
                  <a:pt x="48" y="241"/>
                </a:cubicBezTo>
                <a:moveTo>
                  <a:pt x="64" y="257"/>
                </a:moveTo>
                <a:cubicBezTo>
                  <a:pt x="32" y="257"/>
                  <a:pt x="32" y="257"/>
                  <a:pt x="32" y="257"/>
                </a:cubicBezTo>
                <a:cubicBezTo>
                  <a:pt x="14" y="257"/>
                  <a:pt x="0" y="271"/>
                  <a:pt x="0" y="289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64" y="353"/>
                  <a:pt x="64" y="353"/>
                  <a:pt x="64" y="353"/>
                </a:cubicBezTo>
                <a:cubicBezTo>
                  <a:pt x="82" y="353"/>
                  <a:pt x="96" y="339"/>
                  <a:pt x="96" y="321"/>
                </a:cubicBezTo>
                <a:cubicBezTo>
                  <a:pt x="96" y="289"/>
                  <a:pt x="96" y="289"/>
                  <a:pt x="96" y="289"/>
                </a:cubicBezTo>
                <a:cubicBezTo>
                  <a:pt x="96" y="271"/>
                  <a:pt x="82" y="257"/>
                  <a:pt x="64" y="257"/>
                </a:cubicBezTo>
                <a:moveTo>
                  <a:pt x="80" y="321"/>
                </a:moveTo>
                <a:cubicBezTo>
                  <a:pt x="80" y="330"/>
                  <a:pt x="73" y="337"/>
                  <a:pt x="64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289"/>
                  <a:pt x="16" y="289"/>
                  <a:pt x="16" y="289"/>
                </a:cubicBezTo>
                <a:cubicBezTo>
                  <a:pt x="16" y="280"/>
                  <a:pt x="23" y="273"/>
                  <a:pt x="32" y="273"/>
                </a:cubicBezTo>
                <a:cubicBezTo>
                  <a:pt x="64" y="273"/>
                  <a:pt x="64" y="273"/>
                  <a:pt x="64" y="273"/>
                </a:cubicBezTo>
                <a:cubicBezTo>
                  <a:pt x="73" y="273"/>
                  <a:pt x="80" y="280"/>
                  <a:pt x="80" y="289"/>
                </a:cubicBezTo>
                <a:lnTo>
                  <a:pt x="80" y="321"/>
                </a:lnTo>
                <a:close/>
                <a:moveTo>
                  <a:pt x="321" y="257"/>
                </a:moveTo>
                <a:cubicBezTo>
                  <a:pt x="289" y="257"/>
                  <a:pt x="289" y="257"/>
                  <a:pt x="289" y="257"/>
                </a:cubicBezTo>
                <a:cubicBezTo>
                  <a:pt x="271" y="257"/>
                  <a:pt x="257" y="271"/>
                  <a:pt x="257" y="289"/>
                </a:cubicBezTo>
                <a:cubicBezTo>
                  <a:pt x="257" y="321"/>
                  <a:pt x="257" y="321"/>
                  <a:pt x="257" y="321"/>
                </a:cubicBezTo>
                <a:cubicBezTo>
                  <a:pt x="257" y="339"/>
                  <a:pt x="271" y="353"/>
                  <a:pt x="289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9" y="353"/>
                  <a:pt x="353" y="339"/>
                  <a:pt x="353" y="321"/>
                </a:cubicBezTo>
                <a:cubicBezTo>
                  <a:pt x="353" y="289"/>
                  <a:pt x="353" y="289"/>
                  <a:pt x="353" y="289"/>
                </a:cubicBezTo>
                <a:cubicBezTo>
                  <a:pt x="353" y="271"/>
                  <a:pt x="339" y="257"/>
                  <a:pt x="321" y="257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289" y="337"/>
                  <a:pt x="289" y="337"/>
                  <a:pt x="289" y="337"/>
                </a:cubicBezTo>
                <a:cubicBezTo>
                  <a:pt x="280" y="337"/>
                  <a:pt x="273" y="330"/>
                  <a:pt x="273" y="321"/>
                </a:cubicBezTo>
                <a:cubicBezTo>
                  <a:pt x="273" y="289"/>
                  <a:pt x="273" y="289"/>
                  <a:pt x="273" y="289"/>
                </a:cubicBezTo>
                <a:cubicBezTo>
                  <a:pt x="273" y="280"/>
                  <a:pt x="280" y="273"/>
                  <a:pt x="289" y="273"/>
                </a:cubicBezTo>
                <a:cubicBezTo>
                  <a:pt x="321" y="273"/>
                  <a:pt x="321" y="273"/>
                  <a:pt x="321" y="273"/>
                </a:cubicBezTo>
                <a:cubicBezTo>
                  <a:pt x="330" y="273"/>
                  <a:pt x="337" y="280"/>
                  <a:pt x="337" y="289"/>
                </a:cubicBezTo>
                <a:lnTo>
                  <a:pt x="337" y="321"/>
                </a:lnTo>
                <a:close/>
                <a:moveTo>
                  <a:pt x="193" y="257"/>
                </a:moveTo>
                <a:cubicBezTo>
                  <a:pt x="160" y="257"/>
                  <a:pt x="160" y="257"/>
                  <a:pt x="160" y="257"/>
                </a:cubicBezTo>
                <a:cubicBezTo>
                  <a:pt x="143" y="257"/>
                  <a:pt x="128" y="271"/>
                  <a:pt x="128" y="289"/>
                </a:cubicBezTo>
                <a:cubicBezTo>
                  <a:pt x="128" y="321"/>
                  <a:pt x="128" y="321"/>
                  <a:pt x="128" y="321"/>
                </a:cubicBezTo>
                <a:cubicBezTo>
                  <a:pt x="128" y="339"/>
                  <a:pt x="143" y="353"/>
                  <a:pt x="160" y="353"/>
                </a:cubicBezTo>
                <a:cubicBezTo>
                  <a:pt x="193" y="353"/>
                  <a:pt x="193" y="353"/>
                  <a:pt x="193" y="353"/>
                </a:cubicBezTo>
                <a:cubicBezTo>
                  <a:pt x="210" y="353"/>
                  <a:pt x="225" y="339"/>
                  <a:pt x="225" y="321"/>
                </a:cubicBezTo>
                <a:cubicBezTo>
                  <a:pt x="225" y="289"/>
                  <a:pt x="225" y="289"/>
                  <a:pt x="225" y="289"/>
                </a:cubicBezTo>
                <a:cubicBezTo>
                  <a:pt x="225" y="271"/>
                  <a:pt x="210" y="257"/>
                  <a:pt x="193" y="257"/>
                </a:cubicBezTo>
                <a:moveTo>
                  <a:pt x="209" y="321"/>
                </a:moveTo>
                <a:cubicBezTo>
                  <a:pt x="209" y="330"/>
                  <a:pt x="201" y="337"/>
                  <a:pt x="193" y="337"/>
                </a:cubicBezTo>
                <a:cubicBezTo>
                  <a:pt x="160" y="337"/>
                  <a:pt x="160" y="337"/>
                  <a:pt x="160" y="337"/>
                </a:cubicBezTo>
                <a:cubicBezTo>
                  <a:pt x="152" y="337"/>
                  <a:pt x="144" y="330"/>
                  <a:pt x="144" y="321"/>
                </a:cubicBezTo>
                <a:cubicBezTo>
                  <a:pt x="144" y="289"/>
                  <a:pt x="144" y="289"/>
                  <a:pt x="144" y="289"/>
                </a:cubicBezTo>
                <a:cubicBezTo>
                  <a:pt x="144" y="280"/>
                  <a:pt x="152" y="273"/>
                  <a:pt x="160" y="273"/>
                </a:cubicBezTo>
                <a:cubicBezTo>
                  <a:pt x="193" y="273"/>
                  <a:pt x="193" y="273"/>
                  <a:pt x="193" y="273"/>
                </a:cubicBezTo>
                <a:cubicBezTo>
                  <a:pt x="201" y="273"/>
                  <a:pt x="209" y="280"/>
                  <a:pt x="209" y="289"/>
                </a:cubicBezTo>
                <a:lnTo>
                  <a:pt x="209" y="3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Freeform 13"/>
          <p:cNvSpPr>
            <a:spLocks noEditPoints="1"/>
          </p:cNvSpPr>
          <p:nvPr/>
        </p:nvSpPr>
        <p:spPr bwMode="auto">
          <a:xfrm>
            <a:off x="2986893" y="1944644"/>
            <a:ext cx="313936" cy="313936"/>
          </a:xfrm>
          <a:custGeom>
            <a:avLst/>
            <a:gdLst>
              <a:gd name="T0" fmla="*/ 351 w 353"/>
              <a:gd name="T1" fmla="*/ 340 h 353"/>
              <a:gd name="T2" fmla="*/ 266 w 353"/>
              <a:gd name="T3" fmla="*/ 255 h 353"/>
              <a:gd name="T4" fmla="*/ 305 w 353"/>
              <a:gd name="T5" fmla="*/ 153 h 353"/>
              <a:gd name="T6" fmla="*/ 152 w 353"/>
              <a:gd name="T7" fmla="*/ 0 h 353"/>
              <a:gd name="T8" fmla="*/ 0 w 353"/>
              <a:gd name="T9" fmla="*/ 153 h 353"/>
              <a:gd name="T10" fmla="*/ 152 w 353"/>
              <a:gd name="T11" fmla="*/ 305 h 353"/>
              <a:gd name="T12" fmla="*/ 254 w 353"/>
              <a:gd name="T13" fmla="*/ 266 h 353"/>
              <a:gd name="T14" fmla="*/ 339 w 353"/>
              <a:gd name="T15" fmla="*/ 351 h 353"/>
              <a:gd name="T16" fmla="*/ 345 w 353"/>
              <a:gd name="T17" fmla="*/ 353 h 353"/>
              <a:gd name="T18" fmla="*/ 353 w 353"/>
              <a:gd name="T19" fmla="*/ 345 h 353"/>
              <a:gd name="T20" fmla="*/ 351 w 353"/>
              <a:gd name="T21" fmla="*/ 340 h 353"/>
              <a:gd name="T22" fmla="*/ 152 w 353"/>
              <a:gd name="T23" fmla="*/ 289 h 353"/>
              <a:gd name="T24" fmla="*/ 16 w 353"/>
              <a:gd name="T25" fmla="*/ 153 h 353"/>
              <a:gd name="T26" fmla="*/ 152 w 353"/>
              <a:gd name="T27" fmla="*/ 16 h 353"/>
              <a:gd name="T28" fmla="*/ 289 w 353"/>
              <a:gd name="T29" fmla="*/ 153 h 353"/>
              <a:gd name="T30" fmla="*/ 152 w 353"/>
              <a:gd name="T31" fmla="*/ 28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53" h="353">
                <a:moveTo>
                  <a:pt x="351" y="340"/>
                </a:moveTo>
                <a:cubicBezTo>
                  <a:pt x="266" y="255"/>
                  <a:pt x="266" y="255"/>
                  <a:pt x="266" y="255"/>
                </a:cubicBezTo>
                <a:cubicBezTo>
                  <a:pt x="290" y="228"/>
                  <a:pt x="305" y="192"/>
                  <a:pt x="305" y="153"/>
                </a:cubicBezTo>
                <a:cubicBezTo>
                  <a:pt x="305" y="68"/>
                  <a:pt x="237" y="0"/>
                  <a:pt x="152" y="0"/>
                </a:cubicBezTo>
                <a:cubicBezTo>
                  <a:pt x="68" y="0"/>
                  <a:pt x="0" y="68"/>
                  <a:pt x="0" y="153"/>
                </a:cubicBezTo>
                <a:cubicBezTo>
                  <a:pt x="0" y="237"/>
                  <a:pt x="68" y="305"/>
                  <a:pt x="152" y="305"/>
                </a:cubicBezTo>
                <a:cubicBezTo>
                  <a:pt x="192" y="305"/>
                  <a:pt x="227" y="290"/>
                  <a:pt x="254" y="266"/>
                </a:cubicBezTo>
                <a:cubicBezTo>
                  <a:pt x="339" y="351"/>
                  <a:pt x="339" y="351"/>
                  <a:pt x="339" y="351"/>
                </a:cubicBezTo>
                <a:cubicBezTo>
                  <a:pt x="341" y="352"/>
                  <a:pt x="343" y="353"/>
                  <a:pt x="345" y="353"/>
                </a:cubicBezTo>
                <a:cubicBezTo>
                  <a:pt x="350" y="353"/>
                  <a:pt x="353" y="350"/>
                  <a:pt x="353" y="345"/>
                </a:cubicBezTo>
                <a:cubicBezTo>
                  <a:pt x="353" y="343"/>
                  <a:pt x="352" y="341"/>
                  <a:pt x="351" y="340"/>
                </a:cubicBezTo>
                <a:moveTo>
                  <a:pt x="152" y="289"/>
                </a:moveTo>
                <a:cubicBezTo>
                  <a:pt x="77" y="289"/>
                  <a:pt x="16" y="228"/>
                  <a:pt x="16" y="153"/>
                </a:cubicBezTo>
                <a:cubicBezTo>
                  <a:pt x="16" y="77"/>
                  <a:pt x="77" y="16"/>
                  <a:pt x="152" y="16"/>
                </a:cubicBezTo>
                <a:cubicBezTo>
                  <a:pt x="228" y="16"/>
                  <a:pt x="289" y="77"/>
                  <a:pt x="289" y="153"/>
                </a:cubicBezTo>
                <a:cubicBezTo>
                  <a:pt x="289" y="228"/>
                  <a:pt x="228" y="289"/>
                  <a:pt x="152" y="289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17" name="Straight Arrow Connector 16"/>
          <p:cNvCxnSpPr/>
          <p:nvPr/>
        </p:nvCxnSpPr>
        <p:spPr>
          <a:xfrm>
            <a:off x="1715721" y="2076269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4572000" y="2076269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7427778" y="2076269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triangl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875314" y="2361936"/>
            <a:ext cx="1680815" cy="1680814"/>
          </a:xfrm>
          <a:custGeom>
            <a:avLst/>
            <a:gdLst>
              <a:gd name="T0" fmla="*/ 2695 w 2695"/>
              <a:gd name="T1" fmla="*/ 1278 h 2694"/>
              <a:gd name="T2" fmla="*/ 2558 w 2695"/>
              <a:gd name="T3" fmla="*/ 1113 h 2694"/>
              <a:gd name="T4" fmla="*/ 2631 w 2695"/>
              <a:gd name="T5" fmla="*/ 932 h 2694"/>
              <a:gd name="T6" fmla="*/ 2457 w 2695"/>
              <a:gd name="T7" fmla="*/ 808 h 2694"/>
              <a:gd name="T8" fmla="*/ 2480 w 2695"/>
              <a:gd name="T9" fmla="*/ 614 h 2694"/>
              <a:gd name="T10" fmla="*/ 2279 w 2695"/>
              <a:gd name="T11" fmla="*/ 539 h 2694"/>
              <a:gd name="T12" fmla="*/ 2252 w 2695"/>
              <a:gd name="T13" fmla="*/ 346 h 2694"/>
              <a:gd name="T14" fmla="*/ 2038 w 2695"/>
              <a:gd name="T15" fmla="*/ 326 h 2694"/>
              <a:gd name="T16" fmla="*/ 1962 w 2695"/>
              <a:gd name="T17" fmla="*/ 146 h 2694"/>
              <a:gd name="T18" fmla="*/ 1750 w 2695"/>
              <a:gd name="T19" fmla="*/ 181 h 2694"/>
              <a:gd name="T20" fmla="*/ 1630 w 2695"/>
              <a:gd name="T21" fmla="*/ 28 h 2694"/>
              <a:gd name="T22" fmla="*/ 1435 w 2695"/>
              <a:gd name="T23" fmla="*/ 117 h 2694"/>
              <a:gd name="T24" fmla="*/ 1279 w 2695"/>
              <a:gd name="T25" fmla="*/ 0 h 2694"/>
              <a:gd name="T26" fmla="*/ 1114 w 2695"/>
              <a:gd name="T27" fmla="*/ 136 h 2694"/>
              <a:gd name="T28" fmla="*/ 933 w 2695"/>
              <a:gd name="T29" fmla="*/ 63 h 2694"/>
              <a:gd name="T30" fmla="*/ 808 w 2695"/>
              <a:gd name="T31" fmla="*/ 238 h 2694"/>
              <a:gd name="T32" fmla="*/ 615 w 2695"/>
              <a:gd name="T33" fmla="*/ 215 h 2694"/>
              <a:gd name="T34" fmla="*/ 540 w 2695"/>
              <a:gd name="T35" fmla="*/ 416 h 2694"/>
              <a:gd name="T36" fmla="*/ 347 w 2695"/>
              <a:gd name="T37" fmla="*/ 443 h 2694"/>
              <a:gd name="T38" fmla="*/ 326 w 2695"/>
              <a:gd name="T39" fmla="*/ 656 h 2694"/>
              <a:gd name="T40" fmla="*/ 147 w 2695"/>
              <a:gd name="T41" fmla="*/ 733 h 2694"/>
              <a:gd name="T42" fmla="*/ 182 w 2695"/>
              <a:gd name="T43" fmla="*/ 944 h 2694"/>
              <a:gd name="T44" fmla="*/ 29 w 2695"/>
              <a:gd name="T45" fmla="*/ 1065 h 2694"/>
              <a:gd name="T46" fmla="*/ 118 w 2695"/>
              <a:gd name="T47" fmla="*/ 1260 h 2694"/>
              <a:gd name="T48" fmla="*/ 0 w 2695"/>
              <a:gd name="T49" fmla="*/ 1416 h 2694"/>
              <a:gd name="T50" fmla="*/ 137 w 2695"/>
              <a:gd name="T51" fmla="*/ 1581 h 2694"/>
              <a:gd name="T52" fmla="*/ 64 w 2695"/>
              <a:gd name="T53" fmla="*/ 1762 h 2694"/>
              <a:gd name="T54" fmla="*/ 239 w 2695"/>
              <a:gd name="T55" fmla="*/ 1886 h 2694"/>
              <a:gd name="T56" fmla="*/ 215 w 2695"/>
              <a:gd name="T57" fmla="*/ 2080 h 2694"/>
              <a:gd name="T58" fmla="*/ 416 w 2695"/>
              <a:gd name="T59" fmla="*/ 2155 h 2694"/>
              <a:gd name="T60" fmla="*/ 443 w 2695"/>
              <a:gd name="T61" fmla="*/ 2348 h 2694"/>
              <a:gd name="T62" fmla="*/ 657 w 2695"/>
              <a:gd name="T63" fmla="*/ 2369 h 2694"/>
              <a:gd name="T64" fmla="*/ 733 w 2695"/>
              <a:gd name="T65" fmla="*/ 2548 h 2694"/>
              <a:gd name="T66" fmla="*/ 945 w 2695"/>
              <a:gd name="T67" fmla="*/ 2513 h 2694"/>
              <a:gd name="T68" fmla="*/ 1065 w 2695"/>
              <a:gd name="T69" fmla="*/ 2666 h 2694"/>
              <a:gd name="T70" fmla="*/ 1260 w 2695"/>
              <a:gd name="T71" fmla="*/ 2577 h 2694"/>
              <a:gd name="T72" fmla="*/ 1416 w 2695"/>
              <a:gd name="T73" fmla="*/ 2694 h 2694"/>
              <a:gd name="T74" fmla="*/ 1582 w 2695"/>
              <a:gd name="T75" fmla="*/ 2558 h 2694"/>
              <a:gd name="T76" fmla="*/ 1763 w 2695"/>
              <a:gd name="T77" fmla="*/ 2631 h 2694"/>
              <a:gd name="T78" fmla="*/ 1887 w 2695"/>
              <a:gd name="T79" fmla="*/ 2456 h 2694"/>
              <a:gd name="T80" fmla="*/ 2081 w 2695"/>
              <a:gd name="T81" fmla="*/ 2480 h 2694"/>
              <a:gd name="T82" fmla="*/ 2155 w 2695"/>
              <a:gd name="T83" fmla="*/ 2279 h 2694"/>
              <a:gd name="T84" fmla="*/ 2349 w 2695"/>
              <a:gd name="T85" fmla="*/ 2251 h 2694"/>
              <a:gd name="T86" fmla="*/ 2369 w 2695"/>
              <a:gd name="T87" fmla="*/ 2038 h 2694"/>
              <a:gd name="T88" fmla="*/ 2549 w 2695"/>
              <a:gd name="T89" fmla="*/ 1961 h 2694"/>
              <a:gd name="T90" fmla="*/ 2513 w 2695"/>
              <a:gd name="T91" fmla="*/ 1750 h 2694"/>
              <a:gd name="T92" fmla="*/ 2667 w 2695"/>
              <a:gd name="T93" fmla="*/ 1630 h 2694"/>
              <a:gd name="T94" fmla="*/ 2578 w 2695"/>
              <a:gd name="T95" fmla="*/ 1435 h 2694"/>
              <a:gd name="T96" fmla="*/ 1348 w 2695"/>
              <a:gd name="T97" fmla="*/ 2435 h 2694"/>
              <a:gd name="T98" fmla="*/ 1348 w 2695"/>
              <a:gd name="T99" fmla="*/ 259 h 2694"/>
              <a:gd name="T100" fmla="*/ 1348 w 2695"/>
              <a:gd name="T101" fmla="*/ 2435 h 2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5" h="2694">
                <a:moveTo>
                  <a:pt x="2695" y="1416"/>
                </a:moveTo>
                <a:cubicBezTo>
                  <a:pt x="2695" y="1278"/>
                  <a:pt x="2695" y="1278"/>
                  <a:pt x="2695" y="1278"/>
                </a:cubicBezTo>
                <a:cubicBezTo>
                  <a:pt x="2578" y="1260"/>
                  <a:pt x="2578" y="1260"/>
                  <a:pt x="2578" y="1260"/>
                </a:cubicBezTo>
                <a:cubicBezTo>
                  <a:pt x="2574" y="1210"/>
                  <a:pt x="2568" y="1161"/>
                  <a:pt x="2558" y="1113"/>
                </a:cubicBezTo>
                <a:cubicBezTo>
                  <a:pt x="2667" y="1065"/>
                  <a:pt x="2667" y="1065"/>
                  <a:pt x="2667" y="1065"/>
                </a:cubicBezTo>
                <a:cubicBezTo>
                  <a:pt x="2631" y="932"/>
                  <a:pt x="2631" y="932"/>
                  <a:pt x="2631" y="932"/>
                </a:cubicBezTo>
                <a:cubicBezTo>
                  <a:pt x="2513" y="944"/>
                  <a:pt x="2513" y="944"/>
                  <a:pt x="2513" y="944"/>
                </a:cubicBezTo>
                <a:cubicBezTo>
                  <a:pt x="2497" y="897"/>
                  <a:pt x="2478" y="852"/>
                  <a:pt x="2457" y="808"/>
                </a:cubicBezTo>
                <a:cubicBezTo>
                  <a:pt x="2549" y="733"/>
                  <a:pt x="2549" y="733"/>
                  <a:pt x="2549" y="733"/>
                </a:cubicBezTo>
                <a:cubicBezTo>
                  <a:pt x="2480" y="614"/>
                  <a:pt x="2480" y="614"/>
                  <a:pt x="2480" y="614"/>
                </a:cubicBezTo>
                <a:cubicBezTo>
                  <a:pt x="2369" y="656"/>
                  <a:pt x="2369" y="656"/>
                  <a:pt x="2369" y="656"/>
                </a:cubicBezTo>
                <a:cubicBezTo>
                  <a:pt x="2341" y="615"/>
                  <a:pt x="2311" y="576"/>
                  <a:pt x="2279" y="539"/>
                </a:cubicBezTo>
                <a:cubicBezTo>
                  <a:pt x="2349" y="443"/>
                  <a:pt x="2349" y="443"/>
                  <a:pt x="2349" y="443"/>
                </a:cubicBezTo>
                <a:cubicBezTo>
                  <a:pt x="2252" y="346"/>
                  <a:pt x="2252" y="346"/>
                  <a:pt x="2252" y="346"/>
                </a:cubicBezTo>
                <a:cubicBezTo>
                  <a:pt x="2155" y="416"/>
                  <a:pt x="2155" y="416"/>
                  <a:pt x="2155" y="416"/>
                </a:cubicBezTo>
                <a:cubicBezTo>
                  <a:pt x="2118" y="383"/>
                  <a:pt x="2079" y="353"/>
                  <a:pt x="2038" y="326"/>
                </a:cubicBezTo>
                <a:cubicBezTo>
                  <a:pt x="2081" y="215"/>
                  <a:pt x="2081" y="215"/>
                  <a:pt x="2081" y="215"/>
                </a:cubicBezTo>
                <a:cubicBezTo>
                  <a:pt x="1962" y="146"/>
                  <a:pt x="1962" y="146"/>
                  <a:pt x="1962" y="146"/>
                </a:cubicBezTo>
                <a:cubicBezTo>
                  <a:pt x="1887" y="238"/>
                  <a:pt x="1887" y="238"/>
                  <a:pt x="1887" y="238"/>
                </a:cubicBezTo>
                <a:cubicBezTo>
                  <a:pt x="1843" y="217"/>
                  <a:pt x="1797" y="198"/>
                  <a:pt x="1750" y="181"/>
                </a:cubicBezTo>
                <a:cubicBezTo>
                  <a:pt x="1763" y="63"/>
                  <a:pt x="1763" y="63"/>
                  <a:pt x="1763" y="63"/>
                </a:cubicBezTo>
                <a:cubicBezTo>
                  <a:pt x="1630" y="28"/>
                  <a:pt x="1630" y="28"/>
                  <a:pt x="1630" y="28"/>
                </a:cubicBezTo>
                <a:cubicBezTo>
                  <a:pt x="1582" y="136"/>
                  <a:pt x="1582" y="136"/>
                  <a:pt x="1582" y="136"/>
                </a:cubicBezTo>
                <a:cubicBezTo>
                  <a:pt x="1534" y="127"/>
                  <a:pt x="1485" y="121"/>
                  <a:pt x="1435" y="117"/>
                </a:cubicBezTo>
                <a:cubicBezTo>
                  <a:pt x="1416" y="0"/>
                  <a:pt x="1416" y="0"/>
                  <a:pt x="1416" y="0"/>
                </a:cubicBezTo>
                <a:cubicBezTo>
                  <a:pt x="1279" y="0"/>
                  <a:pt x="1279" y="0"/>
                  <a:pt x="1279" y="0"/>
                </a:cubicBezTo>
                <a:cubicBezTo>
                  <a:pt x="1260" y="117"/>
                  <a:pt x="1260" y="117"/>
                  <a:pt x="1260" y="117"/>
                </a:cubicBezTo>
                <a:cubicBezTo>
                  <a:pt x="1210" y="121"/>
                  <a:pt x="1162" y="127"/>
                  <a:pt x="1114" y="136"/>
                </a:cubicBezTo>
                <a:cubicBezTo>
                  <a:pt x="1065" y="28"/>
                  <a:pt x="1065" y="28"/>
                  <a:pt x="1065" y="28"/>
                </a:cubicBezTo>
                <a:cubicBezTo>
                  <a:pt x="933" y="63"/>
                  <a:pt x="933" y="63"/>
                  <a:pt x="933" y="63"/>
                </a:cubicBezTo>
                <a:cubicBezTo>
                  <a:pt x="945" y="181"/>
                  <a:pt x="945" y="181"/>
                  <a:pt x="945" y="181"/>
                </a:cubicBezTo>
                <a:cubicBezTo>
                  <a:pt x="898" y="198"/>
                  <a:pt x="852" y="217"/>
                  <a:pt x="808" y="238"/>
                </a:cubicBezTo>
                <a:cubicBezTo>
                  <a:pt x="733" y="146"/>
                  <a:pt x="733" y="146"/>
                  <a:pt x="733" y="146"/>
                </a:cubicBezTo>
                <a:cubicBezTo>
                  <a:pt x="615" y="215"/>
                  <a:pt x="615" y="215"/>
                  <a:pt x="615" y="215"/>
                </a:cubicBezTo>
                <a:cubicBezTo>
                  <a:pt x="657" y="326"/>
                  <a:pt x="657" y="326"/>
                  <a:pt x="657" y="326"/>
                </a:cubicBezTo>
                <a:cubicBezTo>
                  <a:pt x="616" y="353"/>
                  <a:pt x="577" y="383"/>
                  <a:pt x="540" y="416"/>
                </a:cubicBezTo>
                <a:cubicBezTo>
                  <a:pt x="443" y="346"/>
                  <a:pt x="443" y="346"/>
                  <a:pt x="443" y="346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416" y="539"/>
                  <a:pt x="416" y="539"/>
                  <a:pt x="416" y="539"/>
                </a:cubicBezTo>
                <a:cubicBezTo>
                  <a:pt x="384" y="576"/>
                  <a:pt x="354" y="615"/>
                  <a:pt x="326" y="656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147" y="733"/>
                  <a:pt x="147" y="733"/>
                  <a:pt x="147" y="733"/>
                </a:cubicBezTo>
                <a:cubicBezTo>
                  <a:pt x="239" y="808"/>
                  <a:pt x="239" y="808"/>
                  <a:pt x="239" y="808"/>
                </a:cubicBezTo>
                <a:cubicBezTo>
                  <a:pt x="217" y="852"/>
                  <a:pt x="198" y="897"/>
                  <a:pt x="182" y="944"/>
                </a:cubicBezTo>
                <a:cubicBezTo>
                  <a:pt x="64" y="932"/>
                  <a:pt x="64" y="932"/>
                  <a:pt x="64" y="932"/>
                </a:cubicBezTo>
                <a:cubicBezTo>
                  <a:pt x="29" y="1065"/>
                  <a:pt x="29" y="1065"/>
                  <a:pt x="29" y="1065"/>
                </a:cubicBezTo>
                <a:cubicBezTo>
                  <a:pt x="137" y="1113"/>
                  <a:pt x="137" y="1113"/>
                  <a:pt x="137" y="1113"/>
                </a:cubicBezTo>
                <a:cubicBezTo>
                  <a:pt x="128" y="1161"/>
                  <a:pt x="121" y="1210"/>
                  <a:pt x="118" y="1260"/>
                </a:cubicBezTo>
                <a:cubicBezTo>
                  <a:pt x="0" y="1278"/>
                  <a:pt x="0" y="1278"/>
                  <a:pt x="0" y="1278"/>
                </a:cubicBezTo>
                <a:cubicBezTo>
                  <a:pt x="0" y="1416"/>
                  <a:pt x="0" y="1416"/>
                  <a:pt x="0" y="1416"/>
                </a:cubicBezTo>
                <a:cubicBezTo>
                  <a:pt x="118" y="1435"/>
                  <a:pt x="118" y="1435"/>
                  <a:pt x="118" y="1435"/>
                </a:cubicBezTo>
                <a:cubicBezTo>
                  <a:pt x="121" y="1484"/>
                  <a:pt x="128" y="1533"/>
                  <a:pt x="137" y="1581"/>
                </a:cubicBezTo>
                <a:cubicBezTo>
                  <a:pt x="29" y="1630"/>
                  <a:pt x="29" y="1630"/>
                  <a:pt x="29" y="1630"/>
                </a:cubicBezTo>
                <a:cubicBezTo>
                  <a:pt x="64" y="1762"/>
                  <a:pt x="64" y="1762"/>
                  <a:pt x="64" y="1762"/>
                </a:cubicBezTo>
                <a:cubicBezTo>
                  <a:pt x="182" y="1750"/>
                  <a:pt x="182" y="1750"/>
                  <a:pt x="182" y="1750"/>
                </a:cubicBezTo>
                <a:cubicBezTo>
                  <a:pt x="198" y="1797"/>
                  <a:pt x="217" y="1842"/>
                  <a:pt x="239" y="1886"/>
                </a:cubicBezTo>
                <a:cubicBezTo>
                  <a:pt x="147" y="1961"/>
                  <a:pt x="147" y="1961"/>
                  <a:pt x="147" y="1961"/>
                </a:cubicBezTo>
                <a:cubicBezTo>
                  <a:pt x="215" y="2080"/>
                  <a:pt x="215" y="2080"/>
                  <a:pt x="215" y="2080"/>
                </a:cubicBezTo>
                <a:cubicBezTo>
                  <a:pt x="326" y="2038"/>
                  <a:pt x="326" y="2038"/>
                  <a:pt x="326" y="2038"/>
                </a:cubicBezTo>
                <a:cubicBezTo>
                  <a:pt x="354" y="2079"/>
                  <a:pt x="384" y="2118"/>
                  <a:pt x="416" y="2155"/>
                </a:cubicBezTo>
                <a:cubicBezTo>
                  <a:pt x="347" y="2251"/>
                  <a:pt x="347" y="2251"/>
                  <a:pt x="347" y="2251"/>
                </a:cubicBezTo>
                <a:cubicBezTo>
                  <a:pt x="443" y="2348"/>
                  <a:pt x="443" y="2348"/>
                  <a:pt x="443" y="2348"/>
                </a:cubicBezTo>
                <a:cubicBezTo>
                  <a:pt x="540" y="2279"/>
                  <a:pt x="540" y="2279"/>
                  <a:pt x="540" y="2279"/>
                </a:cubicBezTo>
                <a:cubicBezTo>
                  <a:pt x="577" y="2311"/>
                  <a:pt x="616" y="2341"/>
                  <a:pt x="657" y="2369"/>
                </a:cubicBezTo>
                <a:cubicBezTo>
                  <a:pt x="615" y="2480"/>
                  <a:pt x="615" y="2480"/>
                  <a:pt x="615" y="2480"/>
                </a:cubicBezTo>
                <a:cubicBezTo>
                  <a:pt x="733" y="2548"/>
                  <a:pt x="733" y="2548"/>
                  <a:pt x="733" y="2548"/>
                </a:cubicBezTo>
                <a:cubicBezTo>
                  <a:pt x="808" y="2456"/>
                  <a:pt x="808" y="2456"/>
                  <a:pt x="808" y="2456"/>
                </a:cubicBezTo>
                <a:cubicBezTo>
                  <a:pt x="852" y="2478"/>
                  <a:pt x="898" y="2496"/>
                  <a:pt x="945" y="2513"/>
                </a:cubicBezTo>
                <a:cubicBezTo>
                  <a:pt x="933" y="2631"/>
                  <a:pt x="933" y="2631"/>
                  <a:pt x="933" y="2631"/>
                </a:cubicBezTo>
                <a:cubicBezTo>
                  <a:pt x="1065" y="2666"/>
                  <a:pt x="1065" y="2666"/>
                  <a:pt x="1065" y="2666"/>
                </a:cubicBezTo>
                <a:cubicBezTo>
                  <a:pt x="1114" y="2558"/>
                  <a:pt x="1114" y="2558"/>
                  <a:pt x="1114" y="2558"/>
                </a:cubicBezTo>
                <a:cubicBezTo>
                  <a:pt x="1162" y="2567"/>
                  <a:pt x="1210" y="2573"/>
                  <a:pt x="1260" y="2577"/>
                </a:cubicBezTo>
                <a:cubicBezTo>
                  <a:pt x="1279" y="2694"/>
                  <a:pt x="1279" y="2694"/>
                  <a:pt x="1279" y="2694"/>
                </a:cubicBezTo>
                <a:cubicBezTo>
                  <a:pt x="1416" y="2694"/>
                  <a:pt x="1416" y="2694"/>
                  <a:pt x="1416" y="2694"/>
                </a:cubicBezTo>
                <a:cubicBezTo>
                  <a:pt x="1435" y="2577"/>
                  <a:pt x="1435" y="2577"/>
                  <a:pt x="1435" y="2577"/>
                </a:cubicBezTo>
                <a:cubicBezTo>
                  <a:pt x="1485" y="2573"/>
                  <a:pt x="1534" y="2567"/>
                  <a:pt x="1582" y="2558"/>
                </a:cubicBezTo>
                <a:cubicBezTo>
                  <a:pt x="1630" y="2666"/>
                  <a:pt x="1630" y="2666"/>
                  <a:pt x="1630" y="2666"/>
                </a:cubicBezTo>
                <a:cubicBezTo>
                  <a:pt x="1763" y="2631"/>
                  <a:pt x="1763" y="2631"/>
                  <a:pt x="1763" y="2631"/>
                </a:cubicBezTo>
                <a:cubicBezTo>
                  <a:pt x="1750" y="2513"/>
                  <a:pt x="1750" y="2513"/>
                  <a:pt x="1750" y="2513"/>
                </a:cubicBezTo>
                <a:cubicBezTo>
                  <a:pt x="1797" y="2496"/>
                  <a:pt x="1843" y="2478"/>
                  <a:pt x="1887" y="2456"/>
                </a:cubicBezTo>
                <a:cubicBezTo>
                  <a:pt x="1962" y="2548"/>
                  <a:pt x="1962" y="2548"/>
                  <a:pt x="1962" y="2548"/>
                </a:cubicBezTo>
                <a:cubicBezTo>
                  <a:pt x="2081" y="2480"/>
                  <a:pt x="2081" y="2480"/>
                  <a:pt x="2081" y="2480"/>
                </a:cubicBezTo>
                <a:cubicBezTo>
                  <a:pt x="2038" y="2369"/>
                  <a:pt x="2038" y="2369"/>
                  <a:pt x="2038" y="2369"/>
                </a:cubicBezTo>
                <a:cubicBezTo>
                  <a:pt x="2079" y="2341"/>
                  <a:pt x="2118" y="2311"/>
                  <a:pt x="2155" y="2279"/>
                </a:cubicBezTo>
                <a:cubicBezTo>
                  <a:pt x="2252" y="2348"/>
                  <a:pt x="2252" y="2348"/>
                  <a:pt x="2252" y="2348"/>
                </a:cubicBezTo>
                <a:cubicBezTo>
                  <a:pt x="2349" y="2251"/>
                  <a:pt x="2349" y="2251"/>
                  <a:pt x="2349" y="2251"/>
                </a:cubicBezTo>
                <a:cubicBezTo>
                  <a:pt x="2279" y="2155"/>
                  <a:pt x="2279" y="2155"/>
                  <a:pt x="2279" y="2155"/>
                </a:cubicBezTo>
                <a:cubicBezTo>
                  <a:pt x="2311" y="2118"/>
                  <a:pt x="2341" y="2079"/>
                  <a:pt x="2369" y="2038"/>
                </a:cubicBezTo>
                <a:cubicBezTo>
                  <a:pt x="2480" y="2080"/>
                  <a:pt x="2480" y="2080"/>
                  <a:pt x="2480" y="2080"/>
                </a:cubicBezTo>
                <a:cubicBezTo>
                  <a:pt x="2549" y="1961"/>
                  <a:pt x="2549" y="1961"/>
                  <a:pt x="2549" y="1961"/>
                </a:cubicBezTo>
                <a:cubicBezTo>
                  <a:pt x="2457" y="1886"/>
                  <a:pt x="2457" y="1886"/>
                  <a:pt x="2457" y="1886"/>
                </a:cubicBezTo>
                <a:cubicBezTo>
                  <a:pt x="2478" y="1842"/>
                  <a:pt x="2497" y="1797"/>
                  <a:pt x="2513" y="1750"/>
                </a:cubicBezTo>
                <a:cubicBezTo>
                  <a:pt x="2631" y="1762"/>
                  <a:pt x="2631" y="1762"/>
                  <a:pt x="2631" y="1762"/>
                </a:cubicBezTo>
                <a:cubicBezTo>
                  <a:pt x="2667" y="1630"/>
                  <a:pt x="2667" y="1630"/>
                  <a:pt x="2667" y="1630"/>
                </a:cubicBezTo>
                <a:cubicBezTo>
                  <a:pt x="2558" y="1581"/>
                  <a:pt x="2558" y="1581"/>
                  <a:pt x="2558" y="1581"/>
                </a:cubicBezTo>
                <a:cubicBezTo>
                  <a:pt x="2568" y="1533"/>
                  <a:pt x="2574" y="1484"/>
                  <a:pt x="2578" y="1435"/>
                </a:cubicBezTo>
                <a:lnTo>
                  <a:pt x="2695" y="1416"/>
                </a:lnTo>
                <a:close/>
                <a:moveTo>
                  <a:pt x="1348" y="2435"/>
                </a:moveTo>
                <a:cubicBezTo>
                  <a:pt x="747" y="2435"/>
                  <a:pt x="259" y="1948"/>
                  <a:pt x="259" y="1347"/>
                </a:cubicBezTo>
                <a:cubicBezTo>
                  <a:pt x="259" y="746"/>
                  <a:pt x="747" y="259"/>
                  <a:pt x="1348" y="259"/>
                </a:cubicBezTo>
                <a:cubicBezTo>
                  <a:pt x="1949" y="259"/>
                  <a:pt x="2436" y="746"/>
                  <a:pt x="2436" y="1347"/>
                </a:cubicBezTo>
                <a:cubicBezTo>
                  <a:pt x="2436" y="1948"/>
                  <a:pt x="1949" y="2435"/>
                  <a:pt x="1348" y="243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2" name="Freeform 6"/>
          <p:cNvSpPr>
            <a:spLocks noEditPoints="1"/>
          </p:cNvSpPr>
          <p:nvPr/>
        </p:nvSpPr>
        <p:spPr bwMode="auto">
          <a:xfrm>
            <a:off x="2304961" y="1546144"/>
            <a:ext cx="1677800" cy="1678804"/>
          </a:xfrm>
          <a:custGeom>
            <a:avLst/>
            <a:gdLst>
              <a:gd name="T0" fmla="*/ 2689 w 2691"/>
              <a:gd name="T1" fmla="*/ 1465 h 2691"/>
              <a:gd name="T2" fmla="*/ 2577 w 2691"/>
              <a:gd name="T3" fmla="*/ 1283 h 2691"/>
              <a:gd name="T4" fmla="*/ 2675 w 2691"/>
              <a:gd name="T5" fmla="*/ 1114 h 2691"/>
              <a:gd name="T6" fmla="*/ 2519 w 2691"/>
              <a:gd name="T7" fmla="*/ 966 h 2691"/>
              <a:gd name="T8" fmla="*/ 2569 w 2691"/>
              <a:gd name="T9" fmla="*/ 777 h 2691"/>
              <a:gd name="T10" fmla="*/ 2381 w 2691"/>
              <a:gd name="T11" fmla="*/ 675 h 2691"/>
              <a:gd name="T12" fmla="*/ 2381 w 2691"/>
              <a:gd name="T13" fmla="*/ 480 h 2691"/>
              <a:gd name="T14" fmla="*/ 2172 w 2691"/>
              <a:gd name="T15" fmla="*/ 430 h 2691"/>
              <a:gd name="T16" fmla="*/ 2121 w 2691"/>
              <a:gd name="T17" fmla="*/ 242 h 2691"/>
              <a:gd name="T18" fmla="*/ 1907 w 2691"/>
              <a:gd name="T19" fmla="*/ 247 h 2691"/>
              <a:gd name="T20" fmla="*/ 1809 w 2691"/>
              <a:gd name="T21" fmla="*/ 79 h 2691"/>
              <a:gd name="T22" fmla="*/ 1604 w 2691"/>
              <a:gd name="T23" fmla="*/ 140 h 2691"/>
              <a:gd name="T24" fmla="*/ 1466 w 2691"/>
              <a:gd name="T25" fmla="*/ 2 h 2691"/>
              <a:gd name="T26" fmla="*/ 1283 w 2691"/>
              <a:gd name="T27" fmla="*/ 114 h 2691"/>
              <a:gd name="T28" fmla="*/ 1114 w 2691"/>
              <a:gd name="T29" fmla="*/ 16 h 2691"/>
              <a:gd name="T30" fmla="*/ 966 w 2691"/>
              <a:gd name="T31" fmla="*/ 172 h 2691"/>
              <a:gd name="T32" fmla="*/ 778 w 2691"/>
              <a:gd name="T33" fmla="*/ 122 h 2691"/>
              <a:gd name="T34" fmla="*/ 676 w 2691"/>
              <a:gd name="T35" fmla="*/ 310 h 2691"/>
              <a:gd name="T36" fmla="*/ 480 w 2691"/>
              <a:gd name="T37" fmla="*/ 310 h 2691"/>
              <a:gd name="T38" fmla="*/ 431 w 2691"/>
              <a:gd name="T39" fmla="*/ 519 h 2691"/>
              <a:gd name="T40" fmla="*/ 242 w 2691"/>
              <a:gd name="T41" fmla="*/ 569 h 2691"/>
              <a:gd name="T42" fmla="*/ 248 w 2691"/>
              <a:gd name="T43" fmla="*/ 784 h 2691"/>
              <a:gd name="T44" fmla="*/ 79 w 2691"/>
              <a:gd name="T45" fmla="*/ 882 h 2691"/>
              <a:gd name="T46" fmla="*/ 140 w 2691"/>
              <a:gd name="T47" fmla="*/ 1087 h 2691"/>
              <a:gd name="T48" fmla="*/ 2 w 2691"/>
              <a:gd name="T49" fmla="*/ 1225 h 2691"/>
              <a:gd name="T50" fmla="*/ 114 w 2691"/>
              <a:gd name="T51" fmla="*/ 1408 h 2691"/>
              <a:gd name="T52" fmla="*/ 17 w 2691"/>
              <a:gd name="T53" fmla="*/ 1577 h 2691"/>
              <a:gd name="T54" fmla="*/ 172 w 2691"/>
              <a:gd name="T55" fmla="*/ 1725 h 2691"/>
              <a:gd name="T56" fmla="*/ 122 w 2691"/>
              <a:gd name="T57" fmla="*/ 1913 h 2691"/>
              <a:gd name="T58" fmla="*/ 311 w 2691"/>
              <a:gd name="T59" fmla="*/ 2015 h 2691"/>
              <a:gd name="T60" fmla="*/ 311 w 2691"/>
              <a:gd name="T61" fmla="*/ 2210 h 2691"/>
              <a:gd name="T62" fmla="*/ 519 w 2691"/>
              <a:gd name="T63" fmla="*/ 2260 h 2691"/>
              <a:gd name="T64" fmla="*/ 570 w 2691"/>
              <a:gd name="T65" fmla="*/ 2449 h 2691"/>
              <a:gd name="T66" fmla="*/ 784 w 2691"/>
              <a:gd name="T67" fmla="*/ 2443 h 2691"/>
              <a:gd name="T68" fmla="*/ 882 w 2691"/>
              <a:gd name="T69" fmla="*/ 2612 h 2691"/>
              <a:gd name="T70" fmla="*/ 1087 w 2691"/>
              <a:gd name="T71" fmla="*/ 2551 h 2691"/>
              <a:gd name="T72" fmla="*/ 1226 w 2691"/>
              <a:gd name="T73" fmla="*/ 2689 h 2691"/>
              <a:gd name="T74" fmla="*/ 1408 w 2691"/>
              <a:gd name="T75" fmla="*/ 2577 h 2691"/>
              <a:gd name="T76" fmla="*/ 1577 w 2691"/>
              <a:gd name="T77" fmla="*/ 2674 h 2691"/>
              <a:gd name="T78" fmla="*/ 1725 w 2691"/>
              <a:gd name="T79" fmla="*/ 2519 h 2691"/>
              <a:gd name="T80" fmla="*/ 1913 w 2691"/>
              <a:gd name="T81" fmla="*/ 2569 h 2691"/>
              <a:gd name="T82" fmla="*/ 2016 w 2691"/>
              <a:gd name="T83" fmla="*/ 2380 h 2691"/>
              <a:gd name="T84" fmla="*/ 2211 w 2691"/>
              <a:gd name="T85" fmla="*/ 2380 h 2691"/>
              <a:gd name="T86" fmla="*/ 2261 w 2691"/>
              <a:gd name="T87" fmla="*/ 2172 h 2691"/>
              <a:gd name="T88" fmla="*/ 2449 w 2691"/>
              <a:gd name="T89" fmla="*/ 2121 h 2691"/>
              <a:gd name="T90" fmla="*/ 2444 w 2691"/>
              <a:gd name="T91" fmla="*/ 1907 h 2691"/>
              <a:gd name="T92" fmla="*/ 2612 w 2691"/>
              <a:gd name="T93" fmla="*/ 1809 h 2691"/>
              <a:gd name="T94" fmla="*/ 2551 w 2691"/>
              <a:gd name="T95" fmla="*/ 1603 h 2691"/>
              <a:gd name="T96" fmla="*/ 1194 w 2691"/>
              <a:gd name="T97" fmla="*/ 2423 h 2691"/>
              <a:gd name="T98" fmla="*/ 1497 w 2691"/>
              <a:gd name="T99" fmla="*/ 268 h 2691"/>
              <a:gd name="T100" fmla="*/ 1194 w 2691"/>
              <a:gd name="T101" fmla="*/ 2423 h 2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1" h="2691">
                <a:moveTo>
                  <a:pt x="2670" y="1601"/>
                </a:moveTo>
                <a:cubicBezTo>
                  <a:pt x="2689" y="1465"/>
                  <a:pt x="2689" y="1465"/>
                  <a:pt x="2689" y="1465"/>
                </a:cubicBezTo>
                <a:cubicBezTo>
                  <a:pt x="2576" y="1430"/>
                  <a:pt x="2576" y="1430"/>
                  <a:pt x="2576" y="1430"/>
                </a:cubicBezTo>
                <a:cubicBezTo>
                  <a:pt x="2579" y="1381"/>
                  <a:pt x="2580" y="1331"/>
                  <a:pt x="2577" y="1283"/>
                </a:cubicBezTo>
                <a:cubicBezTo>
                  <a:pt x="2691" y="1250"/>
                  <a:pt x="2691" y="1250"/>
                  <a:pt x="2691" y="1250"/>
                </a:cubicBezTo>
                <a:cubicBezTo>
                  <a:pt x="2675" y="1114"/>
                  <a:pt x="2675" y="1114"/>
                  <a:pt x="2675" y="1114"/>
                </a:cubicBezTo>
                <a:cubicBezTo>
                  <a:pt x="2556" y="1109"/>
                  <a:pt x="2556" y="1109"/>
                  <a:pt x="2556" y="1109"/>
                </a:cubicBezTo>
                <a:cubicBezTo>
                  <a:pt x="2547" y="1060"/>
                  <a:pt x="2534" y="1013"/>
                  <a:pt x="2519" y="966"/>
                </a:cubicBezTo>
                <a:cubicBezTo>
                  <a:pt x="2621" y="905"/>
                  <a:pt x="2621" y="905"/>
                  <a:pt x="2621" y="905"/>
                </a:cubicBezTo>
                <a:cubicBezTo>
                  <a:pt x="2569" y="777"/>
                  <a:pt x="2569" y="777"/>
                  <a:pt x="2569" y="777"/>
                </a:cubicBezTo>
                <a:cubicBezTo>
                  <a:pt x="2454" y="804"/>
                  <a:pt x="2454" y="804"/>
                  <a:pt x="2454" y="804"/>
                </a:cubicBezTo>
                <a:cubicBezTo>
                  <a:pt x="2432" y="760"/>
                  <a:pt x="2408" y="717"/>
                  <a:pt x="2381" y="675"/>
                </a:cubicBezTo>
                <a:cubicBezTo>
                  <a:pt x="2463" y="590"/>
                  <a:pt x="2463" y="590"/>
                  <a:pt x="2463" y="590"/>
                </a:cubicBezTo>
                <a:cubicBezTo>
                  <a:pt x="2381" y="480"/>
                  <a:pt x="2381" y="480"/>
                  <a:pt x="2381" y="480"/>
                </a:cubicBezTo>
                <a:cubicBezTo>
                  <a:pt x="2276" y="536"/>
                  <a:pt x="2276" y="536"/>
                  <a:pt x="2276" y="536"/>
                </a:cubicBezTo>
                <a:cubicBezTo>
                  <a:pt x="2243" y="498"/>
                  <a:pt x="2209" y="463"/>
                  <a:pt x="2172" y="430"/>
                </a:cubicBezTo>
                <a:cubicBezTo>
                  <a:pt x="2229" y="326"/>
                  <a:pt x="2229" y="326"/>
                  <a:pt x="2229" y="326"/>
                </a:cubicBezTo>
                <a:cubicBezTo>
                  <a:pt x="2121" y="242"/>
                  <a:pt x="2121" y="242"/>
                  <a:pt x="2121" y="242"/>
                </a:cubicBezTo>
                <a:cubicBezTo>
                  <a:pt x="2034" y="322"/>
                  <a:pt x="2034" y="322"/>
                  <a:pt x="2034" y="322"/>
                </a:cubicBezTo>
                <a:cubicBezTo>
                  <a:pt x="1994" y="295"/>
                  <a:pt x="1951" y="270"/>
                  <a:pt x="1907" y="247"/>
                </a:cubicBezTo>
                <a:cubicBezTo>
                  <a:pt x="1936" y="132"/>
                  <a:pt x="1936" y="132"/>
                  <a:pt x="1936" y="132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746" y="179"/>
                  <a:pt x="1746" y="179"/>
                  <a:pt x="1746" y="179"/>
                </a:cubicBezTo>
                <a:cubicBezTo>
                  <a:pt x="1700" y="163"/>
                  <a:pt x="1653" y="150"/>
                  <a:pt x="1604" y="140"/>
                </a:cubicBezTo>
                <a:cubicBezTo>
                  <a:pt x="1601" y="21"/>
                  <a:pt x="1601" y="21"/>
                  <a:pt x="1601" y="21"/>
                </a:cubicBezTo>
                <a:cubicBezTo>
                  <a:pt x="1466" y="2"/>
                  <a:pt x="1466" y="2"/>
                  <a:pt x="1466" y="2"/>
                </a:cubicBezTo>
                <a:cubicBezTo>
                  <a:pt x="1431" y="115"/>
                  <a:pt x="1431" y="115"/>
                  <a:pt x="1431" y="115"/>
                </a:cubicBezTo>
                <a:cubicBezTo>
                  <a:pt x="1381" y="112"/>
                  <a:pt x="1332" y="111"/>
                  <a:pt x="1283" y="114"/>
                </a:cubicBezTo>
                <a:cubicBezTo>
                  <a:pt x="1250" y="0"/>
                  <a:pt x="1250" y="0"/>
                  <a:pt x="1250" y="0"/>
                </a:cubicBezTo>
                <a:cubicBezTo>
                  <a:pt x="1114" y="16"/>
                  <a:pt x="1114" y="16"/>
                  <a:pt x="1114" y="16"/>
                </a:cubicBezTo>
                <a:cubicBezTo>
                  <a:pt x="1109" y="135"/>
                  <a:pt x="1109" y="135"/>
                  <a:pt x="1109" y="135"/>
                </a:cubicBezTo>
                <a:cubicBezTo>
                  <a:pt x="1061" y="144"/>
                  <a:pt x="1013" y="157"/>
                  <a:pt x="966" y="172"/>
                </a:cubicBezTo>
                <a:cubicBezTo>
                  <a:pt x="905" y="70"/>
                  <a:pt x="905" y="70"/>
                  <a:pt x="905" y="70"/>
                </a:cubicBezTo>
                <a:cubicBezTo>
                  <a:pt x="778" y="122"/>
                  <a:pt x="778" y="122"/>
                  <a:pt x="778" y="122"/>
                </a:cubicBezTo>
                <a:cubicBezTo>
                  <a:pt x="804" y="237"/>
                  <a:pt x="804" y="237"/>
                  <a:pt x="804" y="237"/>
                </a:cubicBezTo>
                <a:cubicBezTo>
                  <a:pt x="760" y="259"/>
                  <a:pt x="717" y="283"/>
                  <a:pt x="676" y="310"/>
                </a:cubicBezTo>
                <a:cubicBezTo>
                  <a:pt x="590" y="228"/>
                  <a:pt x="590" y="228"/>
                  <a:pt x="590" y="228"/>
                </a:cubicBezTo>
                <a:cubicBezTo>
                  <a:pt x="480" y="310"/>
                  <a:pt x="480" y="310"/>
                  <a:pt x="480" y="310"/>
                </a:cubicBezTo>
                <a:cubicBezTo>
                  <a:pt x="536" y="415"/>
                  <a:pt x="536" y="415"/>
                  <a:pt x="536" y="415"/>
                </a:cubicBezTo>
                <a:cubicBezTo>
                  <a:pt x="499" y="448"/>
                  <a:pt x="464" y="482"/>
                  <a:pt x="431" y="519"/>
                </a:cubicBezTo>
                <a:cubicBezTo>
                  <a:pt x="327" y="461"/>
                  <a:pt x="327" y="461"/>
                  <a:pt x="327" y="461"/>
                </a:cubicBezTo>
                <a:cubicBezTo>
                  <a:pt x="242" y="569"/>
                  <a:pt x="242" y="569"/>
                  <a:pt x="242" y="569"/>
                </a:cubicBezTo>
                <a:cubicBezTo>
                  <a:pt x="323" y="656"/>
                  <a:pt x="323" y="656"/>
                  <a:pt x="323" y="656"/>
                </a:cubicBezTo>
                <a:cubicBezTo>
                  <a:pt x="295" y="697"/>
                  <a:pt x="270" y="740"/>
                  <a:pt x="248" y="784"/>
                </a:cubicBezTo>
                <a:cubicBezTo>
                  <a:pt x="132" y="755"/>
                  <a:pt x="132" y="755"/>
                  <a:pt x="132" y="755"/>
                </a:cubicBezTo>
                <a:cubicBezTo>
                  <a:pt x="79" y="882"/>
                  <a:pt x="79" y="882"/>
                  <a:pt x="79" y="882"/>
                </a:cubicBezTo>
                <a:cubicBezTo>
                  <a:pt x="179" y="945"/>
                  <a:pt x="179" y="945"/>
                  <a:pt x="179" y="945"/>
                </a:cubicBezTo>
                <a:cubicBezTo>
                  <a:pt x="164" y="991"/>
                  <a:pt x="150" y="1038"/>
                  <a:pt x="140" y="1087"/>
                </a:cubicBezTo>
                <a:cubicBezTo>
                  <a:pt x="21" y="1089"/>
                  <a:pt x="21" y="1089"/>
                  <a:pt x="21" y="1089"/>
                </a:cubicBezTo>
                <a:cubicBezTo>
                  <a:pt x="2" y="1225"/>
                  <a:pt x="2" y="1225"/>
                  <a:pt x="2" y="1225"/>
                </a:cubicBezTo>
                <a:cubicBezTo>
                  <a:pt x="116" y="1260"/>
                  <a:pt x="116" y="1260"/>
                  <a:pt x="116" y="1260"/>
                </a:cubicBezTo>
                <a:cubicBezTo>
                  <a:pt x="112" y="1310"/>
                  <a:pt x="112" y="1359"/>
                  <a:pt x="114" y="1408"/>
                </a:cubicBezTo>
                <a:cubicBezTo>
                  <a:pt x="0" y="1441"/>
                  <a:pt x="0" y="1441"/>
                  <a:pt x="0" y="1441"/>
                </a:cubicBezTo>
                <a:cubicBezTo>
                  <a:pt x="17" y="1577"/>
                  <a:pt x="17" y="1577"/>
                  <a:pt x="17" y="1577"/>
                </a:cubicBezTo>
                <a:cubicBezTo>
                  <a:pt x="135" y="1582"/>
                  <a:pt x="135" y="1582"/>
                  <a:pt x="135" y="1582"/>
                </a:cubicBezTo>
                <a:cubicBezTo>
                  <a:pt x="145" y="1630"/>
                  <a:pt x="157" y="1678"/>
                  <a:pt x="172" y="1725"/>
                </a:cubicBezTo>
                <a:cubicBezTo>
                  <a:pt x="71" y="1786"/>
                  <a:pt x="71" y="1786"/>
                  <a:pt x="71" y="1786"/>
                </a:cubicBezTo>
                <a:cubicBezTo>
                  <a:pt x="122" y="1913"/>
                  <a:pt x="122" y="1913"/>
                  <a:pt x="122" y="1913"/>
                </a:cubicBezTo>
                <a:cubicBezTo>
                  <a:pt x="238" y="1887"/>
                  <a:pt x="238" y="1887"/>
                  <a:pt x="238" y="1887"/>
                </a:cubicBezTo>
                <a:cubicBezTo>
                  <a:pt x="259" y="1931"/>
                  <a:pt x="284" y="1974"/>
                  <a:pt x="311" y="2015"/>
                </a:cubicBezTo>
                <a:cubicBezTo>
                  <a:pt x="228" y="2101"/>
                  <a:pt x="228" y="2101"/>
                  <a:pt x="228" y="2101"/>
                </a:cubicBezTo>
                <a:cubicBezTo>
                  <a:pt x="311" y="2210"/>
                  <a:pt x="311" y="2210"/>
                  <a:pt x="311" y="2210"/>
                </a:cubicBezTo>
                <a:cubicBezTo>
                  <a:pt x="416" y="2155"/>
                  <a:pt x="416" y="2155"/>
                  <a:pt x="416" y="2155"/>
                </a:cubicBezTo>
                <a:cubicBezTo>
                  <a:pt x="448" y="2192"/>
                  <a:pt x="483" y="2227"/>
                  <a:pt x="519" y="2260"/>
                </a:cubicBezTo>
                <a:cubicBezTo>
                  <a:pt x="462" y="2364"/>
                  <a:pt x="462" y="2364"/>
                  <a:pt x="462" y="2364"/>
                </a:cubicBezTo>
                <a:cubicBezTo>
                  <a:pt x="570" y="2449"/>
                  <a:pt x="570" y="2449"/>
                  <a:pt x="570" y="2449"/>
                </a:cubicBezTo>
                <a:cubicBezTo>
                  <a:pt x="657" y="2368"/>
                  <a:pt x="657" y="2368"/>
                  <a:pt x="657" y="2368"/>
                </a:cubicBezTo>
                <a:cubicBezTo>
                  <a:pt x="698" y="2396"/>
                  <a:pt x="740" y="2421"/>
                  <a:pt x="784" y="2443"/>
                </a:cubicBezTo>
                <a:cubicBezTo>
                  <a:pt x="756" y="2558"/>
                  <a:pt x="756" y="2558"/>
                  <a:pt x="756" y="2558"/>
                </a:cubicBezTo>
                <a:cubicBezTo>
                  <a:pt x="882" y="2612"/>
                  <a:pt x="882" y="2612"/>
                  <a:pt x="882" y="2612"/>
                </a:cubicBezTo>
                <a:cubicBezTo>
                  <a:pt x="945" y="2512"/>
                  <a:pt x="945" y="2512"/>
                  <a:pt x="945" y="2512"/>
                </a:cubicBezTo>
                <a:cubicBezTo>
                  <a:pt x="991" y="2527"/>
                  <a:pt x="1039" y="2541"/>
                  <a:pt x="1087" y="2551"/>
                </a:cubicBezTo>
                <a:cubicBezTo>
                  <a:pt x="1090" y="2670"/>
                  <a:pt x="1090" y="2670"/>
                  <a:pt x="1090" y="2670"/>
                </a:cubicBezTo>
                <a:cubicBezTo>
                  <a:pt x="1226" y="2689"/>
                  <a:pt x="1226" y="2689"/>
                  <a:pt x="1226" y="2689"/>
                </a:cubicBezTo>
                <a:cubicBezTo>
                  <a:pt x="1261" y="2575"/>
                  <a:pt x="1261" y="2575"/>
                  <a:pt x="1261" y="2575"/>
                </a:cubicBezTo>
                <a:cubicBezTo>
                  <a:pt x="1310" y="2579"/>
                  <a:pt x="1360" y="2579"/>
                  <a:pt x="1408" y="2577"/>
                </a:cubicBezTo>
                <a:cubicBezTo>
                  <a:pt x="1441" y="2691"/>
                  <a:pt x="1441" y="2691"/>
                  <a:pt x="1441" y="2691"/>
                </a:cubicBezTo>
                <a:cubicBezTo>
                  <a:pt x="1577" y="2674"/>
                  <a:pt x="1577" y="2674"/>
                  <a:pt x="1577" y="2674"/>
                </a:cubicBezTo>
                <a:cubicBezTo>
                  <a:pt x="1582" y="2556"/>
                  <a:pt x="1582" y="2556"/>
                  <a:pt x="1582" y="2556"/>
                </a:cubicBezTo>
                <a:cubicBezTo>
                  <a:pt x="1631" y="2546"/>
                  <a:pt x="1678" y="2534"/>
                  <a:pt x="1725" y="2519"/>
                </a:cubicBezTo>
                <a:cubicBezTo>
                  <a:pt x="1786" y="2620"/>
                  <a:pt x="1786" y="2620"/>
                  <a:pt x="1786" y="2620"/>
                </a:cubicBezTo>
                <a:cubicBezTo>
                  <a:pt x="1913" y="2569"/>
                  <a:pt x="1913" y="2569"/>
                  <a:pt x="1913" y="2569"/>
                </a:cubicBezTo>
                <a:cubicBezTo>
                  <a:pt x="1887" y="2453"/>
                  <a:pt x="1887" y="2453"/>
                  <a:pt x="1887" y="2453"/>
                </a:cubicBezTo>
                <a:cubicBezTo>
                  <a:pt x="1931" y="2431"/>
                  <a:pt x="1974" y="2407"/>
                  <a:pt x="2016" y="2380"/>
                </a:cubicBezTo>
                <a:cubicBezTo>
                  <a:pt x="2101" y="2463"/>
                  <a:pt x="2101" y="2463"/>
                  <a:pt x="2101" y="2463"/>
                </a:cubicBezTo>
                <a:cubicBezTo>
                  <a:pt x="2211" y="2380"/>
                  <a:pt x="2211" y="2380"/>
                  <a:pt x="2211" y="2380"/>
                </a:cubicBezTo>
                <a:cubicBezTo>
                  <a:pt x="2155" y="2275"/>
                  <a:pt x="2155" y="2275"/>
                  <a:pt x="2155" y="2275"/>
                </a:cubicBezTo>
                <a:cubicBezTo>
                  <a:pt x="2192" y="2243"/>
                  <a:pt x="2228" y="2208"/>
                  <a:pt x="2261" y="2172"/>
                </a:cubicBezTo>
                <a:cubicBezTo>
                  <a:pt x="2365" y="2229"/>
                  <a:pt x="2365" y="2229"/>
                  <a:pt x="2365" y="2229"/>
                </a:cubicBezTo>
                <a:cubicBezTo>
                  <a:pt x="2449" y="2121"/>
                  <a:pt x="2449" y="2121"/>
                  <a:pt x="2449" y="2121"/>
                </a:cubicBezTo>
                <a:cubicBezTo>
                  <a:pt x="2369" y="2034"/>
                  <a:pt x="2369" y="2034"/>
                  <a:pt x="2369" y="2034"/>
                </a:cubicBezTo>
                <a:cubicBezTo>
                  <a:pt x="2396" y="1993"/>
                  <a:pt x="2421" y="1951"/>
                  <a:pt x="2444" y="1907"/>
                </a:cubicBezTo>
                <a:cubicBezTo>
                  <a:pt x="2559" y="1935"/>
                  <a:pt x="2559" y="1935"/>
                  <a:pt x="2559" y="1935"/>
                </a:cubicBezTo>
                <a:cubicBezTo>
                  <a:pt x="2612" y="1809"/>
                  <a:pt x="2612" y="1809"/>
                  <a:pt x="2612" y="1809"/>
                </a:cubicBezTo>
                <a:cubicBezTo>
                  <a:pt x="2512" y="1746"/>
                  <a:pt x="2512" y="1746"/>
                  <a:pt x="2512" y="1746"/>
                </a:cubicBezTo>
                <a:cubicBezTo>
                  <a:pt x="2528" y="1700"/>
                  <a:pt x="2541" y="1652"/>
                  <a:pt x="2551" y="1603"/>
                </a:cubicBezTo>
                <a:lnTo>
                  <a:pt x="2670" y="1601"/>
                </a:lnTo>
                <a:close/>
                <a:moveTo>
                  <a:pt x="1194" y="2423"/>
                </a:moveTo>
                <a:cubicBezTo>
                  <a:pt x="599" y="2339"/>
                  <a:pt x="184" y="1789"/>
                  <a:pt x="268" y="1193"/>
                </a:cubicBezTo>
                <a:cubicBezTo>
                  <a:pt x="352" y="598"/>
                  <a:pt x="902" y="184"/>
                  <a:pt x="1497" y="268"/>
                </a:cubicBezTo>
                <a:cubicBezTo>
                  <a:pt x="2093" y="352"/>
                  <a:pt x="2507" y="902"/>
                  <a:pt x="2423" y="1497"/>
                </a:cubicBezTo>
                <a:cubicBezTo>
                  <a:pt x="2339" y="2092"/>
                  <a:pt x="1789" y="2507"/>
                  <a:pt x="1194" y="2423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3" name="Freeform 7"/>
          <p:cNvSpPr>
            <a:spLocks noEditPoints="1"/>
          </p:cNvSpPr>
          <p:nvPr/>
        </p:nvSpPr>
        <p:spPr bwMode="auto">
          <a:xfrm>
            <a:off x="3731593" y="2379016"/>
            <a:ext cx="1680815" cy="1680814"/>
          </a:xfrm>
          <a:custGeom>
            <a:avLst/>
            <a:gdLst>
              <a:gd name="T0" fmla="*/ 2695 w 2695"/>
              <a:gd name="T1" fmla="*/ 1279 h 2695"/>
              <a:gd name="T2" fmla="*/ 2558 w 2695"/>
              <a:gd name="T3" fmla="*/ 1114 h 2695"/>
              <a:gd name="T4" fmla="*/ 2631 w 2695"/>
              <a:gd name="T5" fmla="*/ 933 h 2695"/>
              <a:gd name="T6" fmla="*/ 2457 w 2695"/>
              <a:gd name="T7" fmla="*/ 808 h 2695"/>
              <a:gd name="T8" fmla="*/ 2480 w 2695"/>
              <a:gd name="T9" fmla="*/ 615 h 2695"/>
              <a:gd name="T10" fmla="*/ 2279 w 2695"/>
              <a:gd name="T11" fmla="*/ 540 h 2695"/>
              <a:gd name="T12" fmla="*/ 2252 w 2695"/>
              <a:gd name="T13" fmla="*/ 347 h 2695"/>
              <a:gd name="T14" fmla="*/ 2038 w 2695"/>
              <a:gd name="T15" fmla="*/ 326 h 2695"/>
              <a:gd name="T16" fmla="*/ 1962 w 2695"/>
              <a:gd name="T17" fmla="*/ 147 h 2695"/>
              <a:gd name="T18" fmla="*/ 1750 w 2695"/>
              <a:gd name="T19" fmla="*/ 182 h 2695"/>
              <a:gd name="T20" fmla="*/ 1630 w 2695"/>
              <a:gd name="T21" fmla="*/ 29 h 2695"/>
              <a:gd name="T22" fmla="*/ 1435 w 2695"/>
              <a:gd name="T23" fmla="*/ 118 h 2695"/>
              <a:gd name="T24" fmla="*/ 1279 w 2695"/>
              <a:gd name="T25" fmla="*/ 0 h 2695"/>
              <a:gd name="T26" fmla="*/ 1114 w 2695"/>
              <a:gd name="T27" fmla="*/ 137 h 2695"/>
              <a:gd name="T28" fmla="*/ 933 w 2695"/>
              <a:gd name="T29" fmla="*/ 64 h 2695"/>
              <a:gd name="T30" fmla="*/ 808 w 2695"/>
              <a:gd name="T31" fmla="*/ 239 h 2695"/>
              <a:gd name="T32" fmla="*/ 615 w 2695"/>
              <a:gd name="T33" fmla="*/ 215 h 2695"/>
              <a:gd name="T34" fmla="*/ 540 w 2695"/>
              <a:gd name="T35" fmla="*/ 416 h 2695"/>
              <a:gd name="T36" fmla="*/ 347 w 2695"/>
              <a:gd name="T37" fmla="*/ 443 h 2695"/>
              <a:gd name="T38" fmla="*/ 326 w 2695"/>
              <a:gd name="T39" fmla="*/ 657 h 2695"/>
              <a:gd name="T40" fmla="*/ 147 w 2695"/>
              <a:gd name="T41" fmla="*/ 733 h 2695"/>
              <a:gd name="T42" fmla="*/ 182 w 2695"/>
              <a:gd name="T43" fmla="*/ 945 h 2695"/>
              <a:gd name="T44" fmla="*/ 29 w 2695"/>
              <a:gd name="T45" fmla="*/ 1065 h 2695"/>
              <a:gd name="T46" fmla="*/ 118 w 2695"/>
              <a:gd name="T47" fmla="*/ 1260 h 2695"/>
              <a:gd name="T48" fmla="*/ 0 w 2695"/>
              <a:gd name="T49" fmla="*/ 1416 h 2695"/>
              <a:gd name="T50" fmla="*/ 137 w 2695"/>
              <a:gd name="T51" fmla="*/ 1582 h 2695"/>
              <a:gd name="T52" fmla="*/ 64 w 2695"/>
              <a:gd name="T53" fmla="*/ 1763 h 2695"/>
              <a:gd name="T54" fmla="*/ 239 w 2695"/>
              <a:gd name="T55" fmla="*/ 1887 h 2695"/>
              <a:gd name="T56" fmla="*/ 215 w 2695"/>
              <a:gd name="T57" fmla="*/ 2081 h 2695"/>
              <a:gd name="T58" fmla="*/ 416 w 2695"/>
              <a:gd name="T59" fmla="*/ 2155 h 2695"/>
              <a:gd name="T60" fmla="*/ 443 w 2695"/>
              <a:gd name="T61" fmla="*/ 2349 h 2695"/>
              <a:gd name="T62" fmla="*/ 657 w 2695"/>
              <a:gd name="T63" fmla="*/ 2369 h 2695"/>
              <a:gd name="T64" fmla="*/ 733 w 2695"/>
              <a:gd name="T65" fmla="*/ 2549 h 2695"/>
              <a:gd name="T66" fmla="*/ 945 w 2695"/>
              <a:gd name="T67" fmla="*/ 2513 h 2695"/>
              <a:gd name="T68" fmla="*/ 1065 w 2695"/>
              <a:gd name="T69" fmla="*/ 2667 h 2695"/>
              <a:gd name="T70" fmla="*/ 1260 w 2695"/>
              <a:gd name="T71" fmla="*/ 2578 h 2695"/>
              <a:gd name="T72" fmla="*/ 1416 w 2695"/>
              <a:gd name="T73" fmla="*/ 2695 h 2695"/>
              <a:gd name="T74" fmla="*/ 1582 w 2695"/>
              <a:gd name="T75" fmla="*/ 2558 h 2695"/>
              <a:gd name="T76" fmla="*/ 1763 w 2695"/>
              <a:gd name="T77" fmla="*/ 2631 h 2695"/>
              <a:gd name="T78" fmla="*/ 1887 w 2695"/>
              <a:gd name="T79" fmla="*/ 2457 h 2695"/>
              <a:gd name="T80" fmla="*/ 2081 w 2695"/>
              <a:gd name="T81" fmla="*/ 2480 h 2695"/>
              <a:gd name="T82" fmla="*/ 2156 w 2695"/>
              <a:gd name="T83" fmla="*/ 2279 h 2695"/>
              <a:gd name="T84" fmla="*/ 2349 w 2695"/>
              <a:gd name="T85" fmla="*/ 2252 h 2695"/>
              <a:gd name="T86" fmla="*/ 2369 w 2695"/>
              <a:gd name="T87" fmla="*/ 2038 h 2695"/>
              <a:gd name="T88" fmla="*/ 2549 w 2695"/>
              <a:gd name="T89" fmla="*/ 1962 h 2695"/>
              <a:gd name="T90" fmla="*/ 2513 w 2695"/>
              <a:gd name="T91" fmla="*/ 1750 h 2695"/>
              <a:gd name="T92" fmla="*/ 2667 w 2695"/>
              <a:gd name="T93" fmla="*/ 1630 h 2695"/>
              <a:gd name="T94" fmla="*/ 2578 w 2695"/>
              <a:gd name="T95" fmla="*/ 1435 h 2695"/>
              <a:gd name="T96" fmla="*/ 1348 w 2695"/>
              <a:gd name="T97" fmla="*/ 2436 h 2695"/>
              <a:gd name="T98" fmla="*/ 1348 w 2695"/>
              <a:gd name="T99" fmla="*/ 259 h 2695"/>
              <a:gd name="T100" fmla="*/ 1348 w 2695"/>
              <a:gd name="T101" fmla="*/ 2436 h 26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5" h="2695">
                <a:moveTo>
                  <a:pt x="2695" y="1416"/>
                </a:moveTo>
                <a:cubicBezTo>
                  <a:pt x="2695" y="1279"/>
                  <a:pt x="2695" y="1279"/>
                  <a:pt x="2695" y="1279"/>
                </a:cubicBezTo>
                <a:cubicBezTo>
                  <a:pt x="2578" y="1260"/>
                  <a:pt x="2578" y="1260"/>
                  <a:pt x="2578" y="1260"/>
                </a:cubicBezTo>
                <a:cubicBezTo>
                  <a:pt x="2574" y="1210"/>
                  <a:pt x="2568" y="1162"/>
                  <a:pt x="2558" y="1114"/>
                </a:cubicBezTo>
                <a:cubicBezTo>
                  <a:pt x="2667" y="1065"/>
                  <a:pt x="2667" y="1065"/>
                  <a:pt x="2667" y="1065"/>
                </a:cubicBezTo>
                <a:cubicBezTo>
                  <a:pt x="2631" y="933"/>
                  <a:pt x="2631" y="933"/>
                  <a:pt x="2631" y="933"/>
                </a:cubicBezTo>
                <a:cubicBezTo>
                  <a:pt x="2513" y="945"/>
                  <a:pt x="2513" y="945"/>
                  <a:pt x="2513" y="945"/>
                </a:cubicBezTo>
                <a:cubicBezTo>
                  <a:pt x="2497" y="898"/>
                  <a:pt x="2478" y="852"/>
                  <a:pt x="2457" y="808"/>
                </a:cubicBezTo>
                <a:cubicBezTo>
                  <a:pt x="2549" y="733"/>
                  <a:pt x="2549" y="733"/>
                  <a:pt x="2549" y="733"/>
                </a:cubicBezTo>
                <a:cubicBezTo>
                  <a:pt x="2480" y="615"/>
                  <a:pt x="2480" y="615"/>
                  <a:pt x="2480" y="615"/>
                </a:cubicBezTo>
                <a:cubicBezTo>
                  <a:pt x="2369" y="657"/>
                  <a:pt x="2369" y="657"/>
                  <a:pt x="2369" y="657"/>
                </a:cubicBezTo>
                <a:cubicBezTo>
                  <a:pt x="2341" y="616"/>
                  <a:pt x="2311" y="577"/>
                  <a:pt x="2279" y="540"/>
                </a:cubicBezTo>
                <a:cubicBezTo>
                  <a:pt x="2349" y="443"/>
                  <a:pt x="2349" y="443"/>
                  <a:pt x="2349" y="443"/>
                </a:cubicBezTo>
                <a:cubicBezTo>
                  <a:pt x="2252" y="347"/>
                  <a:pt x="2252" y="347"/>
                  <a:pt x="2252" y="347"/>
                </a:cubicBezTo>
                <a:cubicBezTo>
                  <a:pt x="2156" y="416"/>
                  <a:pt x="2156" y="416"/>
                  <a:pt x="2156" y="416"/>
                </a:cubicBezTo>
                <a:cubicBezTo>
                  <a:pt x="2118" y="384"/>
                  <a:pt x="2079" y="354"/>
                  <a:pt x="2038" y="326"/>
                </a:cubicBezTo>
                <a:cubicBezTo>
                  <a:pt x="2081" y="215"/>
                  <a:pt x="2081" y="215"/>
                  <a:pt x="2081" y="215"/>
                </a:cubicBezTo>
                <a:cubicBezTo>
                  <a:pt x="1962" y="147"/>
                  <a:pt x="1962" y="147"/>
                  <a:pt x="1962" y="147"/>
                </a:cubicBezTo>
                <a:cubicBezTo>
                  <a:pt x="1887" y="239"/>
                  <a:pt x="1887" y="239"/>
                  <a:pt x="1887" y="239"/>
                </a:cubicBezTo>
                <a:cubicBezTo>
                  <a:pt x="1843" y="217"/>
                  <a:pt x="1797" y="198"/>
                  <a:pt x="1750" y="182"/>
                </a:cubicBezTo>
                <a:cubicBezTo>
                  <a:pt x="1763" y="64"/>
                  <a:pt x="1763" y="64"/>
                  <a:pt x="1763" y="64"/>
                </a:cubicBezTo>
                <a:cubicBezTo>
                  <a:pt x="1630" y="29"/>
                  <a:pt x="1630" y="29"/>
                  <a:pt x="1630" y="29"/>
                </a:cubicBezTo>
                <a:cubicBezTo>
                  <a:pt x="1582" y="137"/>
                  <a:pt x="1582" y="137"/>
                  <a:pt x="1582" y="137"/>
                </a:cubicBezTo>
                <a:cubicBezTo>
                  <a:pt x="1534" y="128"/>
                  <a:pt x="1485" y="121"/>
                  <a:pt x="1435" y="118"/>
                </a:cubicBezTo>
                <a:cubicBezTo>
                  <a:pt x="1416" y="0"/>
                  <a:pt x="1416" y="0"/>
                  <a:pt x="1416" y="0"/>
                </a:cubicBezTo>
                <a:cubicBezTo>
                  <a:pt x="1279" y="0"/>
                  <a:pt x="1279" y="0"/>
                  <a:pt x="1279" y="0"/>
                </a:cubicBezTo>
                <a:cubicBezTo>
                  <a:pt x="1260" y="118"/>
                  <a:pt x="1260" y="118"/>
                  <a:pt x="1260" y="118"/>
                </a:cubicBezTo>
                <a:cubicBezTo>
                  <a:pt x="1211" y="121"/>
                  <a:pt x="1162" y="128"/>
                  <a:pt x="1114" y="137"/>
                </a:cubicBezTo>
                <a:cubicBezTo>
                  <a:pt x="1065" y="29"/>
                  <a:pt x="1065" y="29"/>
                  <a:pt x="1065" y="29"/>
                </a:cubicBezTo>
                <a:cubicBezTo>
                  <a:pt x="933" y="64"/>
                  <a:pt x="933" y="64"/>
                  <a:pt x="933" y="64"/>
                </a:cubicBezTo>
                <a:cubicBezTo>
                  <a:pt x="945" y="182"/>
                  <a:pt x="945" y="182"/>
                  <a:pt x="945" y="182"/>
                </a:cubicBezTo>
                <a:cubicBezTo>
                  <a:pt x="898" y="198"/>
                  <a:pt x="852" y="217"/>
                  <a:pt x="808" y="239"/>
                </a:cubicBezTo>
                <a:cubicBezTo>
                  <a:pt x="733" y="147"/>
                  <a:pt x="733" y="147"/>
                  <a:pt x="733" y="147"/>
                </a:cubicBezTo>
                <a:cubicBezTo>
                  <a:pt x="615" y="215"/>
                  <a:pt x="615" y="215"/>
                  <a:pt x="615" y="215"/>
                </a:cubicBezTo>
                <a:cubicBezTo>
                  <a:pt x="657" y="326"/>
                  <a:pt x="657" y="326"/>
                  <a:pt x="657" y="326"/>
                </a:cubicBezTo>
                <a:cubicBezTo>
                  <a:pt x="616" y="354"/>
                  <a:pt x="577" y="384"/>
                  <a:pt x="540" y="416"/>
                </a:cubicBezTo>
                <a:cubicBezTo>
                  <a:pt x="443" y="347"/>
                  <a:pt x="443" y="347"/>
                  <a:pt x="443" y="347"/>
                </a:cubicBezTo>
                <a:cubicBezTo>
                  <a:pt x="347" y="443"/>
                  <a:pt x="347" y="443"/>
                  <a:pt x="347" y="443"/>
                </a:cubicBezTo>
                <a:cubicBezTo>
                  <a:pt x="416" y="540"/>
                  <a:pt x="416" y="540"/>
                  <a:pt x="416" y="540"/>
                </a:cubicBezTo>
                <a:cubicBezTo>
                  <a:pt x="384" y="577"/>
                  <a:pt x="354" y="616"/>
                  <a:pt x="326" y="657"/>
                </a:cubicBezTo>
                <a:cubicBezTo>
                  <a:pt x="215" y="615"/>
                  <a:pt x="215" y="615"/>
                  <a:pt x="215" y="615"/>
                </a:cubicBezTo>
                <a:cubicBezTo>
                  <a:pt x="147" y="733"/>
                  <a:pt x="147" y="733"/>
                  <a:pt x="147" y="733"/>
                </a:cubicBezTo>
                <a:cubicBezTo>
                  <a:pt x="239" y="808"/>
                  <a:pt x="239" y="808"/>
                  <a:pt x="239" y="808"/>
                </a:cubicBezTo>
                <a:cubicBezTo>
                  <a:pt x="217" y="852"/>
                  <a:pt x="198" y="898"/>
                  <a:pt x="182" y="945"/>
                </a:cubicBezTo>
                <a:cubicBezTo>
                  <a:pt x="64" y="933"/>
                  <a:pt x="64" y="933"/>
                  <a:pt x="64" y="933"/>
                </a:cubicBezTo>
                <a:cubicBezTo>
                  <a:pt x="29" y="1065"/>
                  <a:pt x="29" y="1065"/>
                  <a:pt x="29" y="1065"/>
                </a:cubicBezTo>
                <a:cubicBezTo>
                  <a:pt x="137" y="1114"/>
                  <a:pt x="137" y="1114"/>
                  <a:pt x="137" y="1114"/>
                </a:cubicBezTo>
                <a:cubicBezTo>
                  <a:pt x="128" y="1162"/>
                  <a:pt x="121" y="1210"/>
                  <a:pt x="118" y="1260"/>
                </a:cubicBezTo>
                <a:cubicBezTo>
                  <a:pt x="0" y="1279"/>
                  <a:pt x="0" y="1279"/>
                  <a:pt x="0" y="1279"/>
                </a:cubicBezTo>
                <a:cubicBezTo>
                  <a:pt x="0" y="1416"/>
                  <a:pt x="0" y="1416"/>
                  <a:pt x="0" y="1416"/>
                </a:cubicBezTo>
                <a:cubicBezTo>
                  <a:pt x="118" y="1435"/>
                  <a:pt x="118" y="1435"/>
                  <a:pt x="118" y="1435"/>
                </a:cubicBezTo>
                <a:cubicBezTo>
                  <a:pt x="121" y="1485"/>
                  <a:pt x="128" y="1534"/>
                  <a:pt x="137" y="1582"/>
                </a:cubicBezTo>
                <a:cubicBezTo>
                  <a:pt x="29" y="1630"/>
                  <a:pt x="29" y="1630"/>
                  <a:pt x="29" y="1630"/>
                </a:cubicBezTo>
                <a:cubicBezTo>
                  <a:pt x="64" y="1763"/>
                  <a:pt x="64" y="1763"/>
                  <a:pt x="64" y="1763"/>
                </a:cubicBezTo>
                <a:cubicBezTo>
                  <a:pt x="182" y="1750"/>
                  <a:pt x="182" y="1750"/>
                  <a:pt x="182" y="1750"/>
                </a:cubicBezTo>
                <a:cubicBezTo>
                  <a:pt x="198" y="1797"/>
                  <a:pt x="217" y="1843"/>
                  <a:pt x="239" y="1887"/>
                </a:cubicBezTo>
                <a:cubicBezTo>
                  <a:pt x="147" y="1962"/>
                  <a:pt x="147" y="1962"/>
                  <a:pt x="147" y="1962"/>
                </a:cubicBezTo>
                <a:cubicBezTo>
                  <a:pt x="215" y="2081"/>
                  <a:pt x="215" y="2081"/>
                  <a:pt x="215" y="2081"/>
                </a:cubicBezTo>
                <a:cubicBezTo>
                  <a:pt x="326" y="2038"/>
                  <a:pt x="326" y="2038"/>
                  <a:pt x="326" y="2038"/>
                </a:cubicBezTo>
                <a:cubicBezTo>
                  <a:pt x="354" y="2079"/>
                  <a:pt x="384" y="2118"/>
                  <a:pt x="416" y="2155"/>
                </a:cubicBezTo>
                <a:cubicBezTo>
                  <a:pt x="347" y="2252"/>
                  <a:pt x="347" y="2252"/>
                  <a:pt x="347" y="2252"/>
                </a:cubicBezTo>
                <a:cubicBezTo>
                  <a:pt x="443" y="2349"/>
                  <a:pt x="443" y="2349"/>
                  <a:pt x="443" y="2349"/>
                </a:cubicBezTo>
                <a:cubicBezTo>
                  <a:pt x="540" y="2279"/>
                  <a:pt x="540" y="2279"/>
                  <a:pt x="540" y="2279"/>
                </a:cubicBezTo>
                <a:cubicBezTo>
                  <a:pt x="577" y="2311"/>
                  <a:pt x="616" y="2341"/>
                  <a:pt x="657" y="2369"/>
                </a:cubicBezTo>
                <a:cubicBezTo>
                  <a:pt x="615" y="2480"/>
                  <a:pt x="615" y="2480"/>
                  <a:pt x="615" y="2480"/>
                </a:cubicBezTo>
                <a:cubicBezTo>
                  <a:pt x="733" y="2549"/>
                  <a:pt x="733" y="2549"/>
                  <a:pt x="733" y="2549"/>
                </a:cubicBezTo>
                <a:cubicBezTo>
                  <a:pt x="808" y="2457"/>
                  <a:pt x="808" y="2457"/>
                  <a:pt x="808" y="2457"/>
                </a:cubicBezTo>
                <a:cubicBezTo>
                  <a:pt x="852" y="2478"/>
                  <a:pt x="898" y="2497"/>
                  <a:pt x="945" y="2513"/>
                </a:cubicBezTo>
                <a:cubicBezTo>
                  <a:pt x="933" y="2631"/>
                  <a:pt x="933" y="2631"/>
                  <a:pt x="933" y="2631"/>
                </a:cubicBezTo>
                <a:cubicBezTo>
                  <a:pt x="1065" y="2667"/>
                  <a:pt x="1065" y="2667"/>
                  <a:pt x="1065" y="2667"/>
                </a:cubicBezTo>
                <a:cubicBezTo>
                  <a:pt x="1114" y="2558"/>
                  <a:pt x="1114" y="2558"/>
                  <a:pt x="1114" y="2558"/>
                </a:cubicBezTo>
                <a:cubicBezTo>
                  <a:pt x="1162" y="2568"/>
                  <a:pt x="1211" y="2574"/>
                  <a:pt x="1260" y="2578"/>
                </a:cubicBezTo>
                <a:cubicBezTo>
                  <a:pt x="1279" y="2695"/>
                  <a:pt x="1279" y="2695"/>
                  <a:pt x="1279" y="2695"/>
                </a:cubicBezTo>
                <a:cubicBezTo>
                  <a:pt x="1416" y="2695"/>
                  <a:pt x="1416" y="2695"/>
                  <a:pt x="1416" y="2695"/>
                </a:cubicBezTo>
                <a:cubicBezTo>
                  <a:pt x="1435" y="2578"/>
                  <a:pt x="1435" y="2578"/>
                  <a:pt x="1435" y="2578"/>
                </a:cubicBezTo>
                <a:cubicBezTo>
                  <a:pt x="1485" y="2574"/>
                  <a:pt x="1534" y="2568"/>
                  <a:pt x="1582" y="2558"/>
                </a:cubicBezTo>
                <a:cubicBezTo>
                  <a:pt x="1630" y="2667"/>
                  <a:pt x="1630" y="2667"/>
                  <a:pt x="1630" y="2667"/>
                </a:cubicBezTo>
                <a:cubicBezTo>
                  <a:pt x="1763" y="2631"/>
                  <a:pt x="1763" y="2631"/>
                  <a:pt x="1763" y="2631"/>
                </a:cubicBezTo>
                <a:cubicBezTo>
                  <a:pt x="1750" y="2513"/>
                  <a:pt x="1750" y="2513"/>
                  <a:pt x="1750" y="2513"/>
                </a:cubicBezTo>
                <a:cubicBezTo>
                  <a:pt x="1797" y="2497"/>
                  <a:pt x="1843" y="2478"/>
                  <a:pt x="1887" y="2457"/>
                </a:cubicBezTo>
                <a:cubicBezTo>
                  <a:pt x="1962" y="2549"/>
                  <a:pt x="1962" y="2549"/>
                  <a:pt x="1962" y="2549"/>
                </a:cubicBezTo>
                <a:cubicBezTo>
                  <a:pt x="2081" y="2480"/>
                  <a:pt x="2081" y="2480"/>
                  <a:pt x="2081" y="2480"/>
                </a:cubicBezTo>
                <a:cubicBezTo>
                  <a:pt x="2038" y="2369"/>
                  <a:pt x="2038" y="2369"/>
                  <a:pt x="2038" y="2369"/>
                </a:cubicBezTo>
                <a:cubicBezTo>
                  <a:pt x="2079" y="2341"/>
                  <a:pt x="2118" y="2311"/>
                  <a:pt x="2156" y="2279"/>
                </a:cubicBezTo>
                <a:cubicBezTo>
                  <a:pt x="2252" y="2349"/>
                  <a:pt x="2252" y="2349"/>
                  <a:pt x="2252" y="2349"/>
                </a:cubicBezTo>
                <a:cubicBezTo>
                  <a:pt x="2349" y="2252"/>
                  <a:pt x="2349" y="2252"/>
                  <a:pt x="2349" y="2252"/>
                </a:cubicBezTo>
                <a:cubicBezTo>
                  <a:pt x="2279" y="2155"/>
                  <a:pt x="2279" y="2155"/>
                  <a:pt x="2279" y="2155"/>
                </a:cubicBezTo>
                <a:cubicBezTo>
                  <a:pt x="2311" y="2118"/>
                  <a:pt x="2341" y="2079"/>
                  <a:pt x="2369" y="2038"/>
                </a:cubicBezTo>
                <a:cubicBezTo>
                  <a:pt x="2480" y="2081"/>
                  <a:pt x="2480" y="2081"/>
                  <a:pt x="2480" y="2081"/>
                </a:cubicBezTo>
                <a:cubicBezTo>
                  <a:pt x="2549" y="1962"/>
                  <a:pt x="2549" y="1962"/>
                  <a:pt x="2549" y="1962"/>
                </a:cubicBezTo>
                <a:cubicBezTo>
                  <a:pt x="2457" y="1887"/>
                  <a:pt x="2457" y="1887"/>
                  <a:pt x="2457" y="1887"/>
                </a:cubicBezTo>
                <a:cubicBezTo>
                  <a:pt x="2478" y="1843"/>
                  <a:pt x="2497" y="1797"/>
                  <a:pt x="2513" y="1750"/>
                </a:cubicBezTo>
                <a:cubicBezTo>
                  <a:pt x="2631" y="1763"/>
                  <a:pt x="2631" y="1763"/>
                  <a:pt x="2631" y="1763"/>
                </a:cubicBezTo>
                <a:cubicBezTo>
                  <a:pt x="2667" y="1630"/>
                  <a:pt x="2667" y="1630"/>
                  <a:pt x="2667" y="1630"/>
                </a:cubicBezTo>
                <a:cubicBezTo>
                  <a:pt x="2558" y="1582"/>
                  <a:pt x="2558" y="1582"/>
                  <a:pt x="2558" y="1582"/>
                </a:cubicBezTo>
                <a:cubicBezTo>
                  <a:pt x="2568" y="1534"/>
                  <a:pt x="2574" y="1485"/>
                  <a:pt x="2578" y="1435"/>
                </a:cubicBezTo>
                <a:lnTo>
                  <a:pt x="2695" y="1416"/>
                </a:lnTo>
                <a:close/>
                <a:moveTo>
                  <a:pt x="1348" y="2436"/>
                </a:moveTo>
                <a:cubicBezTo>
                  <a:pt x="747" y="2436"/>
                  <a:pt x="259" y="1949"/>
                  <a:pt x="259" y="1348"/>
                </a:cubicBezTo>
                <a:cubicBezTo>
                  <a:pt x="259" y="747"/>
                  <a:pt x="747" y="259"/>
                  <a:pt x="1348" y="259"/>
                </a:cubicBezTo>
                <a:cubicBezTo>
                  <a:pt x="1949" y="259"/>
                  <a:pt x="2436" y="747"/>
                  <a:pt x="2436" y="1348"/>
                </a:cubicBezTo>
                <a:cubicBezTo>
                  <a:pt x="2436" y="1949"/>
                  <a:pt x="1949" y="2436"/>
                  <a:pt x="1348" y="243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4" name="Freeform 8"/>
          <p:cNvSpPr>
            <a:spLocks noEditPoints="1"/>
          </p:cNvSpPr>
          <p:nvPr/>
        </p:nvSpPr>
        <p:spPr bwMode="auto">
          <a:xfrm>
            <a:off x="6586869" y="2378011"/>
            <a:ext cx="1681819" cy="1682823"/>
          </a:xfrm>
          <a:custGeom>
            <a:avLst/>
            <a:gdLst>
              <a:gd name="T0" fmla="*/ 2694 w 2697"/>
              <a:gd name="T1" fmla="*/ 1253 h 2697"/>
              <a:gd name="T2" fmla="*/ 2555 w 2697"/>
              <a:gd name="T3" fmla="*/ 1090 h 2697"/>
              <a:gd name="T4" fmla="*/ 2624 w 2697"/>
              <a:gd name="T5" fmla="*/ 908 h 2697"/>
              <a:gd name="T6" fmla="*/ 2447 w 2697"/>
              <a:gd name="T7" fmla="*/ 787 h 2697"/>
              <a:gd name="T8" fmla="*/ 2466 w 2697"/>
              <a:gd name="T9" fmla="*/ 593 h 2697"/>
              <a:gd name="T10" fmla="*/ 2264 w 2697"/>
              <a:gd name="T11" fmla="*/ 522 h 2697"/>
              <a:gd name="T12" fmla="*/ 2233 w 2697"/>
              <a:gd name="T13" fmla="*/ 329 h 2697"/>
              <a:gd name="T14" fmla="*/ 2019 w 2697"/>
              <a:gd name="T15" fmla="*/ 313 h 2697"/>
              <a:gd name="T16" fmla="*/ 1939 w 2697"/>
              <a:gd name="T17" fmla="*/ 135 h 2697"/>
              <a:gd name="T18" fmla="*/ 1728 w 2697"/>
              <a:gd name="T19" fmla="*/ 175 h 2697"/>
              <a:gd name="T20" fmla="*/ 1605 w 2697"/>
              <a:gd name="T21" fmla="*/ 24 h 2697"/>
              <a:gd name="T22" fmla="*/ 1411 w 2697"/>
              <a:gd name="T23" fmla="*/ 117 h 2697"/>
              <a:gd name="T24" fmla="*/ 1253 w 2697"/>
              <a:gd name="T25" fmla="*/ 3 h 2697"/>
              <a:gd name="T26" fmla="*/ 1090 w 2697"/>
              <a:gd name="T27" fmla="*/ 143 h 2697"/>
              <a:gd name="T28" fmla="*/ 908 w 2697"/>
              <a:gd name="T29" fmla="*/ 74 h 2697"/>
              <a:gd name="T30" fmla="*/ 787 w 2697"/>
              <a:gd name="T31" fmla="*/ 251 h 2697"/>
              <a:gd name="T32" fmla="*/ 593 w 2697"/>
              <a:gd name="T33" fmla="*/ 231 h 2697"/>
              <a:gd name="T34" fmla="*/ 522 w 2697"/>
              <a:gd name="T35" fmla="*/ 433 h 2697"/>
              <a:gd name="T36" fmla="*/ 330 w 2697"/>
              <a:gd name="T37" fmla="*/ 465 h 2697"/>
              <a:gd name="T38" fmla="*/ 314 w 2697"/>
              <a:gd name="T39" fmla="*/ 679 h 2697"/>
              <a:gd name="T40" fmla="*/ 136 w 2697"/>
              <a:gd name="T41" fmla="*/ 759 h 2697"/>
              <a:gd name="T42" fmla="*/ 175 w 2697"/>
              <a:gd name="T43" fmla="*/ 969 h 2697"/>
              <a:gd name="T44" fmla="*/ 24 w 2697"/>
              <a:gd name="T45" fmla="*/ 1093 h 2697"/>
              <a:gd name="T46" fmla="*/ 117 w 2697"/>
              <a:gd name="T47" fmla="*/ 1286 h 2697"/>
              <a:gd name="T48" fmla="*/ 3 w 2697"/>
              <a:gd name="T49" fmla="*/ 1444 h 2697"/>
              <a:gd name="T50" fmla="*/ 143 w 2697"/>
              <a:gd name="T51" fmla="*/ 1607 h 2697"/>
              <a:gd name="T52" fmla="*/ 74 w 2697"/>
              <a:gd name="T53" fmla="*/ 1789 h 2697"/>
              <a:gd name="T54" fmla="*/ 251 w 2697"/>
              <a:gd name="T55" fmla="*/ 1910 h 2697"/>
              <a:gd name="T56" fmla="*/ 231 w 2697"/>
              <a:gd name="T57" fmla="*/ 2104 h 2697"/>
              <a:gd name="T58" fmla="*/ 434 w 2697"/>
              <a:gd name="T59" fmla="*/ 2175 h 2697"/>
              <a:gd name="T60" fmla="*/ 465 w 2697"/>
              <a:gd name="T61" fmla="*/ 2368 h 2697"/>
              <a:gd name="T62" fmla="*/ 679 w 2697"/>
              <a:gd name="T63" fmla="*/ 2384 h 2697"/>
              <a:gd name="T64" fmla="*/ 759 w 2697"/>
              <a:gd name="T65" fmla="*/ 2562 h 2697"/>
              <a:gd name="T66" fmla="*/ 969 w 2697"/>
              <a:gd name="T67" fmla="*/ 2522 h 2697"/>
              <a:gd name="T68" fmla="*/ 1093 w 2697"/>
              <a:gd name="T69" fmla="*/ 2673 h 2697"/>
              <a:gd name="T70" fmla="*/ 1286 w 2697"/>
              <a:gd name="T71" fmla="*/ 2580 h 2697"/>
              <a:gd name="T72" fmla="*/ 1444 w 2697"/>
              <a:gd name="T73" fmla="*/ 2694 h 2697"/>
              <a:gd name="T74" fmla="*/ 1607 w 2697"/>
              <a:gd name="T75" fmla="*/ 2554 h 2697"/>
              <a:gd name="T76" fmla="*/ 1789 w 2697"/>
              <a:gd name="T77" fmla="*/ 2624 h 2697"/>
              <a:gd name="T78" fmla="*/ 1910 w 2697"/>
              <a:gd name="T79" fmla="*/ 2447 h 2697"/>
              <a:gd name="T80" fmla="*/ 2104 w 2697"/>
              <a:gd name="T81" fmla="*/ 2466 h 2697"/>
              <a:gd name="T82" fmla="*/ 2175 w 2697"/>
              <a:gd name="T83" fmla="*/ 2264 h 2697"/>
              <a:gd name="T84" fmla="*/ 2368 w 2697"/>
              <a:gd name="T85" fmla="*/ 2232 h 2697"/>
              <a:gd name="T86" fmla="*/ 2384 w 2697"/>
              <a:gd name="T87" fmla="*/ 2019 h 2697"/>
              <a:gd name="T88" fmla="*/ 2562 w 2697"/>
              <a:gd name="T89" fmla="*/ 1939 h 2697"/>
              <a:gd name="T90" fmla="*/ 2522 w 2697"/>
              <a:gd name="T91" fmla="*/ 1728 h 2697"/>
              <a:gd name="T92" fmla="*/ 2673 w 2697"/>
              <a:gd name="T93" fmla="*/ 1604 h 2697"/>
              <a:gd name="T94" fmla="*/ 2580 w 2697"/>
              <a:gd name="T95" fmla="*/ 1411 h 2697"/>
              <a:gd name="T96" fmla="*/ 1371 w 2697"/>
              <a:gd name="T97" fmla="*/ 2437 h 2697"/>
              <a:gd name="T98" fmla="*/ 1327 w 2697"/>
              <a:gd name="T99" fmla="*/ 261 h 2697"/>
              <a:gd name="T100" fmla="*/ 1371 w 2697"/>
              <a:gd name="T101" fmla="*/ 2437 h 26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7" h="2697">
                <a:moveTo>
                  <a:pt x="2697" y="1390"/>
                </a:moveTo>
                <a:cubicBezTo>
                  <a:pt x="2694" y="1253"/>
                  <a:pt x="2694" y="1253"/>
                  <a:pt x="2694" y="1253"/>
                </a:cubicBezTo>
                <a:cubicBezTo>
                  <a:pt x="2577" y="1236"/>
                  <a:pt x="2577" y="1236"/>
                  <a:pt x="2577" y="1236"/>
                </a:cubicBezTo>
                <a:cubicBezTo>
                  <a:pt x="2572" y="1187"/>
                  <a:pt x="2565" y="1138"/>
                  <a:pt x="2555" y="1090"/>
                </a:cubicBezTo>
                <a:cubicBezTo>
                  <a:pt x="2662" y="1040"/>
                  <a:pt x="2662" y="1040"/>
                  <a:pt x="2662" y="1040"/>
                </a:cubicBezTo>
                <a:cubicBezTo>
                  <a:pt x="2624" y="908"/>
                  <a:pt x="2624" y="908"/>
                  <a:pt x="2624" y="908"/>
                </a:cubicBezTo>
                <a:cubicBezTo>
                  <a:pt x="2506" y="922"/>
                  <a:pt x="2506" y="922"/>
                  <a:pt x="2506" y="922"/>
                </a:cubicBezTo>
                <a:cubicBezTo>
                  <a:pt x="2489" y="876"/>
                  <a:pt x="2469" y="831"/>
                  <a:pt x="2447" y="787"/>
                </a:cubicBezTo>
                <a:cubicBezTo>
                  <a:pt x="2537" y="710"/>
                  <a:pt x="2537" y="710"/>
                  <a:pt x="2537" y="710"/>
                </a:cubicBezTo>
                <a:cubicBezTo>
                  <a:pt x="2466" y="593"/>
                  <a:pt x="2466" y="593"/>
                  <a:pt x="2466" y="593"/>
                </a:cubicBezTo>
                <a:cubicBezTo>
                  <a:pt x="2356" y="637"/>
                  <a:pt x="2356" y="637"/>
                  <a:pt x="2356" y="637"/>
                </a:cubicBezTo>
                <a:cubicBezTo>
                  <a:pt x="2328" y="597"/>
                  <a:pt x="2297" y="559"/>
                  <a:pt x="2264" y="522"/>
                </a:cubicBezTo>
                <a:cubicBezTo>
                  <a:pt x="2331" y="424"/>
                  <a:pt x="2331" y="424"/>
                  <a:pt x="2331" y="424"/>
                </a:cubicBezTo>
                <a:cubicBezTo>
                  <a:pt x="2233" y="329"/>
                  <a:pt x="2233" y="329"/>
                  <a:pt x="2233" y="329"/>
                </a:cubicBezTo>
                <a:cubicBezTo>
                  <a:pt x="2138" y="401"/>
                  <a:pt x="2138" y="401"/>
                  <a:pt x="2138" y="401"/>
                </a:cubicBezTo>
                <a:cubicBezTo>
                  <a:pt x="2100" y="369"/>
                  <a:pt x="2060" y="340"/>
                  <a:pt x="2019" y="313"/>
                </a:cubicBezTo>
                <a:cubicBezTo>
                  <a:pt x="2059" y="202"/>
                  <a:pt x="2059" y="202"/>
                  <a:pt x="2059" y="202"/>
                </a:cubicBezTo>
                <a:cubicBezTo>
                  <a:pt x="1939" y="135"/>
                  <a:pt x="1939" y="135"/>
                  <a:pt x="1939" y="135"/>
                </a:cubicBezTo>
                <a:cubicBezTo>
                  <a:pt x="1866" y="229"/>
                  <a:pt x="1866" y="229"/>
                  <a:pt x="1866" y="229"/>
                </a:cubicBezTo>
                <a:cubicBezTo>
                  <a:pt x="1821" y="208"/>
                  <a:pt x="1775" y="190"/>
                  <a:pt x="1728" y="175"/>
                </a:cubicBezTo>
                <a:cubicBezTo>
                  <a:pt x="1738" y="57"/>
                  <a:pt x="1738" y="57"/>
                  <a:pt x="1738" y="57"/>
                </a:cubicBezTo>
                <a:cubicBezTo>
                  <a:pt x="1605" y="24"/>
                  <a:pt x="1605" y="24"/>
                  <a:pt x="1605" y="24"/>
                </a:cubicBezTo>
                <a:cubicBezTo>
                  <a:pt x="1558" y="133"/>
                  <a:pt x="1558" y="133"/>
                  <a:pt x="1558" y="133"/>
                </a:cubicBezTo>
                <a:cubicBezTo>
                  <a:pt x="1510" y="125"/>
                  <a:pt x="1461" y="120"/>
                  <a:pt x="1411" y="117"/>
                </a:cubicBezTo>
                <a:cubicBezTo>
                  <a:pt x="1390" y="0"/>
                  <a:pt x="1390" y="0"/>
                  <a:pt x="1390" y="0"/>
                </a:cubicBezTo>
                <a:cubicBezTo>
                  <a:pt x="1253" y="3"/>
                  <a:pt x="1253" y="3"/>
                  <a:pt x="1253" y="3"/>
                </a:cubicBezTo>
                <a:cubicBezTo>
                  <a:pt x="1237" y="121"/>
                  <a:pt x="1237" y="121"/>
                  <a:pt x="1237" y="121"/>
                </a:cubicBezTo>
                <a:cubicBezTo>
                  <a:pt x="1187" y="125"/>
                  <a:pt x="1138" y="133"/>
                  <a:pt x="1090" y="143"/>
                </a:cubicBezTo>
                <a:cubicBezTo>
                  <a:pt x="1040" y="35"/>
                  <a:pt x="1040" y="35"/>
                  <a:pt x="1040" y="35"/>
                </a:cubicBezTo>
                <a:cubicBezTo>
                  <a:pt x="908" y="74"/>
                  <a:pt x="908" y="74"/>
                  <a:pt x="908" y="74"/>
                </a:cubicBezTo>
                <a:cubicBezTo>
                  <a:pt x="922" y="191"/>
                  <a:pt x="922" y="191"/>
                  <a:pt x="922" y="191"/>
                </a:cubicBezTo>
                <a:cubicBezTo>
                  <a:pt x="876" y="208"/>
                  <a:pt x="831" y="228"/>
                  <a:pt x="787" y="251"/>
                </a:cubicBezTo>
                <a:cubicBezTo>
                  <a:pt x="710" y="160"/>
                  <a:pt x="710" y="160"/>
                  <a:pt x="710" y="160"/>
                </a:cubicBezTo>
                <a:cubicBezTo>
                  <a:pt x="593" y="231"/>
                  <a:pt x="593" y="231"/>
                  <a:pt x="593" y="231"/>
                </a:cubicBezTo>
                <a:cubicBezTo>
                  <a:pt x="638" y="341"/>
                  <a:pt x="638" y="341"/>
                  <a:pt x="638" y="341"/>
                </a:cubicBezTo>
                <a:cubicBezTo>
                  <a:pt x="597" y="370"/>
                  <a:pt x="559" y="401"/>
                  <a:pt x="522" y="433"/>
                </a:cubicBezTo>
                <a:cubicBezTo>
                  <a:pt x="425" y="366"/>
                  <a:pt x="425" y="366"/>
                  <a:pt x="425" y="366"/>
                </a:cubicBezTo>
                <a:cubicBezTo>
                  <a:pt x="330" y="465"/>
                  <a:pt x="330" y="465"/>
                  <a:pt x="330" y="465"/>
                </a:cubicBezTo>
                <a:cubicBezTo>
                  <a:pt x="401" y="560"/>
                  <a:pt x="401" y="560"/>
                  <a:pt x="401" y="560"/>
                </a:cubicBezTo>
                <a:cubicBezTo>
                  <a:pt x="370" y="597"/>
                  <a:pt x="340" y="637"/>
                  <a:pt x="314" y="679"/>
                </a:cubicBezTo>
                <a:cubicBezTo>
                  <a:pt x="202" y="639"/>
                  <a:pt x="202" y="639"/>
                  <a:pt x="202" y="639"/>
                </a:cubicBezTo>
                <a:cubicBezTo>
                  <a:pt x="136" y="759"/>
                  <a:pt x="136" y="759"/>
                  <a:pt x="136" y="759"/>
                </a:cubicBezTo>
                <a:cubicBezTo>
                  <a:pt x="229" y="832"/>
                  <a:pt x="229" y="832"/>
                  <a:pt x="229" y="832"/>
                </a:cubicBezTo>
                <a:cubicBezTo>
                  <a:pt x="208" y="876"/>
                  <a:pt x="190" y="922"/>
                  <a:pt x="175" y="969"/>
                </a:cubicBezTo>
                <a:cubicBezTo>
                  <a:pt x="57" y="960"/>
                  <a:pt x="57" y="960"/>
                  <a:pt x="57" y="960"/>
                </a:cubicBezTo>
                <a:cubicBezTo>
                  <a:pt x="24" y="1093"/>
                  <a:pt x="24" y="1093"/>
                  <a:pt x="24" y="1093"/>
                </a:cubicBezTo>
                <a:cubicBezTo>
                  <a:pt x="133" y="1139"/>
                  <a:pt x="133" y="1139"/>
                  <a:pt x="133" y="1139"/>
                </a:cubicBezTo>
                <a:cubicBezTo>
                  <a:pt x="125" y="1187"/>
                  <a:pt x="120" y="1236"/>
                  <a:pt x="117" y="1286"/>
                </a:cubicBezTo>
                <a:cubicBezTo>
                  <a:pt x="0" y="1307"/>
                  <a:pt x="0" y="1307"/>
                  <a:pt x="0" y="1307"/>
                </a:cubicBezTo>
                <a:cubicBezTo>
                  <a:pt x="3" y="1444"/>
                  <a:pt x="3" y="1444"/>
                  <a:pt x="3" y="1444"/>
                </a:cubicBezTo>
                <a:cubicBezTo>
                  <a:pt x="121" y="1461"/>
                  <a:pt x="121" y="1461"/>
                  <a:pt x="121" y="1461"/>
                </a:cubicBezTo>
                <a:cubicBezTo>
                  <a:pt x="125" y="1510"/>
                  <a:pt x="133" y="1559"/>
                  <a:pt x="143" y="1607"/>
                </a:cubicBezTo>
                <a:cubicBezTo>
                  <a:pt x="36" y="1658"/>
                  <a:pt x="36" y="1658"/>
                  <a:pt x="36" y="1658"/>
                </a:cubicBezTo>
                <a:cubicBezTo>
                  <a:pt x="74" y="1789"/>
                  <a:pt x="74" y="1789"/>
                  <a:pt x="74" y="1789"/>
                </a:cubicBezTo>
                <a:cubicBezTo>
                  <a:pt x="191" y="1775"/>
                  <a:pt x="191" y="1775"/>
                  <a:pt x="191" y="1775"/>
                </a:cubicBezTo>
                <a:cubicBezTo>
                  <a:pt x="209" y="1821"/>
                  <a:pt x="228" y="1866"/>
                  <a:pt x="251" y="1910"/>
                </a:cubicBezTo>
                <a:cubicBezTo>
                  <a:pt x="160" y="1987"/>
                  <a:pt x="160" y="1987"/>
                  <a:pt x="160" y="1987"/>
                </a:cubicBezTo>
                <a:cubicBezTo>
                  <a:pt x="231" y="2104"/>
                  <a:pt x="231" y="2104"/>
                  <a:pt x="231" y="2104"/>
                </a:cubicBezTo>
                <a:cubicBezTo>
                  <a:pt x="341" y="2060"/>
                  <a:pt x="341" y="2060"/>
                  <a:pt x="341" y="2060"/>
                </a:cubicBezTo>
                <a:cubicBezTo>
                  <a:pt x="370" y="2100"/>
                  <a:pt x="401" y="2138"/>
                  <a:pt x="434" y="2175"/>
                </a:cubicBezTo>
                <a:cubicBezTo>
                  <a:pt x="366" y="2273"/>
                  <a:pt x="366" y="2273"/>
                  <a:pt x="366" y="2273"/>
                </a:cubicBezTo>
                <a:cubicBezTo>
                  <a:pt x="465" y="2368"/>
                  <a:pt x="465" y="2368"/>
                  <a:pt x="465" y="2368"/>
                </a:cubicBezTo>
                <a:cubicBezTo>
                  <a:pt x="560" y="2296"/>
                  <a:pt x="560" y="2296"/>
                  <a:pt x="560" y="2296"/>
                </a:cubicBezTo>
                <a:cubicBezTo>
                  <a:pt x="598" y="2328"/>
                  <a:pt x="637" y="2357"/>
                  <a:pt x="679" y="2384"/>
                </a:cubicBezTo>
                <a:cubicBezTo>
                  <a:pt x="639" y="2496"/>
                  <a:pt x="639" y="2496"/>
                  <a:pt x="639" y="2496"/>
                </a:cubicBezTo>
                <a:cubicBezTo>
                  <a:pt x="759" y="2562"/>
                  <a:pt x="759" y="2562"/>
                  <a:pt x="759" y="2562"/>
                </a:cubicBezTo>
                <a:cubicBezTo>
                  <a:pt x="832" y="2468"/>
                  <a:pt x="832" y="2468"/>
                  <a:pt x="832" y="2468"/>
                </a:cubicBezTo>
                <a:cubicBezTo>
                  <a:pt x="876" y="2489"/>
                  <a:pt x="922" y="2507"/>
                  <a:pt x="969" y="2522"/>
                </a:cubicBezTo>
                <a:cubicBezTo>
                  <a:pt x="960" y="2640"/>
                  <a:pt x="960" y="2640"/>
                  <a:pt x="960" y="2640"/>
                </a:cubicBezTo>
                <a:cubicBezTo>
                  <a:pt x="1093" y="2673"/>
                  <a:pt x="1093" y="2673"/>
                  <a:pt x="1093" y="2673"/>
                </a:cubicBezTo>
                <a:cubicBezTo>
                  <a:pt x="1139" y="2564"/>
                  <a:pt x="1139" y="2564"/>
                  <a:pt x="1139" y="2564"/>
                </a:cubicBezTo>
                <a:cubicBezTo>
                  <a:pt x="1187" y="2572"/>
                  <a:pt x="1236" y="2577"/>
                  <a:pt x="1286" y="2580"/>
                </a:cubicBezTo>
                <a:cubicBezTo>
                  <a:pt x="1307" y="2697"/>
                  <a:pt x="1307" y="2697"/>
                  <a:pt x="1307" y="2697"/>
                </a:cubicBezTo>
                <a:cubicBezTo>
                  <a:pt x="1444" y="2694"/>
                  <a:pt x="1444" y="2694"/>
                  <a:pt x="1444" y="2694"/>
                </a:cubicBezTo>
                <a:cubicBezTo>
                  <a:pt x="1461" y="2576"/>
                  <a:pt x="1461" y="2576"/>
                  <a:pt x="1461" y="2576"/>
                </a:cubicBezTo>
                <a:cubicBezTo>
                  <a:pt x="1511" y="2572"/>
                  <a:pt x="1559" y="2565"/>
                  <a:pt x="1607" y="2554"/>
                </a:cubicBezTo>
                <a:cubicBezTo>
                  <a:pt x="1658" y="2662"/>
                  <a:pt x="1658" y="2662"/>
                  <a:pt x="1658" y="2662"/>
                </a:cubicBezTo>
                <a:cubicBezTo>
                  <a:pt x="1789" y="2624"/>
                  <a:pt x="1789" y="2624"/>
                  <a:pt x="1789" y="2624"/>
                </a:cubicBezTo>
                <a:cubicBezTo>
                  <a:pt x="1775" y="2506"/>
                  <a:pt x="1775" y="2506"/>
                  <a:pt x="1775" y="2506"/>
                </a:cubicBezTo>
                <a:cubicBezTo>
                  <a:pt x="1821" y="2489"/>
                  <a:pt x="1867" y="2469"/>
                  <a:pt x="1910" y="2447"/>
                </a:cubicBezTo>
                <a:cubicBezTo>
                  <a:pt x="1987" y="2537"/>
                  <a:pt x="1987" y="2537"/>
                  <a:pt x="1987" y="2537"/>
                </a:cubicBezTo>
                <a:cubicBezTo>
                  <a:pt x="2104" y="2466"/>
                  <a:pt x="2104" y="2466"/>
                  <a:pt x="2104" y="2466"/>
                </a:cubicBezTo>
                <a:cubicBezTo>
                  <a:pt x="2060" y="2356"/>
                  <a:pt x="2060" y="2356"/>
                  <a:pt x="2060" y="2356"/>
                </a:cubicBezTo>
                <a:cubicBezTo>
                  <a:pt x="2100" y="2327"/>
                  <a:pt x="2139" y="2297"/>
                  <a:pt x="2175" y="2264"/>
                </a:cubicBezTo>
                <a:cubicBezTo>
                  <a:pt x="2273" y="2331"/>
                  <a:pt x="2273" y="2331"/>
                  <a:pt x="2273" y="2331"/>
                </a:cubicBezTo>
                <a:cubicBezTo>
                  <a:pt x="2368" y="2232"/>
                  <a:pt x="2368" y="2232"/>
                  <a:pt x="2368" y="2232"/>
                </a:cubicBezTo>
                <a:cubicBezTo>
                  <a:pt x="2296" y="2137"/>
                  <a:pt x="2296" y="2137"/>
                  <a:pt x="2296" y="2137"/>
                </a:cubicBezTo>
                <a:cubicBezTo>
                  <a:pt x="2328" y="2100"/>
                  <a:pt x="2357" y="2060"/>
                  <a:pt x="2384" y="2019"/>
                </a:cubicBezTo>
                <a:cubicBezTo>
                  <a:pt x="2496" y="2059"/>
                  <a:pt x="2496" y="2059"/>
                  <a:pt x="2496" y="2059"/>
                </a:cubicBezTo>
                <a:cubicBezTo>
                  <a:pt x="2562" y="1939"/>
                  <a:pt x="2562" y="1939"/>
                  <a:pt x="2562" y="1939"/>
                </a:cubicBezTo>
                <a:cubicBezTo>
                  <a:pt x="2468" y="1865"/>
                  <a:pt x="2468" y="1865"/>
                  <a:pt x="2468" y="1865"/>
                </a:cubicBezTo>
                <a:cubicBezTo>
                  <a:pt x="2489" y="1821"/>
                  <a:pt x="2507" y="1775"/>
                  <a:pt x="2522" y="1728"/>
                </a:cubicBezTo>
                <a:cubicBezTo>
                  <a:pt x="2640" y="1738"/>
                  <a:pt x="2640" y="1738"/>
                  <a:pt x="2640" y="1738"/>
                </a:cubicBezTo>
                <a:cubicBezTo>
                  <a:pt x="2673" y="1604"/>
                  <a:pt x="2673" y="1604"/>
                  <a:pt x="2673" y="1604"/>
                </a:cubicBezTo>
                <a:cubicBezTo>
                  <a:pt x="2564" y="1558"/>
                  <a:pt x="2564" y="1558"/>
                  <a:pt x="2564" y="1558"/>
                </a:cubicBezTo>
                <a:cubicBezTo>
                  <a:pt x="2572" y="1510"/>
                  <a:pt x="2578" y="1461"/>
                  <a:pt x="2580" y="1411"/>
                </a:cubicBezTo>
                <a:lnTo>
                  <a:pt x="2697" y="1390"/>
                </a:lnTo>
                <a:close/>
                <a:moveTo>
                  <a:pt x="1371" y="2437"/>
                </a:moveTo>
                <a:cubicBezTo>
                  <a:pt x="770" y="2449"/>
                  <a:pt x="273" y="1971"/>
                  <a:pt x="261" y="1370"/>
                </a:cubicBezTo>
                <a:cubicBezTo>
                  <a:pt x="249" y="770"/>
                  <a:pt x="726" y="273"/>
                  <a:pt x="1327" y="261"/>
                </a:cubicBezTo>
                <a:cubicBezTo>
                  <a:pt x="1928" y="248"/>
                  <a:pt x="2425" y="726"/>
                  <a:pt x="2437" y="1327"/>
                </a:cubicBezTo>
                <a:cubicBezTo>
                  <a:pt x="2449" y="1928"/>
                  <a:pt x="1971" y="2424"/>
                  <a:pt x="1371" y="243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5" name="Freeform 9"/>
          <p:cNvSpPr>
            <a:spLocks noEditPoints="1"/>
          </p:cNvSpPr>
          <p:nvPr/>
        </p:nvSpPr>
        <p:spPr bwMode="auto">
          <a:xfrm>
            <a:off x="5160236" y="1562219"/>
            <a:ext cx="1678806" cy="1679808"/>
          </a:xfrm>
          <a:custGeom>
            <a:avLst/>
            <a:gdLst>
              <a:gd name="T0" fmla="*/ 2689 w 2691"/>
              <a:gd name="T1" fmla="*/ 1466 h 2691"/>
              <a:gd name="T2" fmla="*/ 2577 w 2691"/>
              <a:gd name="T3" fmla="*/ 1283 h 2691"/>
              <a:gd name="T4" fmla="*/ 2675 w 2691"/>
              <a:gd name="T5" fmla="*/ 1114 h 2691"/>
              <a:gd name="T6" fmla="*/ 2519 w 2691"/>
              <a:gd name="T7" fmla="*/ 966 h 2691"/>
              <a:gd name="T8" fmla="*/ 2569 w 2691"/>
              <a:gd name="T9" fmla="*/ 778 h 2691"/>
              <a:gd name="T10" fmla="*/ 2381 w 2691"/>
              <a:gd name="T11" fmla="*/ 676 h 2691"/>
              <a:gd name="T12" fmla="*/ 2381 w 2691"/>
              <a:gd name="T13" fmla="*/ 481 h 2691"/>
              <a:gd name="T14" fmla="*/ 2172 w 2691"/>
              <a:gd name="T15" fmla="*/ 431 h 2691"/>
              <a:gd name="T16" fmla="*/ 2122 w 2691"/>
              <a:gd name="T17" fmla="*/ 242 h 2691"/>
              <a:gd name="T18" fmla="*/ 1907 w 2691"/>
              <a:gd name="T19" fmla="*/ 248 h 2691"/>
              <a:gd name="T20" fmla="*/ 1809 w 2691"/>
              <a:gd name="T21" fmla="*/ 79 h 2691"/>
              <a:gd name="T22" fmla="*/ 1604 w 2691"/>
              <a:gd name="T23" fmla="*/ 140 h 2691"/>
              <a:gd name="T24" fmla="*/ 1466 w 2691"/>
              <a:gd name="T25" fmla="*/ 2 h 2691"/>
              <a:gd name="T26" fmla="*/ 1283 w 2691"/>
              <a:gd name="T27" fmla="*/ 114 h 2691"/>
              <a:gd name="T28" fmla="*/ 1114 w 2691"/>
              <a:gd name="T29" fmla="*/ 17 h 2691"/>
              <a:gd name="T30" fmla="*/ 966 w 2691"/>
              <a:gd name="T31" fmla="*/ 172 h 2691"/>
              <a:gd name="T32" fmla="*/ 778 w 2691"/>
              <a:gd name="T33" fmla="*/ 122 h 2691"/>
              <a:gd name="T34" fmla="*/ 676 w 2691"/>
              <a:gd name="T35" fmla="*/ 311 h 2691"/>
              <a:gd name="T36" fmla="*/ 481 w 2691"/>
              <a:gd name="T37" fmla="*/ 311 h 2691"/>
              <a:gd name="T38" fmla="*/ 431 w 2691"/>
              <a:gd name="T39" fmla="*/ 519 h 2691"/>
              <a:gd name="T40" fmla="*/ 242 w 2691"/>
              <a:gd name="T41" fmla="*/ 570 h 2691"/>
              <a:gd name="T42" fmla="*/ 248 w 2691"/>
              <a:gd name="T43" fmla="*/ 784 h 2691"/>
              <a:gd name="T44" fmla="*/ 79 w 2691"/>
              <a:gd name="T45" fmla="*/ 882 h 2691"/>
              <a:gd name="T46" fmla="*/ 140 w 2691"/>
              <a:gd name="T47" fmla="*/ 1088 h 2691"/>
              <a:gd name="T48" fmla="*/ 2 w 2691"/>
              <a:gd name="T49" fmla="*/ 1226 h 2691"/>
              <a:gd name="T50" fmla="*/ 114 w 2691"/>
              <a:gd name="T51" fmla="*/ 1408 h 2691"/>
              <a:gd name="T52" fmla="*/ 17 w 2691"/>
              <a:gd name="T53" fmla="*/ 1578 h 2691"/>
              <a:gd name="T54" fmla="*/ 172 w 2691"/>
              <a:gd name="T55" fmla="*/ 1725 h 2691"/>
              <a:gd name="T56" fmla="*/ 122 w 2691"/>
              <a:gd name="T57" fmla="*/ 1914 h 2691"/>
              <a:gd name="T58" fmla="*/ 311 w 2691"/>
              <a:gd name="T59" fmla="*/ 2016 h 2691"/>
              <a:gd name="T60" fmla="*/ 311 w 2691"/>
              <a:gd name="T61" fmla="*/ 2211 h 2691"/>
              <a:gd name="T62" fmla="*/ 519 w 2691"/>
              <a:gd name="T63" fmla="*/ 2261 h 2691"/>
              <a:gd name="T64" fmla="*/ 570 w 2691"/>
              <a:gd name="T65" fmla="*/ 2449 h 2691"/>
              <a:gd name="T66" fmla="*/ 784 w 2691"/>
              <a:gd name="T67" fmla="*/ 2444 h 2691"/>
              <a:gd name="T68" fmla="*/ 882 w 2691"/>
              <a:gd name="T69" fmla="*/ 2613 h 2691"/>
              <a:gd name="T70" fmla="*/ 1087 w 2691"/>
              <a:gd name="T71" fmla="*/ 2551 h 2691"/>
              <a:gd name="T72" fmla="*/ 1226 w 2691"/>
              <a:gd name="T73" fmla="*/ 2689 h 2691"/>
              <a:gd name="T74" fmla="*/ 1408 w 2691"/>
              <a:gd name="T75" fmla="*/ 2577 h 2691"/>
              <a:gd name="T76" fmla="*/ 1577 w 2691"/>
              <a:gd name="T77" fmla="*/ 2675 h 2691"/>
              <a:gd name="T78" fmla="*/ 1725 w 2691"/>
              <a:gd name="T79" fmla="*/ 2519 h 2691"/>
              <a:gd name="T80" fmla="*/ 1914 w 2691"/>
              <a:gd name="T81" fmla="*/ 2569 h 2691"/>
              <a:gd name="T82" fmla="*/ 2016 w 2691"/>
              <a:gd name="T83" fmla="*/ 2381 h 2691"/>
              <a:gd name="T84" fmla="*/ 2211 w 2691"/>
              <a:gd name="T85" fmla="*/ 2381 h 2691"/>
              <a:gd name="T86" fmla="*/ 2261 w 2691"/>
              <a:gd name="T87" fmla="*/ 2172 h 2691"/>
              <a:gd name="T88" fmla="*/ 2449 w 2691"/>
              <a:gd name="T89" fmla="*/ 2122 h 2691"/>
              <a:gd name="T90" fmla="*/ 2444 w 2691"/>
              <a:gd name="T91" fmla="*/ 1907 h 2691"/>
              <a:gd name="T92" fmla="*/ 2612 w 2691"/>
              <a:gd name="T93" fmla="*/ 1810 h 2691"/>
              <a:gd name="T94" fmla="*/ 2551 w 2691"/>
              <a:gd name="T95" fmla="*/ 1604 h 2691"/>
              <a:gd name="T96" fmla="*/ 1194 w 2691"/>
              <a:gd name="T97" fmla="*/ 2423 h 2691"/>
              <a:gd name="T98" fmla="*/ 1498 w 2691"/>
              <a:gd name="T99" fmla="*/ 268 h 2691"/>
              <a:gd name="T100" fmla="*/ 1194 w 2691"/>
              <a:gd name="T101" fmla="*/ 2423 h 2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91" h="2691">
                <a:moveTo>
                  <a:pt x="2670" y="1602"/>
                </a:moveTo>
                <a:cubicBezTo>
                  <a:pt x="2689" y="1466"/>
                  <a:pt x="2689" y="1466"/>
                  <a:pt x="2689" y="1466"/>
                </a:cubicBezTo>
                <a:cubicBezTo>
                  <a:pt x="2576" y="1431"/>
                  <a:pt x="2576" y="1431"/>
                  <a:pt x="2576" y="1431"/>
                </a:cubicBezTo>
                <a:cubicBezTo>
                  <a:pt x="2579" y="1381"/>
                  <a:pt x="2580" y="1332"/>
                  <a:pt x="2577" y="1283"/>
                </a:cubicBezTo>
                <a:cubicBezTo>
                  <a:pt x="2691" y="1250"/>
                  <a:pt x="2691" y="1250"/>
                  <a:pt x="2691" y="1250"/>
                </a:cubicBezTo>
                <a:cubicBezTo>
                  <a:pt x="2675" y="1114"/>
                  <a:pt x="2675" y="1114"/>
                  <a:pt x="2675" y="1114"/>
                </a:cubicBezTo>
                <a:cubicBezTo>
                  <a:pt x="2556" y="1110"/>
                  <a:pt x="2556" y="1110"/>
                  <a:pt x="2556" y="1110"/>
                </a:cubicBezTo>
                <a:cubicBezTo>
                  <a:pt x="2547" y="1061"/>
                  <a:pt x="2534" y="1013"/>
                  <a:pt x="2519" y="966"/>
                </a:cubicBezTo>
                <a:cubicBezTo>
                  <a:pt x="2621" y="905"/>
                  <a:pt x="2621" y="905"/>
                  <a:pt x="2621" y="905"/>
                </a:cubicBezTo>
                <a:cubicBezTo>
                  <a:pt x="2569" y="778"/>
                  <a:pt x="2569" y="778"/>
                  <a:pt x="2569" y="778"/>
                </a:cubicBezTo>
                <a:cubicBezTo>
                  <a:pt x="2454" y="804"/>
                  <a:pt x="2454" y="804"/>
                  <a:pt x="2454" y="804"/>
                </a:cubicBezTo>
                <a:cubicBezTo>
                  <a:pt x="2432" y="760"/>
                  <a:pt x="2408" y="717"/>
                  <a:pt x="2381" y="676"/>
                </a:cubicBezTo>
                <a:cubicBezTo>
                  <a:pt x="2463" y="590"/>
                  <a:pt x="2463" y="590"/>
                  <a:pt x="2463" y="590"/>
                </a:cubicBezTo>
                <a:cubicBezTo>
                  <a:pt x="2381" y="481"/>
                  <a:pt x="2381" y="481"/>
                  <a:pt x="2381" y="481"/>
                </a:cubicBezTo>
                <a:cubicBezTo>
                  <a:pt x="2276" y="536"/>
                  <a:pt x="2276" y="536"/>
                  <a:pt x="2276" y="536"/>
                </a:cubicBezTo>
                <a:cubicBezTo>
                  <a:pt x="2243" y="499"/>
                  <a:pt x="2209" y="464"/>
                  <a:pt x="2172" y="431"/>
                </a:cubicBezTo>
                <a:cubicBezTo>
                  <a:pt x="2230" y="327"/>
                  <a:pt x="2230" y="327"/>
                  <a:pt x="2230" y="327"/>
                </a:cubicBezTo>
                <a:cubicBezTo>
                  <a:pt x="2122" y="242"/>
                  <a:pt x="2122" y="242"/>
                  <a:pt x="2122" y="242"/>
                </a:cubicBezTo>
                <a:cubicBezTo>
                  <a:pt x="2034" y="323"/>
                  <a:pt x="2034" y="323"/>
                  <a:pt x="2034" y="323"/>
                </a:cubicBezTo>
                <a:cubicBezTo>
                  <a:pt x="1994" y="295"/>
                  <a:pt x="1951" y="270"/>
                  <a:pt x="1907" y="248"/>
                </a:cubicBezTo>
                <a:cubicBezTo>
                  <a:pt x="1936" y="133"/>
                  <a:pt x="1936" y="133"/>
                  <a:pt x="1936" y="133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746" y="180"/>
                  <a:pt x="1746" y="180"/>
                  <a:pt x="1746" y="180"/>
                </a:cubicBezTo>
                <a:cubicBezTo>
                  <a:pt x="1700" y="164"/>
                  <a:pt x="1653" y="151"/>
                  <a:pt x="1604" y="140"/>
                </a:cubicBezTo>
                <a:cubicBezTo>
                  <a:pt x="1602" y="21"/>
                  <a:pt x="1602" y="21"/>
                  <a:pt x="1602" y="21"/>
                </a:cubicBezTo>
                <a:cubicBezTo>
                  <a:pt x="1466" y="2"/>
                  <a:pt x="1466" y="2"/>
                  <a:pt x="1466" y="2"/>
                </a:cubicBezTo>
                <a:cubicBezTo>
                  <a:pt x="1431" y="116"/>
                  <a:pt x="1431" y="116"/>
                  <a:pt x="1431" y="116"/>
                </a:cubicBezTo>
                <a:cubicBezTo>
                  <a:pt x="1381" y="112"/>
                  <a:pt x="1332" y="112"/>
                  <a:pt x="1283" y="114"/>
                </a:cubicBezTo>
                <a:cubicBezTo>
                  <a:pt x="1250" y="0"/>
                  <a:pt x="1250" y="0"/>
                  <a:pt x="1250" y="0"/>
                </a:cubicBezTo>
                <a:cubicBezTo>
                  <a:pt x="1114" y="17"/>
                  <a:pt x="1114" y="17"/>
                  <a:pt x="1114" y="17"/>
                </a:cubicBezTo>
                <a:cubicBezTo>
                  <a:pt x="1109" y="135"/>
                  <a:pt x="1109" y="135"/>
                  <a:pt x="1109" y="135"/>
                </a:cubicBezTo>
                <a:cubicBezTo>
                  <a:pt x="1061" y="145"/>
                  <a:pt x="1013" y="157"/>
                  <a:pt x="966" y="172"/>
                </a:cubicBezTo>
                <a:cubicBezTo>
                  <a:pt x="905" y="71"/>
                  <a:pt x="905" y="71"/>
                  <a:pt x="905" y="71"/>
                </a:cubicBezTo>
                <a:cubicBezTo>
                  <a:pt x="778" y="122"/>
                  <a:pt x="778" y="122"/>
                  <a:pt x="778" y="122"/>
                </a:cubicBezTo>
                <a:cubicBezTo>
                  <a:pt x="804" y="238"/>
                  <a:pt x="804" y="238"/>
                  <a:pt x="804" y="238"/>
                </a:cubicBezTo>
                <a:cubicBezTo>
                  <a:pt x="760" y="260"/>
                  <a:pt x="717" y="284"/>
                  <a:pt x="676" y="311"/>
                </a:cubicBezTo>
                <a:cubicBezTo>
                  <a:pt x="590" y="228"/>
                  <a:pt x="590" y="228"/>
                  <a:pt x="590" y="228"/>
                </a:cubicBezTo>
                <a:cubicBezTo>
                  <a:pt x="481" y="311"/>
                  <a:pt x="481" y="311"/>
                  <a:pt x="481" y="311"/>
                </a:cubicBezTo>
                <a:cubicBezTo>
                  <a:pt x="536" y="416"/>
                  <a:pt x="536" y="416"/>
                  <a:pt x="536" y="416"/>
                </a:cubicBezTo>
                <a:cubicBezTo>
                  <a:pt x="499" y="448"/>
                  <a:pt x="464" y="483"/>
                  <a:pt x="431" y="519"/>
                </a:cubicBezTo>
                <a:cubicBezTo>
                  <a:pt x="327" y="462"/>
                  <a:pt x="327" y="462"/>
                  <a:pt x="327" y="462"/>
                </a:cubicBezTo>
                <a:cubicBezTo>
                  <a:pt x="242" y="570"/>
                  <a:pt x="242" y="570"/>
                  <a:pt x="242" y="570"/>
                </a:cubicBezTo>
                <a:cubicBezTo>
                  <a:pt x="323" y="657"/>
                  <a:pt x="323" y="657"/>
                  <a:pt x="323" y="657"/>
                </a:cubicBezTo>
                <a:cubicBezTo>
                  <a:pt x="295" y="698"/>
                  <a:pt x="270" y="740"/>
                  <a:pt x="248" y="784"/>
                </a:cubicBezTo>
                <a:cubicBezTo>
                  <a:pt x="133" y="756"/>
                  <a:pt x="133" y="756"/>
                  <a:pt x="133" y="756"/>
                </a:cubicBezTo>
                <a:cubicBezTo>
                  <a:pt x="79" y="882"/>
                  <a:pt x="79" y="882"/>
                  <a:pt x="79" y="882"/>
                </a:cubicBezTo>
                <a:cubicBezTo>
                  <a:pt x="179" y="945"/>
                  <a:pt x="179" y="945"/>
                  <a:pt x="179" y="945"/>
                </a:cubicBezTo>
                <a:cubicBezTo>
                  <a:pt x="164" y="991"/>
                  <a:pt x="150" y="1039"/>
                  <a:pt x="140" y="1088"/>
                </a:cubicBezTo>
                <a:cubicBezTo>
                  <a:pt x="21" y="1090"/>
                  <a:pt x="21" y="1090"/>
                  <a:pt x="21" y="1090"/>
                </a:cubicBezTo>
                <a:cubicBezTo>
                  <a:pt x="2" y="1226"/>
                  <a:pt x="2" y="1226"/>
                  <a:pt x="2" y="1226"/>
                </a:cubicBezTo>
                <a:cubicBezTo>
                  <a:pt x="116" y="1261"/>
                  <a:pt x="116" y="1261"/>
                  <a:pt x="116" y="1261"/>
                </a:cubicBezTo>
                <a:cubicBezTo>
                  <a:pt x="112" y="1311"/>
                  <a:pt x="112" y="1360"/>
                  <a:pt x="114" y="1408"/>
                </a:cubicBezTo>
                <a:cubicBezTo>
                  <a:pt x="0" y="1441"/>
                  <a:pt x="0" y="1441"/>
                  <a:pt x="0" y="1441"/>
                </a:cubicBezTo>
                <a:cubicBezTo>
                  <a:pt x="17" y="1578"/>
                  <a:pt x="17" y="1578"/>
                  <a:pt x="17" y="1578"/>
                </a:cubicBezTo>
                <a:cubicBezTo>
                  <a:pt x="135" y="1582"/>
                  <a:pt x="135" y="1582"/>
                  <a:pt x="135" y="1582"/>
                </a:cubicBezTo>
                <a:cubicBezTo>
                  <a:pt x="145" y="1631"/>
                  <a:pt x="157" y="1678"/>
                  <a:pt x="172" y="1725"/>
                </a:cubicBezTo>
                <a:cubicBezTo>
                  <a:pt x="71" y="1786"/>
                  <a:pt x="71" y="1786"/>
                  <a:pt x="71" y="1786"/>
                </a:cubicBezTo>
                <a:cubicBezTo>
                  <a:pt x="122" y="1914"/>
                  <a:pt x="122" y="1914"/>
                  <a:pt x="122" y="1914"/>
                </a:cubicBezTo>
                <a:cubicBezTo>
                  <a:pt x="238" y="1887"/>
                  <a:pt x="238" y="1887"/>
                  <a:pt x="238" y="1887"/>
                </a:cubicBezTo>
                <a:cubicBezTo>
                  <a:pt x="260" y="1932"/>
                  <a:pt x="284" y="1974"/>
                  <a:pt x="311" y="2016"/>
                </a:cubicBezTo>
                <a:cubicBezTo>
                  <a:pt x="228" y="2101"/>
                  <a:pt x="228" y="2101"/>
                  <a:pt x="228" y="2101"/>
                </a:cubicBezTo>
                <a:cubicBezTo>
                  <a:pt x="311" y="2211"/>
                  <a:pt x="311" y="2211"/>
                  <a:pt x="311" y="2211"/>
                </a:cubicBezTo>
                <a:cubicBezTo>
                  <a:pt x="416" y="2156"/>
                  <a:pt x="416" y="2156"/>
                  <a:pt x="416" y="2156"/>
                </a:cubicBezTo>
                <a:cubicBezTo>
                  <a:pt x="448" y="2193"/>
                  <a:pt x="483" y="2228"/>
                  <a:pt x="519" y="2261"/>
                </a:cubicBezTo>
                <a:cubicBezTo>
                  <a:pt x="462" y="2365"/>
                  <a:pt x="462" y="2365"/>
                  <a:pt x="462" y="2365"/>
                </a:cubicBezTo>
                <a:cubicBezTo>
                  <a:pt x="570" y="2449"/>
                  <a:pt x="570" y="2449"/>
                  <a:pt x="570" y="2449"/>
                </a:cubicBezTo>
                <a:cubicBezTo>
                  <a:pt x="657" y="2369"/>
                  <a:pt x="657" y="2369"/>
                  <a:pt x="657" y="2369"/>
                </a:cubicBezTo>
                <a:cubicBezTo>
                  <a:pt x="698" y="2396"/>
                  <a:pt x="740" y="2421"/>
                  <a:pt x="784" y="2444"/>
                </a:cubicBezTo>
                <a:cubicBezTo>
                  <a:pt x="756" y="2559"/>
                  <a:pt x="756" y="2559"/>
                  <a:pt x="756" y="2559"/>
                </a:cubicBezTo>
                <a:cubicBezTo>
                  <a:pt x="882" y="2613"/>
                  <a:pt x="882" y="2613"/>
                  <a:pt x="882" y="2613"/>
                </a:cubicBezTo>
                <a:cubicBezTo>
                  <a:pt x="945" y="2512"/>
                  <a:pt x="945" y="2512"/>
                  <a:pt x="945" y="2512"/>
                </a:cubicBezTo>
                <a:cubicBezTo>
                  <a:pt x="991" y="2528"/>
                  <a:pt x="1039" y="2541"/>
                  <a:pt x="1087" y="2551"/>
                </a:cubicBezTo>
                <a:cubicBezTo>
                  <a:pt x="1090" y="2670"/>
                  <a:pt x="1090" y="2670"/>
                  <a:pt x="1090" y="2670"/>
                </a:cubicBezTo>
                <a:cubicBezTo>
                  <a:pt x="1226" y="2689"/>
                  <a:pt x="1226" y="2689"/>
                  <a:pt x="1226" y="2689"/>
                </a:cubicBezTo>
                <a:cubicBezTo>
                  <a:pt x="1261" y="2576"/>
                  <a:pt x="1261" y="2576"/>
                  <a:pt x="1261" y="2576"/>
                </a:cubicBezTo>
                <a:cubicBezTo>
                  <a:pt x="1310" y="2579"/>
                  <a:pt x="1360" y="2580"/>
                  <a:pt x="1408" y="2577"/>
                </a:cubicBezTo>
                <a:cubicBezTo>
                  <a:pt x="1441" y="2691"/>
                  <a:pt x="1441" y="2691"/>
                  <a:pt x="1441" y="2691"/>
                </a:cubicBezTo>
                <a:cubicBezTo>
                  <a:pt x="1577" y="2675"/>
                  <a:pt x="1577" y="2675"/>
                  <a:pt x="1577" y="2675"/>
                </a:cubicBezTo>
                <a:cubicBezTo>
                  <a:pt x="1582" y="2556"/>
                  <a:pt x="1582" y="2556"/>
                  <a:pt x="1582" y="2556"/>
                </a:cubicBezTo>
                <a:cubicBezTo>
                  <a:pt x="1631" y="2547"/>
                  <a:pt x="1678" y="2534"/>
                  <a:pt x="1725" y="2519"/>
                </a:cubicBezTo>
                <a:cubicBezTo>
                  <a:pt x="1786" y="2621"/>
                  <a:pt x="1786" y="2621"/>
                  <a:pt x="1786" y="2621"/>
                </a:cubicBezTo>
                <a:cubicBezTo>
                  <a:pt x="1914" y="2569"/>
                  <a:pt x="1914" y="2569"/>
                  <a:pt x="1914" y="2569"/>
                </a:cubicBezTo>
                <a:cubicBezTo>
                  <a:pt x="1887" y="2454"/>
                  <a:pt x="1887" y="2454"/>
                  <a:pt x="1887" y="2454"/>
                </a:cubicBezTo>
                <a:cubicBezTo>
                  <a:pt x="1931" y="2432"/>
                  <a:pt x="1974" y="2408"/>
                  <a:pt x="2016" y="2381"/>
                </a:cubicBezTo>
                <a:cubicBezTo>
                  <a:pt x="2101" y="2463"/>
                  <a:pt x="2101" y="2463"/>
                  <a:pt x="2101" y="2463"/>
                </a:cubicBezTo>
                <a:cubicBezTo>
                  <a:pt x="2211" y="2381"/>
                  <a:pt x="2211" y="2381"/>
                  <a:pt x="2211" y="2381"/>
                </a:cubicBezTo>
                <a:cubicBezTo>
                  <a:pt x="2155" y="2276"/>
                  <a:pt x="2155" y="2276"/>
                  <a:pt x="2155" y="2276"/>
                </a:cubicBezTo>
                <a:cubicBezTo>
                  <a:pt x="2193" y="2243"/>
                  <a:pt x="2228" y="2209"/>
                  <a:pt x="2261" y="2172"/>
                </a:cubicBezTo>
                <a:cubicBezTo>
                  <a:pt x="2365" y="2230"/>
                  <a:pt x="2365" y="2230"/>
                  <a:pt x="2365" y="2230"/>
                </a:cubicBezTo>
                <a:cubicBezTo>
                  <a:pt x="2449" y="2122"/>
                  <a:pt x="2449" y="2122"/>
                  <a:pt x="2449" y="2122"/>
                </a:cubicBezTo>
                <a:cubicBezTo>
                  <a:pt x="2369" y="2035"/>
                  <a:pt x="2369" y="2035"/>
                  <a:pt x="2369" y="2035"/>
                </a:cubicBezTo>
                <a:cubicBezTo>
                  <a:pt x="2396" y="1994"/>
                  <a:pt x="2421" y="1951"/>
                  <a:pt x="2444" y="1907"/>
                </a:cubicBezTo>
                <a:cubicBezTo>
                  <a:pt x="2559" y="1936"/>
                  <a:pt x="2559" y="1936"/>
                  <a:pt x="2559" y="1936"/>
                </a:cubicBezTo>
                <a:cubicBezTo>
                  <a:pt x="2612" y="1810"/>
                  <a:pt x="2612" y="1810"/>
                  <a:pt x="2612" y="1810"/>
                </a:cubicBezTo>
                <a:cubicBezTo>
                  <a:pt x="2512" y="1746"/>
                  <a:pt x="2512" y="1746"/>
                  <a:pt x="2512" y="1746"/>
                </a:cubicBezTo>
                <a:cubicBezTo>
                  <a:pt x="2528" y="1700"/>
                  <a:pt x="2541" y="1653"/>
                  <a:pt x="2551" y="1604"/>
                </a:cubicBezTo>
                <a:lnTo>
                  <a:pt x="2670" y="1602"/>
                </a:lnTo>
                <a:close/>
                <a:moveTo>
                  <a:pt x="1194" y="2423"/>
                </a:moveTo>
                <a:cubicBezTo>
                  <a:pt x="599" y="2340"/>
                  <a:pt x="184" y="1789"/>
                  <a:pt x="268" y="1194"/>
                </a:cubicBezTo>
                <a:cubicBezTo>
                  <a:pt x="352" y="599"/>
                  <a:pt x="902" y="184"/>
                  <a:pt x="1498" y="268"/>
                </a:cubicBezTo>
                <a:cubicBezTo>
                  <a:pt x="2093" y="352"/>
                  <a:pt x="2507" y="903"/>
                  <a:pt x="2423" y="1498"/>
                </a:cubicBezTo>
                <a:cubicBezTo>
                  <a:pt x="2339" y="2093"/>
                  <a:pt x="1789" y="2507"/>
                  <a:pt x="1194" y="2423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3143861" y="3274303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lg" len="lg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5999639" y="3274303"/>
            <a:ext cx="0" cy="229054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lg" len="lg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2"/>
          <p:cNvSpPr txBox="1">
            <a:spLocks/>
          </p:cNvSpPr>
          <p:nvPr/>
        </p:nvSpPr>
        <p:spPr>
          <a:xfrm>
            <a:off x="4078492" y="3293356"/>
            <a:ext cx="987017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Mensuração</a:t>
            </a:r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 do</a:t>
            </a:r>
          </a:p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projeto</a:t>
            </a:r>
            <a:endParaRPr lang="en-US" sz="800" cap="all" spc="20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32" name="Title 2"/>
          <p:cNvSpPr txBox="1">
            <a:spLocks/>
          </p:cNvSpPr>
          <p:nvPr/>
        </p:nvSpPr>
        <p:spPr>
          <a:xfrm>
            <a:off x="1222213" y="3293355"/>
            <a:ext cx="987017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Construção</a:t>
            </a:r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 da</a:t>
            </a:r>
          </a:p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estratégia</a:t>
            </a:r>
            <a:endParaRPr lang="en-US" sz="800" cap="all" spc="20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33" name="Title 2"/>
          <p:cNvSpPr txBox="1">
            <a:spLocks/>
          </p:cNvSpPr>
          <p:nvPr/>
        </p:nvSpPr>
        <p:spPr>
          <a:xfrm>
            <a:off x="6934270" y="3293355"/>
            <a:ext cx="987017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Plano de </a:t>
            </a:r>
          </a:p>
          <a:p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marketing</a:t>
            </a:r>
          </a:p>
        </p:txBody>
      </p:sp>
      <p:sp>
        <p:nvSpPr>
          <p:cNvPr id="34" name="Title 2"/>
          <p:cNvSpPr txBox="1">
            <a:spLocks/>
          </p:cNvSpPr>
          <p:nvPr/>
        </p:nvSpPr>
        <p:spPr>
          <a:xfrm>
            <a:off x="2650353" y="2388417"/>
            <a:ext cx="987017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Pesquisa</a:t>
            </a:r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 &amp;</a:t>
            </a:r>
          </a:p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análise</a:t>
            </a:r>
            <a:endParaRPr lang="en-US" sz="800" cap="all" spc="20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35" name="Title 2"/>
          <p:cNvSpPr txBox="1">
            <a:spLocks/>
          </p:cNvSpPr>
          <p:nvPr/>
        </p:nvSpPr>
        <p:spPr>
          <a:xfrm>
            <a:off x="5506131" y="2388416"/>
            <a:ext cx="987017" cy="246221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Análise</a:t>
            </a:r>
            <a:r>
              <a:rPr lang="en-US" sz="800" cap="all" spc="20" dirty="0">
                <a:solidFill>
                  <a:schemeClr val="accent3"/>
                </a:solidFill>
                <a:latin typeface="Lato" panose="020F0502020204030203" pitchFamily="34" charset="0"/>
              </a:rPr>
              <a:t> dos</a:t>
            </a:r>
          </a:p>
          <a:p>
            <a:r>
              <a:rPr lang="en-US" sz="800" cap="all" spc="20" dirty="0" err="1">
                <a:solidFill>
                  <a:schemeClr val="accent3"/>
                </a:solidFill>
                <a:latin typeface="Lato" panose="020F0502020204030203" pitchFamily="34" charset="0"/>
              </a:rPr>
              <a:t>competidores</a:t>
            </a:r>
            <a:endParaRPr lang="en-US" sz="800" cap="all" spc="20" dirty="0">
              <a:solidFill>
                <a:schemeClr val="accent3"/>
              </a:solidFill>
              <a:latin typeface="Lato" panose="020F0502020204030203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339484" y="1887452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195763" y="1887452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3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051541" y="1887452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5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767624" y="3564507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2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623402" y="3564507"/>
            <a:ext cx="752475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cap="all" spc="20" dirty="0" err="1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800" cap="all" spc="20" dirty="0">
                <a:solidFill>
                  <a:schemeClr val="accent5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4</a:t>
            </a:r>
          </a:p>
        </p:txBody>
      </p:sp>
    </p:spTree>
    <p:extLst>
      <p:ext uri="{BB962C8B-B14F-4D97-AF65-F5344CB8AC3E}">
        <p14:creationId xmlns:p14="http://schemas.microsoft.com/office/powerpoint/2010/main" val="396516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visão</a:t>
            </a:r>
            <a:r>
              <a:rPr lang="en-US" dirty="0"/>
              <a:t>, </a:t>
            </a:r>
            <a:r>
              <a:rPr lang="en-US" dirty="0" err="1"/>
              <a:t>missão</a:t>
            </a:r>
            <a:r>
              <a:rPr lang="en-US" dirty="0"/>
              <a:t> &amp; </a:t>
            </a:r>
            <a:r>
              <a:rPr lang="en-US" dirty="0" err="1">
                <a:solidFill>
                  <a:srgbClr val="EC0000"/>
                </a:solidFill>
              </a:rPr>
              <a:t>valore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3400964" y="2980888"/>
            <a:ext cx="1757261" cy="146026"/>
          </a:xfrm>
          <a:custGeom>
            <a:avLst/>
            <a:gdLst>
              <a:gd name="connsiteX0" fmla="*/ 5331624 w 5562012"/>
              <a:gd name="connsiteY0" fmla="*/ 0 h 462198"/>
              <a:gd name="connsiteX1" fmla="*/ 5562012 w 5562012"/>
              <a:gd name="connsiteY1" fmla="*/ 231810 h 462198"/>
              <a:gd name="connsiteX2" fmla="*/ 5331624 w 5562012"/>
              <a:gd name="connsiteY2" fmla="*/ 462198 h 462198"/>
              <a:gd name="connsiteX3" fmla="*/ 5331624 w 5562012"/>
              <a:gd name="connsiteY3" fmla="*/ 332783 h 462198"/>
              <a:gd name="connsiteX4" fmla="*/ 0 w 5562012"/>
              <a:gd name="connsiteY4" fmla="*/ 332783 h 462198"/>
              <a:gd name="connsiteX5" fmla="*/ 0 w 5562012"/>
              <a:gd name="connsiteY5" fmla="*/ 129416 h 462198"/>
              <a:gd name="connsiteX6" fmla="*/ 5331624 w 5562012"/>
              <a:gd name="connsiteY6" fmla="*/ 129416 h 462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012" h="462198">
                <a:moveTo>
                  <a:pt x="5331624" y="0"/>
                </a:moveTo>
                <a:lnTo>
                  <a:pt x="5562012" y="231810"/>
                </a:lnTo>
                <a:lnTo>
                  <a:pt x="5331624" y="462198"/>
                </a:lnTo>
                <a:lnTo>
                  <a:pt x="5331624" y="332783"/>
                </a:lnTo>
                <a:lnTo>
                  <a:pt x="0" y="332783"/>
                </a:lnTo>
                <a:lnTo>
                  <a:pt x="0" y="129416"/>
                </a:lnTo>
                <a:lnTo>
                  <a:pt x="5331624" y="12941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7" name="Freeform 10"/>
          <p:cNvSpPr>
            <a:spLocks noEditPoints="1"/>
          </p:cNvSpPr>
          <p:nvPr/>
        </p:nvSpPr>
        <p:spPr bwMode="auto">
          <a:xfrm>
            <a:off x="2768332" y="3023363"/>
            <a:ext cx="1265264" cy="1265713"/>
          </a:xfrm>
          <a:custGeom>
            <a:avLst/>
            <a:gdLst>
              <a:gd name="T0" fmla="*/ 1258 w 2516"/>
              <a:gd name="T1" fmla="*/ 0 h 2516"/>
              <a:gd name="T2" fmla="*/ 0 w 2516"/>
              <a:gd name="T3" fmla="*/ 1258 h 2516"/>
              <a:gd name="T4" fmla="*/ 1258 w 2516"/>
              <a:gd name="T5" fmla="*/ 2516 h 2516"/>
              <a:gd name="T6" fmla="*/ 2516 w 2516"/>
              <a:gd name="T7" fmla="*/ 1258 h 2516"/>
              <a:gd name="T8" fmla="*/ 1258 w 2516"/>
              <a:gd name="T9" fmla="*/ 0 h 2516"/>
              <a:gd name="T10" fmla="*/ 1258 w 2516"/>
              <a:gd name="T11" fmla="*/ 2388 h 2516"/>
              <a:gd name="T12" fmla="*/ 128 w 2516"/>
              <a:gd name="T13" fmla="*/ 1258 h 2516"/>
              <a:gd name="T14" fmla="*/ 1258 w 2516"/>
              <a:gd name="T15" fmla="*/ 128 h 2516"/>
              <a:gd name="T16" fmla="*/ 2388 w 2516"/>
              <a:gd name="T17" fmla="*/ 1258 h 2516"/>
              <a:gd name="T18" fmla="*/ 1258 w 2516"/>
              <a:gd name="T19" fmla="*/ 2388 h 2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516" h="2516">
                <a:moveTo>
                  <a:pt x="1258" y="0"/>
                </a:moveTo>
                <a:cubicBezTo>
                  <a:pt x="563" y="0"/>
                  <a:pt x="0" y="563"/>
                  <a:pt x="0" y="1258"/>
                </a:cubicBezTo>
                <a:cubicBezTo>
                  <a:pt x="0" y="1953"/>
                  <a:pt x="563" y="2516"/>
                  <a:pt x="1258" y="2516"/>
                </a:cubicBezTo>
                <a:cubicBezTo>
                  <a:pt x="1953" y="2516"/>
                  <a:pt x="2516" y="1953"/>
                  <a:pt x="2516" y="1258"/>
                </a:cubicBezTo>
                <a:cubicBezTo>
                  <a:pt x="2516" y="563"/>
                  <a:pt x="1953" y="0"/>
                  <a:pt x="1258" y="0"/>
                </a:cubicBezTo>
                <a:close/>
                <a:moveTo>
                  <a:pt x="1258" y="2388"/>
                </a:moveTo>
                <a:cubicBezTo>
                  <a:pt x="634" y="2388"/>
                  <a:pt x="128" y="1882"/>
                  <a:pt x="128" y="1258"/>
                </a:cubicBezTo>
                <a:cubicBezTo>
                  <a:pt x="128" y="634"/>
                  <a:pt x="634" y="128"/>
                  <a:pt x="1258" y="128"/>
                </a:cubicBezTo>
                <a:cubicBezTo>
                  <a:pt x="1882" y="128"/>
                  <a:pt x="2388" y="634"/>
                  <a:pt x="2388" y="1258"/>
                </a:cubicBezTo>
                <a:cubicBezTo>
                  <a:pt x="2388" y="1882"/>
                  <a:pt x="1882" y="2388"/>
                  <a:pt x="1258" y="238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3" name="Group 12"/>
          <p:cNvGrpSpPr/>
          <p:nvPr/>
        </p:nvGrpSpPr>
        <p:grpSpPr>
          <a:xfrm>
            <a:off x="2975654" y="3230909"/>
            <a:ext cx="850620" cy="850620"/>
            <a:chOff x="2975654" y="3230909"/>
            <a:chExt cx="850620" cy="850620"/>
          </a:xfrm>
        </p:grpSpPr>
        <p:sp>
          <p:nvSpPr>
            <p:cNvPr id="30" name="Oval 29"/>
            <p:cNvSpPr/>
            <p:nvPr/>
          </p:nvSpPr>
          <p:spPr>
            <a:xfrm>
              <a:off x="2975654" y="3230909"/>
              <a:ext cx="850620" cy="85062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30"/>
            <p:cNvSpPr>
              <a:spLocks noEditPoints="1"/>
            </p:cNvSpPr>
            <p:nvPr/>
          </p:nvSpPr>
          <p:spPr bwMode="auto">
            <a:xfrm>
              <a:off x="3195186" y="3465624"/>
              <a:ext cx="422067" cy="381189"/>
            </a:xfrm>
            <a:custGeom>
              <a:avLst/>
              <a:gdLst>
                <a:gd name="T0" fmla="*/ 2581 w 3659"/>
                <a:gd name="T1" fmla="*/ 193 h 3301"/>
                <a:gd name="T2" fmla="*/ 1056 w 3659"/>
                <a:gd name="T3" fmla="*/ 182 h 3301"/>
                <a:gd name="T4" fmla="*/ 337 w 3659"/>
                <a:gd name="T5" fmla="*/ 905 h 3301"/>
                <a:gd name="T6" fmla="*/ 6 w 3659"/>
                <a:gd name="T7" fmla="*/ 1528 h 3301"/>
                <a:gd name="T8" fmla="*/ 3329 w 3659"/>
                <a:gd name="T9" fmla="*/ 2295 h 3301"/>
                <a:gd name="T10" fmla="*/ 3658 w 3659"/>
                <a:gd name="T11" fmla="*/ 1208 h 3301"/>
                <a:gd name="T12" fmla="*/ 508 w 3659"/>
                <a:gd name="T13" fmla="*/ 1193 h 3301"/>
                <a:gd name="T14" fmla="*/ 708 w 3659"/>
                <a:gd name="T15" fmla="*/ 1994 h 3301"/>
                <a:gd name="T16" fmla="*/ 2383 w 3659"/>
                <a:gd name="T17" fmla="*/ 1349 h 3301"/>
                <a:gd name="T18" fmla="*/ 1809 w 3659"/>
                <a:gd name="T19" fmla="*/ 606 h 3301"/>
                <a:gd name="T20" fmla="*/ 2362 w 3659"/>
                <a:gd name="T21" fmla="*/ 1328 h 3301"/>
                <a:gd name="T22" fmla="*/ 1612 w 3659"/>
                <a:gd name="T23" fmla="*/ 1454 h 3301"/>
                <a:gd name="T24" fmla="*/ 1032 w 3659"/>
                <a:gd name="T25" fmla="*/ 1314 h 3301"/>
                <a:gd name="T26" fmla="*/ 1032 w 3659"/>
                <a:gd name="T27" fmla="*/ 1314 h 3301"/>
                <a:gd name="T28" fmla="*/ 1659 w 3659"/>
                <a:gd name="T29" fmla="*/ 505 h 3301"/>
                <a:gd name="T30" fmla="*/ 1814 w 3659"/>
                <a:gd name="T31" fmla="*/ 70 h 3301"/>
                <a:gd name="T32" fmla="*/ 2529 w 3659"/>
                <a:gd name="T33" fmla="*/ 379 h 3301"/>
                <a:gd name="T34" fmla="*/ 1217 w 3659"/>
                <a:gd name="T35" fmla="*/ 448 h 3301"/>
                <a:gd name="T36" fmla="*/ 964 w 3659"/>
                <a:gd name="T37" fmla="*/ 1299 h 3301"/>
                <a:gd name="T38" fmla="*/ 1406 w 3659"/>
                <a:gd name="T39" fmla="*/ 2188 h 3301"/>
                <a:gd name="T40" fmla="*/ 1809 w 3659"/>
                <a:gd name="T41" fmla="*/ 2135 h 3301"/>
                <a:gd name="T42" fmla="*/ 1809 w 3659"/>
                <a:gd name="T43" fmla="*/ 1458 h 3301"/>
                <a:gd name="T44" fmla="*/ 1940 w 3659"/>
                <a:gd name="T45" fmla="*/ 2133 h 3301"/>
                <a:gd name="T46" fmla="*/ 2466 w 3659"/>
                <a:gd name="T47" fmla="*/ 1651 h 3301"/>
                <a:gd name="T48" fmla="*/ 2968 w 3659"/>
                <a:gd name="T49" fmla="*/ 1193 h 3301"/>
                <a:gd name="T50" fmla="*/ 3323 w 3659"/>
                <a:gd name="T51" fmla="*/ 1194 h 3301"/>
                <a:gd name="T52" fmla="*/ 3214 w 3659"/>
                <a:gd name="T53" fmla="*/ 926 h 3301"/>
                <a:gd name="T54" fmla="*/ 2641 w 3659"/>
                <a:gd name="T55" fmla="*/ 308 h 3301"/>
                <a:gd name="T56" fmla="*/ 2572 w 3659"/>
                <a:gd name="T57" fmla="*/ 308 h 3301"/>
                <a:gd name="T58" fmla="*/ 977 w 3659"/>
                <a:gd name="T59" fmla="*/ 307 h 3301"/>
                <a:gd name="T60" fmla="*/ 401 w 3659"/>
                <a:gd name="T61" fmla="*/ 947 h 3301"/>
                <a:gd name="T62" fmla="*/ 448 w 3659"/>
                <a:gd name="T63" fmla="*/ 1150 h 3301"/>
                <a:gd name="T64" fmla="*/ 228 w 3659"/>
                <a:gd name="T65" fmla="*/ 1651 h 3301"/>
                <a:gd name="T66" fmla="*/ 1734 w 3659"/>
                <a:gd name="T67" fmla="*/ 3224 h 3301"/>
                <a:gd name="T68" fmla="*/ 1809 w 3659"/>
                <a:gd name="T69" fmla="*/ 2871 h 3301"/>
                <a:gd name="T70" fmla="*/ 1809 w 3659"/>
                <a:gd name="T71" fmla="*/ 2871 h 3301"/>
                <a:gd name="T72" fmla="*/ 2265 w 3659"/>
                <a:gd name="T73" fmla="*/ 2847 h 3301"/>
                <a:gd name="T74" fmla="*/ 2374 w 3659"/>
                <a:gd name="T75" fmla="*/ 2763 h 3301"/>
                <a:gd name="T76" fmla="*/ 1491 w 3659"/>
                <a:gd name="T77" fmla="*/ 3189 h 3301"/>
                <a:gd name="T78" fmla="*/ 753 w 3659"/>
                <a:gd name="T79" fmla="*/ 2647 h 3301"/>
                <a:gd name="T80" fmla="*/ 459 w 3659"/>
                <a:gd name="T81" fmla="*/ 2477 h 3301"/>
                <a:gd name="T82" fmla="*/ 709 w 3659"/>
                <a:gd name="T83" fmla="*/ 2705 h 3301"/>
                <a:gd name="T84" fmla="*/ 2762 w 3659"/>
                <a:gd name="T85" fmla="*/ 2753 h 3301"/>
                <a:gd name="T86" fmla="*/ 2820 w 3659"/>
                <a:gd name="T87" fmla="*/ 2663 h 3301"/>
                <a:gd name="T88" fmla="*/ 3154 w 3659"/>
                <a:gd name="T89" fmla="*/ 2482 h 3301"/>
                <a:gd name="T90" fmla="*/ 3277 w 3659"/>
                <a:gd name="T91" fmla="*/ 2145 h 3301"/>
                <a:gd name="T92" fmla="*/ 1607 w 3659"/>
                <a:gd name="T93" fmla="*/ 2797 h 3301"/>
                <a:gd name="T94" fmla="*/ 243 w 3659"/>
                <a:gd name="T95" fmla="*/ 1893 h 3301"/>
                <a:gd name="T96" fmla="*/ 172 w 3659"/>
                <a:gd name="T97" fmla="*/ 1710 h 3301"/>
                <a:gd name="T98" fmla="*/ 408 w 3659"/>
                <a:gd name="T99" fmla="*/ 1900 h 3301"/>
                <a:gd name="T100" fmla="*/ 1656 w 3659"/>
                <a:gd name="T101" fmla="*/ 2257 h 3301"/>
                <a:gd name="T102" fmla="*/ 2689 w 3659"/>
                <a:gd name="T103" fmla="*/ 1593 h 3301"/>
                <a:gd name="T104" fmla="*/ 3496 w 3659"/>
                <a:gd name="T105" fmla="*/ 2364 h 3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59" h="3301">
                  <a:moveTo>
                    <a:pt x="3648" y="1181"/>
                  </a:moveTo>
                  <a:cubicBezTo>
                    <a:pt x="3641" y="1173"/>
                    <a:pt x="3631" y="1170"/>
                    <a:pt x="3621" y="1171"/>
                  </a:cubicBezTo>
                  <a:cubicBezTo>
                    <a:pt x="3393" y="1189"/>
                    <a:pt x="3393" y="1189"/>
                    <a:pt x="3393" y="1189"/>
                  </a:cubicBezTo>
                  <a:cubicBezTo>
                    <a:pt x="3266" y="751"/>
                    <a:pt x="2967" y="397"/>
                    <a:pt x="2581" y="193"/>
                  </a:cubicBezTo>
                  <a:cubicBezTo>
                    <a:pt x="2578" y="190"/>
                    <a:pt x="2574" y="188"/>
                    <a:pt x="2571" y="187"/>
                  </a:cubicBezTo>
                  <a:cubicBezTo>
                    <a:pt x="2340" y="67"/>
                    <a:pt x="2081" y="0"/>
                    <a:pt x="1809" y="0"/>
                  </a:cubicBezTo>
                  <a:cubicBezTo>
                    <a:pt x="1806" y="0"/>
                    <a:pt x="1804" y="0"/>
                    <a:pt x="1801" y="0"/>
                  </a:cubicBezTo>
                  <a:cubicBezTo>
                    <a:pt x="1533" y="2"/>
                    <a:pt x="1280" y="67"/>
                    <a:pt x="1056" y="182"/>
                  </a:cubicBezTo>
                  <a:cubicBezTo>
                    <a:pt x="1050" y="183"/>
                    <a:pt x="1043" y="185"/>
                    <a:pt x="1038" y="190"/>
                  </a:cubicBezTo>
                  <a:cubicBezTo>
                    <a:pt x="1037" y="191"/>
                    <a:pt x="1036" y="192"/>
                    <a:pt x="1034" y="194"/>
                  </a:cubicBezTo>
                  <a:cubicBezTo>
                    <a:pt x="739" y="351"/>
                    <a:pt x="497" y="596"/>
                    <a:pt x="343" y="894"/>
                  </a:cubicBezTo>
                  <a:cubicBezTo>
                    <a:pt x="340" y="897"/>
                    <a:pt x="339" y="901"/>
                    <a:pt x="337" y="905"/>
                  </a:cubicBezTo>
                  <a:cubicBezTo>
                    <a:pt x="230" y="1115"/>
                    <a:pt x="167" y="1351"/>
                    <a:pt x="160" y="1602"/>
                  </a:cubicBezTo>
                  <a:cubicBezTo>
                    <a:pt x="126" y="1567"/>
                    <a:pt x="95" y="1532"/>
                    <a:pt x="65" y="1495"/>
                  </a:cubicBezTo>
                  <a:cubicBezTo>
                    <a:pt x="55" y="1482"/>
                    <a:pt x="36" y="1479"/>
                    <a:pt x="21" y="1487"/>
                  </a:cubicBezTo>
                  <a:cubicBezTo>
                    <a:pt x="7" y="1495"/>
                    <a:pt x="0" y="1513"/>
                    <a:pt x="6" y="1528"/>
                  </a:cubicBezTo>
                  <a:cubicBezTo>
                    <a:pt x="58" y="1675"/>
                    <a:pt x="117" y="1806"/>
                    <a:pt x="181" y="1923"/>
                  </a:cubicBezTo>
                  <a:cubicBezTo>
                    <a:pt x="311" y="2704"/>
                    <a:pt x="967" y="3275"/>
                    <a:pt x="1755" y="3300"/>
                  </a:cubicBezTo>
                  <a:cubicBezTo>
                    <a:pt x="1773" y="3301"/>
                    <a:pt x="1791" y="3301"/>
                    <a:pt x="1809" y="3301"/>
                  </a:cubicBezTo>
                  <a:cubicBezTo>
                    <a:pt x="2468" y="3301"/>
                    <a:pt x="3072" y="2899"/>
                    <a:pt x="3329" y="2295"/>
                  </a:cubicBezTo>
                  <a:cubicBezTo>
                    <a:pt x="3500" y="2466"/>
                    <a:pt x="3500" y="2466"/>
                    <a:pt x="3500" y="2466"/>
                  </a:cubicBezTo>
                  <a:cubicBezTo>
                    <a:pt x="3510" y="2476"/>
                    <a:pt x="3524" y="2479"/>
                    <a:pt x="3536" y="2474"/>
                  </a:cubicBezTo>
                  <a:cubicBezTo>
                    <a:pt x="3549" y="2469"/>
                    <a:pt x="3558" y="2458"/>
                    <a:pt x="3559" y="2444"/>
                  </a:cubicBezTo>
                  <a:cubicBezTo>
                    <a:pt x="3658" y="1208"/>
                    <a:pt x="3658" y="1208"/>
                    <a:pt x="3658" y="1208"/>
                  </a:cubicBezTo>
                  <a:cubicBezTo>
                    <a:pt x="3659" y="1198"/>
                    <a:pt x="3655" y="1188"/>
                    <a:pt x="3648" y="1181"/>
                  </a:cubicBezTo>
                  <a:close/>
                  <a:moveTo>
                    <a:pt x="461" y="1853"/>
                  </a:moveTo>
                  <a:cubicBezTo>
                    <a:pt x="454" y="1786"/>
                    <a:pt x="450" y="1718"/>
                    <a:pt x="450" y="1651"/>
                  </a:cubicBezTo>
                  <a:cubicBezTo>
                    <a:pt x="450" y="1492"/>
                    <a:pt x="470" y="1338"/>
                    <a:pt x="508" y="1193"/>
                  </a:cubicBezTo>
                  <a:cubicBezTo>
                    <a:pt x="616" y="1263"/>
                    <a:pt x="770" y="1322"/>
                    <a:pt x="957" y="1367"/>
                  </a:cubicBezTo>
                  <a:cubicBezTo>
                    <a:pt x="949" y="1459"/>
                    <a:pt x="944" y="1554"/>
                    <a:pt x="944" y="1651"/>
                  </a:cubicBezTo>
                  <a:cubicBezTo>
                    <a:pt x="944" y="1789"/>
                    <a:pt x="953" y="1926"/>
                    <a:pt x="971" y="2059"/>
                  </a:cubicBezTo>
                  <a:cubicBezTo>
                    <a:pt x="878" y="2041"/>
                    <a:pt x="789" y="2019"/>
                    <a:pt x="708" y="1994"/>
                  </a:cubicBezTo>
                  <a:cubicBezTo>
                    <a:pt x="708" y="1994"/>
                    <a:pt x="708" y="1994"/>
                    <a:pt x="708" y="1994"/>
                  </a:cubicBezTo>
                  <a:cubicBezTo>
                    <a:pt x="622" y="1953"/>
                    <a:pt x="540" y="1905"/>
                    <a:pt x="461" y="1853"/>
                  </a:cubicBezTo>
                  <a:close/>
                  <a:moveTo>
                    <a:pt x="2362" y="1328"/>
                  </a:moveTo>
                  <a:cubicBezTo>
                    <a:pt x="2383" y="1349"/>
                    <a:pt x="2383" y="1349"/>
                    <a:pt x="2383" y="1349"/>
                  </a:cubicBezTo>
                  <a:cubicBezTo>
                    <a:pt x="2202" y="1375"/>
                    <a:pt x="2010" y="1389"/>
                    <a:pt x="1809" y="1389"/>
                  </a:cubicBezTo>
                  <a:cubicBezTo>
                    <a:pt x="1766" y="1389"/>
                    <a:pt x="1724" y="1388"/>
                    <a:pt x="1682" y="1387"/>
                  </a:cubicBezTo>
                  <a:cubicBezTo>
                    <a:pt x="1687" y="1074"/>
                    <a:pt x="1701" y="811"/>
                    <a:pt x="1719" y="604"/>
                  </a:cubicBezTo>
                  <a:cubicBezTo>
                    <a:pt x="1749" y="605"/>
                    <a:pt x="1779" y="606"/>
                    <a:pt x="1809" y="606"/>
                  </a:cubicBezTo>
                  <a:cubicBezTo>
                    <a:pt x="1954" y="606"/>
                    <a:pt x="2102" y="593"/>
                    <a:pt x="2232" y="566"/>
                  </a:cubicBezTo>
                  <a:cubicBezTo>
                    <a:pt x="2302" y="762"/>
                    <a:pt x="2353" y="1004"/>
                    <a:pt x="2379" y="1271"/>
                  </a:cubicBezTo>
                  <a:cubicBezTo>
                    <a:pt x="2368" y="1273"/>
                    <a:pt x="2358" y="1281"/>
                    <a:pt x="2354" y="1292"/>
                  </a:cubicBezTo>
                  <a:cubicBezTo>
                    <a:pt x="2350" y="1305"/>
                    <a:pt x="2353" y="1319"/>
                    <a:pt x="2362" y="1328"/>
                  </a:cubicBezTo>
                  <a:close/>
                  <a:moveTo>
                    <a:pt x="1043" y="2072"/>
                  </a:moveTo>
                  <a:cubicBezTo>
                    <a:pt x="1024" y="1935"/>
                    <a:pt x="1013" y="1794"/>
                    <a:pt x="1013" y="1651"/>
                  </a:cubicBezTo>
                  <a:cubicBezTo>
                    <a:pt x="1013" y="1559"/>
                    <a:pt x="1017" y="1470"/>
                    <a:pt x="1025" y="1383"/>
                  </a:cubicBezTo>
                  <a:cubicBezTo>
                    <a:pt x="1199" y="1420"/>
                    <a:pt x="1398" y="1444"/>
                    <a:pt x="1612" y="1454"/>
                  </a:cubicBezTo>
                  <a:cubicBezTo>
                    <a:pt x="1612" y="1519"/>
                    <a:pt x="1611" y="1584"/>
                    <a:pt x="1611" y="1651"/>
                  </a:cubicBezTo>
                  <a:cubicBezTo>
                    <a:pt x="1611" y="1815"/>
                    <a:pt x="1614" y="1976"/>
                    <a:pt x="1619" y="2131"/>
                  </a:cubicBezTo>
                  <a:cubicBezTo>
                    <a:pt x="1415" y="2123"/>
                    <a:pt x="1220" y="2103"/>
                    <a:pt x="1043" y="2072"/>
                  </a:cubicBezTo>
                  <a:close/>
                  <a:moveTo>
                    <a:pt x="1032" y="1314"/>
                  </a:moveTo>
                  <a:cubicBezTo>
                    <a:pt x="1065" y="1012"/>
                    <a:pt x="1141" y="742"/>
                    <a:pt x="1247" y="531"/>
                  </a:cubicBezTo>
                  <a:cubicBezTo>
                    <a:pt x="1363" y="568"/>
                    <a:pt x="1504" y="591"/>
                    <a:pt x="1650" y="601"/>
                  </a:cubicBezTo>
                  <a:cubicBezTo>
                    <a:pt x="1631" y="826"/>
                    <a:pt x="1618" y="1095"/>
                    <a:pt x="1613" y="1385"/>
                  </a:cubicBezTo>
                  <a:cubicBezTo>
                    <a:pt x="1395" y="1375"/>
                    <a:pt x="1199" y="1350"/>
                    <a:pt x="1032" y="1314"/>
                  </a:cubicBezTo>
                  <a:close/>
                  <a:moveTo>
                    <a:pt x="1656" y="532"/>
                  </a:moveTo>
                  <a:cubicBezTo>
                    <a:pt x="1508" y="523"/>
                    <a:pt x="1380" y="500"/>
                    <a:pt x="1280" y="470"/>
                  </a:cubicBezTo>
                  <a:cubicBezTo>
                    <a:pt x="1404" y="252"/>
                    <a:pt x="1561" y="108"/>
                    <a:pt x="1735" y="76"/>
                  </a:cubicBezTo>
                  <a:cubicBezTo>
                    <a:pt x="1710" y="143"/>
                    <a:pt x="1683" y="269"/>
                    <a:pt x="1659" y="505"/>
                  </a:cubicBezTo>
                  <a:cubicBezTo>
                    <a:pt x="1658" y="514"/>
                    <a:pt x="1657" y="523"/>
                    <a:pt x="1656" y="532"/>
                  </a:cubicBezTo>
                  <a:close/>
                  <a:moveTo>
                    <a:pt x="1809" y="537"/>
                  </a:moveTo>
                  <a:cubicBezTo>
                    <a:pt x="1780" y="537"/>
                    <a:pt x="1753" y="536"/>
                    <a:pt x="1725" y="536"/>
                  </a:cubicBezTo>
                  <a:cubicBezTo>
                    <a:pt x="1752" y="262"/>
                    <a:pt x="1786" y="101"/>
                    <a:pt x="1814" y="70"/>
                  </a:cubicBezTo>
                  <a:cubicBezTo>
                    <a:pt x="1965" y="74"/>
                    <a:pt x="2103" y="238"/>
                    <a:pt x="2208" y="501"/>
                  </a:cubicBezTo>
                  <a:cubicBezTo>
                    <a:pt x="2095" y="523"/>
                    <a:pt x="1959" y="537"/>
                    <a:pt x="1809" y="537"/>
                  </a:cubicBezTo>
                  <a:close/>
                  <a:moveTo>
                    <a:pt x="2035" y="97"/>
                  </a:moveTo>
                  <a:cubicBezTo>
                    <a:pt x="2216" y="142"/>
                    <a:pt x="2385" y="240"/>
                    <a:pt x="2529" y="379"/>
                  </a:cubicBezTo>
                  <a:cubicBezTo>
                    <a:pt x="2481" y="419"/>
                    <a:pt x="2394" y="457"/>
                    <a:pt x="2278" y="486"/>
                  </a:cubicBezTo>
                  <a:cubicBezTo>
                    <a:pt x="2211" y="314"/>
                    <a:pt x="2128" y="181"/>
                    <a:pt x="2035" y="97"/>
                  </a:cubicBezTo>
                  <a:close/>
                  <a:moveTo>
                    <a:pt x="1497" y="111"/>
                  </a:moveTo>
                  <a:cubicBezTo>
                    <a:pt x="1392" y="189"/>
                    <a:pt x="1297" y="304"/>
                    <a:pt x="1217" y="448"/>
                  </a:cubicBezTo>
                  <a:cubicBezTo>
                    <a:pt x="1130" y="415"/>
                    <a:pt x="1073" y="376"/>
                    <a:pt x="1053" y="337"/>
                  </a:cubicBezTo>
                  <a:cubicBezTo>
                    <a:pt x="1186" y="233"/>
                    <a:pt x="1336" y="156"/>
                    <a:pt x="1497" y="111"/>
                  </a:cubicBezTo>
                  <a:close/>
                  <a:moveTo>
                    <a:pt x="1185" y="510"/>
                  </a:moveTo>
                  <a:cubicBezTo>
                    <a:pt x="1076" y="725"/>
                    <a:pt x="999" y="997"/>
                    <a:pt x="964" y="1299"/>
                  </a:cubicBezTo>
                  <a:cubicBezTo>
                    <a:pt x="773" y="1252"/>
                    <a:pt x="624" y="1191"/>
                    <a:pt x="527" y="1124"/>
                  </a:cubicBezTo>
                  <a:cubicBezTo>
                    <a:pt x="618" y="825"/>
                    <a:pt x="784" y="568"/>
                    <a:pt x="999" y="382"/>
                  </a:cubicBezTo>
                  <a:cubicBezTo>
                    <a:pt x="1032" y="433"/>
                    <a:pt x="1098" y="476"/>
                    <a:pt x="1185" y="510"/>
                  </a:cubicBezTo>
                  <a:close/>
                  <a:moveTo>
                    <a:pt x="1406" y="2188"/>
                  </a:moveTo>
                  <a:cubicBezTo>
                    <a:pt x="1396" y="2187"/>
                    <a:pt x="1386" y="2186"/>
                    <a:pt x="1376" y="2185"/>
                  </a:cubicBezTo>
                  <a:cubicBezTo>
                    <a:pt x="1386" y="2186"/>
                    <a:pt x="1396" y="2187"/>
                    <a:pt x="1406" y="2188"/>
                  </a:cubicBezTo>
                  <a:close/>
                  <a:moveTo>
                    <a:pt x="1940" y="2133"/>
                  </a:moveTo>
                  <a:cubicBezTo>
                    <a:pt x="1897" y="2134"/>
                    <a:pt x="1853" y="2135"/>
                    <a:pt x="1809" y="2135"/>
                  </a:cubicBezTo>
                  <a:cubicBezTo>
                    <a:pt x="1768" y="2135"/>
                    <a:pt x="1728" y="2134"/>
                    <a:pt x="1688" y="2133"/>
                  </a:cubicBezTo>
                  <a:cubicBezTo>
                    <a:pt x="1683" y="1977"/>
                    <a:pt x="1680" y="1816"/>
                    <a:pt x="1680" y="1651"/>
                  </a:cubicBezTo>
                  <a:cubicBezTo>
                    <a:pt x="1680" y="1584"/>
                    <a:pt x="1681" y="1519"/>
                    <a:pt x="1681" y="1456"/>
                  </a:cubicBezTo>
                  <a:cubicBezTo>
                    <a:pt x="1723" y="1458"/>
                    <a:pt x="1766" y="1458"/>
                    <a:pt x="1809" y="1458"/>
                  </a:cubicBezTo>
                  <a:cubicBezTo>
                    <a:pt x="2012" y="1458"/>
                    <a:pt x="2207" y="1444"/>
                    <a:pt x="2390" y="1418"/>
                  </a:cubicBezTo>
                  <a:cubicBezTo>
                    <a:pt x="2395" y="1494"/>
                    <a:pt x="2397" y="1572"/>
                    <a:pt x="2397" y="1651"/>
                  </a:cubicBezTo>
                  <a:cubicBezTo>
                    <a:pt x="2397" y="1725"/>
                    <a:pt x="2395" y="1799"/>
                    <a:pt x="2391" y="1872"/>
                  </a:cubicBezTo>
                  <a:cubicBezTo>
                    <a:pt x="2249" y="2006"/>
                    <a:pt x="2091" y="2087"/>
                    <a:pt x="1940" y="2133"/>
                  </a:cubicBezTo>
                  <a:close/>
                  <a:moveTo>
                    <a:pt x="2460" y="1426"/>
                  </a:moveTo>
                  <a:cubicBezTo>
                    <a:pt x="2616" y="1582"/>
                    <a:pt x="2616" y="1582"/>
                    <a:pt x="2616" y="1582"/>
                  </a:cubicBezTo>
                  <a:cubicBezTo>
                    <a:pt x="2569" y="1664"/>
                    <a:pt x="2518" y="1735"/>
                    <a:pt x="2463" y="1797"/>
                  </a:cubicBezTo>
                  <a:cubicBezTo>
                    <a:pt x="2465" y="1748"/>
                    <a:pt x="2466" y="1699"/>
                    <a:pt x="2466" y="1651"/>
                  </a:cubicBezTo>
                  <a:cubicBezTo>
                    <a:pt x="2466" y="1574"/>
                    <a:pt x="2464" y="1499"/>
                    <a:pt x="2460" y="1426"/>
                  </a:cubicBezTo>
                  <a:close/>
                  <a:moveTo>
                    <a:pt x="2302" y="550"/>
                  </a:moveTo>
                  <a:cubicBezTo>
                    <a:pt x="2420" y="521"/>
                    <a:pt x="2517" y="480"/>
                    <a:pt x="2577" y="428"/>
                  </a:cubicBezTo>
                  <a:cubicBezTo>
                    <a:pt x="2758" y="622"/>
                    <a:pt x="2897" y="885"/>
                    <a:pt x="2968" y="1193"/>
                  </a:cubicBezTo>
                  <a:cubicBezTo>
                    <a:pt x="2940" y="1206"/>
                    <a:pt x="2911" y="1218"/>
                    <a:pt x="2879" y="1230"/>
                  </a:cubicBezTo>
                  <a:cubicBezTo>
                    <a:pt x="2448" y="1264"/>
                    <a:pt x="2448" y="1264"/>
                    <a:pt x="2448" y="1264"/>
                  </a:cubicBezTo>
                  <a:cubicBezTo>
                    <a:pt x="2423" y="993"/>
                    <a:pt x="2373" y="750"/>
                    <a:pt x="2302" y="550"/>
                  </a:cubicBezTo>
                  <a:close/>
                  <a:moveTo>
                    <a:pt x="3323" y="1194"/>
                  </a:moveTo>
                  <a:cubicBezTo>
                    <a:pt x="3078" y="1214"/>
                    <a:pt x="3078" y="1214"/>
                    <a:pt x="3078" y="1214"/>
                  </a:cubicBezTo>
                  <a:cubicBezTo>
                    <a:pt x="3173" y="1160"/>
                    <a:pt x="3236" y="1099"/>
                    <a:pt x="3266" y="1035"/>
                  </a:cubicBezTo>
                  <a:cubicBezTo>
                    <a:pt x="3287" y="1087"/>
                    <a:pt x="3307" y="1140"/>
                    <a:pt x="3323" y="1194"/>
                  </a:cubicBezTo>
                  <a:close/>
                  <a:moveTo>
                    <a:pt x="3214" y="926"/>
                  </a:moveTo>
                  <a:cubicBezTo>
                    <a:pt x="3216" y="933"/>
                    <a:pt x="3217" y="940"/>
                    <a:pt x="3217" y="947"/>
                  </a:cubicBezTo>
                  <a:cubicBezTo>
                    <a:pt x="3217" y="1020"/>
                    <a:pt x="3151" y="1094"/>
                    <a:pt x="3031" y="1161"/>
                  </a:cubicBezTo>
                  <a:cubicBezTo>
                    <a:pt x="2956" y="846"/>
                    <a:pt x="2811" y="576"/>
                    <a:pt x="2622" y="376"/>
                  </a:cubicBezTo>
                  <a:cubicBezTo>
                    <a:pt x="2635" y="354"/>
                    <a:pt x="2641" y="332"/>
                    <a:pt x="2641" y="308"/>
                  </a:cubicBezTo>
                  <a:cubicBezTo>
                    <a:pt x="2641" y="308"/>
                    <a:pt x="2641" y="307"/>
                    <a:pt x="2641" y="307"/>
                  </a:cubicBezTo>
                  <a:cubicBezTo>
                    <a:pt x="2882" y="456"/>
                    <a:pt x="3082" y="669"/>
                    <a:pt x="3214" y="926"/>
                  </a:cubicBezTo>
                  <a:close/>
                  <a:moveTo>
                    <a:pt x="2542" y="250"/>
                  </a:moveTo>
                  <a:cubicBezTo>
                    <a:pt x="2562" y="270"/>
                    <a:pt x="2572" y="289"/>
                    <a:pt x="2572" y="308"/>
                  </a:cubicBezTo>
                  <a:cubicBezTo>
                    <a:pt x="2572" y="313"/>
                    <a:pt x="2571" y="318"/>
                    <a:pt x="2570" y="323"/>
                  </a:cubicBezTo>
                  <a:cubicBezTo>
                    <a:pt x="2514" y="270"/>
                    <a:pt x="2455" y="223"/>
                    <a:pt x="2394" y="182"/>
                  </a:cubicBezTo>
                  <a:cubicBezTo>
                    <a:pt x="2444" y="202"/>
                    <a:pt x="2494" y="225"/>
                    <a:pt x="2542" y="250"/>
                  </a:cubicBezTo>
                  <a:close/>
                  <a:moveTo>
                    <a:pt x="977" y="307"/>
                  </a:moveTo>
                  <a:cubicBezTo>
                    <a:pt x="977" y="307"/>
                    <a:pt x="976" y="308"/>
                    <a:pt x="976" y="308"/>
                  </a:cubicBezTo>
                  <a:cubicBezTo>
                    <a:pt x="976" y="309"/>
                    <a:pt x="977" y="310"/>
                    <a:pt x="977" y="311"/>
                  </a:cubicBezTo>
                  <a:cubicBezTo>
                    <a:pt x="748" y="501"/>
                    <a:pt x="569" y="767"/>
                    <a:pt x="470" y="1078"/>
                  </a:cubicBezTo>
                  <a:cubicBezTo>
                    <a:pt x="425" y="1035"/>
                    <a:pt x="401" y="991"/>
                    <a:pt x="401" y="947"/>
                  </a:cubicBezTo>
                  <a:cubicBezTo>
                    <a:pt x="401" y="941"/>
                    <a:pt x="402" y="935"/>
                    <a:pt x="403" y="928"/>
                  </a:cubicBezTo>
                  <a:cubicBezTo>
                    <a:pt x="535" y="673"/>
                    <a:pt x="734" y="458"/>
                    <a:pt x="977" y="307"/>
                  </a:cubicBezTo>
                  <a:close/>
                  <a:moveTo>
                    <a:pt x="353" y="1034"/>
                  </a:moveTo>
                  <a:cubicBezTo>
                    <a:pt x="372" y="1075"/>
                    <a:pt x="404" y="1113"/>
                    <a:pt x="448" y="1150"/>
                  </a:cubicBezTo>
                  <a:cubicBezTo>
                    <a:pt x="404" y="1308"/>
                    <a:pt x="381" y="1476"/>
                    <a:pt x="381" y="1651"/>
                  </a:cubicBezTo>
                  <a:cubicBezTo>
                    <a:pt x="381" y="1701"/>
                    <a:pt x="383" y="1751"/>
                    <a:pt x="387" y="1801"/>
                  </a:cubicBezTo>
                  <a:cubicBezTo>
                    <a:pt x="332" y="1760"/>
                    <a:pt x="279" y="1716"/>
                    <a:pt x="230" y="1670"/>
                  </a:cubicBezTo>
                  <a:cubicBezTo>
                    <a:pt x="229" y="1664"/>
                    <a:pt x="228" y="1657"/>
                    <a:pt x="228" y="1651"/>
                  </a:cubicBezTo>
                  <a:cubicBezTo>
                    <a:pt x="228" y="1432"/>
                    <a:pt x="272" y="1224"/>
                    <a:pt x="353" y="1034"/>
                  </a:cubicBezTo>
                  <a:close/>
                  <a:moveTo>
                    <a:pt x="1662" y="2869"/>
                  </a:moveTo>
                  <a:cubicBezTo>
                    <a:pt x="1664" y="2869"/>
                    <a:pt x="1665" y="2869"/>
                    <a:pt x="1667" y="2869"/>
                  </a:cubicBezTo>
                  <a:cubicBezTo>
                    <a:pt x="1688" y="3057"/>
                    <a:pt x="1711" y="3164"/>
                    <a:pt x="1734" y="3224"/>
                  </a:cubicBezTo>
                  <a:cubicBezTo>
                    <a:pt x="1570" y="3193"/>
                    <a:pt x="1412" y="3057"/>
                    <a:pt x="1287" y="2839"/>
                  </a:cubicBezTo>
                  <a:cubicBezTo>
                    <a:pt x="1394" y="2853"/>
                    <a:pt x="1507" y="2863"/>
                    <a:pt x="1624" y="2867"/>
                  </a:cubicBezTo>
                  <a:cubicBezTo>
                    <a:pt x="1636" y="2868"/>
                    <a:pt x="1649" y="2868"/>
                    <a:pt x="1662" y="2869"/>
                  </a:cubicBezTo>
                  <a:close/>
                  <a:moveTo>
                    <a:pt x="1809" y="2871"/>
                  </a:moveTo>
                  <a:cubicBezTo>
                    <a:pt x="1939" y="2871"/>
                    <a:pt x="2065" y="2866"/>
                    <a:pt x="2186" y="2855"/>
                  </a:cubicBezTo>
                  <a:cubicBezTo>
                    <a:pt x="2081" y="3092"/>
                    <a:pt x="1949" y="3228"/>
                    <a:pt x="1815" y="3231"/>
                  </a:cubicBezTo>
                  <a:cubicBezTo>
                    <a:pt x="1804" y="3219"/>
                    <a:pt x="1770" y="3157"/>
                    <a:pt x="1737" y="2871"/>
                  </a:cubicBezTo>
                  <a:cubicBezTo>
                    <a:pt x="1761" y="2871"/>
                    <a:pt x="1785" y="2871"/>
                    <a:pt x="1809" y="2871"/>
                  </a:cubicBezTo>
                  <a:close/>
                  <a:moveTo>
                    <a:pt x="2265" y="2847"/>
                  </a:moveTo>
                  <a:cubicBezTo>
                    <a:pt x="2405" y="2832"/>
                    <a:pt x="2537" y="2809"/>
                    <a:pt x="2656" y="2781"/>
                  </a:cubicBezTo>
                  <a:cubicBezTo>
                    <a:pt x="2485" y="3000"/>
                    <a:pt x="2271" y="3147"/>
                    <a:pt x="2035" y="3204"/>
                  </a:cubicBezTo>
                  <a:cubicBezTo>
                    <a:pt x="2120" y="3128"/>
                    <a:pt x="2198" y="3007"/>
                    <a:pt x="2265" y="2847"/>
                  </a:cubicBezTo>
                  <a:close/>
                  <a:moveTo>
                    <a:pt x="2374" y="2763"/>
                  </a:moveTo>
                  <a:cubicBezTo>
                    <a:pt x="2517" y="2716"/>
                    <a:pt x="2657" y="2654"/>
                    <a:pt x="2789" y="2578"/>
                  </a:cubicBezTo>
                  <a:cubicBezTo>
                    <a:pt x="2767" y="2618"/>
                    <a:pt x="2743" y="2657"/>
                    <a:pt x="2718" y="2693"/>
                  </a:cubicBezTo>
                  <a:cubicBezTo>
                    <a:pt x="2615" y="2722"/>
                    <a:pt x="2499" y="2745"/>
                    <a:pt x="2374" y="2763"/>
                  </a:cubicBezTo>
                  <a:close/>
                  <a:moveTo>
                    <a:pt x="1491" y="3189"/>
                  </a:moveTo>
                  <a:cubicBezTo>
                    <a:pt x="1237" y="3119"/>
                    <a:pt x="1007" y="2964"/>
                    <a:pt x="827" y="2745"/>
                  </a:cubicBezTo>
                  <a:cubicBezTo>
                    <a:pt x="938" y="2779"/>
                    <a:pt x="1064" y="2806"/>
                    <a:pt x="1201" y="2827"/>
                  </a:cubicBezTo>
                  <a:cubicBezTo>
                    <a:pt x="1285" y="2987"/>
                    <a:pt x="1384" y="3109"/>
                    <a:pt x="1491" y="3189"/>
                  </a:cubicBezTo>
                  <a:close/>
                  <a:moveTo>
                    <a:pt x="753" y="2647"/>
                  </a:moveTo>
                  <a:cubicBezTo>
                    <a:pt x="724" y="2605"/>
                    <a:pt x="696" y="2560"/>
                    <a:pt x="669" y="2513"/>
                  </a:cubicBezTo>
                  <a:cubicBezTo>
                    <a:pt x="783" y="2603"/>
                    <a:pt x="900" y="2671"/>
                    <a:pt x="1014" y="2722"/>
                  </a:cubicBezTo>
                  <a:cubicBezTo>
                    <a:pt x="918" y="2701"/>
                    <a:pt x="831" y="2676"/>
                    <a:pt x="753" y="2647"/>
                  </a:cubicBezTo>
                  <a:close/>
                  <a:moveTo>
                    <a:pt x="533" y="2393"/>
                  </a:moveTo>
                  <a:cubicBezTo>
                    <a:pt x="565" y="2466"/>
                    <a:pt x="601" y="2535"/>
                    <a:pt x="640" y="2600"/>
                  </a:cubicBezTo>
                  <a:cubicBezTo>
                    <a:pt x="563" y="2563"/>
                    <a:pt x="502" y="2523"/>
                    <a:pt x="461" y="2479"/>
                  </a:cubicBezTo>
                  <a:cubicBezTo>
                    <a:pt x="460" y="2478"/>
                    <a:pt x="459" y="2478"/>
                    <a:pt x="459" y="2477"/>
                  </a:cubicBezTo>
                  <a:cubicBezTo>
                    <a:pt x="389" y="2363"/>
                    <a:pt x="334" y="2240"/>
                    <a:pt x="295" y="2108"/>
                  </a:cubicBezTo>
                  <a:cubicBezTo>
                    <a:pt x="370" y="2218"/>
                    <a:pt x="450" y="2312"/>
                    <a:pt x="533" y="2393"/>
                  </a:cubicBezTo>
                  <a:close/>
                  <a:moveTo>
                    <a:pt x="577" y="2646"/>
                  </a:moveTo>
                  <a:cubicBezTo>
                    <a:pt x="617" y="2667"/>
                    <a:pt x="661" y="2686"/>
                    <a:pt x="709" y="2705"/>
                  </a:cubicBezTo>
                  <a:cubicBezTo>
                    <a:pt x="793" y="2822"/>
                    <a:pt x="889" y="2924"/>
                    <a:pt x="995" y="3009"/>
                  </a:cubicBezTo>
                  <a:cubicBezTo>
                    <a:pt x="836" y="2914"/>
                    <a:pt x="694" y="2791"/>
                    <a:pt x="577" y="2646"/>
                  </a:cubicBezTo>
                  <a:close/>
                  <a:moveTo>
                    <a:pt x="2405" y="3113"/>
                  </a:moveTo>
                  <a:cubicBezTo>
                    <a:pt x="2539" y="3023"/>
                    <a:pt x="2660" y="2901"/>
                    <a:pt x="2762" y="2753"/>
                  </a:cubicBezTo>
                  <a:cubicBezTo>
                    <a:pt x="2865" y="2724"/>
                    <a:pt x="2957" y="2689"/>
                    <a:pt x="3033" y="2650"/>
                  </a:cubicBezTo>
                  <a:cubicBezTo>
                    <a:pt x="2865" y="2854"/>
                    <a:pt x="2648" y="3013"/>
                    <a:pt x="2405" y="3113"/>
                  </a:cubicBezTo>
                  <a:close/>
                  <a:moveTo>
                    <a:pt x="3154" y="2482"/>
                  </a:moveTo>
                  <a:cubicBezTo>
                    <a:pt x="3087" y="2551"/>
                    <a:pt x="2971" y="2613"/>
                    <a:pt x="2820" y="2663"/>
                  </a:cubicBezTo>
                  <a:cubicBezTo>
                    <a:pt x="2850" y="2614"/>
                    <a:pt x="2877" y="2562"/>
                    <a:pt x="2903" y="2508"/>
                  </a:cubicBezTo>
                  <a:cubicBezTo>
                    <a:pt x="3029" y="2424"/>
                    <a:pt x="3147" y="2328"/>
                    <a:pt x="3253" y="2219"/>
                  </a:cubicBezTo>
                  <a:cubicBezTo>
                    <a:pt x="3276" y="2242"/>
                    <a:pt x="3276" y="2242"/>
                    <a:pt x="3276" y="2242"/>
                  </a:cubicBezTo>
                  <a:cubicBezTo>
                    <a:pt x="3242" y="2326"/>
                    <a:pt x="3201" y="2406"/>
                    <a:pt x="3154" y="2482"/>
                  </a:cubicBezTo>
                  <a:close/>
                  <a:moveTo>
                    <a:pt x="3496" y="2364"/>
                  </a:moveTo>
                  <a:cubicBezTo>
                    <a:pt x="3340" y="2209"/>
                    <a:pt x="3340" y="2209"/>
                    <a:pt x="3340" y="2209"/>
                  </a:cubicBezTo>
                  <a:cubicBezTo>
                    <a:pt x="3340" y="2209"/>
                    <a:pt x="3340" y="2209"/>
                    <a:pt x="3340" y="2209"/>
                  </a:cubicBezTo>
                  <a:cubicBezTo>
                    <a:pt x="3277" y="2145"/>
                    <a:pt x="3277" y="2145"/>
                    <a:pt x="3277" y="2145"/>
                  </a:cubicBezTo>
                  <a:cubicBezTo>
                    <a:pt x="3270" y="2138"/>
                    <a:pt x="3260" y="2133"/>
                    <a:pt x="3251" y="2135"/>
                  </a:cubicBezTo>
                  <a:cubicBezTo>
                    <a:pt x="3242" y="2135"/>
                    <a:pt x="3233" y="2139"/>
                    <a:pt x="3227" y="2146"/>
                  </a:cubicBezTo>
                  <a:cubicBezTo>
                    <a:pt x="2839" y="2562"/>
                    <a:pt x="2263" y="2805"/>
                    <a:pt x="1714" y="2801"/>
                  </a:cubicBezTo>
                  <a:cubicBezTo>
                    <a:pt x="1678" y="2800"/>
                    <a:pt x="1643" y="2799"/>
                    <a:pt x="1607" y="2797"/>
                  </a:cubicBezTo>
                  <a:cubicBezTo>
                    <a:pt x="1529" y="2792"/>
                    <a:pt x="1451" y="2782"/>
                    <a:pt x="1375" y="2766"/>
                  </a:cubicBezTo>
                  <a:cubicBezTo>
                    <a:pt x="1135" y="2716"/>
                    <a:pt x="848" y="2601"/>
                    <a:pt x="587" y="2349"/>
                  </a:cubicBezTo>
                  <a:cubicBezTo>
                    <a:pt x="585" y="2346"/>
                    <a:pt x="583" y="2344"/>
                    <a:pt x="581" y="2343"/>
                  </a:cubicBezTo>
                  <a:cubicBezTo>
                    <a:pt x="460" y="2225"/>
                    <a:pt x="345" y="2077"/>
                    <a:pt x="243" y="1893"/>
                  </a:cubicBezTo>
                  <a:cubicBezTo>
                    <a:pt x="243" y="1892"/>
                    <a:pt x="243" y="1891"/>
                    <a:pt x="242" y="1891"/>
                  </a:cubicBezTo>
                  <a:cubicBezTo>
                    <a:pt x="206" y="1825"/>
                    <a:pt x="171" y="1755"/>
                    <a:pt x="139" y="1679"/>
                  </a:cubicBezTo>
                  <a:cubicBezTo>
                    <a:pt x="148" y="1689"/>
                    <a:pt x="158" y="1697"/>
                    <a:pt x="168" y="1706"/>
                  </a:cubicBezTo>
                  <a:cubicBezTo>
                    <a:pt x="169" y="1708"/>
                    <a:pt x="170" y="1709"/>
                    <a:pt x="172" y="1710"/>
                  </a:cubicBezTo>
                  <a:cubicBezTo>
                    <a:pt x="172" y="1710"/>
                    <a:pt x="172" y="1710"/>
                    <a:pt x="172" y="1710"/>
                  </a:cubicBezTo>
                  <a:cubicBezTo>
                    <a:pt x="174" y="1712"/>
                    <a:pt x="175" y="1713"/>
                    <a:pt x="177" y="1715"/>
                  </a:cubicBezTo>
                  <a:cubicBezTo>
                    <a:pt x="248" y="1781"/>
                    <a:pt x="325" y="1842"/>
                    <a:pt x="406" y="1898"/>
                  </a:cubicBezTo>
                  <a:cubicBezTo>
                    <a:pt x="407" y="1899"/>
                    <a:pt x="408" y="1899"/>
                    <a:pt x="408" y="1900"/>
                  </a:cubicBezTo>
                  <a:cubicBezTo>
                    <a:pt x="590" y="2024"/>
                    <a:pt x="794" y="2120"/>
                    <a:pt x="1005" y="2182"/>
                  </a:cubicBezTo>
                  <a:cubicBezTo>
                    <a:pt x="1008" y="2183"/>
                    <a:pt x="1011" y="2184"/>
                    <a:pt x="1014" y="2185"/>
                  </a:cubicBezTo>
                  <a:cubicBezTo>
                    <a:pt x="1227" y="2247"/>
                    <a:pt x="1446" y="2273"/>
                    <a:pt x="1655" y="2257"/>
                  </a:cubicBezTo>
                  <a:cubicBezTo>
                    <a:pt x="1655" y="2257"/>
                    <a:pt x="1656" y="2257"/>
                    <a:pt x="1656" y="2257"/>
                  </a:cubicBezTo>
                  <a:cubicBezTo>
                    <a:pt x="1657" y="2257"/>
                    <a:pt x="1657" y="2257"/>
                    <a:pt x="1658" y="2257"/>
                  </a:cubicBezTo>
                  <a:cubicBezTo>
                    <a:pt x="1658" y="2257"/>
                    <a:pt x="1659" y="2256"/>
                    <a:pt x="1659" y="2256"/>
                  </a:cubicBezTo>
                  <a:cubicBezTo>
                    <a:pt x="1663" y="2256"/>
                    <a:pt x="1667" y="2256"/>
                    <a:pt x="1671" y="2256"/>
                  </a:cubicBezTo>
                  <a:cubicBezTo>
                    <a:pt x="1986" y="2227"/>
                    <a:pt x="2417" y="2089"/>
                    <a:pt x="2689" y="1593"/>
                  </a:cubicBezTo>
                  <a:cubicBezTo>
                    <a:pt x="2697" y="1579"/>
                    <a:pt x="2694" y="1563"/>
                    <a:pt x="2684" y="1552"/>
                  </a:cubicBezTo>
                  <a:cubicBezTo>
                    <a:pt x="2464" y="1332"/>
                    <a:pt x="2464" y="1332"/>
                    <a:pt x="2464" y="1332"/>
                  </a:cubicBezTo>
                  <a:cubicBezTo>
                    <a:pt x="3586" y="1243"/>
                    <a:pt x="3586" y="1243"/>
                    <a:pt x="3586" y="1243"/>
                  </a:cubicBezTo>
                  <a:lnTo>
                    <a:pt x="3496" y="23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9" name="Freeform 8"/>
          <p:cNvSpPr>
            <a:spLocks/>
          </p:cNvSpPr>
          <p:nvPr/>
        </p:nvSpPr>
        <p:spPr bwMode="auto">
          <a:xfrm>
            <a:off x="2550539" y="2262988"/>
            <a:ext cx="1431959" cy="145577"/>
          </a:xfrm>
          <a:custGeom>
            <a:avLst/>
            <a:gdLst>
              <a:gd name="connsiteX0" fmla="*/ 0 w 4532378"/>
              <a:gd name="connsiteY0" fmla="*/ 127993 h 460775"/>
              <a:gd name="connsiteX1" fmla="*/ 4303412 w 4532378"/>
              <a:gd name="connsiteY1" fmla="*/ 127993 h 460775"/>
              <a:gd name="connsiteX2" fmla="*/ 4303412 w 4532378"/>
              <a:gd name="connsiteY2" fmla="*/ 332782 h 460775"/>
              <a:gd name="connsiteX3" fmla="*/ 0 w 4532378"/>
              <a:gd name="connsiteY3" fmla="*/ 332782 h 460775"/>
              <a:gd name="connsiteX4" fmla="*/ 4303413 w 4532378"/>
              <a:gd name="connsiteY4" fmla="*/ 0 h 460775"/>
              <a:gd name="connsiteX5" fmla="*/ 4532378 w 4532378"/>
              <a:gd name="connsiteY5" fmla="*/ 230388 h 460775"/>
              <a:gd name="connsiteX6" fmla="*/ 4303413 w 4532378"/>
              <a:gd name="connsiteY6" fmla="*/ 460775 h 460775"/>
              <a:gd name="connsiteX7" fmla="*/ 4303413 w 4532378"/>
              <a:gd name="connsiteY7" fmla="*/ 230388 h 460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32378" h="460775">
                <a:moveTo>
                  <a:pt x="0" y="127993"/>
                </a:moveTo>
                <a:lnTo>
                  <a:pt x="4303412" y="127993"/>
                </a:lnTo>
                <a:lnTo>
                  <a:pt x="4303412" y="332782"/>
                </a:lnTo>
                <a:lnTo>
                  <a:pt x="0" y="332782"/>
                </a:lnTo>
                <a:close/>
                <a:moveTo>
                  <a:pt x="4303413" y="0"/>
                </a:moveTo>
                <a:lnTo>
                  <a:pt x="4532378" y="230388"/>
                </a:lnTo>
                <a:lnTo>
                  <a:pt x="4303413" y="460775"/>
                </a:lnTo>
                <a:lnTo>
                  <a:pt x="4303413" y="23038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6" name="Freeform 8"/>
          <p:cNvSpPr>
            <a:spLocks noEditPoints="1"/>
          </p:cNvSpPr>
          <p:nvPr/>
        </p:nvSpPr>
        <p:spPr bwMode="auto">
          <a:xfrm>
            <a:off x="1914654" y="2303425"/>
            <a:ext cx="1265713" cy="1265713"/>
          </a:xfrm>
          <a:custGeom>
            <a:avLst/>
            <a:gdLst>
              <a:gd name="T0" fmla="*/ 1258 w 2517"/>
              <a:gd name="T1" fmla="*/ 0 h 2516"/>
              <a:gd name="T2" fmla="*/ 0 w 2517"/>
              <a:gd name="T3" fmla="*/ 1258 h 2516"/>
              <a:gd name="T4" fmla="*/ 1258 w 2517"/>
              <a:gd name="T5" fmla="*/ 2516 h 2516"/>
              <a:gd name="T6" fmla="*/ 2517 w 2517"/>
              <a:gd name="T7" fmla="*/ 1258 h 2516"/>
              <a:gd name="T8" fmla="*/ 1258 w 2517"/>
              <a:gd name="T9" fmla="*/ 0 h 2516"/>
              <a:gd name="T10" fmla="*/ 1258 w 2517"/>
              <a:gd name="T11" fmla="*/ 2388 h 2516"/>
              <a:gd name="T12" fmla="*/ 129 w 2517"/>
              <a:gd name="T13" fmla="*/ 1258 h 2516"/>
              <a:gd name="T14" fmla="*/ 1258 w 2517"/>
              <a:gd name="T15" fmla="*/ 128 h 2516"/>
              <a:gd name="T16" fmla="*/ 2388 w 2517"/>
              <a:gd name="T17" fmla="*/ 1258 h 2516"/>
              <a:gd name="T18" fmla="*/ 1258 w 2517"/>
              <a:gd name="T19" fmla="*/ 2388 h 2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517" h="2516">
                <a:moveTo>
                  <a:pt x="1258" y="0"/>
                </a:moveTo>
                <a:cubicBezTo>
                  <a:pt x="563" y="0"/>
                  <a:pt x="0" y="563"/>
                  <a:pt x="0" y="1258"/>
                </a:cubicBezTo>
                <a:cubicBezTo>
                  <a:pt x="0" y="1953"/>
                  <a:pt x="563" y="2516"/>
                  <a:pt x="1258" y="2516"/>
                </a:cubicBezTo>
                <a:cubicBezTo>
                  <a:pt x="1953" y="2516"/>
                  <a:pt x="2517" y="1953"/>
                  <a:pt x="2517" y="1258"/>
                </a:cubicBezTo>
                <a:cubicBezTo>
                  <a:pt x="2517" y="563"/>
                  <a:pt x="1953" y="0"/>
                  <a:pt x="1258" y="0"/>
                </a:cubicBezTo>
                <a:close/>
                <a:moveTo>
                  <a:pt x="1258" y="2388"/>
                </a:moveTo>
                <a:cubicBezTo>
                  <a:pt x="634" y="2388"/>
                  <a:pt x="129" y="1882"/>
                  <a:pt x="129" y="1258"/>
                </a:cubicBezTo>
                <a:cubicBezTo>
                  <a:pt x="129" y="634"/>
                  <a:pt x="634" y="128"/>
                  <a:pt x="1258" y="128"/>
                </a:cubicBezTo>
                <a:cubicBezTo>
                  <a:pt x="1882" y="128"/>
                  <a:pt x="2388" y="634"/>
                  <a:pt x="2388" y="1258"/>
                </a:cubicBezTo>
                <a:cubicBezTo>
                  <a:pt x="2388" y="1882"/>
                  <a:pt x="1882" y="2388"/>
                  <a:pt x="1258" y="238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2" name="Group 11"/>
          <p:cNvGrpSpPr/>
          <p:nvPr/>
        </p:nvGrpSpPr>
        <p:grpSpPr>
          <a:xfrm>
            <a:off x="2122200" y="2510971"/>
            <a:ext cx="850620" cy="850620"/>
            <a:chOff x="2122200" y="2510971"/>
            <a:chExt cx="850620" cy="850620"/>
          </a:xfrm>
        </p:grpSpPr>
        <p:sp>
          <p:nvSpPr>
            <p:cNvPr id="29" name="Oval 28"/>
            <p:cNvSpPr/>
            <p:nvPr/>
          </p:nvSpPr>
          <p:spPr>
            <a:xfrm>
              <a:off x="2122200" y="2510971"/>
              <a:ext cx="850620" cy="85062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41"/>
            <p:cNvSpPr>
              <a:spLocks noEditPoints="1"/>
            </p:cNvSpPr>
            <p:nvPr/>
          </p:nvSpPr>
          <p:spPr bwMode="auto">
            <a:xfrm>
              <a:off x="2351828" y="2735438"/>
              <a:ext cx="401685" cy="401685"/>
            </a:xfrm>
            <a:custGeom>
              <a:avLst/>
              <a:gdLst>
                <a:gd name="T0" fmla="*/ 667 w 1470"/>
                <a:gd name="T1" fmla="*/ 357 h 1467"/>
                <a:gd name="T2" fmla="*/ 667 w 1470"/>
                <a:gd name="T3" fmla="*/ 1242 h 1467"/>
                <a:gd name="T4" fmla="*/ 1034 w 1470"/>
                <a:gd name="T5" fmla="*/ 553 h 1467"/>
                <a:gd name="T6" fmla="*/ 1067 w 1470"/>
                <a:gd name="T7" fmla="*/ 531 h 1467"/>
                <a:gd name="T8" fmla="*/ 667 w 1470"/>
                <a:gd name="T9" fmla="*/ 1282 h 1467"/>
                <a:gd name="T10" fmla="*/ 667 w 1470"/>
                <a:gd name="T11" fmla="*/ 318 h 1467"/>
                <a:gd name="T12" fmla="*/ 931 w 1470"/>
                <a:gd name="T13" fmla="*/ 420 h 1467"/>
                <a:gd name="T14" fmla="*/ 667 w 1470"/>
                <a:gd name="T15" fmla="*/ 542 h 1467"/>
                <a:gd name="T16" fmla="*/ 805 w 1470"/>
                <a:gd name="T17" fmla="*/ 559 h 1467"/>
                <a:gd name="T18" fmla="*/ 667 w 1470"/>
                <a:gd name="T19" fmla="*/ 503 h 1467"/>
                <a:gd name="T20" fmla="*/ 667 w 1470"/>
                <a:gd name="T21" fmla="*/ 1097 h 1467"/>
                <a:gd name="T22" fmla="*/ 930 w 1470"/>
                <a:gd name="T23" fmla="*/ 662 h 1467"/>
                <a:gd name="T24" fmla="*/ 895 w 1470"/>
                <a:gd name="T25" fmla="*/ 680 h 1467"/>
                <a:gd name="T26" fmla="*/ 667 w 1470"/>
                <a:gd name="T27" fmla="*/ 1057 h 1467"/>
                <a:gd name="T28" fmla="*/ 667 w 1470"/>
                <a:gd name="T29" fmla="*/ 542 h 1467"/>
                <a:gd name="T30" fmla="*/ 1256 w 1470"/>
                <a:gd name="T31" fmla="*/ 237 h 1467"/>
                <a:gd name="T32" fmla="*/ 1388 w 1470"/>
                <a:gd name="T33" fmla="*/ 307 h 1467"/>
                <a:gd name="T34" fmla="*/ 1202 w 1470"/>
                <a:gd name="T35" fmla="*/ 291 h 1467"/>
                <a:gd name="T36" fmla="*/ 1333 w 1470"/>
                <a:gd name="T37" fmla="*/ 361 h 1467"/>
                <a:gd name="T38" fmla="*/ 736 w 1470"/>
                <a:gd name="T39" fmla="*/ 756 h 1467"/>
                <a:gd name="T40" fmla="*/ 667 w 1470"/>
                <a:gd name="T41" fmla="*/ 882 h 1467"/>
                <a:gd name="T42" fmla="*/ 667 w 1470"/>
                <a:gd name="T43" fmla="*/ 718 h 1467"/>
                <a:gd name="T44" fmla="*/ 1150 w 1470"/>
                <a:gd name="T45" fmla="*/ 295 h 1467"/>
                <a:gd name="T46" fmla="*/ 1135 w 1470"/>
                <a:gd name="T47" fmla="*/ 109 h 1467"/>
                <a:gd name="T48" fmla="*/ 1205 w 1470"/>
                <a:gd name="T49" fmla="*/ 240 h 1467"/>
                <a:gd name="T50" fmla="*/ 1190 w 1470"/>
                <a:gd name="T51" fmla="*/ 54 h 1467"/>
                <a:gd name="T52" fmla="*/ 1260 w 1470"/>
                <a:gd name="T53" fmla="*/ 186 h 1467"/>
                <a:gd name="T54" fmla="*/ 1245 w 1470"/>
                <a:gd name="T55" fmla="*/ 0 h 1467"/>
                <a:gd name="T56" fmla="*/ 1315 w 1470"/>
                <a:gd name="T57" fmla="*/ 131 h 1467"/>
                <a:gd name="T58" fmla="*/ 1311 w 1470"/>
                <a:gd name="T59" fmla="*/ 183 h 1467"/>
                <a:gd name="T60" fmla="*/ 1442 w 1470"/>
                <a:gd name="T61" fmla="*/ 253 h 1467"/>
                <a:gd name="T62" fmla="*/ 707 w 1470"/>
                <a:gd name="T63" fmla="*/ 785 h 1467"/>
                <a:gd name="T64" fmla="*/ 661 w 1470"/>
                <a:gd name="T65" fmla="*/ 824 h 1467"/>
                <a:gd name="T66" fmla="*/ 649 w 1470"/>
                <a:gd name="T67" fmla="*/ 795 h 1467"/>
                <a:gd name="T68" fmla="*/ 667 w 1470"/>
                <a:gd name="T69" fmla="*/ 757 h 1467"/>
                <a:gd name="T70" fmla="*/ 667 w 1470"/>
                <a:gd name="T71" fmla="*/ 842 h 1467"/>
                <a:gd name="T72" fmla="*/ 707 w 1470"/>
                <a:gd name="T73" fmla="*/ 785 h 1467"/>
                <a:gd name="T74" fmla="*/ 1162 w 1470"/>
                <a:gd name="T75" fmla="*/ 415 h 1467"/>
                <a:gd name="T76" fmla="*/ 667 w 1470"/>
                <a:gd name="T77" fmla="*/ 1427 h 1467"/>
                <a:gd name="T78" fmla="*/ 667 w 1470"/>
                <a:gd name="T79" fmla="*/ 173 h 1467"/>
                <a:gd name="T80" fmla="*/ 1066 w 1470"/>
                <a:gd name="T81" fmla="*/ 290 h 1467"/>
                <a:gd name="T82" fmla="*/ 667 w 1470"/>
                <a:gd name="T83" fmla="*/ 133 h 1467"/>
                <a:gd name="T84" fmla="*/ 667 w 1470"/>
                <a:gd name="T85" fmla="*/ 1467 h 1467"/>
                <a:gd name="T86" fmla="*/ 1193 w 1470"/>
                <a:gd name="T87" fmla="*/ 391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70" h="1467">
                  <a:moveTo>
                    <a:pt x="904" y="426"/>
                  </a:moveTo>
                  <a:cubicBezTo>
                    <a:pt x="833" y="381"/>
                    <a:pt x="751" y="357"/>
                    <a:pt x="667" y="357"/>
                  </a:cubicBezTo>
                  <a:cubicBezTo>
                    <a:pt x="423" y="357"/>
                    <a:pt x="225" y="556"/>
                    <a:pt x="225" y="800"/>
                  </a:cubicBezTo>
                  <a:cubicBezTo>
                    <a:pt x="225" y="1044"/>
                    <a:pt x="423" y="1242"/>
                    <a:pt x="667" y="1242"/>
                  </a:cubicBezTo>
                  <a:cubicBezTo>
                    <a:pt x="911" y="1242"/>
                    <a:pt x="1109" y="1044"/>
                    <a:pt x="1109" y="800"/>
                  </a:cubicBezTo>
                  <a:cubicBezTo>
                    <a:pt x="1109" y="712"/>
                    <a:pt x="1083" y="626"/>
                    <a:pt x="1034" y="553"/>
                  </a:cubicBezTo>
                  <a:cubicBezTo>
                    <a:pt x="1028" y="544"/>
                    <a:pt x="1031" y="532"/>
                    <a:pt x="1040" y="526"/>
                  </a:cubicBezTo>
                  <a:cubicBezTo>
                    <a:pt x="1049" y="520"/>
                    <a:pt x="1061" y="522"/>
                    <a:pt x="1067" y="531"/>
                  </a:cubicBezTo>
                  <a:cubicBezTo>
                    <a:pt x="1121" y="611"/>
                    <a:pt x="1149" y="704"/>
                    <a:pt x="1149" y="800"/>
                  </a:cubicBezTo>
                  <a:cubicBezTo>
                    <a:pt x="1149" y="1066"/>
                    <a:pt x="933" y="1282"/>
                    <a:pt x="667" y="1282"/>
                  </a:cubicBezTo>
                  <a:cubicBezTo>
                    <a:pt x="401" y="1282"/>
                    <a:pt x="185" y="1066"/>
                    <a:pt x="185" y="800"/>
                  </a:cubicBezTo>
                  <a:cubicBezTo>
                    <a:pt x="185" y="534"/>
                    <a:pt x="401" y="318"/>
                    <a:pt x="667" y="318"/>
                  </a:cubicBezTo>
                  <a:cubicBezTo>
                    <a:pt x="759" y="318"/>
                    <a:pt x="848" y="344"/>
                    <a:pt x="925" y="393"/>
                  </a:cubicBezTo>
                  <a:cubicBezTo>
                    <a:pt x="935" y="399"/>
                    <a:pt x="937" y="411"/>
                    <a:pt x="931" y="420"/>
                  </a:cubicBezTo>
                  <a:cubicBezTo>
                    <a:pt x="925" y="429"/>
                    <a:pt x="913" y="432"/>
                    <a:pt x="904" y="426"/>
                  </a:cubicBezTo>
                  <a:close/>
                  <a:moveTo>
                    <a:pt x="667" y="542"/>
                  </a:moveTo>
                  <a:cubicBezTo>
                    <a:pt x="706" y="542"/>
                    <a:pt x="744" y="551"/>
                    <a:pt x="779" y="568"/>
                  </a:cubicBezTo>
                  <a:cubicBezTo>
                    <a:pt x="789" y="573"/>
                    <a:pt x="800" y="568"/>
                    <a:pt x="805" y="559"/>
                  </a:cubicBezTo>
                  <a:cubicBezTo>
                    <a:pt x="810" y="549"/>
                    <a:pt x="806" y="537"/>
                    <a:pt x="796" y="532"/>
                  </a:cubicBezTo>
                  <a:cubicBezTo>
                    <a:pt x="756" y="513"/>
                    <a:pt x="712" y="503"/>
                    <a:pt x="667" y="503"/>
                  </a:cubicBezTo>
                  <a:cubicBezTo>
                    <a:pt x="503" y="503"/>
                    <a:pt x="370" y="636"/>
                    <a:pt x="370" y="800"/>
                  </a:cubicBezTo>
                  <a:cubicBezTo>
                    <a:pt x="370" y="964"/>
                    <a:pt x="503" y="1097"/>
                    <a:pt x="667" y="1097"/>
                  </a:cubicBezTo>
                  <a:cubicBezTo>
                    <a:pt x="831" y="1097"/>
                    <a:pt x="964" y="964"/>
                    <a:pt x="964" y="800"/>
                  </a:cubicBezTo>
                  <a:cubicBezTo>
                    <a:pt x="964" y="752"/>
                    <a:pt x="952" y="704"/>
                    <a:pt x="930" y="662"/>
                  </a:cubicBezTo>
                  <a:cubicBezTo>
                    <a:pt x="925" y="652"/>
                    <a:pt x="913" y="648"/>
                    <a:pt x="903" y="654"/>
                  </a:cubicBezTo>
                  <a:cubicBezTo>
                    <a:pt x="894" y="659"/>
                    <a:pt x="890" y="671"/>
                    <a:pt x="895" y="680"/>
                  </a:cubicBezTo>
                  <a:cubicBezTo>
                    <a:pt x="914" y="717"/>
                    <a:pt x="924" y="758"/>
                    <a:pt x="924" y="800"/>
                  </a:cubicBezTo>
                  <a:cubicBezTo>
                    <a:pt x="924" y="942"/>
                    <a:pt x="809" y="1057"/>
                    <a:pt x="667" y="1057"/>
                  </a:cubicBezTo>
                  <a:cubicBezTo>
                    <a:pt x="525" y="1057"/>
                    <a:pt x="409" y="942"/>
                    <a:pt x="409" y="800"/>
                  </a:cubicBezTo>
                  <a:cubicBezTo>
                    <a:pt x="409" y="658"/>
                    <a:pt x="525" y="542"/>
                    <a:pt x="667" y="542"/>
                  </a:cubicBezTo>
                  <a:close/>
                  <a:moveTo>
                    <a:pt x="1283" y="210"/>
                  </a:moveTo>
                  <a:cubicBezTo>
                    <a:pt x="1256" y="237"/>
                    <a:pt x="1256" y="237"/>
                    <a:pt x="1256" y="237"/>
                  </a:cubicBezTo>
                  <a:cubicBezTo>
                    <a:pt x="1415" y="280"/>
                    <a:pt x="1415" y="280"/>
                    <a:pt x="1415" y="280"/>
                  </a:cubicBezTo>
                  <a:cubicBezTo>
                    <a:pt x="1388" y="307"/>
                    <a:pt x="1388" y="307"/>
                    <a:pt x="1388" y="307"/>
                  </a:cubicBezTo>
                  <a:cubicBezTo>
                    <a:pt x="1229" y="264"/>
                    <a:pt x="1229" y="264"/>
                    <a:pt x="1229" y="264"/>
                  </a:cubicBezTo>
                  <a:cubicBezTo>
                    <a:pt x="1202" y="291"/>
                    <a:pt x="1202" y="291"/>
                    <a:pt x="1202" y="291"/>
                  </a:cubicBezTo>
                  <a:cubicBezTo>
                    <a:pt x="1360" y="334"/>
                    <a:pt x="1360" y="334"/>
                    <a:pt x="1360" y="334"/>
                  </a:cubicBezTo>
                  <a:cubicBezTo>
                    <a:pt x="1333" y="361"/>
                    <a:pt x="1333" y="361"/>
                    <a:pt x="1333" y="361"/>
                  </a:cubicBezTo>
                  <a:cubicBezTo>
                    <a:pt x="1174" y="319"/>
                    <a:pt x="1174" y="319"/>
                    <a:pt x="1174" y="319"/>
                  </a:cubicBezTo>
                  <a:cubicBezTo>
                    <a:pt x="736" y="756"/>
                    <a:pt x="736" y="756"/>
                    <a:pt x="736" y="756"/>
                  </a:cubicBezTo>
                  <a:cubicBezTo>
                    <a:pt x="744" y="769"/>
                    <a:pt x="749" y="784"/>
                    <a:pt x="749" y="800"/>
                  </a:cubicBezTo>
                  <a:cubicBezTo>
                    <a:pt x="749" y="845"/>
                    <a:pt x="712" y="882"/>
                    <a:pt x="667" y="882"/>
                  </a:cubicBezTo>
                  <a:cubicBezTo>
                    <a:pt x="622" y="882"/>
                    <a:pt x="585" y="845"/>
                    <a:pt x="585" y="800"/>
                  </a:cubicBezTo>
                  <a:cubicBezTo>
                    <a:pt x="585" y="755"/>
                    <a:pt x="622" y="718"/>
                    <a:pt x="667" y="718"/>
                  </a:cubicBezTo>
                  <a:cubicBezTo>
                    <a:pt x="684" y="718"/>
                    <a:pt x="699" y="723"/>
                    <a:pt x="712" y="732"/>
                  </a:cubicBezTo>
                  <a:cubicBezTo>
                    <a:pt x="1150" y="295"/>
                    <a:pt x="1150" y="295"/>
                    <a:pt x="1150" y="295"/>
                  </a:cubicBezTo>
                  <a:cubicBezTo>
                    <a:pt x="1108" y="136"/>
                    <a:pt x="1108" y="136"/>
                    <a:pt x="1108" y="136"/>
                  </a:cubicBezTo>
                  <a:cubicBezTo>
                    <a:pt x="1135" y="109"/>
                    <a:pt x="1135" y="109"/>
                    <a:pt x="1135" y="109"/>
                  </a:cubicBezTo>
                  <a:cubicBezTo>
                    <a:pt x="1178" y="268"/>
                    <a:pt x="1178" y="268"/>
                    <a:pt x="1178" y="268"/>
                  </a:cubicBezTo>
                  <a:cubicBezTo>
                    <a:pt x="1205" y="240"/>
                    <a:pt x="1205" y="240"/>
                    <a:pt x="1205" y="240"/>
                  </a:cubicBezTo>
                  <a:cubicBezTo>
                    <a:pt x="1163" y="81"/>
                    <a:pt x="1163" y="81"/>
                    <a:pt x="1163" y="81"/>
                  </a:cubicBezTo>
                  <a:cubicBezTo>
                    <a:pt x="1190" y="54"/>
                    <a:pt x="1190" y="54"/>
                    <a:pt x="1190" y="54"/>
                  </a:cubicBezTo>
                  <a:cubicBezTo>
                    <a:pt x="1232" y="213"/>
                    <a:pt x="1232" y="213"/>
                    <a:pt x="1232" y="213"/>
                  </a:cubicBezTo>
                  <a:cubicBezTo>
                    <a:pt x="1260" y="186"/>
                    <a:pt x="1260" y="186"/>
                    <a:pt x="1260" y="186"/>
                  </a:cubicBezTo>
                  <a:cubicBezTo>
                    <a:pt x="1217" y="27"/>
                    <a:pt x="1217" y="27"/>
                    <a:pt x="1217" y="27"/>
                  </a:cubicBezTo>
                  <a:cubicBezTo>
                    <a:pt x="1245" y="0"/>
                    <a:pt x="1245" y="0"/>
                    <a:pt x="1245" y="0"/>
                  </a:cubicBezTo>
                  <a:cubicBezTo>
                    <a:pt x="1287" y="159"/>
                    <a:pt x="1287" y="159"/>
                    <a:pt x="1287" y="159"/>
                  </a:cubicBezTo>
                  <a:cubicBezTo>
                    <a:pt x="1315" y="131"/>
                    <a:pt x="1315" y="131"/>
                    <a:pt x="1315" y="131"/>
                  </a:cubicBezTo>
                  <a:cubicBezTo>
                    <a:pt x="1339" y="155"/>
                    <a:pt x="1339" y="155"/>
                    <a:pt x="1339" y="155"/>
                  </a:cubicBezTo>
                  <a:cubicBezTo>
                    <a:pt x="1311" y="183"/>
                    <a:pt x="1311" y="183"/>
                    <a:pt x="1311" y="183"/>
                  </a:cubicBezTo>
                  <a:cubicBezTo>
                    <a:pt x="1470" y="225"/>
                    <a:pt x="1470" y="225"/>
                    <a:pt x="1470" y="225"/>
                  </a:cubicBezTo>
                  <a:cubicBezTo>
                    <a:pt x="1442" y="253"/>
                    <a:pt x="1442" y="253"/>
                    <a:pt x="1442" y="253"/>
                  </a:cubicBezTo>
                  <a:lnTo>
                    <a:pt x="1283" y="210"/>
                  </a:lnTo>
                  <a:close/>
                  <a:moveTo>
                    <a:pt x="707" y="785"/>
                  </a:moveTo>
                  <a:cubicBezTo>
                    <a:pt x="673" y="819"/>
                    <a:pt x="673" y="819"/>
                    <a:pt x="673" y="819"/>
                  </a:cubicBezTo>
                  <a:cubicBezTo>
                    <a:pt x="670" y="822"/>
                    <a:pt x="665" y="824"/>
                    <a:pt x="661" y="824"/>
                  </a:cubicBezTo>
                  <a:cubicBezTo>
                    <a:pt x="657" y="824"/>
                    <a:pt x="652" y="822"/>
                    <a:pt x="649" y="819"/>
                  </a:cubicBezTo>
                  <a:cubicBezTo>
                    <a:pt x="642" y="812"/>
                    <a:pt x="642" y="802"/>
                    <a:pt x="649" y="795"/>
                  </a:cubicBezTo>
                  <a:cubicBezTo>
                    <a:pt x="683" y="761"/>
                    <a:pt x="683" y="761"/>
                    <a:pt x="683" y="761"/>
                  </a:cubicBezTo>
                  <a:cubicBezTo>
                    <a:pt x="678" y="759"/>
                    <a:pt x="673" y="757"/>
                    <a:pt x="667" y="757"/>
                  </a:cubicBezTo>
                  <a:cubicBezTo>
                    <a:pt x="643" y="757"/>
                    <a:pt x="624" y="776"/>
                    <a:pt x="624" y="800"/>
                  </a:cubicBezTo>
                  <a:cubicBezTo>
                    <a:pt x="624" y="823"/>
                    <a:pt x="643" y="842"/>
                    <a:pt x="667" y="842"/>
                  </a:cubicBezTo>
                  <a:cubicBezTo>
                    <a:pt x="690" y="842"/>
                    <a:pt x="709" y="823"/>
                    <a:pt x="709" y="800"/>
                  </a:cubicBezTo>
                  <a:cubicBezTo>
                    <a:pt x="709" y="795"/>
                    <a:pt x="708" y="790"/>
                    <a:pt x="707" y="785"/>
                  </a:cubicBezTo>
                  <a:close/>
                  <a:moveTo>
                    <a:pt x="1166" y="387"/>
                  </a:moveTo>
                  <a:cubicBezTo>
                    <a:pt x="1157" y="394"/>
                    <a:pt x="1155" y="406"/>
                    <a:pt x="1162" y="415"/>
                  </a:cubicBezTo>
                  <a:cubicBezTo>
                    <a:pt x="1248" y="526"/>
                    <a:pt x="1294" y="659"/>
                    <a:pt x="1294" y="800"/>
                  </a:cubicBezTo>
                  <a:cubicBezTo>
                    <a:pt x="1294" y="1146"/>
                    <a:pt x="1013" y="1427"/>
                    <a:pt x="667" y="1427"/>
                  </a:cubicBezTo>
                  <a:cubicBezTo>
                    <a:pt x="321" y="1427"/>
                    <a:pt x="40" y="1146"/>
                    <a:pt x="40" y="800"/>
                  </a:cubicBezTo>
                  <a:cubicBezTo>
                    <a:pt x="40" y="454"/>
                    <a:pt x="321" y="173"/>
                    <a:pt x="667" y="173"/>
                  </a:cubicBezTo>
                  <a:cubicBezTo>
                    <a:pt x="802" y="173"/>
                    <a:pt x="930" y="215"/>
                    <a:pt x="1038" y="294"/>
                  </a:cubicBezTo>
                  <a:cubicBezTo>
                    <a:pt x="1047" y="301"/>
                    <a:pt x="1060" y="299"/>
                    <a:pt x="1066" y="290"/>
                  </a:cubicBezTo>
                  <a:cubicBezTo>
                    <a:pt x="1072" y="281"/>
                    <a:pt x="1071" y="269"/>
                    <a:pt x="1062" y="263"/>
                  </a:cubicBezTo>
                  <a:cubicBezTo>
                    <a:pt x="947" y="178"/>
                    <a:pt x="810" y="133"/>
                    <a:pt x="667" y="133"/>
                  </a:cubicBezTo>
                  <a:cubicBezTo>
                    <a:pt x="299" y="133"/>
                    <a:pt x="0" y="432"/>
                    <a:pt x="0" y="800"/>
                  </a:cubicBezTo>
                  <a:cubicBezTo>
                    <a:pt x="0" y="1167"/>
                    <a:pt x="299" y="1467"/>
                    <a:pt x="667" y="1467"/>
                  </a:cubicBezTo>
                  <a:cubicBezTo>
                    <a:pt x="1035" y="1467"/>
                    <a:pt x="1334" y="1167"/>
                    <a:pt x="1334" y="800"/>
                  </a:cubicBezTo>
                  <a:cubicBezTo>
                    <a:pt x="1334" y="650"/>
                    <a:pt x="1285" y="509"/>
                    <a:pt x="1193" y="391"/>
                  </a:cubicBezTo>
                  <a:cubicBezTo>
                    <a:pt x="1187" y="382"/>
                    <a:pt x="1174" y="381"/>
                    <a:pt x="1166" y="38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8" name="Freeform 7"/>
          <p:cNvSpPr>
            <a:spLocks/>
          </p:cNvSpPr>
          <p:nvPr/>
        </p:nvSpPr>
        <p:spPr bwMode="auto">
          <a:xfrm>
            <a:off x="1690665" y="1543050"/>
            <a:ext cx="1322326" cy="145577"/>
          </a:xfrm>
          <a:custGeom>
            <a:avLst/>
            <a:gdLst>
              <a:gd name="connsiteX0" fmla="*/ 3953564 w 4185373"/>
              <a:gd name="connsiteY0" fmla="*/ 0 h 460775"/>
              <a:gd name="connsiteX1" fmla="*/ 4185373 w 4185373"/>
              <a:gd name="connsiteY1" fmla="*/ 230388 h 460775"/>
              <a:gd name="connsiteX2" fmla="*/ 3953564 w 4185373"/>
              <a:gd name="connsiteY2" fmla="*/ 460775 h 460775"/>
              <a:gd name="connsiteX3" fmla="*/ 3953564 w 4185373"/>
              <a:gd name="connsiteY3" fmla="*/ 332782 h 460775"/>
              <a:gd name="connsiteX4" fmla="*/ 0 w 4185373"/>
              <a:gd name="connsiteY4" fmla="*/ 332782 h 460775"/>
              <a:gd name="connsiteX5" fmla="*/ 0 w 4185373"/>
              <a:gd name="connsiteY5" fmla="*/ 127993 h 460775"/>
              <a:gd name="connsiteX6" fmla="*/ 3953564 w 4185373"/>
              <a:gd name="connsiteY6" fmla="*/ 127993 h 460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85373" h="460775">
                <a:moveTo>
                  <a:pt x="3953564" y="0"/>
                </a:moveTo>
                <a:lnTo>
                  <a:pt x="4185373" y="230388"/>
                </a:lnTo>
                <a:lnTo>
                  <a:pt x="3953564" y="460775"/>
                </a:lnTo>
                <a:lnTo>
                  <a:pt x="3953564" y="332782"/>
                </a:lnTo>
                <a:lnTo>
                  <a:pt x="0" y="332782"/>
                </a:lnTo>
                <a:lnTo>
                  <a:pt x="0" y="127993"/>
                </a:lnTo>
                <a:lnTo>
                  <a:pt x="3953564" y="12799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4" name="Freeform 5"/>
          <p:cNvSpPr>
            <a:spLocks noEditPoints="1"/>
          </p:cNvSpPr>
          <p:nvPr/>
        </p:nvSpPr>
        <p:spPr bwMode="auto">
          <a:xfrm>
            <a:off x="1058032" y="1583488"/>
            <a:ext cx="1265713" cy="1266163"/>
          </a:xfrm>
          <a:custGeom>
            <a:avLst/>
            <a:gdLst>
              <a:gd name="T0" fmla="*/ 1258 w 2517"/>
              <a:gd name="T1" fmla="*/ 0 h 2517"/>
              <a:gd name="T2" fmla="*/ 0 w 2517"/>
              <a:gd name="T3" fmla="*/ 1259 h 2517"/>
              <a:gd name="T4" fmla="*/ 1258 w 2517"/>
              <a:gd name="T5" fmla="*/ 2517 h 2517"/>
              <a:gd name="T6" fmla="*/ 2517 w 2517"/>
              <a:gd name="T7" fmla="*/ 1259 h 2517"/>
              <a:gd name="T8" fmla="*/ 1258 w 2517"/>
              <a:gd name="T9" fmla="*/ 0 h 2517"/>
              <a:gd name="T10" fmla="*/ 1258 w 2517"/>
              <a:gd name="T11" fmla="*/ 2388 h 2517"/>
              <a:gd name="T12" fmla="*/ 129 w 2517"/>
              <a:gd name="T13" fmla="*/ 1259 h 2517"/>
              <a:gd name="T14" fmla="*/ 1258 w 2517"/>
              <a:gd name="T15" fmla="*/ 129 h 2517"/>
              <a:gd name="T16" fmla="*/ 2388 w 2517"/>
              <a:gd name="T17" fmla="*/ 1259 h 2517"/>
              <a:gd name="T18" fmla="*/ 1258 w 2517"/>
              <a:gd name="T19" fmla="*/ 2388 h 2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517" h="2517">
                <a:moveTo>
                  <a:pt x="1258" y="0"/>
                </a:moveTo>
                <a:cubicBezTo>
                  <a:pt x="564" y="0"/>
                  <a:pt x="0" y="564"/>
                  <a:pt x="0" y="1259"/>
                </a:cubicBezTo>
                <a:cubicBezTo>
                  <a:pt x="0" y="1953"/>
                  <a:pt x="564" y="2517"/>
                  <a:pt x="1258" y="2517"/>
                </a:cubicBezTo>
                <a:cubicBezTo>
                  <a:pt x="1953" y="2517"/>
                  <a:pt x="2517" y="1953"/>
                  <a:pt x="2517" y="1259"/>
                </a:cubicBezTo>
                <a:cubicBezTo>
                  <a:pt x="2517" y="564"/>
                  <a:pt x="1953" y="0"/>
                  <a:pt x="1258" y="0"/>
                </a:cubicBezTo>
                <a:close/>
                <a:moveTo>
                  <a:pt x="1258" y="2388"/>
                </a:moveTo>
                <a:cubicBezTo>
                  <a:pt x="635" y="2388"/>
                  <a:pt x="129" y="1883"/>
                  <a:pt x="129" y="1259"/>
                </a:cubicBezTo>
                <a:cubicBezTo>
                  <a:pt x="129" y="635"/>
                  <a:pt x="635" y="129"/>
                  <a:pt x="1258" y="129"/>
                </a:cubicBezTo>
                <a:cubicBezTo>
                  <a:pt x="1882" y="129"/>
                  <a:pt x="2388" y="635"/>
                  <a:pt x="2388" y="1259"/>
                </a:cubicBezTo>
                <a:cubicBezTo>
                  <a:pt x="2388" y="1883"/>
                  <a:pt x="1882" y="2388"/>
                  <a:pt x="1258" y="2388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936268" y="1583488"/>
            <a:ext cx="754396" cy="64701"/>
          </a:xfrm>
          <a:custGeom>
            <a:avLst/>
            <a:gdLst>
              <a:gd name="T0" fmla="*/ 0 w 1679"/>
              <a:gd name="T1" fmla="*/ 144 h 144"/>
              <a:gd name="T2" fmla="*/ 1679 w 1679"/>
              <a:gd name="T3" fmla="*/ 144 h 144"/>
              <a:gd name="T4" fmla="*/ 1679 w 1679"/>
              <a:gd name="T5" fmla="*/ 0 h 144"/>
              <a:gd name="T6" fmla="*/ 0 w 1679"/>
              <a:gd name="T7" fmla="*/ 0 h 144"/>
              <a:gd name="T8" fmla="*/ 163 w 1679"/>
              <a:gd name="T9" fmla="*/ 72 h 144"/>
              <a:gd name="T10" fmla="*/ 0 w 1679"/>
              <a:gd name="T11" fmla="*/ 14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79" h="144">
                <a:moveTo>
                  <a:pt x="0" y="144"/>
                </a:moveTo>
                <a:lnTo>
                  <a:pt x="1679" y="144"/>
                </a:lnTo>
                <a:lnTo>
                  <a:pt x="1679" y="0"/>
                </a:lnTo>
                <a:lnTo>
                  <a:pt x="0" y="0"/>
                </a:lnTo>
                <a:lnTo>
                  <a:pt x="163" y="72"/>
                </a:lnTo>
                <a:lnTo>
                  <a:pt x="0" y="144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11" name="Group 10"/>
          <p:cNvGrpSpPr/>
          <p:nvPr/>
        </p:nvGrpSpPr>
        <p:grpSpPr>
          <a:xfrm>
            <a:off x="1265354" y="1791259"/>
            <a:ext cx="850620" cy="850620"/>
            <a:chOff x="1265354" y="1791259"/>
            <a:chExt cx="850620" cy="850620"/>
          </a:xfrm>
        </p:grpSpPr>
        <p:sp>
          <p:nvSpPr>
            <p:cNvPr id="27" name="Oval 26"/>
            <p:cNvSpPr/>
            <p:nvPr/>
          </p:nvSpPr>
          <p:spPr>
            <a:xfrm>
              <a:off x="1265354" y="1791259"/>
              <a:ext cx="850620" cy="85062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Freeform 18"/>
            <p:cNvSpPr>
              <a:spLocks noEditPoints="1"/>
            </p:cNvSpPr>
            <p:nvPr/>
          </p:nvSpPr>
          <p:spPr bwMode="auto">
            <a:xfrm>
              <a:off x="1542569" y="1992912"/>
              <a:ext cx="296190" cy="447314"/>
            </a:xfrm>
            <a:custGeom>
              <a:avLst/>
              <a:gdLst>
                <a:gd name="T0" fmla="*/ 753 w 1422"/>
                <a:gd name="T1" fmla="*/ 13 h 2147"/>
                <a:gd name="T2" fmla="*/ 0 w 1422"/>
                <a:gd name="T3" fmla="*/ 715 h 2147"/>
                <a:gd name="T4" fmla="*/ 56 w 1422"/>
                <a:gd name="T5" fmla="*/ 994 h 2147"/>
                <a:gd name="T6" fmla="*/ 132 w 1422"/>
                <a:gd name="T7" fmla="*/ 1125 h 2147"/>
                <a:gd name="T8" fmla="*/ 365 w 1422"/>
                <a:gd name="T9" fmla="*/ 1636 h 2147"/>
                <a:gd name="T10" fmla="*/ 405 w 1422"/>
                <a:gd name="T11" fmla="*/ 1773 h 2147"/>
                <a:gd name="T12" fmla="*/ 405 w 1422"/>
                <a:gd name="T13" fmla="*/ 1884 h 2147"/>
                <a:gd name="T14" fmla="*/ 405 w 1422"/>
                <a:gd name="T15" fmla="*/ 1948 h 2147"/>
                <a:gd name="T16" fmla="*/ 585 w 1422"/>
                <a:gd name="T17" fmla="*/ 2147 h 2147"/>
                <a:gd name="T18" fmla="*/ 942 w 1422"/>
                <a:gd name="T19" fmla="*/ 2031 h 2147"/>
                <a:gd name="T20" fmla="*/ 1000 w 1422"/>
                <a:gd name="T21" fmla="*/ 1926 h 2147"/>
                <a:gd name="T22" fmla="*/ 1000 w 1422"/>
                <a:gd name="T23" fmla="*/ 1816 h 2147"/>
                <a:gd name="T24" fmla="*/ 1000 w 1422"/>
                <a:gd name="T25" fmla="*/ 1688 h 2147"/>
                <a:gd name="T26" fmla="*/ 1120 w 1422"/>
                <a:gd name="T27" fmla="*/ 1414 h 2147"/>
                <a:gd name="T28" fmla="*/ 1275 w 1422"/>
                <a:gd name="T29" fmla="*/ 1139 h 2147"/>
                <a:gd name="T30" fmla="*/ 1346 w 1422"/>
                <a:gd name="T31" fmla="*/ 999 h 2147"/>
                <a:gd name="T32" fmla="*/ 1353 w 1422"/>
                <a:gd name="T33" fmla="*/ 989 h 2147"/>
                <a:gd name="T34" fmla="*/ 1387 w 1422"/>
                <a:gd name="T35" fmla="*/ 549 h 2147"/>
                <a:gd name="T36" fmla="*/ 585 w 1422"/>
                <a:gd name="T37" fmla="*/ 2105 h 2147"/>
                <a:gd name="T38" fmla="*/ 900 w 1422"/>
                <a:gd name="T39" fmla="*/ 2037 h 2147"/>
                <a:gd name="T40" fmla="*/ 958 w 1422"/>
                <a:gd name="T41" fmla="*/ 1948 h 2147"/>
                <a:gd name="T42" fmla="*/ 494 w 1422"/>
                <a:gd name="T43" fmla="*/ 1995 h 2147"/>
                <a:gd name="T44" fmla="*/ 448 w 1422"/>
                <a:gd name="T45" fmla="*/ 1926 h 2147"/>
                <a:gd name="T46" fmla="*/ 958 w 1422"/>
                <a:gd name="T47" fmla="*/ 1948 h 2147"/>
                <a:gd name="T48" fmla="*/ 448 w 1422"/>
                <a:gd name="T49" fmla="*/ 1884 h 2147"/>
                <a:gd name="T50" fmla="*/ 958 w 1422"/>
                <a:gd name="T51" fmla="*/ 1816 h 2147"/>
                <a:gd name="T52" fmla="*/ 958 w 1422"/>
                <a:gd name="T53" fmla="*/ 1705 h 2147"/>
                <a:gd name="T54" fmla="*/ 448 w 1422"/>
                <a:gd name="T55" fmla="*/ 1773 h 2147"/>
                <a:gd name="T56" fmla="*/ 461 w 1422"/>
                <a:gd name="T57" fmla="*/ 1705 h 2147"/>
                <a:gd name="T58" fmla="*/ 808 w 1422"/>
                <a:gd name="T59" fmla="*/ 1705 h 2147"/>
                <a:gd name="T60" fmla="*/ 958 w 1422"/>
                <a:gd name="T61" fmla="*/ 1705 h 2147"/>
                <a:gd name="T62" fmla="*/ 541 w 1422"/>
                <a:gd name="T63" fmla="*/ 1040 h 2147"/>
                <a:gd name="T64" fmla="*/ 714 w 1422"/>
                <a:gd name="T65" fmla="*/ 1138 h 2147"/>
                <a:gd name="T66" fmla="*/ 789 w 1422"/>
                <a:gd name="T67" fmla="*/ 1182 h 2147"/>
                <a:gd name="T68" fmla="*/ 787 w 1422"/>
                <a:gd name="T69" fmla="*/ 1663 h 2147"/>
                <a:gd name="T70" fmla="*/ 619 w 1422"/>
                <a:gd name="T71" fmla="*/ 1192 h 2147"/>
                <a:gd name="T72" fmla="*/ 1313 w 1422"/>
                <a:gd name="T73" fmla="*/ 972 h 2147"/>
                <a:gd name="T74" fmla="*/ 1241 w 1422"/>
                <a:gd name="T75" fmla="*/ 1097 h 2147"/>
                <a:gd name="T76" fmla="*/ 1082 w 1422"/>
                <a:gd name="T77" fmla="*/ 1397 h 2147"/>
                <a:gd name="T78" fmla="*/ 944 w 1422"/>
                <a:gd name="T79" fmla="*/ 1663 h 2147"/>
                <a:gd name="T80" fmla="*/ 829 w 1422"/>
                <a:gd name="T81" fmla="*/ 1197 h 2147"/>
                <a:gd name="T82" fmla="*/ 936 w 1422"/>
                <a:gd name="T83" fmla="*/ 963 h 2147"/>
                <a:gd name="T84" fmla="*/ 703 w 1422"/>
                <a:gd name="T85" fmla="*/ 1095 h 2147"/>
                <a:gd name="T86" fmla="*/ 470 w 1422"/>
                <a:gd name="T87" fmla="*/ 963 h 2147"/>
                <a:gd name="T88" fmla="*/ 577 w 1422"/>
                <a:gd name="T89" fmla="*/ 1197 h 2147"/>
                <a:gd name="T90" fmla="*/ 461 w 1422"/>
                <a:gd name="T91" fmla="*/ 1663 h 2147"/>
                <a:gd name="T92" fmla="*/ 324 w 1422"/>
                <a:gd name="T93" fmla="*/ 1397 h 2147"/>
                <a:gd name="T94" fmla="*/ 96 w 1422"/>
                <a:gd name="T95" fmla="*/ 976 h 2147"/>
                <a:gd name="T96" fmla="*/ 42 w 1422"/>
                <a:gd name="T97" fmla="*/ 715 h 2147"/>
                <a:gd name="T98" fmla="*/ 750 w 1422"/>
                <a:gd name="T99" fmla="*/ 55 h 2147"/>
                <a:gd name="T100" fmla="*/ 1313 w 1422"/>
                <a:gd name="T101" fmla="*/ 972 h 2147"/>
                <a:gd name="T102" fmla="*/ 884 w 1422"/>
                <a:gd name="T103" fmla="*/ 292 h 2147"/>
                <a:gd name="T104" fmla="*/ 229 w 1422"/>
                <a:gd name="T105" fmla="*/ 767 h 2147"/>
                <a:gd name="T106" fmla="*/ 187 w 1422"/>
                <a:gd name="T107" fmla="*/ 767 h 2147"/>
                <a:gd name="T108" fmla="*/ 898 w 1422"/>
                <a:gd name="T109" fmla="*/ 251 h 2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22" h="2147">
                  <a:moveTo>
                    <a:pt x="1387" y="549"/>
                  </a:moveTo>
                  <a:cubicBezTo>
                    <a:pt x="1317" y="255"/>
                    <a:pt x="1056" y="35"/>
                    <a:pt x="753" y="13"/>
                  </a:cubicBezTo>
                  <a:cubicBezTo>
                    <a:pt x="556" y="0"/>
                    <a:pt x="367" y="66"/>
                    <a:pt x="223" y="200"/>
                  </a:cubicBezTo>
                  <a:cubicBezTo>
                    <a:pt x="81" y="333"/>
                    <a:pt x="0" y="521"/>
                    <a:pt x="0" y="715"/>
                  </a:cubicBezTo>
                  <a:cubicBezTo>
                    <a:pt x="0" y="811"/>
                    <a:pt x="19" y="904"/>
                    <a:pt x="56" y="992"/>
                  </a:cubicBezTo>
                  <a:cubicBezTo>
                    <a:pt x="56" y="994"/>
                    <a:pt x="56" y="994"/>
                    <a:pt x="56" y="994"/>
                  </a:cubicBezTo>
                  <a:cubicBezTo>
                    <a:pt x="59" y="997"/>
                    <a:pt x="59" y="997"/>
                    <a:pt x="59" y="997"/>
                  </a:cubicBezTo>
                  <a:cubicBezTo>
                    <a:pt x="68" y="1013"/>
                    <a:pt x="97" y="1063"/>
                    <a:pt x="132" y="1125"/>
                  </a:cubicBezTo>
                  <a:cubicBezTo>
                    <a:pt x="187" y="1223"/>
                    <a:pt x="258" y="1352"/>
                    <a:pt x="286" y="1414"/>
                  </a:cubicBezTo>
                  <a:cubicBezTo>
                    <a:pt x="305" y="1459"/>
                    <a:pt x="340" y="1559"/>
                    <a:pt x="365" y="1636"/>
                  </a:cubicBezTo>
                  <a:cubicBezTo>
                    <a:pt x="373" y="1658"/>
                    <a:pt x="387" y="1676"/>
                    <a:pt x="405" y="1688"/>
                  </a:cubicBezTo>
                  <a:cubicBezTo>
                    <a:pt x="405" y="1773"/>
                    <a:pt x="405" y="1773"/>
                    <a:pt x="405" y="1773"/>
                  </a:cubicBezTo>
                  <a:cubicBezTo>
                    <a:pt x="405" y="1816"/>
                    <a:pt x="405" y="1816"/>
                    <a:pt x="405" y="1816"/>
                  </a:cubicBezTo>
                  <a:cubicBezTo>
                    <a:pt x="405" y="1884"/>
                    <a:pt x="405" y="1884"/>
                    <a:pt x="405" y="1884"/>
                  </a:cubicBezTo>
                  <a:cubicBezTo>
                    <a:pt x="405" y="1926"/>
                    <a:pt x="405" y="1926"/>
                    <a:pt x="405" y="1926"/>
                  </a:cubicBezTo>
                  <a:cubicBezTo>
                    <a:pt x="405" y="1948"/>
                    <a:pt x="405" y="1948"/>
                    <a:pt x="405" y="1948"/>
                  </a:cubicBezTo>
                  <a:cubicBezTo>
                    <a:pt x="405" y="1986"/>
                    <a:pt x="430" y="2018"/>
                    <a:pt x="464" y="2031"/>
                  </a:cubicBezTo>
                  <a:cubicBezTo>
                    <a:pt x="467" y="2096"/>
                    <a:pt x="520" y="2147"/>
                    <a:pt x="585" y="2147"/>
                  </a:cubicBezTo>
                  <a:cubicBezTo>
                    <a:pt x="820" y="2147"/>
                    <a:pt x="820" y="2147"/>
                    <a:pt x="820" y="2147"/>
                  </a:cubicBezTo>
                  <a:cubicBezTo>
                    <a:pt x="886" y="2147"/>
                    <a:pt x="939" y="2096"/>
                    <a:pt x="942" y="2031"/>
                  </a:cubicBezTo>
                  <a:cubicBezTo>
                    <a:pt x="976" y="2019"/>
                    <a:pt x="1000" y="1986"/>
                    <a:pt x="1000" y="1948"/>
                  </a:cubicBezTo>
                  <a:cubicBezTo>
                    <a:pt x="1000" y="1926"/>
                    <a:pt x="1000" y="1926"/>
                    <a:pt x="1000" y="1926"/>
                  </a:cubicBezTo>
                  <a:cubicBezTo>
                    <a:pt x="1000" y="1884"/>
                    <a:pt x="1000" y="1884"/>
                    <a:pt x="1000" y="1884"/>
                  </a:cubicBezTo>
                  <a:cubicBezTo>
                    <a:pt x="1000" y="1816"/>
                    <a:pt x="1000" y="1816"/>
                    <a:pt x="1000" y="1816"/>
                  </a:cubicBezTo>
                  <a:cubicBezTo>
                    <a:pt x="1000" y="1773"/>
                    <a:pt x="1000" y="1773"/>
                    <a:pt x="1000" y="1773"/>
                  </a:cubicBezTo>
                  <a:cubicBezTo>
                    <a:pt x="1000" y="1688"/>
                    <a:pt x="1000" y="1688"/>
                    <a:pt x="1000" y="1688"/>
                  </a:cubicBezTo>
                  <a:cubicBezTo>
                    <a:pt x="1019" y="1676"/>
                    <a:pt x="1033" y="1658"/>
                    <a:pt x="1041" y="1636"/>
                  </a:cubicBezTo>
                  <a:cubicBezTo>
                    <a:pt x="1076" y="1528"/>
                    <a:pt x="1105" y="1449"/>
                    <a:pt x="1120" y="1414"/>
                  </a:cubicBezTo>
                  <a:cubicBezTo>
                    <a:pt x="1148" y="1351"/>
                    <a:pt x="1221" y="1219"/>
                    <a:pt x="1266" y="1139"/>
                  </a:cubicBezTo>
                  <a:cubicBezTo>
                    <a:pt x="1275" y="1139"/>
                    <a:pt x="1275" y="1139"/>
                    <a:pt x="1275" y="1139"/>
                  </a:cubicBezTo>
                  <a:cubicBezTo>
                    <a:pt x="1275" y="1123"/>
                    <a:pt x="1275" y="1123"/>
                    <a:pt x="1275" y="1123"/>
                  </a:cubicBezTo>
                  <a:cubicBezTo>
                    <a:pt x="1308" y="1063"/>
                    <a:pt x="1336" y="1015"/>
                    <a:pt x="1346" y="999"/>
                  </a:cubicBezTo>
                  <a:cubicBezTo>
                    <a:pt x="1347" y="997"/>
                    <a:pt x="1348" y="995"/>
                    <a:pt x="1349" y="993"/>
                  </a:cubicBezTo>
                  <a:cubicBezTo>
                    <a:pt x="1353" y="989"/>
                    <a:pt x="1353" y="989"/>
                    <a:pt x="1353" y="989"/>
                  </a:cubicBezTo>
                  <a:cubicBezTo>
                    <a:pt x="1353" y="985"/>
                    <a:pt x="1353" y="985"/>
                    <a:pt x="1353" y="985"/>
                  </a:cubicBezTo>
                  <a:cubicBezTo>
                    <a:pt x="1410" y="847"/>
                    <a:pt x="1422" y="696"/>
                    <a:pt x="1387" y="549"/>
                  </a:cubicBezTo>
                  <a:close/>
                  <a:moveTo>
                    <a:pt x="820" y="2105"/>
                  </a:moveTo>
                  <a:cubicBezTo>
                    <a:pt x="585" y="2105"/>
                    <a:pt x="585" y="2105"/>
                    <a:pt x="585" y="2105"/>
                  </a:cubicBezTo>
                  <a:cubicBezTo>
                    <a:pt x="545" y="2105"/>
                    <a:pt x="512" y="2075"/>
                    <a:pt x="506" y="2037"/>
                  </a:cubicBezTo>
                  <a:cubicBezTo>
                    <a:pt x="900" y="2037"/>
                    <a:pt x="900" y="2037"/>
                    <a:pt x="900" y="2037"/>
                  </a:cubicBezTo>
                  <a:cubicBezTo>
                    <a:pt x="894" y="2075"/>
                    <a:pt x="861" y="2105"/>
                    <a:pt x="820" y="2105"/>
                  </a:cubicBezTo>
                  <a:close/>
                  <a:moveTo>
                    <a:pt x="958" y="1948"/>
                  </a:moveTo>
                  <a:cubicBezTo>
                    <a:pt x="958" y="1974"/>
                    <a:pt x="937" y="1995"/>
                    <a:pt x="912" y="1995"/>
                  </a:cubicBezTo>
                  <a:cubicBezTo>
                    <a:pt x="494" y="1995"/>
                    <a:pt x="494" y="1995"/>
                    <a:pt x="494" y="1995"/>
                  </a:cubicBezTo>
                  <a:cubicBezTo>
                    <a:pt x="468" y="1995"/>
                    <a:pt x="448" y="1974"/>
                    <a:pt x="448" y="1948"/>
                  </a:cubicBezTo>
                  <a:cubicBezTo>
                    <a:pt x="448" y="1926"/>
                    <a:pt x="448" y="1926"/>
                    <a:pt x="448" y="1926"/>
                  </a:cubicBezTo>
                  <a:cubicBezTo>
                    <a:pt x="958" y="1926"/>
                    <a:pt x="958" y="1926"/>
                    <a:pt x="958" y="1926"/>
                  </a:cubicBezTo>
                  <a:lnTo>
                    <a:pt x="958" y="1948"/>
                  </a:lnTo>
                  <a:close/>
                  <a:moveTo>
                    <a:pt x="958" y="1884"/>
                  </a:moveTo>
                  <a:cubicBezTo>
                    <a:pt x="448" y="1884"/>
                    <a:pt x="448" y="1884"/>
                    <a:pt x="448" y="1884"/>
                  </a:cubicBezTo>
                  <a:cubicBezTo>
                    <a:pt x="448" y="1816"/>
                    <a:pt x="448" y="1816"/>
                    <a:pt x="448" y="1816"/>
                  </a:cubicBezTo>
                  <a:cubicBezTo>
                    <a:pt x="958" y="1816"/>
                    <a:pt x="958" y="1816"/>
                    <a:pt x="958" y="1816"/>
                  </a:cubicBezTo>
                  <a:lnTo>
                    <a:pt x="958" y="1884"/>
                  </a:lnTo>
                  <a:close/>
                  <a:moveTo>
                    <a:pt x="958" y="1705"/>
                  </a:moveTo>
                  <a:cubicBezTo>
                    <a:pt x="958" y="1773"/>
                    <a:pt x="958" y="1773"/>
                    <a:pt x="958" y="1773"/>
                  </a:cubicBezTo>
                  <a:cubicBezTo>
                    <a:pt x="448" y="1773"/>
                    <a:pt x="448" y="1773"/>
                    <a:pt x="448" y="1773"/>
                  </a:cubicBezTo>
                  <a:cubicBezTo>
                    <a:pt x="448" y="1705"/>
                    <a:pt x="448" y="1705"/>
                    <a:pt x="448" y="1705"/>
                  </a:cubicBezTo>
                  <a:cubicBezTo>
                    <a:pt x="461" y="1705"/>
                    <a:pt x="461" y="1705"/>
                    <a:pt x="461" y="1705"/>
                  </a:cubicBezTo>
                  <a:cubicBezTo>
                    <a:pt x="598" y="1705"/>
                    <a:pt x="598" y="1705"/>
                    <a:pt x="598" y="1705"/>
                  </a:cubicBezTo>
                  <a:cubicBezTo>
                    <a:pt x="808" y="1705"/>
                    <a:pt x="808" y="1705"/>
                    <a:pt x="808" y="1705"/>
                  </a:cubicBezTo>
                  <a:cubicBezTo>
                    <a:pt x="944" y="1705"/>
                    <a:pt x="944" y="1705"/>
                    <a:pt x="944" y="1705"/>
                  </a:cubicBezTo>
                  <a:lnTo>
                    <a:pt x="958" y="1705"/>
                  </a:lnTo>
                  <a:close/>
                  <a:moveTo>
                    <a:pt x="616" y="1182"/>
                  </a:moveTo>
                  <a:cubicBezTo>
                    <a:pt x="541" y="1040"/>
                    <a:pt x="541" y="1040"/>
                    <a:pt x="541" y="1040"/>
                  </a:cubicBezTo>
                  <a:cubicBezTo>
                    <a:pt x="691" y="1138"/>
                    <a:pt x="691" y="1138"/>
                    <a:pt x="691" y="1138"/>
                  </a:cubicBezTo>
                  <a:cubicBezTo>
                    <a:pt x="698" y="1142"/>
                    <a:pt x="707" y="1142"/>
                    <a:pt x="714" y="1138"/>
                  </a:cubicBezTo>
                  <a:cubicBezTo>
                    <a:pt x="865" y="1040"/>
                    <a:pt x="865" y="1040"/>
                    <a:pt x="865" y="1040"/>
                  </a:cubicBezTo>
                  <a:cubicBezTo>
                    <a:pt x="789" y="1182"/>
                    <a:pt x="789" y="1182"/>
                    <a:pt x="789" y="1182"/>
                  </a:cubicBezTo>
                  <a:cubicBezTo>
                    <a:pt x="788" y="1185"/>
                    <a:pt x="787" y="1189"/>
                    <a:pt x="787" y="1192"/>
                  </a:cubicBezTo>
                  <a:cubicBezTo>
                    <a:pt x="787" y="1663"/>
                    <a:pt x="787" y="1663"/>
                    <a:pt x="787" y="1663"/>
                  </a:cubicBezTo>
                  <a:cubicBezTo>
                    <a:pt x="619" y="1663"/>
                    <a:pt x="619" y="1663"/>
                    <a:pt x="619" y="1663"/>
                  </a:cubicBezTo>
                  <a:cubicBezTo>
                    <a:pt x="619" y="1192"/>
                    <a:pt x="619" y="1192"/>
                    <a:pt x="619" y="1192"/>
                  </a:cubicBezTo>
                  <a:cubicBezTo>
                    <a:pt x="619" y="1189"/>
                    <a:pt x="618" y="1185"/>
                    <a:pt x="616" y="1182"/>
                  </a:cubicBezTo>
                  <a:close/>
                  <a:moveTo>
                    <a:pt x="1313" y="972"/>
                  </a:moveTo>
                  <a:cubicBezTo>
                    <a:pt x="1310" y="976"/>
                    <a:pt x="1310" y="976"/>
                    <a:pt x="1310" y="976"/>
                  </a:cubicBezTo>
                  <a:cubicBezTo>
                    <a:pt x="1300" y="993"/>
                    <a:pt x="1273" y="1039"/>
                    <a:pt x="1241" y="1097"/>
                  </a:cubicBezTo>
                  <a:cubicBezTo>
                    <a:pt x="1235" y="1107"/>
                    <a:pt x="1235" y="1107"/>
                    <a:pt x="1235" y="1107"/>
                  </a:cubicBezTo>
                  <a:cubicBezTo>
                    <a:pt x="1190" y="1187"/>
                    <a:pt x="1111" y="1329"/>
                    <a:pt x="1082" y="1397"/>
                  </a:cubicBezTo>
                  <a:cubicBezTo>
                    <a:pt x="1061" y="1443"/>
                    <a:pt x="1026" y="1545"/>
                    <a:pt x="1001" y="1622"/>
                  </a:cubicBezTo>
                  <a:cubicBezTo>
                    <a:pt x="993" y="1647"/>
                    <a:pt x="970" y="1663"/>
                    <a:pt x="944" y="1663"/>
                  </a:cubicBezTo>
                  <a:cubicBezTo>
                    <a:pt x="829" y="1663"/>
                    <a:pt x="829" y="1663"/>
                    <a:pt x="829" y="1663"/>
                  </a:cubicBezTo>
                  <a:cubicBezTo>
                    <a:pt x="829" y="1197"/>
                    <a:pt x="829" y="1197"/>
                    <a:pt x="829" y="1197"/>
                  </a:cubicBezTo>
                  <a:cubicBezTo>
                    <a:pt x="940" y="989"/>
                    <a:pt x="940" y="989"/>
                    <a:pt x="940" y="989"/>
                  </a:cubicBezTo>
                  <a:cubicBezTo>
                    <a:pt x="945" y="980"/>
                    <a:pt x="943" y="970"/>
                    <a:pt x="936" y="963"/>
                  </a:cubicBezTo>
                  <a:cubicBezTo>
                    <a:pt x="929" y="957"/>
                    <a:pt x="918" y="956"/>
                    <a:pt x="910" y="961"/>
                  </a:cubicBezTo>
                  <a:cubicBezTo>
                    <a:pt x="703" y="1095"/>
                    <a:pt x="703" y="1095"/>
                    <a:pt x="703" y="1095"/>
                  </a:cubicBezTo>
                  <a:cubicBezTo>
                    <a:pt x="495" y="961"/>
                    <a:pt x="495" y="961"/>
                    <a:pt x="495" y="961"/>
                  </a:cubicBezTo>
                  <a:cubicBezTo>
                    <a:pt x="487" y="956"/>
                    <a:pt x="477" y="957"/>
                    <a:pt x="470" y="963"/>
                  </a:cubicBezTo>
                  <a:cubicBezTo>
                    <a:pt x="463" y="970"/>
                    <a:pt x="461" y="980"/>
                    <a:pt x="465" y="989"/>
                  </a:cubicBezTo>
                  <a:cubicBezTo>
                    <a:pt x="577" y="1197"/>
                    <a:pt x="577" y="1197"/>
                    <a:pt x="577" y="1197"/>
                  </a:cubicBezTo>
                  <a:cubicBezTo>
                    <a:pt x="577" y="1663"/>
                    <a:pt x="577" y="1663"/>
                    <a:pt x="577" y="1663"/>
                  </a:cubicBezTo>
                  <a:cubicBezTo>
                    <a:pt x="461" y="1663"/>
                    <a:pt x="461" y="1663"/>
                    <a:pt x="461" y="1663"/>
                  </a:cubicBezTo>
                  <a:cubicBezTo>
                    <a:pt x="436" y="1663"/>
                    <a:pt x="413" y="1647"/>
                    <a:pt x="405" y="1622"/>
                  </a:cubicBezTo>
                  <a:cubicBezTo>
                    <a:pt x="380" y="1545"/>
                    <a:pt x="345" y="1443"/>
                    <a:pt x="324" y="1397"/>
                  </a:cubicBezTo>
                  <a:cubicBezTo>
                    <a:pt x="296" y="1334"/>
                    <a:pt x="224" y="1203"/>
                    <a:pt x="169" y="1104"/>
                  </a:cubicBezTo>
                  <a:cubicBezTo>
                    <a:pt x="134" y="1042"/>
                    <a:pt x="105" y="992"/>
                    <a:pt x="96" y="976"/>
                  </a:cubicBezTo>
                  <a:cubicBezTo>
                    <a:pt x="94" y="974"/>
                    <a:pt x="94" y="974"/>
                    <a:pt x="94" y="974"/>
                  </a:cubicBezTo>
                  <a:cubicBezTo>
                    <a:pt x="59" y="892"/>
                    <a:pt x="42" y="805"/>
                    <a:pt x="42" y="715"/>
                  </a:cubicBezTo>
                  <a:cubicBezTo>
                    <a:pt x="42" y="532"/>
                    <a:pt x="118" y="356"/>
                    <a:pt x="252" y="231"/>
                  </a:cubicBezTo>
                  <a:cubicBezTo>
                    <a:pt x="388" y="105"/>
                    <a:pt x="564" y="42"/>
                    <a:pt x="750" y="55"/>
                  </a:cubicBezTo>
                  <a:cubicBezTo>
                    <a:pt x="1035" y="75"/>
                    <a:pt x="1280" y="282"/>
                    <a:pt x="1346" y="558"/>
                  </a:cubicBezTo>
                  <a:cubicBezTo>
                    <a:pt x="1379" y="698"/>
                    <a:pt x="1367" y="841"/>
                    <a:pt x="1313" y="972"/>
                  </a:cubicBezTo>
                  <a:close/>
                  <a:moveTo>
                    <a:pt x="911" y="278"/>
                  </a:moveTo>
                  <a:cubicBezTo>
                    <a:pt x="907" y="289"/>
                    <a:pt x="895" y="295"/>
                    <a:pt x="884" y="292"/>
                  </a:cubicBezTo>
                  <a:cubicBezTo>
                    <a:pt x="834" y="275"/>
                    <a:pt x="782" y="267"/>
                    <a:pt x="729" y="267"/>
                  </a:cubicBezTo>
                  <a:cubicBezTo>
                    <a:pt x="453" y="267"/>
                    <a:pt x="229" y="491"/>
                    <a:pt x="229" y="767"/>
                  </a:cubicBezTo>
                  <a:cubicBezTo>
                    <a:pt x="229" y="778"/>
                    <a:pt x="219" y="788"/>
                    <a:pt x="208" y="788"/>
                  </a:cubicBezTo>
                  <a:cubicBezTo>
                    <a:pt x="196" y="788"/>
                    <a:pt x="187" y="778"/>
                    <a:pt x="187" y="767"/>
                  </a:cubicBezTo>
                  <a:cubicBezTo>
                    <a:pt x="187" y="468"/>
                    <a:pt x="430" y="225"/>
                    <a:pt x="729" y="225"/>
                  </a:cubicBezTo>
                  <a:cubicBezTo>
                    <a:pt x="786" y="225"/>
                    <a:pt x="843" y="234"/>
                    <a:pt x="898" y="251"/>
                  </a:cubicBezTo>
                  <a:cubicBezTo>
                    <a:pt x="909" y="255"/>
                    <a:pt x="915" y="267"/>
                    <a:pt x="911" y="2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387689" y="1530396"/>
            <a:ext cx="2674810" cy="504976"/>
            <a:chOff x="3387689" y="1530396"/>
            <a:chExt cx="2674810" cy="504976"/>
          </a:xfrm>
        </p:grpSpPr>
        <p:sp>
          <p:nvSpPr>
            <p:cNvPr id="33" name="TextBox 32"/>
            <p:cNvSpPr txBox="1"/>
            <p:nvPr/>
          </p:nvSpPr>
          <p:spPr>
            <a:xfrm>
              <a:off x="3387720" y="1530396"/>
              <a:ext cx="267470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A VI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387689" y="1732019"/>
              <a:ext cx="2674810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357196" y="2253102"/>
            <a:ext cx="2674810" cy="503565"/>
            <a:chOff x="4357196" y="2253102"/>
            <a:chExt cx="2674810" cy="503565"/>
          </a:xfrm>
        </p:grpSpPr>
        <p:sp>
          <p:nvSpPr>
            <p:cNvPr id="38" name="TextBox 37"/>
            <p:cNvSpPr txBox="1"/>
            <p:nvPr/>
          </p:nvSpPr>
          <p:spPr>
            <a:xfrm>
              <a:off x="4357227" y="2253102"/>
              <a:ext cx="267470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A MIS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357196" y="2454725"/>
              <a:ext cx="2674810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532923" y="2958755"/>
            <a:ext cx="2674810" cy="503565"/>
            <a:chOff x="5532923" y="2958755"/>
            <a:chExt cx="2674810" cy="503565"/>
          </a:xfrm>
        </p:grpSpPr>
        <p:sp>
          <p:nvSpPr>
            <p:cNvPr id="41" name="TextBox 40"/>
            <p:cNvSpPr txBox="1"/>
            <p:nvPr/>
          </p:nvSpPr>
          <p:spPr>
            <a:xfrm>
              <a:off x="5532954" y="2958755"/>
              <a:ext cx="267470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NOSSOS PRINCIPAIS VALOR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532923" y="3160378"/>
              <a:ext cx="2674810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Vestibulu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consectetur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apie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.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743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EC0000"/>
                </a:solidFill>
              </a:rPr>
              <a:t>INFOGRÁFICO</a:t>
            </a:r>
            <a:r>
              <a:rPr lang="en-US" dirty="0"/>
              <a:t> DE FLECHA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465434" y="3153347"/>
            <a:ext cx="1638686" cy="640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900"/>
              </a:spcAft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sue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sl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Ut et mi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90963" y="3584164"/>
            <a:ext cx="1638686" cy="640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900"/>
              </a:spcAft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sue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sl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Ut et mi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21488" y="2717831"/>
            <a:ext cx="1638686" cy="640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900"/>
              </a:spcAft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sue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sl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Ut et mi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6190" y="2250208"/>
            <a:ext cx="1638686" cy="6234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spcAft>
                <a:spcPts val="900"/>
              </a:spcAft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lesti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ell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hon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fficitu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onec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vel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suer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sl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Ut et mi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ellente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.</a:t>
            </a:r>
          </a:p>
        </p:txBody>
      </p:sp>
      <p:sp>
        <p:nvSpPr>
          <p:cNvPr id="6" name="Right Arrow 5"/>
          <p:cNvSpPr/>
          <p:nvPr/>
        </p:nvSpPr>
        <p:spPr>
          <a:xfrm>
            <a:off x="595314" y="1384760"/>
            <a:ext cx="7953372" cy="881743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Right Arrow 6"/>
          <p:cNvSpPr/>
          <p:nvPr/>
        </p:nvSpPr>
        <p:spPr>
          <a:xfrm>
            <a:off x="2537248" y="1825102"/>
            <a:ext cx="6011438" cy="881743"/>
          </a:xfrm>
          <a:prstGeom prst="rightArrow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8" name="Right Arrow 7"/>
          <p:cNvSpPr/>
          <p:nvPr/>
        </p:nvSpPr>
        <p:spPr>
          <a:xfrm>
            <a:off x="4464798" y="2261677"/>
            <a:ext cx="4083888" cy="881743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Right Arrow 8"/>
          <p:cNvSpPr/>
          <p:nvPr/>
        </p:nvSpPr>
        <p:spPr>
          <a:xfrm>
            <a:off x="6390963" y="2697256"/>
            <a:ext cx="2157723" cy="881743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6882897" y="3061183"/>
            <a:ext cx="115761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PESQUISAS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025843" y="2189029"/>
            <a:ext cx="115761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SERVIÇOS</a:t>
            </a: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1094953" y="1748687"/>
            <a:ext cx="115761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NÍVEL GLOBAL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6488758" y="3007922"/>
            <a:ext cx="282677" cy="260410"/>
            <a:chOff x="2246314" y="3716338"/>
            <a:chExt cx="458788" cy="425450"/>
          </a:xfrm>
          <a:solidFill>
            <a:schemeClr val="bg1"/>
          </a:solidFill>
        </p:grpSpPr>
        <p:sp>
          <p:nvSpPr>
            <p:cNvPr id="17" name="Freeform 197"/>
            <p:cNvSpPr>
              <a:spLocks noEditPoints="1"/>
            </p:cNvSpPr>
            <p:nvPr/>
          </p:nvSpPr>
          <p:spPr bwMode="auto">
            <a:xfrm>
              <a:off x="2246314" y="3743326"/>
              <a:ext cx="425450" cy="274638"/>
            </a:xfrm>
            <a:custGeom>
              <a:avLst/>
              <a:gdLst>
                <a:gd name="T0" fmla="*/ 361 w 428"/>
                <a:gd name="T1" fmla="*/ 6 h 276"/>
                <a:gd name="T2" fmla="*/ 356 w 428"/>
                <a:gd name="T3" fmla="*/ 1 h 276"/>
                <a:gd name="T4" fmla="*/ 348 w 428"/>
                <a:gd name="T5" fmla="*/ 1 h 276"/>
                <a:gd name="T6" fmla="*/ 192 w 428"/>
                <a:gd name="T7" fmla="*/ 83 h 276"/>
                <a:gd name="T8" fmla="*/ 188 w 428"/>
                <a:gd name="T9" fmla="*/ 95 h 276"/>
                <a:gd name="T10" fmla="*/ 190 w 428"/>
                <a:gd name="T11" fmla="*/ 101 h 276"/>
                <a:gd name="T12" fmla="*/ 102 w 428"/>
                <a:gd name="T13" fmla="*/ 149 h 276"/>
                <a:gd name="T14" fmla="*/ 98 w 428"/>
                <a:gd name="T15" fmla="*/ 161 h 276"/>
                <a:gd name="T16" fmla="*/ 100 w 428"/>
                <a:gd name="T17" fmla="*/ 166 h 276"/>
                <a:gd name="T18" fmla="*/ 7 w 428"/>
                <a:gd name="T19" fmla="*/ 211 h 276"/>
                <a:gd name="T20" fmla="*/ 2 w 428"/>
                <a:gd name="T21" fmla="*/ 223 h 276"/>
                <a:gd name="T22" fmla="*/ 22 w 428"/>
                <a:gd name="T23" fmla="*/ 270 h 276"/>
                <a:gd name="T24" fmla="*/ 30 w 428"/>
                <a:gd name="T25" fmla="*/ 276 h 276"/>
                <a:gd name="T26" fmla="*/ 33 w 428"/>
                <a:gd name="T27" fmla="*/ 275 h 276"/>
                <a:gd name="T28" fmla="*/ 131 w 428"/>
                <a:gd name="T29" fmla="*/ 241 h 276"/>
                <a:gd name="T30" fmla="*/ 133 w 428"/>
                <a:gd name="T31" fmla="*/ 245 h 276"/>
                <a:gd name="T32" fmla="*/ 141 w 428"/>
                <a:gd name="T33" fmla="*/ 251 h 276"/>
                <a:gd name="T34" fmla="*/ 144 w 428"/>
                <a:gd name="T35" fmla="*/ 251 h 276"/>
                <a:gd name="T36" fmla="*/ 237 w 428"/>
                <a:gd name="T37" fmla="*/ 224 h 276"/>
                <a:gd name="T38" fmla="*/ 239 w 428"/>
                <a:gd name="T39" fmla="*/ 229 h 276"/>
                <a:gd name="T40" fmla="*/ 248 w 428"/>
                <a:gd name="T41" fmla="*/ 235 h 276"/>
                <a:gd name="T42" fmla="*/ 250 w 428"/>
                <a:gd name="T43" fmla="*/ 235 h 276"/>
                <a:gd name="T44" fmla="*/ 421 w 428"/>
                <a:gd name="T45" fmla="*/ 182 h 276"/>
                <a:gd name="T46" fmla="*/ 426 w 428"/>
                <a:gd name="T47" fmla="*/ 177 h 276"/>
                <a:gd name="T48" fmla="*/ 427 w 428"/>
                <a:gd name="T49" fmla="*/ 170 h 276"/>
                <a:gd name="T50" fmla="*/ 361 w 428"/>
                <a:gd name="T51" fmla="*/ 6 h 276"/>
                <a:gd name="T52" fmla="*/ 36 w 428"/>
                <a:gd name="T53" fmla="*/ 254 h 276"/>
                <a:gd name="T54" fmla="*/ 23 w 428"/>
                <a:gd name="T55" fmla="*/ 224 h 276"/>
                <a:gd name="T56" fmla="*/ 107 w 428"/>
                <a:gd name="T57" fmla="*/ 183 h 276"/>
                <a:gd name="T58" fmla="*/ 124 w 428"/>
                <a:gd name="T59" fmla="*/ 223 h 276"/>
                <a:gd name="T60" fmla="*/ 36 w 428"/>
                <a:gd name="T61" fmla="*/ 254 h 276"/>
                <a:gd name="T62" fmla="*/ 147 w 428"/>
                <a:gd name="T63" fmla="*/ 230 h 276"/>
                <a:gd name="T64" fmla="*/ 118 w 428"/>
                <a:gd name="T65" fmla="*/ 162 h 276"/>
                <a:gd name="T66" fmla="*/ 196 w 428"/>
                <a:gd name="T67" fmla="*/ 119 h 276"/>
                <a:gd name="T68" fmla="*/ 226 w 428"/>
                <a:gd name="T69" fmla="*/ 196 h 276"/>
                <a:gd name="T70" fmla="*/ 230 w 428"/>
                <a:gd name="T71" fmla="*/ 206 h 276"/>
                <a:gd name="T72" fmla="*/ 147 w 428"/>
                <a:gd name="T73" fmla="*/ 230 h 276"/>
                <a:gd name="T74" fmla="*/ 253 w 428"/>
                <a:gd name="T75" fmla="*/ 214 h 276"/>
                <a:gd name="T76" fmla="*/ 252 w 428"/>
                <a:gd name="T77" fmla="*/ 210 h 276"/>
                <a:gd name="T78" fmla="*/ 251 w 428"/>
                <a:gd name="T79" fmla="*/ 209 h 276"/>
                <a:gd name="T80" fmla="*/ 244 w 428"/>
                <a:gd name="T81" fmla="*/ 189 h 276"/>
                <a:gd name="T82" fmla="*/ 208 w 428"/>
                <a:gd name="T83" fmla="*/ 96 h 276"/>
                <a:gd name="T84" fmla="*/ 348 w 428"/>
                <a:gd name="T85" fmla="*/ 23 h 276"/>
                <a:gd name="T86" fmla="*/ 405 w 428"/>
                <a:gd name="T87" fmla="*/ 167 h 276"/>
                <a:gd name="T88" fmla="*/ 253 w 428"/>
                <a:gd name="T89" fmla="*/ 21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28" h="276">
                  <a:moveTo>
                    <a:pt x="361" y="6"/>
                  </a:moveTo>
                  <a:cubicBezTo>
                    <a:pt x="360" y="4"/>
                    <a:pt x="358" y="2"/>
                    <a:pt x="356" y="1"/>
                  </a:cubicBezTo>
                  <a:cubicBezTo>
                    <a:pt x="353" y="0"/>
                    <a:pt x="350" y="0"/>
                    <a:pt x="348" y="1"/>
                  </a:cubicBezTo>
                  <a:cubicBezTo>
                    <a:pt x="192" y="83"/>
                    <a:pt x="192" y="83"/>
                    <a:pt x="192" y="83"/>
                  </a:cubicBezTo>
                  <a:cubicBezTo>
                    <a:pt x="188" y="86"/>
                    <a:pt x="186" y="91"/>
                    <a:pt x="188" y="95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02" y="149"/>
                    <a:pt x="102" y="149"/>
                    <a:pt x="102" y="149"/>
                  </a:cubicBezTo>
                  <a:cubicBezTo>
                    <a:pt x="98" y="152"/>
                    <a:pt x="96" y="157"/>
                    <a:pt x="98" y="161"/>
                  </a:cubicBezTo>
                  <a:cubicBezTo>
                    <a:pt x="100" y="166"/>
                    <a:pt x="100" y="166"/>
                    <a:pt x="100" y="166"/>
                  </a:cubicBezTo>
                  <a:cubicBezTo>
                    <a:pt x="7" y="211"/>
                    <a:pt x="7" y="211"/>
                    <a:pt x="7" y="211"/>
                  </a:cubicBezTo>
                  <a:cubicBezTo>
                    <a:pt x="2" y="213"/>
                    <a:pt x="0" y="218"/>
                    <a:pt x="2" y="223"/>
                  </a:cubicBezTo>
                  <a:cubicBezTo>
                    <a:pt x="22" y="270"/>
                    <a:pt x="22" y="270"/>
                    <a:pt x="22" y="270"/>
                  </a:cubicBezTo>
                  <a:cubicBezTo>
                    <a:pt x="23" y="273"/>
                    <a:pt x="27" y="276"/>
                    <a:pt x="30" y="276"/>
                  </a:cubicBezTo>
                  <a:cubicBezTo>
                    <a:pt x="31" y="276"/>
                    <a:pt x="32" y="275"/>
                    <a:pt x="33" y="275"/>
                  </a:cubicBezTo>
                  <a:cubicBezTo>
                    <a:pt x="131" y="241"/>
                    <a:pt x="131" y="241"/>
                    <a:pt x="131" y="241"/>
                  </a:cubicBezTo>
                  <a:cubicBezTo>
                    <a:pt x="133" y="245"/>
                    <a:pt x="133" y="245"/>
                    <a:pt x="133" y="245"/>
                  </a:cubicBezTo>
                  <a:cubicBezTo>
                    <a:pt x="134" y="249"/>
                    <a:pt x="138" y="251"/>
                    <a:pt x="141" y="251"/>
                  </a:cubicBezTo>
                  <a:cubicBezTo>
                    <a:pt x="142" y="251"/>
                    <a:pt x="143" y="251"/>
                    <a:pt x="144" y="251"/>
                  </a:cubicBezTo>
                  <a:cubicBezTo>
                    <a:pt x="237" y="224"/>
                    <a:pt x="237" y="224"/>
                    <a:pt x="237" y="224"/>
                  </a:cubicBezTo>
                  <a:cubicBezTo>
                    <a:pt x="239" y="229"/>
                    <a:pt x="239" y="229"/>
                    <a:pt x="239" y="229"/>
                  </a:cubicBezTo>
                  <a:cubicBezTo>
                    <a:pt x="240" y="233"/>
                    <a:pt x="244" y="235"/>
                    <a:pt x="248" y="235"/>
                  </a:cubicBezTo>
                  <a:cubicBezTo>
                    <a:pt x="248" y="235"/>
                    <a:pt x="249" y="235"/>
                    <a:pt x="250" y="235"/>
                  </a:cubicBezTo>
                  <a:cubicBezTo>
                    <a:pt x="421" y="182"/>
                    <a:pt x="421" y="182"/>
                    <a:pt x="421" y="182"/>
                  </a:cubicBezTo>
                  <a:cubicBezTo>
                    <a:pt x="423" y="181"/>
                    <a:pt x="425" y="180"/>
                    <a:pt x="426" y="177"/>
                  </a:cubicBezTo>
                  <a:cubicBezTo>
                    <a:pt x="427" y="175"/>
                    <a:pt x="428" y="172"/>
                    <a:pt x="427" y="170"/>
                  </a:cubicBezTo>
                  <a:lnTo>
                    <a:pt x="361" y="6"/>
                  </a:lnTo>
                  <a:close/>
                  <a:moveTo>
                    <a:pt x="36" y="254"/>
                  </a:moveTo>
                  <a:cubicBezTo>
                    <a:pt x="23" y="224"/>
                    <a:pt x="23" y="224"/>
                    <a:pt x="23" y="224"/>
                  </a:cubicBezTo>
                  <a:cubicBezTo>
                    <a:pt x="107" y="183"/>
                    <a:pt x="107" y="183"/>
                    <a:pt x="107" y="183"/>
                  </a:cubicBezTo>
                  <a:cubicBezTo>
                    <a:pt x="124" y="223"/>
                    <a:pt x="124" y="223"/>
                    <a:pt x="124" y="223"/>
                  </a:cubicBezTo>
                  <a:lnTo>
                    <a:pt x="36" y="254"/>
                  </a:lnTo>
                  <a:close/>
                  <a:moveTo>
                    <a:pt x="147" y="230"/>
                  </a:moveTo>
                  <a:cubicBezTo>
                    <a:pt x="118" y="162"/>
                    <a:pt x="118" y="162"/>
                    <a:pt x="118" y="162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26" y="196"/>
                    <a:pt x="226" y="196"/>
                    <a:pt x="226" y="196"/>
                  </a:cubicBezTo>
                  <a:cubicBezTo>
                    <a:pt x="230" y="206"/>
                    <a:pt x="230" y="206"/>
                    <a:pt x="230" y="206"/>
                  </a:cubicBezTo>
                  <a:lnTo>
                    <a:pt x="147" y="230"/>
                  </a:lnTo>
                  <a:close/>
                  <a:moveTo>
                    <a:pt x="253" y="214"/>
                  </a:moveTo>
                  <a:cubicBezTo>
                    <a:pt x="252" y="210"/>
                    <a:pt x="252" y="210"/>
                    <a:pt x="252" y="210"/>
                  </a:cubicBezTo>
                  <a:cubicBezTo>
                    <a:pt x="252" y="210"/>
                    <a:pt x="252" y="209"/>
                    <a:pt x="251" y="209"/>
                  </a:cubicBezTo>
                  <a:cubicBezTo>
                    <a:pt x="244" y="189"/>
                    <a:pt x="244" y="189"/>
                    <a:pt x="244" y="189"/>
                  </a:cubicBezTo>
                  <a:cubicBezTo>
                    <a:pt x="208" y="96"/>
                    <a:pt x="208" y="96"/>
                    <a:pt x="208" y="96"/>
                  </a:cubicBezTo>
                  <a:cubicBezTo>
                    <a:pt x="348" y="23"/>
                    <a:pt x="348" y="23"/>
                    <a:pt x="348" y="23"/>
                  </a:cubicBezTo>
                  <a:cubicBezTo>
                    <a:pt x="405" y="167"/>
                    <a:pt x="405" y="167"/>
                    <a:pt x="405" y="167"/>
                  </a:cubicBezTo>
                  <a:lnTo>
                    <a:pt x="253" y="21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Freeform 198"/>
            <p:cNvSpPr>
              <a:spLocks/>
            </p:cNvSpPr>
            <p:nvPr/>
          </p:nvSpPr>
          <p:spPr bwMode="auto">
            <a:xfrm>
              <a:off x="2605089" y="3716338"/>
              <a:ext cx="100013" cy="215900"/>
            </a:xfrm>
            <a:custGeom>
              <a:avLst/>
              <a:gdLst>
                <a:gd name="T0" fmla="*/ 98 w 100"/>
                <a:gd name="T1" fmla="*/ 203 h 216"/>
                <a:gd name="T2" fmla="*/ 20 w 100"/>
                <a:gd name="T3" fmla="*/ 7 h 216"/>
                <a:gd name="T4" fmla="*/ 8 w 100"/>
                <a:gd name="T5" fmla="*/ 2 h 216"/>
                <a:gd name="T6" fmla="*/ 2 w 100"/>
                <a:gd name="T7" fmla="*/ 14 h 216"/>
                <a:gd name="T8" fmla="*/ 81 w 100"/>
                <a:gd name="T9" fmla="*/ 210 h 216"/>
                <a:gd name="T10" fmla="*/ 90 w 100"/>
                <a:gd name="T11" fmla="*/ 216 h 216"/>
                <a:gd name="T12" fmla="*/ 93 w 100"/>
                <a:gd name="T13" fmla="*/ 215 h 216"/>
                <a:gd name="T14" fmla="*/ 98 w 100"/>
                <a:gd name="T15" fmla="*/ 203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216">
                  <a:moveTo>
                    <a:pt x="98" y="203"/>
                  </a:moveTo>
                  <a:cubicBezTo>
                    <a:pt x="20" y="7"/>
                    <a:pt x="20" y="7"/>
                    <a:pt x="20" y="7"/>
                  </a:cubicBezTo>
                  <a:cubicBezTo>
                    <a:pt x="18" y="2"/>
                    <a:pt x="12" y="0"/>
                    <a:pt x="8" y="2"/>
                  </a:cubicBezTo>
                  <a:cubicBezTo>
                    <a:pt x="3" y="3"/>
                    <a:pt x="0" y="9"/>
                    <a:pt x="2" y="14"/>
                  </a:cubicBezTo>
                  <a:cubicBezTo>
                    <a:pt x="81" y="210"/>
                    <a:pt x="81" y="210"/>
                    <a:pt x="81" y="210"/>
                  </a:cubicBezTo>
                  <a:cubicBezTo>
                    <a:pt x="82" y="214"/>
                    <a:pt x="86" y="216"/>
                    <a:pt x="90" y="216"/>
                  </a:cubicBezTo>
                  <a:cubicBezTo>
                    <a:pt x="91" y="216"/>
                    <a:pt x="92" y="216"/>
                    <a:pt x="93" y="215"/>
                  </a:cubicBezTo>
                  <a:cubicBezTo>
                    <a:pt x="98" y="214"/>
                    <a:pt x="100" y="208"/>
                    <a:pt x="98" y="2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9" name="Freeform 199"/>
            <p:cNvSpPr>
              <a:spLocks noEditPoints="1"/>
            </p:cNvSpPr>
            <p:nvPr/>
          </p:nvSpPr>
          <p:spPr bwMode="auto">
            <a:xfrm>
              <a:off x="2332039" y="3992563"/>
              <a:ext cx="255588" cy="149225"/>
            </a:xfrm>
            <a:custGeom>
              <a:avLst/>
              <a:gdLst>
                <a:gd name="T0" fmla="*/ 177 w 257"/>
                <a:gd name="T1" fmla="*/ 45 h 150"/>
                <a:gd name="T2" fmla="*/ 177 w 257"/>
                <a:gd name="T3" fmla="*/ 30 h 150"/>
                <a:gd name="T4" fmla="*/ 148 w 257"/>
                <a:gd name="T5" fmla="*/ 0 h 150"/>
                <a:gd name="T6" fmla="*/ 109 w 257"/>
                <a:gd name="T7" fmla="*/ 0 h 150"/>
                <a:gd name="T8" fmla="*/ 80 w 257"/>
                <a:gd name="T9" fmla="*/ 29 h 150"/>
                <a:gd name="T10" fmla="*/ 80 w 257"/>
                <a:gd name="T11" fmla="*/ 45 h 150"/>
                <a:gd name="T12" fmla="*/ 4 w 257"/>
                <a:gd name="T13" fmla="*/ 134 h 150"/>
                <a:gd name="T14" fmla="*/ 5 w 257"/>
                <a:gd name="T15" fmla="*/ 148 h 150"/>
                <a:gd name="T16" fmla="*/ 11 w 257"/>
                <a:gd name="T17" fmla="*/ 150 h 150"/>
                <a:gd name="T18" fmla="*/ 18 w 257"/>
                <a:gd name="T19" fmla="*/ 147 h 150"/>
                <a:gd name="T20" fmla="*/ 94 w 257"/>
                <a:gd name="T21" fmla="*/ 58 h 150"/>
                <a:gd name="T22" fmla="*/ 119 w 257"/>
                <a:gd name="T23" fmla="*/ 58 h 150"/>
                <a:gd name="T24" fmla="*/ 119 w 257"/>
                <a:gd name="T25" fmla="*/ 140 h 150"/>
                <a:gd name="T26" fmla="*/ 129 w 257"/>
                <a:gd name="T27" fmla="*/ 150 h 150"/>
                <a:gd name="T28" fmla="*/ 138 w 257"/>
                <a:gd name="T29" fmla="*/ 140 h 150"/>
                <a:gd name="T30" fmla="*/ 138 w 257"/>
                <a:gd name="T31" fmla="*/ 58 h 150"/>
                <a:gd name="T32" fmla="*/ 164 w 257"/>
                <a:gd name="T33" fmla="*/ 58 h 150"/>
                <a:gd name="T34" fmla="*/ 240 w 257"/>
                <a:gd name="T35" fmla="*/ 147 h 150"/>
                <a:gd name="T36" fmla="*/ 247 w 257"/>
                <a:gd name="T37" fmla="*/ 150 h 150"/>
                <a:gd name="T38" fmla="*/ 253 w 257"/>
                <a:gd name="T39" fmla="*/ 148 h 150"/>
                <a:gd name="T40" fmla="*/ 254 w 257"/>
                <a:gd name="T41" fmla="*/ 134 h 150"/>
                <a:gd name="T42" fmla="*/ 177 w 257"/>
                <a:gd name="T43" fmla="*/ 45 h 150"/>
                <a:gd name="T44" fmla="*/ 159 w 257"/>
                <a:gd name="T45" fmla="*/ 39 h 150"/>
                <a:gd name="T46" fmla="*/ 99 w 257"/>
                <a:gd name="T47" fmla="*/ 39 h 150"/>
                <a:gd name="T48" fmla="*/ 99 w 257"/>
                <a:gd name="T49" fmla="*/ 29 h 150"/>
                <a:gd name="T50" fmla="*/ 109 w 257"/>
                <a:gd name="T51" fmla="*/ 19 h 150"/>
                <a:gd name="T52" fmla="*/ 148 w 257"/>
                <a:gd name="T53" fmla="*/ 19 h 150"/>
                <a:gd name="T54" fmla="*/ 159 w 257"/>
                <a:gd name="T55" fmla="*/ 30 h 150"/>
                <a:gd name="T56" fmla="*/ 159 w 257"/>
                <a:gd name="T57" fmla="*/ 3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7" h="150">
                  <a:moveTo>
                    <a:pt x="177" y="45"/>
                  </a:moveTo>
                  <a:cubicBezTo>
                    <a:pt x="177" y="30"/>
                    <a:pt x="177" y="30"/>
                    <a:pt x="177" y="30"/>
                  </a:cubicBezTo>
                  <a:cubicBezTo>
                    <a:pt x="177" y="13"/>
                    <a:pt x="165" y="0"/>
                    <a:pt x="148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93" y="0"/>
                    <a:pt x="80" y="13"/>
                    <a:pt x="80" y="29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4" y="134"/>
                    <a:pt x="4" y="134"/>
                    <a:pt x="4" y="134"/>
                  </a:cubicBezTo>
                  <a:cubicBezTo>
                    <a:pt x="0" y="138"/>
                    <a:pt x="1" y="144"/>
                    <a:pt x="5" y="148"/>
                  </a:cubicBezTo>
                  <a:cubicBezTo>
                    <a:pt x="7" y="149"/>
                    <a:pt x="9" y="150"/>
                    <a:pt x="11" y="150"/>
                  </a:cubicBezTo>
                  <a:cubicBezTo>
                    <a:pt x="14" y="150"/>
                    <a:pt x="16" y="149"/>
                    <a:pt x="18" y="147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119" y="58"/>
                    <a:pt x="119" y="58"/>
                    <a:pt x="119" y="58"/>
                  </a:cubicBezTo>
                  <a:cubicBezTo>
                    <a:pt x="119" y="140"/>
                    <a:pt x="119" y="140"/>
                    <a:pt x="119" y="140"/>
                  </a:cubicBezTo>
                  <a:cubicBezTo>
                    <a:pt x="119" y="146"/>
                    <a:pt x="124" y="150"/>
                    <a:pt x="129" y="150"/>
                  </a:cubicBezTo>
                  <a:cubicBezTo>
                    <a:pt x="134" y="150"/>
                    <a:pt x="138" y="146"/>
                    <a:pt x="138" y="140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64" y="58"/>
                    <a:pt x="164" y="58"/>
                    <a:pt x="164" y="58"/>
                  </a:cubicBezTo>
                  <a:cubicBezTo>
                    <a:pt x="240" y="147"/>
                    <a:pt x="240" y="147"/>
                    <a:pt x="240" y="147"/>
                  </a:cubicBezTo>
                  <a:cubicBezTo>
                    <a:pt x="241" y="149"/>
                    <a:pt x="244" y="150"/>
                    <a:pt x="247" y="150"/>
                  </a:cubicBezTo>
                  <a:cubicBezTo>
                    <a:pt x="249" y="150"/>
                    <a:pt x="251" y="149"/>
                    <a:pt x="253" y="148"/>
                  </a:cubicBezTo>
                  <a:cubicBezTo>
                    <a:pt x="257" y="144"/>
                    <a:pt x="257" y="138"/>
                    <a:pt x="254" y="134"/>
                  </a:cubicBezTo>
                  <a:lnTo>
                    <a:pt x="177" y="45"/>
                  </a:lnTo>
                  <a:close/>
                  <a:moveTo>
                    <a:pt x="159" y="39"/>
                  </a:moveTo>
                  <a:cubicBezTo>
                    <a:pt x="99" y="39"/>
                    <a:pt x="99" y="39"/>
                    <a:pt x="99" y="3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3"/>
                    <a:pt x="103" y="19"/>
                    <a:pt x="109" y="19"/>
                  </a:cubicBezTo>
                  <a:cubicBezTo>
                    <a:pt x="148" y="19"/>
                    <a:pt x="148" y="19"/>
                    <a:pt x="148" y="19"/>
                  </a:cubicBezTo>
                  <a:cubicBezTo>
                    <a:pt x="154" y="19"/>
                    <a:pt x="159" y="24"/>
                    <a:pt x="159" y="30"/>
                  </a:cubicBezTo>
                  <a:lnTo>
                    <a:pt x="159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0" name="Freeform 72"/>
          <p:cNvSpPr>
            <a:spLocks noEditPoints="1"/>
          </p:cNvSpPr>
          <p:nvPr/>
        </p:nvSpPr>
        <p:spPr bwMode="auto">
          <a:xfrm>
            <a:off x="699897" y="1695426"/>
            <a:ext cx="262137" cy="260410"/>
          </a:xfrm>
          <a:custGeom>
            <a:avLst/>
            <a:gdLst>
              <a:gd name="T0" fmla="*/ 425 w 425"/>
              <a:gd name="T1" fmla="*/ 213 h 425"/>
              <a:gd name="T2" fmla="*/ 0 w 425"/>
              <a:gd name="T3" fmla="*/ 213 h 425"/>
              <a:gd name="T4" fmla="*/ 0 w 425"/>
              <a:gd name="T5" fmla="*/ 219 h 425"/>
              <a:gd name="T6" fmla="*/ 212 w 425"/>
              <a:gd name="T7" fmla="*/ 425 h 425"/>
              <a:gd name="T8" fmla="*/ 425 w 425"/>
              <a:gd name="T9" fmla="*/ 219 h 425"/>
              <a:gd name="T10" fmla="*/ 280 w 425"/>
              <a:gd name="T11" fmla="*/ 210 h 425"/>
              <a:gd name="T12" fmla="*/ 328 w 425"/>
              <a:gd name="T13" fmla="*/ 128 h 425"/>
              <a:gd name="T14" fmla="*/ 280 w 425"/>
              <a:gd name="T15" fmla="*/ 210 h 425"/>
              <a:gd name="T16" fmla="*/ 166 w 425"/>
              <a:gd name="T17" fmla="*/ 147 h 425"/>
              <a:gd name="T18" fmla="*/ 259 w 425"/>
              <a:gd name="T19" fmla="*/ 147 h 425"/>
              <a:gd name="T20" fmla="*/ 163 w 425"/>
              <a:gd name="T21" fmla="*/ 210 h 425"/>
              <a:gd name="T22" fmla="*/ 259 w 425"/>
              <a:gd name="T23" fmla="*/ 279 h 425"/>
              <a:gd name="T24" fmla="*/ 166 w 425"/>
              <a:gd name="T25" fmla="*/ 279 h 425"/>
              <a:gd name="T26" fmla="*/ 262 w 425"/>
              <a:gd name="T27" fmla="*/ 229 h 425"/>
              <a:gd name="T28" fmla="*/ 247 w 425"/>
              <a:gd name="T29" fmla="*/ 26 h 425"/>
              <a:gd name="T30" fmla="*/ 275 w 425"/>
              <a:gd name="T31" fmla="*/ 125 h 425"/>
              <a:gd name="T32" fmla="*/ 212 w 425"/>
              <a:gd name="T33" fmla="*/ 131 h 425"/>
              <a:gd name="T34" fmla="*/ 212 w 425"/>
              <a:gd name="T35" fmla="*/ 19 h 425"/>
              <a:gd name="T36" fmla="*/ 178 w 425"/>
              <a:gd name="T37" fmla="*/ 26 h 425"/>
              <a:gd name="T38" fmla="*/ 103 w 425"/>
              <a:gd name="T39" fmla="*/ 111 h 425"/>
              <a:gd name="T40" fmla="*/ 147 w 425"/>
              <a:gd name="T41" fmla="*/ 143 h 425"/>
              <a:gd name="T42" fmla="*/ 84 w 425"/>
              <a:gd name="T43" fmla="*/ 210 h 425"/>
              <a:gd name="T44" fmla="*/ 147 w 425"/>
              <a:gd name="T45" fmla="*/ 143 h 425"/>
              <a:gd name="T46" fmla="*/ 19 w 425"/>
              <a:gd name="T47" fmla="*/ 210 h 425"/>
              <a:gd name="T48" fmla="*/ 80 w 425"/>
              <a:gd name="T49" fmla="*/ 121 h 425"/>
              <a:gd name="T50" fmla="*/ 66 w 425"/>
              <a:gd name="T51" fmla="*/ 229 h 425"/>
              <a:gd name="T52" fmla="*/ 52 w 425"/>
              <a:gd name="T53" fmla="*/ 321 h 425"/>
              <a:gd name="T54" fmla="*/ 66 w 425"/>
              <a:gd name="T55" fmla="*/ 229 h 425"/>
              <a:gd name="T56" fmla="*/ 144 w 425"/>
              <a:gd name="T57" fmla="*/ 229 h 425"/>
              <a:gd name="T58" fmla="*/ 97 w 425"/>
              <a:gd name="T59" fmla="*/ 297 h 425"/>
              <a:gd name="T60" fmla="*/ 150 w 425"/>
              <a:gd name="T61" fmla="*/ 301 h 425"/>
              <a:gd name="T62" fmla="*/ 103 w 425"/>
              <a:gd name="T63" fmla="*/ 315 h 425"/>
              <a:gd name="T64" fmla="*/ 168 w 425"/>
              <a:gd name="T65" fmla="*/ 297 h 425"/>
              <a:gd name="T66" fmla="*/ 256 w 425"/>
              <a:gd name="T67" fmla="*/ 297 h 425"/>
              <a:gd name="T68" fmla="*/ 168 w 425"/>
              <a:gd name="T69" fmla="*/ 297 h 425"/>
              <a:gd name="T70" fmla="*/ 275 w 425"/>
              <a:gd name="T71" fmla="*/ 301 h 425"/>
              <a:gd name="T72" fmla="*/ 247 w 425"/>
              <a:gd name="T73" fmla="*/ 399 h 425"/>
              <a:gd name="T74" fmla="*/ 280 w 425"/>
              <a:gd name="T75" fmla="*/ 229 h 425"/>
              <a:gd name="T76" fmla="*/ 328 w 425"/>
              <a:gd name="T77" fmla="*/ 297 h 425"/>
              <a:gd name="T78" fmla="*/ 359 w 425"/>
              <a:gd name="T79" fmla="*/ 229 h 425"/>
              <a:gd name="T80" fmla="*/ 373 w 425"/>
              <a:gd name="T81" fmla="*/ 321 h 425"/>
              <a:gd name="T82" fmla="*/ 359 w 425"/>
              <a:gd name="T83" fmla="*/ 229 h 425"/>
              <a:gd name="T84" fmla="*/ 345 w 425"/>
              <a:gd name="T85" fmla="*/ 121 h 425"/>
              <a:gd name="T86" fmla="*/ 406 w 425"/>
              <a:gd name="T87" fmla="*/ 210 h 425"/>
              <a:gd name="T88" fmla="*/ 361 w 425"/>
              <a:gd name="T89" fmla="*/ 89 h 425"/>
              <a:gd name="T90" fmla="*/ 295 w 425"/>
              <a:gd name="T91" fmla="*/ 38 h 425"/>
              <a:gd name="T92" fmla="*/ 129 w 425"/>
              <a:gd name="T93" fmla="*/ 38 h 425"/>
              <a:gd name="T94" fmla="*/ 63 w 425"/>
              <a:gd name="T95" fmla="*/ 89 h 425"/>
              <a:gd name="T96" fmla="*/ 63 w 425"/>
              <a:gd name="T97" fmla="*/ 336 h 425"/>
              <a:gd name="T98" fmla="*/ 129 w 425"/>
              <a:gd name="T99" fmla="*/ 387 h 425"/>
              <a:gd name="T100" fmla="*/ 295 w 425"/>
              <a:gd name="T101" fmla="*/ 387 h 425"/>
              <a:gd name="T102" fmla="*/ 361 w 425"/>
              <a:gd name="T103" fmla="*/ 336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25" h="425">
                <a:moveTo>
                  <a:pt x="424" y="218"/>
                </a:moveTo>
                <a:cubicBezTo>
                  <a:pt x="425" y="216"/>
                  <a:pt x="425" y="214"/>
                  <a:pt x="425" y="213"/>
                </a:cubicBezTo>
                <a:cubicBezTo>
                  <a:pt x="425" y="95"/>
                  <a:pt x="329" y="0"/>
                  <a:pt x="212" y="0"/>
                </a:cubicBezTo>
                <a:cubicBezTo>
                  <a:pt x="95" y="0"/>
                  <a:pt x="0" y="95"/>
                  <a:pt x="0" y="213"/>
                </a:cubicBezTo>
                <a:cubicBezTo>
                  <a:pt x="0" y="214"/>
                  <a:pt x="0" y="216"/>
                  <a:pt x="0" y="218"/>
                </a:cubicBezTo>
                <a:cubicBezTo>
                  <a:pt x="0" y="218"/>
                  <a:pt x="0" y="219"/>
                  <a:pt x="0" y="219"/>
                </a:cubicBezTo>
                <a:cubicBezTo>
                  <a:pt x="0" y="220"/>
                  <a:pt x="0" y="220"/>
                  <a:pt x="0" y="221"/>
                </a:cubicBezTo>
                <a:cubicBezTo>
                  <a:pt x="4" y="334"/>
                  <a:pt x="98" y="425"/>
                  <a:pt x="212" y="425"/>
                </a:cubicBezTo>
                <a:cubicBezTo>
                  <a:pt x="326" y="425"/>
                  <a:pt x="420" y="334"/>
                  <a:pt x="424" y="221"/>
                </a:cubicBezTo>
                <a:cubicBezTo>
                  <a:pt x="425" y="220"/>
                  <a:pt x="425" y="220"/>
                  <a:pt x="425" y="219"/>
                </a:cubicBezTo>
                <a:cubicBezTo>
                  <a:pt x="425" y="219"/>
                  <a:pt x="425" y="218"/>
                  <a:pt x="424" y="218"/>
                </a:cubicBezTo>
                <a:close/>
                <a:moveTo>
                  <a:pt x="280" y="210"/>
                </a:moveTo>
                <a:cubicBezTo>
                  <a:pt x="280" y="187"/>
                  <a:pt x="279" y="165"/>
                  <a:pt x="277" y="143"/>
                </a:cubicBezTo>
                <a:cubicBezTo>
                  <a:pt x="295" y="140"/>
                  <a:pt x="312" y="135"/>
                  <a:pt x="328" y="128"/>
                </a:cubicBezTo>
                <a:cubicBezTo>
                  <a:pt x="336" y="153"/>
                  <a:pt x="340" y="181"/>
                  <a:pt x="340" y="210"/>
                </a:cubicBezTo>
                <a:lnTo>
                  <a:pt x="280" y="210"/>
                </a:lnTo>
                <a:close/>
                <a:moveTo>
                  <a:pt x="163" y="210"/>
                </a:moveTo>
                <a:cubicBezTo>
                  <a:pt x="163" y="187"/>
                  <a:pt x="164" y="166"/>
                  <a:pt x="166" y="147"/>
                </a:cubicBezTo>
                <a:cubicBezTo>
                  <a:pt x="181" y="149"/>
                  <a:pt x="196" y="150"/>
                  <a:pt x="212" y="150"/>
                </a:cubicBezTo>
                <a:cubicBezTo>
                  <a:pt x="228" y="150"/>
                  <a:pt x="244" y="149"/>
                  <a:pt x="259" y="147"/>
                </a:cubicBezTo>
                <a:cubicBezTo>
                  <a:pt x="261" y="166"/>
                  <a:pt x="262" y="187"/>
                  <a:pt x="262" y="210"/>
                </a:cubicBezTo>
                <a:lnTo>
                  <a:pt x="163" y="210"/>
                </a:lnTo>
                <a:close/>
                <a:moveTo>
                  <a:pt x="262" y="229"/>
                </a:moveTo>
                <a:cubicBezTo>
                  <a:pt x="261" y="246"/>
                  <a:pt x="260" y="263"/>
                  <a:pt x="259" y="279"/>
                </a:cubicBezTo>
                <a:cubicBezTo>
                  <a:pt x="244" y="276"/>
                  <a:pt x="228" y="275"/>
                  <a:pt x="212" y="275"/>
                </a:cubicBezTo>
                <a:cubicBezTo>
                  <a:pt x="196" y="275"/>
                  <a:pt x="181" y="276"/>
                  <a:pt x="166" y="279"/>
                </a:cubicBezTo>
                <a:cubicBezTo>
                  <a:pt x="164" y="263"/>
                  <a:pt x="163" y="246"/>
                  <a:pt x="163" y="229"/>
                </a:cubicBezTo>
                <a:lnTo>
                  <a:pt x="262" y="229"/>
                </a:lnTo>
                <a:close/>
                <a:moveTo>
                  <a:pt x="275" y="125"/>
                </a:moveTo>
                <a:cubicBezTo>
                  <a:pt x="269" y="84"/>
                  <a:pt x="260" y="49"/>
                  <a:pt x="247" y="26"/>
                </a:cubicBezTo>
                <a:cubicBezTo>
                  <a:pt x="278" y="39"/>
                  <a:pt x="304" y="70"/>
                  <a:pt x="321" y="111"/>
                </a:cubicBezTo>
                <a:cubicBezTo>
                  <a:pt x="307" y="116"/>
                  <a:pt x="291" y="121"/>
                  <a:pt x="275" y="125"/>
                </a:cubicBezTo>
                <a:close/>
                <a:moveTo>
                  <a:pt x="256" y="128"/>
                </a:moveTo>
                <a:cubicBezTo>
                  <a:pt x="242" y="130"/>
                  <a:pt x="227" y="131"/>
                  <a:pt x="212" y="131"/>
                </a:cubicBezTo>
                <a:cubicBezTo>
                  <a:pt x="197" y="131"/>
                  <a:pt x="182" y="130"/>
                  <a:pt x="168" y="128"/>
                </a:cubicBezTo>
                <a:cubicBezTo>
                  <a:pt x="177" y="59"/>
                  <a:pt x="197" y="19"/>
                  <a:pt x="212" y="19"/>
                </a:cubicBezTo>
                <a:cubicBezTo>
                  <a:pt x="227" y="19"/>
                  <a:pt x="247" y="59"/>
                  <a:pt x="256" y="128"/>
                </a:cubicBezTo>
                <a:close/>
                <a:moveTo>
                  <a:pt x="178" y="26"/>
                </a:moveTo>
                <a:cubicBezTo>
                  <a:pt x="164" y="49"/>
                  <a:pt x="155" y="84"/>
                  <a:pt x="150" y="125"/>
                </a:cubicBezTo>
                <a:cubicBezTo>
                  <a:pt x="133" y="121"/>
                  <a:pt x="118" y="116"/>
                  <a:pt x="103" y="111"/>
                </a:cubicBezTo>
                <a:cubicBezTo>
                  <a:pt x="120" y="70"/>
                  <a:pt x="146" y="39"/>
                  <a:pt x="178" y="26"/>
                </a:cubicBezTo>
                <a:close/>
                <a:moveTo>
                  <a:pt x="147" y="143"/>
                </a:moveTo>
                <a:cubicBezTo>
                  <a:pt x="145" y="165"/>
                  <a:pt x="144" y="187"/>
                  <a:pt x="144" y="210"/>
                </a:cubicBezTo>
                <a:cubicBezTo>
                  <a:pt x="84" y="210"/>
                  <a:pt x="84" y="210"/>
                  <a:pt x="84" y="210"/>
                </a:cubicBezTo>
                <a:cubicBezTo>
                  <a:pt x="84" y="181"/>
                  <a:pt x="89" y="153"/>
                  <a:pt x="97" y="128"/>
                </a:cubicBezTo>
                <a:cubicBezTo>
                  <a:pt x="113" y="135"/>
                  <a:pt x="130" y="140"/>
                  <a:pt x="147" y="143"/>
                </a:cubicBezTo>
                <a:close/>
                <a:moveTo>
                  <a:pt x="65" y="210"/>
                </a:moveTo>
                <a:cubicBezTo>
                  <a:pt x="19" y="210"/>
                  <a:pt x="19" y="210"/>
                  <a:pt x="19" y="210"/>
                </a:cubicBezTo>
                <a:cubicBezTo>
                  <a:pt x="19" y="171"/>
                  <a:pt x="31" y="134"/>
                  <a:pt x="52" y="104"/>
                </a:cubicBezTo>
                <a:cubicBezTo>
                  <a:pt x="61" y="110"/>
                  <a:pt x="70" y="116"/>
                  <a:pt x="80" y="121"/>
                </a:cubicBezTo>
                <a:cubicBezTo>
                  <a:pt x="71" y="148"/>
                  <a:pt x="66" y="178"/>
                  <a:pt x="65" y="210"/>
                </a:cubicBezTo>
                <a:close/>
                <a:moveTo>
                  <a:pt x="66" y="229"/>
                </a:moveTo>
                <a:cubicBezTo>
                  <a:pt x="67" y="256"/>
                  <a:pt x="72" y="281"/>
                  <a:pt x="80" y="305"/>
                </a:cubicBezTo>
                <a:cubicBezTo>
                  <a:pt x="70" y="310"/>
                  <a:pt x="61" y="315"/>
                  <a:pt x="52" y="321"/>
                </a:cubicBezTo>
                <a:cubicBezTo>
                  <a:pt x="34" y="294"/>
                  <a:pt x="22" y="263"/>
                  <a:pt x="19" y="229"/>
                </a:cubicBezTo>
                <a:lnTo>
                  <a:pt x="66" y="229"/>
                </a:lnTo>
                <a:close/>
                <a:moveTo>
                  <a:pt x="84" y="229"/>
                </a:moveTo>
                <a:cubicBezTo>
                  <a:pt x="144" y="229"/>
                  <a:pt x="144" y="229"/>
                  <a:pt x="144" y="229"/>
                </a:cubicBezTo>
                <a:cubicBezTo>
                  <a:pt x="144" y="247"/>
                  <a:pt x="146" y="265"/>
                  <a:pt x="147" y="282"/>
                </a:cubicBezTo>
                <a:cubicBezTo>
                  <a:pt x="130" y="285"/>
                  <a:pt x="113" y="290"/>
                  <a:pt x="97" y="297"/>
                </a:cubicBezTo>
                <a:cubicBezTo>
                  <a:pt x="90" y="276"/>
                  <a:pt x="86" y="253"/>
                  <a:pt x="84" y="229"/>
                </a:cubicBezTo>
                <a:close/>
                <a:moveTo>
                  <a:pt x="150" y="301"/>
                </a:moveTo>
                <a:cubicBezTo>
                  <a:pt x="155" y="341"/>
                  <a:pt x="164" y="377"/>
                  <a:pt x="178" y="399"/>
                </a:cubicBezTo>
                <a:cubicBezTo>
                  <a:pt x="146" y="386"/>
                  <a:pt x="120" y="355"/>
                  <a:pt x="103" y="315"/>
                </a:cubicBezTo>
                <a:cubicBezTo>
                  <a:pt x="118" y="309"/>
                  <a:pt x="133" y="304"/>
                  <a:pt x="150" y="301"/>
                </a:cubicBezTo>
                <a:close/>
                <a:moveTo>
                  <a:pt x="168" y="297"/>
                </a:moveTo>
                <a:cubicBezTo>
                  <a:pt x="182" y="295"/>
                  <a:pt x="197" y="294"/>
                  <a:pt x="212" y="294"/>
                </a:cubicBezTo>
                <a:cubicBezTo>
                  <a:pt x="227" y="294"/>
                  <a:pt x="242" y="295"/>
                  <a:pt x="256" y="297"/>
                </a:cubicBezTo>
                <a:cubicBezTo>
                  <a:pt x="247" y="366"/>
                  <a:pt x="227" y="406"/>
                  <a:pt x="212" y="406"/>
                </a:cubicBezTo>
                <a:cubicBezTo>
                  <a:pt x="197" y="406"/>
                  <a:pt x="177" y="366"/>
                  <a:pt x="168" y="297"/>
                </a:cubicBezTo>
                <a:close/>
                <a:moveTo>
                  <a:pt x="247" y="399"/>
                </a:moveTo>
                <a:cubicBezTo>
                  <a:pt x="260" y="377"/>
                  <a:pt x="269" y="341"/>
                  <a:pt x="275" y="301"/>
                </a:cubicBezTo>
                <a:cubicBezTo>
                  <a:pt x="291" y="304"/>
                  <a:pt x="307" y="309"/>
                  <a:pt x="321" y="315"/>
                </a:cubicBezTo>
                <a:cubicBezTo>
                  <a:pt x="304" y="355"/>
                  <a:pt x="278" y="386"/>
                  <a:pt x="247" y="399"/>
                </a:cubicBezTo>
                <a:close/>
                <a:moveTo>
                  <a:pt x="277" y="282"/>
                </a:moveTo>
                <a:cubicBezTo>
                  <a:pt x="279" y="265"/>
                  <a:pt x="280" y="247"/>
                  <a:pt x="280" y="229"/>
                </a:cubicBezTo>
                <a:cubicBezTo>
                  <a:pt x="340" y="229"/>
                  <a:pt x="340" y="229"/>
                  <a:pt x="340" y="229"/>
                </a:cubicBezTo>
                <a:cubicBezTo>
                  <a:pt x="339" y="253"/>
                  <a:pt x="334" y="276"/>
                  <a:pt x="328" y="297"/>
                </a:cubicBezTo>
                <a:cubicBezTo>
                  <a:pt x="312" y="290"/>
                  <a:pt x="295" y="285"/>
                  <a:pt x="277" y="282"/>
                </a:cubicBezTo>
                <a:close/>
                <a:moveTo>
                  <a:pt x="359" y="229"/>
                </a:moveTo>
                <a:cubicBezTo>
                  <a:pt x="405" y="229"/>
                  <a:pt x="405" y="229"/>
                  <a:pt x="405" y="229"/>
                </a:cubicBezTo>
                <a:cubicBezTo>
                  <a:pt x="402" y="263"/>
                  <a:pt x="391" y="294"/>
                  <a:pt x="373" y="321"/>
                </a:cubicBezTo>
                <a:cubicBezTo>
                  <a:pt x="364" y="315"/>
                  <a:pt x="354" y="310"/>
                  <a:pt x="345" y="305"/>
                </a:cubicBezTo>
                <a:cubicBezTo>
                  <a:pt x="352" y="281"/>
                  <a:pt x="357" y="256"/>
                  <a:pt x="359" y="229"/>
                </a:cubicBezTo>
                <a:close/>
                <a:moveTo>
                  <a:pt x="359" y="210"/>
                </a:moveTo>
                <a:cubicBezTo>
                  <a:pt x="359" y="178"/>
                  <a:pt x="354" y="148"/>
                  <a:pt x="345" y="121"/>
                </a:cubicBezTo>
                <a:cubicBezTo>
                  <a:pt x="354" y="116"/>
                  <a:pt x="364" y="110"/>
                  <a:pt x="373" y="104"/>
                </a:cubicBezTo>
                <a:cubicBezTo>
                  <a:pt x="393" y="134"/>
                  <a:pt x="405" y="171"/>
                  <a:pt x="406" y="210"/>
                </a:cubicBezTo>
                <a:lnTo>
                  <a:pt x="359" y="210"/>
                </a:lnTo>
                <a:close/>
                <a:moveTo>
                  <a:pt x="361" y="89"/>
                </a:moveTo>
                <a:cubicBezTo>
                  <a:pt x="354" y="94"/>
                  <a:pt x="346" y="99"/>
                  <a:pt x="338" y="103"/>
                </a:cubicBezTo>
                <a:cubicBezTo>
                  <a:pt x="327" y="77"/>
                  <a:pt x="313" y="55"/>
                  <a:pt x="295" y="38"/>
                </a:cubicBezTo>
                <a:cubicBezTo>
                  <a:pt x="321" y="50"/>
                  <a:pt x="343" y="68"/>
                  <a:pt x="361" y="89"/>
                </a:cubicBezTo>
                <a:close/>
                <a:moveTo>
                  <a:pt x="129" y="38"/>
                </a:moveTo>
                <a:cubicBezTo>
                  <a:pt x="112" y="55"/>
                  <a:pt x="97" y="77"/>
                  <a:pt x="86" y="103"/>
                </a:cubicBezTo>
                <a:cubicBezTo>
                  <a:pt x="78" y="99"/>
                  <a:pt x="70" y="94"/>
                  <a:pt x="63" y="89"/>
                </a:cubicBezTo>
                <a:cubicBezTo>
                  <a:pt x="81" y="68"/>
                  <a:pt x="103" y="50"/>
                  <a:pt x="129" y="38"/>
                </a:cubicBezTo>
                <a:close/>
                <a:moveTo>
                  <a:pt x="63" y="336"/>
                </a:moveTo>
                <a:cubicBezTo>
                  <a:pt x="70" y="331"/>
                  <a:pt x="78" y="327"/>
                  <a:pt x="86" y="322"/>
                </a:cubicBezTo>
                <a:cubicBezTo>
                  <a:pt x="97" y="348"/>
                  <a:pt x="112" y="370"/>
                  <a:pt x="129" y="387"/>
                </a:cubicBezTo>
                <a:cubicBezTo>
                  <a:pt x="103" y="375"/>
                  <a:pt x="81" y="358"/>
                  <a:pt x="63" y="336"/>
                </a:cubicBezTo>
                <a:close/>
                <a:moveTo>
                  <a:pt x="295" y="387"/>
                </a:moveTo>
                <a:cubicBezTo>
                  <a:pt x="313" y="370"/>
                  <a:pt x="327" y="348"/>
                  <a:pt x="338" y="322"/>
                </a:cubicBezTo>
                <a:cubicBezTo>
                  <a:pt x="346" y="327"/>
                  <a:pt x="354" y="331"/>
                  <a:pt x="361" y="336"/>
                </a:cubicBezTo>
                <a:cubicBezTo>
                  <a:pt x="343" y="358"/>
                  <a:pt x="321" y="375"/>
                  <a:pt x="295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21" name="Group 20"/>
          <p:cNvGrpSpPr/>
          <p:nvPr/>
        </p:nvGrpSpPr>
        <p:grpSpPr>
          <a:xfrm>
            <a:off x="2650877" y="2135768"/>
            <a:ext cx="257246" cy="260410"/>
            <a:chOff x="585788" y="2392363"/>
            <a:chExt cx="417513" cy="425450"/>
          </a:xfrm>
          <a:solidFill>
            <a:schemeClr val="bg1"/>
          </a:solidFill>
        </p:grpSpPr>
        <p:sp>
          <p:nvSpPr>
            <p:cNvPr id="22" name="Freeform 110"/>
            <p:cNvSpPr>
              <a:spLocks noEditPoints="1"/>
            </p:cNvSpPr>
            <p:nvPr/>
          </p:nvSpPr>
          <p:spPr bwMode="auto">
            <a:xfrm>
              <a:off x="585788" y="2392363"/>
              <a:ext cx="417513" cy="425450"/>
            </a:xfrm>
            <a:custGeom>
              <a:avLst/>
              <a:gdLst>
                <a:gd name="T0" fmla="*/ 400 w 417"/>
                <a:gd name="T1" fmla="*/ 106 h 425"/>
                <a:gd name="T2" fmla="*/ 284 w 417"/>
                <a:gd name="T3" fmla="*/ 83 h 425"/>
                <a:gd name="T4" fmla="*/ 133 w 417"/>
                <a:gd name="T5" fmla="*/ 83 h 425"/>
                <a:gd name="T6" fmla="*/ 17 w 417"/>
                <a:gd name="T7" fmla="*/ 106 h 425"/>
                <a:gd name="T8" fmla="*/ 17 w 417"/>
                <a:gd name="T9" fmla="*/ 319 h 425"/>
                <a:gd name="T10" fmla="*/ 86 w 417"/>
                <a:gd name="T11" fmla="*/ 347 h 425"/>
                <a:gd name="T12" fmla="*/ 208 w 417"/>
                <a:gd name="T13" fmla="*/ 425 h 425"/>
                <a:gd name="T14" fmla="*/ 331 w 417"/>
                <a:gd name="T15" fmla="*/ 347 h 425"/>
                <a:gd name="T16" fmla="*/ 400 w 417"/>
                <a:gd name="T17" fmla="*/ 319 h 425"/>
                <a:gd name="T18" fmla="*/ 331 w 417"/>
                <a:gd name="T19" fmla="*/ 96 h 425"/>
                <a:gd name="T20" fmla="*/ 349 w 417"/>
                <a:gd name="T21" fmla="*/ 199 h 425"/>
                <a:gd name="T22" fmla="*/ 289 w 417"/>
                <a:gd name="T23" fmla="*/ 101 h 425"/>
                <a:gd name="T24" fmla="*/ 246 w 417"/>
                <a:gd name="T25" fmla="*/ 278 h 425"/>
                <a:gd name="T26" fmla="*/ 170 w 417"/>
                <a:gd name="T27" fmla="*/ 278 h 425"/>
                <a:gd name="T28" fmla="*/ 133 w 417"/>
                <a:gd name="T29" fmla="*/ 212 h 425"/>
                <a:gd name="T30" fmla="*/ 170 w 417"/>
                <a:gd name="T31" fmla="*/ 147 h 425"/>
                <a:gd name="T32" fmla="*/ 246 w 417"/>
                <a:gd name="T33" fmla="*/ 147 h 425"/>
                <a:gd name="T34" fmla="*/ 284 w 417"/>
                <a:gd name="T35" fmla="*/ 212 h 425"/>
                <a:gd name="T36" fmla="*/ 246 w 417"/>
                <a:gd name="T37" fmla="*/ 278 h 425"/>
                <a:gd name="T38" fmla="*/ 271 w 417"/>
                <a:gd name="T39" fmla="*/ 320 h 425"/>
                <a:gd name="T40" fmla="*/ 256 w 417"/>
                <a:gd name="T41" fmla="*/ 294 h 425"/>
                <a:gd name="T42" fmla="*/ 185 w 417"/>
                <a:gd name="T43" fmla="*/ 307 h 425"/>
                <a:gd name="T44" fmla="*/ 137 w 417"/>
                <a:gd name="T45" fmla="*/ 280 h 425"/>
                <a:gd name="T46" fmla="*/ 185 w 417"/>
                <a:gd name="T47" fmla="*/ 307 h 425"/>
                <a:gd name="T48" fmla="*/ 81 w 417"/>
                <a:gd name="T49" fmla="*/ 212 h 425"/>
                <a:gd name="T50" fmla="*/ 114 w 417"/>
                <a:gd name="T51" fmla="*/ 212 h 425"/>
                <a:gd name="T52" fmla="*/ 137 w 417"/>
                <a:gd name="T53" fmla="*/ 145 h 425"/>
                <a:gd name="T54" fmla="*/ 185 w 417"/>
                <a:gd name="T55" fmla="*/ 117 h 425"/>
                <a:gd name="T56" fmla="*/ 137 w 417"/>
                <a:gd name="T57" fmla="*/ 145 h 425"/>
                <a:gd name="T58" fmla="*/ 271 w 417"/>
                <a:gd name="T59" fmla="*/ 105 h 425"/>
                <a:gd name="T60" fmla="*/ 256 w 417"/>
                <a:gd name="T61" fmla="*/ 130 h 425"/>
                <a:gd name="T62" fmla="*/ 302 w 417"/>
                <a:gd name="T63" fmla="*/ 184 h 425"/>
                <a:gd name="T64" fmla="*/ 302 w 417"/>
                <a:gd name="T65" fmla="*/ 241 h 425"/>
                <a:gd name="T66" fmla="*/ 302 w 417"/>
                <a:gd name="T67" fmla="*/ 184 h 425"/>
                <a:gd name="T68" fmla="*/ 266 w 417"/>
                <a:gd name="T69" fmla="*/ 87 h 425"/>
                <a:gd name="T70" fmla="*/ 151 w 417"/>
                <a:gd name="T71" fmla="*/ 87 h 425"/>
                <a:gd name="T72" fmla="*/ 33 w 417"/>
                <a:gd name="T73" fmla="*/ 115 h 425"/>
                <a:gd name="T74" fmla="*/ 128 w 417"/>
                <a:gd name="T75" fmla="*/ 101 h 425"/>
                <a:gd name="T76" fmla="*/ 68 w 417"/>
                <a:gd name="T77" fmla="*/ 199 h 425"/>
                <a:gd name="T78" fmla="*/ 86 w 417"/>
                <a:gd name="T79" fmla="*/ 328 h 425"/>
                <a:gd name="T80" fmla="*/ 33 w 417"/>
                <a:gd name="T81" fmla="*/ 309 h 425"/>
                <a:gd name="T82" fmla="*/ 117 w 417"/>
                <a:gd name="T83" fmla="*/ 266 h 425"/>
                <a:gd name="T84" fmla="*/ 86 w 417"/>
                <a:gd name="T85" fmla="*/ 328 h 425"/>
                <a:gd name="T86" fmla="*/ 151 w 417"/>
                <a:gd name="T87" fmla="*/ 338 h 425"/>
                <a:gd name="T88" fmla="*/ 266 w 417"/>
                <a:gd name="T89" fmla="*/ 338 h 425"/>
                <a:gd name="T90" fmla="*/ 384 w 417"/>
                <a:gd name="T91" fmla="*/ 309 h 425"/>
                <a:gd name="T92" fmla="*/ 289 w 417"/>
                <a:gd name="T93" fmla="*/ 324 h 425"/>
                <a:gd name="T94" fmla="*/ 349 w 417"/>
                <a:gd name="T95" fmla="*/ 226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7" h="425">
                  <a:moveTo>
                    <a:pt x="362" y="212"/>
                  </a:moveTo>
                  <a:cubicBezTo>
                    <a:pt x="398" y="174"/>
                    <a:pt x="417" y="135"/>
                    <a:pt x="400" y="106"/>
                  </a:cubicBezTo>
                  <a:cubicBezTo>
                    <a:pt x="389" y="87"/>
                    <a:pt x="365" y="77"/>
                    <a:pt x="331" y="77"/>
                  </a:cubicBezTo>
                  <a:cubicBezTo>
                    <a:pt x="316" y="77"/>
                    <a:pt x="300" y="79"/>
                    <a:pt x="284" y="83"/>
                  </a:cubicBezTo>
                  <a:cubicBezTo>
                    <a:pt x="267" y="32"/>
                    <a:pt x="239" y="0"/>
                    <a:pt x="208" y="0"/>
                  </a:cubicBezTo>
                  <a:cubicBezTo>
                    <a:pt x="177" y="0"/>
                    <a:pt x="150" y="32"/>
                    <a:pt x="133" y="83"/>
                  </a:cubicBezTo>
                  <a:cubicBezTo>
                    <a:pt x="116" y="79"/>
                    <a:pt x="101" y="77"/>
                    <a:pt x="86" y="77"/>
                  </a:cubicBezTo>
                  <a:cubicBezTo>
                    <a:pt x="52" y="77"/>
                    <a:pt x="28" y="87"/>
                    <a:pt x="17" y="106"/>
                  </a:cubicBezTo>
                  <a:cubicBezTo>
                    <a:pt x="0" y="135"/>
                    <a:pt x="19" y="174"/>
                    <a:pt x="55" y="212"/>
                  </a:cubicBezTo>
                  <a:cubicBezTo>
                    <a:pt x="19" y="251"/>
                    <a:pt x="0" y="290"/>
                    <a:pt x="17" y="319"/>
                  </a:cubicBezTo>
                  <a:cubicBezTo>
                    <a:pt x="28" y="337"/>
                    <a:pt x="52" y="347"/>
                    <a:pt x="86" y="347"/>
                  </a:cubicBezTo>
                  <a:cubicBezTo>
                    <a:pt x="86" y="347"/>
                    <a:pt x="86" y="347"/>
                    <a:pt x="86" y="347"/>
                  </a:cubicBezTo>
                  <a:cubicBezTo>
                    <a:pt x="101" y="347"/>
                    <a:pt x="116" y="345"/>
                    <a:pt x="133" y="342"/>
                  </a:cubicBezTo>
                  <a:cubicBezTo>
                    <a:pt x="150" y="393"/>
                    <a:pt x="177" y="425"/>
                    <a:pt x="208" y="425"/>
                  </a:cubicBezTo>
                  <a:cubicBezTo>
                    <a:pt x="239" y="425"/>
                    <a:pt x="267" y="393"/>
                    <a:pt x="284" y="342"/>
                  </a:cubicBezTo>
                  <a:cubicBezTo>
                    <a:pt x="300" y="345"/>
                    <a:pt x="316" y="347"/>
                    <a:pt x="331" y="347"/>
                  </a:cubicBezTo>
                  <a:cubicBezTo>
                    <a:pt x="331" y="347"/>
                    <a:pt x="331" y="347"/>
                    <a:pt x="331" y="347"/>
                  </a:cubicBezTo>
                  <a:cubicBezTo>
                    <a:pt x="365" y="347"/>
                    <a:pt x="389" y="337"/>
                    <a:pt x="400" y="319"/>
                  </a:cubicBezTo>
                  <a:cubicBezTo>
                    <a:pt x="417" y="290"/>
                    <a:pt x="398" y="251"/>
                    <a:pt x="362" y="212"/>
                  </a:cubicBezTo>
                  <a:close/>
                  <a:moveTo>
                    <a:pt x="331" y="96"/>
                  </a:moveTo>
                  <a:cubicBezTo>
                    <a:pt x="358" y="96"/>
                    <a:pt x="377" y="103"/>
                    <a:pt x="384" y="115"/>
                  </a:cubicBezTo>
                  <a:cubicBezTo>
                    <a:pt x="395" y="134"/>
                    <a:pt x="380" y="166"/>
                    <a:pt x="349" y="199"/>
                  </a:cubicBezTo>
                  <a:cubicBezTo>
                    <a:pt x="334" y="185"/>
                    <a:pt x="318" y="172"/>
                    <a:pt x="300" y="159"/>
                  </a:cubicBezTo>
                  <a:cubicBezTo>
                    <a:pt x="298" y="138"/>
                    <a:pt x="294" y="118"/>
                    <a:pt x="289" y="101"/>
                  </a:cubicBezTo>
                  <a:cubicBezTo>
                    <a:pt x="304" y="98"/>
                    <a:pt x="318" y="96"/>
                    <a:pt x="331" y="96"/>
                  </a:cubicBezTo>
                  <a:close/>
                  <a:moveTo>
                    <a:pt x="246" y="278"/>
                  </a:moveTo>
                  <a:cubicBezTo>
                    <a:pt x="234" y="285"/>
                    <a:pt x="221" y="292"/>
                    <a:pt x="208" y="297"/>
                  </a:cubicBezTo>
                  <a:cubicBezTo>
                    <a:pt x="196" y="292"/>
                    <a:pt x="183" y="285"/>
                    <a:pt x="170" y="278"/>
                  </a:cubicBezTo>
                  <a:cubicBezTo>
                    <a:pt x="158" y="271"/>
                    <a:pt x="146" y="263"/>
                    <a:pt x="134" y="255"/>
                  </a:cubicBezTo>
                  <a:cubicBezTo>
                    <a:pt x="133" y="242"/>
                    <a:pt x="133" y="227"/>
                    <a:pt x="133" y="212"/>
                  </a:cubicBezTo>
                  <a:cubicBezTo>
                    <a:pt x="133" y="197"/>
                    <a:pt x="133" y="183"/>
                    <a:pt x="134" y="169"/>
                  </a:cubicBezTo>
                  <a:cubicBezTo>
                    <a:pt x="146" y="162"/>
                    <a:pt x="158" y="154"/>
                    <a:pt x="170" y="147"/>
                  </a:cubicBezTo>
                  <a:cubicBezTo>
                    <a:pt x="183" y="139"/>
                    <a:pt x="196" y="133"/>
                    <a:pt x="208" y="127"/>
                  </a:cubicBezTo>
                  <a:cubicBezTo>
                    <a:pt x="221" y="133"/>
                    <a:pt x="234" y="139"/>
                    <a:pt x="246" y="147"/>
                  </a:cubicBezTo>
                  <a:cubicBezTo>
                    <a:pt x="259" y="154"/>
                    <a:pt x="271" y="162"/>
                    <a:pt x="282" y="169"/>
                  </a:cubicBezTo>
                  <a:cubicBezTo>
                    <a:pt x="284" y="183"/>
                    <a:pt x="284" y="197"/>
                    <a:pt x="284" y="212"/>
                  </a:cubicBezTo>
                  <a:cubicBezTo>
                    <a:pt x="284" y="227"/>
                    <a:pt x="284" y="242"/>
                    <a:pt x="282" y="255"/>
                  </a:cubicBezTo>
                  <a:cubicBezTo>
                    <a:pt x="271" y="263"/>
                    <a:pt x="259" y="271"/>
                    <a:pt x="246" y="278"/>
                  </a:cubicBezTo>
                  <a:close/>
                  <a:moveTo>
                    <a:pt x="279" y="280"/>
                  </a:moveTo>
                  <a:cubicBezTo>
                    <a:pt x="277" y="294"/>
                    <a:pt x="274" y="308"/>
                    <a:pt x="271" y="320"/>
                  </a:cubicBezTo>
                  <a:cubicBezTo>
                    <a:pt x="258" y="317"/>
                    <a:pt x="245" y="312"/>
                    <a:pt x="231" y="307"/>
                  </a:cubicBezTo>
                  <a:cubicBezTo>
                    <a:pt x="240" y="303"/>
                    <a:pt x="248" y="299"/>
                    <a:pt x="256" y="294"/>
                  </a:cubicBezTo>
                  <a:cubicBezTo>
                    <a:pt x="264" y="290"/>
                    <a:pt x="272" y="285"/>
                    <a:pt x="279" y="280"/>
                  </a:cubicBezTo>
                  <a:close/>
                  <a:moveTo>
                    <a:pt x="185" y="307"/>
                  </a:moveTo>
                  <a:cubicBezTo>
                    <a:pt x="172" y="312"/>
                    <a:pt x="159" y="317"/>
                    <a:pt x="146" y="320"/>
                  </a:cubicBezTo>
                  <a:cubicBezTo>
                    <a:pt x="142" y="308"/>
                    <a:pt x="140" y="294"/>
                    <a:pt x="137" y="280"/>
                  </a:cubicBezTo>
                  <a:cubicBezTo>
                    <a:pt x="145" y="285"/>
                    <a:pt x="153" y="290"/>
                    <a:pt x="161" y="294"/>
                  </a:cubicBezTo>
                  <a:cubicBezTo>
                    <a:pt x="169" y="299"/>
                    <a:pt x="177" y="303"/>
                    <a:pt x="185" y="307"/>
                  </a:cubicBezTo>
                  <a:close/>
                  <a:moveTo>
                    <a:pt x="115" y="241"/>
                  </a:moveTo>
                  <a:cubicBezTo>
                    <a:pt x="102" y="231"/>
                    <a:pt x="91" y="222"/>
                    <a:pt x="81" y="212"/>
                  </a:cubicBezTo>
                  <a:cubicBezTo>
                    <a:pt x="91" y="203"/>
                    <a:pt x="102" y="193"/>
                    <a:pt x="115" y="184"/>
                  </a:cubicBezTo>
                  <a:cubicBezTo>
                    <a:pt x="114" y="193"/>
                    <a:pt x="114" y="203"/>
                    <a:pt x="114" y="212"/>
                  </a:cubicBezTo>
                  <a:cubicBezTo>
                    <a:pt x="114" y="222"/>
                    <a:pt x="114" y="231"/>
                    <a:pt x="115" y="241"/>
                  </a:cubicBezTo>
                  <a:close/>
                  <a:moveTo>
                    <a:pt x="137" y="145"/>
                  </a:moveTo>
                  <a:cubicBezTo>
                    <a:pt x="140" y="131"/>
                    <a:pt x="142" y="117"/>
                    <a:pt x="146" y="105"/>
                  </a:cubicBezTo>
                  <a:cubicBezTo>
                    <a:pt x="159" y="108"/>
                    <a:pt x="172" y="112"/>
                    <a:pt x="185" y="117"/>
                  </a:cubicBezTo>
                  <a:cubicBezTo>
                    <a:pt x="177" y="122"/>
                    <a:pt x="169" y="126"/>
                    <a:pt x="161" y="130"/>
                  </a:cubicBezTo>
                  <a:cubicBezTo>
                    <a:pt x="153" y="135"/>
                    <a:pt x="145" y="140"/>
                    <a:pt x="137" y="145"/>
                  </a:cubicBezTo>
                  <a:close/>
                  <a:moveTo>
                    <a:pt x="231" y="117"/>
                  </a:moveTo>
                  <a:cubicBezTo>
                    <a:pt x="245" y="112"/>
                    <a:pt x="258" y="108"/>
                    <a:pt x="271" y="105"/>
                  </a:cubicBezTo>
                  <a:cubicBezTo>
                    <a:pt x="274" y="117"/>
                    <a:pt x="277" y="131"/>
                    <a:pt x="279" y="145"/>
                  </a:cubicBezTo>
                  <a:cubicBezTo>
                    <a:pt x="272" y="140"/>
                    <a:pt x="264" y="135"/>
                    <a:pt x="256" y="130"/>
                  </a:cubicBezTo>
                  <a:cubicBezTo>
                    <a:pt x="248" y="126"/>
                    <a:pt x="240" y="122"/>
                    <a:pt x="231" y="117"/>
                  </a:cubicBezTo>
                  <a:close/>
                  <a:moveTo>
                    <a:pt x="302" y="184"/>
                  </a:moveTo>
                  <a:cubicBezTo>
                    <a:pt x="314" y="193"/>
                    <a:pt x="326" y="203"/>
                    <a:pt x="335" y="212"/>
                  </a:cubicBezTo>
                  <a:cubicBezTo>
                    <a:pt x="326" y="222"/>
                    <a:pt x="314" y="231"/>
                    <a:pt x="302" y="241"/>
                  </a:cubicBezTo>
                  <a:cubicBezTo>
                    <a:pt x="303" y="231"/>
                    <a:pt x="303" y="222"/>
                    <a:pt x="303" y="212"/>
                  </a:cubicBezTo>
                  <a:cubicBezTo>
                    <a:pt x="303" y="203"/>
                    <a:pt x="303" y="193"/>
                    <a:pt x="302" y="184"/>
                  </a:cubicBezTo>
                  <a:close/>
                  <a:moveTo>
                    <a:pt x="208" y="19"/>
                  </a:moveTo>
                  <a:cubicBezTo>
                    <a:pt x="229" y="19"/>
                    <a:pt x="251" y="44"/>
                    <a:pt x="266" y="87"/>
                  </a:cubicBezTo>
                  <a:cubicBezTo>
                    <a:pt x="247" y="92"/>
                    <a:pt x="228" y="98"/>
                    <a:pt x="208" y="107"/>
                  </a:cubicBezTo>
                  <a:cubicBezTo>
                    <a:pt x="189" y="98"/>
                    <a:pt x="170" y="92"/>
                    <a:pt x="151" y="87"/>
                  </a:cubicBezTo>
                  <a:cubicBezTo>
                    <a:pt x="166" y="44"/>
                    <a:pt x="188" y="19"/>
                    <a:pt x="208" y="19"/>
                  </a:cubicBezTo>
                  <a:close/>
                  <a:moveTo>
                    <a:pt x="33" y="115"/>
                  </a:moveTo>
                  <a:cubicBezTo>
                    <a:pt x="40" y="103"/>
                    <a:pt x="59" y="96"/>
                    <a:pt x="86" y="96"/>
                  </a:cubicBezTo>
                  <a:cubicBezTo>
                    <a:pt x="99" y="96"/>
                    <a:pt x="113" y="98"/>
                    <a:pt x="128" y="101"/>
                  </a:cubicBezTo>
                  <a:cubicBezTo>
                    <a:pt x="123" y="118"/>
                    <a:pt x="119" y="138"/>
                    <a:pt x="117" y="159"/>
                  </a:cubicBezTo>
                  <a:cubicBezTo>
                    <a:pt x="99" y="172"/>
                    <a:pt x="83" y="185"/>
                    <a:pt x="68" y="199"/>
                  </a:cubicBezTo>
                  <a:cubicBezTo>
                    <a:pt x="37" y="166"/>
                    <a:pt x="22" y="134"/>
                    <a:pt x="33" y="115"/>
                  </a:cubicBezTo>
                  <a:close/>
                  <a:moveTo>
                    <a:pt x="86" y="328"/>
                  </a:moveTo>
                  <a:cubicBezTo>
                    <a:pt x="86" y="328"/>
                    <a:pt x="86" y="328"/>
                    <a:pt x="86" y="328"/>
                  </a:cubicBezTo>
                  <a:cubicBezTo>
                    <a:pt x="59" y="328"/>
                    <a:pt x="40" y="322"/>
                    <a:pt x="33" y="309"/>
                  </a:cubicBezTo>
                  <a:cubicBezTo>
                    <a:pt x="22" y="290"/>
                    <a:pt x="37" y="259"/>
                    <a:pt x="68" y="226"/>
                  </a:cubicBezTo>
                  <a:cubicBezTo>
                    <a:pt x="83" y="239"/>
                    <a:pt x="99" y="253"/>
                    <a:pt x="117" y="266"/>
                  </a:cubicBezTo>
                  <a:cubicBezTo>
                    <a:pt x="119" y="287"/>
                    <a:pt x="123" y="306"/>
                    <a:pt x="128" y="324"/>
                  </a:cubicBezTo>
                  <a:cubicBezTo>
                    <a:pt x="113" y="327"/>
                    <a:pt x="99" y="328"/>
                    <a:pt x="86" y="328"/>
                  </a:cubicBezTo>
                  <a:close/>
                  <a:moveTo>
                    <a:pt x="208" y="406"/>
                  </a:moveTo>
                  <a:cubicBezTo>
                    <a:pt x="188" y="406"/>
                    <a:pt x="166" y="381"/>
                    <a:pt x="151" y="338"/>
                  </a:cubicBezTo>
                  <a:cubicBezTo>
                    <a:pt x="170" y="333"/>
                    <a:pt x="189" y="326"/>
                    <a:pt x="208" y="318"/>
                  </a:cubicBezTo>
                  <a:cubicBezTo>
                    <a:pt x="228" y="326"/>
                    <a:pt x="247" y="333"/>
                    <a:pt x="266" y="338"/>
                  </a:cubicBezTo>
                  <a:cubicBezTo>
                    <a:pt x="251" y="381"/>
                    <a:pt x="229" y="406"/>
                    <a:pt x="208" y="406"/>
                  </a:cubicBezTo>
                  <a:close/>
                  <a:moveTo>
                    <a:pt x="384" y="309"/>
                  </a:moveTo>
                  <a:cubicBezTo>
                    <a:pt x="377" y="322"/>
                    <a:pt x="358" y="328"/>
                    <a:pt x="331" y="328"/>
                  </a:cubicBezTo>
                  <a:cubicBezTo>
                    <a:pt x="318" y="328"/>
                    <a:pt x="304" y="327"/>
                    <a:pt x="289" y="324"/>
                  </a:cubicBezTo>
                  <a:cubicBezTo>
                    <a:pt x="294" y="306"/>
                    <a:pt x="298" y="287"/>
                    <a:pt x="300" y="266"/>
                  </a:cubicBezTo>
                  <a:cubicBezTo>
                    <a:pt x="318" y="253"/>
                    <a:pt x="334" y="239"/>
                    <a:pt x="349" y="226"/>
                  </a:cubicBezTo>
                  <a:cubicBezTo>
                    <a:pt x="380" y="259"/>
                    <a:pt x="395" y="290"/>
                    <a:pt x="384" y="30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3" name="Freeform 111"/>
            <p:cNvSpPr>
              <a:spLocks noEditPoints="1"/>
            </p:cNvSpPr>
            <p:nvPr/>
          </p:nvSpPr>
          <p:spPr bwMode="auto">
            <a:xfrm>
              <a:off x="758825" y="2568575"/>
              <a:ext cx="71438" cy="71438"/>
            </a:xfrm>
            <a:custGeom>
              <a:avLst/>
              <a:gdLst>
                <a:gd name="T0" fmla="*/ 35 w 71"/>
                <a:gd name="T1" fmla="*/ 0 h 71"/>
                <a:gd name="T2" fmla="*/ 0 w 71"/>
                <a:gd name="T3" fmla="*/ 35 h 71"/>
                <a:gd name="T4" fmla="*/ 35 w 71"/>
                <a:gd name="T5" fmla="*/ 71 h 71"/>
                <a:gd name="T6" fmla="*/ 71 w 71"/>
                <a:gd name="T7" fmla="*/ 35 h 71"/>
                <a:gd name="T8" fmla="*/ 35 w 71"/>
                <a:gd name="T9" fmla="*/ 0 h 71"/>
                <a:gd name="T10" fmla="*/ 35 w 71"/>
                <a:gd name="T11" fmla="*/ 52 h 71"/>
                <a:gd name="T12" fmla="*/ 19 w 71"/>
                <a:gd name="T13" fmla="*/ 35 h 71"/>
                <a:gd name="T14" fmla="*/ 35 w 71"/>
                <a:gd name="T15" fmla="*/ 18 h 71"/>
                <a:gd name="T16" fmla="*/ 52 w 71"/>
                <a:gd name="T17" fmla="*/ 35 h 71"/>
                <a:gd name="T18" fmla="*/ 35 w 71"/>
                <a:gd name="T19" fmla="*/ 5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71">
                  <a:moveTo>
                    <a:pt x="35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55"/>
                    <a:pt x="16" y="71"/>
                    <a:pt x="35" y="71"/>
                  </a:cubicBezTo>
                  <a:cubicBezTo>
                    <a:pt x="55" y="71"/>
                    <a:pt x="71" y="55"/>
                    <a:pt x="71" y="35"/>
                  </a:cubicBezTo>
                  <a:cubicBezTo>
                    <a:pt x="71" y="16"/>
                    <a:pt x="55" y="0"/>
                    <a:pt x="35" y="0"/>
                  </a:cubicBezTo>
                  <a:close/>
                  <a:moveTo>
                    <a:pt x="35" y="52"/>
                  </a:moveTo>
                  <a:cubicBezTo>
                    <a:pt x="26" y="52"/>
                    <a:pt x="19" y="45"/>
                    <a:pt x="19" y="35"/>
                  </a:cubicBezTo>
                  <a:cubicBezTo>
                    <a:pt x="19" y="26"/>
                    <a:pt x="26" y="18"/>
                    <a:pt x="35" y="18"/>
                  </a:cubicBezTo>
                  <a:cubicBezTo>
                    <a:pt x="45" y="18"/>
                    <a:pt x="52" y="26"/>
                    <a:pt x="52" y="35"/>
                  </a:cubicBezTo>
                  <a:cubicBezTo>
                    <a:pt x="52" y="45"/>
                    <a:pt x="45" y="52"/>
                    <a:pt x="35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24" name="Title 2"/>
          <p:cNvSpPr txBox="1">
            <a:spLocks/>
          </p:cNvSpPr>
          <p:nvPr/>
        </p:nvSpPr>
        <p:spPr>
          <a:xfrm>
            <a:off x="4956734" y="2625604"/>
            <a:ext cx="1157617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 defTabSz="1828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 cap="none" spc="-100" baseline="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l"/>
            <a:r>
              <a:rPr lang="en-US" sz="1000" cap="all" spc="20" dirty="0">
                <a:solidFill>
                  <a:schemeClr val="bg1"/>
                </a:solidFill>
                <a:latin typeface="Lato" panose="020F0502020204030203" pitchFamily="34" charset="0"/>
              </a:rPr>
              <a:t>LOCALIZAÇÃO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4578814" y="2583986"/>
            <a:ext cx="305998" cy="237125"/>
            <a:chOff x="6272214" y="3040063"/>
            <a:chExt cx="541338" cy="422276"/>
          </a:xfrm>
          <a:solidFill>
            <a:schemeClr val="bg1"/>
          </a:solidFill>
        </p:grpSpPr>
        <p:sp>
          <p:nvSpPr>
            <p:cNvPr id="26" name="Freeform 178"/>
            <p:cNvSpPr>
              <a:spLocks/>
            </p:cNvSpPr>
            <p:nvPr/>
          </p:nvSpPr>
          <p:spPr bwMode="auto">
            <a:xfrm>
              <a:off x="6272214" y="3143251"/>
              <a:ext cx="541338" cy="319088"/>
            </a:xfrm>
            <a:custGeom>
              <a:avLst/>
              <a:gdLst>
                <a:gd name="T0" fmla="*/ 543 w 544"/>
                <a:gd name="T1" fmla="*/ 236 h 320"/>
                <a:gd name="T2" fmla="*/ 478 w 544"/>
                <a:gd name="T3" fmla="*/ 7 h 320"/>
                <a:gd name="T4" fmla="*/ 472 w 544"/>
                <a:gd name="T5" fmla="*/ 1 h 320"/>
                <a:gd name="T6" fmla="*/ 464 w 544"/>
                <a:gd name="T7" fmla="*/ 2 h 320"/>
                <a:gd name="T8" fmla="*/ 399 w 544"/>
                <a:gd name="T9" fmla="*/ 38 h 320"/>
                <a:gd name="T10" fmla="*/ 395 w 544"/>
                <a:gd name="T11" fmla="*/ 51 h 320"/>
                <a:gd name="T12" fmla="*/ 408 w 544"/>
                <a:gd name="T13" fmla="*/ 54 h 320"/>
                <a:gd name="T14" fmla="*/ 463 w 544"/>
                <a:gd name="T15" fmla="*/ 24 h 320"/>
                <a:gd name="T16" fmla="*/ 523 w 544"/>
                <a:gd name="T17" fmla="*/ 235 h 320"/>
                <a:gd name="T18" fmla="*/ 423 w 544"/>
                <a:gd name="T19" fmla="*/ 296 h 320"/>
                <a:gd name="T20" fmla="*/ 399 w 544"/>
                <a:gd name="T21" fmla="*/ 100 h 320"/>
                <a:gd name="T22" fmla="*/ 389 w 544"/>
                <a:gd name="T23" fmla="*/ 92 h 320"/>
                <a:gd name="T24" fmla="*/ 380 w 544"/>
                <a:gd name="T25" fmla="*/ 103 h 320"/>
                <a:gd name="T26" fmla="*/ 405 w 544"/>
                <a:gd name="T27" fmla="*/ 298 h 320"/>
                <a:gd name="T28" fmla="*/ 281 w 544"/>
                <a:gd name="T29" fmla="*/ 265 h 320"/>
                <a:gd name="T30" fmla="*/ 281 w 544"/>
                <a:gd name="T31" fmla="*/ 231 h 320"/>
                <a:gd name="T32" fmla="*/ 272 w 544"/>
                <a:gd name="T33" fmla="*/ 222 h 320"/>
                <a:gd name="T34" fmla="*/ 262 w 544"/>
                <a:gd name="T35" fmla="*/ 231 h 320"/>
                <a:gd name="T36" fmla="*/ 262 w 544"/>
                <a:gd name="T37" fmla="*/ 265 h 320"/>
                <a:gd name="T38" fmla="*/ 139 w 544"/>
                <a:gd name="T39" fmla="*/ 298 h 320"/>
                <a:gd name="T40" fmla="*/ 163 w 544"/>
                <a:gd name="T41" fmla="*/ 103 h 320"/>
                <a:gd name="T42" fmla="*/ 155 w 544"/>
                <a:gd name="T43" fmla="*/ 92 h 320"/>
                <a:gd name="T44" fmla="*/ 145 w 544"/>
                <a:gd name="T45" fmla="*/ 100 h 320"/>
                <a:gd name="T46" fmla="*/ 120 w 544"/>
                <a:gd name="T47" fmla="*/ 296 h 320"/>
                <a:gd name="T48" fmla="*/ 21 w 544"/>
                <a:gd name="T49" fmla="*/ 235 h 320"/>
                <a:gd name="T50" fmla="*/ 81 w 544"/>
                <a:gd name="T51" fmla="*/ 24 h 320"/>
                <a:gd name="T52" fmla="*/ 136 w 544"/>
                <a:gd name="T53" fmla="*/ 54 h 320"/>
                <a:gd name="T54" fmla="*/ 148 w 544"/>
                <a:gd name="T55" fmla="*/ 51 h 320"/>
                <a:gd name="T56" fmla="*/ 145 w 544"/>
                <a:gd name="T57" fmla="*/ 38 h 320"/>
                <a:gd name="T58" fmla="*/ 80 w 544"/>
                <a:gd name="T59" fmla="*/ 2 h 320"/>
                <a:gd name="T60" fmla="*/ 72 w 544"/>
                <a:gd name="T61" fmla="*/ 1 h 320"/>
                <a:gd name="T62" fmla="*/ 66 w 544"/>
                <a:gd name="T63" fmla="*/ 7 h 320"/>
                <a:gd name="T64" fmla="*/ 1 w 544"/>
                <a:gd name="T65" fmla="*/ 236 h 320"/>
                <a:gd name="T66" fmla="*/ 5 w 544"/>
                <a:gd name="T67" fmla="*/ 247 h 320"/>
                <a:gd name="T68" fmla="*/ 123 w 544"/>
                <a:gd name="T69" fmla="*/ 319 h 320"/>
                <a:gd name="T70" fmla="*/ 123 w 544"/>
                <a:gd name="T71" fmla="*/ 319 h 320"/>
                <a:gd name="T72" fmla="*/ 123 w 544"/>
                <a:gd name="T73" fmla="*/ 319 h 320"/>
                <a:gd name="T74" fmla="*/ 124 w 544"/>
                <a:gd name="T75" fmla="*/ 320 h 320"/>
                <a:gd name="T76" fmla="*/ 125 w 544"/>
                <a:gd name="T77" fmla="*/ 320 h 320"/>
                <a:gd name="T78" fmla="*/ 126 w 544"/>
                <a:gd name="T79" fmla="*/ 320 h 320"/>
                <a:gd name="T80" fmla="*/ 126 w 544"/>
                <a:gd name="T81" fmla="*/ 320 h 320"/>
                <a:gd name="T82" fmla="*/ 128 w 544"/>
                <a:gd name="T83" fmla="*/ 320 h 320"/>
                <a:gd name="T84" fmla="*/ 128 w 544"/>
                <a:gd name="T85" fmla="*/ 320 h 320"/>
                <a:gd name="T86" fmla="*/ 130 w 544"/>
                <a:gd name="T87" fmla="*/ 320 h 320"/>
                <a:gd name="T88" fmla="*/ 130 w 544"/>
                <a:gd name="T89" fmla="*/ 320 h 320"/>
                <a:gd name="T90" fmla="*/ 130 w 544"/>
                <a:gd name="T91" fmla="*/ 320 h 320"/>
                <a:gd name="T92" fmla="*/ 272 w 544"/>
                <a:gd name="T93" fmla="*/ 281 h 320"/>
                <a:gd name="T94" fmla="*/ 413 w 544"/>
                <a:gd name="T95" fmla="*/ 320 h 320"/>
                <a:gd name="T96" fmla="*/ 414 w 544"/>
                <a:gd name="T97" fmla="*/ 320 h 320"/>
                <a:gd name="T98" fmla="*/ 414 w 544"/>
                <a:gd name="T99" fmla="*/ 320 h 320"/>
                <a:gd name="T100" fmla="*/ 416 w 544"/>
                <a:gd name="T101" fmla="*/ 320 h 320"/>
                <a:gd name="T102" fmla="*/ 416 w 544"/>
                <a:gd name="T103" fmla="*/ 320 h 320"/>
                <a:gd name="T104" fmla="*/ 417 w 544"/>
                <a:gd name="T105" fmla="*/ 320 h 320"/>
                <a:gd name="T106" fmla="*/ 418 w 544"/>
                <a:gd name="T107" fmla="*/ 320 h 320"/>
                <a:gd name="T108" fmla="*/ 419 w 544"/>
                <a:gd name="T109" fmla="*/ 320 h 320"/>
                <a:gd name="T110" fmla="*/ 419 w 544"/>
                <a:gd name="T111" fmla="*/ 320 h 320"/>
                <a:gd name="T112" fmla="*/ 420 w 544"/>
                <a:gd name="T113" fmla="*/ 319 h 320"/>
                <a:gd name="T114" fmla="*/ 421 w 544"/>
                <a:gd name="T115" fmla="*/ 319 h 320"/>
                <a:gd name="T116" fmla="*/ 421 w 544"/>
                <a:gd name="T117" fmla="*/ 319 h 320"/>
                <a:gd name="T118" fmla="*/ 539 w 544"/>
                <a:gd name="T119" fmla="*/ 247 h 320"/>
                <a:gd name="T120" fmla="*/ 543 w 544"/>
                <a:gd name="T121" fmla="*/ 23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4" h="320">
                  <a:moveTo>
                    <a:pt x="543" y="236"/>
                  </a:moveTo>
                  <a:cubicBezTo>
                    <a:pt x="478" y="7"/>
                    <a:pt x="478" y="7"/>
                    <a:pt x="478" y="7"/>
                  </a:cubicBezTo>
                  <a:cubicBezTo>
                    <a:pt x="477" y="4"/>
                    <a:pt x="475" y="2"/>
                    <a:pt x="472" y="1"/>
                  </a:cubicBezTo>
                  <a:cubicBezTo>
                    <a:pt x="469" y="0"/>
                    <a:pt x="466" y="0"/>
                    <a:pt x="464" y="2"/>
                  </a:cubicBezTo>
                  <a:cubicBezTo>
                    <a:pt x="399" y="38"/>
                    <a:pt x="399" y="38"/>
                    <a:pt x="399" y="38"/>
                  </a:cubicBezTo>
                  <a:cubicBezTo>
                    <a:pt x="394" y="41"/>
                    <a:pt x="393" y="46"/>
                    <a:pt x="395" y="51"/>
                  </a:cubicBezTo>
                  <a:cubicBezTo>
                    <a:pt x="398" y="55"/>
                    <a:pt x="404" y="57"/>
                    <a:pt x="408" y="54"/>
                  </a:cubicBezTo>
                  <a:cubicBezTo>
                    <a:pt x="463" y="24"/>
                    <a:pt x="463" y="24"/>
                    <a:pt x="463" y="24"/>
                  </a:cubicBezTo>
                  <a:cubicBezTo>
                    <a:pt x="523" y="235"/>
                    <a:pt x="523" y="235"/>
                    <a:pt x="523" y="235"/>
                  </a:cubicBezTo>
                  <a:cubicBezTo>
                    <a:pt x="423" y="296"/>
                    <a:pt x="423" y="296"/>
                    <a:pt x="423" y="296"/>
                  </a:cubicBezTo>
                  <a:cubicBezTo>
                    <a:pt x="399" y="100"/>
                    <a:pt x="399" y="100"/>
                    <a:pt x="399" y="100"/>
                  </a:cubicBezTo>
                  <a:cubicBezTo>
                    <a:pt x="398" y="95"/>
                    <a:pt x="394" y="92"/>
                    <a:pt x="389" y="92"/>
                  </a:cubicBezTo>
                  <a:cubicBezTo>
                    <a:pt x="383" y="93"/>
                    <a:pt x="380" y="98"/>
                    <a:pt x="380" y="103"/>
                  </a:cubicBezTo>
                  <a:cubicBezTo>
                    <a:pt x="405" y="298"/>
                    <a:pt x="405" y="298"/>
                    <a:pt x="405" y="298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31"/>
                    <a:pt x="281" y="231"/>
                    <a:pt x="281" y="231"/>
                  </a:cubicBezTo>
                  <a:cubicBezTo>
                    <a:pt x="281" y="226"/>
                    <a:pt x="277" y="222"/>
                    <a:pt x="272" y="222"/>
                  </a:cubicBezTo>
                  <a:cubicBezTo>
                    <a:pt x="267" y="222"/>
                    <a:pt x="262" y="226"/>
                    <a:pt x="262" y="231"/>
                  </a:cubicBezTo>
                  <a:cubicBezTo>
                    <a:pt x="262" y="265"/>
                    <a:pt x="262" y="265"/>
                    <a:pt x="262" y="265"/>
                  </a:cubicBezTo>
                  <a:cubicBezTo>
                    <a:pt x="139" y="298"/>
                    <a:pt x="139" y="298"/>
                    <a:pt x="139" y="298"/>
                  </a:cubicBezTo>
                  <a:cubicBezTo>
                    <a:pt x="163" y="103"/>
                    <a:pt x="163" y="103"/>
                    <a:pt x="163" y="103"/>
                  </a:cubicBezTo>
                  <a:cubicBezTo>
                    <a:pt x="164" y="98"/>
                    <a:pt x="160" y="93"/>
                    <a:pt x="155" y="92"/>
                  </a:cubicBezTo>
                  <a:cubicBezTo>
                    <a:pt x="150" y="92"/>
                    <a:pt x="145" y="95"/>
                    <a:pt x="145" y="100"/>
                  </a:cubicBezTo>
                  <a:cubicBezTo>
                    <a:pt x="120" y="296"/>
                    <a:pt x="120" y="296"/>
                    <a:pt x="120" y="296"/>
                  </a:cubicBezTo>
                  <a:cubicBezTo>
                    <a:pt x="21" y="235"/>
                    <a:pt x="21" y="235"/>
                    <a:pt x="21" y="235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136" y="54"/>
                    <a:pt x="136" y="54"/>
                    <a:pt x="136" y="54"/>
                  </a:cubicBezTo>
                  <a:cubicBezTo>
                    <a:pt x="140" y="57"/>
                    <a:pt x="146" y="55"/>
                    <a:pt x="148" y="51"/>
                  </a:cubicBezTo>
                  <a:cubicBezTo>
                    <a:pt x="151" y="46"/>
                    <a:pt x="149" y="41"/>
                    <a:pt x="145" y="38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7" y="0"/>
                    <a:pt x="74" y="0"/>
                    <a:pt x="72" y="1"/>
                  </a:cubicBezTo>
                  <a:cubicBezTo>
                    <a:pt x="69" y="2"/>
                    <a:pt x="67" y="4"/>
                    <a:pt x="66" y="7"/>
                  </a:cubicBezTo>
                  <a:cubicBezTo>
                    <a:pt x="1" y="236"/>
                    <a:pt x="1" y="236"/>
                    <a:pt x="1" y="236"/>
                  </a:cubicBezTo>
                  <a:cubicBezTo>
                    <a:pt x="0" y="241"/>
                    <a:pt x="1" y="245"/>
                    <a:pt x="5" y="247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3" y="319"/>
                    <a:pt x="123" y="319"/>
                    <a:pt x="123" y="319"/>
                  </a:cubicBezTo>
                  <a:cubicBezTo>
                    <a:pt x="124" y="319"/>
                    <a:pt x="124" y="320"/>
                    <a:pt x="124" y="320"/>
                  </a:cubicBezTo>
                  <a:cubicBezTo>
                    <a:pt x="124" y="320"/>
                    <a:pt x="125" y="320"/>
                    <a:pt x="125" y="320"/>
                  </a:cubicBezTo>
                  <a:cubicBezTo>
                    <a:pt x="125" y="320"/>
                    <a:pt x="125" y="320"/>
                    <a:pt x="126" y="320"/>
                  </a:cubicBezTo>
                  <a:cubicBezTo>
                    <a:pt x="126" y="320"/>
                    <a:pt x="126" y="320"/>
                    <a:pt x="126" y="320"/>
                  </a:cubicBezTo>
                  <a:cubicBezTo>
                    <a:pt x="127" y="320"/>
                    <a:pt x="127" y="320"/>
                    <a:pt x="128" y="320"/>
                  </a:cubicBezTo>
                  <a:cubicBezTo>
                    <a:pt x="128" y="320"/>
                    <a:pt x="128" y="320"/>
                    <a:pt x="128" y="320"/>
                  </a:cubicBezTo>
                  <a:cubicBezTo>
                    <a:pt x="128" y="320"/>
                    <a:pt x="129" y="320"/>
                    <a:pt x="130" y="320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130" y="320"/>
                    <a:pt x="130" y="320"/>
                    <a:pt x="130" y="320"/>
                  </a:cubicBezTo>
                  <a:cubicBezTo>
                    <a:pt x="272" y="281"/>
                    <a:pt x="272" y="281"/>
                    <a:pt x="272" y="281"/>
                  </a:cubicBezTo>
                  <a:cubicBezTo>
                    <a:pt x="413" y="320"/>
                    <a:pt x="413" y="320"/>
                    <a:pt x="413" y="320"/>
                  </a:cubicBezTo>
                  <a:cubicBezTo>
                    <a:pt x="414" y="320"/>
                    <a:pt x="414" y="320"/>
                    <a:pt x="414" y="320"/>
                  </a:cubicBezTo>
                  <a:cubicBezTo>
                    <a:pt x="414" y="320"/>
                    <a:pt x="414" y="320"/>
                    <a:pt x="414" y="320"/>
                  </a:cubicBezTo>
                  <a:cubicBezTo>
                    <a:pt x="414" y="320"/>
                    <a:pt x="415" y="320"/>
                    <a:pt x="416" y="320"/>
                  </a:cubicBezTo>
                  <a:cubicBezTo>
                    <a:pt x="416" y="320"/>
                    <a:pt x="416" y="320"/>
                    <a:pt x="416" y="320"/>
                  </a:cubicBezTo>
                  <a:cubicBezTo>
                    <a:pt x="416" y="320"/>
                    <a:pt x="417" y="320"/>
                    <a:pt x="417" y="320"/>
                  </a:cubicBezTo>
                  <a:cubicBezTo>
                    <a:pt x="418" y="320"/>
                    <a:pt x="418" y="320"/>
                    <a:pt x="418" y="320"/>
                  </a:cubicBezTo>
                  <a:cubicBezTo>
                    <a:pt x="418" y="320"/>
                    <a:pt x="419" y="320"/>
                    <a:pt x="419" y="320"/>
                  </a:cubicBezTo>
                  <a:cubicBezTo>
                    <a:pt x="419" y="320"/>
                    <a:pt x="419" y="320"/>
                    <a:pt x="419" y="320"/>
                  </a:cubicBezTo>
                  <a:cubicBezTo>
                    <a:pt x="420" y="320"/>
                    <a:pt x="420" y="319"/>
                    <a:pt x="420" y="319"/>
                  </a:cubicBezTo>
                  <a:cubicBezTo>
                    <a:pt x="421" y="319"/>
                    <a:pt x="421" y="319"/>
                    <a:pt x="421" y="319"/>
                  </a:cubicBezTo>
                  <a:cubicBezTo>
                    <a:pt x="421" y="319"/>
                    <a:pt x="421" y="319"/>
                    <a:pt x="421" y="319"/>
                  </a:cubicBezTo>
                  <a:cubicBezTo>
                    <a:pt x="539" y="247"/>
                    <a:pt x="539" y="247"/>
                    <a:pt x="539" y="247"/>
                  </a:cubicBezTo>
                  <a:cubicBezTo>
                    <a:pt x="542" y="245"/>
                    <a:pt x="544" y="241"/>
                    <a:pt x="543" y="2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7" name="Freeform 179"/>
            <p:cNvSpPr>
              <a:spLocks noEditPoints="1"/>
            </p:cNvSpPr>
            <p:nvPr/>
          </p:nvSpPr>
          <p:spPr bwMode="auto">
            <a:xfrm>
              <a:off x="6429376" y="3040063"/>
              <a:ext cx="227013" cy="311150"/>
            </a:xfrm>
            <a:custGeom>
              <a:avLst/>
              <a:gdLst>
                <a:gd name="T0" fmla="*/ 107 w 228"/>
                <a:gd name="T1" fmla="*/ 311 h 313"/>
                <a:gd name="T2" fmla="*/ 114 w 228"/>
                <a:gd name="T3" fmla="*/ 313 h 313"/>
                <a:gd name="T4" fmla="*/ 120 w 228"/>
                <a:gd name="T5" fmla="*/ 311 h 313"/>
                <a:gd name="T6" fmla="*/ 228 w 228"/>
                <a:gd name="T7" fmla="*/ 114 h 313"/>
                <a:gd name="T8" fmla="*/ 114 w 228"/>
                <a:gd name="T9" fmla="*/ 0 h 313"/>
                <a:gd name="T10" fmla="*/ 0 w 228"/>
                <a:gd name="T11" fmla="*/ 114 h 313"/>
                <a:gd name="T12" fmla="*/ 107 w 228"/>
                <a:gd name="T13" fmla="*/ 311 h 313"/>
                <a:gd name="T14" fmla="*/ 114 w 228"/>
                <a:gd name="T15" fmla="*/ 18 h 313"/>
                <a:gd name="T16" fmla="*/ 209 w 228"/>
                <a:gd name="T17" fmla="*/ 114 h 313"/>
                <a:gd name="T18" fmla="*/ 114 w 228"/>
                <a:gd name="T19" fmla="*/ 291 h 313"/>
                <a:gd name="T20" fmla="*/ 18 w 228"/>
                <a:gd name="T21" fmla="*/ 114 h 313"/>
                <a:gd name="T22" fmla="*/ 114 w 228"/>
                <a:gd name="T23" fmla="*/ 18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313">
                  <a:moveTo>
                    <a:pt x="107" y="311"/>
                  </a:moveTo>
                  <a:cubicBezTo>
                    <a:pt x="109" y="312"/>
                    <a:pt x="112" y="313"/>
                    <a:pt x="114" y="313"/>
                  </a:cubicBezTo>
                  <a:cubicBezTo>
                    <a:pt x="116" y="313"/>
                    <a:pt x="118" y="312"/>
                    <a:pt x="120" y="311"/>
                  </a:cubicBezTo>
                  <a:cubicBezTo>
                    <a:pt x="125" y="307"/>
                    <a:pt x="228" y="212"/>
                    <a:pt x="228" y="114"/>
                  </a:cubicBezTo>
                  <a:cubicBezTo>
                    <a:pt x="228" y="50"/>
                    <a:pt x="178" y="0"/>
                    <a:pt x="114" y="0"/>
                  </a:cubicBezTo>
                  <a:cubicBezTo>
                    <a:pt x="50" y="0"/>
                    <a:pt x="0" y="50"/>
                    <a:pt x="0" y="114"/>
                  </a:cubicBezTo>
                  <a:cubicBezTo>
                    <a:pt x="0" y="210"/>
                    <a:pt x="103" y="307"/>
                    <a:pt x="107" y="311"/>
                  </a:cubicBezTo>
                  <a:close/>
                  <a:moveTo>
                    <a:pt x="114" y="18"/>
                  </a:moveTo>
                  <a:cubicBezTo>
                    <a:pt x="168" y="18"/>
                    <a:pt x="209" y="59"/>
                    <a:pt x="209" y="114"/>
                  </a:cubicBezTo>
                  <a:cubicBezTo>
                    <a:pt x="209" y="190"/>
                    <a:pt x="136" y="269"/>
                    <a:pt x="114" y="291"/>
                  </a:cubicBezTo>
                  <a:cubicBezTo>
                    <a:pt x="92" y="268"/>
                    <a:pt x="18" y="189"/>
                    <a:pt x="18" y="114"/>
                  </a:cubicBezTo>
                  <a:cubicBezTo>
                    <a:pt x="18" y="59"/>
                    <a:pt x="59" y="18"/>
                    <a:pt x="11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8" name="Freeform 180"/>
            <p:cNvSpPr>
              <a:spLocks noEditPoints="1"/>
            </p:cNvSpPr>
            <p:nvPr/>
          </p:nvSpPr>
          <p:spPr bwMode="auto">
            <a:xfrm>
              <a:off x="6480176" y="3090863"/>
              <a:ext cx="123825" cy="123825"/>
            </a:xfrm>
            <a:custGeom>
              <a:avLst/>
              <a:gdLst>
                <a:gd name="T0" fmla="*/ 124 w 124"/>
                <a:gd name="T1" fmla="*/ 62 h 124"/>
                <a:gd name="T2" fmla="*/ 62 w 124"/>
                <a:gd name="T3" fmla="*/ 0 h 124"/>
                <a:gd name="T4" fmla="*/ 0 w 124"/>
                <a:gd name="T5" fmla="*/ 62 h 124"/>
                <a:gd name="T6" fmla="*/ 62 w 124"/>
                <a:gd name="T7" fmla="*/ 124 h 124"/>
                <a:gd name="T8" fmla="*/ 124 w 124"/>
                <a:gd name="T9" fmla="*/ 62 h 124"/>
                <a:gd name="T10" fmla="*/ 62 w 124"/>
                <a:gd name="T11" fmla="*/ 105 h 124"/>
                <a:gd name="T12" fmla="*/ 19 w 124"/>
                <a:gd name="T13" fmla="*/ 62 h 124"/>
                <a:gd name="T14" fmla="*/ 62 w 124"/>
                <a:gd name="T15" fmla="*/ 19 h 124"/>
                <a:gd name="T16" fmla="*/ 105 w 124"/>
                <a:gd name="T17" fmla="*/ 62 h 124"/>
                <a:gd name="T18" fmla="*/ 62 w 124"/>
                <a:gd name="T19" fmla="*/ 105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124">
                  <a:moveTo>
                    <a:pt x="124" y="62"/>
                  </a:moveTo>
                  <a:cubicBezTo>
                    <a:pt x="124" y="28"/>
                    <a:pt x="96" y="0"/>
                    <a:pt x="62" y="0"/>
                  </a:cubicBezTo>
                  <a:cubicBezTo>
                    <a:pt x="28" y="0"/>
                    <a:pt x="0" y="28"/>
                    <a:pt x="0" y="62"/>
                  </a:cubicBezTo>
                  <a:cubicBezTo>
                    <a:pt x="0" y="96"/>
                    <a:pt x="28" y="124"/>
                    <a:pt x="62" y="124"/>
                  </a:cubicBezTo>
                  <a:cubicBezTo>
                    <a:pt x="96" y="124"/>
                    <a:pt x="124" y="96"/>
                    <a:pt x="124" y="62"/>
                  </a:cubicBezTo>
                  <a:close/>
                  <a:moveTo>
                    <a:pt x="62" y="105"/>
                  </a:moveTo>
                  <a:cubicBezTo>
                    <a:pt x="38" y="105"/>
                    <a:pt x="19" y="86"/>
                    <a:pt x="19" y="62"/>
                  </a:cubicBezTo>
                  <a:cubicBezTo>
                    <a:pt x="19" y="38"/>
                    <a:pt x="38" y="19"/>
                    <a:pt x="62" y="19"/>
                  </a:cubicBezTo>
                  <a:cubicBezTo>
                    <a:pt x="86" y="19"/>
                    <a:pt x="105" y="38"/>
                    <a:pt x="105" y="62"/>
                  </a:cubicBezTo>
                  <a:cubicBezTo>
                    <a:pt x="105" y="86"/>
                    <a:pt x="86" y="105"/>
                    <a:pt x="62" y="10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</p:spTree>
    <p:extLst>
      <p:ext uri="{BB962C8B-B14F-4D97-AF65-F5344CB8AC3E}">
        <p14:creationId xmlns:p14="http://schemas.microsoft.com/office/powerpoint/2010/main" val="325154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OBLEMAS </a:t>
            </a:r>
            <a:r>
              <a:rPr lang="en-US" dirty="0">
                <a:solidFill>
                  <a:srgbClr val="EC0000"/>
                </a:solidFill>
              </a:rPr>
              <a:t>SOLUCIONADO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6" name="TextBox 45"/>
          <p:cNvSpPr txBox="1"/>
          <p:nvPr/>
        </p:nvSpPr>
        <p:spPr>
          <a:xfrm>
            <a:off x="593726" y="3969810"/>
            <a:ext cx="7943850" cy="301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pendiss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ed vestibulum dui. In id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e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q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cursus ligul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ect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vitae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uscip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ictum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dio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mi. Nam e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si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m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ro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endreri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eifend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c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u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.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ti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t dolor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aucib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lementu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lorem a,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sta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rcu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Dui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orttitor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ugue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in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gitti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ante. 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194608" y="1545476"/>
            <a:ext cx="4754785" cy="2155401"/>
            <a:chOff x="2194608" y="1545476"/>
            <a:chExt cx="4754785" cy="2155401"/>
          </a:xfrm>
        </p:grpSpPr>
        <p:sp>
          <p:nvSpPr>
            <p:cNvPr id="20" name="Freeform 9"/>
            <p:cNvSpPr>
              <a:spLocks noEditPoints="1"/>
            </p:cNvSpPr>
            <p:nvPr/>
          </p:nvSpPr>
          <p:spPr bwMode="auto">
            <a:xfrm>
              <a:off x="4701238" y="1912246"/>
              <a:ext cx="1412909" cy="1413356"/>
            </a:xfrm>
            <a:custGeom>
              <a:avLst/>
              <a:gdLst>
                <a:gd name="T0" fmla="*/ 2292 w 4585"/>
                <a:gd name="T1" fmla="*/ 0 h 4585"/>
                <a:gd name="T2" fmla="*/ 4585 w 4585"/>
                <a:gd name="T3" fmla="*/ 2293 h 4585"/>
                <a:gd name="T4" fmla="*/ 2292 w 4585"/>
                <a:gd name="T5" fmla="*/ 4585 h 4585"/>
                <a:gd name="T6" fmla="*/ 0 w 4585"/>
                <a:gd name="T7" fmla="*/ 2293 h 4585"/>
                <a:gd name="T8" fmla="*/ 2292 w 4585"/>
                <a:gd name="T9" fmla="*/ 0 h 4585"/>
                <a:gd name="T10" fmla="*/ 2292 w 4585"/>
                <a:gd name="T11" fmla="*/ 64 h 4585"/>
                <a:gd name="T12" fmla="*/ 63 w 4585"/>
                <a:gd name="T13" fmla="*/ 2293 h 4585"/>
                <a:gd name="T14" fmla="*/ 2292 w 4585"/>
                <a:gd name="T15" fmla="*/ 4522 h 4585"/>
                <a:gd name="T16" fmla="*/ 4521 w 4585"/>
                <a:gd name="T17" fmla="*/ 2293 h 4585"/>
                <a:gd name="T18" fmla="*/ 2292 w 4585"/>
                <a:gd name="T19" fmla="*/ 64 h 4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85" h="4585">
                  <a:moveTo>
                    <a:pt x="2292" y="0"/>
                  </a:moveTo>
                  <a:cubicBezTo>
                    <a:pt x="3559" y="0"/>
                    <a:pt x="4585" y="1026"/>
                    <a:pt x="4585" y="2293"/>
                  </a:cubicBezTo>
                  <a:cubicBezTo>
                    <a:pt x="4585" y="3559"/>
                    <a:pt x="3559" y="4585"/>
                    <a:pt x="2292" y="4585"/>
                  </a:cubicBezTo>
                  <a:cubicBezTo>
                    <a:pt x="1026" y="4585"/>
                    <a:pt x="0" y="3559"/>
                    <a:pt x="0" y="2293"/>
                  </a:cubicBezTo>
                  <a:cubicBezTo>
                    <a:pt x="0" y="1026"/>
                    <a:pt x="1026" y="0"/>
                    <a:pt x="2292" y="0"/>
                  </a:cubicBezTo>
                  <a:close/>
                  <a:moveTo>
                    <a:pt x="2292" y="64"/>
                  </a:moveTo>
                  <a:cubicBezTo>
                    <a:pt x="1061" y="64"/>
                    <a:pt x="63" y="1062"/>
                    <a:pt x="63" y="2293"/>
                  </a:cubicBezTo>
                  <a:cubicBezTo>
                    <a:pt x="63" y="3524"/>
                    <a:pt x="1061" y="4522"/>
                    <a:pt x="2292" y="4522"/>
                  </a:cubicBezTo>
                  <a:cubicBezTo>
                    <a:pt x="3523" y="4522"/>
                    <a:pt x="4521" y="3524"/>
                    <a:pt x="4521" y="2293"/>
                  </a:cubicBezTo>
                  <a:cubicBezTo>
                    <a:pt x="4521" y="1062"/>
                    <a:pt x="3523" y="64"/>
                    <a:pt x="2292" y="64"/>
                  </a:cubicBezTo>
                  <a:close/>
                </a:path>
              </a:pathLst>
            </a:custGeom>
            <a:solidFill>
              <a:schemeClr val="accent4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1" name="Freeform 10"/>
            <p:cNvSpPr>
              <a:spLocks noEditPoints="1"/>
            </p:cNvSpPr>
            <p:nvPr/>
          </p:nvSpPr>
          <p:spPr bwMode="auto">
            <a:xfrm>
              <a:off x="5536484" y="1912246"/>
              <a:ext cx="1412909" cy="1413356"/>
            </a:xfrm>
            <a:custGeom>
              <a:avLst/>
              <a:gdLst>
                <a:gd name="T0" fmla="*/ 2293 w 4585"/>
                <a:gd name="T1" fmla="*/ 0 h 4585"/>
                <a:gd name="T2" fmla="*/ 4585 w 4585"/>
                <a:gd name="T3" fmla="*/ 2293 h 4585"/>
                <a:gd name="T4" fmla="*/ 2293 w 4585"/>
                <a:gd name="T5" fmla="*/ 4585 h 4585"/>
                <a:gd name="T6" fmla="*/ 0 w 4585"/>
                <a:gd name="T7" fmla="*/ 2293 h 4585"/>
                <a:gd name="T8" fmla="*/ 2293 w 4585"/>
                <a:gd name="T9" fmla="*/ 0 h 4585"/>
                <a:gd name="T10" fmla="*/ 2293 w 4585"/>
                <a:gd name="T11" fmla="*/ 64 h 4585"/>
                <a:gd name="T12" fmla="*/ 64 w 4585"/>
                <a:gd name="T13" fmla="*/ 2293 h 4585"/>
                <a:gd name="T14" fmla="*/ 2293 w 4585"/>
                <a:gd name="T15" fmla="*/ 4522 h 4585"/>
                <a:gd name="T16" fmla="*/ 4522 w 4585"/>
                <a:gd name="T17" fmla="*/ 2293 h 4585"/>
                <a:gd name="T18" fmla="*/ 2293 w 4585"/>
                <a:gd name="T19" fmla="*/ 64 h 4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85" h="4585">
                  <a:moveTo>
                    <a:pt x="2293" y="0"/>
                  </a:moveTo>
                  <a:cubicBezTo>
                    <a:pt x="3559" y="0"/>
                    <a:pt x="4585" y="1026"/>
                    <a:pt x="4585" y="2293"/>
                  </a:cubicBezTo>
                  <a:cubicBezTo>
                    <a:pt x="4585" y="3559"/>
                    <a:pt x="3559" y="4585"/>
                    <a:pt x="2293" y="4585"/>
                  </a:cubicBezTo>
                  <a:cubicBezTo>
                    <a:pt x="1026" y="4585"/>
                    <a:pt x="0" y="3559"/>
                    <a:pt x="0" y="2293"/>
                  </a:cubicBezTo>
                  <a:cubicBezTo>
                    <a:pt x="0" y="1026"/>
                    <a:pt x="1026" y="0"/>
                    <a:pt x="2293" y="0"/>
                  </a:cubicBezTo>
                  <a:close/>
                  <a:moveTo>
                    <a:pt x="2293" y="64"/>
                  </a:moveTo>
                  <a:cubicBezTo>
                    <a:pt x="1062" y="64"/>
                    <a:pt x="64" y="1062"/>
                    <a:pt x="64" y="2293"/>
                  </a:cubicBezTo>
                  <a:cubicBezTo>
                    <a:pt x="64" y="3524"/>
                    <a:pt x="1062" y="4522"/>
                    <a:pt x="2293" y="4522"/>
                  </a:cubicBezTo>
                  <a:cubicBezTo>
                    <a:pt x="3524" y="4522"/>
                    <a:pt x="4522" y="3524"/>
                    <a:pt x="4522" y="2293"/>
                  </a:cubicBezTo>
                  <a:cubicBezTo>
                    <a:pt x="4522" y="1062"/>
                    <a:pt x="3524" y="64"/>
                    <a:pt x="2293" y="64"/>
                  </a:cubicBezTo>
                  <a:close/>
                </a:path>
              </a:pathLst>
            </a:custGeom>
            <a:solidFill>
              <a:schemeClr val="accent5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1" name="Oval 11"/>
            <p:cNvSpPr>
              <a:spLocks noChangeArrowheads="1"/>
            </p:cNvSpPr>
            <p:nvPr/>
          </p:nvSpPr>
          <p:spPr bwMode="auto">
            <a:xfrm>
              <a:off x="5742284" y="2118044"/>
              <a:ext cx="1000867" cy="100176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2194608" y="1912246"/>
              <a:ext cx="1412909" cy="1413356"/>
            </a:xfrm>
            <a:custGeom>
              <a:avLst/>
              <a:gdLst>
                <a:gd name="T0" fmla="*/ 2293 w 4585"/>
                <a:gd name="T1" fmla="*/ 0 h 4585"/>
                <a:gd name="T2" fmla="*/ 4585 w 4585"/>
                <a:gd name="T3" fmla="*/ 2293 h 4585"/>
                <a:gd name="T4" fmla="*/ 2293 w 4585"/>
                <a:gd name="T5" fmla="*/ 4585 h 4585"/>
                <a:gd name="T6" fmla="*/ 0 w 4585"/>
                <a:gd name="T7" fmla="*/ 2293 h 4585"/>
                <a:gd name="T8" fmla="*/ 2293 w 4585"/>
                <a:gd name="T9" fmla="*/ 0 h 4585"/>
                <a:gd name="T10" fmla="*/ 2293 w 4585"/>
                <a:gd name="T11" fmla="*/ 64 h 4585"/>
                <a:gd name="T12" fmla="*/ 64 w 4585"/>
                <a:gd name="T13" fmla="*/ 2293 h 4585"/>
                <a:gd name="T14" fmla="*/ 2293 w 4585"/>
                <a:gd name="T15" fmla="*/ 4522 h 4585"/>
                <a:gd name="T16" fmla="*/ 4522 w 4585"/>
                <a:gd name="T17" fmla="*/ 2293 h 4585"/>
                <a:gd name="T18" fmla="*/ 2293 w 4585"/>
                <a:gd name="T19" fmla="*/ 64 h 4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85" h="4585">
                  <a:moveTo>
                    <a:pt x="2293" y="0"/>
                  </a:moveTo>
                  <a:cubicBezTo>
                    <a:pt x="3559" y="0"/>
                    <a:pt x="4585" y="1026"/>
                    <a:pt x="4585" y="2293"/>
                  </a:cubicBezTo>
                  <a:cubicBezTo>
                    <a:pt x="4585" y="3559"/>
                    <a:pt x="3559" y="4585"/>
                    <a:pt x="2293" y="4585"/>
                  </a:cubicBezTo>
                  <a:cubicBezTo>
                    <a:pt x="1026" y="4585"/>
                    <a:pt x="0" y="3559"/>
                    <a:pt x="0" y="2293"/>
                  </a:cubicBezTo>
                  <a:cubicBezTo>
                    <a:pt x="0" y="1026"/>
                    <a:pt x="1026" y="0"/>
                    <a:pt x="2293" y="0"/>
                  </a:cubicBezTo>
                  <a:close/>
                  <a:moveTo>
                    <a:pt x="2293" y="64"/>
                  </a:moveTo>
                  <a:cubicBezTo>
                    <a:pt x="1062" y="64"/>
                    <a:pt x="64" y="1062"/>
                    <a:pt x="64" y="2293"/>
                  </a:cubicBezTo>
                  <a:cubicBezTo>
                    <a:pt x="64" y="3524"/>
                    <a:pt x="1062" y="4522"/>
                    <a:pt x="2293" y="4522"/>
                  </a:cubicBezTo>
                  <a:cubicBezTo>
                    <a:pt x="3524" y="4522"/>
                    <a:pt x="4522" y="3524"/>
                    <a:pt x="4522" y="2293"/>
                  </a:cubicBezTo>
                  <a:cubicBezTo>
                    <a:pt x="4522" y="1062"/>
                    <a:pt x="3524" y="64"/>
                    <a:pt x="2293" y="64"/>
                  </a:cubicBez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Freeform 7"/>
            <p:cNvSpPr>
              <a:spLocks noEditPoints="1"/>
            </p:cNvSpPr>
            <p:nvPr/>
          </p:nvSpPr>
          <p:spPr bwMode="auto">
            <a:xfrm>
              <a:off x="3029854" y="1912246"/>
              <a:ext cx="1413356" cy="1413356"/>
            </a:xfrm>
            <a:custGeom>
              <a:avLst/>
              <a:gdLst>
                <a:gd name="T0" fmla="*/ 2293 w 4586"/>
                <a:gd name="T1" fmla="*/ 0 h 4585"/>
                <a:gd name="T2" fmla="*/ 4586 w 4586"/>
                <a:gd name="T3" fmla="*/ 2293 h 4585"/>
                <a:gd name="T4" fmla="*/ 2293 w 4586"/>
                <a:gd name="T5" fmla="*/ 4585 h 4585"/>
                <a:gd name="T6" fmla="*/ 0 w 4586"/>
                <a:gd name="T7" fmla="*/ 2293 h 4585"/>
                <a:gd name="T8" fmla="*/ 2293 w 4586"/>
                <a:gd name="T9" fmla="*/ 0 h 4585"/>
                <a:gd name="T10" fmla="*/ 2293 w 4586"/>
                <a:gd name="T11" fmla="*/ 64 h 4585"/>
                <a:gd name="T12" fmla="*/ 64 w 4586"/>
                <a:gd name="T13" fmla="*/ 2293 h 4585"/>
                <a:gd name="T14" fmla="*/ 2293 w 4586"/>
                <a:gd name="T15" fmla="*/ 4522 h 4585"/>
                <a:gd name="T16" fmla="*/ 4522 w 4586"/>
                <a:gd name="T17" fmla="*/ 2293 h 4585"/>
                <a:gd name="T18" fmla="*/ 2293 w 4586"/>
                <a:gd name="T19" fmla="*/ 64 h 4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86" h="4585">
                  <a:moveTo>
                    <a:pt x="2293" y="0"/>
                  </a:moveTo>
                  <a:cubicBezTo>
                    <a:pt x="3559" y="0"/>
                    <a:pt x="4586" y="1026"/>
                    <a:pt x="4586" y="2293"/>
                  </a:cubicBezTo>
                  <a:cubicBezTo>
                    <a:pt x="4586" y="3559"/>
                    <a:pt x="3559" y="4585"/>
                    <a:pt x="2293" y="4585"/>
                  </a:cubicBezTo>
                  <a:cubicBezTo>
                    <a:pt x="1027" y="4585"/>
                    <a:pt x="0" y="3559"/>
                    <a:pt x="0" y="2293"/>
                  </a:cubicBezTo>
                  <a:cubicBezTo>
                    <a:pt x="0" y="1026"/>
                    <a:pt x="1027" y="0"/>
                    <a:pt x="2293" y="0"/>
                  </a:cubicBezTo>
                  <a:close/>
                  <a:moveTo>
                    <a:pt x="2293" y="64"/>
                  </a:moveTo>
                  <a:cubicBezTo>
                    <a:pt x="1062" y="64"/>
                    <a:pt x="64" y="1062"/>
                    <a:pt x="64" y="2293"/>
                  </a:cubicBezTo>
                  <a:cubicBezTo>
                    <a:pt x="64" y="3524"/>
                    <a:pt x="1062" y="4522"/>
                    <a:pt x="2293" y="4522"/>
                  </a:cubicBezTo>
                  <a:cubicBezTo>
                    <a:pt x="3524" y="4522"/>
                    <a:pt x="4522" y="3524"/>
                    <a:pt x="4522" y="2293"/>
                  </a:cubicBezTo>
                  <a:cubicBezTo>
                    <a:pt x="4522" y="1062"/>
                    <a:pt x="3524" y="64"/>
                    <a:pt x="2293" y="64"/>
                  </a:cubicBezTo>
                  <a:close/>
                </a:path>
              </a:pathLst>
            </a:custGeom>
            <a:solidFill>
              <a:srgbClr val="EC1C24">
                <a:alpha val="30000"/>
              </a:srgb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9" name="Freeform 8"/>
            <p:cNvSpPr>
              <a:spLocks noEditPoints="1"/>
            </p:cNvSpPr>
            <p:nvPr/>
          </p:nvSpPr>
          <p:spPr bwMode="auto">
            <a:xfrm>
              <a:off x="3865546" y="1912246"/>
              <a:ext cx="1412909" cy="1413356"/>
            </a:xfrm>
            <a:custGeom>
              <a:avLst/>
              <a:gdLst>
                <a:gd name="T0" fmla="*/ 2293 w 4586"/>
                <a:gd name="T1" fmla="*/ 0 h 4585"/>
                <a:gd name="T2" fmla="*/ 4586 w 4586"/>
                <a:gd name="T3" fmla="*/ 2293 h 4585"/>
                <a:gd name="T4" fmla="*/ 2293 w 4586"/>
                <a:gd name="T5" fmla="*/ 4585 h 4585"/>
                <a:gd name="T6" fmla="*/ 0 w 4586"/>
                <a:gd name="T7" fmla="*/ 2293 h 4585"/>
                <a:gd name="T8" fmla="*/ 2293 w 4586"/>
                <a:gd name="T9" fmla="*/ 0 h 4585"/>
                <a:gd name="T10" fmla="*/ 2293 w 4586"/>
                <a:gd name="T11" fmla="*/ 64 h 4585"/>
                <a:gd name="T12" fmla="*/ 64 w 4586"/>
                <a:gd name="T13" fmla="*/ 2293 h 4585"/>
                <a:gd name="T14" fmla="*/ 2293 w 4586"/>
                <a:gd name="T15" fmla="*/ 4522 h 4585"/>
                <a:gd name="T16" fmla="*/ 4522 w 4586"/>
                <a:gd name="T17" fmla="*/ 2293 h 4585"/>
                <a:gd name="T18" fmla="*/ 2293 w 4586"/>
                <a:gd name="T19" fmla="*/ 64 h 4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86" h="4585">
                  <a:moveTo>
                    <a:pt x="2293" y="0"/>
                  </a:moveTo>
                  <a:cubicBezTo>
                    <a:pt x="3559" y="0"/>
                    <a:pt x="4586" y="1026"/>
                    <a:pt x="4586" y="2293"/>
                  </a:cubicBezTo>
                  <a:cubicBezTo>
                    <a:pt x="4586" y="3559"/>
                    <a:pt x="3559" y="4585"/>
                    <a:pt x="2293" y="4585"/>
                  </a:cubicBezTo>
                  <a:cubicBezTo>
                    <a:pt x="1027" y="4585"/>
                    <a:pt x="0" y="3559"/>
                    <a:pt x="0" y="2293"/>
                  </a:cubicBezTo>
                  <a:cubicBezTo>
                    <a:pt x="0" y="1026"/>
                    <a:pt x="1027" y="0"/>
                    <a:pt x="2293" y="0"/>
                  </a:cubicBezTo>
                  <a:close/>
                  <a:moveTo>
                    <a:pt x="2293" y="64"/>
                  </a:moveTo>
                  <a:cubicBezTo>
                    <a:pt x="1062" y="64"/>
                    <a:pt x="64" y="1062"/>
                    <a:pt x="64" y="2293"/>
                  </a:cubicBezTo>
                  <a:cubicBezTo>
                    <a:pt x="64" y="3524"/>
                    <a:pt x="1062" y="4522"/>
                    <a:pt x="2293" y="4522"/>
                  </a:cubicBezTo>
                  <a:cubicBezTo>
                    <a:pt x="3524" y="4522"/>
                    <a:pt x="4522" y="3524"/>
                    <a:pt x="4522" y="2293"/>
                  </a:cubicBezTo>
                  <a:cubicBezTo>
                    <a:pt x="4522" y="1062"/>
                    <a:pt x="3524" y="64"/>
                    <a:pt x="2293" y="64"/>
                  </a:cubicBezTo>
                  <a:close/>
                </a:path>
              </a:pathLst>
            </a:custGeom>
            <a:solidFill>
              <a:schemeClr val="accent3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auto">
            <a:xfrm>
              <a:off x="4909716" y="2118044"/>
              <a:ext cx="1080329" cy="1001760"/>
            </a:xfrm>
            <a:custGeom>
              <a:avLst/>
              <a:gdLst>
                <a:gd name="T0" fmla="*/ 0 w 3506"/>
                <a:gd name="T1" fmla="*/ 1625 h 3249"/>
                <a:gd name="T2" fmla="*/ 1624 w 3506"/>
                <a:gd name="T3" fmla="*/ 0 h 3249"/>
                <a:gd name="T4" fmla="*/ 3201 w 3506"/>
                <a:gd name="T5" fmla="*/ 1234 h 3249"/>
                <a:gd name="T6" fmla="*/ 3506 w 3506"/>
                <a:gd name="T7" fmla="*/ 1625 h 3249"/>
                <a:gd name="T8" fmla="*/ 3201 w 3506"/>
                <a:gd name="T9" fmla="*/ 2015 h 3249"/>
                <a:gd name="T10" fmla="*/ 1624 w 3506"/>
                <a:gd name="T11" fmla="*/ 3249 h 3249"/>
                <a:gd name="T12" fmla="*/ 0 w 3506"/>
                <a:gd name="T13" fmla="*/ 1625 h 3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6" h="3249">
                  <a:moveTo>
                    <a:pt x="0" y="1625"/>
                  </a:moveTo>
                  <a:cubicBezTo>
                    <a:pt x="0" y="727"/>
                    <a:pt x="727" y="0"/>
                    <a:pt x="1624" y="0"/>
                  </a:cubicBezTo>
                  <a:cubicBezTo>
                    <a:pt x="2387" y="0"/>
                    <a:pt x="3027" y="526"/>
                    <a:pt x="3201" y="1234"/>
                  </a:cubicBezTo>
                  <a:cubicBezTo>
                    <a:pt x="3506" y="1625"/>
                    <a:pt x="3506" y="1625"/>
                    <a:pt x="3506" y="1625"/>
                  </a:cubicBezTo>
                  <a:cubicBezTo>
                    <a:pt x="3201" y="2015"/>
                    <a:pt x="3201" y="2015"/>
                    <a:pt x="3201" y="2015"/>
                  </a:cubicBezTo>
                  <a:cubicBezTo>
                    <a:pt x="3027" y="2723"/>
                    <a:pt x="2387" y="3249"/>
                    <a:pt x="1624" y="3249"/>
                  </a:cubicBezTo>
                  <a:cubicBezTo>
                    <a:pt x="727" y="3249"/>
                    <a:pt x="0" y="2522"/>
                    <a:pt x="0" y="162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Freeform 14"/>
            <p:cNvSpPr>
              <a:spLocks/>
            </p:cNvSpPr>
            <p:nvPr/>
          </p:nvSpPr>
          <p:spPr bwMode="auto">
            <a:xfrm>
              <a:off x="4074023" y="2118044"/>
              <a:ext cx="1080776" cy="1001760"/>
            </a:xfrm>
            <a:custGeom>
              <a:avLst/>
              <a:gdLst>
                <a:gd name="T0" fmla="*/ 0 w 3507"/>
                <a:gd name="T1" fmla="*/ 1625 h 3249"/>
                <a:gd name="T2" fmla="*/ 1625 w 3507"/>
                <a:gd name="T3" fmla="*/ 0 h 3249"/>
                <a:gd name="T4" fmla="*/ 3202 w 3507"/>
                <a:gd name="T5" fmla="*/ 1234 h 3249"/>
                <a:gd name="T6" fmla="*/ 3507 w 3507"/>
                <a:gd name="T7" fmla="*/ 1625 h 3249"/>
                <a:gd name="T8" fmla="*/ 3202 w 3507"/>
                <a:gd name="T9" fmla="*/ 2015 h 3249"/>
                <a:gd name="T10" fmla="*/ 1625 w 3507"/>
                <a:gd name="T11" fmla="*/ 3249 h 3249"/>
                <a:gd name="T12" fmla="*/ 0 w 3507"/>
                <a:gd name="T13" fmla="*/ 1625 h 3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7" h="3249">
                  <a:moveTo>
                    <a:pt x="0" y="1625"/>
                  </a:moveTo>
                  <a:cubicBezTo>
                    <a:pt x="0" y="727"/>
                    <a:pt x="728" y="0"/>
                    <a:pt x="1625" y="0"/>
                  </a:cubicBezTo>
                  <a:cubicBezTo>
                    <a:pt x="2387" y="0"/>
                    <a:pt x="3027" y="526"/>
                    <a:pt x="3202" y="1234"/>
                  </a:cubicBezTo>
                  <a:cubicBezTo>
                    <a:pt x="3507" y="1625"/>
                    <a:pt x="3507" y="1625"/>
                    <a:pt x="3507" y="1625"/>
                  </a:cubicBezTo>
                  <a:cubicBezTo>
                    <a:pt x="3202" y="2015"/>
                    <a:pt x="3202" y="2015"/>
                    <a:pt x="3202" y="2015"/>
                  </a:cubicBezTo>
                  <a:cubicBezTo>
                    <a:pt x="3027" y="2723"/>
                    <a:pt x="2387" y="3249"/>
                    <a:pt x="1625" y="3249"/>
                  </a:cubicBezTo>
                  <a:cubicBezTo>
                    <a:pt x="728" y="3249"/>
                    <a:pt x="0" y="2522"/>
                    <a:pt x="0" y="162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6" name="Freeform 15"/>
            <p:cNvSpPr>
              <a:spLocks/>
            </p:cNvSpPr>
            <p:nvPr/>
          </p:nvSpPr>
          <p:spPr bwMode="auto">
            <a:xfrm>
              <a:off x="3238330" y="2118044"/>
              <a:ext cx="1080776" cy="1001760"/>
            </a:xfrm>
            <a:custGeom>
              <a:avLst/>
              <a:gdLst>
                <a:gd name="T0" fmla="*/ 0 w 3507"/>
                <a:gd name="T1" fmla="*/ 1625 h 3249"/>
                <a:gd name="T2" fmla="*/ 1625 w 3507"/>
                <a:gd name="T3" fmla="*/ 0 h 3249"/>
                <a:gd name="T4" fmla="*/ 3202 w 3507"/>
                <a:gd name="T5" fmla="*/ 1234 h 3249"/>
                <a:gd name="T6" fmla="*/ 3507 w 3507"/>
                <a:gd name="T7" fmla="*/ 1625 h 3249"/>
                <a:gd name="T8" fmla="*/ 3202 w 3507"/>
                <a:gd name="T9" fmla="*/ 2015 h 3249"/>
                <a:gd name="T10" fmla="*/ 1625 w 3507"/>
                <a:gd name="T11" fmla="*/ 3249 h 3249"/>
                <a:gd name="T12" fmla="*/ 0 w 3507"/>
                <a:gd name="T13" fmla="*/ 1625 h 3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7" h="3249">
                  <a:moveTo>
                    <a:pt x="0" y="1625"/>
                  </a:moveTo>
                  <a:cubicBezTo>
                    <a:pt x="0" y="727"/>
                    <a:pt x="727" y="0"/>
                    <a:pt x="1625" y="0"/>
                  </a:cubicBezTo>
                  <a:cubicBezTo>
                    <a:pt x="2387" y="0"/>
                    <a:pt x="3027" y="526"/>
                    <a:pt x="3202" y="1234"/>
                  </a:cubicBezTo>
                  <a:cubicBezTo>
                    <a:pt x="3507" y="1625"/>
                    <a:pt x="3507" y="1625"/>
                    <a:pt x="3507" y="1625"/>
                  </a:cubicBezTo>
                  <a:cubicBezTo>
                    <a:pt x="3202" y="2015"/>
                    <a:pt x="3202" y="2015"/>
                    <a:pt x="3202" y="2015"/>
                  </a:cubicBezTo>
                  <a:cubicBezTo>
                    <a:pt x="3027" y="2723"/>
                    <a:pt x="2387" y="3249"/>
                    <a:pt x="1625" y="3249"/>
                  </a:cubicBezTo>
                  <a:cubicBezTo>
                    <a:pt x="727" y="3249"/>
                    <a:pt x="0" y="2522"/>
                    <a:pt x="0" y="1625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7" name="Freeform 16"/>
            <p:cNvSpPr>
              <a:spLocks/>
            </p:cNvSpPr>
            <p:nvPr/>
          </p:nvSpPr>
          <p:spPr bwMode="auto">
            <a:xfrm>
              <a:off x="2403083" y="2118044"/>
              <a:ext cx="1080776" cy="1001760"/>
            </a:xfrm>
            <a:custGeom>
              <a:avLst/>
              <a:gdLst>
                <a:gd name="T0" fmla="*/ 0 w 3507"/>
                <a:gd name="T1" fmla="*/ 1625 h 3249"/>
                <a:gd name="T2" fmla="*/ 1624 w 3507"/>
                <a:gd name="T3" fmla="*/ 0 h 3249"/>
                <a:gd name="T4" fmla="*/ 3202 w 3507"/>
                <a:gd name="T5" fmla="*/ 1234 h 3249"/>
                <a:gd name="T6" fmla="*/ 3507 w 3507"/>
                <a:gd name="T7" fmla="*/ 1625 h 3249"/>
                <a:gd name="T8" fmla="*/ 3202 w 3507"/>
                <a:gd name="T9" fmla="*/ 2015 h 3249"/>
                <a:gd name="T10" fmla="*/ 1624 w 3507"/>
                <a:gd name="T11" fmla="*/ 3249 h 3249"/>
                <a:gd name="T12" fmla="*/ 0 w 3507"/>
                <a:gd name="T13" fmla="*/ 1625 h 3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07" h="3249">
                  <a:moveTo>
                    <a:pt x="0" y="1625"/>
                  </a:moveTo>
                  <a:cubicBezTo>
                    <a:pt x="0" y="727"/>
                    <a:pt x="727" y="0"/>
                    <a:pt x="1624" y="0"/>
                  </a:cubicBezTo>
                  <a:cubicBezTo>
                    <a:pt x="2387" y="0"/>
                    <a:pt x="3027" y="526"/>
                    <a:pt x="3202" y="1234"/>
                  </a:cubicBezTo>
                  <a:cubicBezTo>
                    <a:pt x="3507" y="1625"/>
                    <a:pt x="3507" y="1625"/>
                    <a:pt x="3507" y="1625"/>
                  </a:cubicBezTo>
                  <a:cubicBezTo>
                    <a:pt x="3202" y="2015"/>
                    <a:pt x="3202" y="2015"/>
                    <a:pt x="3202" y="2015"/>
                  </a:cubicBezTo>
                  <a:cubicBezTo>
                    <a:pt x="3027" y="2723"/>
                    <a:pt x="2387" y="3249"/>
                    <a:pt x="1624" y="3249"/>
                  </a:cubicBezTo>
                  <a:cubicBezTo>
                    <a:pt x="727" y="3249"/>
                    <a:pt x="0" y="2522"/>
                    <a:pt x="0" y="16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8" name="Freeform 39"/>
            <p:cNvSpPr>
              <a:spLocks noEditPoints="1"/>
            </p:cNvSpPr>
            <p:nvPr/>
          </p:nvSpPr>
          <p:spPr bwMode="auto">
            <a:xfrm>
              <a:off x="6123710" y="2466779"/>
              <a:ext cx="304289" cy="304289"/>
            </a:xfrm>
            <a:custGeom>
              <a:avLst/>
              <a:gdLst>
                <a:gd name="T0" fmla="*/ 281 w 353"/>
                <a:gd name="T1" fmla="*/ 144 h 353"/>
                <a:gd name="T2" fmla="*/ 281 w 353"/>
                <a:gd name="T3" fmla="*/ 128 h 353"/>
                <a:gd name="T4" fmla="*/ 193 w 353"/>
                <a:gd name="T5" fmla="*/ 136 h 353"/>
                <a:gd name="T6" fmla="*/ 201 w 353"/>
                <a:gd name="T7" fmla="*/ 112 h 353"/>
                <a:gd name="T8" fmla="*/ 257 w 353"/>
                <a:gd name="T9" fmla="*/ 104 h 353"/>
                <a:gd name="T10" fmla="*/ 201 w 353"/>
                <a:gd name="T11" fmla="*/ 96 h 353"/>
                <a:gd name="T12" fmla="*/ 201 w 353"/>
                <a:gd name="T13" fmla="*/ 112 h 353"/>
                <a:gd name="T14" fmla="*/ 233 w 353"/>
                <a:gd name="T15" fmla="*/ 176 h 353"/>
                <a:gd name="T16" fmla="*/ 233 w 353"/>
                <a:gd name="T17" fmla="*/ 160 h 353"/>
                <a:gd name="T18" fmla="*/ 193 w 353"/>
                <a:gd name="T19" fmla="*/ 168 h 353"/>
                <a:gd name="T20" fmla="*/ 81 w 353"/>
                <a:gd name="T21" fmla="*/ 208 h 353"/>
                <a:gd name="T22" fmla="*/ 161 w 353"/>
                <a:gd name="T23" fmla="*/ 192 h 353"/>
                <a:gd name="T24" fmla="*/ 145 w 353"/>
                <a:gd name="T25" fmla="*/ 96 h 353"/>
                <a:gd name="T26" fmla="*/ 64 w 353"/>
                <a:gd name="T27" fmla="*/ 112 h 353"/>
                <a:gd name="T28" fmla="*/ 81 w 353"/>
                <a:gd name="T29" fmla="*/ 208 h 353"/>
                <a:gd name="T30" fmla="*/ 145 w 353"/>
                <a:gd name="T31" fmla="*/ 112 h 353"/>
                <a:gd name="T32" fmla="*/ 81 w 353"/>
                <a:gd name="T33" fmla="*/ 192 h 353"/>
                <a:gd name="T34" fmla="*/ 201 w 353"/>
                <a:gd name="T35" fmla="*/ 208 h 353"/>
                <a:gd name="T36" fmla="*/ 289 w 353"/>
                <a:gd name="T37" fmla="*/ 200 h 353"/>
                <a:gd name="T38" fmla="*/ 201 w 353"/>
                <a:gd name="T39" fmla="*/ 192 h 353"/>
                <a:gd name="T40" fmla="*/ 201 w 353"/>
                <a:gd name="T41" fmla="*/ 208 h 353"/>
                <a:gd name="T42" fmla="*/ 193 w 353"/>
                <a:gd name="T43" fmla="*/ 16 h 353"/>
                <a:gd name="T44" fmla="*/ 161 w 353"/>
                <a:gd name="T45" fmla="*/ 16 h 353"/>
                <a:gd name="T46" fmla="*/ 0 w 353"/>
                <a:gd name="T47" fmla="*/ 32 h 353"/>
                <a:gd name="T48" fmla="*/ 16 w 353"/>
                <a:gd name="T49" fmla="*/ 64 h 353"/>
                <a:gd name="T50" fmla="*/ 32 w 353"/>
                <a:gd name="T51" fmla="*/ 273 h 353"/>
                <a:gd name="T52" fmla="*/ 169 w 353"/>
                <a:gd name="T53" fmla="*/ 293 h 353"/>
                <a:gd name="T54" fmla="*/ 121 w 353"/>
                <a:gd name="T55" fmla="*/ 345 h 353"/>
                <a:gd name="T56" fmla="*/ 134 w 353"/>
                <a:gd name="T57" fmla="*/ 351 h 353"/>
                <a:gd name="T58" fmla="*/ 219 w 353"/>
                <a:gd name="T59" fmla="*/ 351 h 353"/>
                <a:gd name="T60" fmla="*/ 233 w 353"/>
                <a:gd name="T61" fmla="*/ 345 h 353"/>
                <a:gd name="T62" fmla="*/ 185 w 353"/>
                <a:gd name="T63" fmla="*/ 293 h 353"/>
                <a:gd name="T64" fmla="*/ 321 w 353"/>
                <a:gd name="T65" fmla="*/ 273 h 353"/>
                <a:gd name="T66" fmla="*/ 337 w 353"/>
                <a:gd name="T67" fmla="*/ 64 h 353"/>
                <a:gd name="T68" fmla="*/ 353 w 353"/>
                <a:gd name="T69" fmla="*/ 32 h 353"/>
                <a:gd name="T70" fmla="*/ 321 w 353"/>
                <a:gd name="T71" fmla="*/ 257 h 353"/>
                <a:gd name="T72" fmla="*/ 32 w 353"/>
                <a:gd name="T73" fmla="*/ 64 h 353"/>
                <a:gd name="T74" fmla="*/ 321 w 353"/>
                <a:gd name="T75" fmla="*/ 257 h 353"/>
                <a:gd name="T76" fmla="*/ 16 w 353"/>
                <a:gd name="T77" fmla="*/ 48 h 353"/>
                <a:gd name="T78" fmla="*/ 337 w 353"/>
                <a:gd name="T79" fmla="*/ 3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53">
                  <a:moveTo>
                    <a:pt x="201" y="144"/>
                  </a:moveTo>
                  <a:cubicBezTo>
                    <a:pt x="281" y="144"/>
                    <a:pt x="281" y="144"/>
                    <a:pt x="281" y="144"/>
                  </a:cubicBezTo>
                  <a:cubicBezTo>
                    <a:pt x="286" y="144"/>
                    <a:pt x="289" y="141"/>
                    <a:pt x="289" y="136"/>
                  </a:cubicBezTo>
                  <a:cubicBezTo>
                    <a:pt x="289" y="132"/>
                    <a:pt x="286" y="128"/>
                    <a:pt x="281" y="128"/>
                  </a:cubicBezTo>
                  <a:cubicBezTo>
                    <a:pt x="201" y="128"/>
                    <a:pt x="201" y="128"/>
                    <a:pt x="201" y="128"/>
                  </a:cubicBezTo>
                  <a:cubicBezTo>
                    <a:pt x="196" y="128"/>
                    <a:pt x="193" y="132"/>
                    <a:pt x="193" y="136"/>
                  </a:cubicBezTo>
                  <a:cubicBezTo>
                    <a:pt x="193" y="141"/>
                    <a:pt x="196" y="144"/>
                    <a:pt x="201" y="144"/>
                  </a:cubicBezTo>
                  <a:moveTo>
                    <a:pt x="201" y="112"/>
                  </a:moveTo>
                  <a:cubicBezTo>
                    <a:pt x="249" y="112"/>
                    <a:pt x="249" y="112"/>
                    <a:pt x="249" y="112"/>
                  </a:cubicBezTo>
                  <a:cubicBezTo>
                    <a:pt x="254" y="112"/>
                    <a:pt x="257" y="108"/>
                    <a:pt x="257" y="104"/>
                  </a:cubicBezTo>
                  <a:cubicBezTo>
                    <a:pt x="257" y="100"/>
                    <a:pt x="254" y="96"/>
                    <a:pt x="249" y="96"/>
                  </a:cubicBezTo>
                  <a:cubicBezTo>
                    <a:pt x="201" y="96"/>
                    <a:pt x="201" y="96"/>
                    <a:pt x="201" y="96"/>
                  </a:cubicBezTo>
                  <a:cubicBezTo>
                    <a:pt x="196" y="96"/>
                    <a:pt x="193" y="100"/>
                    <a:pt x="193" y="104"/>
                  </a:cubicBezTo>
                  <a:cubicBezTo>
                    <a:pt x="193" y="108"/>
                    <a:pt x="196" y="112"/>
                    <a:pt x="201" y="112"/>
                  </a:cubicBezTo>
                  <a:moveTo>
                    <a:pt x="201" y="176"/>
                  </a:moveTo>
                  <a:cubicBezTo>
                    <a:pt x="233" y="176"/>
                    <a:pt x="233" y="176"/>
                    <a:pt x="233" y="176"/>
                  </a:cubicBezTo>
                  <a:cubicBezTo>
                    <a:pt x="237" y="176"/>
                    <a:pt x="241" y="173"/>
                    <a:pt x="241" y="168"/>
                  </a:cubicBezTo>
                  <a:cubicBezTo>
                    <a:pt x="241" y="164"/>
                    <a:pt x="237" y="160"/>
                    <a:pt x="233" y="160"/>
                  </a:cubicBezTo>
                  <a:cubicBezTo>
                    <a:pt x="201" y="160"/>
                    <a:pt x="201" y="160"/>
                    <a:pt x="201" y="160"/>
                  </a:cubicBezTo>
                  <a:cubicBezTo>
                    <a:pt x="196" y="160"/>
                    <a:pt x="193" y="164"/>
                    <a:pt x="193" y="168"/>
                  </a:cubicBezTo>
                  <a:cubicBezTo>
                    <a:pt x="193" y="173"/>
                    <a:pt x="196" y="176"/>
                    <a:pt x="201" y="176"/>
                  </a:cubicBezTo>
                  <a:moveTo>
                    <a:pt x="81" y="208"/>
                  </a:moveTo>
                  <a:cubicBezTo>
                    <a:pt x="145" y="208"/>
                    <a:pt x="145" y="208"/>
                    <a:pt x="145" y="208"/>
                  </a:cubicBezTo>
                  <a:cubicBezTo>
                    <a:pt x="154" y="208"/>
                    <a:pt x="161" y="201"/>
                    <a:pt x="161" y="192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103"/>
                    <a:pt x="154" y="96"/>
                    <a:pt x="145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72" y="96"/>
                    <a:pt x="64" y="103"/>
                    <a:pt x="64" y="11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64" y="201"/>
                    <a:pt x="72" y="208"/>
                    <a:pt x="81" y="208"/>
                  </a:cubicBezTo>
                  <a:moveTo>
                    <a:pt x="81" y="112"/>
                  </a:moveTo>
                  <a:cubicBezTo>
                    <a:pt x="145" y="112"/>
                    <a:pt x="145" y="112"/>
                    <a:pt x="145" y="112"/>
                  </a:cubicBezTo>
                  <a:cubicBezTo>
                    <a:pt x="145" y="192"/>
                    <a:pt x="145" y="192"/>
                    <a:pt x="145" y="192"/>
                  </a:cubicBezTo>
                  <a:cubicBezTo>
                    <a:pt x="81" y="192"/>
                    <a:pt x="81" y="192"/>
                    <a:pt x="81" y="192"/>
                  </a:cubicBezTo>
                  <a:lnTo>
                    <a:pt x="81" y="112"/>
                  </a:lnTo>
                  <a:close/>
                  <a:moveTo>
                    <a:pt x="201" y="208"/>
                  </a:moveTo>
                  <a:cubicBezTo>
                    <a:pt x="281" y="208"/>
                    <a:pt x="281" y="208"/>
                    <a:pt x="281" y="208"/>
                  </a:cubicBezTo>
                  <a:cubicBezTo>
                    <a:pt x="286" y="208"/>
                    <a:pt x="289" y="205"/>
                    <a:pt x="289" y="200"/>
                  </a:cubicBezTo>
                  <a:cubicBezTo>
                    <a:pt x="289" y="196"/>
                    <a:pt x="286" y="192"/>
                    <a:pt x="281" y="192"/>
                  </a:cubicBezTo>
                  <a:cubicBezTo>
                    <a:pt x="201" y="192"/>
                    <a:pt x="201" y="192"/>
                    <a:pt x="201" y="192"/>
                  </a:cubicBezTo>
                  <a:cubicBezTo>
                    <a:pt x="196" y="192"/>
                    <a:pt x="193" y="196"/>
                    <a:pt x="193" y="200"/>
                  </a:cubicBezTo>
                  <a:cubicBezTo>
                    <a:pt x="193" y="205"/>
                    <a:pt x="196" y="208"/>
                    <a:pt x="201" y="208"/>
                  </a:cubicBezTo>
                  <a:moveTo>
                    <a:pt x="337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7"/>
                    <a:pt x="186" y="0"/>
                    <a:pt x="177" y="0"/>
                  </a:cubicBezTo>
                  <a:cubicBezTo>
                    <a:pt x="168" y="0"/>
                    <a:pt x="161" y="7"/>
                    <a:pt x="161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7" y="16"/>
                    <a:pt x="0" y="23"/>
                    <a:pt x="0" y="3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7"/>
                    <a:pt x="7" y="64"/>
                    <a:pt x="16" y="64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16" y="265"/>
                    <a:pt x="23" y="273"/>
                    <a:pt x="32" y="273"/>
                  </a:cubicBezTo>
                  <a:cubicBezTo>
                    <a:pt x="169" y="273"/>
                    <a:pt x="169" y="273"/>
                    <a:pt x="169" y="273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123" y="339"/>
                    <a:pt x="123" y="339"/>
                    <a:pt x="123" y="339"/>
                  </a:cubicBezTo>
                  <a:cubicBezTo>
                    <a:pt x="122" y="341"/>
                    <a:pt x="121" y="343"/>
                    <a:pt x="121" y="345"/>
                  </a:cubicBezTo>
                  <a:cubicBezTo>
                    <a:pt x="121" y="349"/>
                    <a:pt x="124" y="353"/>
                    <a:pt x="129" y="353"/>
                  </a:cubicBezTo>
                  <a:cubicBezTo>
                    <a:pt x="131" y="353"/>
                    <a:pt x="133" y="352"/>
                    <a:pt x="134" y="351"/>
                  </a:cubicBezTo>
                  <a:cubicBezTo>
                    <a:pt x="177" y="308"/>
                    <a:pt x="177" y="308"/>
                    <a:pt x="177" y="308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21" y="352"/>
                    <a:pt x="223" y="353"/>
                    <a:pt x="225" y="353"/>
                  </a:cubicBezTo>
                  <a:cubicBezTo>
                    <a:pt x="229" y="353"/>
                    <a:pt x="233" y="349"/>
                    <a:pt x="233" y="345"/>
                  </a:cubicBezTo>
                  <a:cubicBezTo>
                    <a:pt x="233" y="343"/>
                    <a:pt x="232" y="341"/>
                    <a:pt x="231" y="339"/>
                  </a:cubicBezTo>
                  <a:cubicBezTo>
                    <a:pt x="185" y="293"/>
                    <a:pt x="185" y="293"/>
                    <a:pt x="185" y="293"/>
                  </a:cubicBezTo>
                  <a:cubicBezTo>
                    <a:pt x="185" y="273"/>
                    <a:pt x="185" y="273"/>
                    <a:pt x="185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65"/>
                    <a:pt x="337" y="257"/>
                  </a:cubicBezTo>
                  <a:cubicBezTo>
                    <a:pt x="337" y="64"/>
                    <a:pt x="337" y="64"/>
                    <a:pt x="337" y="64"/>
                  </a:cubicBezTo>
                  <a:cubicBezTo>
                    <a:pt x="346" y="64"/>
                    <a:pt x="353" y="57"/>
                    <a:pt x="353" y="48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23"/>
                    <a:pt x="346" y="16"/>
                    <a:pt x="337" y="16"/>
                  </a:cubicBezTo>
                  <a:moveTo>
                    <a:pt x="321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1" y="64"/>
                    <a:pt x="321" y="64"/>
                    <a:pt x="321" y="64"/>
                  </a:cubicBezTo>
                  <a:lnTo>
                    <a:pt x="321" y="257"/>
                  </a:lnTo>
                  <a:close/>
                  <a:moveTo>
                    <a:pt x="33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37" y="32"/>
                    <a:pt x="337" y="32"/>
                    <a:pt x="337" y="32"/>
                  </a:cubicBezTo>
                  <a:lnTo>
                    <a:pt x="337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9" name="Freeform 45"/>
            <p:cNvSpPr>
              <a:spLocks noEditPoints="1"/>
            </p:cNvSpPr>
            <p:nvPr/>
          </p:nvSpPr>
          <p:spPr bwMode="auto">
            <a:xfrm>
              <a:off x="3584164" y="2466779"/>
              <a:ext cx="304289" cy="304289"/>
            </a:xfrm>
            <a:custGeom>
              <a:avLst/>
              <a:gdLst>
                <a:gd name="T0" fmla="*/ 160 w 353"/>
                <a:gd name="T1" fmla="*/ 177 h 353"/>
                <a:gd name="T2" fmla="*/ 193 w 353"/>
                <a:gd name="T3" fmla="*/ 177 h 353"/>
                <a:gd name="T4" fmla="*/ 353 w 353"/>
                <a:gd name="T5" fmla="*/ 177 h 353"/>
                <a:gd name="T6" fmla="*/ 301 w 353"/>
                <a:gd name="T7" fmla="*/ 52 h 353"/>
                <a:gd name="T8" fmla="*/ 177 w 353"/>
                <a:gd name="T9" fmla="*/ 0 h 353"/>
                <a:gd name="T10" fmla="*/ 52 w 353"/>
                <a:gd name="T11" fmla="*/ 52 h 353"/>
                <a:gd name="T12" fmla="*/ 0 w 353"/>
                <a:gd name="T13" fmla="*/ 177 h 353"/>
                <a:gd name="T14" fmla="*/ 52 w 353"/>
                <a:gd name="T15" fmla="*/ 302 h 353"/>
                <a:gd name="T16" fmla="*/ 177 w 353"/>
                <a:gd name="T17" fmla="*/ 353 h 353"/>
                <a:gd name="T18" fmla="*/ 301 w 353"/>
                <a:gd name="T19" fmla="*/ 302 h 353"/>
                <a:gd name="T20" fmla="*/ 353 w 353"/>
                <a:gd name="T21" fmla="*/ 177 h 353"/>
                <a:gd name="T22" fmla="*/ 67 w 353"/>
                <a:gd name="T23" fmla="*/ 141 h 353"/>
                <a:gd name="T24" fmla="*/ 67 w 353"/>
                <a:gd name="T25" fmla="*/ 212 h 353"/>
                <a:gd name="T26" fmla="*/ 113 w 353"/>
                <a:gd name="T27" fmla="*/ 150 h 353"/>
                <a:gd name="T28" fmla="*/ 82 w 353"/>
                <a:gd name="T29" fmla="*/ 138 h 353"/>
                <a:gd name="T30" fmla="*/ 113 w 353"/>
                <a:gd name="T31" fmla="*/ 150 h 353"/>
                <a:gd name="T32" fmla="*/ 82 w 353"/>
                <a:gd name="T33" fmla="*/ 216 h 353"/>
                <a:gd name="T34" fmla="*/ 113 w 353"/>
                <a:gd name="T35" fmla="*/ 203 h 353"/>
                <a:gd name="T36" fmla="*/ 63 w 353"/>
                <a:gd name="T37" fmla="*/ 290 h 353"/>
                <a:gd name="T38" fmla="*/ 116 w 353"/>
                <a:gd name="T39" fmla="*/ 237 h 353"/>
                <a:gd name="T40" fmla="*/ 63 w 353"/>
                <a:gd name="T41" fmla="*/ 290 h 353"/>
                <a:gd name="T42" fmla="*/ 74 w 353"/>
                <a:gd name="T43" fmla="*/ 124 h 353"/>
                <a:gd name="T44" fmla="*/ 124 w 353"/>
                <a:gd name="T45" fmla="*/ 75 h 353"/>
                <a:gd name="T46" fmla="*/ 221 w 353"/>
                <a:gd name="T47" fmla="*/ 115 h 353"/>
                <a:gd name="T48" fmla="*/ 189 w 353"/>
                <a:gd name="T49" fmla="*/ 101 h 353"/>
                <a:gd name="T50" fmla="*/ 221 w 353"/>
                <a:gd name="T51" fmla="*/ 115 h 353"/>
                <a:gd name="T52" fmla="*/ 212 w 353"/>
                <a:gd name="T53" fmla="*/ 67 h 353"/>
                <a:gd name="T54" fmla="*/ 141 w 353"/>
                <a:gd name="T55" fmla="*/ 67 h 353"/>
                <a:gd name="T56" fmla="*/ 138 w 353"/>
                <a:gd name="T57" fmla="*/ 83 h 353"/>
                <a:gd name="T58" fmla="*/ 150 w 353"/>
                <a:gd name="T59" fmla="*/ 113 h 353"/>
                <a:gd name="T60" fmla="*/ 138 w 353"/>
                <a:gd name="T61" fmla="*/ 83 h 353"/>
                <a:gd name="T62" fmla="*/ 150 w 353"/>
                <a:gd name="T63" fmla="*/ 240 h 353"/>
                <a:gd name="T64" fmla="*/ 138 w 353"/>
                <a:gd name="T65" fmla="*/ 271 h 353"/>
                <a:gd name="T66" fmla="*/ 177 w 353"/>
                <a:gd name="T67" fmla="*/ 337 h 353"/>
                <a:gd name="T68" fmla="*/ 176 w 353"/>
                <a:gd name="T69" fmla="*/ 262 h 353"/>
                <a:gd name="T70" fmla="*/ 177 w 353"/>
                <a:gd name="T71" fmla="*/ 337 h 353"/>
                <a:gd name="T72" fmla="*/ 189 w 353"/>
                <a:gd name="T73" fmla="*/ 252 h 353"/>
                <a:gd name="T74" fmla="*/ 221 w 353"/>
                <a:gd name="T75" fmla="*/ 239 h 353"/>
                <a:gd name="T76" fmla="*/ 224 w 353"/>
                <a:gd name="T77" fmla="*/ 196 h 353"/>
                <a:gd name="T78" fmla="*/ 196 w 353"/>
                <a:gd name="T79" fmla="*/ 224 h 353"/>
                <a:gd name="T80" fmla="*/ 157 w 353"/>
                <a:gd name="T81" fmla="*/ 224 h 353"/>
                <a:gd name="T82" fmla="*/ 129 w 353"/>
                <a:gd name="T83" fmla="*/ 196 h 353"/>
                <a:gd name="T84" fmla="*/ 129 w 353"/>
                <a:gd name="T85" fmla="*/ 157 h 353"/>
                <a:gd name="T86" fmla="*/ 157 w 353"/>
                <a:gd name="T87" fmla="*/ 129 h 353"/>
                <a:gd name="T88" fmla="*/ 196 w 353"/>
                <a:gd name="T89" fmla="*/ 129 h 353"/>
                <a:gd name="T90" fmla="*/ 224 w 353"/>
                <a:gd name="T91" fmla="*/ 157 h 353"/>
                <a:gd name="T92" fmla="*/ 224 w 353"/>
                <a:gd name="T93" fmla="*/ 196 h 353"/>
                <a:gd name="T94" fmla="*/ 279 w 353"/>
                <a:gd name="T95" fmla="*/ 124 h 353"/>
                <a:gd name="T96" fmla="*/ 229 w 353"/>
                <a:gd name="T97" fmla="*/ 75 h 353"/>
                <a:gd name="T98" fmla="*/ 252 w 353"/>
                <a:gd name="T99" fmla="*/ 164 h 353"/>
                <a:gd name="T100" fmla="*/ 239 w 353"/>
                <a:gd name="T101" fmla="*/ 132 h 353"/>
                <a:gd name="T102" fmla="*/ 252 w 353"/>
                <a:gd name="T103" fmla="*/ 164 h 353"/>
                <a:gd name="T104" fmla="*/ 271 w 353"/>
                <a:gd name="T105" fmla="*/ 216 h 353"/>
                <a:gd name="T106" fmla="*/ 240 w 353"/>
                <a:gd name="T107" fmla="*/ 203 h 353"/>
                <a:gd name="T108" fmla="*/ 290 w 353"/>
                <a:gd name="T109" fmla="*/ 290 h 353"/>
                <a:gd name="T110" fmla="*/ 237 w 353"/>
                <a:gd name="T111" fmla="*/ 237 h 353"/>
                <a:gd name="T112" fmla="*/ 290 w 353"/>
                <a:gd name="T113" fmla="*/ 290 h 353"/>
                <a:gd name="T114" fmla="*/ 262 w 353"/>
                <a:gd name="T115" fmla="*/ 177 h 353"/>
                <a:gd name="T116" fmla="*/ 337 w 353"/>
                <a:gd name="T117" fmla="*/ 17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53" h="353">
                  <a:moveTo>
                    <a:pt x="177" y="161"/>
                  </a:moveTo>
                  <a:cubicBezTo>
                    <a:pt x="168" y="161"/>
                    <a:pt x="160" y="168"/>
                    <a:pt x="160" y="177"/>
                  </a:cubicBezTo>
                  <a:cubicBezTo>
                    <a:pt x="160" y="185"/>
                    <a:pt x="168" y="193"/>
                    <a:pt x="177" y="193"/>
                  </a:cubicBezTo>
                  <a:cubicBezTo>
                    <a:pt x="185" y="193"/>
                    <a:pt x="193" y="185"/>
                    <a:pt x="193" y="177"/>
                  </a:cubicBezTo>
                  <a:cubicBezTo>
                    <a:pt x="193" y="168"/>
                    <a:pt x="185" y="161"/>
                    <a:pt x="177" y="161"/>
                  </a:cubicBezTo>
                  <a:moveTo>
                    <a:pt x="353" y="177"/>
                  </a:moveTo>
                  <a:cubicBezTo>
                    <a:pt x="353" y="157"/>
                    <a:pt x="330" y="140"/>
                    <a:pt x="293" y="128"/>
                  </a:cubicBezTo>
                  <a:cubicBezTo>
                    <a:pt x="311" y="94"/>
                    <a:pt x="315" y="65"/>
                    <a:pt x="301" y="52"/>
                  </a:cubicBezTo>
                  <a:cubicBezTo>
                    <a:pt x="288" y="38"/>
                    <a:pt x="259" y="42"/>
                    <a:pt x="225" y="60"/>
                  </a:cubicBezTo>
                  <a:cubicBezTo>
                    <a:pt x="213" y="23"/>
                    <a:pt x="196" y="0"/>
                    <a:pt x="177" y="0"/>
                  </a:cubicBezTo>
                  <a:cubicBezTo>
                    <a:pt x="157" y="0"/>
                    <a:pt x="140" y="23"/>
                    <a:pt x="128" y="60"/>
                  </a:cubicBezTo>
                  <a:cubicBezTo>
                    <a:pt x="94" y="42"/>
                    <a:pt x="65" y="38"/>
                    <a:pt x="52" y="52"/>
                  </a:cubicBezTo>
                  <a:cubicBezTo>
                    <a:pt x="38" y="65"/>
                    <a:pt x="42" y="94"/>
                    <a:pt x="60" y="128"/>
                  </a:cubicBezTo>
                  <a:cubicBezTo>
                    <a:pt x="23" y="140"/>
                    <a:pt x="0" y="157"/>
                    <a:pt x="0" y="177"/>
                  </a:cubicBezTo>
                  <a:cubicBezTo>
                    <a:pt x="0" y="196"/>
                    <a:pt x="23" y="213"/>
                    <a:pt x="60" y="225"/>
                  </a:cubicBezTo>
                  <a:cubicBezTo>
                    <a:pt x="42" y="259"/>
                    <a:pt x="38" y="288"/>
                    <a:pt x="52" y="302"/>
                  </a:cubicBezTo>
                  <a:cubicBezTo>
                    <a:pt x="65" y="315"/>
                    <a:pt x="94" y="311"/>
                    <a:pt x="128" y="293"/>
                  </a:cubicBezTo>
                  <a:cubicBezTo>
                    <a:pt x="140" y="330"/>
                    <a:pt x="157" y="353"/>
                    <a:pt x="177" y="353"/>
                  </a:cubicBezTo>
                  <a:cubicBezTo>
                    <a:pt x="196" y="353"/>
                    <a:pt x="213" y="330"/>
                    <a:pt x="225" y="293"/>
                  </a:cubicBezTo>
                  <a:cubicBezTo>
                    <a:pt x="259" y="311"/>
                    <a:pt x="288" y="315"/>
                    <a:pt x="301" y="302"/>
                  </a:cubicBezTo>
                  <a:cubicBezTo>
                    <a:pt x="315" y="288"/>
                    <a:pt x="311" y="259"/>
                    <a:pt x="293" y="225"/>
                  </a:cubicBezTo>
                  <a:cubicBezTo>
                    <a:pt x="330" y="213"/>
                    <a:pt x="353" y="196"/>
                    <a:pt x="353" y="177"/>
                  </a:cubicBezTo>
                  <a:moveTo>
                    <a:pt x="16" y="177"/>
                  </a:moveTo>
                  <a:cubicBezTo>
                    <a:pt x="16" y="163"/>
                    <a:pt x="36" y="150"/>
                    <a:pt x="67" y="141"/>
                  </a:cubicBezTo>
                  <a:cubicBezTo>
                    <a:pt x="74" y="153"/>
                    <a:pt x="82" y="165"/>
                    <a:pt x="91" y="177"/>
                  </a:cubicBezTo>
                  <a:cubicBezTo>
                    <a:pt x="82" y="189"/>
                    <a:pt x="74" y="201"/>
                    <a:pt x="67" y="212"/>
                  </a:cubicBezTo>
                  <a:cubicBezTo>
                    <a:pt x="36" y="203"/>
                    <a:pt x="16" y="191"/>
                    <a:pt x="16" y="177"/>
                  </a:cubicBezTo>
                  <a:moveTo>
                    <a:pt x="113" y="150"/>
                  </a:moveTo>
                  <a:cubicBezTo>
                    <a:pt x="109" y="155"/>
                    <a:pt x="105" y="160"/>
                    <a:pt x="101" y="164"/>
                  </a:cubicBezTo>
                  <a:cubicBezTo>
                    <a:pt x="94" y="155"/>
                    <a:pt x="88" y="146"/>
                    <a:pt x="82" y="138"/>
                  </a:cubicBezTo>
                  <a:cubicBezTo>
                    <a:pt x="92" y="135"/>
                    <a:pt x="103" y="134"/>
                    <a:pt x="114" y="132"/>
                  </a:cubicBezTo>
                  <a:cubicBezTo>
                    <a:pt x="114" y="138"/>
                    <a:pt x="113" y="144"/>
                    <a:pt x="113" y="150"/>
                  </a:cubicBezTo>
                  <a:moveTo>
                    <a:pt x="114" y="221"/>
                  </a:moveTo>
                  <a:cubicBezTo>
                    <a:pt x="103" y="220"/>
                    <a:pt x="92" y="218"/>
                    <a:pt x="82" y="216"/>
                  </a:cubicBezTo>
                  <a:cubicBezTo>
                    <a:pt x="88" y="207"/>
                    <a:pt x="94" y="198"/>
                    <a:pt x="101" y="189"/>
                  </a:cubicBezTo>
                  <a:cubicBezTo>
                    <a:pt x="105" y="194"/>
                    <a:pt x="109" y="198"/>
                    <a:pt x="113" y="203"/>
                  </a:cubicBezTo>
                  <a:cubicBezTo>
                    <a:pt x="113" y="209"/>
                    <a:pt x="114" y="215"/>
                    <a:pt x="114" y="221"/>
                  </a:cubicBezTo>
                  <a:moveTo>
                    <a:pt x="63" y="290"/>
                  </a:moveTo>
                  <a:cubicBezTo>
                    <a:pt x="53" y="280"/>
                    <a:pt x="58" y="257"/>
                    <a:pt x="74" y="229"/>
                  </a:cubicBezTo>
                  <a:cubicBezTo>
                    <a:pt x="87" y="232"/>
                    <a:pt x="101" y="235"/>
                    <a:pt x="116" y="237"/>
                  </a:cubicBezTo>
                  <a:cubicBezTo>
                    <a:pt x="118" y="252"/>
                    <a:pt x="121" y="266"/>
                    <a:pt x="124" y="279"/>
                  </a:cubicBezTo>
                  <a:cubicBezTo>
                    <a:pt x="96" y="295"/>
                    <a:pt x="73" y="300"/>
                    <a:pt x="63" y="290"/>
                  </a:cubicBezTo>
                  <a:moveTo>
                    <a:pt x="116" y="116"/>
                  </a:moveTo>
                  <a:cubicBezTo>
                    <a:pt x="101" y="118"/>
                    <a:pt x="87" y="121"/>
                    <a:pt x="74" y="124"/>
                  </a:cubicBezTo>
                  <a:cubicBezTo>
                    <a:pt x="58" y="96"/>
                    <a:pt x="53" y="73"/>
                    <a:pt x="63" y="63"/>
                  </a:cubicBezTo>
                  <a:cubicBezTo>
                    <a:pt x="73" y="53"/>
                    <a:pt x="96" y="58"/>
                    <a:pt x="124" y="75"/>
                  </a:cubicBezTo>
                  <a:cubicBezTo>
                    <a:pt x="121" y="87"/>
                    <a:pt x="118" y="101"/>
                    <a:pt x="116" y="116"/>
                  </a:cubicBezTo>
                  <a:moveTo>
                    <a:pt x="221" y="115"/>
                  </a:moveTo>
                  <a:cubicBezTo>
                    <a:pt x="215" y="114"/>
                    <a:pt x="209" y="114"/>
                    <a:pt x="203" y="113"/>
                  </a:cubicBezTo>
                  <a:cubicBezTo>
                    <a:pt x="198" y="109"/>
                    <a:pt x="194" y="105"/>
                    <a:pt x="189" y="101"/>
                  </a:cubicBezTo>
                  <a:cubicBezTo>
                    <a:pt x="198" y="94"/>
                    <a:pt x="207" y="88"/>
                    <a:pt x="216" y="83"/>
                  </a:cubicBezTo>
                  <a:cubicBezTo>
                    <a:pt x="218" y="92"/>
                    <a:pt x="219" y="103"/>
                    <a:pt x="221" y="115"/>
                  </a:cubicBezTo>
                  <a:moveTo>
                    <a:pt x="177" y="16"/>
                  </a:moveTo>
                  <a:cubicBezTo>
                    <a:pt x="190" y="16"/>
                    <a:pt x="203" y="36"/>
                    <a:pt x="212" y="67"/>
                  </a:cubicBezTo>
                  <a:cubicBezTo>
                    <a:pt x="200" y="74"/>
                    <a:pt x="189" y="82"/>
                    <a:pt x="177" y="91"/>
                  </a:cubicBezTo>
                  <a:cubicBezTo>
                    <a:pt x="165" y="82"/>
                    <a:pt x="153" y="74"/>
                    <a:pt x="141" y="67"/>
                  </a:cubicBezTo>
                  <a:cubicBezTo>
                    <a:pt x="150" y="36"/>
                    <a:pt x="163" y="16"/>
                    <a:pt x="177" y="16"/>
                  </a:cubicBezTo>
                  <a:moveTo>
                    <a:pt x="138" y="83"/>
                  </a:moveTo>
                  <a:cubicBezTo>
                    <a:pt x="146" y="88"/>
                    <a:pt x="155" y="94"/>
                    <a:pt x="164" y="101"/>
                  </a:cubicBezTo>
                  <a:cubicBezTo>
                    <a:pt x="159" y="105"/>
                    <a:pt x="155" y="109"/>
                    <a:pt x="150" y="113"/>
                  </a:cubicBezTo>
                  <a:cubicBezTo>
                    <a:pt x="144" y="114"/>
                    <a:pt x="138" y="114"/>
                    <a:pt x="132" y="115"/>
                  </a:cubicBezTo>
                  <a:cubicBezTo>
                    <a:pt x="134" y="103"/>
                    <a:pt x="135" y="92"/>
                    <a:pt x="138" y="83"/>
                  </a:cubicBezTo>
                  <a:moveTo>
                    <a:pt x="132" y="239"/>
                  </a:moveTo>
                  <a:cubicBezTo>
                    <a:pt x="138" y="239"/>
                    <a:pt x="144" y="240"/>
                    <a:pt x="150" y="240"/>
                  </a:cubicBezTo>
                  <a:cubicBezTo>
                    <a:pt x="155" y="244"/>
                    <a:pt x="159" y="248"/>
                    <a:pt x="164" y="252"/>
                  </a:cubicBezTo>
                  <a:cubicBezTo>
                    <a:pt x="155" y="259"/>
                    <a:pt x="146" y="265"/>
                    <a:pt x="138" y="271"/>
                  </a:cubicBezTo>
                  <a:cubicBezTo>
                    <a:pt x="135" y="261"/>
                    <a:pt x="134" y="250"/>
                    <a:pt x="132" y="239"/>
                  </a:cubicBezTo>
                  <a:moveTo>
                    <a:pt x="177" y="337"/>
                  </a:moveTo>
                  <a:cubicBezTo>
                    <a:pt x="163" y="337"/>
                    <a:pt x="150" y="317"/>
                    <a:pt x="141" y="286"/>
                  </a:cubicBezTo>
                  <a:cubicBezTo>
                    <a:pt x="153" y="279"/>
                    <a:pt x="164" y="271"/>
                    <a:pt x="176" y="262"/>
                  </a:cubicBezTo>
                  <a:cubicBezTo>
                    <a:pt x="188" y="271"/>
                    <a:pt x="200" y="279"/>
                    <a:pt x="212" y="286"/>
                  </a:cubicBezTo>
                  <a:cubicBezTo>
                    <a:pt x="203" y="317"/>
                    <a:pt x="190" y="337"/>
                    <a:pt x="177" y="337"/>
                  </a:cubicBezTo>
                  <a:moveTo>
                    <a:pt x="216" y="271"/>
                  </a:moveTo>
                  <a:cubicBezTo>
                    <a:pt x="207" y="265"/>
                    <a:pt x="198" y="259"/>
                    <a:pt x="189" y="252"/>
                  </a:cubicBezTo>
                  <a:cubicBezTo>
                    <a:pt x="194" y="248"/>
                    <a:pt x="198" y="244"/>
                    <a:pt x="203" y="240"/>
                  </a:cubicBezTo>
                  <a:cubicBezTo>
                    <a:pt x="209" y="240"/>
                    <a:pt x="215" y="239"/>
                    <a:pt x="221" y="239"/>
                  </a:cubicBezTo>
                  <a:cubicBezTo>
                    <a:pt x="219" y="250"/>
                    <a:pt x="218" y="261"/>
                    <a:pt x="216" y="271"/>
                  </a:cubicBezTo>
                  <a:moveTo>
                    <a:pt x="224" y="196"/>
                  </a:moveTo>
                  <a:cubicBezTo>
                    <a:pt x="220" y="201"/>
                    <a:pt x="215" y="206"/>
                    <a:pt x="211" y="211"/>
                  </a:cubicBezTo>
                  <a:cubicBezTo>
                    <a:pt x="206" y="215"/>
                    <a:pt x="201" y="220"/>
                    <a:pt x="196" y="224"/>
                  </a:cubicBezTo>
                  <a:cubicBezTo>
                    <a:pt x="190" y="225"/>
                    <a:pt x="183" y="225"/>
                    <a:pt x="177" y="225"/>
                  </a:cubicBezTo>
                  <a:cubicBezTo>
                    <a:pt x="170" y="225"/>
                    <a:pt x="163" y="225"/>
                    <a:pt x="157" y="224"/>
                  </a:cubicBezTo>
                  <a:cubicBezTo>
                    <a:pt x="152" y="220"/>
                    <a:pt x="147" y="215"/>
                    <a:pt x="142" y="211"/>
                  </a:cubicBezTo>
                  <a:cubicBezTo>
                    <a:pt x="138" y="206"/>
                    <a:pt x="133" y="201"/>
                    <a:pt x="129" y="196"/>
                  </a:cubicBezTo>
                  <a:cubicBezTo>
                    <a:pt x="129" y="190"/>
                    <a:pt x="128" y="183"/>
                    <a:pt x="128" y="177"/>
                  </a:cubicBezTo>
                  <a:cubicBezTo>
                    <a:pt x="128" y="170"/>
                    <a:pt x="129" y="163"/>
                    <a:pt x="129" y="157"/>
                  </a:cubicBezTo>
                  <a:cubicBezTo>
                    <a:pt x="133" y="152"/>
                    <a:pt x="138" y="147"/>
                    <a:pt x="142" y="143"/>
                  </a:cubicBezTo>
                  <a:cubicBezTo>
                    <a:pt x="147" y="138"/>
                    <a:pt x="152" y="133"/>
                    <a:pt x="157" y="129"/>
                  </a:cubicBezTo>
                  <a:cubicBezTo>
                    <a:pt x="163" y="129"/>
                    <a:pt x="170" y="128"/>
                    <a:pt x="177" y="128"/>
                  </a:cubicBezTo>
                  <a:cubicBezTo>
                    <a:pt x="183" y="128"/>
                    <a:pt x="190" y="129"/>
                    <a:pt x="196" y="129"/>
                  </a:cubicBezTo>
                  <a:cubicBezTo>
                    <a:pt x="201" y="133"/>
                    <a:pt x="206" y="138"/>
                    <a:pt x="211" y="143"/>
                  </a:cubicBezTo>
                  <a:cubicBezTo>
                    <a:pt x="215" y="147"/>
                    <a:pt x="220" y="152"/>
                    <a:pt x="224" y="157"/>
                  </a:cubicBezTo>
                  <a:cubicBezTo>
                    <a:pt x="224" y="163"/>
                    <a:pt x="225" y="170"/>
                    <a:pt x="225" y="177"/>
                  </a:cubicBezTo>
                  <a:cubicBezTo>
                    <a:pt x="225" y="183"/>
                    <a:pt x="224" y="190"/>
                    <a:pt x="224" y="196"/>
                  </a:cubicBezTo>
                  <a:moveTo>
                    <a:pt x="290" y="63"/>
                  </a:moveTo>
                  <a:cubicBezTo>
                    <a:pt x="300" y="73"/>
                    <a:pt x="295" y="96"/>
                    <a:pt x="279" y="124"/>
                  </a:cubicBezTo>
                  <a:cubicBezTo>
                    <a:pt x="266" y="121"/>
                    <a:pt x="252" y="118"/>
                    <a:pt x="237" y="116"/>
                  </a:cubicBezTo>
                  <a:cubicBezTo>
                    <a:pt x="235" y="101"/>
                    <a:pt x="232" y="87"/>
                    <a:pt x="229" y="75"/>
                  </a:cubicBezTo>
                  <a:cubicBezTo>
                    <a:pt x="257" y="58"/>
                    <a:pt x="280" y="53"/>
                    <a:pt x="290" y="63"/>
                  </a:cubicBezTo>
                  <a:moveTo>
                    <a:pt x="252" y="164"/>
                  </a:moveTo>
                  <a:cubicBezTo>
                    <a:pt x="248" y="159"/>
                    <a:pt x="244" y="155"/>
                    <a:pt x="240" y="150"/>
                  </a:cubicBezTo>
                  <a:cubicBezTo>
                    <a:pt x="240" y="144"/>
                    <a:pt x="239" y="138"/>
                    <a:pt x="239" y="132"/>
                  </a:cubicBezTo>
                  <a:cubicBezTo>
                    <a:pt x="250" y="134"/>
                    <a:pt x="261" y="135"/>
                    <a:pt x="271" y="138"/>
                  </a:cubicBezTo>
                  <a:cubicBezTo>
                    <a:pt x="265" y="146"/>
                    <a:pt x="259" y="155"/>
                    <a:pt x="252" y="164"/>
                  </a:cubicBezTo>
                  <a:moveTo>
                    <a:pt x="252" y="189"/>
                  </a:moveTo>
                  <a:cubicBezTo>
                    <a:pt x="259" y="198"/>
                    <a:pt x="265" y="207"/>
                    <a:pt x="271" y="216"/>
                  </a:cubicBezTo>
                  <a:cubicBezTo>
                    <a:pt x="261" y="218"/>
                    <a:pt x="250" y="220"/>
                    <a:pt x="239" y="221"/>
                  </a:cubicBezTo>
                  <a:cubicBezTo>
                    <a:pt x="239" y="215"/>
                    <a:pt x="240" y="209"/>
                    <a:pt x="240" y="203"/>
                  </a:cubicBezTo>
                  <a:cubicBezTo>
                    <a:pt x="244" y="198"/>
                    <a:pt x="248" y="194"/>
                    <a:pt x="252" y="189"/>
                  </a:cubicBezTo>
                  <a:moveTo>
                    <a:pt x="290" y="290"/>
                  </a:moveTo>
                  <a:cubicBezTo>
                    <a:pt x="280" y="300"/>
                    <a:pt x="257" y="295"/>
                    <a:pt x="229" y="279"/>
                  </a:cubicBezTo>
                  <a:cubicBezTo>
                    <a:pt x="232" y="266"/>
                    <a:pt x="235" y="252"/>
                    <a:pt x="237" y="237"/>
                  </a:cubicBezTo>
                  <a:cubicBezTo>
                    <a:pt x="252" y="235"/>
                    <a:pt x="266" y="232"/>
                    <a:pt x="279" y="229"/>
                  </a:cubicBezTo>
                  <a:cubicBezTo>
                    <a:pt x="295" y="257"/>
                    <a:pt x="300" y="280"/>
                    <a:pt x="290" y="290"/>
                  </a:cubicBezTo>
                  <a:moveTo>
                    <a:pt x="286" y="212"/>
                  </a:moveTo>
                  <a:cubicBezTo>
                    <a:pt x="279" y="200"/>
                    <a:pt x="271" y="189"/>
                    <a:pt x="262" y="177"/>
                  </a:cubicBezTo>
                  <a:cubicBezTo>
                    <a:pt x="271" y="165"/>
                    <a:pt x="279" y="153"/>
                    <a:pt x="286" y="141"/>
                  </a:cubicBezTo>
                  <a:cubicBezTo>
                    <a:pt x="317" y="150"/>
                    <a:pt x="337" y="163"/>
                    <a:pt x="337" y="177"/>
                  </a:cubicBezTo>
                  <a:cubicBezTo>
                    <a:pt x="337" y="191"/>
                    <a:pt x="317" y="203"/>
                    <a:pt x="286" y="21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0" name="Freeform 48"/>
            <p:cNvSpPr>
              <a:spLocks noEditPoints="1"/>
            </p:cNvSpPr>
            <p:nvPr/>
          </p:nvSpPr>
          <p:spPr bwMode="auto">
            <a:xfrm>
              <a:off x="4463363" y="2466779"/>
              <a:ext cx="304289" cy="304289"/>
            </a:xfrm>
            <a:custGeom>
              <a:avLst/>
              <a:gdLst>
                <a:gd name="T0" fmla="*/ 152 w 353"/>
                <a:gd name="T1" fmla="*/ 88 h 353"/>
                <a:gd name="T2" fmla="*/ 144 w 353"/>
                <a:gd name="T3" fmla="*/ 0 h 353"/>
                <a:gd name="T4" fmla="*/ 136 w 353"/>
                <a:gd name="T5" fmla="*/ 88 h 353"/>
                <a:gd name="T6" fmla="*/ 241 w 353"/>
                <a:gd name="T7" fmla="*/ 112 h 353"/>
                <a:gd name="T8" fmla="*/ 249 w 353"/>
                <a:gd name="T9" fmla="*/ 24 h 353"/>
                <a:gd name="T10" fmla="*/ 233 w 353"/>
                <a:gd name="T11" fmla="*/ 24 h 353"/>
                <a:gd name="T12" fmla="*/ 241 w 353"/>
                <a:gd name="T13" fmla="*/ 112 h 353"/>
                <a:gd name="T14" fmla="*/ 201 w 353"/>
                <a:gd name="T15" fmla="*/ 88 h 353"/>
                <a:gd name="T16" fmla="*/ 193 w 353"/>
                <a:gd name="T17" fmla="*/ 32 h 353"/>
                <a:gd name="T18" fmla="*/ 185 w 353"/>
                <a:gd name="T19" fmla="*/ 88 h 353"/>
                <a:gd name="T20" fmla="*/ 305 w 353"/>
                <a:gd name="T21" fmla="*/ 169 h 353"/>
                <a:gd name="T22" fmla="*/ 289 w 353"/>
                <a:gd name="T23" fmla="*/ 145 h 353"/>
                <a:gd name="T24" fmla="*/ 16 w 353"/>
                <a:gd name="T25" fmla="*/ 128 h 353"/>
                <a:gd name="T26" fmla="*/ 0 w 353"/>
                <a:gd name="T27" fmla="*/ 241 h 353"/>
                <a:gd name="T28" fmla="*/ 8 w 353"/>
                <a:gd name="T29" fmla="*/ 337 h 353"/>
                <a:gd name="T30" fmla="*/ 8 w 353"/>
                <a:gd name="T31" fmla="*/ 353 h 353"/>
                <a:gd name="T32" fmla="*/ 289 w 353"/>
                <a:gd name="T33" fmla="*/ 345 h 353"/>
                <a:gd name="T34" fmla="*/ 234 w 353"/>
                <a:gd name="T35" fmla="*/ 337 h 353"/>
                <a:gd name="T36" fmla="*/ 305 w 353"/>
                <a:gd name="T37" fmla="*/ 265 h 353"/>
                <a:gd name="T38" fmla="*/ 305 w 353"/>
                <a:gd name="T39" fmla="*/ 169 h 353"/>
                <a:gd name="T40" fmla="*/ 112 w 353"/>
                <a:gd name="T41" fmla="*/ 337 h 353"/>
                <a:gd name="T42" fmla="*/ 248 w 353"/>
                <a:gd name="T43" fmla="*/ 305 h 353"/>
                <a:gd name="T44" fmla="*/ 273 w 353"/>
                <a:gd name="T45" fmla="*/ 241 h 353"/>
                <a:gd name="T46" fmla="*/ 29 w 353"/>
                <a:gd name="T47" fmla="*/ 289 h 353"/>
                <a:gd name="T48" fmla="*/ 16 w 353"/>
                <a:gd name="T49" fmla="*/ 145 h 353"/>
                <a:gd name="T50" fmla="*/ 273 w 353"/>
                <a:gd name="T51" fmla="*/ 241 h 353"/>
                <a:gd name="T52" fmla="*/ 288 w 353"/>
                <a:gd name="T53" fmla="*/ 249 h 353"/>
                <a:gd name="T54" fmla="*/ 289 w 353"/>
                <a:gd name="T55" fmla="*/ 185 h 353"/>
                <a:gd name="T56" fmla="*/ 337 w 353"/>
                <a:gd name="T57" fmla="*/ 217 h 353"/>
                <a:gd name="T58" fmla="*/ 48 w 353"/>
                <a:gd name="T59" fmla="*/ 96 h 353"/>
                <a:gd name="T60" fmla="*/ 56 w 353"/>
                <a:gd name="T61" fmla="*/ 40 h 353"/>
                <a:gd name="T62" fmla="*/ 40 w 353"/>
                <a:gd name="T63" fmla="*/ 40 h 353"/>
                <a:gd name="T64" fmla="*/ 48 w 353"/>
                <a:gd name="T65" fmla="*/ 96 h 353"/>
                <a:gd name="T66" fmla="*/ 104 w 353"/>
                <a:gd name="T67" fmla="*/ 104 h 353"/>
                <a:gd name="T68" fmla="*/ 96 w 353"/>
                <a:gd name="T69" fmla="*/ 16 h 353"/>
                <a:gd name="T70" fmla="*/ 88 w 353"/>
                <a:gd name="T71" fmla="*/ 10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353">
                  <a:moveTo>
                    <a:pt x="144" y="96"/>
                  </a:moveTo>
                  <a:cubicBezTo>
                    <a:pt x="149" y="96"/>
                    <a:pt x="152" y="93"/>
                    <a:pt x="152" y="88"/>
                  </a:cubicBezTo>
                  <a:cubicBezTo>
                    <a:pt x="152" y="8"/>
                    <a:pt x="152" y="8"/>
                    <a:pt x="152" y="8"/>
                  </a:cubicBezTo>
                  <a:cubicBezTo>
                    <a:pt x="152" y="4"/>
                    <a:pt x="149" y="0"/>
                    <a:pt x="144" y="0"/>
                  </a:cubicBezTo>
                  <a:cubicBezTo>
                    <a:pt x="140" y="0"/>
                    <a:pt x="136" y="4"/>
                    <a:pt x="136" y="8"/>
                  </a:cubicBezTo>
                  <a:cubicBezTo>
                    <a:pt x="136" y="88"/>
                    <a:pt x="136" y="88"/>
                    <a:pt x="136" y="88"/>
                  </a:cubicBezTo>
                  <a:cubicBezTo>
                    <a:pt x="136" y="93"/>
                    <a:pt x="140" y="96"/>
                    <a:pt x="144" y="96"/>
                  </a:cubicBezTo>
                  <a:moveTo>
                    <a:pt x="241" y="112"/>
                  </a:moveTo>
                  <a:cubicBezTo>
                    <a:pt x="245" y="112"/>
                    <a:pt x="249" y="109"/>
                    <a:pt x="249" y="104"/>
                  </a:cubicBezTo>
                  <a:cubicBezTo>
                    <a:pt x="249" y="24"/>
                    <a:pt x="249" y="24"/>
                    <a:pt x="249" y="24"/>
                  </a:cubicBezTo>
                  <a:cubicBezTo>
                    <a:pt x="249" y="20"/>
                    <a:pt x="245" y="16"/>
                    <a:pt x="241" y="16"/>
                  </a:cubicBezTo>
                  <a:cubicBezTo>
                    <a:pt x="236" y="16"/>
                    <a:pt x="233" y="20"/>
                    <a:pt x="233" y="24"/>
                  </a:cubicBezTo>
                  <a:cubicBezTo>
                    <a:pt x="233" y="104"/>
                    <a:pt x="233" y="104"/>
                    <a:pt x="233" y="104"/>
                  </a:cubicBezTo>
                  <a:cubicBezTo>
                    <a:pt x="233" y="109"/>
                    <a:pt x="236" y="112"/>
                    <a:pt x="241" y="112"/>
                  </a:cubicBezTo>
                  <a:moveTo>
                    <a:pt x="193" y="96"/>
                  </a:moveTo>
                  <a:cubicBezTo>
                    <a:pt x="197" y="96"/>
                    <a:pt x="201" y="93"/>
                    <a:pt x="201" y="88"/>
                  </a:cubicBezTo>
                  <a:cubicBezTo>
                    <a:pt x="201" y="40"/>
                    <a:pt x="201" y="40"/>
                    <a:pt x="201" y="40"/>
                  </a:cubicBezTo>
                  <a:cubicBezTo>
                    <a:pt x="201" y="36"/>
                    <a:pt x="197" y="32"/>
                    <a:pt x="193" y="32"/>
                  </a:cubicBezTo>
                  <a:cubicBezTo>
                    <a:pt x="188" y="32"/>
                    <a:pt x="185" y="36"/>
                    <a:pt x="185" y="40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5" y="93"/>
                    <a:pt x="188" y="96"/>
                    <a:pt x="193" y="96"/>
                  </a:cubicBezTo>
                  <a:moveTo>
                    <a:pt x="305" y="169"/>
                  </a:moveTo>
                  <a:cubicBezTo>
                    <a:pt x="289" y="169"/>
                    <a:pt x="289" y="169"/>
                    <a:pt x="289" y="169"/>
                  </a:cubicBezTo>
                  <a:cubicBezTo>
                    <a:pt x="289" y="145"/>
                    <a:pt x="289" y="145"/>
                    <a:pt x="289" y="145"/>
                  </a:cubicBezTo>
                  <a:cubicBezTo>
                    <a:pt x="289" y="136"/>
                    <a:pt x="282" y="128"/>
                    <a:pt x="273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7" y="128"/>
                    <a:pt x="0" y="136"/>
                    <a:pt x="0" y="145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0" y="282"/>
                    <a:pt x="22" y="318"/>
                    <a:pt x="55" y="337"/>
                  </a:cubicBezTo>
                  <a:cubicBezTo>
                    <a:pt x="8" y="337"/>
                    <a:pt x="8" y="337"/>
                    <a:pt x="8" y="337"/>
                  </a:cubicBezTo>
                  <a:cubicBezTo>
                    <a:pt x="3" y="337"/>
                    <a:pt x="0" y="341"/>
                    <a:pt x="0" y="345"/>
                  </a:cubicBezTo>
                  <a:cubicBezTo>
                    <a:pt x="0" y="350"/>
                    <a:pt x="3" y="353"/>
                    <a:pt x="8" y="353"/>
                  </a:cubicBezTo>
                  <a:cubicBezTo>
                    <a:pt x="281" y="353"/>
                    <a:pt x="281" y="353"/>
                    <a:pt x="281" y="353"/>
                  </a:cubicBezTo>
                  <a:cubicBezTo>
                    <a:pt x="285" y="353"/>
                    <a:pt x="289" y="350"/>
                    <a:pt x="289" y="345"/>
                  </a:cubicBezTo>
                  <a:cubicBezTo>
                    <a:pt x="289" y="341"/>
                    <a:pt x="285" y="337"/>
                    <a:pt x="281" y="337"/>
                  </a:cubicBezTo>
                  <a:cubicBezTo>
                    <a:pt x="234" y="337"/>
                    <a:pt x="234" y="337"/>
                    <a:pt x="234" y="337"/>
                  </a:cubicBezTo>
                  <a:cubicBezTo>
                    <a:pt x="260" y="321"/>
                    <a:pt x="280" y="296"/>
                    <a:pt x="286" y="265"/>
                  </a:cubicBezTo>
                  <a:cubicBezTo>
                    <a:pt x="305" y="265"/>
                    <a:pt x="305" y="265"/>
                    <a:pt x="305" y="265"/>
                  </a:cubicBezTo>
                  <a:cubicBezTo>
                    <a:pt x="332" y="265"/>
                    <a:pt x="353" y="243"/>
                    <a:pt x="353" y="217"/>
                  </a:cubicBezTo>
                  <a:cubicBezTo>
                    <a:pt x="353" y="190"/>
                    <a:pt x="332" y="169"/>
                    <a:pt x="305" y="169"/>
                  </a:cubicBezTo>
                  <a:moveTo>
                    <a:pt x="177" y="337"/>
                  </a:moveTo>
                  <a:cubicBezTo>
                    <a:pt x="112" y="337"/>
                    <a:pt x="112" y="337"/>
                    <a:pt x="112" y="337"/>
                  </a:cubicBezTo>
                  <a:cubicBezTo>
                    <a:pt x="84" y="337"/>
                    <a:pt x="58" y="325"/>
                    <a:pt x="41" y="305"/>
                  </a:cubicBezTo>
                  <a:cubicBezTo>
                    <a:pt x="248" y="305"/>
                    <a:pt x="248" y="305"/>
                    <a:pt x="248" y="305"/>
                  </a:cubicBezTo>
                  <a:cubicBezTo>
                    <a:pt x="231" y="325"/>
                    <a:pt x="205" y="337"/>
                    <a:pt x="177" y="337"/>
                  </a:cubicBezTo>
                  <a:moveTo>
                    <a:pt x="273" y="241"/>
                  </a:moveTo>
                  <a:cubicBezTo>
                    <a:pt x="273" y="258"/>
                    <a:pt x="268" y="275"/>
                    <a:pt x="260" y="289"/>
                  </a:cubicBezTo>
                  <a:cubicBezTo>
                    <a:pt x="29" y="289"/>
                    <a:pt x="29" y="289"/>
                    <a:pt x="29" y="289"/>
                  </a:cubicBezTo>
                  <a:cubicBezTo>
                    <a:pt x="21" y="275"/>
                    <a:pt x="16" y="258"/>
                    <a:pt x="16" y="241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273" y="145"/>
                    <a:pt x="273" y="145"/>
                    <a:pt x="273" y="145"/>
                  </a:cubicBezTo>
                  <a:lnTo>
                    <a:pt x="273" y="241"/>
                  </a:lnTo>
                  <a:close/>
                  <a:moveTo>
                    <a:pt x="305" y="249"/>
                  </a:moveTo>
                  <a:cubicBezTo>
                    <a:pt x="288" y="249"/>
                    <a:pt x="288" y="249"/>
                    <a:pt x="288" y="249"/>
                  </a:cubicBezTo>
                  <a:cubicBezTo>
                    <a:pt x="289" y="246"/>
                    <a:pt x="289" y="244"/>
                    <a:pt x="289" y="241"/>
                  </a:cubicBezTo>
                  <a:cubicBezTo>
                    <a:pt x="289" y="185"/>
                    <a:pt x="289" y="185"/>
                    <a:pt x="289" y="185"/>
                  </a:cubicBezTo>
                  <a:cubicBezTo>
                    <a:pt x="305" y="185"/>
                    <a:pt x="305" y="185"/>
                    <a:pt x="305" y="185"/>
                  </a:cubicBezTo>
                  <a:cubicBezTo>
                    <a:pt x="323" y="185"/>
                    <a:pt x="337" y="199"/>
                    <a:pt x="337" y="217"/>
                  </a:cubicBezTo>
                  <a:cubicBezTo>
                    <a:pt x="337" y="234"/>
                    <a:pt x="323" y="249"/>
                    <a:pt x="305" y="249"/>
                  </a:cubicBezTo>
                  <a:moveTo>
                    <a:pt x="48" y="96"/>
                  </a:moveTo>
                  <a:cubicBezTo>
                    <a:pt x="52" y="96"/>
                    <a:pt x="56" y="93"/>
                    <a:pt x="56" y="88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6"/>
                    <a:pt x="52" y="32"/>
                    <a:pt x="48" y="32"/>
                  </a:cubicBezTo>
                  <a:cubicBezTo>
                    <a:pt x="44" y="32"/>
                    <a:pt x="40" y="36"/>
                    <a:pt x="40" y="40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93"/>
                    <a:pt x="44" y="96"/>
                    <a:pt x="48" y="96"/>
                  </a:cubicBezTo>
                  <a:moveTo>
                    <a:pt x="96" y="112"/>
                  </a:moveTo>
                  <a:cubicBezTo>
                    <a:pt x="101" y="112"/>
                    <a:pt x="104" y="109"/>
                    <a:pt x="104" y="104"/>
                  </a:cubicBezTo>
                  <a:cubicBezTo>
                    <a:pt x="104" y="24"/>
                    <a:pt x="104" y="24"/>
                    <a:pt x="104" y="24"/>
                  </a:cubicBezTo>
                  <a:cubicBezTo>
                    <a:pt x="104" y="20"/>
                    <a:pt x="101" y="16"/>
                    <a:pt x="96" y="16"/>
                  </a:cubicBezTo>
                  <a:cubicBezTo>
                    <a:pt x="92" y="16"/>
                    <a:pt x="88" y="20"/>
                    <a:pt x="88" y="24"/>
                  </a:cubicBezTo>
                  <a:cubicBezTo>
                    <a:pt x="88" y="104"/>
                    <a:pt x="88" y="104"/>
                    <a:pt x="88" y="104"/>
                  </a:cubicBezTo>
                  <a:cubicBezTo>
                    <a:pt x="88" y="109"/>
                    <a:pt x="92" y="112"/>
                    <a:pt x="96" y="11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1" name="Freeform 51"/>
            <p:cNvSpPr>
              <a:spLocks noEditPoints="1"/>
            </p:cNvSpPr>
            <p:nvPr/>
          </p:nvSpPr>
          <p:spPr bwMode="auto">
            <a:xfrm>
              <a:off x="2748918" y="2466778"/>
              <a:ext cx="304289" cy="304289"/>
            </a:xfrm>
            <a:custGeom>
              <a:avLst/>
              <a:gdLst>
                <a:gd name="T0" fmla="*/ 340 w 353"/>
                <a:gd name="T1" fmla="*/ 155 h 353"/>
                <a:gd name="T2" fmla="*/ 312 w 353"/>
                <a:gd name="T3" fmla="*/ 140 h 353"/>
                <a:gd name="T4" fmla="*/ 340 w 353"/>
                <a:gd name="T5" fmla="*/ 126 h 353"/>
                <a:gd name="T6" fmla="*/ 340 w 353"/>
                <a:gd name="T7" fmla="*/ 83 h 353"/>
                <a:gd name="T8" fmla="*/ 188 w 353"/>
                <a:gd name="T9" fmla="*/ 3 h 353"/>
                <a:gd name="T10" fmla="*/ 176 w 353"/>
                <a:gd name="T11" fmla="*/ 0 h 353"/>
                <a:gd name="T12" fmla="*/ 165 w 353"/>
                <a:gd name="T13" fmla="*/ 3 h 353"/>
                <a:gd name="T14" fmla="*/ 13 w 353"/>
                <a:gd name="T15" fmla="*/ 83 h 353"/>
                <a:gd name="T16" fmla="*/ 13 w 353"/>
                <a:gd name="T17" fmla="*/ 126 h 353"/>
                <a:gd name="T18" fmla="*/ 41 w 353"/>
                <a:gd name="T19" fmla="*/ 140 h 353"/>
                <a:gd name="T20" fmla="*/ 13 w 353"/>
                <a:gd name="T21" fmla="*/ 155 h 353"/>
                <a:gd name="T22" fmla="*/ 13 w 353"/>
                <a:gd name="T23" fmla="*/ 198 h 353"/>
                <a:gd name="T24" fmla="*/ 41 w 353"/>
                <a:gd name="T25" fmla="*/ 213 h 353"/>
                <a:gd name="T26" fmla="*/ 13 w 353"/>
                <a:gd name="T27" fmla="*/ 228 h 353"/>
                <a:gd name="T28" fmla="*/ 13 w 353"/>
                <a:gd name="T29" fmla="*/ 270 h 353"/>
                <a:gd name="T30" fmla="*/ 165 w 353"/>
                <a:gd name="T31" fmla="*/ 350 h 353"/>
                <a:gd name="T32" fmla="*/ 176 w 353"/>
                <a:gd name="T33" fmla="*/ 353 h 353"/>
                <a:gd name="T34" fmla="*/ 188 w 353"/>
                <a:gd name="T35" fmla="*/ 350 h 353"/>
                <a:gd name="T36" fmla="*/ 340 w 353"/>
                <a:gd name="T37" fmla="*/ 270 h 353"/>
                <a:gd name="T38" fmla="*/ 340 w 353"/>
                <a:gd name="T39" fmla="*/ 228 h 353"/>
                <a:gd name="T40" fmla="*/ 312 w 353"/>
                <a:gd name="T41" fmla="*/ 213 h 353"/>
                <a:gd name="T42" fmla="*/ 340 w 353"/>
                <a:gd name="T43" fmla="*/ 198 h 353"/>
                <a:gd name="T44" fmla="*/ 20 w 353"/>
                <a:gd name="T45" fmla="*/ 111 h 353"/>
                <a:gd name="T46" fmla="*/ 16 w 353"/>
                <a:gd name="T47" fmla="*/ 104 h 353"/>
                <a:gd name="T48" fmla="*/ 20 w 353"/>
                <a:gd name="T49" fmla="*/ 97 h 353"/>
                <a:gd name="T50" fmla="*/ 173 w 353"/>
                <a:gd name="T51" fmla="*/ 17 h 353"/>
                <a:gd name="T52" fmla="*/ 180 w 353"/>
                <a:gd name="T53" fmla="*/ 17 h 353"/>
                <a:gd name="T54" fmla="*/ 333 w 353"/>
                <a:gd name="T55" fmla="*/ 97 h 353"/>
                <a:gd name="T56" fmla="*/ 337 w 353"/>
                <a:gd name="T57" fmla="*/ 104 h 353"/>
                <a:gd name="T58" fmla="*/ 333 w 353"/>
                <a:gd name="T59" fmla="*/ 111 h 353"/>
                <a:gd name="T60" fmla="*/ 180 w 353"/>
                <a:gd name="T61" fmla="*/ 192 h 353"/>
                <a:gd name="T62" fmla="*/ 173 w 353"/>
                <a:gd name="T63" fmla="*/ 192 h 353"/>
                <a:gd name="T64" fmla="*/ 20 w 353"/>
                <a:gd name="T65" fmla="*/ 111 h 353"/>
                <a:gd name="T66" fmla="*/ 333 w 353"/>
                <a:gd name="T67" fmla="*/ 242 h 353"/>
                <a:gd name="T68" fmla="*/ 333 w 353"/>
                <a:gd name="T69" fmla="*/ 256 h 353"/>
                <a:gd name="T70" fmla="*/ 180 w 353"/>
                <a:gd name="T71" fmla="*/ 336 h 353"/>
                <a:gd name="T72" fmla="*/ 176 w 353"/>
                <a:gd name="T73" fmla="*/ 337 h 353"/>
                <a:gd name="T74" fmla="*/ 173 w 353"/>
                <a:gd name="T75" fmla="*/ 336 h 353"/>
                <a:gd name="T76" fmla="*/ 20 w 353"/>
                <a:gd name="T77" fmla="*/ 256 h 353"/>
                <a:gd name="T78" fmla="*/ 20 w 353"/>
                <a:gd name="T79" fmla="*/ 242 h 353"/>
                <a:gd name="T80" fmla="*/ 58 w 353"/>
                <a:gd name="T81" fmla="*/ 222 h 353"/>
                <a:gd name="T82" fmla="*/ 165 w 353"/>
                <a:gd name="T83" fmla="*/ 278 h 353"/>
                <a:gd name="T84" fmla="*/ 188 w 353"/>
                <a:gd name="T85" fmla="*/ 278 h 353"/>
                <a:gd name="T86" fmla="*/ 295 w 353"/>
                <a:gd name="T87" fmla="*/ 222 h 353"/>
                <a:gd name="T88" fmla="*/ 333 w 353"/>
                <a:gd name="T89" fmla="*/ 184 h 353"/>
                <a:gd name="T90" fmla="*/ 180 w 353"/>
                <a:gd name="T91" fmla="*/ 264 h 353"/>
                <a:gd name="T92" fmla="*/ 176 w 353"/>
                <a:gd name="T93" fmla="*/ 265 h 353"/>
                <a:gd name="T94" fmla="*/ 173 w 353"/>
                <a:gd name="T95" fmla="*/ 264 h 353"/>
                <a:gd name="T96" fmla="*/ 20 w 353"/>
                <a:gd name="T97" fmla="*/ 184 h 353"/>
                <a:gd name="T98" fmla="*/ 20 w 353"/>
                <a:gd name="T99" fmla="*/ 170 h 353"/>
                <a:gd name="T100" fmla="*/ 58 w 353"/>
                <a:gd name="T101" fmla="*/ 150 h 353"/>
                <a:gd name="T102" fmla="*/ 165 w 353"/>
                <a:gd name="T103" fmla="*/ 206 h 353"/>
                <a:gd name="T104" fmla="*/ 188 w 353"/>
                <a:gd name="T105" fmla="*/ 206 h 353"/>
                <a:gd name="T106" fmla="*/ 295 w 353"/>
                <a:gd name="T107" fmla="*/ 150 h 353"/>
                <a:gd name="T108" fmla="*/ 333 w 353"/>
                <a:gd name="T109" fmla="*/ 170 h 353"/>
                <a:gd name="T110" fmla="*/ 333 w 353"/>
                <a:gd name="T111" fmla="*/ 184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53" h="353">
                  <a:moveTo>
                    <a:pt x="353" y="177"/>
                  </a:moveTo>
                  <a:cubicBezTo>
                    <a:pt x="353" y="167"/>
                    <a:pt x="348" y="159"/>
                    <a:pt x="340" y="155"/>
                  </a:cubicBezTo>
                  <a:cubicBezTo>
                    <a:pt x="340" y="155"/>
                    <a:pt x="340" y="155"/>
                    <a:pt x="340" y="155"/>
                  </a:cubicBezTo>
                  <a:cubicBezTo>
                    <a:pt x="312" y="140"/>
                    <a:pt x="312" y="140"/>
                    <a:pt x="312" y="140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8" y="122"/>
                    <a:pt x="353" y="114"/>
                    <a:pt x="353" y="104"/>
                  </a:cubicBezTo>
                  <a:cubicBezTo>
                    <a:pt x="353" y="95"/>
                    <a:pt x="348" y="87"/>
                    <a:pt x="340" y="83"/>
                  </a:cubicBezTo>
                  <a:cubicBezTo>
                    <a:pt x="340" y="83"/>
                    <a:pt x="340" y="83"/>
                    <a:pt x="340" y="8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8" y="3"/>
                    <a:pt x="188" y="3"/>
                    <a:pt x="188" y="3"/>
                  </a:cubicBezTo>
                  <a:cubicBezTo>
                    <a:pt x="184" y="1"/>
                    <a:pt x="181" y="0"/>
                    <a:pt x="176" y="0"/>
                  </a:cubicBezTo>
                  <a:cubicBezTo>
                    <a:pt x="172" y="0"/>
                    <a:pt x="169" y="1"/>
                    <a:pt x="165" y="3"/>
                  </a:cubicBezTo>
                  <a:cubicBezTo>
                    <a:pt x="165" y="3"/>
                    <a:pt x="165" y="3"/>
                    <a:pt x="165" y="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5" y="87"/>
                    <a:pt x="0" y="95"/>
                    <a:pt x="0" y="104"/>
                  </a:cubicBezTo>
                  <a:cubicBezTo>
                    <a:pt x="0" y="114"/>
                    <a:pt x="5" y="122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41" y="140"/>
                    <a:pt x="41" y="140"/>
                    <a:pt x="41" y="140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13" y="155"/>
                    <a:pt x="13" y="155"/>
                    <a:pt x="13" y="155"/>
                  </a:cubicBezTo>
                  <a:cubicBezTo>
                    <a:pt x="5" y="159"/>
                    <a:pt x="0" y="167"/>
                    <a:pt x="0" y="177"/>
                  </a:cubicBezTo>
                  <a:cubicBezTo>
                    <a:pt x="0" y="186"/>
                    <a:pt x="5" y="194"/>
                    <a:pt x="13" y="198"/>
                  </a:cubicBezTo>
                  <a:cubicBezTo>
                    <a:pt x="13" y="198"/>
                    <a:pt x="13" y="198"/>
                    <a:pt x="13" y="198"/>
                  </a:cubicBezTo>
                  <a:cubicBezTo>
                    <a:pt x="41" y="213"/>
                    <a:pt x="41" y="213"/>
                    <a:pt x="41" y="213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5" y="232"/>
                    <a:pt x="0" y="240"/>
                    <a:pt x="0" y="249"/>
                  </a:cubicBezTo>
                  <a:cubicBezTo>
                    <a:pt x="0" y="258"/>
                    <a:pt x="5" y="266"/>
                    <a:pt x="13" y="270"/>
                  </a:cubicBezTo>
                  <a:cubicBezTo>
                    <a:pt x="13" y="270"/>
                    <a:pt x="13" y="270"/>
                    <a:pt x="13" y="27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5" y="350"/>
                    <a:pt x="165" y="350"/>
                    <a:pt x="165" y="350"/>
                  </a:cubicBezTo>
                  <a:cubicBezTo>
                    <a:pt x="169" y="352"/>
                    <a:pt x="172" y="353"/>
                    <a:pt x="176" y="353"/>
                  </a:cubicBezTo>
                  <a:cubicBezTo>
                    <a:pt x="181" y="353"/>
                    <a:pt x="184" y="352"/>
                    <a:pt x="188" y="350"/>
                  </a:cubicBezTo>
                  <a:cubicBezTo>
                    <a:pt x="188" y="350"/>
                    <a:pt x="188" y="350"/>
                    <a:pt x="188" y="35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8" y="266"/>
                    <a:pt x="353" y="258"/>
                    <a:pt x="353" y="249"/>
                  </a:cubicBezTo>
                  <a:cubicBezTo>
                    <a:pt x="353" y="240"/>
                    <a:pt x="348" y="232"/>
                    <a:pt x="340" y="228"/>
                  </a:cubicBezTo>
                  <a:cubicBezTo>
                    <a:pt x="340" y="228"/>
                    <a:pt x="340" y="228"/>
                    <a:pt x="340" y="228"/>
                  </a:cubicBezTo>
                  <a:cubicBezTo>
                    <a:pt x="312" y="213"/>
                    <a:pt x="312" y="213"/>
                    <a:pt x="312" y="213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0" y="198"/>
                    <a:pt x="340" y="198"/>
                    <a:pt x="340" y="198"/>
                  </a:cubicBezTo>
                  <a:cubicBezTo>
                    <a:pt x="348" y="194"/>
                    <a:pt x="353" y="186"/>
                    <a:pt x="353" y="177"/>
                  </a:cubicBezTo>
                  <a:moveTo>
                    <a:pt x="20" y="111"/>
                  </a:moveTo>
                  <a:cubicBezTo>
                    <a:pt x="20" y="111"/>
                    <a:pt x="20" y="111"/>
                    <a:pt x="20" y="111"/>
                  </a:cubicBezTo>
                  <a:cubicBezTo>
                    <a:pt x="18" y="110"/>
                    <a:pt x="16" y="107"/>
                    <a:pt x="16" y="104"/>
                  </a:cubicBezTo>
                  <a:cubicBezTo>
                    <a:pt x="16" y="101"/>
                    <a:pt x="18" y="99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3" y="17"/>
                    <a:pt x="173" y="17"/>
                    <a:pt x="173" y="17"/>
                  </a:cubicBezTo>
                  <a:cubicBezTo>
                    <a:pt x="174" y="16"/>
                    <a:pt x="175" y="16"/>
                    <a:pt x="176" y="16"/>
                  </a:cubicBezTo>
                  <a:cubicBezTo>
                    <a:pt x="178" y="16"/>
                    <a:pt x="179" y="16"/>
                    <a:pt x="180" y="17"/>
                  </a:cubicBezTo>
                  <a:cubicBezTo>
                    <a:pt x="180" y="17"/>
                    <a:pt x="180" y="17"/>
                    <a:pt x="180" y="1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3" y="97"/>
                    <a:pt x="333" y="97"/>
                    <a:pt x="333" y="97"/>
                  </a:cubicBezTo>
                  <a:cubicBezTo>
                    <a:pt x="335" y="99"/>
                    <a:pt x="337" y="101"/>
                    <a:pt x="337" y="104"/>
                  </a:cubicBezTo>
                  <a:cubicBezTo>
                    <a:pt x="337" y="107"/>
                    <a:pt x="335" y="110"/>
                    <a:pt x="333" y="111"/>
                  </a:cubicBezTo>
                  <a:cubicBezTo>
                    <a:pt x="333" y="111"/>
                    <a:pt x="333" y="111"/>
                    <a:pt x="333" y="111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80" y="192"/>
                    <a:pt x="180" y="192"/>
                    <a:pt x="180" y="192"/>
                  </a:cubicBezTo>
                  <a:cubicBezTo>
                    <a:pt x="179" y="192"/>
                    <a:pt x="178" y="193"/>
                    <a:pt x="176" y="193"/>
                  </a:cubicBezTo>
                  <a:cubicBezTo>
                    <a:pt x="175" y="193"/>
                    <a:pt x="174" y="192"/>
                    <a:pt x="173" y="192"/>
                  </a:cubicBezTo>
                  <a:cubicBezTo>
                    <a:pt x="173" y="192"/>
                    <a:pt x="173" y="192"/>
                    <a:pt x="173" y="192"/>
                  </a:cubicBezTo>
                  <a:lnTo>
                    <a:pt x="20" y="111"/>
                  </a:lnTo>
                  <a:close/>
                  <a:moveTo>
                    <a:pt x="333" y="242"/>
                  </a:moveTo>
                  <a:cubicBezTo>
                    <a:pt x="333" y="242"/>
                    <a:pt x="333" y="242"/>
                    <a:pt x="333" y="242"/>
                  </a:cubicBezTo>
                  <a:cubicBezTo>
                    <a:pt x="335" y="243"/>
                    <a:pt x="337" y="246"/>
                    <a:pt x="337" y="249"/>
                  </a:cubicBezTo>
                  <a:cubicBezTo>
                    <a:pt x="337" y="252"/>
                    <a:pt x="335" y="255"/>
                    <a:pt x="333" y="256"/>
                  </a:cubicBezTo>
                  <a:cubicBezTo>
                    <a:pt x="333" y="256"/>
                    <a:pt x="333" y="256"/>
                    <a:pt x="333" y="25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80" y="336"/>
                    <a:pt x="180" y="336"/>
                    <a:pt x="180" y="336"/>
                  </a:cubicBezTo>
                  <a:cubicBezTo>
                    <a:pt x="179" y="337"/>
                    <a:pt x="178" y="337"/>
                    <a:pt x="176" y="337"/>
                  </a:cubicBezTo>
                  <a:cubicBezTo>
                    <a:pt x="175" y="337"/>
                    <a:pt x="174" y="337"/>
                    <a:pt x="173" y="336"/>
                  </a:cubicBezTo>
                  <a:cubicBezTo>
                    <a:pt x="173" y="336"/>
                    <a:pt x="173" y="336"/>
                    <a:pt x="173" y="33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20" y="256"/>
                    <a:pt x="20" y="256"/>
                    <a:pt x="20" y="256"/>
                  </a:cubicBezTo>
                  <a:cubicBezTo>
                    <a:pt x="18" y="255"/>
                    <a:pt x="16" y="252"/>
                    <a:pt x="16" y="249"/>
                  </a:cubicBezTo>
                  <a:cubicBezTo>
                    <a:pt x="16" y="246"/>
                    <a:pt x="18" y="243"/>
                    <a:pt x="20" y="242"/>
                  </a:cubicBezTo>
                  <a:cubicBezTo>
                    <a:pt x="20" y="242"/>
                    <a:pt x="20" y="242"/>
                    <a:pt x="20" y="24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5" y="278"/>
                    <a:pt x="165" y="278"/>
                    <a:pt x="165" y="278"/>
                  </a:cubicBezTo>
                  <a:cubicBezTo>
                    <a:pt x="169" y="280"/>
                    <a:pt x="172" y="281"/>
                    <a:pt x="176" y="281"/>
                  </a:cubicBezTo>
                  <a:cubicBezTo>
                    <a:pt x="181" y="281"/>
                    <a:pt x="184" y="280"/>
                    <a:pt x="188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295" y="222"/>
                    <a:pt x="295" y="222"/>
                    <a:pt x="295" y="222"/>
                  </a:cubicBezTo>
                  <a:lnTo>
                    <a:pt x="333" y="242"/>
                  </a:lnTo>
                  <a:close/>
                  <a:moveTo>
                    <a:pt x="333" y="184"/>
                  </a:moveTo>
                  <a:cubicBezTo>
                    <a:pt x="333" y="184"/>
                    <a:pt x="333" y="184"/>
                    <a:pt x="333" y="18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80" y="264"/>
                    <a:pt x="180" y="264"/>
                    <a:pt x="180" y="264"/>
                  </a:cubicBezTo>
                  <a:cubicBezTo>
                    <a:pt x="179" y="265"/>
                    <a:pt x="178" y="265"/>
                    <a:pt x="176" y="265"/>
                  </a:cubicBezTo>
                  <a:cubicBezTo>
                    <a:pt x="175" y="265"/>
                    <a:pt x="174" y="265"/>
                    <a:pt x="173" y="264"/>
                  </a:cubicBezTo>
                  <a:cubicBezTo>
                    <a:pt x="173" y="264"/>
                    <a:pt x="173" y="264"/>
                    <a:pt x="173" y="26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18" y="182"/>
                    <a:pt x="16" y="180"/>
                    <a:pt x="16" y="177"/>
                  </a:cubicBezTo>
                  <a:cubicBezTo>
                    <a:pt x="16" y="174"/>
                    <a:pt x="18" y="171"/>
                    <a:pt x="20" y="170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58" y="150"/>
                    <a:pt x="58" y="150"/>
                    <a:pt x="58" y="150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5" y="206"/>
                    <a:pt x="165" y="206"/>
                    <a:pt x="165" y="206"/>
                  </a:cubicBezTo>
                  <a:cubicBezTo>
                    <a:pt x="169" y="208"/>
                    <a:pt x="172" y="209"/>
                    <a:pt x="176" y="209"/>
                  </a:cubicBezTo>
                  <a:cubicBezTo>
                    <a:pt x="181" y="209"/>
                    <a:pt x="184" y="208"/>
                    <a:pt x="188" y="206"/>
                  </a:cubicBezTo>
                  <a:cubicBezTo>
                    <a:pt x="188" y="206"/>
                    <a:pt x="188" y="206"/>
                    <a:pt x="188" y="206"/>
                  </a:cubicBezTo>
                  <a:cubicBezTo>
                    <a:pt x="295" y="150"/>
                    <a:pt x="295" y="150"/>
                    <a:pt x="295" y="15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3" y="170"/>
                    <a:pt x="333" y="170"/>
                    <a:pt x="333" y="170"/>
                  </a:cubicBezTo>
                  <a:cubicBezTo>
                    <a:pt x="335" y="171"/>
                    <a:pt x="337" y="174"/>
                    <a:pt x="337" y="177"/>
                  </a:cubicBezTo>
                  <a:cubicBezTo>
                    <a:pt x="337" y="180"/>
                    <a:pt x="335" y="182"/>
                    <a:pt x="333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32" name="Freeform 116"/>
            <p:cNvSpPr>
              <a:spLocks noEditPoints="1"/>
            </p:cNvSpPr>
            <p:nvPr/>
          </p:nvSpPr>
          <p:spPr bwMode="auto">
            <a:xfrm>
              <a:off x="5256142" y="2468438"/>
              <a:ext cx="300970" cy="300970"/>
            </a:xfrm>
            <a:custGeom>
              <a:avLst/>
              <a:gdLst>
                <a:gd name="T0" fmla="*/ 184 w 353"/>
                <a:gd name="T1" fmla="*/ 217 h 353"/>
                <a:gd name="T2" fmla="*/ 216 w 353"/>
                <a:gd name="T3" fmla="*/ 249 h 353"/>
                <a:gd name="T4" fmla="*/ 216 w 353"/>
                <a:gd name="T5" fmla="*/ 160 h 353"/>
                <a:gd name="T6" fmla="*/ 184 w 353"/>
                <a:gd name="T7" fmla="*/ 192 h 353"/>
                <a:gd name="T8" fmla="*/ 216 w 353"/>
                <a:gd name="T9" fmla="*/ 160 h 353"/>
                <a:gd name="T10" fmla="*/ 184 w 353"/>
                <a:gd name="T11" fmla="*/ 273 h 353"/>
                <a:gd name="T12" fmla="*/ 216 w 353"/>
                <a:gd name="T13" fmla="*/ 305 h 353"/>
                <a:gd name="T14" fmla="*/ 264 w 353"/>
                <a:gd name="T15" fmla="*/ 160 h 353"/>
                <a:gd name="T16" fmla="*/ 232 w 353"/>
                <a:gd name="T17" fmla="*/ 192 h 353"/>
                <a:gd name="T18" fmla="*/ 264 w 353"/>
                <a:gd name="T19" fmla="*/ 160 h 353"/>
                <a:gd name="T20" fmla="*/ 281 w 353"/>
                <a:gd name="T21" fmla="*/ 160 h 353"/>
                <a:gd name="T22" fmla="*/ 313 w 353"/>
                <a:gd name="T23" fmla="*/ 192 h 353"/>
                <a:gd name="T24" fmla="*/ 264 w 353"/>
                <a:gd name="T25" fmla="*/ 217 h 353"/>
                <a:gd name="T26" fmla="*/ 232 w 353"/>
                <a:gd name="T27" fmla="*/ 249 h 353"/>
                <a:gd name="T28" fmla="*/ 264 w 353"/>
                <a:gd name="T29" fmla="*/ 217 h 353"/>
                <a:gd name="T30" fmla="*/ 281 w 353"/>
                <a:gd name="T31" fmla="*/ 217 h 353"/>
                <a:gd name="T32" fmla="*/ 313 w 353"/>
                <a:gd name="T33" fmla="*/ 249 h 353"/>
                <a:gd name="T34" fmla="*/ 168 w 353"/>
                <a:gd name="T35" fmla="*/ 217 h 353"/>
                <a:gd name="T36" fmla="*/ 136 w 353"/>
                <a:gd name="T37" fmla="*/ 249 h 353"/>
                <a:gd name="T38" fmla="*/ 168 w 353"/>
                <a:gd name="T39" fmla="*/ 217 h 353"/>
                <a:gd name="T40" fmla="*/ 136 w 353"/>
                <a:gd name="T41" fmla="*/ 160 h 353"/>
                <a:gd name="T42" fmla="*/ 168 w 353"/>
                <a:gd name="T43" fmla="*/ 192 h 353"/>
                <a:gd name="T44" fmla="*/ 168 w 353"/>
                <a:gd name="T45" fmla="*/ 273 h 353"/>
                <a:gd name="T46" fmla="*/ 136 w 353"/>
                <a:gd name="T47" fmla="*/ 305 h 353"/>
                <a:gd name="T48" fmla="*/ 168 w 353"/>
                <a:gd name="T49" fmla="*/ 273 h 353"/>
                <a:gd name="T50" fmla="*/ 40 w 353"/>
                <a:gd name="T51" fmla="*/ 217 h 353"/>
                <a:gd name="T52" fmla="*/ 72 w 353"/>
                <a:gd name="T53" fmla="*/ 249 h 353"/>
                <a:gd name="T54" fmla="*/ 72 w 353"/>
                <a:gd name="T55" fmla="*/ 160 h 353"/>
                <a:gd name="T56" fmla="*/ 40 w 353"/>
                <a:gd name="T57" fmla="*/ 192 h 353"/>
                <a:gd name="T58" fmla="*/ 72 w 353"/>
                <a:gd name="T59" fmla="*/ 160 h 353"/>
                <a:gd name="T60" fmla="*/ 289 w 353"/>
                <a:gd name="T61" fmla="*/ 32 h 353"/>
                <a:gd name="T62" fmla="*/ 281 w 353"/>
                <a:gd name="T63" fmla="*/ 0 h 353"/>
                <a:gd name="T64" fmla="*/ 272 w 353"/>
                <a:gd name="T65" fmla="*/ 32 h 353"/>
                <a:gd name="T66" fmla="*/ 80 w 353"/>
                <a:gd name="T67" fmla="*/ 8 h 353"/>
                <a:gd name="T68" fmla="*/ 64 w 353"/>
                <a:gd name="T69" fmla="*/ 8 h 353"/>
                <a:gd name="T70" fmla="*/ 32 w 353"/>
                <a:gd name="T71" fmla="*/ 32 h 353"/>
                <a:gd name="T72" fmla="*/ 0 w 353"/>
                <a:gd name="T73" fmla="*/ 321 h 353"/>
                <a:gd name="T74" fmla="*/ 321 w 353"/>
                <a:gd name="T75" fmla="*/ 353 h 353"/>
                <a:gd name="T76" fmla="*/ 353 w 353"/>
                <a:gd name="T77" fmla="*/ 64 h 353"/>
                <a:gd name="T78" fmla="*/ 337 w 353"/>
                <a:gd name="T79" fmla="*/ 321 h 353"/>
                <a:gd name="T80" fmla="*/ 32 w 353"/>
                <a:gd name="T81" fmla="*/ 337 h 353"/>
                <a:gd name="T82" fmla="*/ 16 w 353"/>
                <a:gd name="T83" fmla="*/ 128 h 353"/>
                <a:gd name="T84" fmla="*/ 337 w 353"/>
                <a:gd name="T85" fmla="*/ 321 h 353"/>
                <a:gd name="T86" fmla="*/ 16 w 353"/>
                <a:gd name="T87" fmla="*/ 112 h 353"/>
                <a:gd name="T88" fmla="*/ 32 w 353"/>
                <a:gd name="T89" fmla="*/ 48 h 353"/>
                <a:gd name="T90" fmla="*/ 64 w 353"/>
                <a:gd name="T91" fmla="*/ 72 h 353"/>
                <a:gd name="T92" fmla="*/ 80 w 353"/>
                <a:gd name="T93" fmla="*/ 72 h 353"/>
                <a:gd name="T94" fmla="*/ 272 w 353"/>
                <a:gd name="T95" fmla="*/ 48 h 353"/>
                <a:gd name="T96" fmla="*/ 281 w 353"/>
                <a:gd name="T97" fmla="*/ 80 h 353"/>
                <a:gd name="T98" fmla="*/ 289 w 353"/>
                <a:gd name="T99" fmla="*/ 48 h 353"/>
                <a:gd name="T100" fmla="*/ 337 w 353"/>
                <a:gd name="T101" fmla="*/ 64 h 353"/>
                <a:gd name="T102" fmla="*/ 72 w 353"/>
                <a:gd name="T103" fmla="*/ 273 h 353"/>
                <a:gd name="T104" fmla="*/ 40 w 353"/>
                <a:gd name="T105" fmla="*/ 305 h 353"/>
                <a:gd name="T106" fmla="*/ 72 w 353"/>
                <a:gd name="T107" fmla="*/ 273 h 353"/>
                <a:gd name="T108" fmla="*/ 88 w 353"/>
                <a:gd name="T109" fmla="*/ 160 h 353"/>
                <a:gd name="T110" fmla="*/ 120 w 353"/>
                <a:gd name="T111" fmla="*/ 192 h 353"/>
                <a:gd name="T112" fmla="*/ 120 w 353"/>
                <a:gd name="T113" fmla="*/ 273 h 353"/>
                <a:gd name="T114" fmla="*/ 88 w 353"/>
                <a:gd name="T115" fmla="*/ 305 h 353"/>
                <a:gd name="T116" fmla="*/ 120 w 353"/>
                <a:gd name="T117" fmla="*/ 273 h 353"/>
                <a:gd name="T118" fmla="*/ 88 w 353"/>
                <a:gd name="T119" fmla="*/ 217 h 353"/>
                <a:gd name="T120" fmla="*/ 120 w 353"/>
                <a:gd name="T121" fmla="*/ 24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3" h="353">
                  <a:moveTo>
                    <a:pt x="216" y="217"/>
                  </a:moveTo>
                  <a:cubicBezTo>
                    <a:pt x="184" y="217"/>
                    <a:pt x="184" y="217"/>
                    <a:pt x="184" y="217"/>
                  </a:cubicBezTo>
                  <a:cubicBezTo>
                    <a:pt x="184" y="249"/>
                    <a:pt x="184" y="249"/>
                    <a:pt x="184" y="249"/>
                  </a:cubicBezTo>
                  <a:cubicBezTo>
                    <a:pt x="216" y="249"/>
                    <a:pt x="216" y="249"/>
                    <a:pt x="216" y="249"/>
                  </a:cubicBezTo>
                  <a:lnTo>
                    <a:pt x="216" y="217"/>
                  </a:lnTo>
                  <a:close/>
                  <a:moveTo>
                    <a:pt x="216" y="160"/>
                  </a:moveTo>
                  <a:cubicBezTo>
                    <a:pt x="184" y="160"/>
                    <a:pt x="184" y="160"/>
                    <a:pt x="184" y="160"/>
                  </a:cubicBezTo>
                  <a:cubicBezTo>
                    <a:pt x="184" y="192"/>
                    <a:pt x="184" y="192"/>
                    <a:pt x="184" y="192"/>
                  </a:cubicBezTo>
                  <a:cubicBezTo>
                    <a:pt x="216" y="192"/>
                    <a:pt x="216" y="192"/>
                    <a:pt x="216" y="192"/>
                  </a:cubicBezTo>
                  <a:lnTo>
                    <a:pt x="216" y="160"/>
                  </a:lnTo>
                  <a:close/>
                  <a:moveTo>
                    <a:pt x="216" y="273"/>
                  </a:moveTo>
                  <a:cubicBezTo>
                    <a:pt x="184" y="273"/>
                    <a:pt x="184" y="273"/>
                    <a:pt x="184" y="273"/>
                  </a:cubicBezTo>
                  <a:cubicBezTo>
                    <a:pt x="184" y="305"/>
                    <a:pt x="184" y="305"/>
                    <a:pt x="184" y="305"/>
                  </a:cubicBezTo>
                  <a:cubicBezTo>
                    <a:pt x="216" y="305"/>
                    <a:pt x="216" y="305"/>
                    <a:pt x="216" y="305"/>
                  </a:cubicBezTo>
                  <a:lnTo>
                    <a:pt x="216" y="273"/>
                  </a:lnTo>
                  <a:close/>
                  <a:moveTo>
                    <a:pt x="264" y="160"/>
                  </a:moveTo>
                  <a:cubicBezTo>
                    <a:pt x="232" y="160"/>
                    <a:pt x="232" y="160"/>
                    <a:pt x="232" y="160"/>
                  </a:cubicBezTo>
                  <a:cubicBezTo>
                    <a:pt x="232" y="192"/>
                    <a:pt x="232" y="192"/>
                    <a:pt x="232" y="192"/>
                  </a:cubicBezTo>
                  <a:cubicBezTo>
                    <a:pt x="264" y="192"/>
                    <a:pt x="264" y="192"/>
                    <a:pt x="264" y="192"/>
                  </a:cubicBezTo>
                  <a:lnTo>
                    <a:pt x="264" y="160"/>
                  </a:lnTo>
                  <a:close/>
                  <a:moveTo>
                    <a:pt x="313" y="160"/>
                  </a:moveTo>
                  <a:cubicBezTo>
                    <a:pt x="281" y="160"/>
                    <a:pt x="281" y="160"/>
                    <a:pt x="281" y="160"/>
                  </a:cubicBezTo>
                  <a:cubicBezTo>
                    <a:pt x="281" y="192"/>
                    <a:pt x="281" y="192"/>
                    <a:pt x="281" y="192"/>
                  </a:cubicBezTo>
                  <a:cubicBezTo>
                    <a:pt x="313" y="192"/>
                    <a:pt x="313" y="192"/>
                    <a:pt x="313" y="192"/>
                  </a:cubicBezTo>
                  <a:lnTo>
                    <a:pt x="313" y="160"/>
                  </a:lnTo>
                  <a:close/>
                  <a:moveTo>
                    <a:pt x="264" y="217"/>
                  </a:moveTo>
                  <a:cubicBezTo>
                    <a:pt x="232" y="217"/>
                    <a:pt x="232" y="217"/>
                    <a:pt x="232" y="217"/>
                  </a:cubicBezTo>
                  <a:cubicBezTo>
                    <a:pt x="232" y="249"/>
                    <a:pt x="232" y="249"/>
                    <a:pt x="232" y="249"/>
                  </a:cubicBezTo>
                  <a:cubicBezTo>
                    <a:pt x="264" y="249"/>
                    <a:pt x="264" y="249"/>
                    <a:pt x="264" y="249"/>
                  </a:cubicBezTo>
                  <a:lnTo>
                    <a:pt x="264" y="217"/>
                  </a:lnTo>
                  <a:close/>
                  <a:moveTo>
                    <a:pt x="313" y="217"/>
                  </a:moveTo>
                  <a:cubicBezTo>
                    <a:pt x="281" y="217"/>
                    <a:pt x="281" y="217"/>
                    <a:pt x="281" y="217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313" y="249"/>
                    <a:pt x="313" y="249"/>
                    <a:pt x="313" y="249"/>
                  </a:cubicBezTo>
                  <a:lnTo>
                    <a:pt x="313" y="217"/>
                  </a:lnTo>
                  <a:close/>
                  <a:moveTo>
                    <a:pt x="168" y="217"/>
                  </a:moveTo>
                  <a:cubicBezTo>
                    <a:pt x="136" y="217"/>
                    <a:pt x="136" y="217"/>
                    <a:pt x="136" y="217"/>
                  </a:cubicBezTo>
                  <a:cubicBezTo>
                    <a:pt x="136" y="249"/>
                    <a:pt x="136" y="249"/>
                    <a:pt x="136" y="249"/>
                  </a:cubicBezTo>
                  <a:cubicBezTo>
                    <a:pt x="168" y="249"/>
                    <a:pt x="168" y="249"/>
                    <a:pt x="168" y="249"/>
                  </a:cubicBezTo>
                  <a:lnTo>
                    <a:pt x="168" y="217"/>
                  </a:lnTo>
                  <a:close/>
                  <a:moveTo>
                    <a:pt x="168" y="160"/>
                  </a:moveTo>
                  <a:cubicBezTo>
                    <a:pt x="136" y="160"/>
                    <a:pt x="136" y="160"/>
                    <a:pt x="136" y="160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68" y="192"/>
                    <a:pt x="168" y="192"/>
                    <a:pt x="168" y="192"/>
                  </a:cubicBezTo>
                  <a:lnTo>
                    <a:pt x="168" y="160"/>
                  </a:lnTo>
                  <a:close/>
                  <a:moveTo>
                    <a:pt x="168" y="273"/>
                  </a:moveTo>
                  <a:cubicBezTo>
                    <a:pt x="136" y="273"/>
                    <a:pt x="136" y="273"/>
                    <a:pt x="136" y="273"/>
                  </a:cubicBezTo>
                  <a:cubicBezTo>
                    <a:pt x="136" y="305"/>
                    <a:pt x="136" y="305"/>
                    <a:pt x="136" y="305"/>
                  </a:cubicBezTo>
                  <a:cubicBezTo>
                    <a:pt x="168" y="305"/>
                    <a:pt x="168" y="305"/>
                    <a:pt x="168" y="305"/>
                  </a:cubicBezTo>
                  <a:lnTo>
                    <a:pt x="168" y="273"/>
                  </a:lnTo>
                  <a:close/>
                  <a:moveTo>
                    <a:pt x="72" y="217"/>
                  </a:moveTo>
                  <a:cubicBezTo>
                    <a:pt x="40" y="217"/>
                    <a:pt x="40" y="217"/>
                    <a:pt x="40" y="217"/>
                  </a:cubicBezTo>
                  <a:cubicBezTo>
                    <a:pt x="40" y="249"/>
                    <a:pt x="40" y="249"/>
                    <a:pt x="40" y="249"/>
                  </a:cubicBezTo>
                  <a:cubicBezTo>
                    <a:pt x="72" y="249"/>
                    <a:pt x="72" y="249"/>
                    <a:pt x="72" y="249"/>
                  </a:cubicBezTo>
                  <a:lnTo>
                    <a:pt x="72" y="217"/>
                  </a:lnTo>
                  <a:close/>
                  <a:moveTo>
                    <a:pt x="72" y="160"/>
                  </a:moveTo>
                  <a:cubicBezTo>
                    <a:pt x="40" y="160"/>
                    <a:pt x="40" y="160"/>
                    <a:pt x="40" y="160"/>
                  </a:cubicBezTo>
                  <a:cubicBezTo>
                    <a:pt x="40" y="192"/>
                    <a:pt x="40" y="192"/>
                    <a:pt x="40" y="192"/>
                  </a:cubicBezTo>
                  <a:cubicBezTo>
                    <a:pt x="72" y="192"/>
                    <a:pt x="72" y="192"/>
                    <a:pt x="72" y="192"/>
                  </a:cubicBezTo>
                  <a:lnTo>
                    <a:pt x="72" y="160"/>
                  </a:lnTo>
                  <a:close/>
                  <a:moveTo>
                    <a:pt x="321" y="32"/>
                  </a:moveTo>
                  <a:cubicBezTo>
                    <a:pt x="289" y="32"/>
                    <a:pt x="289" y="32"/>
                    <a:pt x="289" y="32"/>
                  </a:cubicBezTo>
                  <a:cubicBezTo>
                    <a:pt x="289" y="8"/>
                    <a:pt x="289" y="8"/>
                    <a:pt x="289" y="8"/>
                  </a:cubicBezTo>
                  <a:cubicBezTo>
                    <a:pt x="289" y="3"/>
                    <a:pt x="285" y="0"/>
                    <a:pt x="281" y="0"/>
                  </a:cubicBezTo>
                  <a:cubicBezTo>
                    <a:pt x="276" y="0"/>
                    <a:pt x="272" y="3"/>
                    <a:pt x="272" y="8"/>
                  </a:cubicBezTo>
                  <a:cubicBezTo>
                    <a:pt x="272" y="32"/>
                    <a:pt x="272" y="32"/>
                    <a:pt x="272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8"/>
                    <a:pt x="80" y="8"/>
                    <a:pt x="80" y="8"/>
                  </a:cubicBezTo>
                  <a:cubicBezTo>
                    <a:pt x="80" y="3"/>
                    <a:pt x="76" y="0"/>
                    <a:pt x="72" y="0"/>
                  </a:cubicBezTo>
                  <a:cubicBezTo>
                    <a:pt x="67" y="0"/>
                    <a:pt x="64" y="3"/>
                    <a:pt x="64" y="8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4" y="32"/>
                    <a:pt x="0" y="46"/>
                    <a:pt x="0" y="64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8" y="353"/>
                    <a:pt x="353" y="339"/>
                    <a:pt x="353" y="321"/>
                  </a:cubicBezTo>
                  <a:cubicBezTo>
                    <a:pt x="353" y="64"/>
                    <a:pt x="353" y="64"/>
                    <a:pt x="353" y="64"/>
                  </a:cubicBezTo>
                  <a:cubicBezTo>
                    <a:pt x="353" y="46"/>
                    <a:pt x="338" y="32"/>
                    <a:pt x="321" y="32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337" y="128"/>
                    <a:pt x="337" y="128"/>
                    <a:pt x="337" y="128"/>
                  </a:cubicBezTo>
                  <a:lnTo>
                    <a:pt x="337" y="321"/>
                  </a:lnTo>
                  <a:close/>
                  <a:moveTo>
                    <a:pt x="337" y="112"/>
                  </a:moveTo>
                  <a:cubicBezTo>
                    <a:pt x="16" y="112"/>
                    <a:pt x="16" y="112"/>
                    <a:pt x="16" y="112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55"/>
                    <a:pt x="23" y="48"/>
                    <a:pt x="3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6"/>
                    <a:pt x="67" y="80"/>
                    <a:pt x="72" y="80"/>
                  </a:cubicBezTo>
                  <a:cubicBezTo>
                    <a:pt x="76" y="80"/>
                    <a:pt x="80" y="76"/>
                    <a:pt x="80" y="72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272" y="48"/>
                    <a:pt x="272" y="48"/>
                    <a:pt x="272" y="48"/>
                  </a:cubicBezTo>
                  <a:cubicBezTo>
                    <a:pt x="272" y="72"/>
                    <a:pt x="272" y="72"/>
                    <a:pt x="272" y="72"/>
                  </a:cubicBezTo>
                  <a:cubicBezTo>
                    <a:pt x="272" y="76"/>
                    <a:pt x="276" y="80"/>
                    <a:pt x="281" y="80"/>
                  </a:cubicBezTo>
                  <a:cubicBezTo>
                    <a:pt x="285" y="80"/>
                    <a:pt x="289" y="76"/>
                    <a:pt x="289" y="72"/>
                  </a:cubicBezTo>
                  <a:cubicBezTo>
                    <a:pt x="289" y="48"/>
                    <a:pt x="289" y="48"/>
                    <a:pt x="289" y="48"/>
                  </a:cubicBezTo>
                  <a:cubicBezTo>
                    <a:pt x="321" y="48"/>
                    <a:pt x="321" y="48"/>
                    <a:pt x="321" y="48"/>
                  </a:cubicBezTo>
                  <a:cubicBezTo>
                    <a:pt x="330" y="48"/>
                    <a:pt x="337" y="55"/>
                    <a:pt x="337" y="64"/>
                  </a:cubicBezTo>
                  <a:lnTo>
                    <a:pt x="337" y="112"/>
                  </a:lnTo>
                  <a:close/>
                  <a:moveTo>
                    <a:pt x="72" y="273"/>
                  </a:moveTo>
                  <a:cubicBezTo>
                    <a:pt x="40" y="273"/>
                    <a:pt x="40" y="273"/>
                    <a:pt x="40" y="273"/>
                  </a:cubicBezTo>
                  <a:cubicBezTo>
                    <a:pt x="40" y="305"/>
                    <a:pt x="40" y="305"/>
                    <a:pt x="40" y="305"/>
                  </a:cubicBezTo>
                  <a:cubicBezTo>
                    <a:pt x="72" y="305"/>
                    <a:pt x="72" y="305"/>
                    <a:pt x="72" y="305"/>
                  </a:cubicBezTo>
                  <a:lnTo>
                    <a:pt x="72" y="273"/>
                  </a:lnTo>
                  <a:close/>
                  <a:moveTo>
                    <a:pt x="120" y="160"/>
                  </a:moveTo>
                  <a:cubicBezTo>
                    <a:pt x="88" y="160"/>
                    <a:pt x="88" y="160"/>
                    <a:pt x="88" y="160"/>
                  </a:cubicBezTo>
                  <a:cubicBezTo>
                    <a:pt x="88" y="192"/>
                    <a:pt x="88" y="192"/>
                    <a:pt x="88" y="192"/>
                  </a:cubicBezTo>
                  <a:cubicBezTo>
                    <a:pt x="120" y="192"/>
                    <a:pt x="120" y="192"/>
                    <a:pt x="120" y="192"/>
                  </a:cubicBezTo>
                  <a:lnTo>
                    <a:pt x="120" y="160"/>
                  </a:lnTo>
                  <a:close/>
                  <a:moveTo>
                    <a:pt x="120" y="273"/>
                  </a:moveTo>
                  <a:cubicBezTo>
                    <a:pt x="88" y="273"/>
                    <a:pt x="88" y="273"/>
                    <a:pt x="88" y="273"/>
                  </a:cubicBezTo>
                  <a:cubicBezTo>
                    <a:pt x="88" y="305"/>
                    <a:pt x="88" y="305"/>
                    <a:pt x="88" y="305"/>
                  </a:cubicBezTo>
                  <a:cubicBezTo>
                    <a:pt x="120" y="305"/>
                    <a:pt x="120" y="305"/>
                    <a:pt x="120" y="305"/>
                  </a:cubicBezTo>
                  <a:lnTo>
                    <a:pt x="120" y="273"/>
                  </a:lnTo>
                  <a:close/>
                  <a:moveTo>
                    <a:pt x="120" y="217"/>
                  </a:moveTo>
                  <a:cubicBezTo>
                    <a:pt x="88" y="217"/>
                    <a:pt x="88" y="217"/>
                    <a:pt x="88" y="217"/>
                  </a:cubicBezTo>
                  <a:cubicBezTo>
                    <a:pt x="88" y="249"/>
                    <a:pt x="88" y="249"/>
                    <a:pt x="88" y="249"/>
                  </a:cubicBezTo>
                  <a:cubicBezTo>
                    <a:pt x="120" y="249"/>
                    <a:pt x="120" y="249"/>
                    <a:pt x="120" y="249"/>
                  </a:cubicBezTo>
                  <a:lnTo>
                    <a:pt x="120" y="2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cxnSp>
          <p:nvCxnSpPr>
            <p:cNvPr id="34" name="Straight Arrow Connector 33"/>
            <p:cNvCxnSpPr/>
            <p:nvPr/>
          </p:nvCxnSpPr>
          <p:spPr>
            <a:xfrm>
              <a:off x="3735569" y="3119804"/>
              <a:ext cx="0" cy="331912"/>
            </a:xfrm>
            <a:prstGeom prst="straightConnector1">
              <a:avLst/>
            </a:prstGeom>
            <a:ln w="1270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5404433" y="3119804"/>
              <a:ext cx="0" cy="331912"/>
            </a:xfrm>
            <a:prstGeom prst="straightConnector1">
              <a:avLst/>
            </a:prstGeom>
            <a:ln w="12700">
              <a:solidFill>
                <a:schemeClr val="accent5"/>
              </a:solidFill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2900740" y="1802499"/>
              <a:ext cx="0" cy="315545"/>
            </a:xfrm>
            <a:prstGeom prst="straightConnector1">
              <a:avLst/>
            </a:prstGeom>
            <a:ln w="12700">
              <a:solidFill>
                <a:schemeClr val="accent5"/>
              </a:solidFill>
              <a:headEnd type="triangle" w="sm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>
              <a:off x="4567836" y="1802499"/>
              <a:ext cx="0" cy="315545"/>
            </a:xfrm>
            <a:prstGeom prst="straightConnector1">
              <a:avLst/>
            </a:prstGeom>
            <a:ln w="12700">
              <a:solidFill>
                <a:schemeClr val="accent5"/>
              </a:solidFill>
              <a:headEnd type="triangle" w="sm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/>
            <p:cNvCxnSpPr/>
            <p:nvPr/>
          </p:nvCxnSpPr>
          <p:spPr>
            <a:xfrm>
              <a:off x="6242940" y="1802499"/>
              <a:ext cx="0" cy="315545"/>
            </a:xfrm>
            <a:prstGeom prst="straightConnector1">
              <a:avLst/>
            </a:prstGeom>
            <a:ln w="12700">
              <a:solidFill>
                <a:schemeClr val="accent5"/>
              </a:solidFill>
              <a:headEnd type="triangle" w="sm" len="sm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itle 2"/>
            <p:cNvSpPr txBox="1">
              <a:spLocks/>
            </p:cNvSpPr>
            <p:nvPr/>
          </p:nvSpPr>
          <p:spPr>
            <a:xfrm>
              <a:off x="2403083" y="1545476"/>
              <a:ext cx="98701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valiaçã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5" name="Title 2"/>
            <p:cNvSpPr txBox="1">
              <a:spLocks/>
            </p:cNvSpPr>
            <p:nvPr/>
          </p:nvSpPr>
          <p:spPr>
            <a:xfrm>
              <a:off x="3242060" y="3546989"/>
              <a:ext cx="98701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habilidade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6" name="Title 2"/>
            <p:cNvSpPr txBox="1">
              <a:spLocks/>
            </p:cNvSpPr>
            <p:nvPr/>
          </p:nvSpPr>
          <p:spPr>
            <a:xfrm>
              <a:off x="4074327" y="1545476"/>
              <a:ext cx="98701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ixã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7" name="Title 2"/>
            <p:cNvSpPr txBox="1">
              <a:spLocks/>
            </p:cNvSpPr>
            <p:nvPr/>
          </p:nvSpPr>
          <p:spPr>
            <a:xfrm>
              <a:off x="4909716" y="3546989"/>
              <a:ext cx="98701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calendári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itle 2"/>
            <p:cNvSpPr txBox="1">
              <a:spLocks/>
            </p:cNvSpPr>
            <p:nvPr/>
          </p:nvSpPr>
          <p:spPr>
            <a:xfrm>
              <a:off x="5744962" y="1545476"/>
              <a:ext cx="987017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elhoria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2085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Principais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 err="1">
                <a:solidFill>
                  <a:srgbClr val="EC0000"/>
                </a:solidFill>
              </a:rPr>
              <a:t>pontos</a:t>
            </a:r>
            <a:r>
              <a:rPr lang="en-US" dirty="0">
                <a:solidFill>
                  <a:srgbClr val="EC0000"/>
                </a:solidFill>
              </a:rPr>
              <a:t> </a:t>
            </a:r>
            <a:r>
              <a:rPr lang="en-US" dirty="0"/>
              <a:t>do </a:t>
            </a:r>
            <a:r>
              <a:rPr lang="en-US" dirty="0" err="1"/>
              <a:t>process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1213983" y="1545476"/>
            <a:ext cx="6323666" cy="2740774"/>
            <a:chOff x="1213983" y="1545476"/>
            <a:chExt cx="6323666" cy="2740774"/>
          </a:xfrm>
        </p:grpSpPr>
        <p:sp>
          <p:nvSpPr>
            <p:cNvPr id="4" name="Freeform 17"/>
            <p:cNvSpPr>
              <a:spLocks/>
            </p:cNvSpPr>
            <p:nvPr/>
          </p:nvSpPr>
          <p:spPr bwMode="auto">
            <a:xfrm>
              <a:off x="1540516" y="1829092"/>
              <a:ext cx="929533" cy="1323024"/>
            </a:xfrm>
            <a:custGeom>
              <a:avLst/>
              <a:gdLst>
                <a:gd name="T0" fmla="*/ 1253 w 1253"/>
                <a:gd name="T1" fmla="*/ 626 h 1785"/>
                <a:gd name="T2" fmla="*/ 627 w 1253"/>
                <a:gd name="T3" fmla="*/ 0 h 1785"/>
                <a:gd name="T4" fmla="*/ 0 w 1253"/>
                <a:gd name="T5" fmla="*/ 626 h 1785"/>
                <a:gd name="T6" fmla="*/ 511 w 1253"/>
                <a:gd name="T7" fmla="*/ 1242 h 1785"/>
                <a:gd name="T8" fmla="*/ 557 w 1253"/>
                <a:gd name="T9" fmla="*/ 1297 h 1785"/>
                <a:gd name="T10" fmla="*/ 557 w 1253"/>
                <a:gd name="T11" fmla="*/ 1297 h 1785"/>
                <a:gd name="T12" fmla="*/ 557 w 1253"/>
                <a:gd name="T13" fmla="*/ 1298 h 1785"/>
                <a:gd name="T14" fmla="*/ 557 w 1253"/>
                <a:gd name="T15" fmla="*/ 1298 h 1785"/>
                <a:gd name="T16" fmla="*/ 524 w 1253"/>
                <a:gd name="T17" fmla="*/ 1350 h 1785"/>
                <a:gd name="T18" fmla="*/ 400 w 1253"/>
                <a:gd name="T19" fmla="*/ 1568 h 1785"/>
                <a:gd name="T20" fmla="*/ 616 w 1253"/>
                <a:gd name="T21" fmla="*/ 1779 h 1785"/>
                <a:gd name="T22" fmla="*/ 853 w 1253"/>
                <a:gd name="T23" fmla="*/ 1552 h 1785"/>
                <a:gd name="T24" fmla="*/ 729 w 1253"/>
                <a:gd name="T25" fmla="*/ 1350 h 1785"/>
                <a:gd name="T26" fmla="*/ 695 w 1253"/>
                <a:gd name="T27" fmla="*/ 1298 h 1785"/>
                <a:gd name="T28" fmla="*/ 695 w 1253"/>
                <a:gd name="T29" fmla="*/ 1298 h 1785"/>
                <a:gd name="T30" fmla="*/ 695 w 1253"/>
                <a:gd name="T31" fmla="*/ 1297 h 1785"/>
                <a:gd name="T32" fmla="*/ 695 w 1253"/>
                <a:gd name="T33" fmla="*/ 1297 h 1785"/>
                <a:gd name="T34" fmla="*/ 742 w 1253"/>
                <a:gd name="T35" fmla="*/ 1242 h 1785"/>
                <a:gd name="T36" fmla="*/ 1253 w 1253"/>
                <a:gd name="T37" fmla="*/ 626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3" h="1785">
                  <a:moveTo>
                    <a:pt x="1253" y="626"/>
                  </a:moveTo>
                  <a:cubicBezTo>
                    <a:pt x="1253" y="280"/>
                    <a:pt x="973" y="0"/>
                    <a:pt x="627" y="0"/>
                  </a:cubicBezTo>
                  <a:cubicBezTo>
                    <a:pt x="281" y="0"/>
                    <a:pt x="0" y="281"/>
                    <a:pt x="0" y="626"/>
                  </a:cubicBezTo>
                  <a:cubicBezTo>
                    <a:pt x="0" y="933"/>
                    <a:pt x="220" y="1188"/>
                    <a:pt x="511" y="1242"/>
                  </a:cubicBezTo>
                  <a:cubicBezTo>
                    <a:pt x="537" y="1247"/>
                    <a:pt x="557" y="1270"/>
                    <a:pt x="557" y="1297"/>
                  </a:cubicBezTo>
                  <a:cubicBezTo>
                    <a:pt x="557" y="1297"/>
                    <a:pt x="557" y="1297"/>
                    <a:pt x="557" y="1297"/>
                  </a:cubicBezTo>
                  <a:cubicBezTo>
                    <a:pt x="557" y="1297"/>
                    <a:pt x="557" y="1298"/>
                    <a:pt x="557" y="1298"/>
                  </a:cubicBezTo>
                  <a:cubicBezTo>
                    <a:pt x="557" y="1298"/>
                    <a:pt x="557" y="1298"/>
                    <a:pt x="557" y="1298"/>
                  </a:cubicBezTo>
                  <a:cubicBezTo>
                    <a:pt x="557" y="1321"/>
                    <a:pt x="544" y="1340"/>
                    <a:pt x="524" y="1350"/>
                  </a:cubicBezTo>
                  <a:cubicBezTo>
                    <a:pt x="446" y="1390"/>
                    <a:pt x="394" y="1473"/>
                    <a:pt x="400" y="1568"/>
                  </a:cubicBezTo>
                  <a:cubicBezTo>
                    <a:pt x="408" y="1682"/>
                    <a:pt x="501" y="1773"/>
                    <a:pt x="616" y="1779"/>
                  </a:cubicBezTo>
                  <a:cubicBezTo>
                    <a:pt x="746" y="1785"/>
                    <a:pt x="853" y="1681"/>
                    <a:pt x="853" y="1552"/>
                  </a:cubicBezTo>
                  <a:cubicBezTo>
                    <a:pt x="853" y="1464"/>
                    <a:pt x="802" y="1388"/>
                    <a:pt x="729" y="1350"/>
                  </a:cubicBezTo>
                  <a:cubicBezTo>
                    <a:pt x="709" y="1340"/>
                    <a:pt x="696" y="1321"/>
                    <a:pt x="695" y="1298"/>
                  </a:cubicBezTo>
                  <a:cubicBezTo>
                    <a:pt x="695" y="1298"/>
                    <a:pt x="695" y="1298"/>
                    <a:pt x="695" y="1298"/>
                  </a:cubicBezTo>
                  <a:cubicBezTo>
                    <a:pt x="695" y="1298"/>
                    <a:pt x="695" y="1297"/>
                    <a:pt x="695" y="1297"/>
                  </a:cubicBezTo>
                  <a:cubicBezTo>
                    <a:pt x="695" y="1297"/>
                    <a:pt x="695" y="1297"/>
                    <a:pt x="695" y="1297"/>
                  </a:cubicBezTo>
                  <a:cubicBezTo>
                    <a:pt x="696" y="1270"/>
                    <a:pt x="715" y="1247"/>
                    <a:pt x="742" y="1242"/>
                  </a:cubicBezTo>
                  <a:cubicBezTo>
                    <a:pt x="1033" y="1188"/>
                    <a:pt x="1253" y="933"/>
                    <a:pt x="1253" y="626"/>
                  </a:cubicBezTo>
                  <a:close/>
                </a:path>
              </a:pathLst>
            </a:custGeom>
            <a:solidFill>
              <a:schemeClr val="accent1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" name="Freeform 17"/>
            <p:cNvSpPr>
              <a:spLocks/>
            </p:cNvSpPr>
            <p:nvPr/>
          </p:nvSpPr>
          <p:spPr bwMode="auto">
            <a:xfrm>
              <a:off x="3911051" y="1829092"/>
              <a:ext cx="929533" cy="1323024"/>
            </a:xfrm>
            <a:custGeom>
              <a:avLst/>
              <a:gdLst>
                <a:gd name="T0" fmla="*/ 1253 w 1253"/>
                <a:gd name="T1" fmla="*/ 626 h 1785"/>
                <a:gd name="T2" fmla="*/ 627 w 1253"/>
                <a:gd name="T3" fmla="*/ 0 h 1785"/>
                <a:gd name="T4" fmla="*/ 0 w 1253"/>
                <a:gd name="T5" fmla="*/ 626 h 1785"/>
                <a:gd name="T6" fmla="*/ 511 w 1253"/>
                <a:gd name="T7" fmla="*/ 1242 h 1785"/>
                <a:gd name="T8" fmla="*/ 557 w 1253"/>
                <a:gd name="T9" fmla="*/ 1297 h 1785"/>
                <a:gd name="T10" fmla="*/ 557 w 1253"/>
                <a:gd name="T11" fmla="*/ 1297 h 1785"/>
                <a:gd name="T12" fmla="*/ 557 w 1253"/>
                <a:gd name="T13" fmla="*/ 1298 h 1785"/>
                <a:gd name="T14" fmla="*/ 557 w 1253"/>
                <a:gd name="T15" fmla="*/ 1298 h 1785"/>
                <a:gd name="T16" fmla="*/ 524 w 1253"/>
                <a:gd name="T17" fmla="*/ 1350 h 1785"/>
                <a:gd name="T18" fmla="*/ 400 w 1253"/>
                <a:gd name="T19" fmla="*/ 1568 h 1785"/>
                <a:gd name="T20" fmla="*/ 616 w 1253"/>
                <a:gd name="T21" fmla="*/ 1779 h 1785"/>
                <a:gd name="T22" fmla="*/ 853 w 1253"/>
                <a:gd name="T23" fmla="*/ 1552 h 1785"/>
                <a:gd name="T24" fmla="*/ 729 w 1253"/>
                <a:gd name="T25" fmla="*/ 1350 h 1785"/>
                <a:gd name="T26" fmla="*/ 695 w 1253"/>
                <a:gd name="T27" fmla="*/ 1298 h 1785"/>
                <a:gd name="T28" fmla="*/ 695 w 1253"/>
                <a:gd name="T29" fmla="*/ 1298 h 1785"/>
                <a:gd name="T30" fmla="*/ 695 w 1253"/>
                <a:gd name="T31" fmla="*/ 1297 h 1785"/>
                <a:gd name="T32" fmla="*/ 695 w 1253"/>
                <a:gd name="T33" fmla="*/ 1297 h 1785"/>
                <a:gd name="T34" fmla="*/ 742 w 1253"/>
                <a:gd name="T35" fmla="*/ 1242 h 1785"/>
                <a:gd name="T36" fmla="*/ 1253 w 1253"/>
                <a:gd name="T37" fmla="*/ 626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3" h="1785">
                  <a:moveTo>
                    <a:pt x="1253" y="626"/>
                  </a:moveTo>
                  <a:cubicBezTo>
                    <a:pt x="1253" y="280"/>
                    <a:pt x="973" y="0"/>
                    <a:pt x="627" y="0"/>
                  </a:cubicBezTo>
                  <a:cubicBezTo>
                    <a:pt x="281" y="0"/>
                    <a:pt x="0" y="281"/>
                    <a:pt x="0" y="626"/>
                  </a:cubicBezTo>
                  <a:cubicBezTo>
                    <a:pt x="0" y="933"/>
                    <a:pt x="220" y="1188"/>
                    <a:pt x="511" y="1242"/>
                  </a:cubicBezTo>
                  <a:cubicBezTo>
                    <a:pt x="537" y="1247"/>
                    <a:pt x="557" y="1270"/>
                    <a:pt x="557" y="1297"/>
                  </a:cubicBezTo>
                  <a:cubicBezTo>
                    <a:pt x="557" y="1297"/>
                    <a:pt x="557" y="1297"/>
                    <a:pt x="557" y="1297"/>
                  </a:cubicBezTo>
                  <a:cubicBezTo>
                    <a:pt x="557" y="1297"/>
                    <a:pt x="557" y="1298"/>
                    <a:pt x="557" y="1298"/>
                  </a:cubicBezTo>
                  <a:cubicBezTo>
                    <a:pt x="557" y="1298"/>
                    <a:pt x="557" y="1298"/>
                    <a:pt x="557" y="1298"/>
                  </a:cubicBezTo>
                  <a:cubicBezTo>
                    <a:pt x="557" y="1321"/>
                    <a:pt x="544" y="1340"/>
                    <a:pt x="524" y="1350"/>
                  </a:cubicBezTo>
                  <a:cubicBezTo>
                    <a:pt x="446" y="1390"/>
                    <a:pt x="394" y="1473"/>
                    <a:pt x="400" y="1568"/>
                  </a:cubicBezTo>
                  <a:cubicBezTo>
                    <a:pt x="408" y="1682"/>
                    <a:pt x="501" y="1773"/>
                    <a:pt x="616" y="1779"/>
                  </a:cubicBezTo>
                  <a:cubicBezTo>
                    <a:pt x="746" y="1785"/>
                    <a:pt x="853" y="1681"/>
                    <a:pt x="853" y="1552"/>
                  </a:cubicBezTo>
                  <a:cubicBezTo>
                    <a:pt x="853" y="1464"/>
                    <a:pt x="802" y="1388"/>
                    <a:pt x="729" y="1350"/>
                  </a:cubicBezTo>
                  <a:cubicBezTo>
                    <a:pt x="709" y="1340"/>
                    <a:pt x="696" y="1321"/>
                    <a:pt x="695" y="1298"/>
                  </a:cubicBezTo>
                  <a:cubicBezTo>
                    <a:pt x="695" y="1298"/>
                    <a:pt x="695" y="1298"/>
                    <a:pt x="695" y="1298"/>
                  </a:cubicBezTo>
                  <a:cubicBezTo>
                    <a:pt x="695" y="1298"/>
                    <a:pt x="695" y="1297"/>
                    <a:pt x="695" y="1297"/>
                  </a:cubicBezTo>
                  <a:cubicBezTo>
                    <a:pt x="695" y="1297"/>
                    <a:pt x="695" y="1297"/>
                    <a:pt x="695" y="1297"/>
                  </a:cubicBezTo>
                  <a:cubicBezTo>
                    <a:pt x="696" y="1270"/>
                    <a:pt x="715" y="1247"/>
                    <a:pt x="742" y="1242"/>
                  </a:cubicBezTo>
                  <a:cubicBezTo>
                    <a:pt x="1033" y="1188"/>
                    <a:pt x="1253" y="933"/>
                    <a:pt x="1253" y="626"/>
                  </a:cubicBezTo>
                  <a:close/>
                </a:path>
              </a:pathLst>
            </a:custGeom>
            <a:solidFill>
              <a:schemeClr val="accent3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17"/>
            <p:cNvSpPr>
              <a:spLocks/>
            </p:cNvSpPr>
            <p:nvPr/>
          </p:nvSpPr>
          <p:spPr bwMode="auto">
            <a:xfrm>
              <a:off x="6281589" y="1829092"/>
              <a:ext cx="929533" cy="1323024"/>
            </a:xfrm>
            <a:custGeom>
              <a:avLst/>
              <a:gdLst>
                <a:gd name="T0" fmla="*/ 1253 w 1253"/>
                <a:gd name="T1" fmla="*/ 626 h 1785"/>
                <a:gd name="T2" fmla="*/ 627 w 1253"/>
                <a:gd name="T3" fmla="*/ 0 h 1785"/>
                <a:gd name="T4" fmla="*/ 0 w 1253"/>
                <a:gd name="T5" fmla="*/ 626 h 1785"/>
                <a:gd name="T6" fmla="*/ 511 w 1253"/>
                <a:gd name="T7" fmla="*/ 1242 h 1785"/>
                <a:gd name="T8" fmla="*/ 557 w 1253"/>
                <a:gd name="T9" fmla="*/ 1297 h 1785"/>
                <a:gd name="T10" fmla="*/ 557 w 1253"/>
                <a:gd name="T11" fmla="*/ 1297 h 1785"/>
                <a:gd name="T12" fmla="*/ 557 w 1253"/>
                <a:gd name="T13" fmla="*/ 1298 h 1785"/>
                <a:gd name="T14" fmla="*/ 557 w 1253"/>
                <a:gd name="T15" fmla="*/ 1298 h 1785"/>
                <a:gd name="T16" fmla="*/ 524 w 1253"/>
                <a:gd name="T17" fmla="*/ 1350 h 1785"/>
                <a:gd name="T18" fmla="*/ 400 w 1253"/>
                <a:gd name="T19" fmla="*/ 1568 h 1785"/>
                <a:gd name="T20" fmla="*/ 616 w 1253"/>
                <a:gd name="T21" fmla="*/ 1779 h 1785"/>
                <a:gd name="T22" fmla="*/ 853 w 1253"/>
                <a:gd name="T23" fmla="*/ 1552 h 1785"/>
                <a:gd name="T24" fmla="*/ 729 w 1253"/>
                <a:gd name="T25" fmla="*/ 1350 h 1785"/>
                <a:gd name="T26" fmla="*/ 695 w 1253"/>
                <a:gd name="T27" fmla="*/ 1298 h 1785"/>
                <a:gd name="T28" fmla="*/ 695 w 1253"/>
                <a:gd name="T29" fmla="*/ 1298 h 1785"/>
                <a:gd name="T30" fmla="*/ 695 w 1253"/>
                <a:gd name="T31" fmla="*/ 1297 h 1785"/>
                <a:gd name="T32" fmla="*/ 695 w 1253"/>
                <a:gd name="T33" fmla="*/ 1297 h 1785"/>
                <a:gd name="T34" fmla="*/ 742 w 1253"/>
                <a:gd name="T35" fmla="*/ 1242 h 1785"/>
                <a:gd name="T36" fmla="*/ 1253 w 1253"/>
                <a:gd name="T37" fmla="*/ 626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3" h="1785">
                  <a:moveTo>
                    <a:pt x="1253" y="626"/>
                  </a:moveTo>
                  <a:cubicBezTo>
                    <a:pt x="1253" y="280"/>
                    <a:pt x="973" y="0"/>
                    <a:pt x="627" y="0"/>
                  </a:cubicBezTo>
                  <a:cubicBezTo>
                    <a:pt x="281" y="0"/>
                    <a:pt x="0" y="281"/>
                    <a:pt x="0" y="626"/>
                  </a:cubicBezTo>
                  <a:cubicBezTo>
                    <a:pt x="0" y="933"/>
                    <a:pt x="220" y="1188"/>
                    <a:pt x="511" y="1242"/>
                  </a:cubicBezTo>
                  <a:cubicBezTo>
                    <a:pt x="537" y="1247"/>
                    <a:pt x="557" y="1270"/>
                    <a:pt x="557" y="1297"/>
                  </a:cubicBezTo>
                  <a:cubicBezTo>
                    <a:pt x="557" y="1297"/>
                    <a:pt x="557" y="1297"/>
                    <a:pt x="557" y="1297"/>
                  </a:cubicBezTo>
                  <a:cubicBezTo>
                    <a:pt x="557" y="1297"/>
                    <a:pt x="557" y="1298"/>
                    <a:pt x="557" y="1298"/>
                  </a:cubicBezTo>
                  <a:cubicBezTo>
                    <a:pt x="557" y="1298"/>
                    <a:pt x="557" y="1298"/>
                    <a:pt x="557" y="1298"/>
                  </a:cubicBezTo>
                  <a:cubicBezTo>
                    <a:pt x="557" y="1321"/>
                    <a:pt x="544" y="1340"/>
                    <a:pt x="524" y="1350"/>
                  </a:cubicBezTo>
                  <a:cubicBezTo>
                    <a:pt x="446" y="1390"/>
                    <a:pt x="394" y="1473"/>
                    <a:pt x="400" y="1568"/>
                  </a:cubicBezTo>
                  <a:cubicBezTo>
                    <a:pt x="408" y="1682"/>
                    <a:pt x="501" y="1773"/>
                    <a:pt x="616" y="1779"/>
                  </a:cubicBezTo>
                  <a:cubicBezTo>
                    <a:pt x="746" y="1785"/>
                    <a:pt x="853" y="1681"/>
                    <a:pt x="853" y="1552"/>
                  </a:cubicBezTo>
                  <a:cubicBezTo>
                    <a:pt x="853" y="1464"/>
                    <a:pt x="802" y="1388"/>
                    <a:pt x="729" y="1350"/>
                  </a:cubicBezTo>
                  <a:cubicBezTo>
                    <a:pt x="709" y="1340"/>
                    <a:pt x="696" y="1321"/>
                    <a:pt x="695" y="1298"/>
                  </a:cubicBezTo>
                  <a:cubicBezTo>
                    <a:pt x="695" y="1298"/>
                    <a:pt x="695" y="1298"/>
                    <a:pt x="695" y="1298"/>
                  </a:cubicBezTo>
                  <a:cubicBezTo>
                    <a:pt x="695" y="1298"/>
                    <a:pt x="695" y="1297"/>
                    <a:pt x="695" y="1297"/>
                  </a:cubicBezTo>
                  <a:cubicBezTo>
                    <a:pt x="695" y="1297"/>
                    <a:pt x="695" y="1297"/>
                    <a:pt x="695" y="1297"/>
                  </a:cubicBezTo>
                  <a:cubicBezTo>
                    <a:pt x="696" y="1270"/>
                    <a:pt x="715" y="1247"/>
                    <a:pt x="742" y="1242"/>
                  </a:cubicBezTo>
                  <a:cubicBezTo>
                    <a:pt x="1033" y="1188"/>
                    <a:pt x="1253" y="933"/>
                    <a:pt x="1253" y="626"/>
                  </a:cubicBezTo>
                  <a:close/>
                </a:path>
              </a:pathLst>
            </a:custGeom>
            <a:solidFill>
              <a:schemeClr val="accent5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7" name="Freeform 17"/>
            <p:cNvSpPr>
              <a:spLocks/>
            </p:cNvSpPr>
            <p:nvPr/>
          </p:nvSpPr>
          <p:spPr bwMode="auto">
            <a:xfrm rot="10800000">
              <a:off x="5096320" y="2671156"/>
              <a:ext cx="929533" cy="1323024"/>
            </a:xfrm>
            <a:custGeom>
              <a:avLst/>
              <a:gdLst>
                <a:gd name="T0" fmla="*/ 1253 w 1253"/>
                <a:gd name="T1" fmla="*/ 626 h 1785"/>
                <a:gd name="T2" fmla="*/ 627 w 1253"/>
                <a:gd name="T3" fmla="*/ 0 h 1785"/>
                <a:gd name="T4" fmla="*/ 0 w 1253"/>
                <a:gd name="T5" fmla="*/ 626 h 1785"/>
                <a:gd name="T6" fmla="*/ 511 w 1253"/>
                <a:gd name="T7" fmla="*/ 1242 h 1785"/>
                <a:gd name="T8" fmla="*/ 557 w 1253"/>
                <a:gd name="T9" fmla="*/ 1297 h 1785"/>
                <a:gd name="T10" fmla="*/ 557 w 1253"/>
                <a:gd name="T11" fmla="*/ 1297 h 1785"/>
                <a:gd name="T12" fmla="*/ 557 w 1253"/>
                <a:gd name="T13" fmla="*/ 1298 h 1785"/>
                <a:gd name="T14" fmla="*/ 557 w 1253"/>
                <a:gd name="T15" fmla="*/ 1298 h 1785"/>
                <a:gd name="T16" fmla="*/ 524 w 1253"/>
                <a:gd name="T17" fmla="*/ 1350 h 1785"/>
                <a:gd name="T18" fmla="*/ 400 w 1253"/>
                <a:gd name="T19" fmla="*/ 1568 h 1785"/>
                <a:gd name="T20" fmla="*/ 616 w 1253"/>
                <a:gd name="T21" fmla="*/ 1779 h 1785"/>
                <a:gd name="T22" fmla="*/ 853 w 1253"/>
                <a:gd name="T23" fmla="*/ 1552 h 1785"/>
                <a:gd name="T24" fmla="*/ 729 w 1253"/>
                <a:gd name="T25" fmla="*/ 1350 h 1785"/>
                <a:gd name="T26" fmla="*/ 695 w 1253"/>
                <a:gd name="T27" fmla="*/ 1298 h 1785"/>
                <a:gd name="T28" fmla="*/ 695 w 1253"/>
                <a:gd name="T29" fmla="*/ 1298 h 1785"/>
                <a:gd name="T30" fmla="*/ 695 w 1253"/>
                <a:gd name="T31" fmla="*/ 1297 h 1785"/>
                <a:gd name="T32" fmla="*/ 695 w 1253"/>
                <a:gd name="T33" fmla="*/ 1297 h 1785"/>
                <a:gd name="T34" fmla="*/ 742 w 1253"/>
                <a:gd name="T35" fmla="*/ 1242 h 1785"/>
                <a:gd name="T36" fmla="*/ 1253 w 1253"/>
                <a:gd name="T37" fmla="*/ 626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3" h="1785">
                  <a:moveTo>
                    <a:pt x="1253" y="626"/>
                  </a:moveTo>
                  <a:cubicBezTo>
                    <a:pt x="1253" y="280"/>
                    <a:pt x="973" y="0"/>
                    <a:pt x="627" y="0"/>
                  </a:cubicBezTo>
                  <a:cubicBezTo>
                    <a:pt x="281" y="0"/>
                    <a:pt x="0" y="281"/>
                    <a:pt x="0" y="626"/>
                  </a:cubicBezTo>
                  <a:cubicBezTo>
                    <a:pt x="0" y="933"/>
                    <a:pt x="220" y="1188"/>
                    <a:pt x="511" y="1242"/>
                  </a:cubicBezTo>
                  <a:cubicBezTo>
                    <a:pt x="537" y="1247"/>
                    <a:pt x="557" y="1270"/>
                    <a:pt x="557" y="1297"/>
                  </a:cubicBezTo>
                  <a:cubicBezTo>
                    <a:pt x="557" y="1297"/>
                    <a:pt x="557" y="1297"/>
                    <a:pt x="557" y="1297"/>
                  </a:cubicBezTo>
                  <a:cubicBezTo>
                    <a:pt x="557" y="1297"/>
                    <a:pt x="557" y="1298"/>
                    <a:pt x="557" y="1298"/>
                  </a:cubicBezTo>
                  <a:cubicBezTo>
                    <a:pt x="557" y="1298"/>
                    <a:pt x="557" y="1298"/>
                    <a:pt x="557" y="1298"/>
                  </a:cubicBezTo>
                  <a:cubicBezTo>
                    <a:pt x="557" y="1321"/>
                    <a:pt x="544" y="1340"/>
                    <a:pt x="524" y="1350"/>
                  </a:cubicBezTo>
                  <a:cubicBezTo>
                    <a:pt x="446" y="1390"/>
                    <a:pt x="394" y="1473"/>
                    <a:pt x="400" y="1568"/>
                  </a:cubicBezTo>
                  <a:cubicBezTo>
                    <a:pt x="408" y="1682"/>
                    <a:pt x="501" y="1773"/>
                    <a:pt x="616" y="1779"/>
                  </a:cubicBezTo>
                  <a:cubicBezTo>
                    <a:pt x="746" y="1785"/>
                    <a:pt x="853" y="1681"/>
                    <a:pt x="853" y="1552"/>
                  </a:cubicBezTo>
                  <a:cubicBezTo>
                    <a:pt x="853" y="1464"/>
                    <a:pt x="802" y="1388"/>
                    <a:pt x="729" y="1350"/>
                  </a:cubicBezTo>
                  <a:cubicBezTo>
                    <a:pt x="709" y="1340"/>
                    <a:pt x="696" y="1321"/>
                    <a:pt x="695" y="1298"/>
                  </a:cubicBezTo>
                  <a:cubicBezTo>
                    <a:pt x="695" y="1298"/>
                    <a:pt x="695" y="1298"/>
                    <a:pt x="695" y="1298"/>
                  </a:cubicBezTo>
                  <a:cubicBezTo>
                    <a:pt x="695" y="1298"/>
                    <a:pt x="695" y="1297"/>
                    <a:pt x="695" y="1297"/>
                  </a:cubicBezTo>
                  <a:cubicBezTo>
                    <a:pt x="695" y="1297"/>
                    <a:pt x="695" y="1297"/>
                    <a:pt x="695" y="1297"/>
                  </a:cubicBezTo>
                  <a:cubicBezTo>
                    <a:pt x="696" y="1270"/>
                    <a:pt x="715" y="1247"/>
                    <a:pt x="742" y="1242"/>
                  </a:cubicBezTo>
                  <a:cubicBezTo>
                    <a:pt x="1033" y="1188"/>
                    <a:pt x="1253" y="933"/>
                    <a:pt x="1253" y="626"/>
                  </a:cubicBezTo>
                  <a:close/>
                </a:path>
              </a:pathLst>
            </a:custGeom>
            <a:solidFill>
              <a:schemeClr val="accent4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" name="Freeform 17"/>
            <p:cNvSpPr>
              <a:spLocks/>
            </p:cNvSpPr>
            <p:nvPr/>
          </p:nvSpPr>
          <p:spPr bwMode="auto">
            <a:xfrm rot="10800000">
              <a:off x="2725785" y="2671156"/>
              <a:ext cx="929533" cy="1323024"/>
            </a:xfrm>
            <a:custGeom>
              <a:avLst/>
              <a:gdLst>
                <a:gd name="T0" fmla="*/ 1253 w 1253"/>
                <a:gd name="T1" fmla="*/ 626 h 1785"/>
                <a:gd name="T2" fmla="*/ 627 w 1253"/>
                <a:gd name="T3" fmla="*/ 0 h 1785"/>
                <a:gd name="T4" fmla="*/ 0 w 1253"/>
                <a:gd name="T5" fmla="*/ 626 h 1785"/>
                <a:gd name="T6" fmla="*/ 511 w 1253"/>
                <a:gd name="T7" fmla="*/ 1242 h 1785"/>
                <a:gd name="T8" fmla="*/ 557 w 1253"/>
                <a:gd name="T9" fmla="*/ 1297 h 1785"/>
                <a:gd name="T10" fmla="*/ 557 w 1253"/>
                <a:gd name="T11" fmla="*/ 1297 h 1785"/>
                <a:gd name="T12" fmla="*/ 557 w 1253"/>
                <a:gd name="T13" fmla="*/ 1298 h 1785"/>
                <a:gd name="T14" fmla="*/ 557 w 1253"/>
                <a:gd name="T15" fmla="*/ 1298 h 1785"/>
                <a:gd name="T16" fmla="*/ 524 w 1253"/>
                <a:gd name="T17" fmla="*/ 1350 h 1785"/>
                <a:gd name="T18" fmla="*/ 400 w 1253"/>
                <a:gd name="T19" fmla="*/ 1568 h 1785"/>
                <a:gd name="T20" fmla="*/ 616 w 1253"/>
                <a:gd name="T21" fmla="*/ 1779 h 1785"/>
                <a:gd name="T22" fmla="*/ 853 w 1253"/>
                <a:gd name="T23" fmla="*/ 1552 h 1785"/>
                <a:gd name="T24" fmla="*/ 729 w 1253"/>
                <a:gd name="T25" fmla="*/ 1350 h 1785"/>
                <a:gd name="T26" fmla="*/ 695 w 1253"/>
                <a:gd name="T27" fmla="*/ 1298 h 1785"/>
                <a:gd name="T28" fmla="*/ 695 w 1253"/>
                <a:gd name="T29" fmla="*/ 1298 h 1785"/>
                <a:gd name="T30" fmla="*/ 695 w 1253"/>
                <a:gd name="T31" fmla="*/ 1297 h 1785"/>
                <a:gd name="T32" fmla="*/ 695 w 1253"/>
                <a:gd name="T33" fmla="*/ 1297 h 1785"/>
                <a:gd name="T34" fmla="*/ 742 w 1253"/>
                <a:gd name="T35" fmla="*/ 1242 h 1785"/>
                <a:gd name="T36" fmla="*/ 1253 w 1253"/>
                <a:gd name="T37" fmla="*/ 626 h 1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53" h="1785">
                  <a:moveTo>
                    <a:pt x="1253" y="626"/>
                  </a:moveTo>
                  <a:cubicBezTo>
                    <a:pt x="1253" y="280"/>
                    <a:pt x="973" y="0"/>
                    <a:pt x="627" y="0"/>
                  </a:cubicBezTo>
                  <a:cubicBezTo>
                    <a:pt x="281" y="0"/>
                    <a:pt x="0" y="281"/>
                    <a:pt x="0" y="626"/>
                  </a:cubicBezTo>
                  <a:cubicBezTo>
                    <a:pt x="0" y="933"/>
                    <a:pt x="220" y="1188"/>
                    <a:pt x="511" y="1242"/>
                  </a:cubicBezTo>
                  <a:cubicBezTo>
                    <a:pt x="537" y="1247"/>
                    <a:pt x="557" y="1270"/>
                    <a:pt x="557" y="1297"/>
                  </a:cubicBezTo>
                  <a:cubicBezTo>
                    <a:pt x="557" y="1297"/>
                    <a:pt x="557" y="1297"/>
                    <a:pt x="557" y="1297"/>
                  </a:cubicBezTo>
                  <a:cubicBezTo>
                    <a:pt x="557" y="1297"/>
                    <a:pt x="557" y="1298"/>
                    <a:pt x="557" y="1298"/>
                  </a:cubicBezTo>
                  <a:cubicBezTo>
                    <a:pt x="557" y="1298"/>
                    <a:pt x="557" y="1298"/>
                    <a:pt x="557" y="1298"/>
                  </a:cubicBezTo>
                  <a:cubicBezTo>
                    <a:pt x="557" y="1321"/>
                    <a:pt x="544" y="1340"/>
                    <a:pt x="524" y="1350"/>
                  </a:cubicBezTo>
                  <a:cubicBezTo>
                    <a:pt x="446" y="1390"/>
                    <a:pt x="394" y="1473"/>
                    <a:pt x="400" y="1568"/>
                  </a:cubicBezTo>
                  <a:cubicBezTo>
                    <a:pt x="408" y="1682"/>
                    <a:pt x="501" y="1773"/>
                    <a:pt x="616" y="1779"/>
                  </a:cubicBezTo>
                  <a:cubicBezTo>
                    <a:pt x="746" y="1785"/>
                    <a:pt x="853" y="1681"/>
                    <a:pt x="853" y="1552"/>
                  </a:cubicBezTo>
                  <a:cubicBezTo>
                    <a:pt x="853" y="1464"/>
                    <a:pt x="802" y="1388"/>
                    <a:pt x="729" y="1350"/>
                  </a:cubicBezTo>
                  <a:cubicBezTo>
                    <a:pt x="709" y="1340"/>
                    <a:pt x="696" y="1321"/>
                    <a:pt x="695" y="1298"/>
                  </a:cubicBezTo>
                  <a:cubicBezTo>
                    <a:pt x="695" y="1298"/>
                    <a:pt x="695" y="1298"/>
                    <a:pt x="695" y="1298"/>
                  </a:cubicBezTo>
                  <a:cubicBezTo>
                    <a:pt x="695" y="1298"/>
                    <a:pt x="695" y="1297"/>
                    <a:pt x="695" y="1297"/>
                  </a:cubicBezTo>
                  <a:cubicBezTo>
                    <a:pt x="695" y="1297"/>
                    <a:pt x="695" y="1297"/>
                    <a:pt x="695" y="1297"/>
                  </a:cubicBezTo>
                  <a:cubicBezTo>
                    <a:pt x="696" y="1270"/>
                    <a:pt x="715" y="1247"/>
                    <a:pt x="742" y="1242"/>
                  </a:cubicBezTo>
                  <a:cubicBezTo>
                    <a:pt x="1033" y="1188"/>
                    <a:pt x="1253" y="933"/>
                    <a:pt x="1253" y="626"/>
                  </a:cubicBezTo>
                  <a:close/>
                </a:path>
              </a:pathLst>
            </a:custGeom>
            <a:solidFill>
              <a:srgbClr val="EC0000"/>
            </a:solidFill>
            <a:ln w="14288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9" name="Freeform 25"/>
            <p:cNvSpPr>
              <a:spLocks noEditPoints="1"/>
            </p:cNvSpPr>
            <p:nvPr/>
          </p:nvSpPr>
          <p:spPr bwMode="auto">
            <a:xfrm>
              <a:off x="4170429" y="2074413"/>
              <a:ext cx="486399" cy="485838"/>
            </a:xfrm>
            <a:custGeom>
              <a:avLst/>
              <a:gdLst>
                <a:gd name="T0" fmla="*/ 1009 w 1307"/>
                <a:gd name="T1" fmla="*/ 232 h 1307"/>
                <a:gd name="T2" fmla="*/ 907 w 1307"/>
                <a:gd name="T3" fmla="*/ 335 h 1307"/>
                <a:gd name="T4" fmla="*/ 825 w 1307"/>
                <a:gd name="T5" fmla="*/ 505 h 1307"/>
                <a:gd name="T6" fmla="*/ 675 w 1307"/>
                <a:gd name="T7" fmla="*/ 409 h 1307"/>
                <a:gd name="T8" fmla="*/ 588 w 1307"/>
                <a:gd name="T9" fmla="*/ 175 h 1307"/>
                <a:gd name="T10" fmla="*/ 181 w 1307"/>
                <a:gd name="T11" fmla="*/ 597 h 1307"/>
                <a:gd name="T12" fmla="*/ 409 w 1307"/>
                <a:gd name="T13" fmla="*/ 675 h 1307"/>
                <a:gd name="T14" fmla="*/ 533 w 1307"/>
                <a:gd name="T15" fmla="*/ 852 h 1307"/>
                <a:gd name="T16" fmla="*/ 335 w 1307"/>
                <a:gd name="T17" fmla="*/ 907 h 1307"/>
                <a:gd name="T18" fmla="*/ 232 w 1307"/>
                <a:gd name="T19" fmla="*/ 1009 h 1307"/>
                <a:gd name="T20" fmla="*/ 305 w 1307"/>
                <a:gd name="T21" fmla="*/ 1307 h 1307"/>
                <a:gd name="T22" fmla="*/ 615 w 1307"/>
                <a:gd name="T23" fmla="*/ 935 h 1307"/>
                <a:gd name="T24" fmla="*/ 780 w 1307"/>
                <a:gd name="T25" fmla="*/ 998 h 1307"/>
                <a:gd name="T26" fmla="*/ 889 w 1307"/>
                <a:gd name="T27" fmla="*/ 606 h 1307"/>
                <a:gd name="T28" fmla="*/ 1023 w 1307"/>
                <a:gd name="T29" fmla="*/ 615 h 1307"/>
                <a:gd name="T30" fmla="*/ 434 w 1307"/>
                <a:gd name="T31" fmla="*/ 842 h 1307"/>
                <a:gd name="T32" fmla="*/ 434 w 1307"/>
                <a:gd name="T33" fmla="*/ 989 h 1307"/>
                <a:gd name="T34" fmla="*/ 349 w 1307"/>
                <a:gd name="T35" fmla="*/ 1108 h 1307"/>
                <a:gd name="T36" fmla="*/ 332 w 1307"/>
                <a:gd name="T37" fmla="*/ 1091 h 1307"/>
                <a:gd name="T38" fmla="*/ 332 w 1307"/>
                <a:gd name="T39" fmla="*/ 1091 h 1307"/>
                <a:gd name="T40" fmla="*/ 214 w 1307"/>
                <a:gd name="T41" fmla="*/ 1208 h 1307"/>
                <a:gd name="T42" fmla="*/ 278 w 1307"/>
                <a:gd name="T43" fmla="*/ 1272 h 1307"/>
                <a:gd name="T44" fmla="*/ 332 w 1307"/>
                <a:gd name="T45" fmla="*/ 1272 h 1307"/>
                <a:gd name="T46" fmla="*/ 451 w 1307"/>
                <a:gd name="T47" fmla="*/ 1006 h 1307"/>
                <a:gd name="T48" fmla="*/ 208 w 1307"/>
                <a:gd name="T49" fmla="*/ 582 h 1307"/>
                <a:gd name="T50" fmla="*/ 463 w 1307"/>
                <a:gd name="T51" fmla="*/ 521 h 1307"/>
                <a:gd name="T52" fmla="*/ 510 w 1307"/>
                <a:gd name="T53" fmla="*/ 511 h 1307"/>
                <a:gd name="T54" fmla="*/ 531 w 1307"/>
                <a:gd name="T55" fmla="*/ 489 h 1307"/>
                <a:gd name="T56" fmla="*/ 570 w 1307"/>
                <a:gd name="T57" fmla="*/ 890 h 1307"/>
                <a:gd name="T58" fmla="*/ 570 w 1307"/>
                <a:gd name="T59" fmla="*/ 890 h 1307"/>
                <a:gd name="T60" fmla="*/ 614 w 1307"/>
                <a:gd name="T61" fmla="*/ 863 h 1307"/>
                <a:gd name="T62" fmla="*/ 435 w 1307"/>
                <a:gd name="T63" fmla="*/ 683 h 1307"/>
                <a:gd name="T64" fmla="*/ 590 w 1307"/>
                <a:gd name="T65" fmla="*/ 529 h 1307"/>
                <a:gd name="T66" fmla="*/ 863 w 1307"/>
                <a:gd name="T67" fmla="*/ 614 h 1307"/>
                <a:gd name="T68" fmla="*/ 859 w 1307"/>
                <a:gd name="T69" fmla="*/ 576 h 1307"/>
                <a:gd name="T70" fmla="*/ 871 w 1307"/>
                <a:gd name="T71" fmla="*/ 589 h 1307"/>
                <a:gd name="T72" fmla="*/ 1208 w 1307"/>
                <a:gd name="T73" fmla="*/ 214 h 1307"/>
                <a:gd name="T74" fmla="*/ 1096 w 1307"/>
                <a:gd name="T75" fmla="*/ 507 h 1307"/>
                <a:gd name="T76" fmla="*/ 1096 w 1307"/>
                <a:gd name="T77" fmla="*/ 507 h 1307"/>
                <a:gd name="T78" fmla="*/ 1091 w 1307"/>
                <a:gd name="T79" fmla="*/ 332 h 1307"/>
                <a:gd name="T80" fmla="*/ 915 w 1307"/>
                <a:gd name="T81" fmla="*/ 361 h 1307"/>
                <a:gd name="T82" fmla="*/ 830 w 1307"/>
                <a:gd name="T83" fmla="*/ 461 h 1307"/>
                <a:gd name="T84" fmla="*/ 1006 w 1307"/>
                <a:gd name="T85" fmla="*/ 451 h 1307"/>
                <a:gd name="T86" fmla="*/ 1198 w 1307"/>
                <a:gd name="T87" fmla="*/ 406 h 1307"/>
                <a:gd name="T88" fmla="*/ 1283 w 1307"/>
                <a:gd name="T89" fmla="*/ 305 h 1307"/>
                <a:gd name="T90" fmla="*/ 242 w 1307"/>
                <a:gd name="T91" fmla="*/ 322 h 1307"/>
                <a:gd name="T92" fmla="*/ 322 w 1307"/>
                <a:gd name="T93" fmla="*/ 242 h 1307"/>
                <a:gd name="T94" fmla="*/ 250 w 1307"/>
                <a:gd name="T95" fmla="*/ 282 h 1307"/>
                <a:gd name="T96" fmla="*/ 314 w 1307"/>
                <a:gd name="T97" fmla="*/ 282 h 1307"/>
                <a:gd name="T98" fmla="*/ 82 w 1307"/>
                <a:gd name="T99" fmla="*/ 319 h 1307"/>
                <a:gd name="T100" fmla="*/ 319 w 1307"/>
                <a:gd name="T101" fmla="*/ 84 h 1307"/>
                <a:gd name="T102" fmla="*/ 325 w 1307"/>
                <a:gd name="T103" fmla="*/ 145 h 1307"/>
                <a:gd name="T104" fmla="*/ 167 w 1307"/>
                <a:gd name="T105" fmla="*/ 316 h 1307"/>
                <a:gd name="T106" fmla="*/ 176 w 1307"/>
                <a:gd name="T107" fmla="*/ 176 h 1307"/>
                <a:gd name="T108" fmla="*/ 18 w 1307"/>
                <a:gd name="T109" fmla="*/ 307 h 1307"/>
                <a:gd name="T110" fmla="*/ 307 w 1307"/>
                <a:gd name="T111" fmla="*/ 19 h 1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07" h="1307">
                  <a:moveTo>
                    <a:pt x="1289" y="261"/>
                  </a:moveTo>
                  <a:cubicBezTo>
                    <a:pt x="1179" y="151"/>
                    <a:pt x="1179" y="151"/>
                    <a:pt x="1179" y="151"/>
                  </a:cubicBezTo>
                  <a:cubicBezTo>
                    <a:pt x="1155" y="126"/>
                    <a:pt x="1115" y="126"/>
                    <a:pt x="1091" y="151"/>
                  </a:cubicBezTo>
                  <a:cubicBezTo>
                    <a:pt x="1009" y="232"/>
                    <a:pt x="1009" y="232"/>
                    <a:pt x="1009" y="232"/>
                  </a:cubicBezTo>
                  <a:cubicBezTo>
                    <a:pt x="1009" y="233"/>
                    <a:pt x="1009" y="233"/>
                    <a:pt x="1008" y="233"/>
                  </a:cubicBezTo>
                  <a:cubicBezTo>
                    <a:pt x="1008" y="233"/>
                    <a:pt x="1008" y="233"/>
                    <a:pt x="1008" y="233"/>
                  </a:cubicBezTo>
                  <a:cubicBezTo>
                    <a:pt x="907" y="334"/>
                    <a:pt x="907" y="334"/>
                    <a:pt x="907" y="334"/>
                  </a:cubicBezTo>
                  <a:cubicBezTo>
                    <a:pt x="907" y="334"/>
                    <a:pt x="907" y="335"/>
                    <a:pt x="907" y="335"/>
                  </a:cubicBezTo>
                  <a:cubicBezTo>
                    <a:pt x="906" y="335"/>
                    <a:pt x="906" y="335"/>
                    <a:pt x="906" y="335"/>
                  </a:cubicBezTo>
                  <a:cubicBezTo>
                    <a:pt x="825" y="417"/>
                    <a:pt x="825" y="417"/>
                    <a:pt x="825" y="417"/>
                  </a:cubicBezTo>
                  <a:cubicBezTo>
                    <a:pt x="813" y="429"/>
                    <a:pt x="806" y="444"/>
                    <a:pt x="806" y="461"/>
                  </a:cubicBezTo>
                  <a:cubicBezTo>
                    <a:pt x="806" y="478"/>
                    <a:pt x="813" y="494"/>
                    <a:pt x="825" y="505"/>
                  </a:cubicBezTo>
                  <a:cubicBezTo>
                    <a:pt x="852" y="533"/>
                    <a:pt x="852" y="533"/>
                    <a:pt x="852" y="533"/>
                  </a:cubicBezTo>
                  <a:cubicBezTo>
                    <a:pt x="834" y="551"/>
                    <a:pt x="834" y="551"/>
                    <a:pt x="834" y="551"/>
                  </a:cubicBezTo>
                  <a:cubicBezTo>
                    <a:pt x="692" y="409"/>
                    <a:pt x="692" y="409"/>
                    <a:pt x="692" y="409"/>
                  </a:cubicBezTo>
                  <a:cubicBezTo>
                    <a:pt x="687" y="404"/>
                    <a:pt x="680" y="404"/>
                    <a:pt x="675" y="409"/>
                  </a:cubicBezTo>
                  <a:cubicBezTo>
                    <a:pt x="580" y="504"/>
                    <a:pt x="580" y="504"/>
                    <a:pt x="580" y="504"/>
                  </a:cubicBezTo>
                  <a:cubicBezTo>
                    <a:pt x="546" y="470"/>
                    <a:pt x="546" y="470"/>
                    <a:pt x="546" y="470"/>
                  </a:cubicBezTo>
                  <a:cubicBezTo>
                    <a:pt x="618" y="376"/>
                    <a:pt x="638" y="261"/>
                    <a:pt x="597" y="181"/>
                  </a:cubicBezTo>
                  <a:cubicBezTo>
                    <a:pt x="595" y="178"/>
                    <a:pt x="592" y="175"/>
                    <a:pt x="588" y="175"/>
                  </a:cubicBezTo>
                  <a:cubicBezTo>
                    <a:pt x="584" y="174"/>
                    <a:pt x="580" y="175"/>
                    <a:pt x="578" y="178"/>
                  </a:cubicBezTo>
                  <a:cubicBezTo>
                    <a:pt x="178" y="578"/>
                    <a:pt x="178" y="578"/>
                    <a:pt x="178" y="578"/>
                  </a:cubicBezTo>
                  <a:cubicBezTo>
                    <a:pt x="175" y="580"/>
                    <a:pt x="174" y="584"/>
                    <a:pt x="175" y="588"/>
                  </a:cubicBezTo>
                  <a:cubicBezTo>
                    <a:pt x="175" y="592"/>
                    <a:pt x="178" y="595"/>
                    <a:pt x="181" y="597"/>
                  </a:cubicBezTo>
                  <a:cubicBezTo>
                    <a:pt x="209" y="611"/>
                    <a:pt x="241" y="618"/>
                    <a:pt x="274" y="618"/>
                  </a:cubicBezTo>
                  <a:cubicBezTo>
                    <a:pt x="338" y="618"/>
                    <a:pt x="408" y="593"/>
                    <a:pt x="470" y="546"/>
                  </a:cubicBezTo>
                  <a:cubicBezTo>
                    <a:pt x="504" y="580"/>
                    <a:pt x="504" y="580"/>
                    <a:pt x="504" y="580"/>
                  </a:cubicBezTo>
                  <a:cubicBezTo>
                    <a:pt x="409" y="675"/>
                    <a:pt x="409" y="675"/>
                    <a:pt x="409" y="675"/>
                  </a:cubicBezTo>
                  <a:cubicBezTo>
                    <a:pt x="407" y="677"/>
                    <a:pt x="406" y="680"/>
                    <a:pt x="406" y="683"/>
                  </a:cubicBezTo>
                  <a:cubicBezTo>
                    <a:pt x="406" y="687"/>
                    <a:pt x="407" y="690"/>
                    <a:pt x="409" y="692"/>
                  </a:cubicBezTo>
                  <a:cubicBezTo>
                    <a:pt x="551" y="834"/>
                    <a:pt x="551" y="834"/>
                    <a:pt x="551" y="834"/>
                  </a:cubicBezTo>
                  <a:cubicBezTo>
                    <a:pt x="533" y="852"/>
                    <a:pt x="533" y="852"/>
                    <a:pt x="533" y="852"/>
                  </a:cubicBezTo>
                  <a:cubicBezTo>
                    <a:pt x="505" y="825"/>
                    <a:pt x="505" y="825"/>
                    <a:pt x="505" y="825"/>
                  </a:cubicBezTo>
                  <a:cubicBezTo>
                    <a:pt x="482" y="801"/>
                    <a:pt x="441" y="801"/>
                    <a:pt x="417" y="825"/>
                  </a:cubicBezTo>
                  <a:cubicBezTo>
                    <a:pt x="335" y="906"/>
                    <a:pt x="335" y="906"/>
                    <a:pt x="335" y="906"/>
                  </a:cubicBezTo>
                  <a:cubicBezTo>
                    <a:pt x="335" y="906"/>
                    <a:pt x="335" y="906"/>
                    <a:pt x="335" y="907"/>
                  </a:cubicBezTo>
                  <a:cubicBezTo>
                    <a:pt x="335" y="907"/>
                    <a:pt x="335" y="907"/>
                    <a:pt x="334" y="907"/>
                  </a:cubicBezTo>
                  <a:cubicBezTo>
                    <a:pt x="233" y="1008"/>
                    <a:pt x="233" y="1008"/>
                    <a:pt x="233" y="1008"/>
                  </a:cubicBezTo>
                  <a:cubicBezTo>
                    <a:pt x="233" y="1008"/>
                    <a:pt x="233" y="1008"/>
                    <a:pt x="233" y="1008"/>
                  </a:cubicBezTo>
                  <a:cubicBezTo>
                    <a:pt x="233" y="1009"/>
                    <a:pt x="233" y="1009"/>
                    <a:pt x="232" y="1009"/>
                  </a:cubicBezTo>
                  <a:cubicBezTo>
                    <a:pt x="151" y="1091"/>
                    <a:pt x="151" y="1091"/>
                    <a:pt x="151" y="1091"/>
                  </a:cubicBezTo>
                  <a:cubicBezTo>
                    <a:pt x="126" y="1115"/>
                    <a:pt x="126" y="1155"/>
                    <a:pt x="151" y="1179"/>
                  </a:cubicBezTo>
                  <a:cubicBezTo>
                    <a:pt x="261" y="1289"/>
                    <a:pt x="261" y="1289"/>
                    <a:pt x="261" y="1289"/>
                  </a:cubicBezTo>
                  <a:cubicBezTo>
                    <a:pt x="273" y="1301"/>
                    <a:pt x="289" y="1307"/>
                    <a:pt x="305" y="1307"/>
                  </a:cubicBezTo>
                  <a:cubicBezTo>
                    <a:pt x="321" y="1307"/>
                    <a:pt x="337" y="1301"/>
                    <a:pt x="349" y="1289"/>
                  </a:cubicBezTo>
                  <a:cubicBezTo>
                    <a:pt x="615" y="1023"/>
                    <a:pt x="615" y="1023"/>
                    <a:pt x="615" y="1023"/>
                  </a:cubicBezTo>
                  <a:cubicBezTo>
                    <a:pt x="627" y="1011"/>
                    <a:pt x="634" y="995"/>
                    <a:pt x="634" y="979"/>
                  </a:cubicBezTo>
                  <a:cubicBezTo>
                    <a:pt x="634" y="962"/>
                    <a:pt x="627" y="946"/>
                    <a:pt x="615" y="935"/>
                  </a:cubicBezTo>
                  <a:cubicBezTo>
                    <a:pt x="588" y="907"/>
                    <a:pt x="588" y="907"/>
                    <a:pt x="588" y="907"/>
                  </a:cubicBezTo>
                  <a:cubicBezTo>
                    <a:pt x="606" y="889"/>
                    <a:pt x="606" y="889"/>
                    <a:pt x="606" y="889"/>
                  </a:cubicBezTo>
                  <a:cubicBezTo>
                    <a:pt x="670" y="953"/>
                    <a:pt x="670" y="953"/>
                    <a:pt x="670" y="953"/>
                  </a:cubicBezTo>
                  <a:cubicBezTo>
                    <a:pt x="700" y="983"/>
                    <a:pt x="740" y="998"/>
                    <a:pt x="780" y="998"/>
                  </a:cubicBezTo>
                  <a:cubicBezTo>
                    <a:pt x="820" y="998"/>
                    <a:pt x="860" y="983"/>
                    <a:pt x="891" y="953"/>
                  </a:cubicBezTo>
                  <a:cubicBezTo>
                    <a:pt x="953" y="891"/>
                    <a:pt x="953" y="891"/>
                    <a:pt x="953" y="891"/>
                  </a:cubicBezTo>
                  <a:cubicBezTo>
                    <a:pt x="1014" y="830"/>
                    <a:pt x="1014" y="731"/>
                    <a:pt x="953" y="670"/>
                  </a:cubicBezTo>
                  <a:cubicBezTo>
                    <a:pt x="889" y="606"/>
                    <a:pt x="889" y="606"/>
                    <a:pt x="889" y="606"/>
                  </a:cubicBezTo>
                  <a:cubicBezTo>
                    <a:pt x="907" y="588"/>
                    <a:pt x="907" y="588"/>
                    <a:pt x="907" y="588"/>
                  </a:cubicBezTo>
                  <a:cubicBezTo>
                    <a:pt x="935" y="615"/>
                    <a:pt x="935" y="615"/>
                    <a:pt x="935" y="615"/>
                  </a:cubicBezTo>
                  <a:cubicBezTo>
                    <a:pt x="946" y="627"/>
                    <a:pt x="962" y="634"/>
                    <a:pt x="979" y="634"/>
                  </a:cubicBezTo>
                  <a:cubicBezTo>
                    <a:pt x="995" y="634"/>
                    <a:pt x="1011" y="627"/>
                    <a:pt x="1023" y="615"/>
                  </a:cubicBezTo>
                  <a:cubicBezTo>
                    <a:pt x="1289" y="349"/>
                    <a:pt x="1289" y="349"/>
                    <a:pt x="1289" y="349"/>
                  </a:cubicBezTo>
                  <a:cubicBezTo>
                    <a:pt x="1301" y="337"/>
                    <a:pt x="1307" y="322"/>
                    <a:pt x="1307" y="305"/>
                  </a:cubicBezTo>
                  <a:cubicBezTo>
                    <a:pt x="1307" y="288"/>
                    <a:pt x="1301" y="273"/>
                    <a:pt x="1289" y="261"/>
                  </a:cubicBezTo>
                  <a:close/>
                  <a:moveTo>
                    <a:pt x="434" y="842"/>
                  </a:moveTo>
                  <a:cubicBezTo>
                    <a:pt x="441" y="834"/>
                    <a:pt x="451" y="830"/>
                    <a:pt x="461" y="830"/>
                  </a:cubicBezTo>
                  <a:cubicBezTo>
                    <a:pt x="471" y="830"/>
                    <a:pt x="481" y="834"/>
                    <a:pt x="488" y="842"/>
                  </a:cubicBezTo>
                  <a:cubicBezTo>
                    <a:pt x="535" y="888"/>
                    <a:pt x="535" y="888"/>
                    <a:pt x="535" y="888"/>
                  </a:cubicBezTo>
                  <a:cubicBezTo>
                    <a:pt x="434" y="989"/>
                    <a:pt x="434" y="989"/>
                    <a:pt x="434" y="989"/>
                  </a:cubicBezTo>
                  <a:cubicBezTo>
                    <a:pt x="361" y="915"/>
                    <a:pt x="361" y="915"/>
                    <a:pt x="361" y="915"/>
                  </a:cubicBezTo>
                  <a:lnTo>
                    <a:pt x="434" y="842"/>
                  </a:lnTo>
                  <a:close/>
                  <a:moveTo>
                    <a:pt x="423" y="1181"/>
                  </a:moveTo>
                  <a:cubicBezTo>
                    <a:pt x="349" y="1108"/>
                    <a:pt x="349" y="1108"/>
                    <a:pt x="349" y="1108"/>
                  </a:cubicBezTo>
                  <a:cubicBezTo>
                    <a:pt x="434" y="1023"/>
                    <a:pt x="434" y="1023"/>
                    <a:pt x="434" y="1023"/>
                  </a:cubicBezTo>
                  <a:cubicBezTo>
                    <a:pt x="508" y="1096"/>
                    <a:pt x="508" y="1096"/>
                    <a:pt x="508" y="1096"/>
                  </a:cubicBezTo>
                  <a:lnTo>
                    <a:pt x="423" y="1181"/>
                  </a:lnTo>
                  <a:close/>
                  <a:moveTo>
                    <a:pt x="332" y="1091"/>
                  </a:moveTo>
                  <a:cubicBezTo>
                    <a:pt x="259" y="1017"/>
                    <a:pt x="259" y="1017"/>
                    <a:pt x="259" y="1017"/>
                  </a:cubicBezTo>
                  <a:cubicBezTo>
                    <a:pt x="343" y="932"/>
                    <a:pt x="343" y="932"/>
                    <a:pt x="343" y="932"/>
                  </a:cubicBezTo>
                  <a:cubicBezTo>
                    <a:pt x="417" y="1006"/>
                    <a:pt x="417" y="1006"/>
                    <a:pt x="417" y="1006"/>
                  </a:cubicBezTo>
                  <a:lnTo>
                    <a:pt x="332" y="1091"/>
                  </a:lnTo>
                  <a:close/>
                  <a:moveTo>
                    <a:pt x="168" y="1108"/>
                  </a:moveTo>
                  <a:cubicBezTo>
                    <a:pt x="242" y="1034"/>
                    <a:pt x="242" y="1034"/>
                    <a:pt x="242" y="1034"/>
                  </a:cubicBezTo>
                  <a:cubicBezTo>
                    <a:pt x="315" y="1108"/>
                    <a:pt x="315" y="1108"/>
                    <a:pt x="315" y="1108"/>
                  </a:cubicBezTo>
                  <a:cubicBezTo>
                    <a:pt x="214" y="1208"/>
                    <a:pt x="214" y="1208"/>
                    <a:pt x="214" y="1208"/>
                  </a:cubicBezTo>
                  <a:cubicBezTo>
                    <a:pt x="168" y="1162"/>
                    <a:pt x="168" y="1162"/>
                    <a:pt x="168" y="1162"/>
                  </a:cubicBezTo>
                  <a:cubicBezTo>
                    <a:pt x="153" y="1147"/>
                    <a:pt x="153" y="1123"/>
                    <a:pt x="168" y="1108"/>
                  </a:cubicBezTo>
                  <a:close/>
                  <a:moveTo>
                    <a:pt x="332" y="1272"/>
                  </a:moveTo>
                  <a:cubicBezTo>
                    <a:pt x="317" y="1287"/>
                    <a:pt x="293" y="1287"/>
                    <a:pt x="278" y="1272"/>
                  </a:cubicBezTo>
                  <a:cubicBezTo>
                    <a:pt x="232" y="1225"/>
                    <a:pt x="232" y="1225"/>
                    <a:pt x="232" y="1225"/>
                  </a:cubicBezTo>
                  <a:cubicBezTo>
                    <a:pt x="332" y="1125"/>
                    <a:pt x="332" y="1125"/>
                    <a:pt x="332" y="1125"/>
                  </a:cubicBezTo>
                  <a:cubicBezTo>
                    <a:pt x="406" y="1198"/>
                    <a:pt x="406" y="1198"/>
                    <a:pt x="406" y="1198"/>
                  </a:cubicBezTo>
                  <a:lnTo>
                    <a:pt x="332" y="1272"/>
                  </a:lnTo>
                  <a:close/>
                  <a:moveTo>
                    <a:pt x="609" y="979"/>
                  </a:moveTo>
                  <a:cubicBezTo>
                    <a:pt x="609" y="989"/>
                    <a:pt x="605" y="999"/>
                    <a:pt x="598" y="1006"/>
                  </a:cubicBezTo>
                  <a:cubicBezTo>
                    <a:pt x="525" y="1079"/>
                    <a:pt x="525" y="1079"/>
                    <a:pt x="525" y="1079"/>
                  </a:cubicBezTo>
                  <a:cubicBezTo>
                    <a:pt x="451" y="1006"/>
                    <a:pt x="451" y="1006"/>
                    <a:pt x="451" y="1006"/>
                  </a:cubicBezTo>
                  <a:cubicBezTo>
                    <a:pt x="552" y="905"/>
                    <a:pt x="552" y="905"/>
                    <a:pt x="552" y="905"/>
                  </a:cubicBezTo>
                  <a:cubicBezTo>
                    <a:pt x="598" y="952"/>
                    <a:pt x="598" y="952"/>
                    <a:pt x="598" y="952"/>
                  </a:cubicBezTo>
                  <a:cubicBezTo>
                    <a:pt x="605" y="959"/>
                    <a:pt x="609" y="969"/>
                    <a:pt x="609" y="979"/>
                  </a:cubicBezTo>
                  <a:close/>
                  <a:moveTo>
                    <a:pt x="208" y="582"/>
                  </a:moveTo>
                  <a:cubicBezTo>
                    <a:pt x="582" y="208"/>
                    <a:pt x="582" y="208"/>
                    <a:pt x="582" y="208"/>
                  </a:cubicBezTo>
                  <a:cubicBezTo>
                    <a:pt x="610" y="281"/>
                    <a:pt x="587" y="381"/>
                    <a:pt x="521" y="463"/>
                  </a:cubicBezTo>
                  <a:cubicBezTo>
                    <a:pt x="513" y="473"/>
                    <a:pt x="503" y="484"/>
                    <a:pt x="494" y="493"/>
                  </a:cubicBezTo>
                  <a:cubicBezTo>
                    <a:pt x="484" y="503"/>
                    <a:pt x="473" y="513"/>
                    <a:pt x="463" y="521"/>
                  </a:cubicBezTo>
                  <a:cubicBezTo>
                    <a:pt x="381" y="587"/>
                    <a:pt x="281" y="610"/>
                    <a:pt x="208" y="582"/>
                  </a:cubicBezTo>
                  <a:close/>
                  <a:moveTo>
                    <a:pt x="489" y="531"/>
                  </a:moveTo>
                  <a:cubicBezTo>
                    <a:pt x="490" y="530"/>
                    <a:pt x="490" y="530"/>
                    <a:pt x="491" y="529"/>
                  </a:cubicBezTo>
                  <a:cubicBezTo>
                    <a:pt x="498" y="523"/>
                    <a:pt x="504" y="517"/>
                    <a:pt x="510" y="511"/>
                  </a:cubicBezTo>
                  <a:cubicBezTo>
                    <a:pt x="510" y="511"/>
                    <a:pt x="511" y="511"/>
                    <a:pt x="511" y="511"/>
                  </a:cubicBezTo>
                  <a:cubicBezTo>
                    <a:pt x="511" y="510"/>
                    <a:pt x="511" y="510"/>
                    <a:pt x="511" y="510"/>
                  </a:cubicBezTo>
                  <a:cubicBezTo>
                    <a:pt x="517" y="504"/>
                    <a:pt x="523" y="498"/>
                    <a:pt x="529" y="491"/>
                  </a:cubicBezTo>
                  <a:cubicBezTo>
                    <a:pt x="530" y="490"/>
                    <a:pt x="530" y="490"/>
                    <a:pt x="531" y="489"/>
                  </a:cubicBezTo>
                  <a:cubicBezTo>
                    <a:pt x="563" y="521"/>
                    <a:pt x="563" y="521"/>
                    <a:pt x="563" y="521"/>
                  </a:cubicBezTo>
                  <a:cubicBezTo>
                    <a:pt x="521" y="563"/>
                    <a:pt x="521" y="563"/>
                    <a:pt x="521" y="563"/>
                  </a:cubicBezTo>
                  <a:lnTo>
                    <a:pt x="489" y="531"/>
                  </a:lnTo>
                  <a:close/>
                  <a:moveTo>
                    <a:pt x="570" y="890"/>
                  </a:moveTo>
                  <a:cubicBezTo>
                    <a:pt x="550" y="869"/>
                    <a:pt x="550" y="869"/>
                    <a:pt x="550" y="869"/>
                  </a:cubicBezTo>
                  <a:cubicBezTo>
                    <a:pt x="568" y="851"/>
                    <a:pt x="568" y="851"/>
                    <a:pt x="568" y="851"/>
                  </a:cubicBezTo>
                  <a:cubicBezTo>
                    <a:pt x="589" y="871"/>
                    <a:pt x="589" y="871"/>
                    <a:pt x="589" y="871"/>
                  </a:cubicBezTo>
                  <a:lnTo>
                    <a:pt x="570" y="890"/>
                  </a:lnTo>
                  <a:close/>
                  <a:moveTo>
                    <a:pt x="936" y="874"/>
                  </a:moveTo>
                  <a:cubicBezTo>
                    <a:pt x="874" y="936"/>
                    <a:pt x="874" y="936"/>
                    <a:pt x="874" y="936"/>
                  </a:cubicBezTo>
                  <a:cubicBezTo>
                    <a:pt x="822" y="987"/>
                    <a:pt x="739" y="987"/>
                    <a:pt x="687" y="936"/>
                  </a:cubicBezTo>
                  <a:cubicBezTo>
                    <a:pt x="614" y="863"/>
                    <a:pt x="614" y="863"/>
                    <a:pt x="614" y="863"/>
                  </a:cubicBezTo>
                  <a:cubicBezTo>
                    <a:pt x="614" y="863"/>
                    <a:pt x="614" y="863"/>
                    <a:pt x="614" y="863"/>
                  </a:cubicBezTo>
                  <a:cubicBezTo>
                    <a:pt x="577" y="825"/>
                    <a:pt x="577" y="825"/>
                    <a:pt x="577" y="825"/>
                  </a:cubicBezTo>
                  <a:cubicBezTo>
                    <a:pt x="577" y="825"/>
                    <a:pt x="577" y="825"/>
                    <a:pt x="577" y="825"/>
                  </a:cubicBezTo>
                  <a:cubicBezTo>
                    <a:pt x="435" y="683"/>
                    <a:pt x="435" y="683"/>
                    <a:pt x="435" y="683"/>
                  </a:cubicBezTo>
                  <a:cubicBezTo>
                    <a:pt x="529" y="590"/>
                    <a:pt x="529" y="590"/>
                    <a:pt x="529" y="590"/>
                  </a:cubicBezTo>
                  <a:cubicBezTo>
                    <a:pt x="529" y="589"/>
                    <a:pt x="529" y="589"/>
                    <a:pt x="530" y="589"/>
                  </a:cubicBezTo>
                  <a:cubicBezTo>
                    <a:pt x="589" y="530"/>
                    <a:pt x="589" y="530"/>
                    <a:pt x="589" y="530"/>
                  </a:cubicBezTo>
                  <a:cubicBezTo>
                    <a:pt x="589" y="529"/>
                    <a:pt x="589" y="529"/>
                    <a:pt x="590" y="529"/>
                  </a:cubicBezTo>
                  <a:cubicBezTo>
                    <a:pt x="683" y="435"/>
                    <a:pt x="683" y="435"/>
                    <a:pt x="683" y="435"/>
                  </a:cubicBezTo>
                  <a:cubicBezTo>
                    <a:pt x="840" y="591"/>
                    <a:pt x="840" y="591"/>
                    <a:pt x="840" y="591"/>
                  </a:cubicBezTo>
                  <a:cubicBezTo>
                    <a:pt x="863" y="614"/>
                    <a:pt x="863" y="614"/>
                    <a:pt x="863" y="614"/>
                  </a:cubicBezTo>
                  <a:cubicBezTo>
                    <a:pt x="863" y="614"/>
                    <a:pt x="863" y="614"/>
                    <a:pt x="863" y="614"/>
                  </a:cubicBezTo>
                  <a:cubicBezTo>
                    <a:pt x="936" y="687"/>
                    <a:pt x="936" y="687"/>
                    <a:pt x="936" y="687"/>
                  </a:cubicBezTo>
                  <a:cubicBezTo>
                    <a:pt x="987" y="739"/>
                    <a:pt x="987" y="822"/>
                    <a:pt x="936" y="874"/>
                  </a:cubicBezTo>
                  <a:close/>
                  <a:moveTo>
                    <a:pt x="871" y="589"/>
                  </a:moveTo>
                  <a:cubicBezTo>
                    <a:pt x="859" y="576"/>
                    <a:pt x="859" y="576"/>
                    <a:pt x="859" y="576"/>
                  </a:cubicBezTo>
                  <a:cubicBezTo>
                    <a:pt x="851" y="568"/>
                    <a:pt x="851" y="568"/>
                    <a:pt x="851" y="568"/>
                  </a:cubicBezTo>
                  <a:cubicBezTo>
                    <a:pt x="869" y="550"/>
                    <a:pt x="869" y="550"/>
                    <a:pt x="869" y="550"/>
                  </a:cubicBezTo>
                  <a:cubicBezTo>
                    <a:pt x="890" y="570"/>
                    <a:pt x="890" y="570"/>
                    <a:pt x="890" y="570"/>
                  </a:cubicBezTo>
                  <a:lnTo>
                    <a:pt x="871" y="589"/>
                  </a:lnTo>
                  <a:close/>
                  <a:moveTo>
                    <a:pt x="1108" y="168"/>
                  </a:moveTo>
                  <a:cubicBezTo>
                    <a:pt x="1115" y="161"/>
                    <a:pt x="1125" y="157"/>
                    <a:pt x="1135" y="157"/>
                  </a:cubicBezTo>
                  <a:cubicBezTo>
                    <a:pt x="1145" y="157"/>
                    <a:pt x="1154" y="161"/>
                    <a:pt x="1162" y="168"/>
                  </a:cubicBezTo>
                  <a:cubicBezTo>
                    <a:pt x="1208" y="214"/>
                    <a:pt x="1208" y="214"/>
                    <a:pt x="1208" y="214"/>
                  </a:cubicBezTo>
                  <a:cubicBezTo>
                    <a:pt x="1108" y="315"/>
                    <a:pt x="1108" y="315"/>
                    <a:pt x="1108" y="315"/>
                  </a:cubicBezTo>
                  <a:cubicBezTo>
                    <a:pt x="1034" y="241"/>
                    <a:pt x="1034" y="241"/>
                    <a:pt x="1034" y="241"/>
                  </a:cubicBezTo>
                  <a:lnTo>
                    <a:pt x="1108" y="168"/>
                  </a:lnTo>
                  <a:close/>
                  <a:moveTo>
                    <a:pt x="1096" y="507"/>
                  </a:moveTo>
                  <a:cubicBezTo>
                    <a:pt x="1023" y="434"/>
                    <a:pt x="1023" y="434"/>
                    <a:pt x="1023" y="434"/>
                  </a:cubicBezTo>
                  <a:cubicBezTo>
                    <a:pt x="1108" y="349"/>
                    <a:pt x="1108" y="349"/>
                    <a:pt x="1108" y="349"/>
                  </a:cubicBezTo>
                  <a:cubicBezTo>
                    <a:pt x="1181" y="423"/>
                    <a:pt x="1181" y="423"/>
                    <a:pt x="1181" y="423"/>
                  </a:cubicBezTo>
                  <a:lnTo>
                    <a:pt x="1096" y="507"/>
                  </a:lnTo>
                  <a:close/>
                  <a:moveTo>
                    <a:pt x="1006" y="417"/>
                  </a:moveTo>
                  <a:cubicBezTo>
                    <a:pt x="932" y="343"/>
                    <a:pt x="932" y="343"/>
                    <a:pt x="932" y="343"/>
                  </a:cubicBezTo>
                  <a:cubicBezTo>
                    <a:pt x="1017" y="259"/>
                    <a:pt x="1017" y="259"/>
                    <a:pt x="1017" y="259"/>
                  </a:cubicBezTo>
                  <a:cubicBezTo>
                    <a:pt x="1091" y="332"/>
                    <a:pt x="1091" y="332"/>
                    <a:pt x="1091" y="332"/>
                  </a:cubicBezTo>
                  <a:lnTo>
                    <a:pt x="1006" y="417"/>
                  </a:lnTo>
                  <a:close/>
                  <a:moveTo>
                    <a:pt x="830" y="461"/>
                  </a:moveTo>
                  <a:cubicBezTo>
                    <a:pt x="830" y="451"/>
                    <a:pt x="834" y="441"/>
                    <a:pt x="842" y="434"/>
                  </a:cubicBezTo>
                  <a:cubicBezTo>
                    <a:pt x="915" y="361"/>
                    <a:pt x="915" y="361"/>
                    <a:pt x="915" y="361"/>
                  </a:cubicBezTo>
                  <a:cubicBezTo>
                    <a:pt x="989" y="434"/>
                    <a:pt x="989" y="434"/>
                    <a:pt x="989" y="434"/>
                  </a:cubicBezTo>
                  <a:cubicBezTo>
                    <a:pt x="888" y="535"/>
                    <a:pt x="888" y="535"/>
                    <a:pt x="888" y="535"/>
                  </a:cubicBezTo>
                  <a:cubicBezTo>
                    <a:pt x="842" y="488"/>
                    <a:pt x="842" y="488"/>
                    <a:pt x="842" y="488"/>
                  </a:cubicBezTo>
                  <a:cubicBezTo>
                    <a:pt x="834" y="481"/>
                    <a:pt x="830" y="471"/>
                    <a:pt x="830" y="461"/>
                  </a:cubicBezTo>
                  <a:close/>
                  <a:moveTo>
                    <a:pt x="1006" y="598"/>
                  </a:moveTo>
                  <a:cubicBezTo>
                    <a:pt x="991" y="613"/>
                    <a:pt x="966" y="613"/>
                    <a:pt x="952" y="598"/>
                  </a:cubicBezTo>
                  <a:cubicBezTo>
                    <a:pt x="905" y="552"/>
                    <a:pt x="905" y="552"/>
                    <a:pt x="905" y="552"/>
                  </a:cubicBezTo>
                  <a:cubicBezTo>
                    <a:pt x="1006" y="451"/>
                    <a:pt x="1006" y="451"/>
                    <a:pt x="1006" y="451"/>
                  </a:cubicBezTo>
                  <a:cubicBezTo>
                    <a:pt x="1079" y="525"/>
                    <a:pt x="1079" y="525"/>
                    <a:pt x="1079" y="525"/>
                  </a:cubicBezTo>
                  <a:lnTo>
                    <a:pt x="1006" y="598"/>
                  </a:lnTo>
                  <a:close/>
                  <a:moveTo>
                    <a:pt x="1272" y="332"/>
                  </a:moveTo>
                  <a:cubicBezTo>
                    <a:pt x="1198" y="406"/>
                    <a:pt x="1198" y="406"/>
                    <a:pt x="1198" y="406"/>
                  </a:cubicBezTo>
                  <a:cubicBezTo>
                    <a:pt x="1125" y="332"/>
                    <a:pt x="1125" y="332"/>
                    <a:pt x="1125" y="332"/>
                  </a:cubicBezTo>
                  <a:cubicBezTo>
                    <a:pt x="1225" y="232"/>
                    <a:pt x="1225" y="232"/>
                    <a:pt x="1225" y="232"/>
                  </a:cubicBezTo>
                  <a:cubicBezTo>
                    <a:pt x="1272" y="278"/>
                    <a:pt x="1272" y="278"/>
                    <a:pt x="1272" y="278"/>
                  </a:cubicBezTo>
                  <a:cubicBezTo>
                    <a:pt x="1279" y="285"/>
                    <a:pt x="1283" y="295"/>
                    <a:pt x="1283" y="305"/>
                  </a:cubicBezTo>
                  <a:cubicBezTo>
                    <a:pt x="1283" y="315"/>
                    <a:pt x="1279" y="325"/>
                    <a:pt x="1272" y="332"/>
                  </a:cubicBezTo>
                  <a:close/>
                  <a:moveTo>
                    <a:pt x="242" y="242"/>
                  </a:moveTo>
                  <a:cubicBezTo>
                    <a:pt x="232" y="253"/>
                    <a:pt x="226" y="267"/>
                    <a:pt x="226" y="282"/>
                  </a:cubicBezTo>
                  <a:cubicBezTo>
                    <a:pt x="226" y="297"/>
                    <a:pt x="232" y="311"/>
                    <a:pt x="242" y="322"/>
                  </a:cubicBezTo>
                  <a:cubicBezTo>
                    <a:pt x="253" y="332"/>
                    <a:pt x="267" y="338"/>
                    <a:pt x="282" y="338"/>
                  </a:cubicBezTo>
                  <a:cubicBezTo>
                    <a:pt x="297" y="338"/>
                    <a:pt x="311" y="332"/>
                    <a:pt x="322" y="322"/>
                  </a:cubicBezTo>
                  <a:cubicBezTo>
                    <a:pt x="332" y="311"/>
                    <a:pt x="338" y="297"/>
                    <a:pt x="338" y="282"/>
                  </a:cubicBezTo>
                  <a:cubicBezTo>
                    <a:pt x="338" y="267"/>
                    <a:pt x="332" y="253"/>
                    <a:pt x="322" y="242"/>
                  </a:cubicBezTo>
                  <a:cubicBezTo>
                    <a:pt x="301" y="221"/>
                    <a:pt x="264" y="221"/>
                    <a:pt x="242" y="242"/>
                  </a:cubicBezTo>
                  <a:close/>
                  <a:moveTo>
                    <a:pt x="305" y="305"/>
                  </a:moveTo>
                  <a:cubicBezTo>
                    <a:pt x="293" y="317"/>
                    <a:pt x="272" y="316"/>
                    <a:pt x="260" y="305"/>
                  </a:cubicBezTo>
                  <a:cubicBezTo>
                    <a:pt x="254" y="299"/>
                    <a:pt x="250" y="291"/>
                    <a:pt x="250" y="282"/>
                  </a:cubicBezTo>
                  <a:cubicBezTo>
                    <a:pt x="250" y="274"/>
                    <a:pt x="254" y="266"/>
                    <a:pt x="260" y="260"/>
                  </a:cubicBezTo>
                  <a:cubicBezTo>
                    <a:pt x="266" y="254"/>
                    <a:pt x="274" y="250"/>
                    <a:pt x="282" y="250"/>
                  </a:cubicBezTo>
                  <a:cubicBezTo>
                    <a:pt x="291" y="250"/>
                    <a:pt x="299" y="254"/>
                    <a:pt x="305" y="260"/>
                  </a:cubicBezTo>
                  <a:cubicBezTo>
                    <a:pt x="311" y="266"/>
                    <a:pt x="314" y="274"/>
                    <a:pt x="314" y="282"/>
                  </a:cubicBezTo>
                  <a:cubicBezTo>
                    <a:pt x="314" y="291"/>
                    <a:pt x="311" y="299"/>
                    <a:pt x="305" y="305"/>
                  </a:cubicBezTo>
                  <a:close/>
                  <a:moveTo>
                    <a:pt x="94" y="305"/>
                  </a:moveTo>
                  <a:cubicBezTo>
                    <a:pt x="95" y="311"/>
                    <a:pt x="91" y="318"/>
                    <a:pt x="84" y="319"/>
                  </a:cubicBezTo>
                  <a:cubicBezTo>
                    <a:pt x="83" y="319"/>
                    <a:pt x="83" y="319"/>
                    <a:pt x="82" y="319"/>
                  </a:cubicBezTo>
                  <a:cubicBezTo>
                    <a:pt x="76" y="319"/>
                    <a:pt x="71" y="315"/>
                    <a:pt x="70" y="309"/>
                  </a:cubicBezTo>
                  <a:cubicBezTo>
                    <a:pt x="59" y="243"/>
                    <a:pt x="80" y="175"/>
                    <a:pt x="128" y="128"/>
                  </a:cubicBezTo>
                  <a:cubicBezTo>
                    <a:pt x="175" y="80"/>
                    <a:pt x="243" y="59"/>
                    <a:pt x="309" y="70"/>
                  </a:cubicBezTo>
                  <a:cubicBezTo>
                    <a:pt x="315" y="71"/>
                    <a:pt x="320" y="77"/>
                    <a:pt x="319" y="84"/>
                  </a:cubicBezTo>
                  <a:cubicBezTo>
                    <a:pt x="318" y="91"/>
                    <a:pt x="311" y="95"/>
                    <a:pt x="305" y="94"/>
                  </a:cubicBezTo>
                  <a:cubicBezTo>
                    <a:pt x="246" y="84"/>
                    <a:pt x="187" y="103"/>
                    <a:pt x="145" y="145"/>
                  </a:cubicBezTo>
                  <a:cubicBezTo>
                    <a:pt x="103" y="187"/>
                    <a:pt x="84" y="246"/>
                    <a:pt x="94" y="305"/>
                  </a:cubicBezTo>
                  <a:close/>
                  <a:moveTo>
                    <a:pt x="325" y="145"/>
                  </a:moveTo>
                  <a:cubicBezTo>
                    <a:pt x="331" y="147"/>
                    <a:pt x="334" y="154"/>
                    <a:pt x="332" y="160"/>
                  </a:cubicBezTo>
                  <a:cubicBezTo>
                    <a:pt x="329" y="167"/>
                    <a:pt x="322" y="170"/>
                    <a:pt x="316" y="167"/>
                  </a:cubicBezTo>
                  <a:cubicBezTo>
                    <a:pt x="273" y="151"/>
                    <a:pt x="225" y="161"/>
                    <a:pt x="193" y="193"/>
                  </a:cubicBezTo>
                  <a:cubicBezTo>
                    <a:pt x="161" y="225"/>
                    <a:pt x="151" y="273"/>
                    <a:pt x="167" y="316"/>
                  </a:cubicBezTo>
                  <a:cubicBezTo>
                    <a:pt x="170" y="322"/>
                    <a:pt x="167" y="329"/>
                    <a:pt x="160" y="332"/>
                  </a:cubicBezTo>
                  <a:cubicBezTo>
                    <a:pt x="159" y="332"/>
                    <a:pt x="157" y="332"/>
                    <a:pt x="156" y="332"/>
                  </a:cubicBezTo>
                  <a:cubicBezTo>
                    <a:pt x="151" y="332"/>
                    <a:pt x="147" y="329"/>
                    <a:pt x="145" y="325"/>
                  </a:cubicBezTo>
                  <a:cubicBezTo>
                    <a:pt x="125" y="273"/>
                    <a:pt x="137" y="215"/>
                    <a:pt x="176" y="176"/>
                  </a:cubicBezTo>
                  <a:cubicBezTo>
                    <a:pt x="215" y="137"/>
                    <a:pt x="273" y="125"/>
                    <a:pt x="325" y="145"/>
                  </a:cubicBezTo>
                  <a:close/>
                  <a:moveTo>
                    <a:pt x="30" y="294"/>
                  </a:moveTo>
                  <a:cubicBezTo>
                    <a:pt x="31" y="301"/>
                    <a:pt x="26" y="307"/>
                    <a:pt x="19" y="307"/>
                  </a:cubicBezTo>
                  <a:cubicBezTo>
                    <a:pt x="19" y="307"/>
                    <a:pt x="19" y="307"/>
                    <a:pt x="18" y="307"/>
                  </a:cubicBezTo>
                  <a:cubicBezTo>
                    <a:pt x="12" y="307"/>
                    <a:pt x="7" y="302"/>
                    <a:pt x="6" y="296"/>
                  </a:cubicBezTo>
                  <a:cubicBezTo>
                    <a:pt x="0" y="217"/>
                    <a:pt x="28" y="140"/>
                    <a:pt x="84" y="84"/>
                  </a:cubicBezTo>
                  <a:cubicBezTo>
                    <a:pt x="140" y="28"/>
                    <a:pt x="217" y="0"/>
                    <a:pt x="296" y="6"/>
                  </a:cubicBezTo>
                  <a:cubicBezTo>
                    <a:pt x="303" y="7"/>
                    <a:pt x="308" y="13"/>
                    <a:pt x="307" y="19"/>
                  </a:cubicBezTo>
                  <a:cubicBezTo>
                    <a:pt x="307" y="26"/>
                    <a:pt x="301" y="31"/>
                    <a:pt x="294" y="30"/>
                  </a:cubicBezTo>
                  <a:cubicBezTo>
                    <a:pt x="222" y="24"/>
                    <a:pt x="152" y="50"/>
                    <a:pt x="101" y="101"/>
                  </a:cubicBezTo>
                  <a:cubicBezTo>
                    <a:pt x="50" y="152"/>
                    <a:pt x="24" y="222"/>
                    <a:pt x="30" y="2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0" name="Freeform 29"/>
            <p:cNvSpPr>
              <a:spLocks noEditPoints="1"/>
            </p:cNvSpPr>
            <p:nvPr/>
          </p:nvSpPr>
          <p:spPr bwMode="auto">
            <a:xfrm>
              <a:off x="2911680" y="3287810"/>
              <a:ext cx="537310" cy="506296"/>
            </a:xfrm>
            <a:custGeom>
              <a:avLst/>
              <a:gdLst>
                <a:gd name="T0" fmla="*/ 640 w 1445"/>
                <a:gd name="T1" fmla="*/ 429 h 1366"/>
                <a:gd name="T2" fmla="*/ 448 w 1445"/>
                <a:gd name="T3" fmla="*/ 683 h 1366"/>
                <a:gd name="T4" fmla="*/ 640 w 1445"/>
                <a:gd name="T5" fmla="*/ 937 h 1366"/>
                <a:gd name="T6" fmla="*/ 943 w 1445"/>
                <a:gd name="T7" fmla="*/ 812 h 1366"/>
                <a:gd name="T8" fmla="*/ 943 w 1445"/>
                <a:gd name="T9" fmla="*/ 554 h 1366"/>
                <a:gd name="T10" fmla="*/ 777 w 1445"/>
                <a:gd name="T11" fmla="*/ 912 h 1366"/>
                <a:gd name="T12" fmla="*/ 483 w 1445"/>
                <a:gd name="T13" fmla="*/ 748 h 1366"/>
                <a:gd name="T14" fmla="*/ 596 w 1445"/>
                <a:gd name="T15" fmla="*/ 475 h 1366"/>
                <a:gd name="T16" fmla="*/ 828 w 1445"/>
                <a:gd name="T17" fmla="*/ 475 h 1366"/>
                <a:gd name="T18" fmla="*/ 942 w 1445"/>
                <a:gd name="T19" fmla="*/ 748 h 1366"/>
                <a:gd name="T20" fmla="*/ 1228 w 1445"/>
                <a:gd name="T21" fmla="*/ 739 h 1366"/>
                <a:gd name="T22" fmla="*/ 1117 w 1445"/>
                <a:gd name="T23" fmla="*/ 568 h 1366"/>
                <a:gd name="T24" fmla="*/ 1131 w 1445"/>
                <a:gd name="T25" fmla="*/ 394 h 1366"/>
                <a:gd name="T26" fmla="*/ 924 w 1445"/>
                <a:gd name="T27" fmla="*/ 319 h 1366"/>
                <a:gd name="T28" fmla="*/ 819 w 1445"/>
                <a:gd name="T29" fmla="*/ 219 h 1366"/>
                <a:gd name="T30" fmla="*/ 605 w 1445"/>
                <a:gd name="T31" fmla="*/ 276 h 1366"/>
                <a:gd name="T32" fmla="*/ 460 w 1445"/>
                <a:gd name="T33" fmla="*/ 279 h 1366"/>
                <a:gd name="T34" fmla="*/ 308 w 1445"/>
                <a:gd name="T35" fmla="*/ 430 h 1366"/>
                <a:gd name="T36" fmla="*/ 305 w 1445"/>
                <a:gd name="T37" fmla="*/ 576 h 1366"/>
                <a:gd name="T38" fmla="*/ 248 w 1445"/>
                <a:gd name="T39" fmla="*/ 790 h 1366"/>
                <a:gd name="T40" fmla="*/ 349 w 1445"/>
                <a:gd name="T41" fmla="*/ 895 h 1366"/>
                <a:gd name="T42" fmla="*/ 387 w 1445"/>
                <a:gd name="T43" fmla="*/ 1087 h 1366"/>
                <a:gd name="T44" fmla="*/ 597 w 1445"/>
                <a:gd name="T45" fmla="*/ 1088 h 1366"/>
                <a:gd name="T46" fmla="*/ 768 w 1445"/>
                <a:gd name="T47" fmla="*/ 1198 h 1366"/>
                <a:gd name="T48" fmla="*/ 917 w 1445"/>
                <a:gd name="T49" fmla="*/ 1051 h 1366"/>
                <a:gd name="T50" fmla="*/ 1116 w 1445"/>
                <a:gd name="T51" fmla="*/ 1008 h 1366"/>
                <a:gd name="T52" fmla="*/ 1080 w 1445"/>
                <a:gd name="T53" fmla="*/ 888 h 1366"/>
                <a:gd name="T54" fmla="*/ 1098 w 1445"/>
                <a:gd name="T55" fmla="*/ 990 h 1366"/>
                <a:gd name="T56" fmla="*/ 916 w 1445"/>
                <a:gd name="T57" fmla="*/ 1022 h 1366"/>
                <a:gd name="T58" fmla="*/ 794 w 1445"/>
                <a:gd name="T59" fmla="*/ 1070 h 1366"/>
                <a:gd name="T60" fmla="*/ 631 w 1445"/>
                <a:gd name="T61" fmla="*/ 1147 h 1366"/>
                <a:gd name="T62" fmla="*/ 519 w 1445"/>
                <a:gd name="T63" fmla="*/ 1028 h 1366"/>
                <a:gd name="T64" fmla="*/ 405 w 1445"/>
                <a:gd name="T65" fmla="*/ 1069 h 1366"/>
                <a:gd name="T66" fmla="*/ 381 w 1445"/>
                <a:gd name="T67" fmla="*/ 899 h 1366"/>
                <a:gd name="T68" fmla="*/ 328 w 1445"/>
                <a:gd name="T69" fmla="*/ 777 h 1366"/>
                <a:gd name="T70" fmla="*/ 222 w 1445"/>
                <a:gd name="T71" fmla="*/ 627 h 1366"/>
                <a:gd name="T72" fmla="*/ 332 w 1445"/>
                <a:gd name="T73" fmla="*/ 575 h 1366"/>
                <a:gd name="T74" fmla="*/ 326 w 1445"/>
                <a:gd name="T75" fmla="*/ 412 h 1366"/>
                <a:gd name="T76" fmla="*/ 442 w 1445"/>
                <a:gd name="T77" fmla="*/ 297 h 1366"/>
                <a:gd name="T78" fmla="*/ 604 w 1445"/>
                <a:gd name="T79" fmla="*/ 303 h 1366"/>
                <a:gd name="T80" fmla="*/ 656 w 1445"/>
                <a:gd name="T81" fmla="*/ 193 h 1366"/>
                <a:gd name="T82" fmla="*/ 807 w 1445"/>
                <a:gd name="T83" fmla="*/ 299 h 1366"/>
                <a:gd name="T84" fmla="*/ 928 w 1445"/>
                <a:gd name="T85" fmla="*/ 352 h 1366"/>
                <a:gd name="T86" fmla="*/ 1106 w 1445"/>
                <a:gd name="T87" fmla="*/ 394 h 1366"/>
                <a:gd name="T88" fmla="*/ 1058 w 1445"/>
                <a:gd name="T89" fmla="*/ 490 h 1366"/>
                <a:gd name="T90" fmla="*/ 1176 w 1445"/>
                <a:gd name="T91" fmla="*/ 602 h 1366"/>
                <a:gd name="T92" fmla="*/ 1099 w 1445"/>
                <a:gd name="T93" fmla="*/ 764 h 1366"/>
                <a:gd name="T94" fmla="*/ 1051 w 1445"/>
                <a:gd name="T95" fmla="*/ 887 h 1366"/>
                <a:gd name="T96" fmla="*/ 0 w 1445"/>
                <a:gd name="T97" fmla="*/ 375 h 1366"/>
                <a:gd name="T98" fmla="*/ 1395 w 1445"/>
                <a:gd name="T99" fmla="*/ 683 h 1366"/>
                <a:gd name="T100" fmla="*/ 186 w 1445"/>
                <a:gd name="T101" fmla="*/ 420 h 1366"/>
                <a:gd name="T102" fmla="*/ 1379 w 1445"/>
                <a:gd name="T103" fmla="*/ 905 h 1366"/>
                <a:gd name="T104" fmla="*/ 733 w 1445"/>
                <a:gd name="T105" fmla="*/ 1340 h 1366"/>
                <a:gd name="T106" fmla="*/ 1382 w 1445"/>
                <a:gd name="T107" fmla="*/ 851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5" h="1366">
                  <a:moveTo>
                    <a:pt x="943" y="554"/>
                  </a:moveTo>
                  <a:cubicBezTo>
                    <a:pt x="919" y="511"/>
                    <a:pt x="884" y="476"/>
                    <a:pt x="841" y="452"/>
                  </a:cubicBezTo>
                  <a:cubicBezTo>
                    <a:pt x="823" y="442"/>
                    <a:pt x="803" y="434"/>
                    <a:pt x="784" y="429"/>
                  </a:cubicBezTo>
                  <a:cubicBezTo>
                    <a:pt x="738" y="416"/>
                    <a:pt x="687" y="416"/>
                    <a:pt x="640" y="429"/>
                  </a:cubicBezTo>
                  <a:cubicBezTo>
                    <a:pt x="621" y="434"/>
                    <a:pt x="602" y="442"/>
                    <a:pt x="583" y="452"/>
                  </a:cubicBezTo>
                  <a:cubicBezTo>
                    <a:pt x="541" y="476"/>
                    <a:pt x="505" y="512"/>
                    <a:pt x="482" y="554"/>
                  </a:cubicBezTo>
                  <a:cubicBezTo>
                    <a:pt x="471" y="573"/>
                    <a:pt x="463" y="592"/>
                    <a:pt x="458" y="611"/>
                  </a:cubicBezTo>
                  <a:cubicBezTo>
                    <a:pt x="452" y="634"/>
                    <a:pt x="448" y="658"/>
                    <a:pt x="448" y="683"/>
                  </a:cubicBezTo>
                  <a:cubicBezTo>
                    <a:pt x="448" y="707"/>
                    <a:pt x="452" y="732"/>
                    <a:pt x="458" y="755"/>
                  </a:cubicBezTo>
                  <a:cubicBezTo>
                    <a:pt x="463" y="774"/>
                    <a:pt x="471" y="793"/>
                    <a:pt x="482" y="812"/>
                  </a:cubicBezTo>
                  <a:cubicBezTo>
                    <a:pt x="505" y="854"/>
                    <a:pt x="541" y="890"/>
                    <a:pt x="583" y="914"/>
                  </a:cubicBezTo>
                  <a:cubicBezTo>
                    <a:pt x="602" y="924"/>
                    <a:pt x="621" y="932"/>
                    <a:pt x="640" y="937"/>
                  </a:cubicBezTo>
                  <a:cubicBezTo>
                    <a:pt x="663" y="944"/>
                    <a:pt x="688" y="947"/>
                    <a:pt x="712" y="947"/>
                  </a:cubicBezTo>
                  <a:cubicBezTo>
                    <a:pt x="737" y="947"/>
                    <a:pt x="761" y="944"/>
                    <a:pt x="784" y="937"/>
                  </a:cubicBezTo>
                  <a:cubicBezTo>
                    <a:pt x="803" y="932"/>
                    <a:pt x="823" y="924"/>
                    <a:pt x="841" y="914"/>
                  </a:cubicBezTo>
                  <a:cubicBezTo>
                    <a:pt x="884" y="890"/>
                    <a:pt x="919" y="855"/>
                    <a:pt x="943" y="812"/>
                  </a:cubicBezTo>
                  <a:cubicBezTo>
                    <a:pt x="953" y="794"/>
                    <a:pt x="961" y="774"/>
                    <a:pt x="966" y="755"/>
                  </a:cubicBezTo>
                  <a:cubicBezTo>
                    <a:pt x="973" y="732"/>
                    <a:pt x="976" y="708"/>
                    <a:pt x="976" y="683"/>
                  </a:cubicBezTo>
                  <a:cubicBezTo>
                    <a:pt x="976" y="658"/>
                    <a:pt x="973" y="634"/>
                    <a:pt x="966" y="611"/>
                  </a:cubicBezTo>
                  <a:cubicBezTo>
                    <a:pt x="961" y="592"/>
                    <a:pt x="953" y="572"/>
                    <a:pt x="943" y="554"/>
                  </a:cubicBezTo>
                  <a:close/>
                  <a:moveTo>
                    <a:pt x="942" y="748"/>
                  </a:moveTo>
                  <a:cubicBezTo>
                    <a:pt x="937" y="766"/>
                    <a:pt x="930" y="783"/>
                    <a:pt x="921" y="799"/>
                  </a:cubicBezTo>
                  <a:cubicBezTo>
                    <a:pt x="899" y="838"/>
                    <a:pt x="867" y="870"/>
                    <a:pt x="828" y="891"/>
                  </a:cubicBezTo>
                  <a:cubicBezTo>
                    <a:pt x="812" y="901"/>
                    <a:pt x="795" y="908"/>
                    <a:pt x="777" y="912"/>
                  </a:cubicBezTo>
                  <a:cubicBezTo>
                    <a:pt x="735" y="924"/>
                    <a:pt x="689" y="925"/>
                    <a:pt x="647" y="912"/>
                  </a:cubicBezTo>
                  <a:cubicBezTo>
                    <a:pt x="630" y="907"/>
                    <a:pt x="612" y="900"/>
                    <a:pt x="596" y="891"/>
                  </a:cubicBezTo>
                  <a:cubicBezTo>
                    <a:pt x="557" y="870"/>
                    <a:pt x="525" y="838"/>
                    <a:pt x="504" y="799"/>
                  </a:cubicBezTo>
                  <a:cubicBezTo>
                    <a:pt x="495" y="783"/>
                    <a:pt x="488" y="765"/>
                    <a:pt x="483" y="748"/>
                  </a:cubicBezTo>
                  <a:cubicBezTo>
                    <a:pt x="477" y="727"/>
                    <a:pt x="474" y="705"/>
                    <a:pt x="474" y="683"/>
                  </a:cubicBezTo>
                  <a:cubicBezTo>
                    <a:pt x="474" y="661"/>
                    <a:pt x="477" y="639"/>
                    <a:pt x="483" y="618"/>
                  </a:cubicBezTo>
                  <a:cubicBezTo>
                    <a:pt x="488" y="600"/>
                    <a:pt x="495" y="583"/>
                    <a:pt x="504" y="567"/>
                  </a:cubicBezTo>
                  <a:cubicBezTo>
                    <a:pt x="525" y="528"/>
                    <a:pt x="557" y="496"/>
                    <a:pt x="596" y="475"/>
                  </a:cubicBezTo>
                  <a:cubicBezTo>
                    <a:pt x="612" y="466"/>
                    <a:pt x="630" y="458"/>
                    <a:pt x="647" y="454"/>
                  </a:cubicBezTo>
                  <a:cubicBezTo>
                    <a:pt x="668" y="448"/>
                    <a:pt x="690" y="444"/>
                    <a:pt x="712" y="444"/>
                  </a:cubicBezTo>
                  <a:cubicBezTo>
                    <a:pt x="734" y="444"/>
                    <a:pt x="756" y="448"/>
                    <a:pt x="777" y="454"/>
                  </a:cubicBezTo>
                  <a:cubicBezTo>
                    <a:pt x="795" y="458"/>
                    <a:pt x="812" y="465"/>
                    <a:pt x="828" y="475"/>
                  </a:cubicBezTo>
                  <a:cubicBezTo>
                    <a:pt x="867" y="496"/>
                    <a:pt x="899" y="528"/>
                    <a:pt x="921" y="567"/>
                  </a:cubicBezTo>
                  <a:cubicBezTo>
                    <a:pt x="930" y="583"/>
                    <a:pt x="937" y="600"/>
                    <a:pt x="942" y="618"/>
                  </a:cubicBezTo>
                  <a:cubicBezTo>
                    <a:pt x="948" y="639"/>
                    <a:pt x="951" y="661"/>
                    <a:pt x="951" y="683"/>
                  </a:cubicBezTo>
                  <a:cubicBezTo>
                    <a:pt x="951" y="705"/>
                    <a:pt x="948" y="727"/>
                    <a:pt x="942" y="748"/>
                  </a:cubicBezTo>
                  <a:close/>
                  <a:moveTo>
                    <a:pt x="1117" y="798"/>
                  </a:moveTo>
                  <a:cubicBezTo>
                    <a:pt x="1118" y="795"/>
                    <a:pt x="1119" y="793"/>
                    <a:pt x="1119" y="790"/>
                  </a:cubicBezTo>
                  <a:cubicBezTo>
                    <a:pt x="1176" y="790"/>
                    <a:pt x="1176" y="790"/>
                    <a:pt x="1176" y="790"/>
                  </a:cubicBezTo>
                  <a:cubicBezTo>
                    <a:pt x="1205" y="790"/>
                    <a:pt x="1228" y="767"/>
                    <a:pt x="1228" y="739"/>
                  </a:cubicBezTo>
                  <a:cubicBezTo>
                    <a:pt x="1228" y="627"/>
                    <a:pt x="1228" y="627"/>
                    <a:pt x="1228" y="627"/>
                  </a:cubicBezTo>
                  <a:cubicBezTo>
                    <a:pt x="1228" y="599"/>
                    <a:pt x="1205" y="576"/>
                    <a:pt x="1176" y="576"/>
                  </a:cubicBezTo>
                  <a:cubicBezTo>
                    <a:pt x="1119" y="576"/>
                    <a:pt x="1119" y="576"/>
                    <a:pt x="1119" y="576"/>
                  </a:cubicBezTo>
                  <a:cubicBezTo>
                    <a:pt x="1119" y="573"/>
                    <a:pt x="1118" y="571"/>
                    <a:pt x="1117" y="568"/>
                  </a:cubicBezTo>
                  <a:cubicBezTo>
                    <a:pt x="1109" y="537"/>
                    <a:pt x="1096" y="507"/>
                    <a:pt x="1080" y="478"/>
                  </a:cubicBezTo>
                  <a:cubicBezTo>
                    <a:pt x="1079" y="475"/>
                    <a:pt x="1077" y="473"/>
                    <a:pt x="1076" y="471"/>
                  </a:cubicBezTo>
                  <a:cubicBezTo>
                    <a:pt x="1116" y="430"/>
                    <a:pt x="1116" y="430"/>
                    <a:pt x="1116" y="430"/>
                  </a:cubicBezTo>
                  <a:cubicBezTo>
                    <a:pt x="1126" y="421"/>
                    <a:pt x="1131" y="408"/>
                    <a:pt x="1131" y="394"/>
                  </a:cubicBezTo>
                  <a:cubicBezTo>
                    <a:pt x="1131" y="380"/>
                    <a:pt x="1126" y="368"/>
                    <a:pt x="1116" y="358"/>
                  </a:cubicBezTo>
                  <a:cubicBezTo>
                    <a:pt x="1037" y="279"/>
                    <a:pt x="1037" y="279"/>
                    <a:pt x="1037" y="279"/>
                  </a:cubicBezTo>
                  <a:cubicBezTo>
                    <a:pt x="1017" y="259"/>
                    <a:pt x="985" y="259"/>
                    <a:pt x="965" y="279"/>
                  </a:cubicBezTo>
                  <a:cubicBezTo>
                    <a:pt x="924" y="319"/>
                    <a:pt x="924" y="319"/>
                    <a:pt x="924" y="319"/>
                  </a:cubicBezTo>
                  <a:cubicBezTo>
                    <a:pt x="922" y="318"/>
                    <a:pt x="920" y="317"/>
                    <a:pt x="917" y="315"/>
                  </a:cubicBezTo>
                  <a:cubicBezTo>
                    <a:pt x="888" y="299"/>
                    <a:pt x="858" y="286"/>
                    <a:pt x="827" y="278"/>
                  </a:cubicBezTo>
                  <a:cubicBezTo>
                    <a:pt x="825" y="277"/>
                    <a:pt x="822" y="277"/>
                    <a:pt x="819" y="276"/>
                  </a:cubicBezTo>
                  <a:cubicBezTo>
                    <a:pt x="819" y="219"/>
                    <a:pt x="819" y="219"/>
                    <a:pt x="819" y="219"/>
                  </a:cubicBezTo>
                  <a:cubicBezTo>
                    <a:pt x="819" y="191"/>
                    <a:pt x="796" y="168"/>
                    <a:pt x="768" y="168"/>
                  </a:cubicBezTo>
                  <a:cubicBezTo>
                    <a:pt x="656" y="168"/>
                    <a:pt x="656" y="168"/>
                    <a:pt x="656" y="168"/>
                  </a:cubicBezTo>
                  <a:cubicBezTo>
                    <a:pt x="628" y="168"/>
                    <a:pt x="605" y="191"/>
                    <a:pt x="605" y="219"/>
                  </a:cubicBezTo>
                  <a:cubicBezTo>
                    <a:pt x="605" y="276"/>
                    <a:pt x="605" y="276"/>
                    <a:pt x="605" y="276"/>
                  </a:cubicBezTo>
                  <a:cubicBezTo>
                    <a:pt x="603" y="277"/>
                    <a:pt x="600" y="277"/>
                    <a:pt x="597" y="278"/>
                  </a:cubicBezTo>
                  <a:cubicBezTo>
                    <a:pt x="566" y="287"/>
                    <a:pt x="536" y="299"/>
                    <a:pt x="507" y="315"/>
                  </a:cubicBezTo>
                  <a:cubicBezTo>
                    <a:pt x="504" y="317"/>
                    <a:pt x="502" y="318"/>
                    <a:pt x="500" y="319"/>
                  </a:cubicBezTo>
                  <a:cubicBezTo>
                    <a:pt x="460" y="279"/>
                    <a:pt x="460" y="279"/>
                    <a:pt x="460" y="279"/>
                  </a:cubicBezTo>
                  <a:cubicBezTo>
                    <a:pt x="440" y="259"/>
                    <a:pt x="407" y="259"/>
                    <a:pt x="387" y="279"/>
                  </a:cubicBezTo>
                  <a:cubicBezTo>
                    <a:pt x="308" y="358"/>
                    <a:pt x="308" y="358"/>
                    <a:pt x="308" y="358"/>
                  </a:cubicBezTo>
                  <a:cubicBezTo>
                    <a:pt x="299" y="368"/>
                    <a:pt x="293" y="380"/>
                    <a:pt x="293" y="394"/>
                  </a:cubicBezTo>
                  <a:cubicBezTo>
                    <a:pt x="293" y="408"/>
                    <a:pt x="299" y="421"/>
                    <a:pt x="308" y="430"/>
                  </a:cubicBezTo>
                  <a:cubicBezTo>
                    <a:pt x="349" y="471"/>
                    <a:pt x="349" y="471"/>
                    <a:pt x="349" y="471"/>
                  </a:cubicBezTo>
                  <a:cubicBezTo>
                    <a:pt x="347" y="473"/>
                    <a:pt x="346" y="475"/>
                    <a:pt x="344" y="478"/>
                  </a:cubicBezTo>
                  <a:cubicBezTo>
                    <a:pt x="328" y="507"/>
                    <a:pt x="316" y="538"/>
                    <a:pt x="307" y="568"/>
                  </a:cubicBezTo>
                  <a:cubicBezTo>
                    <a:pt x="307" y="571"/>
                    <a:pt x="306" y="573"/>
                    <a:pt x="305" y="576"/>
                  </a:cubicBezTo>
                  <a:cubicBezTo>
                    <a:pt x="248" y="576"/>
                    <a:pt x="248" y="576"/>
                    <a:pt x="248" y="576"/>
                  </a:cubicBezTo>
                  <a:cubicBezTo>
                    <a:pt x="220" y="576"/>
                    <a:pt x="197" y="599"/>
                    <a:pt x="197" y="627"/>
                  </a:cubicBezTo>
                  <a:cubicBezTo>
                    <a:pt x="197" y="739"/>
                    <a:pt x="197" y="739"/>
                    <a:pt x="197" y="739"/>
                  </a:cubicBezTo>
                  <a:cubicBezTo>
                    <a:pt x="197" y="767"/>
                    <a:pt x="220" y="790"/>
                    <a:pt x="248" y="790"/>
                  </a:cubicBezTo>
                  <a:cubicBezTo>
                    <a:pt x="305" y="790"/>
                    <a:pt x="305" y="790"/>
                    <a:pt x="305" y="790"/>
                  </a:cubicBezTo>
                  <a:cubicBezTo>
                    <a:pt x="306" y="793"/>
                    <a:pt x="307" y="795"/>
                    <a:pt x="307" y="798"/>
                  </a:cubicBezTo>
                  <a:cubicBezTo>
                    <a:pt x="316" y="828"/>
                    <a:pt x="328" y="859"/>
                    <a:pt x="344" y="888"/>
                  </a:cubicBezTo>
                  <a:cubicBezTo>
                    <a:pt x="346" y="891"/>
                    <a:pt x="347" y="893"/>
                    <a:pt x="349" y="895"/>
                  </a:cubicBezTo>
                  <a:cubicBezTo>
                    <a:pt x="308" y="936"/>
                    <a:pt x="308" y="936"/>
                    <a:pt x="308" y="936"/>
                  </a:cubicBezTo>
                  <a:cubicBezTo>
                    <a:pt x="299" y="945"/>
                    <a:pt x="293" y="958"/>
                    <a:pt x="293" y="972"/>
                  </a:cubicBezTo>
                  <a:cubicBezTo>
                    <a:pt x="293" y="986"/>
                    <a:pt x="299" y="998"/>
                    <a:pt x="308" y="1008"/>
                  </a:cubicBezTo>
                  <a:cubicBezTo>
                    <a:pt x="387" y="1087"/>
                    <a:pt x="387" y="1087"/>
                    <a:pt x="387" y="1087"/>
                  </a:cubicBezTo>
                  <a:cubicBezTo>
                    <a:pt x="407" y="1107"/>
                    <a:pt x="440" y="1107"/>
                    <a:pt x="460" y="1087"/>
                  </a:cubicBezTo>
                  <a:cubicBezTo>
                    <a:pt x="500" y="1047"/>
                    <a:pt x="500" y="1047"/>
                    <a:pt x="500" y="1047"/>
                  </a:cubicBezTo>
                  <a:cubicBezTo>
                    <a:pt x="502" y="1048"/>
                    <a:pt x="504" y="1049"/>
                    <a:pt x="507" y="1051"/>
                  </a:cubicBezTo>
                  <a:cubicBezTo>
                    <a:pt x="536" y="1067"/>
                    <a:pt x="566" y="1079"/>
                    <a:pt x="597" y="1088"/>
                  </a:cubicBezTo>
                  <a:cubicBezTo>
                    <a:pt x="600" y="1089"/>
                    <a:pt x="603" y="1089"/>
                    <a:pt x="605" y="1090"/>
                  </a:cubicBezTo>
                  <a:cubicBezTo>
                    <a:pt x="605" y="1147"/>
                    <a:pt x="605" y="1147"/>
                    <a:pt x="605" y="1147"/>
                  </a:cubicBezTo>
                  <a:cubicBezTo>
                    <a:pt x="605" y="1175"/>
                    <a:pt x="628" y="1198"/>
                    <a:pt x="656" y="1198"/>
                  </a:cubicBezTo>
                  <a:cubicBezTo>
                    <a:pt x="768" y="1198"/>
                    <a:pt x="768" y="1198"/>
                    <a:pt x="768" y="1198"/>
                  </a:cubicBezTo>
                  <a:cubicBezTo>
                    <a:pt x="796" y="1198"/>
                    <a:pt x="819" y="1175"/>
                    <a:pt x="819" y="1147"/>
                  </a:cubicBezTo>
                  <a:cubicBezTo>
                    <a:pt x="819" y="1090"/>
                    <a:pt x="819" y="1090"/>
                    <a:pt x="819" y="1090"/>
                  </a:cubicBezTo>
                  <a:cubicBezTo>
                    <a:pt x="822" y="1089"/>
                    <a:pt x="824" y="1089"/>
                    <a:pt x="827" y="1088"/>
                  </a:cubicBezTo>
                  <a:cubicBezTo>
                    <a:pt x="858" y="1080"/>
                    <a:pt x="888" y="1067"/>
                    <a:pt x="917" y="1051"/>
                  </a:cubicBezTo>
                  <a:cubicBezTo>
                    <a:pt x="920" y="1049"/>
                    <a:pt x="922" y="1048"/>
                    <a:pt x="924" y="1047"/>
                  </a:cubicBezTo>
                  <a:cubicBezTo>
                    <a:pt x="965" y="1087"/>
                    <a:pt x="965" y="1087"/>
                    <a:pt x="965" y="1087"/>
                  </a:cubicBezTo>
                  <a:cubicBezTo>
                    <a:pt x="985" y="1107"/>
                    <a:pt x="1017" y="1107"/>
                    <a:pt x="1037" y="1087"/>
                  </a:cubicBezTo>
                  <a:cubicBezTo>
                    <a:pt x="1116" y="1008"/>
                    <a:pt x="1116" y="1008"/>
                    <a:pt x="1116" y="1008"/>
                  </a:cubicBezTo>
                  <a:cubicBezTo>
                    <a:pt x="1126" y="998"/>
                    <a:pt x="1131" y="985"/>
                    <a:pt x="1131" y="972"/>
                  </a:cubicBezTo>
                  <a:cubicBezTo>
                    <a:pt x="1131" y="958"/>
                    <a:pt x="1126" y="945"/>
                    <a:pt x="1116" y="936"/>
                  </a:cubicBezTo>
                  <a:cubicBezTo>
                    <a:pt x="1076" y="895"/>
                    <a:pt x="1076" y="895"/>
                    <a:pt x="1076" y="895"/>
                  </a:cubicBezTo>
                  <a:cubicBezTo>
                    <a:pt x="1077" y="893"/>
                    <a:pt x="1079" y="891"/>
                    <a:pt x="1080" y="888"/>
                  </a:cubicBezTo>
                  <a:cubicBezTo>
                    <a:pt x="1096" y="859"/>
                    <a:pt x="1109" y="829"/>
                    <a:pt x="1117" y="798"/>
                  </a:cubicBezTo>
                  <a:close/>
                  <a:moveTo>
                    <a:pt x="1098" y="954"/>
                  </a:moveTo>
                  <a:cubicBezTo>
                    <a:pt x="1103" y="959"/>
                    <a:pt x="1106" y="965"/>
                    <a:pt x="1106" y="972"/>
                  </a:cubicBezTo>
                  <a:cubicBezTo>
                    <a:pt x="1106" y="979"/>
                    <a:pt x="1103" y="985"/>
                    <a:pt x="1098" y="990"/>
                  </a:cubicBezTo>
                  <a:cubicBezTo>
                    <a:pt x="1019" y="1069"/>
                    <a:pt x="1019" y="1069"/>
                    <a:pt x="1019" y="1069"/>
                  </a:cubicBezTo>
                  <a:cubicBezTo>
                    <a:pt x="1009" y="1079"/>
                    <a:pt x="993" y="1079"/>
                    <a:pt x="983" y="1069"/>
                  </a:cubicBezTo>
                  <a:cubicBezTo>
                    <a:pt x="928" y="1014"/>
                    <a:pt x="928" y="1014"/>
                    <a:pt x="928" y="1014"/>
                  </a:cubicBezTo>
                  <a:cubicBezTo>
                    <a:pt x="916" y="1022"/>
                    <a:pt x="916" y="1022"/>
                    <a:pt x="916" y="1022"/>
                  </a:cubicBezTo>
                  <a:cubicBezTo>
                    <a:pt x="912" y="1024"/>
                    <a:pt x="909" y="1026"/>
                    <a:pt x="905" y="1028"/>
                  </a:cubicBezTo>
                  <a:cubicBezTo>
                    <a:pt x="877" y="1044"/>
                    <a:pt x="849" y="1055"/>
                    <a:pt x="820" y="1063"/>
                  </a:cubicBezTo>
                  <a:cubicBezTo>
                    <a:pt x="816" y="1065"/>
                    <a:pt x="812" y="1066"/>
                    <a:pt x="807" y="1067"/>
                  </a:cubicBezTo>
                  <a:cubicBezTo>
                    <a:pt x="794" y="1070"/>
                    <a:pt x="794" y="1070"/>
                    <a:pt x="794" y="1070"/>
                  </a:cubicBezTo>
                  <a:cubicBezTo>
                    <a:pt x="794" y="1147"/>
                    <a:pt x="794" y="1147"/>
                    <a:pt x="794" y="1147"/>
                  </a:cubicBezTo>
                  <a:cubicBezTo>
                    <a:pt x="794" y="1161"/>
                    <a:pt x="782" y="1173"/>
                    <a:pt x="768" y="1173"/>
                  </a:cubicBezTo>
                  <a:cubicBezTo>
                    <a:pt x="656" y="1173"/>
                    <a:pt x="656" y="1173"/>
                    <a:pt x="656" y="1173"/>
                  </a:cubicBezTo>
                  <a:cubicBezTo>
                    <a:pt x="642" y="1173"/>
                    <a:pt x="631" y="1162"/>
                    <a:pt x="631" y="1147"/>
                  </a:cubicBezTo>
                  <a:cubicBezTo>
                    <a:pt x="631" y="1070"/>
                    <a:pt x="631" y="1070"/>
                    <a:pt x="631" y="1070"/>
                  </a:cubicBezTo>
                  <a:cubicBezTo>
                    <a:pt x="617" y="1067"/>
                    <a:pt x="617" y="1067"/>
                    <a:pt x="617" y="1067"/>
                  </a:cubicBezTo>
                  <a:cubicBezTo>
                    <a:pt x="613" y="1066"/>
                    <a:pt x="609" y="1065"/>
                    <a:pt x="604" y="1063"/>
                  </a:cubicBezTo>
                  <a:cubicBezTo>
                    <a:pt x="575" y="1055"/>
                    <a:pt x="547" y="1043"/>
                    <a:pt x="519" y="1028"/>
                  </a:cubicBezTo>
                  <a:cubicBezTo>
                    <a:pt x="515" y="1026"/>
                    <a:pt x="512" y="1024"/>
                    <a:pt x="508" y="1022"/>
                  </a:cubicBezTo>
                  <a:cubicBezTo>
                    <a:pt x="496" y="1014"/>
                    <a:pt x="496" y="1014"/>
                    <a:pt x="496" y="1014"/>
                  </a:cubicBezTo>
                  <a:cubicBezTo>
                    <a:pt x="442" y="1069"/>
                    <a:pt x="442" y="1069"/>
                    <a:pt x="442" y="1069"/>
                  </a:cubicBezTo>
                  <a:cubicBezTo>
                    <a:pt x="432" y="1079"/>
                    <a:pt x="415" y="1079"/>
                    <a:pt x="405" y="1069"/>
                  </a:cubicBezTo>
                  <a:cubicBezTo>
                    <a:pt x="326" y="990"/>
                    <a:pt x="326" y="990"/>
                    <a:pt x="326" y="990"/>
                  </a:cubicBezTo>
                  <a:cubicBezTo>
                    <a:pt x="321" y="985"/>
                    <a:pt x="319" y="979"/>
                    <a:pt x="319" y="972"/>
                  </a:cubicBezTo>
                  <a:cubicBezTo>
                    <a:pt x="319" y="965"/>
                    <a:pt x="321" y="959"/>
                    <a:pt x="326" y="954"/>
                  </a:cubicBezTo>
                  <a:cubicBezTo>
                    <a:pt x="381" y="899"/>
                    <a:pt x="381" y="899"/>
                    <a:pt x="381" y="899"/>
                  </a:cubicBezTo>
                  <a:cubicBezTo>
                    <a:pt x="374" y="887"/>
                    <a:pt x="374" y="887"/>
                    <a:pt x="374" y="887"/>
                  </a:cubicBezTo>
                  <a:cubicBezTo>
                    <a:pt x="371" y="883"/>
                    <a:pt x="369" y="880"/>
                    <a:pt x="367" y="876"/>
                  </a:cubicBezTo>
                  <a:cubicBezTo>
                    <a:pt x="351" y="848"/>
                    <a:pt x="340" y="820"/>
                    <a:pt x="332" y="791"/>
                  </a:cubicBezTo>
                  <a:cubicBezTo>
                    <a:pt x="331" y="786"/>
                    <a:pt x="330" y="782"/>
                    <a:pt x="328" y="777"/>
                  </a:cubicBezTo>
                  <a:cubicBezTo>
                    <a:pt x="325" y="764"/>
                    <a:pt x="325" y="764"/>
                    <a:pt x="325" y="764"/>
                  </a:cubicBezTo>
                  <a:cubicBezTo>
                    <a:pt x="248" y="764"/>
                    <a:pt x="248" y="764"/>
                    <a:pt x="248" y="764"/>
                  </a:cubicBezTo>
                  <a:cubicBezTo>
                    <a:pt x="234" y="764"/>
                    <a:pt x="222" y="753"/>
                    <a:pt x="222" y="739"/>
                  </a:cubicBezTo>
                  <a:cubicBezTo>
                    <a:pt x="222" y="627"/>
                    <a:pt x="222" y="627"/>
                    <a:pt x="222" y="627"/>
                  </a:cubicBezTo>
                  <a:cubicBezTo>
                    <a:pt x="222" y="613"/>
                    <a:pt x="234" y="602"/>
                    <a:pt x="248" y="602"/>
                  </a:cubicBezTo>
                  <a:cubicBezTo>
                    <a:pt x="325" y="602"/>
                    <a:pt x="325" y="602"/>
                    <a:pt x="325" y="602"/>
                  </a:cubicBezTo>
                  <a:cubicBezTo>
                    <a:pt x="328" y="589"/>
                    <a:pt x="328" y="589"/>
                    <a:pt x="328" y="589"/>
                  </a:cubicBezTo>
                  <a:cubicBezTo>
                    <a:pt x="330" y="584"/>
                    <a:pt x="331" y="580"/>
                    <a:pt x="332" y="575"/>
                  </a:cubicBezTo>
                  <a:cubicBezTo>
                    <a:pt x="340" y="546"/>
                    <a:pt x="351" y="518"/>
                    <a:pt x="367" y="490"/>
                  </a:cubicBezTo>
                  <a:cubicBezTo>
                    <a:pt x="369" y="486"/>
                    <a:pt x="371" y="483"/>
                    <a:pt x="374" y="479"/>
                  </a:cubicBezTo>
                  <a:cubicBezTo>
                    <a:pt x="381" y="467"/>
                    <a:pt x="381" y="467"/>
                    <a:pt x="381" y="467"/>
                  </a:cubicBezTo>
                  <a:cubicBezTo>
                    <a:pt x="326" y="412"/>
                    <a:pt x="326" y="412"/>
                    <a:pt x="326" y="412"/>
                  </a:cubicBezTo>
                  <a:cubicBezTo>
                    <a:pt x="321" y="407"/>
                    <a:pt x="319" y="401"/>
                    <a:pt x="319" y="394"/>
                  </a:cubicBezTo>
                  <a:cubicBezTo>
                    <a:pt x="319" y="387"/>
                    <a:pt x="321" y="381"/>
                    <a:pt x="326" y="376"/>
                  </a:cubicBezTo>
                  <a:cubicBezTo>
                    <a:pt x="405" y="297"/>
                    <a:pt x="405" y="297"/>
                    <a:pt x="405" y="297"/>
                  </a:cubicBezTo>
                  <a:cubicBezTo>
                    <a:pt x="415" y="287"/>
                    <a:pt x="432" y="287"/>
                    <a:pt x="442" y="297"/>
                  </a:cubicBezTo>
                  <a:cubicBezTo>
                    <a:pt x="496" y="352"/>
                    <a:pt x="496" y="352"/>
                    <a:pt x="496" y="352"/>
                  </a:cubicBezTo>
                  <a:cubicBezTo>
                    <a:pt x="508" y="344"/>
                    <a:pt x="508" y="344"/>
                    <a:pt x="508" y="344"/>
                  </a:cubicBezTo>
                  <a:cubicBezTo>
                    <a:pt x="512" y="342"/>
                    <a:pt x="515" y="340"/>
                    <a:pt x="519" y="338"/>
                  </a:cubicBezTo>
                  <a:cubicBezTo>
                    <a:pt x="547" y="323"/>
                    <a:pt x="575" y="311"/>
                    <a:pt x="604" y="303"/>
                  </a:cubicBezTo>
                  <a:cubicBezTo>
                    <a:pt x="609" y="301"/>
                    <a:pt x="613" y="300"/>
                    <a:pt x="618" y="299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31" y="219"/>
                    <a:pt x="631" y="219"/>
                    <a:pt x="631" y="219"/>
                  </a:cubicBezTo>
                  <a:cubicBezTo>
                    <a:pt x="631" y="204"/>
                    <a:pt x="642" y="193"/>
                    <a:pt x="656" y="193"/>
                  </a:cubicBezTo>
                  <a:cubicBezTo>
                    <a:pt x="768" y="193"/>
                    <a:pt x="768" y="193"/>
                    <a:pt x="768" y="193"/>
                  </a:cubicBezTo>
                  <a:cubicBezTo>
                    <a:pt x="782" y="193"/>
                    <a:pt x="794" y="205"/>
                    <a:pt x="794" y="219"/>
                  </a:cubicBezTo>
                  <a:cubicBezTo>
                    <a:pt x="794" y="296"/>
                    <a:pt x="794" y="296"/>
                    <a:pt x="794" y="296"/>
                  </a:cubicBezTo>
                  <a:cubicBezTo>
                    <a:pt x="807" y="299"/>
                    <a:pt x="807" y="299"/>
                    <a:pt x="807" y="299"/>
                  </a:cubicBezTo>
                  <a:cubicBezTo>
                    <a:pt x="811" y="300"/>
                    <a:pt x="816" y="301"/>
                    <a:pt x="820" y="303"/>
                  </a:cubicBezTo>
                  <a:cubicBezTo>
                    <a:pt x="849" y="310"/>
                    <a:pt x="877" y="322"/>
                    <a:pt x="905" y="338"/>
                  </a:cubicBezTo>
                  <a:cubicBezTo>
                    <a:pt x="909" y="340"/>
                    <a:pt x="912" y="342"/>
                    <a:pt x="916" y="344"/>
                  </a:cubicBezTo>
                  <a:cubicBezTo>
                    <a:pt x="928" y="352"/>
                    <a:pt x="928" y="352"/>
                    <a:pt x="928" y="352"/>
                  </a:cubicBezTo>
                  <a:cubicBezTo>
                    <a:pt x="983" y="297"/>
                    <a:pt x="983" y="297"/>
                    <a:pt x="983" y="297"/>
                  </a:cubicBezTo>
                  <a:cubicBezTo>
                    <a:pt x="993" y="287"/>
                    <a:pt x="1009" y="287"/>
                    <a:pt x="1019" y="297"/>
                  </a:cubicBezTo>
                  <a:cubicBezTo>
                    <a:pt x="1098" y="376"/>
                    <a:pt x="1098" y="376"/>
                    <a:pt x="1098" y="376"/>
                  </a:cubicBezTo>
                  <a:cubicBezTo>
                    <a:pt x="1103" y="381"/>
                    <a:pt x="1106" y="387"/>
                    <a:pt x="1106" y="394"/>
                  </a:cubicBezTo>
                  <a:cubicBezTo>
                    <a:pt x="1106" y="401"/>
                    <a:pt x="1103" y="407"/>
                    <a:pt x="1098" y="412"/>
                  </a:cubicBezTo>
                  <a:cubicBezTo>
                    <a:pt x="1043" y="467"/>
                    <a:pt x="1043" y="467"/>
                    <a:pt x="1043" y="467"/>
                  </a:cubicBezTo>
                  <a:cubicBezTo>
                    <a:pt x="1051" y="479"/>
                    <a:pt x="1051" y="479"/>
                    <a:pt x="1051" y="479"/>
                  </a:cubicBezTo>
                  <a:cubicBezTo>
                    <a:pt x="1053" y="483"/>
                    <a:pt x="1056" y="486"/>
                    <a:pt x="1058" y="490"/>
                  </a:cubicBezTo>
                  <a:cubicBezTo>
                    <a:pt x="1073" y="517"/>
                    <a:pt x="1084" y="546"/>
                    <a:pt x="1093" y="575"/>
                  </a:cubicBezTo>
                  <a:cubicBezTo>
                    <a:pt x="1094" y="579"/>
                    <a:pt x="1095" y="584"/>
                    <a:pt x="1096" y="588"/>
                  </a:cubicBezTo>
                  <a:cubicBezTo>
                    <a:pt x="1099" y="602"/>
                    <a:pt x="1099" y="602"/>
                    <a:pt x="1099" y="602"/>
                  </a:cubicBezTo>
                  <a:cubicBezTo>
                    <a:pt x="1176" y="602"/>
                    <a:pt x="1176" y="602"/>
                    <a:pt x="1176" y="602"/>
                  </a:cubicBezTo>
                  <a:cubicBezTo>
                    <a:pt x="1191" y="602"/>
                    <a:pt x="1202" y="613"/>
                    <a:pt x="1202" y="627"/>
                  </a:cubicBezTo>
                  <a:cubicBezTo>
                    <a:pt x="1202" y="739"/>
                    <a:pt x="1202" y="739"/>
                    <a:pt x="1202" y="739"/>
                  </a:cubicBezTo>
                  <a:cubicBezTo>
                    <a:pt x="1202" y="753"/>
                    <a:pt x="1191" y="764"/>
                    <a:pt x="1176" y="764"/>
                  </a:cubicBezTo>
                  <a:cubicBezTo>
                    <a:pt x="1099" y="764"/>
                    <a:pt x="1099" y="764"/>
                    <a:pt x="1099" y="764"/>
                  </a:cubicBezTo>
                  <a:cubicBezTo>
                    <a:pt x="1096" y="778"/>
                    <a:pt x="1096" y="778"/>
                    <a:pt x="1096" y="778"/>
                  </a:cubicBezTo>
                  <a:cubicBezTo>
                    <a:pt x="1095" y="782"/>
                    <a:pt x="1094" y="787"/>
                    <a:pt x="1093" y="791"/>
                  </a:cubicBezTo>
                  <a:cubicBezTo>
                    <a:pt x="1084" y="820"/>
                    <a:pt x="1073" y="849"/>
                    <a:pt x="1058" y="876"/>
                  </a:cubicBezTo>
                  <a:cubicBezTo>
                    <a:pt x="1056" y="880"/>
                    <a:pt x="1053" y="883"/>
                    <a:pt x="1051" y="887"/>
                  </a:cubicBezTo>
                  <a:cubicBezTo>
                    <a:pt x="1043" y="899"/>
                    <a:pt x="1043" y="899"/>
                    <a:pt x="1043" y="899"/>
                  </a:cubicBezTo>
                  <a:lnTo>
                    <a:pt x="1098" y="954"/>
                  </a:lnTo>
                  <a:close/>
                  <a:moveTo>
                    <a:pt x="63" y="515"/>
                  </a:moveTo>
                  <a:cubicBezTo>
                    <a:pt x="0" y="375"/>
                    <a:pt x="0" y="375"/>
                    <a:pt x="0" y="375"/>
                  </a:cubicBezTo>
                  <a:cubicBezTo>
                    <a:pt x="24" y="365"/>
                    <a:pt x="24" y="365"/>
                    <a:pt x="24" y="365"/>
                  </a:cubicBezTo>
                  <a:cubicBezTo>
                    <a:pt x="67" y="461"/>
                    <a:pt x="67" y="461"/>
                    <a:pt x="67" y="461"/>
                  </a:cubicBezTo>
                  <a:cubicBezTo>
                    <a:pt x="162" y="184"/>
                    <a:pt x="418" y="0"/>
                    <a:pt x="712" y="0"/>
                  </a:cubicBezTo>
                  <a:cubicBezTo>
                    <a:pt x="1089" y="0"/>
                    <a:pt x="1395" y="306"/>
                    <a:pt x="1395" y="683"/>
                  </a:cubicBezTo>
                  <a:cubicBezTo>
                    <a:pt x="1369" y="683"/>
                    <a:pt x="1369" y="683"/>
                    <a:pt x="1369" y="683"/>
                  </a:cubicBezTo>
                  <a:cubicBezTo>
                    <a:pt x="1369" y="321"/>
                    <a:pt x="1075" y="26"/>
                    <a:pt x="712" y="26"/>
                  </a:cubicBezTo>
                  <a:cubicBezTo>
                    <a:pt x="428" y="26"/>
                    <a:pt x="181" y="204"/>
                    <a:pt x="90" y="472"/>
                  </a:cubicBezTo>
                  <a:cubicBezTo>
                    <a:pt x="186" y="420"/>
                    <a:pt x="186" y="420"/>
                    <a:pt x="186" y="420"/>
                  </a:cubicBezTo>
                  <a:cubicBezTo>
                    <a:pt x="198" y="443"/>
                    <a:pt x="198" y="443"/>
                    <a:pt x="198" y="443"/>
                  </a:cubicBezTo>
                  <a:lnTo>
                    <a:pt x="63" y="515"/>
                  </a:lnTo>
                  <a:close/>
                  <a:moveTo>
                    <a:pt x="1422" y="1001"/>
                  </a:moveTo>
                  <a:cubicBezTo>
                    <a:pt x="1379" y="905"/>
                    <a:pt x="1379" y="905"/>
                    <a:pt x="1379" y="905"/>
                  </a:cubicBezTo>
                  <a:cubicBezTo>
                    <a:pt x="1284" y="1182"/>
                    <a:pt x="1028" y="1366"/>
                    <a:pt x="733" y="1366"/>
                  </a:cubicBezTo>
                  <a:cubicBezTo>
                    <a:pt x="357" y="1366"/>
                    <a:pt x="50" y="1060"/>
                    <a:pt x="50" y="683"/>
                  </a:cubicBezTo>
                  <a:cubicBezTo>
                    <a:pt x="76" y="683"/>
                    <a:pt x="76" y="683"/>
                    <a:pt x="76" y="683"/>
                  </a:cubicBezTo>
                  <a:cubicBezTo>
                    <a:pt x="76" y="1045"/>
                    <a:pt x="371" y="1340"/>
                    <a:pt x="733" y="1340"/>
                  </a:cubicBezTo>
                  <a:cubicBezTo>
                    <a:pt x="1018" y="1340"/>
                    <a:pt x="1265" y="1162"/>
                    <a:pt x="1355" y="894"/>
                  </a:cubicBezTo>
                  <a:cubicBezTo>
                    <a:pt x="1259" y="946"/>
                    <a:pt x="1259" y="946"/>
                    <a:pt x="1259" y="946"/>
                  </a:cubicBezTo>
                  <a:cubicBezTo>
                    <a:pt x="1247" y="923"/>
                    <a:pt x="1247" y="923"/>
                    <a:pt x="1247" y="923"/>
                  </a:cubicBezTo>
                  <a:cubicBezTo>
                    <a:pt x="1382" y="851"/>
                    <a:pt x="1382" y="851"/>
                    <a:pt x="1382" y="851"/>
                  </a:cubicBezTo>
                  <a:cubicBezTo>
                    <a:pt x="1445" y="991"/>
                    <a:pt x="1445" y="991"/>
                    <a:pt x="1445" y="991"/>
                  </a:cubicBezTo>
                  <a:lnTo>
                    <a:pt x="1422" y="100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1" name="Freeform 33"/>
            <p:cNvSpPr>
              <a:spLocks noEditPoints="1"/>
            </p:cNvSpPr>
            <p:nvPr/>
          </p:nvSpPr>
          <p:spPr bwMode="auto">
            <a:xfrm>
              <a:off x="6539383" y="2102403"/>
              <a:ext cx="413944" cy="338681"/>
            </a:xfrm>
            <a:custGeom>
              <a:avLst/>
              <a:gdLst>
                <a:gd name="T0" fmla="*/ 1491 w 1491"/>
                <a:gd name="T1" fmla="*/ 224 h 1222"/>
                <a:gd name="T2" fmla="*/ 1199 w 1491"/>
                <a:gd name="T3" fmla="*/ 90 h 1222"/>
                <a:gd name="T4" fmla="*/ 1366 w 1491"/>
                <a:gd name="T5" fmla="*/ 64 h 1222"/>
                <a:gd name="T6" fmla="*/ 813 w 1491"/>
                <a:gd name="T7" fmla="*/ 402 h 1222"/>
                <a:gd name="T8" fmla="*/ 708 w 1491"/>
                <a:gd name="T9" fmla="*/ 180 h 1222"/>
                <a:gd name="T10" fmla="*/ 708 w 1491"/>
                <a:gd name="T11" fmla="*/ 453 h 1222"/>
                <a:gd name="T12" fmla="*/ 559 w 1491"/>
                <a:gd name="T13" fmla="*/ 900 h 1222"/>
                <a:gd name="T14" fmla="*/ 347 w 1491"/>
                <a:gd name="T15" fmla="*/ 543 h 1222"/>
                <a:gd name="T16" fmla="*/ 74 w 1491"/>
                <a:gd name="T17" fmla="*/ 543 h 1222"/>
                <a:gd name="T18" fmla="*/ 235 w 1491"/>
                <a:gd name="T19" fmla="*/ 677 h 1222"/>
                <a:gd name="T20" fmla="*/ 14 w 1491"/>
                <a:gd name="T21" fmla="*/ 1220 h 1222"/>
                <a:gd name="T22" fmla="*/ 40 w 1491"/>
                <a:gd name="T23" fmla="*/ 1210 h 1222"/>
                <a:gd name="T24" fmla="*/ 535 w 1491"/>
                <a:gd name="T25" fmla="*/ 932 h 1222"/>
                <a:gd name="T26" fmla="*/ 622 w 1491"/>
                <a:gd name="T27" fmla="*/ 1172 h 1222"/>
                <a:gd name="T28" fmla="*/ 622 w 1491"/>
                <a:gd name="T29" fmla="*/ 899 h 1222"/>
                <a:gd name="T30" fmla="*/ 793 w 1491"/>
                <a:gd name="T31" fmla="*/ 436 h 1222"/>
                <a:gd name="T32" fmla="*/ 1052 w 1491"/>
                <a:gd name="T33" fmla="*/ 740 h 1222"/>
                <a:gd name="T34" fmla="*/ 1325 w 1491"/>
                <a:gd name="T35" fmla="*/ 740 h 1222"/>
                <a:gd name="T36" fmla="*/ 1162 w 1491"/>
                <a:gd name="T37" fmla="*/ 607 h 1222"/>
                <a:gd name="T38" fmla="*/ 1454 w 1491"/>
                <a:gd name="T39" fmla="*/ 236 h 1222"/>
                <a:gd name="T40" fmla="*/ 210 w 1491"/>
                <a:gd name="T41" fmla="*/ 446 h 1222"/>
                <a:gd name="T42" fmla="*/ 267 w 1491"/>
                <a:gd name="T43" fmla="*/ 622 h 1222"/>
                <a:gd name="T44" fmla="*/ 210 w 1491"/>
                <a:gd name="T45" fmla="*/ 640 h 1222"/>
                <a:gd name="T46" fmla="*/ 719 w 1491"/>
                <a:gd name="T47" fmla="*/ 1036 h 1222"/>
                <a:gd name="T48" fmla="*/ 525 w 1491"/>
                <a:gd name="T49" fmla="*/ 1036 h 1222"/>
                <a:gd name="T50" fmla="*/ 579 w 1491"/>
                <a:gd name="T51" fmla="*/ 949 h 1222"/>
                <a:gd name="T52" fmla="*/ 719 w 1491"/>
                <a:gd name="T53" fmla="*/ 1036 h 1222"/>
                <a:gd name="T54" fmla="*/ 708 w 1491"/>
                <a:gd name="T55" fmla="*/ 219 h 1222"/>
                <a:gd name="T56" fmla="*/ 708 w 1491"/>
                <a:gd name="T57" fmla="*/ 413 h 1222"/>
                <a:gd name="T58" fmla="*/ 1285 w 1491"/>
                <a:gd name="T59" fmla="*/ 740 h 1222"/>
                <a:gd name="T60" fmla="*/ 1091 w 1491"/>
                <a:gd name="T61" fmla="*/ 740 h 1222"/>
                <a:gd name="T62" fmla="*/ 1137 w 1491"/>
                <a:gd name="T63" fmla="*/ 658 h 1222"/>
                <a:gd name="T64" fmla="*/ 1285 w 1491"/>
                <a:gd name="T65" fmla="*/ 740 h 1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91" h="1222">
                  <a:moveTo>
                    <a:pt x="1454" y="236"/>
                  </a:moveTo>
                  <a:cubicBezTo>
                    <a:pt x="1491" y="224"/>
                    <a:pt x="1491" y="224"/>
                    <a:pt x="1491" y="224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1199" y="90"/>
                    <a:pt x="1199" y="90"/>
                    <a:pt x="1199" y="90"/>
                  </a:cubicBezTo>
                  <a:cubicBezTo>
                    <a:pt x="1214" y="127"/>
                    <a:pt x="1214" y="127"/>
                    <a:pt x="1214" y="127"/>
                  </a:cubicBezTo>
                  <a:cubicBezTo>
                    <a:pt x="1366" y="64"/>
                    <a:pt x="1366" y="64"/>
                    <a:pt x="1366" y="64"/>
                  </a:cubicBezTo>
                  <a:cubicBezTo>
                    <a:pt x="1114" y="617"/>
                    <a:pt x="1114" y="617"/>
                    <a:pt x="1114" y="617"/>
                  </a:cubicBezTo>
                  <a:cubicBezTo>
                    <a:pt x="813" y="402"/>
                    <a:pt x="813" y="402"/>
                    <a:pt x="813" y="402"/>
                  </a:cubicBezTo>
                  <a:cubicBezTo>
                    <a:pt x="832" y="379"/>
                    <a:pt x="844" y="349"/>
                    <a:pt x="844" y="316"/>
                  </a:cubicBezTo>
                  <a:cubicBezTo>
                    <a:pt x="844" y="241"/>
                    <a:pt x="783" y="180"/>
                    <a:pt x="708" y="180"/>
                  </a:cubicBezTo>
                  <a:cubicBezTo>
                    <a:pt x="632" y="180"/>
                    <a:pt x="571" y="241"/>
                    <a:pt x="571" y="316"/>
                  </a:cubicBezTo>
                  <a:cubicBezTo>
                    <a:pt x="571" y="392"/>
                    <a:pt x="632" y="453"/>
                    <a:pt x="708" y="453"/>
                  </a:cubicBezTo>
                  <a:cubicBezTo>
                    <a:pt x="721" y="453"/>
                    <a:pt x="734" y="450"/>
                    <a:pt x="746" y="447"/>
                  </a:cubicBezTo>
                  <a:cubicBezTo>
                    <a:pt x="559" y="900"/>
                    <a:pt x="559" y="900"/>
                    <a:pt x="559" y="900"/>
                  </a:cubicBezTo>
                  <a:cubicBezTo>
                    <a:pt x="303" y="642"/>
                    <a:pt x="303" y="642"/>
                    <a:pt x="303" y="642"/>
                  </a:cubicBezTo>
                  <a:cubicBezTo>
                    <a:pt x="330" y="617"/>
                    <a:pt x="347" y="582"/>
                    <a:pt x="347" y="543"/>
                  </a:cubicBezTo>
                  <a:cubicBezTo>
                    <a:pt x="347" y="468"/>
                    <a:pt x="285" y="406"/>
                    <a:pt x="210" y="406"/>
                  </a:cubicBezTo>
                  <a:cubicBezTo>
                    <a:pt x="135" y="406"/>
                    <a:pt x="74" y="468"/>
                    <a:pt x="74" y="543"/>
                  </a:cubicBezTo>
                  <a:cubicBezTo>
                    <a:pt x="74" y="618"/>
                    <a:pt x="135" y="679"/>
                    <a:pt x="210" y="679"/>
                  </a:cubicBezTo>
                  <a:cubicBezTo>
                    <a:pt x="219" y="679"/>
                    <a:pt x="227" y="678"/>
                    <a:pt x="235" y="677"/>
                  </a:cubicBezTo>
                  <a:cubicBezTo>
                    <a:pt x="4" y="1194"/>
                    <a:pt x="4" y="1194"/>
                    <a:pt x="4" y="1194"/>
                  </a:cubicBezTo>
                  <a:cubicBezTo>
                    <a:pt x="0" y="1204"/>
                    <a:pt x="4" y="1216"/>
                    <a:pt x="14" y="1220"/>
                  </a:cubicBezTo>
                  <a:cubicBezTo>
                    <a:pt x="17" y="1221"/>
                    <a:pt x="19" y="1222"/>
                    <a:pt x="22" y="1222"/>
                  </a:cubicBezTo>
                  <a:cubicBezTo>
                    <a:pt x="30" y="1222"/>
                    <a:pt x="37" y="1217"/>
                    <a:pt x="40" y="1210"/>
                  </a:cubicBezTo>
                  <a:cubicBezTo>
                    <a:pt x="279" y="674"/>
                    <a:pt x="279" y="674"/>
                    <a:pt x="279" y="674"/>
                  </a:cubicBezTo>
                  <a:cubicBezTo>
                    <a:pt x="535" y="932"/>
                    <a:pt x="535" y="932"/>
                    <a:pt x="535" y="932"/>
                  </a:cubicBezTo>
                  <a:cubicBezTo>
                    <a:pt x="505" y="957"/>
                    <a:pt x="486" y="994"/>
                    <a:pt x="486" y="1036"/>
                  </a:cubicBezTo>
                  <a:cubicBezTo>
                    <a:pt x="486" y="1111"/>
                    <a:pt x="547" y="1172"/>
                    <a:pt x="622" y="1172"/>
                  </a:cubicBezTo>
                  <a:cubicBezTo>
                    <a:pt x="697" y="1172"/>
                    <a:pt x="759" y="1111"/>
                    <a:pt x="759" y="1036"/>
                  </a:cubicBezTo>
                  <a:cubicBezTo>
                    <a:pt x="759" y="961"/>
                    <a:pt x="697" y="899"/>
                    <a:pt x="622" y="899"/>
                  </a:cubicBezTo>
                  <a:cubicBezTo>
                    <a:pt x="615" y="899"/>
                    <a:pt x="608" y="900"/>
                    <a:pt x="601" y="902"/>
                  </a:cubicBezTo>
                  <a:cubicBezTo>
                    <a:pt x="793" y="436"/>
                    <a:pt x="793" y="436"/>
                    <a:pt x="793" y="436"/>
                  </a:cubicBezTo>
                  <a:cubicBezTo>
                    <a:pt x="1089" y="647"/>
                    <a:pt x="1089" y="647"/>
                    <a:pt x="1089" y="647"/>
                  </a:cubicBezTo>
                  <a:cubicBezTo>
                    <a:pt x="1066" y="671"/>
                    <a:pt x="1052" y="704"/>
                    <a:pt x="1052" y="740"/>
                  </a:cubicBezTo>
                  <a:cubicBezTo>
                    <a:pt x="1052" y="815"/>
                    <a:pt x="1113" y="877"/>
                    <a:pt x="1188" y="877"/>
                  </a:cubicBezTo>
                  <a:cubicBezTo>
                    <a:pt x="1263" y="877"/>
                    <a:pt x="1325" y="815"/>
                    <a:pt x="1325" y="740"/>
                  </a:cubicBezTo>
                  <a:cubicBezTo>
                    <a:pt x="1325" y="665"/>
                    <a:pt x="1263" y="604"/>
                    <a:pt x="1188" y="604"/>
                  </a:cubicBezTo>
                  <a:cubicBezTo>
                    <a:pt x="1179" y="604"/>
                    <a:pt x="1170" y="605"/>
                    <a:pt x="1162" y="607"/>
                  </a:cubicBezTo>
                  <a:cubicBezTo>
                    <a:pt x="1402" y="80"/>
                    <a:pt x="1402" y="80"/>
                    <a:pt x="1402" y="80"/>
                  </a:cubicBezTo>
                  <a:lnTo>
                    <a:pt x="1454" y="236"/>
                  </a:lnTo>
                  <a:close/>
                  <a:moveTo>
                    <a:pt x="113" y="543"/>
                  </a:moveTo>
                  <a:cubicBezTo>
                    <a:pt x="113" y="489"/>
                    <a:pt x="157" y="446"/>
                    <a:pt x="210" y="446"/>
                  </a:cubicBezTo>
                  <a:cubicBezTo>
                    <a:pt x="264" y="446"/>
                    <a:pt x="307" y="489"/>
                    <a:pt x="307" y="543"/>
                  </a:cubicBezTo>
                  <a:cubicBezTo>
                    <a:pt x="307" y="575"/>
                    <a:pt x="291" y="604"/>
                    <a:pt x="267" y="622"/>
                  </a:cubicBezTo>
                  <a:cubicBezTo>
                    <a:pt x="264" y="623"/>
                    <a:pt x="262" y="624"/>
                    <a:pt x="259" y="626"/>
                  </a:cubicBezTo>
                  <a:cubicBezTo>
                    <a:pt x="245" y="635"/>
                    <a:pt x="228" y="640"/>
                    <a:pt x="210" y="640"/>
                  </a:cubicBezTo>
                  <a:cubicBezTo>
                    <a:pt x="157" y="640"/>
                    <a:pt x="113" y="596"/>
                    <a:pt x="113" y="543"/>
                  </a:cubicBezTo>
                  <a:close/>
                  <a:moveTo>
                    <a:pt x="719" y="1036"/>
                  </a:moveTo>
                  <a:cubicBezTo>
                    <a:pt x="719" y="1089"/>
                    <a:pt x="676" y="1133"/>
                    <a:pt x="622" y="1133"/>
                  </a:cubicBezTo>
                  <a:cubicBezTo>
                    <a:pt x="569" y="1133"/>
                    <a:pt x="525" y="1089"/>
                    <a:pt x="525" y="1036"/>
                  </a:cubicBezTo>
                  <a:cubicBezTo>
                    <a:pt x="525" y="1000"/>
                    <a:pt x="544" y="970"/>
                    <a:pt x="573" y="953"/>
                  </a:cubicBezTo>
                  <a:cubicBezTo>
                    <a:pt x="575" y="952"/>
                    <a:pt x="577" y="951"/>
                    <a:pt x="579" y="949"/>
                  </a:cubicBezTo>
                  <a:cubicBezTo>
                    <a:pt x="592" y="943"/>
                    <a:pt x="607" y="939"/>
                    <a:pt x="622" y="939"/>
                  </a:cubicBezTo>
                  <a:cubicBezTo>
                    <a:pt x="676" y="939"/>
                    <a:pt x="719" y="982"/>
                    <a:pt x="719" y="1036"/>
                  </a:cubicBezTo>
                  <a:close/>
                  <a:moveTo>
                    <a:pt x="610" y="316"/>
                  </a:moveTo>
                  <a:cubicBezTo>
                    <a:pt x="610" y="263"/>
                    <a:pt x="654" y="219"/>
                    <a:pt x="708" y="219"/>
                  </a:cubicBezTo>
                  <a:cubicBezTo>
                    <a:pt x="761" y="219"/>
                    <a:pt x="805" y="263"/>
                    <a:pt x="805" y="316"/>
                  </a:cubicBezTo>
                  <a:cubicBezTo>
                    <a:pt x="805" y="370"/>
                    <a:pt x="761" y="413"/>
                    <a:pt x="708" y="413"/>
                  </a:cubicBezTo>
                  <a:cubicBezTo>
                    <a:pt x="654" y="413"/>
                    <a:pt x="610" y="370"/>
                    <a:pt x="610" y="316"/>
                  </a:cubicBezTo>
                  <a:close/>
                  <a:moveTo>
                    <a:pt x="1285" y="740"/>
                  </a:moveTo>
                  <a:cubicBezTo>
                    <a:pt x="1285" y="794"/>
                    <a:pt x="1242" y="837"/>
                    <a:pt x="1188" y="837"/>
                  </a:cubicBezTo>
                  <a:cubicBezTo>
                    <a:pt x="1135" y="837"/>
                    <a:pt x="1091" y="794"/>
                    <a:pt x="1091" y="740"/>
                  </a:cubicBezTo>
                  <a:cubicBezTo>
                    <a:pt x="1091" y="710"/>
                    <a:pt x="1105" y="683"/>
                    <a:pt x="1127" y="665"/>
                  </a:cubicBezTo>
                  <a:cubicBezTo>
                    <a:pt x="1131" y="664"/>
                    <a:pt x="1135" y="661"/>
                    <a:pt x="1137" y="658"/>
                  </a:cubicBezTo>
                  <a:cubicBezTo>
                    <a:pt x="1152" y="649"/>
                    <a:pt x="1169" y="643"/>
                    <a:pt x="1188" y="643"/>
                  </a:cubicBezTo>
                  <a:cubicBezTo>
                    <a:pt x="1242" y="643"/>
                    <a:pt x="1285" y="687"/>
                    <a:pt x="1285" y="7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2" name="Freeform 37"/>
            <p:cNvSpPr>
              <a:spLocks noEditPoints="1"/>
            </p:cNvSpPr>
            <p:nvPr/>
          </p:nvSpPr>
          <p:spPr bwMode="auto">
            <a:xfrm>
              <a:off x="5392940" y="3279279"/>
              <a:ext cx="307082" cy="496054"/>
            </a:xfrm>
            <a:custGeom>
              <a:avLst/>
              <a:gdLst>
                <a:gd name="T0" fmla="*/ 125 w 1202"/>
                <a:gd name="T1" fmla="*/ 0 h 1938"/>
                <a:gd name="T2" fmla="*/ 0 w 1202"/>
                <a:gd name="T3" fmla="*/ 1813 h 1938"/>
                <a:gd name="T4" fmla="*/ 1077 w 1202"/>
                <a:gd name="T5" fmla="*/ 1938 h 1938"/>
                <a:gd name="T6" fmla="*/ 1202 w 1202"/>
                <a:gd name="T7" fmla="*/ 125 h 1938"/>
                <a:gd name="T8" fmla="*/ 1166 w 1202"/>
                <a:gd name="T9" fmla="*/ 1813 h 1938"/>
                <a:gd name="T10" fmla="*/ 125 w 1202"/>
                <a:gd name="T11" fmla="*/ 1902 h 1938"/>
                <a:gd name="T12" fmla="*/ 36 w 1202"/>
                <a:gd name="T13" fmla="*/ 125 h 1938"/>
                <a:gd name="T14" fmla="*/ 1077 w 1202"/>
                <a:gd name="T15" fmla="*/ 36 h 1938"/>
                <a:gd name="T16" fmla="*/ 1166 w 1202"/>
                <a:gd name="T17" fmla="*/ 1813 h 1938"/>
                <a:gd name="T18" fmla="*/ 1068 w 1202"/>
                <a:gd name="T19" fmla="*/ 1669 h 1938"/>
                <a:gd name="T20" fmla="*/ 134 w 1202"/>
                <a:gd name="T21" fmla="*/ 188 h 1938"/>
                <a:gd name="T22" fmla="*/ 170 w 1202"/>
                <a:gd name="T23" fmla="*/ 224 h 1938"/>
                <a:gd name="T24" fmla="*/ 1032 w 1202"/>
                <a:gd name="T25" fmla="*/ 1633 h 1938"/>
                <a:gd name="T26" fmla="*/ 170 w 1202"/>
                <a:gd name="T27" fmla="*/ 224 h 1938"/>
                <a:gd name="T28" fmla="*/ 539 w 1202"/>
                <a:gd name="T29" fmla="*/ 1787 h 1938"/>
                <a:gd name="T30" fmla="*/ 663 w 1202"/>
                <a:gd name="T31" fmla="*/ 1787 h 1938"/>
                <a:gd name="T32" fmla="*/ 601 w 1202"/>
                <a:gd name="T33" fmla="*/ 1814 h 1938"/>
                <a:gd name="T34" fmla="*/ 601 w 1202"/>
                <a:gd name="T35" fmla="*/ 1760 h 1938"/>
                <a:gd name="T36" fmla="*/ 601 w 1202"/>
                <a:gd name="T37" fmla="*/ 1814 h 1938"/>
                <a:gd name="T38" fmla="*/ 514 w 1202"/>
                <a:gd name="T39" fmla="*/ 136 h 1938"/>
                <a:gd name="T40" fmla="*/ 688 w 1202"/>
                <a:gd name="T41" fmla="*/ 100 h 1938"/>
                <a:gd name="T42" fmla="*/ 900 w 1202"/>
                <a:gd name="T43" fmla="*/ 703 h 1938"/>
                <a:gd name="T44" fmla="*/ 384 w 1202"/>
                <a:gd name="T45" fmla="*/ 707 h 1938"/>
                <a:gd name="T46" fmla="*/ 245 w 1202"/>
                <a:gd name="T47" fmla="*/ 614 h 1938"/>
                <a:gd name="T48" fmla="*/ 245 w 1202"/>
                <a:gd name="T49" fmla="*/ 650 h 1938"/>
                <a:gd name="T50" fmla="*/ 359 w 1202"/>
                <a:gd name="T51" fmla="*/ 732 h 1938"/>
                <a:gd name="T52" fmla="*/ 431 w 1202"/>
                <a:gd name="T53" fmla="*/ 1055 h 1938"/>
                <a:gd name="T54" fmla="*/ 398 w 1202"/>
                <a:gd name="T55" fmla="*/ 1141 h 1938"/>
                <a:gd name="T56" fmla="*/ 410 w 1202"/>
                <a:gd name="T57" fmla="*/ 1263 h 1938"/>
                <a:gd name="T58" fmla="*/ 701 w 1202"/>
                <a:gd name="T59" fmla="*/ 1219 h 1938"/>
                <a:gd name="T60" fmla="*/ 821 w 1202"/>
                <a:gd name="T61" fmla="*/ 1202 h 1938"/>
                <a:gd name="T62" fmla="*/ 701 w 1202"/>
                <a:gd name="T63" fmla="*/ 1184 h 1938"/>
                <a:gd name="T64" fmla="*/ 436 w 1202"/>
                <a:gd name="T65" fmla="*/ 1146 h 1938"/>
                <a:gd name="T66" fmla="*/ 474 w 1202"/>
                <a:gd name="T67" fmla="*/ 1088 h 1938"/>
                <a:gd name="T68" fmla="*/ 869 w 1202"/>
                <a:gd name="T69" fmla="*/ 1055 h 1938"/>
                <a:gd name="T70" fmla="*/ 935 w 1202"/>
                <a:gd name="T71" fmla="*/ 721 h 1938"/>
                <a:gd name="T72" fmla="*/ 759 w 1202"/>
                <a:gd name="T73" fmla="*/ 1176 h 1938"/>
                <a:gd name="T74" fmla="*/ 759 w 1202"/>
                <a:gd name="T75" fmla="*/ 1227 h 1938"/>
                <a:gd name="T76" fmla="*/ 759 w 1202"/>
                <a:gd name="T77" fmla="*/ 1176 h 1938"/>
                <a:gd name="T78" fmla="*/ 907 w 1202"/>
                <a:gd name="T79" fmla="*/ 743 h 1938"/>
                <a:gd name="T80" fmla="*/ 898 w 1202"/>
                <a:gd name="T81" fmla="*/ 791 h 1938"/>
                <a:gd name="T82" fmla="*/ 392 w 1202"/>
                <a:gd name="T83" fmla="*/ 750 h 1938"/>
                <a:gd name="T84" fmla="*/ 400 w 1202"/>
                <a:gd name="T85" fmla="*/ 739 h 1938"/>
                <a:gd name="T86" fmla="*/ 876 w 1202"/>
                <a:gd name="T87" fmla="*/ 878 h 1938"/>
                <a:gd name="T88" fmla="*/ 411 w 1202"/>
                <a:gd name="T89" fmla="*/ 826 h 1938"/>
                <a:gd name="T90" fmla="*/ 876 w 1202"/>
                <a:gd name="T91" fmla="*/ 878 h 1938"/>
                <a:gd name="T92" fmla="*/ 446 w 1202"/>
                <a:gd name="T93" fmla="*/ 965 h 1938"/>
                <a:gd name="T94" fmla="*/ 867 w 1202"/>
                <a:gd name="T95" fmla="*/ 914 h 1938"/>
                <a:gd name="T96" fmla="*/ 410 w 1202"/>
                <a:gd name="T97" fmla="*/ 1227 h 1938"/>
                <a:gd name="T98" fmla="*/ 410 w 1202"/>
                <a:gd name="T99" fmla="*/ 1176 h 1938"/>
                <a:gd name="T100" fmla="*/ 410 w 1202"/>
                <a:gd name="T101" fmla="*/ 1227 h 1938"/>
                <a:gd name="T102" fmla="*/ 474 w 1202"/>
                <a:gd name="T103" fmla="*/ 1053 h 1938"/>
                <a:gd name="T104" fmla="*/ 454 w 1202"/>
                <a:gd name="T105" fmla="*/ 1001 h 1938"/>
                <a:gd name="T106" fmla="*/ 834 w 1202"/>
                <a:gd name="T107" fmla="*/ 1046 h 1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2" h="1938">
                  <a:moveTo>
                    <a:pt x="1077" y="0"/>
                  </a:moveTo>
                  <a:cubicBezTo>
                    <a:pt x="125" y="0"/>
                    <a:pt x="125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813"/>
                    <a:pt x="0" y="1813"/>
                    <a:pt x="0" y="1813"/>
                  </a:cubicBezTo>
                  <a:cubicBezTo>
                    <a:pt x="0" y="1882"/>
                    <a:pt x="56" y="1938"/>
                    <a:pt x="125" y="1938"/>
                  </a:cubicBezTo>
                  <a:cubicBezTo>
                    <a:pt x="1077" y="1938"/>
                    <a:pt x="1077" y="1938"/>
                    <a:pt x="1077" y="1938"/>
                  </a:cubicBezTo>
                  <a:cubicBezTo>
                    <a:pt x="1146" y="1938"/>
                    <a:pt x="1202" y="1882"/>
                    <a:pt x="1202" y="1813"/>
                  </a:cubicBezTo>
                  <a:cubicBezTo>
                    <a:pt x="1202" y="125"/>
                    <a:pt x="1202" y="125"/>
                    <a:pt x="1202" y="125"/>
                  </a:cubicBezTo>
                  <a:cubicBezTo>
                    <a:pt x="1202" y="56"/>
                    <a:pt x="1146" y="0"/>
                    <a:pt x="1077" y="0"/>
                  </a:cubicBezTo>
                  <a:close/>
                  <a:moveTo>
                    <a:pt x="1166" y="1813"/>
                  </a:moveTo>
                  <a:cubicBezTo>
                    <a:pt x="1166" y="1862"/>
                    <a:pt x="1126" y="1902"/>
                    <a:pt x="1077" y="1902"/>
                  </a:cubicBezTo>
                  <a:cubicBezTo>
                    <a:pt x="125" y="1902"/>
                    <a:pt x="125" y="1902"/>
                    <a:pt x="125" y="1902"/>
                  </a:cubicBezTo>
                  <a:cubicBezTo>
                    <a:pt x="76" y="1902"/>
                    <a:pt x="36" y="1862"/>
                    <a:pt x="36" y="1813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36" y="76"/>
                    <a:pt x="76" y="36"/>
                    <a:pt x="125" y="36"/>
                  </a:cubicBezTo>
                  <a:cubicBezTo>
                    <a:pt x="1077" y="36"/>
                    <a:pt x="1077" y="36"/>
                    <a:pt x="1077" y="36"/>
                  </a:cubicBezTo>
                  <a:cubicBezTo>
                    <a:pt x="1126" y="36"/>
                    <a:pt x="1166" y="76"/>
                    <a:pt x="1166" y="125"/>
                  </a:cubicBezTo>
                  <a:lnTo>
                    <a:pt x="1166" y="1813"/>
                  </a:lnTo>
                  <a:close/>
                  <a:moveTo>
                    <a:pt x="134" y="1669"/>
                  </a:moveTo>
                  <a:cubicBezTo>
                    <a:pt x="1068" y="1669"/>
                    <a:pt x="1068" y="1669"/>
                    <a:pt x="1068" y="1669"/>
                  </a:cubicBezTo>
                  <a:cubicBezTo>
                    <a:pt x="1068" y="188"/>
                    <a:pt x="1068" y="188"/>
                    <a:pt x="1068" y="188"/>
                  </a:cubicBezTo>
                  <a:cubicBezTo>
                    <a:pt x="134" y="188"/>
                    <a:pt x="134" y="188"/>
                    <a:pt x="134" y="188"/>
                  </a:cubicBezTo>
                  <a:lnTo>
                    <a:pt x="134" y="1669"/>
                  </a:lnTo>
                  <a:close/>
                  <a:moveTo>
                    <a:pt x="170" y="224"/>
                  </a:moveTo>
                  <a:cubicBezTo>
                    <a:pt x="1032" y="224"/>
                    <a:pt x="1032" y="224"/>
                    <a:pt x="1032" y="224"/>
                  </a:cubicBezTo>
                  <a:cubicBezTo>
                    <a:pt x="1032" y="1633"/>
                    <a:pt x="1032" y="1633"/>
                    <a:pt x="1032" y="1633"/>
                  </a:cubicBezTo>
                  <a:cubicBezTo>
                    <a:pt x="170" y="1633"/>
                    <a:pt x="170" y="1633"/>
                    <a:pt x="170" y="1633"/>
                  </a:cubicBezTo>
                  <a:lnTo>
                    <a:pt x="170" y="224"/>
                  </a:lnTo>
                  <a:close/>
                  <a:moveTo>
                    <a:pt x="601" y="1725"/>
                  </a:moveTo>
                  <a:cubicBezTo>
                    <a:pt x="567" y="1725"/>
                    <a:pt x="539" y="1753"/>
                    <a:pt x="539" y="1787"/>
                  </a:cubicBezTo>
                  <a:cubicBezTo>
                    <a:pt x="539" y="1822"/>
                    <a:pt x="567" y="1850"/>
                    <a:pt x="601" y="1850"/>
                  </a:cubicBezTo>
                  <a:cubicBezTo>
                    <a:pt x="635" y="1850"/>
                    <a:pt x="663" y="1822"/>
                    <a:pt x="663" y="1787"/>
                  </a:cubicBezTo>
                  <a:cubicBezTo>
                    <a:pt x="663" y="1753"/>
                    <a:pt x="635" y="1725"/>
                    <a:pt x="601" y="1725"/>
                  </a:cubicBezTo>
                  <a:close/>
                  <a:moveTo>
                    <a:pt x="601" y="1814"/>
                  </a:moveTo>
                  <a:cubicBezTo>
                    <a:pt x="586" y="1814"/>
                    <a:pt x="574" y="1802"/>
                    <a:pt x="574" y="1787"/>
                  </a:cubicBezTo>
                  <a:cubicBezTo>
                    <a:pt x="574" y="1772"/>
                    <a:pt x="586" y="1760"/>
                    <a:pt x="601" y="1760"/>
                  </a:cubicBezTo>
                  <a:cubicBezTo>
                    <a:pt x="616" y="1760"/>
                    <a:pt x="628" y="1772"/>
                    <a:pt x="628" y="1787"/>
                  </a:cubicBezTo>
                  <a:cubicBezTo>
                    <a:pt x="628" y="1802"/>
                    <a:pt x="616" y="1814"/>
                    <a:pt x="601" y="1814"/>
                  </a:cubicBezTo>
                  <a:close/>
                  <a:moveTo>
                    <a:pt x="688" y="136"/>
                  </a:moveTo>
                  <a:cubicBezTo>
                    <a:pt x="514" y="136"/>
                    <a:pt x="514" y="136"/>
                    <a:pt x="514" y="136"/>
                  </a:cubicBezTo>
                  <a:cubicBezTo>
                    <a:pt x="514" y="100"/>
                    <a:pt x="514" y="100"/>
                    <a:pt x="514" y="100"/>
                  </a:cubicBezTo>
                  <a:cubicBezTo>
                    <a:pt x="688" y="100"/>
                    <a:pt x="688" y="100"/>
                    <a:pt x="688" y="100"/>
                  </a:cubicBezTo>
                  <a:lnTo>
                    <a:pt x="688" y="136"/>
                  </a:lnTo>
                  <a:close/>
                  <a:moveTo>
                    <a:pt x="900" y="703"/>
                  </a:moveTo>
                  <a:cubicBezTo>
                    <a:pt x="400" y="703"/>
                    <a:pt x="400" y="703"/>
                    <a:pt x="400" y="703"/>
                  </a:cubicBezTo>
                  <a:cubicBezTo>
                    <a:pt x="395" y="703"/>
                    <a:pt x="389" y="705"/>
                    <a:pt x="384" y="707"/>
                  </a:cubicBezTo>
                  <a:cubicBezTo>
                    <a:pt x="312" y="640"/>
                    <a:pt x="312" y="640"/>
                    <a:pt x="312" y="640"/>
                  </a:cubicBezTo>
                  <a:cubicBezTo>
                    <a:pt x="294" y="624"/>
                    <a:pt x="270" y="614"/>
                    <a:pt x="245" y="614"/>
                  </a:cubicBezTo>
                  <a:cubicBezTo>
                    <a:pt x="235" y="614"/>
                    <a:pt x="227" y="622"/>
                    <a:pt x="227" y="632"/>
                  </a:cubicBezTo>
                  <a:cubicBezTo>
                    <a:pt x="227" y="642"/>
                    <a:pt x="235" y="650"/>
                    <a:pt x="245" y="650"/>
                  </a:cubicBezTo>
                  <a:cubicBezTo>
                    <a:pt x="261" y="650"/>
                    <a:pt x="276" y="656"/>
                    <a:pt x="288" y="667"/>
                  </a:cubicBezTo>
                  <a:cubicBezTo>
                    <a:pt x="359" y="732"/>
                    <a:pt x="359" y="732"/>
                    <a:pt x="359" y="732"/>
                  </a:cubicBezTo>
                  <a:cubicBezTo>
                    <a:pt x="356" y="741"/>
                    <a:pt x="355" y="750"/>
                    <a:pt x="357" y="759"/>
                  </a:cubicBezTo>
                  <a:cubicBezTo>
                    <a:pt x="431" y="1055"/>
                    <a:pt x="431" y="1055"/>
                    <a:pt x="431" y="1055"/>
                  </a:cubicBezTo>
                  <a:cubicBezTo>
                    <a:pt x="432" y="1060"/>
                    <a:pt x="434" y="1064"/>
                    <a:pt x="437" y="1068"/>
                  </a:cubicBezTo>
                  <a:cubicBezTo>
                    <a:pt x="398" y="1141"/>
                    <a:pt x="398" y="1141"/>
                    <a:pt x="398" y="1141"/>
                  </a:cubicBezTo>
                  <a:cubicBezTo>
                    <a:pt x="370" y="1147"/>
                    <a:pt x="348" y="1172"/>
                    <a:pt x="348" y="1202"/>
                  </a:cubicBezTo>
                  <a:cubicBezTo>
                    <a:pt x="348" y="1235"/>
                    <a:pt x="376" y="1263"/>
                    <a:pt x="410" y="1263"/>
                  </a:cubicBezTo>
                  <a:cubicBezTo>
                    <a:pt x="437" y="1263"/>
                    <a:pt x="461" y="1245"/>
                    <a:pt x="468" y="1219"/>
                  </a:cubicBezTo>
                  <a:cubicBezTo>
                    <a:pt x="701" y="1219"/>
                    <a:pt x="701" y="1219"/>
                    <a:pt x="701" y="1219"/>
                  </a:cubicBezTo>
                  <a:cubicBezTo>
                    <a:pt x="708" y="1245"/>
                    <a:pt x="731" y="1263"/>
                    <a:pt x="759" y="1263"/>
                  </a:cubicBezTo>
                  <a:cubicBezTo>
                    <a:pt x="793" y="1263"/>
                    <a:pt x="821" y="1235"/>
                    <a:pt x="821" y="1202"/>
                  </a:cubicBezTo>
                  <a:cubicBezTo>
                    <a:pt x="821" y="1168"/>
                    <a:pt x="793" y="1140"/>
                    <a:pt x="759" y="1140"/>
                  </a:cubicBezTo>
                  <a:cubicBezTo>
                    <a:pt x="731" y="1140"/>
                    <a:pt x="708" y="1159"/>
                    <a:pt x="701" y="1184"/>
                  </a:cubicBezTo>
                  <a:cubicBezTo>
                    <a:pt x="468" y="1184"/>
                    <a:pt x="468" y="1184"/>
                    <a:pt x="468" y="1184"/>
                  </a:cubicBezTo>
                  <a:cubicBezTo>
                    <a:pt x="463" y="1167"/>
                    <a:pt x="452" y="1154"/>
                    <a:pt x="436" y="1146"/>
                  </a:cubicBezTo>
                  <a:cubicBezTo>
                    <a:pt x="467" y="1087"/>
                    <a:pt x="467" y="1087"/>
                    <a:pt x="467" y="1087"/>
                  </a:cubicBezTo>
                  <a:cubicBezTo>
                    <a:pt x="470" y="1088"/>
                    <a:pt x="472" y="1088"/>
                    <a:pt x="474" y="1088"/>
                  </a:cubicBezTo>
                  <a:cubicBezTo>
                    <a:pt x="826" y="1088"/>
                    <a:pt x="826" y="1088"/>
                    <a:pt x="826" y="1088"/>
                  </a:cubicBezTo>
                  <a:cubicBezTo>
                    <a:pt x="846" y="1088"/>
                    <a:pt x="864" y="1075"/>
                    <a:pt x="869" y="1055"/>
                  </a:cubicBezTo>
                  <a:cubicBezTo>
                    <a:pt x="943" y="759"/>
                    <a:pt x="943" y="759"/>
                    <a:pt x="943" y="759"/>
                  </a:cubicBezTo>
                  <a:cubicBezTo>
                    <a:pt x="946" y="745"/>
                    <a:pt x="943" y="731"/>
                    <a:pt x="935" y="721"/>
                  </a:cubicBezTo>
                  <a:cubicBezTo>
                    <a:pt x="926" y="710"/>
                    <a:pt x="913" y="703"/>
                    <a:pt x="900" y="703"/>
                  </a:cubicBezTo>
                  <a:close/>
                  <a:moveTo>
                    <a:pt x="759" y="1176"/>
                  </a:moveTo>
                  <a:cubicBezTo>
                    <a:pt x="773" y="1176"/>
                    <a:pt x="785" y="1187"/>
                    <a:pt x="785" y="1202"/>
                  </a:cubicBezTo>
                  <a:cubicBezTo>
                    <a:pt x="785" y="1216"/>
                    <a:pt x="773" y="1227"/>
                    <a:pt x="759" y="1227"/>
                  </a:cubicBezTo>
                  <a:cubicBezTo>
                    <a:pt x="745" y="1227"/>
                    <a:pt x="733" y="1216"/>
                    <a:pt x="733" y="1202"/>
                  </a:cubicBezTo>
                  <a:cubicBezTo>
                    <a:pt x="733" y="1187"/>
                    <a:pt x="745" y="1176"/>
                    <a:pt x="759" y="1176"/>
                  </a:cubicBezTo>
                  <a:close/>
                  <a:moveTo>
                    <a:pt x="900" y="739"/>
                  </a:moveTo>
                  <a:cubicBezTo>
                    <a:pt x="903" y="739"/>
                    <a:pt x="906" y="741"/>
                    <a:pt x="907" y="743"/>
                  </a:cubicBezTo>
                  <a:cubicBezTo>
                    <a:pt x="908" y="744"/>
                    <a:pt x="909" y="746"/>
                    <a:pt x="908" y="750"/>
                  </a:cubicBezTo>
                  <a:cubicBezTo>
                    <a:pt x="898" y="791"/>
                    <a:pt x="898" y="791"/>
                    <a:pt x="898" y="791"/>
                  </a:cubicBezTo>
                  <a:cubicBezTo>
                    <a:pt x="402" y="791"/>
                    <a:pt x="402" y="791"/>
                    <a:pt x="402" y="791"/>
                  </a:cubicBezTo>
                  <a:cubicBezTo>
                    <a:pt x="392" y="750"/>
                    <a:pt x="392" y="750"/>
                    <a:pt x="392" y="750"/>
                  </a:cubicBezTo>
                  <a:cubicBezTo>
                    <a:pt x="391" y="746"/>
                    <a:pt x="392" y="744"/>
                    <a:pt x="393" y="743"/>
                  </a:cubicBezTo>
                  <a:cubicBezTo>
                    <a:pt x="394" y="741"/>
                    <a:pt x="397" y="739"/>
                    <a:pt x="400" y="739"/>
                  </a:cubicBezTo>
                  <a:lnTo>
                    <a:pt x="900" y="739"/>
                  </a:lnTo>
                  <a:close/>
                  <a:moveTo>
                    <a:pt x="876" y="878"/>
                  </a:moveTo>
                  <a:cubicBezTo>
                    <a:pt x="424" y="878"/>
                    <a:pt x="424" y="878"/>
                    <a:pt x="424" y="878"/>
                  </a:cubicBezTo>
                  <a:cubicBezTo>
                    <a:pt x="411" y="826"/>
                    <a:pt x="411" y="826"/>
                    <a:pt x="411" y="826"/>
                  </a:cubicBezTo>
                  <a:cubicBezTo>
                    <a:pt x="889" y="826"/>
                    <a:pt x="889" y="826"/>
                    <a:pt x="889" y="826"/>
                  </a:cubicBezTo>
                  <a:lnTo>
                    <a:pt x="876" y="878"/>
                  </a:lnTo>
                  <a:close/>
                  <a:moveTo>
                    <a:pt x="854" y="965"/>
                  </a:moveTo>
                  <a:cubicBezTo>
                    <a:pt x="446" y="965"/>
                    <a:pt x="446" y="965"/>
                    <a:pt x="446" y="965"/>
                  </a:cubicBezTo>
                  <a:cubicBezTo>
                    <a:pt x="433" y="914"/>
                    <a:pt x="433" y="914"/>
                    <a:pt x="433" y="914"/>
                  </a:cubicBezTo>
                  <a:cubicBezTo>
                    <a:pt x="867" y="914"/>
                    <a:pt x="867" y="914"/>
                    <a:pt x="867" y="914"/>
                  </a:cubicBezTo>
                  <a:lnTo>
                    <a:pt x="854" y="965"/>
                  </a:lnTo>
                  <a:close/>
                  <a:moveTo>
                    <a:pt x="410" y="1227"/>
                  </a:moveTo>
                  <a:cubicBezTo>
                    <a:pt x="396" y="1227"/>
                    <a:pt x="384" y="1216"/>
                    <a:pt x="384" y="1202"/>
                  </a:cubicBezTo>
                  <a:cubicBezTo>
                    <a:pt x="384" y="1187"/>
                    <a:pt x="396" y="1176"/>
                    <a:pt x="410" y="1176"/>
                  </a:cubicBezTo>
                  <a:cubicBezTo>
                    <a:pt x="424" y="1176"/>
                    <a:pt x="436" y="1187"/>
                    <a:pt x="436" y="1202"/>
                  </a:cubicBezTo>
                  <a:cubicBezTo>
                    <a:pt x="436" y="1216"/>
                    <a:pt x="424" y="1227"/>
                    <a:pt x="410" y="1227"/>
                  </a:cubicBezTo>
                  <a:close/>
                  <a:moveTo>
                    <a:pt x="826" y="1053"/>
                  </a:moveTo>
                  <a:cubicBezTo>
                    <a:pt x="474" y="1053"/>
                    <a:pt x="474" y="1053"/>
                    <a:pt x="474" y="1053"/>
                  </a:cubicBezTo>
                  <a:cubicBezTo>
                    <a:pt x="470" y="1053"/>
                    <a:pt x="467" y="1050"/>
                    <a:pt x="466" y="1046"/>
                  </a:cubicBezTo>
                  <a:cubicBezTo>
                    <a:pt x="454" y="1001"/>
                    <a:pt x="454" y="1001"/>
                    <a:pt x="454" y="1001"/>
                  </a:cubicBezTo>
                  <a:cubicBezTo>
                    <a:pt x="845" y="1001"/>
                    <a:pt x="845" y="1001"/>
                    <a:pt x="845" y="1001"/>
                  </a:cubicBezTo>
                  <a:cubicBezTo>
                    <a:pt x="834" y="1046"/>
                    <a:pt x="834" y="1046"/>
                    <a:pt x="834" y="1046"/>
                  </a:cubicBezTo>
                  <a:cubicBezTo>
                    <a:pt x="833" y="1050"/>
                    <a:pt x="830" y="1053"/>
                    <a:pt x="826" y="10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3" name="Freeform 9"/>
            <p:cNvSpPr>
              <a:spLocks noEditPoints="1"/>
            </p:cNvSpPr>
            <p:nvPr/>
          </p:nvSpPr>
          <p:spPr bwMode="auto">
            <a:xfrm>
              <a:off x="1868139" y="2082405"/>
              <a:ext cx="266086" cy="469857"/>
            </a:xfrm>
            <a:custGeom>
              <a:avLst/>
              <a:gdLst>
                <a:gd name="T0" fmla="*/ 393 w 933"/>
                <a:gd name="T1" fmla="*/ 376 h 1652"/>
                <a:gd name="T2" fmla="*/ 267 w 933"/>
                <a:gd name="T3" fmla="*/ 0 h 1652"/>
                <a:gd name="T4" fmla="*/ 0 w 933"/>
                <a:gd name="T5" fmla="*/ 126 h 1652"/>
                <a:gd name="T6" fmla="*/ 0 w 933"/>
                <a:gd name="T7" fmla="*/ 1275 h 1652"/>
                <a:gd name="T8" fmla="*/ 0 w 933"/>
                <a:gd name="T9" fmla="*/ 1275 h 1652"/>
                <a:gd name="T10" fmla="*/ 2 w 933"/>
                <a:gd name="T11" fmla="*/ 1283 h 1652"/>
                <a:gd name="T12" fmla="*/ 197 w 933"/>
                <a:gd name="T13" fmla="*/ 1652 h 1652"/>
                <a:gd name="T14" fmla="*/ 292 w 933"/>
                <a:gd name="T15" fmla="*/ 1481 h 1652"/>
                <a:gd name="T16" fmla="*/ 391 w 933"/>
                <a:gd name="T17" fmla="*/ 1283 h 1652"/>
                <a:gd name="T18" fmla="*/ 393 w 933"/>
                <a:gd name="T19" fmla="*/ 1275 h 1652"/>
                <a:gd name="T20" fmla="*/ 393 w 933"/>
                <a:gd name="T21" fmla="*/ 1275 h 1652"/>
                <a:gd name="T22" fmla="*/ 137 w 933"/>
                <a:gd name="T23" fmla="*/ 393 h 1652"/>
                <a:gd name="T24" fmla="*/ 256 w 933"/>
                <a:gd name="T25" fmla="*/ 1259 h 1652"/>
                <a:gd name="T26" fmla="*/ 33 w 933"/>
                <a:gd name="T27" fmla="*/ 1259 h 1652"/>
                <a:gd name="T28" fmla="*/ 104 w 933"/>
                <a:gd name="T29" fmla="*/ 393 h 1652"/>
                <a:gd name="T30" fmla="*/ 33 w 933"/>
                <a:gd name="T31" fmla="*/ 1259 h 1652"/>
                <a:gd name="T32" fmla="*/ 33 w 933"/>
                <a:gd name="T33" fmla="*/ 360 h 1652"/>
                <a:gd name="T34" fmla="*/ 360 w 933"/>
                <a:gd name="T35" fmla="*/ 268 h 1652"/>
                <a:gd name="T36" fmla="*/ 289 w 933"/>
                <a:gd name="T37" fmla="*/ 393 h 1652"/>
                <a:gd name="T38" fmla="*/ 360 w 933"/>
                <a:gd name="T39" fmla="*/ 1259 h 1652"/>
                <a:gd name="T40" fmla="*/ 289 w 933"/>
                <a:gd name="T41" fmla="*/ 393 h 1652"/>
                <a:gd name="T42" fmla="*/ 267 w 933"/>
                <a:gd name="T43" fmla="*/ 33 h 1652"/>
                <a:gd name="T44" fmla="*/ 360 w 933"/>
                <a:gd name="T45" fmla="*/ 235 h 1652"/>
                <a:gd name="T46" fmla="*/ 33 w 933"/>
                <a:gd name="T47" fmla="*/ 126 h 1652"/>
                <a:gd name="T48" fmla="*/ 197 w 933"/>
                <a:gd name="T49" fmla="*/ 1598 h 1652"/>
                <a:gd name="T50" fmla="*/ 251 w 933"/>
                <a:gd name="T51" fmla="*/ 1490 h 1652"/>
                <a:gd name="T52" fmla="*/ 268 w 933"/>
                <a:gd name="T53" fmla="*/ 1457 h 1652"/>
                <a:gd name="T54" fmla="*/ 44 w 933"/>
                <a:gd name="T55" fmla="*/ 1292 h 1652"/>
                <a:gd name="T56" fmla="*/ 268 w 933"/>
                <a:gd name="T57" fmla="*/ 1457 h 1652"/>
                <a:gd name="T58" fmla="*/ 557 w 933"/>
                <a:gd name="T59" fmla="*/ 0 h 1652"/>
                <a:gd name="T60" fmla="*/ 540 w 933"/>
                <a:gd name="T61" fmla="*/ 1635 h 1652"/>
                <a:gd name="T62" fmla="*/ 916 w 933"/>
                <a:gd name="T63" fmla="*/ 1652 h 1652"/>
                <a:gd name="T64" fmla="*/ 933 w 933"/>
                <a:gd name="T65" fmla="*/ 16 h 1652"/>
                <a:gd name="T66" fmla="*/ 900 w 933"/>
                <a:gd name="T67" fmla="*/ 1619 h 1652"/>
                <a:gd name="T68" fmla="*/ 573 w 933"/>
                <a:gd name="T69" fmla="*/ 1562 h 1652"/>
                <a:gd name="T70" fmla="*/ 753 w 933"/>
                <a:gd name="T71" fmla="*/ 1545 h 1652"/>
                <a:gd name="T72" fmla="*/ 573 w 933"/>
                <a:gd name="T73" fmla="*/ 1529 h 1652"/>
                <a:gd name="T74" fmla="*/ 681 w 933"/>
                <a:gd name="T75" fmla="*/ 1393 h 1652"/>
                <a:gd name="T76" fmla="*/ 681 w 933"/>
                <a:gd name="T77" fmla="*/ 1360 h 1652"/>
                <a:gd name="T78" fmla="*/ 573 w 933"/>
                <a:gd name="T79" fmla="*/ 1224 h 1652"/>
                <a:gd name="T80" fmla="*/ 753 w 933"/>
                <a:gd name="T81" fmla="*/ 1208 h 1652"/>
                <a:gd name="T82" fmla="*/ 573 w 933"/>
                <a:gd name="T83" fmla="*/ 1191 h 1652"/>
                <a:gd name="T84" fmla="*/ 681 w 933"/>
                <a:gd name="T85" fmla="*/ 1056 h 1652"/>
                <a:gd name="T86" fmla="*/ 681 w 933"/>
                <a:gd name="T87" fmla="*/ 1023 h 1652"/>
                <a:gd name="T88" fmla="*/ 573 w 933"/>
                <a:gd name="T89" fmla="*/ 887 h 1652"/>
                <a:gd name="T90" fmla="*/ 753 w 933"/>
                <a:gd name="T91" fmla="*/ 871 h 1652"/>
                <a:gd name="T92" fmla="*/ 573 w 933"/>
                <a:gd name="T93" fmla="*/ 854 h 1652"/>
                <a:gd name="T94" fmla="*/ 681 w 933"/>
                <a:gd name="T95" fmla="*/ 719 h 1652"/>
                <a:gd name="T96" fmla="*/ 681 w 933"/>
                <a:gd name="T97" fmla="*/ 686 h 1652"/>
                <a:gd name="T98" fmla="*/ 573 w 933"/>
                <a:gd name="T99" fmla="*/ 550 h 1652"/>
                <a:gd name="T100" fmla="*/ 753 w 933"/>
                <a:gd name="T101" fmla="*/ 533 h 1652"/>
                <a:gd name="T102" fmla="*/ 573 w 933"/>
                <a:gd name="T103" fmla="*/ 517 h 1652"/>
                <a:gd name="T104" fmla="*/ 681 w 933"/>
                <a:gd name="T105" fmla="*/ 381 h 1652"/>
                <a:gd name="T106" fmla="*/ 681 w 933"/>
                <a:gd name="T107" fmla="*/ 348 h 1652"/>
                <a:gd name="T108" fmla="*/ 573 w 933"/>
                <a:gd name="T109" fmla="*/ 213 h 1652"/>
                <a:gd name="T110" fmla="*/ 753 w 933"/>
                <a:gd name="T111" fmla="*/ 196 h 1652"/>
                <a:gd name="T112" fmla="*/ 573 w 933"/>
                <a:gd name="T113" fmla="*/ 180 h 1652"/>
                <a:gd name="T114" fmla="*/ 900 w 933"/>
                <a:gd name="T115" fmla="*/ 33 h 1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33" h="1652">
                  <a:moveTo>
                    <a:pt x="393" y="1275"/>
                  </a:moveTo>
                  <a:cubicBezTo>
                    <a:pt x="393" y="376"/>
                    <a:pt x="393" y="376"/>
                    <a:pt x="393" y="376"/>
                  </a:cubicBezTo>
                  <a:cubicBezTo>
                    <a:pt x="393" y="126"/>
                    <a:pt x="393" y="126"/>
                    <a:pt x="393" y="126"/>
                  </a:cubicBezTo>
                  <a:cubicBezTo>
                    <a:pt x="393" y="56"/>
                    <a:pt x="336" y="0"/>
                    <a:pt x="267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6"/>
                    <a:pt x="0" y="126"/>
                  </a:cubicBezTo>
                  <a:cubicBezTo>
                    <a:pt x="0" y="376"/>
                    <a:pt x="0" y="376"/>
                    <a:pt x="0" y="376"/>
                  </a:cubicBezTo>
                  <a:cubicBezTo>
                    <a:pt x="0" y="1275"/>
                    <a:pt x="0" y="1275"/>
                    <a:pt x="0" y="1275"/>
                  </a:cubicBezTo>
                  <a:cubicBezTo>
                    <a:pt x="0" y="1275"/>
                    <a:pt x="0" y="1275"/>
                    <a:pt x="0" y="1275"/>
                  </a:cubicBezTo>
                  <a:cubicBezTo>
                    <a:pt x="0" y="1275"/>
                    <a:pt x="0" y="1275"/>
                    <a:pt x="0" y="1275"/>
                  </a:cubicBezTo>
                  <a:cubicBezTo>
                    <a:pt x="0" y="1278"/>
                    <a:pt x="1" y="1280"/>
                    <a:pt x="2" y="1282"/>
                  </a:cubicBezTo>
                  <a:cubicBezTo>
                    <a:pt x="2" y="1282"/>
                    <a:pt x="2" y="1283"/>
                    <a:pt x="2" y="1283"/>
                  </a:cubicBezTo>
                  <a:cubicBezTo>
                    <a:pt x="182" y="1643"/>
                    <a:pt x="182" y="1643"/>
                    <a:pt x="182" y="1643"/>
                  </a:cubicBezTo>
                  <a:cubicBezTo>
                    <a:pt x="185" y="1648"/>
                    <a:pt x="191" y="1652"/>
                    <a:pt x="197" y="1652"/>
                  </a:cubicBezTo>
                  <a:cubicBezTo>
                    <a:pt x="203" y="1652"/>
                    <a:pt x="209" y="1648"/>
                    <a:pt x="212" y="1643"/>
                  </a:cubicBezTo>
                  <a:cubicBezTo>
                    <a:pt x="292" y="1481"/>
                    <a:pt x="292" y="1481"/>
                    <a:pt x="292" y="1481"/>
                  </a:cubicBezTo>
                  <a:cubicBezTo>
                    <a:pt x="293" y="1480"/>
                    <a:pt x="293" y="1480"/>
                    <a:pt x="293" y="1479"/>
                  </a:cubicBezTo>
                  <a:cubicBezTo>
                    <a:pt x="391" y="1283"/>
                    <a:pt x="391" y="1283"/>
                    <a:pt x="391" y="1283"/>
                  </a:cubicBezTo>
                  <a:cubicBezTo>
                    <a:pt x="392" y="1283"/>
                    <a:pt x="391" y="1282"/>
                    <a:pt x="392" y="1282"/>
                  </a:cubicBezTo>
                  <a:cubicBezTo>
                    <a:pt x="393" y="1280"/>
                    <a:pt x="393" y="1278"/>
                    <a:pt x="393" y="1275"/>
                  </a:cubicBezTo>
                  <a:cubicBezTo>
                    <a:pt x="393" y="1275"/>
                    <a:pt x="393" y="1275"/>
                    <a:pt x="393" y="1275"/>
                  </a:cubicBezTo>
                  <a:cubicBezTo>
                    <a:pt x="393" y="1275"/>
                    <a:pt x="393" y="1275"/>
                    <a:pt x="393" y="1275"/>
                  </a:cubicBezTo>
                  <a:close/>
                  <a:moveTo>
                    <a:pt x="137" y="1259"/>
                  </a:moveTo>
                  <a:cubicBezTo>
                    <a:pt x="137" y="393"/>
                    <a:pt x="137" y="393"/>
                    <a:pt x="137" y="393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56" y="1259"/>
                    <a:pt x="256" y="1259"/>
                    <a:pt x="256" y="1259"/>
                  </a:cubicBezTo>
                  <a:lnTo>
                    <a:pt x="137" y="1259"/>
                  </a:lnTo>
                  <a:close/>
                  <a:moveTo>
                    <a:pt x="33" y="1259"/>
                  </a:moveTo>
                  <a:cubicBezTo>
                    <a:pt x="33" y="393"/>
                    <a:pt x="33" y="393"/>
                    <a:pt x="33" y="393"/>
                  </a:cubicBezTo>
                  <a:cubicBezTo>
                    <a:pt x="104" y="393"/>
                    <a:pt x="104" y="393"/>
                    <a:pt x="104" y="393"/>
                  </a:cubicBezTo>
                  <a:cubicBezTo>
                    <a:pt x="104" y="1259"/>
                    <a:pt x="104" y="1259"/>
                    <a:pt x="104" y="1259"/>
                  </a:cubicBezTo>
                  <a:lnTo>
                    <a:pt x="33" y="1259"/>
                  </a:lnTo>
                  <a:close/>
                  <a:moveTo>
                    <a:pt x="360" y="360"/>
                  </a:moveTo>
                  <a:cubicBezTo>
                    <a:pt x="33" y="360"/>
                    <a:pt x="33" y="360"/>
                    <a:pt x="33" y="360"/>
                  </a:cubicBezTo>
                  <a:cubicBezTo>
                    <a:pt x="33" y="268"/>
                    <a:pt x="33" y="268"/>
                    <a:pt x="33" y="268"/>
                  </a:cubicBezTo>
                  <a:cubicBezTo>
                    <a:pt x="360" y="268"/>
                    <a:pt x="360" y="268"/>
                    <a:pt x="360" y="268"/>
                  </a:cubicBezTo>
                  <a:lnTo>
                    <a:pt x="360" y="360"/>
                  </a:lnTo>
                  <a:close/>
                  <a:moveTo>
                    <a:pt x="289" y="393"/>
                  </a:moveTo>
                  <a:cubicBezTo>
                    <a:pt x="360" y="393"/>
                    <a:pt x="360" y="393"/>
                    <a:pt x="360" y="393"/>
                  </a:cubicBezTo>
                  <a:cubicBezTo>
                    <a:pt x="360" y="1259"/>
                    <a:pt x="360" y="1259"/>
                    <a:pt x="360" y="1259"/>
                  </a:cubicBezTo>
                  <a:cubicBezTo>
                    <a:pt x="289" y="1259"/>
                    <a:pt x="289" y="1259"/>
                    <a:pt x="289" y="1259"/>
                  </a:cubicBezTo>
                  <a:lnTo>
                    <a:pt x="289" y="393"/>
                  </a:lnTo>
                  <a:close/>
                  <a:moveTo>
                    <a:pt x="127" y="33"/>
                  </a:moveTo>
                  <a:cubicBezTo>
                    <a:pt x="267" y="33"/>
                    <a:pt x="267" y="33"/>
                    <a:pt x="267" y="33"/>
                  </a:cubicBezTo>
                  <a:cubicBezTo>
                    <a:pt x="318" y="33"/>
                    <a:pt x="360" y="75"/>
                    <a:pt x="360" y="126"/>
                  </a:cubicBezTo>
                  <a:cubicBezTo>
                    <a:pt x="360" y="235"/>
                    <a:pt x="360" y="235"/>
                    <a:pt x="360" y="235"/>
                  </a:cubicBezTo>
                  <a:cubicBezTo>
                    <a:pt x="33" y="235"/>
                    <a:pt x="33" y="235"/>
                    <a:pt x="33" y="235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3" y="75"/>
                    <a:pt x="75" y="33"/>
                    <a:pt x="127" y="33"/>
                  </a:cubicBezTo>
                  <a:close/>
                  <a:moveTo>
                    <a:pt x="197" y="1598"/>
                  </a:moveTo>
                  <a:cubicBezTo>
                    <a:pt x="142" y="1490"/>
                    <a:pt x="142" y="1490"/>
                    <a:pt x="142" y="1490"/>
                  </a:cubicBezTo>
                  <a:cubicBezTo>
                    <a:pt x="251" y="1490"/>
                    <a:pt x="251" y="1490"/>
                    <a:pt x="251" y="1490"/>
                  </a:cubicBezTo>
                  <a:lnTo>
                    <a:pt x="197" y="1598"/>
                  </a:lnTo>
                  <a:close/>
                  <a:moveTo>
                    <a:pt x="268" y="1457"/>
                  </a:moveTo>
                  <a:cubicBezTo>
                    <a:pt x="126" y="1457"/>
                    <a:pt x="126" y="1457"/>
                    <a:pt x="126" y="1457"/>
                  </a:cubicBezTo>
                  <a:cubicBezTo>
                    <a:pt x="44" y="1292"/>
                    <a:pt x="44" y="1292"/>
                    <a:pt x="44" y="1292"/>
                  </a:cubicBezTo>
                  <a:cubicBezTo>
                    <a:pt x="350" y="1292"/>
                    <a:pt x="350" y="1292"/>
                    <a:pt x="350" y="1292"/>
                  </a:cubicBezTo>
                  <a:lnTo>
                    <a:pt x="268" y="1457"/>
                  </a:lnTo>
                  <a:close/>
                  <a:moveTo>
                    <a:pt x="916" y="0"/>
                  </a:moveTo>
                  <a:cubicBezTo>
                    <a:pt x="557" y="0"/>
                    <a:pt x="557" y="0"/>
                    <a:pt x="557" y="0"/>
                  </a:cubicBezTo>
                  <a:cubicBezTo>
                    <a:pt x="547" y="0"/>
                    <a:pt x="540" y="7"/>
                    <a:pt x="540" y="16"/>
                  </a:cubicBezTo>
                  <a:cubicBezTo>
                    <a:pt x="540" y="1635"/>
                    <a:pt x="540" y="1635"/>
                    <a:pt x="540" y="1635"/>
                  </a:cubicBezTo>
                  <a:cubicBezTo>
                    <a:pt x="540" y="1644"/>
                    <a:pt x="547" y="1652"/>
                    <a:pt x="557" y="1652"/>
                  </a:cubicBezTo>
                  <a:cubicBezTo>
                    <a:pt x="916" y="1652"/>
                    <a:pt x="916" y="1652"/>
                    <a:pt x="916" y="1652"/>
                  </a:cubicBezTo>
                  <a:cubicBezTo>
                    <a:pt x="925" y="1652"/>
                    <a:pt x="933" y="1644"/>
                    <a:pt x="933" y="1635"/>
                  </a:cubicBezTo>
                  <a:cubicBezTo>
                    <a:pt x="933" y="16"/>
                    <a:pt x="933" y="16"/>
                    <a:pt x="933" y="16"/>
                  </a:cubicBezTo>
                  <a:cubicBezTo>
                    <a:pt x="933" y="7"/>
                    <a:pt x="925" y="0"/>
                    <a:pt x="916" y="0"/>
                  </a:cubicBezTo>
                  <a:close/>
                  <a:moveTo>
                    <a:pt x="900" y="1619"/>
                  </a:moveTo>
                  <a:cubicBezTo>
                    <a:pt x="573" y="1619"/>
                    <a:pt x="573" y="1619"/>
                    <a:pt x="573" y="1619"/>
                  </a:cubicBezTo>
                  <a:cubicBezTo>
                    <a:pt x="573" y="1562"/>
                    <a:pt x="573" y="1562"/>
                    <a:pt x="573" y="1562"/>
                  </a:cubicBezTo>
                  <a:cubicBezTo>
                    <a:pt x="736" y="1562"/>
                    <a:pt x="736" y="1562"/>
                    <a:pt x="736" y="1562"/>
                  </a:cubicBezTo>
                  <a:cubicBezTo>
                    <a:pt x="746" y="1562"/>
                    <a:pt x="753" y="1554"/>
                    <a:pt x="753" y="1545"/>
                  </a:cubicBezTo>
                  <a:cubicBezTo>
                    <a:pt x="753" y="1536"/>
                    <a:pt x="746" y="1529"/>
                    <a:pt x="736" y="1529"/>
                  </a:cubicBezTo>
                  <a:cubicBezTo>
                    <a:pt x="573" y="1529"/>
                    <a:pt x="573" y="1529"/>
                    <a:pt x="573" y="1529"/>
                  </a:cubicBezTo>
                  <a:cubicBezTo>
                    <a:pt x="573" y="1393"/>
                    <a:pt x="573" y="1393"/>
                    <a:pt x="573" y="1393"/>
                  </a:cubicBezTo>
                  <a:cubicBezTo>
                    <a:pt x="681" y="1393"/>
                    <a:pt x="681" y="1393"/>
                    <a:pt x="681" y="1393"/>
                  </a:cubicBezTo>
                  <a:cubicBezTo>
                    <a:pt x="691" y="1393"/>
                    <a:pt x="698" y="1386"/>
                    <a:pt x="698" y="1377"/>
                  </a:cubicBezTo>
                  <a:cubicBezTo>
                    <a:pt x="698" y="1367"/>
                    <a:pt x="691" y="1360"/>
                    <a:pt x="681" y="1360"/>
                  </a:cubicBezTo>
                  <a:cubicBezTo>
                    <a:pt x="573" y="1360"/>
                    <a:pt x="573" y="1360"/>
                    <a:pt x="573" y="1360"/>
                  </a:cubicBezTo>
                  <a:cubicBezTo>
                    <a:pt x="573" y="1224"/>
                    <a:pt x="573" y="1224"/>
                    <a:pt x="573" y="1224"/>
                  </a:cubicBezTo>
                  <a:cubicBezTo>
                    <a:pt x="736" y="1224"/>
                    <a:pt x="736" y="1224"/>
                    <a:pt x="736" y="1224"/>
                  </a:cubicBezTo>
                  <a:cubicBezTo>
                    <a:pt x="746" y="1224"/>
                    <a:pt x="753" y="1217"/>
                    <a:pt x="753" y="1208"/>
                  </a:cubicBezTo>
                  <a:cubicBezTo>
                    <a:pt x="753" y="1199"/>
                    <a:pt x="746" y="1191"/>
                    <a:pt x="736" y="1191"/>
                  </a:cubicBezTo>
                  <a:cubicBezTo>
                    <a:pt x="573" y="1191"/>
                    <a:pt x="573" y="1191"/>
                    <a:pt x="573" y="1191"/>
                  </a:cubicBezTo>
                  <a:cubicBezTo>
                    <a:pt x="573" y="1056"/>
                    <a:pt x="573" y="1056"/>
                    <a:pt x="573" y="1056"/>
                  </a:cubicBezTo>
                  <a:cubicBezTo>
                    <a:pt x="681" y="1056"/>
                    <a:pt x="681" y="1056"/>
                    <a:pt x="681" y="1056"/>
                  </a:cubicBezTo>
                  <a:cubicBezTo>
                    <a:pt x="691" y="1056"/>
                    <a:pt x="698" y="1048"/>
                    <a:pt x="698" y="1039"/>
                  </a:cubicBezTo>
                  <a:cubicBezTo>
                    <a:pt x="698" y="1030"/>
                    <a:pt x="691" y="1023"/>
                    <a:pt x="681" y="1023"/>
                  </a:cubicBezTo>
                  <a:cubicBezTo>
                    <a:pt x="573" y="1023"/>
                    <a:pt x="573" y="1023"/>
                    <a:pt x="573" y="1023"/>
                  </a:cubicBezTo>
                  <a:cubicBezTo>
                    <a:pt x="573" y="887"/>
                    <a:pt x="573" y="887"/>
                    <a:pt x="573" y="887"/>
                  </a:cubicBezTo>
                  <a:cubicBezTo>
                    <a:pt x="736" y="887"/>
                    <a:pt x="736" y="887"/>
                    <a:pt x="736" y="887"/>
                  </a:cubicBezTo>
                  <a:cubicBezTo>
                    <a:pt x="746" y="887"/>
                    <a:pt x="753" y="880"/>
                    <a:pt x="753" y="871"/>
                  </a:cubicBezTo>
                  <a:cubicBezTo>
                    <a:pt x="753" y="862"/>
                    <a:pt x="746" y="854"/>
                    <a:pt x="736" y="854"/>
                  </a:cubicBezTo>
                  <a:cubicBezTo>
                    <a:pt x="573" y="854"/>
                    <a:pt x="573" y="854"/>
                    <a:pt x="573" y="854"/>
                  </a:cubicBezTo>
                  <a:cubicBezTo>
                    <a:pt x="573" y="719"/>
                    <a:pt x="573" y="719"/>
                    <a:pt x="573" y="719"/>
                  </a:cubicBezTo>
                  <a:cubicBezTo>
                    <a:pt x="681" y="719"/>
                    <a:pt x="681" y="719"/>
                    <a:pt x="681" y="719"/>
                  </a:cubicBezTo>
                  <a:cubicBezTo>
                    <a:pt x="691" y="719"/>
                    <a:pt x="698" y="711"/>
                    <a:pt x="698" y="702"/>
                  </a:cubicBezTo>
                  <a:cubicBezTo>
                    <a:pt x="698" y="693"/>
                    <a:pt x="691" y="686"/>
                    <a:pt x="681" y="686"/>
                  </a:cubicBezTo>
                  <a:cubicBezTo>
                    <a:pt x="573" y="686"/>
                    <a:pt x="573" y="686"/>
                    <a:pt x="573" y="686"/>
                  </a:cubicBezTo>
                  <a:cubicBezTo>
                    <a:pt x="573" y="550"/>
                    <a:pt x="573" y="550"/>
                    <a:pt x="573" y="550"/>
                  </a:cubicBezTo>
                  <a:cubicBezTo>
                    <a:pt x="736" y="550"/>
                    <a:pt x="736" y="550"/>
                    <a:pt x="736" y="550"/>
                  </a:cubicBezTo>
                  <a:cubicBezTo>
                    <a:pt x="746" y="550"/>
                    <a:pt x="753" y="543"/>
                    <a:pt x="753" y="533"/>
                  </a:cubicBezTo>
                  <a:cubicBezTo>
                    <a:pt x="753" y="524"/>
                    <a:pt x="746" y="517"/>
                    <a:pt x="736" y="517"/>
                  </a:cubicBezTo>
                  <a:cubicBezTo>
                    <a:pt x="573" y="517"/>
                    <a:pt x="573" y="517"/>
                    <a:pt x="573" y="517"/>
                  </a:cubicBezTo>
                  <a:cubicBezTo>
                    <a:pt x="573" y="381"/>
                    <a:pt x="573" y="381"/>
                    <a:pt x="573" y="381"/>
                  </a:cubicBezTo>
                  <a:cubicBezTo>
                    <a:pt x="681" y="381"/>
                    <a:pt x="681" y="381"/>
                    <a:pt x="681" y="381"/>
                  </a:cubicBezTo>
                  <a:cubicBezTo>
                    <a:pt x="691" y="381"/>
                    <a:pt x="698" y="374"/>
                    <a:pt x="698" y="365"/>
                  </a:cubicBezTo>
                  <a:cubicBezTo>
                    <a:pt x="698" y="356"/>
                    <a:pt x="691" y="348"/>
                    <a:pt x="681" y="348"/>
                  </a:cubicBezTo>
                  <a:cubicBezTo>
                    <a:pt x="573" y="348"/>
                    <a:pt x="573" y="348"/>
                    <a:pt x="573" y="348"/>
                  </a:cubicBezTo>
                  <a:cubicBezTo>
                    <a:pt x="573" y="213"/>
                    <a:pt x="573" y="213"/>
                    <a:pt x="573" y="213"/>
                  </a:cubicBezTo>
                  <a:cubicBezTo>
                    <a:pt x="736" y="213"/>
                    <a:pt x="736" y="213"/>
                    <a:pt x="736" y="213"/>
                  </a:cubicBezTo>
                  <a:cubicBezTo>
                    <a:pt x="746" y="213"/>
                    <a:pt x="753" y="205"/>
                    <a:pt x="753" y="196"/>
                  </a:cubicBezTo>
                  <a:cubicBezTo>
                    <a:pt x="753" y="187"/>
                    <a:pt x="746" y="180"/>
                    <a:pt x="736" y="180"/>
                  </a:cubicBezTo>
                  <a:cubicBezTo>
                    <a:pt x="573" y="180"/>
                    <a:pt x="573" y="180"/>
                    <a:pt x="573" y="180"/>
                  </a:cubicBezTo>
                  <a:cubicBezTo>
                    <a:pt x="573" y="33"/>
                    <a:pt x="573" y="33"/>
                    <a:pt x="573" y="33"/>
                  </a:cubicBezTo>
                  <a:cubicBezTo>
                    <a:pt x="900" y="33"/>
                    <a:pt x="900" y="33"/>
                    <a:pt x="900" y="33"/>
                  </a:cubicBezTo>
                  <a:lnTo>
                    <a:pt x="900" y="16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2091835" y="3261600"/>
              <a:ext cx="500685" cy="347049"/>
            </a:xfrm>
            <a:custGeom>
              <a:avLst/>
              <a:gdLst>
                <a:gd name="T0" fmla="*/ 0 w 1868"/>
                <a:gd name="T1" fmla="*/ 0 h 1294"/>
                <a:gd name="T2" fmla="*/ 744 w 1868"/>
                <a:gd name="T3" fmla="*/ 847 h 1294"/>
                <a:gd name="T4" fmla="*/ 1868 w 1868"/>
                <a:gd name="T5" fmla="*/ 1249 h 1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8" h="1294">
                  <a:moveTo>
                    <a:pt x="0" y="0"/>
                  </a:moveTo>
                  <a:cubicBezTo>
                    <a:pt x="0" y="0"/>
                    <a:pt x="243" y="512"/>
                    <a:pt x="744" y="847"/>
                  </a:cubicBezTo>
                  <a:cubicBezTo>
                    <a:pt x="1412" y="1294"/>
                    <a:pt x="1868" y="1249"/>
                    <a:pt x="1868" y="1249"/>
                  </a:cubicBezTo>
                </a:path>
              </a:pathLst>
            </a:custGeom>
            <a:noFill/>
            <a:ln w="9525" cap="flat">
              <a:solidFill>
                <a:schemeClr val="accent5"/>
              </a:solidFill>
              <a:prstDash val="solid"/>
              <a:miter lim="800000"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Freeform 5"/>
            <p:cNvSpPr>
              <a:spLocks/>
            </p:cNvSpPr>
            <p:nvPr/>
          </p:nvSpPr>
          <p:spPr bwMode="auto">
            <a:xfrm>
              <a:off x="4461220" y="3261600"/>
              <a:ext cx="500685" cy="347049"/>
            </a:xfrm>
            <a:custGeom>
              <a:avLst/>
              <a:gdLst>
                <a:gd name="T0" fmla="*/ 0 w 1868"/>
                <a:gd name="T1" fmla="*/ 0 h 1294"/>
                <a:gd name="T2" fmla="*/ 744 w 1868"/>
                <a:gd name="T3" fmla="*/ 847 h 1294"/>
                <a:gd name="T4" fmla="*/ 1868 w 1868"/>
                <a:gd name="T5" fmla="*/ 1249 h 1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8" h="1294">
                  <a:moveTo>
                    <a:pt x="0" y="0"/>
                  </a:moveTo>
                  <a:cubicBezTo>
                    <a:pt x="0" y="0"/>
                    <a:pt x="243" y="512"/>
                    <a:pt x="744" y="847"/>
                  </a:cubicBezTo>
                  <a:cubicBezTo>
                    <a:pt x="1412" y="1294"/>
                    <a:pt x="1868" y="1249"/>
                    <a:pt x="1868" y="1249"/>
                  </a:cubicBezTo>
                </a:path>
              </a:pathLst>
            </a:custGeom>
            <a:noFill/>
            <a:ln w="9525" cap="flat">
              <a:solidFill>
                <a:schemeClr val="accent5"/>
              </a:solidFill>
              <a:prstDash val="solid"/>
              <a:miter lim="800000"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6" name="Freeform 5"/>
            <p:cNvSpPr>
              <a:spLocks/>
            </p:cNvSpPr>
            <p:nvPr/>
          </p:nvSpPr>
          <p:spPr bwMode="auto">
            <a:xfrm flipV="1">
              <a:off x="5643215" y="2219252"/>
              <a:ext cx="500685" cy="347049"/>
            </a:xfrm>
            <a:custGeom>
              <a:avLst/>
              <a:gdLst>
                <a:gd name="T0" fmla="*/ 0 w 1868"/>
                <a:gd name="T1" fmla="*/ 0 h 1294"/>
                <a:gd name="T2" fmla="*/ 744 w 1868"/>
                <a:gd name="T3" fmla="*/ 847 h 1294"/>
                <a:gd name="T4" fmla="*/ 1868 w 1868"/>
                <a:gd name="T5" fmla="*/ 1249 h 1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8" h="1294">
                  <a:moveTo>
                    <a:pt x="0" y="0"/>
                  </a:moveTo>
                  <a:cubicBezTo>
                    <a:pt x="0" y="0"/>
                    <a:pt x="243" y="512"/>
                    <a:pt x="744" y="847"/>
                  </a:cubicBezTo>
                  <a:cubicBezTo>
                    <a:pt x="1412" y="1294"/>
                    <a:pt x="1868" y="1249"/>
                    <a:pt x="1868" y="1249"/>
                  </a:cubicBezTo>
                </a:path>
              </a:pathLst>
            </a:custGeom>
            <a:noFill/>
            <a:ln w="9525" cap="flat">
              <a:solidFill>
                <a:schemeClr val="accent5"/>
              </a:solidFill>
              <a:prstDash val="solid"/>
              <a:miter lim="800000"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7" name="Freeform 5"/>
            <p:cNvSpPr>
              <a:spLocks/>
            </p:cNvSpPr>
            <p:nvPr/>
          </p:nvSpPr>
          <p:spPr bwMode="auto">
            <a:xfrm flipV="1">
              <a:off x="3279226" y="2219252"/>
              <a:ext cx="500685" cy="347049"/>
            </a:xfrm>
            <a:custGeom>
              <a:avLst/>
              <a:gdLst>
                <a:gd name="T0" fmla="*/ 0 w 1868"/>
                <a:gd name="T1" fmla="*/ 0 h 1294"/>
                <a:gd name="T2" fmla="*/ 744 w 1868"/>
                <a:gd name="T3" fmla="*/ 847 h 1294"/>
                <a:gd name="T4" fmla="*/ 1868 w 1868"/>
                <a:gd name="T5" fmla="*/ 1249 h 1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68" h="1294">
                  <a:moveTo>
                    <a:pt x="0" y="0"/>
                  </a:moveTo>
                  <a:cubicBezTo>
                    <a:pt x="0" y="0"/>
                    <a:pt x="243" y="512"/>
                    <a:pt x="744" y="847"/>
                  </a:cubicBezTo>
                  <a:cubicBezTo>
                    <a:pt x="1412" y="1294"/>
                    <a:pt x="1868" y="1249"/>
                    <a:pt x="1868" y="1249"/>
                  </a:cubicBezTo>
                </a:path>
              </a:pathLst>
            </a:custGeom>
            <a:noFill/>
            <a:ln w="9525" cap="flat">
              <a:solidFill>
                <a:schemeClr val="accent5"/>
              </a:solidFill>
              <a:prstDash val="solid"/>
              <a:miter lim="800000"/>
              <a:headEnd type="none" w="sm" len="sm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49" name="Title 2"/>
            <p:cNvSpPr txBox="1">
              <a:spLocks/>
            </p:cNvSpPr>
            <p:nvPr/>
          </p:nvSpPr>
          <p:spPr>
            <a:xfrm>
              <a:off x="1213983" y="1545476"/>
              <a:ext cx="157439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je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864879" y="2889798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1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3050148" y="2741857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2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235414" y="2889798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3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5404859" y="2741857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4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6605953" y="2889798"/>
              <a:ext cx="280805" cy="183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05</a:t>
              </a:r>
            </a:p>
          </p:txBody>
        </p:sp>
        <p:sp>
          <p:nvSpPr>
            <p:cNvPr id="58" name="Title 2"/>
            <p:cNvSpPr txBox="1">
              <a:spLocks/>
            </p:cNvSpPr>
            <p:nvPr/>
          </p:nvSpPr>
          <p:spPr>
            <a:xfrm>
              <a:off x="3588617" y="1545476"/>
              <a:ext cx="157439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ransmissã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itle 2"/>
            <p:cNvSpPr txBox="1">
              <a:spLocks/>
            </p:cNvSpPr>
            <p:nvPr/>
          </p:nvSpPr>
          <p:spPr>
            <a:xfrm>
              <a:off x="5963251" y="1545476"/>
              <a:ext cx="157439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melhoria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itle 2"/>
            <p:cNvSpPr txBox="1">
              <a:spLocks/>
            </p:cNvSpPr>
            <p:nvPr/>
          </p:nvSpPr>
          <p:spPr>
            <a:xfrm>
              <a:off x="4773887" y="4132362"/>
              <a:ext cx="157439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vendas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1" name="Title 2"/>
            <p:cNvSpPr txBox="1">
              <a:spLocks/>
            </p:cNvSpPr>
            <p:nvPr/>
          </p:nvSpPr>
          <p:spPr>
            <a:xfrm>
              <a:off x="2403351" y="4132362"/>
              <a:ext cx="1574398" cy="153888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r>
                <a:rPr lang="en-US" sz="1000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desenvolvimento</a:t>
              </a:r>
              <a:endParaRPr lang="en-US" sz="1000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1986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Revisão</a:t>
            </a:r>
            <a:r>
              <a:rPr lang="en-US" dirty="0"/>
              <a:t> da </a:t>
            </a:r>
            <a:r>
              <a:rPr lang="en-US" dirty="0" err="1">
                <a:solidFill>
                  <a:srgbClr val="EC0000"/>
                </a:solidFill>
              </a:rPr>
              <a:t>construção</a:t>
            </a:r>
            <a:r>
              <a:rPr lang="en-US" dirty="0">
                <a:solidFill>
                  <a:srgbClr val="EC0000"/>
                </a:solidFill>
              </a:rPr>
              <a:t> do </a:t>
            </a:r>
            <a:r>
              <a:rPr lang="en-US" dirty="0" err="1">
                <a:solidFill>
                  <a:srgbClr val="EC0000"/>
                </a:solidFill>
              </a:rPr>
              <a:t>negóci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90" name="Straight Connector 89"/>
          <p:cNvCxnSpPr/>
          <p:nvPr/>
        </p:nvCxnSpPr>
        <p:spPr>
          <a:xfrm>
            <a:off x="2019354" y="1869593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3986186" y="1869593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5928147" y="1869593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2019354" y="3408926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3986186" y="3408926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5928147" y="3408926"/>
            <a:ext cx="421662" cy="0"/>
          </a:xfrm>
          <a:prstGeom prst="line">
            <a:avLst/>
          </a:prstGeom>
          <a:ln w="9525">
            <a:solidFill>
              <a:schemeClr val="accent5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Freeform 107"/>
          <p:cNvSpPr/>
          <p:nvPr/>
        </p:nvSpPr>
        <p:spPr>
          <a:xfrm>
            <a:off x="7727234" y="1859490"/>
            <a:ext cx="810342" cy="1549435"/>
          </a:xfrm>
          <a:custGeom>
            <a:avLst/>
            <a:gdLst>
              <a:gd name="connsiteX0" fmla="*/ 100883 w 911225"/>
              <a:gd name="connsiteY0" fmla="*/ 0 h 1462088"/>
              <a:gd name="connsiteX1" fmla="*/ 557999 w 911225"/>
              <a:gd name="connsiteY1" fmla="*/ 0 h 1462088"/>
              <a:gd name="connsiteX2" fmla="*/ 911225 w 911225"/>
              <a:gd name="connsiteY2" fmla="*/ 353226 h 1462088"/>
              <a:gd name="connsiteX3" fmla="*/ 911225 w 911225"/>
              <a:gd name="connsiteY3" fmla="*/ 1108862 h 1462088"/>
              <a:gd name="connsiteX4" fmla="*/ 557999 w 911225"/>
              <a:gd name="connsiteY4" fmla="*/ 1462088 h 1462088"/>
              <a:gd name="connsiteX5" fmla="*/ 100883 w 911225"/>
              <a:gd name="connsiteY5" fmla="*/ 1462088 h 1462088"/>
              <a:gd name="connsiteX6" fmla="*/ 100883 w 911225"/>
              <a:gd name="connsiteY6" fmla="*/ 473075 h 1462088"/>
              <a:gd name="connsiteX7" fmla="*/ 0 w 911225"/>
              <a:gd name="connsiteY7" fmla="*/ 473075 h 1462088"/>
              <a:gd name="connsiteX8" fmla="*/ 0 w 911225"/>
              <a:gd name="connsiteY8" fmla="*/ 220663 h 1462088"/>
              <a:gd name="connsiteX9" fmla="*/ 100883 w 911225"/>
              <a:gd name="connsiteY9" fmla="*/ 220663 h 1462088"/>
              <a:gd name="connsiteX0" fmla="*/ 0 w 911225"/>
              <a:gd name="connsiteY0" fmla="*/ 220663 h 1462088"/>
              <a:gd name="connsiteX1" fmla="*/ 100883 w 911225"/>
              <a:gd name="connsiteY1" fmla="*/ 220663 h 1462088"/>
              <a:gd name="connsiteX2" fmla="*/ 100883 w 911225"/>
              <a:gd name="connsiteY2" fmla="*/ 0 h 1462088"/>
              <a:gd name="connsiteX3" fmla="*/ 557999 w 911225"/>
              <a:gd name="connsiteY3" fmla="*/ 0 h 1462088"/>
              <a:gd name="connsiteX4" fmla="*/ 911225 w 911225"/>
              <a:gd name="connsiteY4" fmla="*/ 353226 h 1462088"/>
              <a:gd name="connsiteX5" fmla="*/ 911225 w 911225"/>
              <a:gd name="connsiteY5" fmla="*/ 1108862 h 1462088"/>
              <a:gd name="connsiteX6" fmla="*/ 557999 w 911225"/>
              <a:gd name="connsiteY6" fmla="*/ 1462088 h 1462088"/>
              <a:gd name="connsiteX7" fmla="*/ 100883 w 911225"/>
              <a:gd name="connsiteY7" fmla="*/ 1462088 h 1462088"/>
              <a:gd name="connsiteX8" fmla="*/ 100883 w 911225"/>
              <a:gd name="connsiteY8" fmla="*/ 473075 h 1462088"/>
              <a:gd name="connsiteX9" fmla="*/ 0 w 911225"/>
              <a:gd name="connsiteY9" fmla="*/ 473075 h 1462088"/>
              <a:gd name="connsiteX10" fmla="*/ 91440 w 911225"/>
              <a:gd name="connsiteY10" fmla="*/ 312103 h 1462088"/>
              <a:gd name="connsiteX0" fmla="*/ 0 w 911225"/>
              <a:gd name="connsiteY0" fmla="*/ 220663 h 1462088"/>
              <a:gd name="connsiteX1" fmla="*/ 100883 w 911225"/>
              <a:gd name="connsiteY1" fmla="*/ 220663 h 1462088"/>
              <a:gd name="connsiteX2" fmla="*/ 100883 w 911225"/>
              <a:gd name="connsiteY2" fmla="*/ 0 h 1462088"/>
              <a:gd name="connsiteX3" fmla="*/ 557999 w 911225"/>
              <a:gd name="connsiteY3" fmla="*/ 0 h 1462088"/>
              <a:gd name="connsiteX4" fmla="*/ 911225 w 911225"/>
              <a:gd name="connsiteY4" fmla="*/ 353226 h 1462088"/>
              <a:gd name="connsiteX5" fmla="*/ 911225 w 911225"/>
              <a:gd name="connsiteY5" fmla="*/ 1108862 h 1462088"/>
              <a:gd name="connsiteX6" fmla="*/ 557999 w 911225"/>
              <a:gd name="connsiteY6" fmla="*/ 1462088 h 1462088"/>
              <a:gd name="connsiteX7" fmla="*/ 100883 w 911225"/>
              <a:gd name="connsiteY7" fmla="*/ 1462088 h 1462088"/>
              <a:gd name="connsiteX8" fmla="*/ 100883 w 911225"/>
              <a:gd name="connsiteY8" fmla="*/ 473075 h 1462088"/>
              <a:gd name="connsiteX9" fmla="*/ 0 w 911225"/>
              <a:gd name="connsiteY9" fmla="*/ 473075 h 1462088"/>
              <a:gd name="connsiteX0" fmla="*/ 0 w 911225"/>
              <a:gd name="connsiteY0" fmla="*/ 220663 h 1462088"/>
              <a:gd name="connsiteX1" fmla="*/ 100883 w 911225"/>
              <a:gd name="connsiteY1" fmla="*/ 220663 h 1462088"/>
              <a:gd name="connsiteX2" fmla="*/ 100883 w 911225"/>
              <a:gd name="connsiteY2" fmla="*/ 0 h 1462088"/>
              <a:gd name="connsiteX3" fmla="*/ 557999 w 911225"/>
              <a:gd name="connsiteY3" fmla="*/ 0 h 1462088"/>
              <a:gd name="connsiteX4" fmla="*/ 911225 w 911225"/>
              <a:gd name="connsiteY4" fmla="*/ 353226 h 1462088"/>
              <a:gd name="connsiteX5" fmla="*/ 911225 w 911225"/>
              <a:gd name="connsiteY5" fmla="*/ 1108862 h 1462088"/>
              <a:gd name="connsiteX6" fmla="*/ 557999 w 911225"/>
              <a:gd name="connsiteY6" fmla="*/ 1462088 h 1462088"/>
              <a:gd name="connsiteX7" fmla="*/ 100883 w 911225"/>
              <a:gd name="connsiteY7" fmla="*/ 1462088 h 1462088"/>
              <a:gd name="connsiteX8" fmla="*/ 100883 w 911225"/>
              <a:gd name="connsiteY8" fmla="*/ 473075 h 1462088"/>
              <a:gd name="connsiteX0" fmla="*/ 0 w 911225"/>
              <a:gd name="connsiteY0" fmla="*/ 220663 h 1462088"/>
              <a:gd name="connsiteX1" fmla="*/ 100883 w 911225"/>
              <a:gd name="connsiteY1" fmla="*/ 220663 h 1462088"/>
              <a:gd name="connsiteX2" fmla="*/ 100883 w 911225"/>
              <a:gd name="connsiteY2" fmla="*/ 0 h 1462088"/>
              <a:gd name="connsiteX3" fmla="*/ 557999 w 911225"/>
              <a:gd name="connsiteY3" fmla="*/ 0 h 1462088"/>
              <a:gd name="connsiteX4" fmla="*/ 911225 w 911225"/>
              <a:gd name="connsiteY4" fmla="*/ 353226 h 1462088"/>
              <a:gd name="connsiteX5" fmla="*/ 911225 w 911225"/>
              <a:gd name="connsiteY5" fmla="*/ 1108862 h 1462088"/>
              <a:gd name="connsiteX6" fmla="*/ 557999 w 911225"/>
              <a:gd name="connsiteY6" fmla="*/ 1462088 h 1462088"/>
              <a:gd name="connsiteX7" fmla="*/ 100883 w 911225"/>
              <a:gd name="connsiteY7" fmla="*/ 1462088 h 1462088"/>
              <a:gd name="connsiteX0" fmla="*/ 0 w 810342"/>
              <a:gd name="connsiteY0" fmla="*/ 220663 h 1462088"/>
              <a:gd name="connsiteX1" fmla="*/ 0 w 810342"/>
              <a:gd name="connsiteY1" fmla="*/ 0 h 1462088"/>
              <a:gd name="connsiteX2" fmla="*/ 457116 w 810342"/>
              <a:gd name="connsiteY2" fmla="*/ 0 h 1462088"/>
              <a:gd name="connsiteX3" fmla="*/ 810342 w 810342"/>
              <a:gd name="connsiteY3" fmla="*/ 353226 h 1462088"/>
              <a:gd name="connsiteX4" fmla="*/ 810342 w 810342"/>
              <a:gd name="connsiteY4" fmla="*/ 1108862 h 1462088"/>
              <a:gd name="connsiteX5" fmla="*/ 457116 w 810342"/>
              <a:gd name="connsiteY5" fmla="*/ 1462088 h 1462088"/>
              <a:gd name="connsiteX6" fmla="*/ 0 w 810342"/>
              <a:gd name="connsiteY6" fmla="*/ 1462088 h 1462088"/>
              <a:gd name="connsiteX0" fmla="*/ 0 w 810342"/>
              <a:gd name="connsiteY0" fmla="*/ 0 h 1462088"/>
              <a:gd name="connsiteX1" fmla="*/ 457116 w 810342"/>
              <a:gd name="connsiteY1" fmla="*/ 0 h 1462088"/>
              <a:gd name="connsiteX2" fmla="*/ 810342 w 810342"/>
              <a:gd name="connsiteY2" fmla="*/ 353226 h 1462088"/>
              <a:gd name="connsiteX3" fmla="*/ 810342 w 810342"/>
              <a:gd name="connsiteY3" fmla="*/ 1108862 h 1462088"/>
              <a:gd name="connsiteX4" fmla="*/ 457116 w 810342"/>
              <a:gd name="connsiteY4" fmla="*/ 1462088 h 1462088"/>
              <a:gd name="connsiteX5" fmla="*/ 0 w 810342"/>
              <a:gd name="connsiteY5" fmla="*/ 1462088 h 1462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0342" h="1462088">
                <a:moveTo>
                  <a:pt x="0" y="0"/>
                </a:moveTo>
                <a:lnTo>
                  <a:pt x="457116" y="0"/>
                </a:lnTo>
                <a:cubicBezTo>
                  <a:pt x="652197" y="0"/>
                  <a:pt x="810342" y="158145"/>
                  <a:pt x="810342" y="353226"/>
                </a:cubicBezTo>
                <a:lnTo>
                  <a:pt x="810342" y="1108862"/>
                </a:lnTo>
                <a:cubicBezTo>
                  <a:pt x="810342" y="1303943"/>
                  <a:pt x="652197" y="1462088"/>
                  <a:pt x="457116" y="1462088"/>
                </a:cubicBezTo>
                <a:lnTo>
                  <a:pt x="0" y="1462088"/>
                </a:lnTo>
              </a:path>
            </a:pathLst>
          </a:custGeom>
          <a:noFill/>
          <a:ln w="9525">
            <a:solidFill>
              <a:schemeClr val="accent5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/>
          <p:cNvGrpSpPr/>
          <p:nvPr/>
        </p:nvGrpSpPr>
        <p:grpSpPr>
          <a:xfrm>
            <a:off x="2558095" y="3115456"/>
            <a:ext cx="1291574" cy="1162329"/>
            <a:chOff x="2558095" y="3115456"/>
            <a:chExt cx="1291574" cy="1162329"/>
          </a:xfrm>
        </p:grpSpPr>
        <p:sp>
          <p:nvSpPr>
            <p:cNvPr id="22" name="Oval 21"/>
            <p:cNvSpPr/>
            <p:nvPr/>
          </p:nvSpPr>
          <p:spPr>
            <a:xfrm>
              <a:off x="2906065" y="3115456"/>
              <a:ext cx="595634" cy="59563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558095" y="4014893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2558095" y="3844294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isciplina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0" name="Freeform 109"/>
            <p:cNvSpPr>
              <a:spLocks noEditPoints="1"/>
            </p:cNvSpPr>
            <p:nvPr/>
          </p:nvSpPr>
          <p:spPr bwMode="auto">
            <a:xfrm>
              <a:off x="3040676" y="3250066"/>
              <a:ext cx="326412" cy="326412"/>
            </a:xfrm>
            <a:custGeom>
              <a:avLst/>
              <a:gdLst>
                <a:gd name="T0" fmla="*/ 289 w 353"/>
                <a:gd name="T1" fmla="*/ 176 h 353"/>
                <a:gd name="T2" fmla="*/ 305 w 353"/>
                <a:gd name="T3" fmla="*/ 176 h 353"/>
                <a:gd name="T4" fmla="*/ 121 w 353"/>
                <a:gd name="T5" fmla="*/ 274 h 353"/>
                <a:gd name="T6" fmla="*/ 113 w 353"/>
                <a:gd name="T7" fmla="*/ 288 h 353"/>
                <a:gd name="T8" fmla="*/ 121 w 353"/>
                <a:gd name="T9" fmla="*/ 274 h 353"/>
                <a:gd name="T10" fmla="*/ 66 w 353"/>
                <a:gd name="T11" fmla="*/ 241 h 353"/>
                <a:gd name="T12" fmla="*/ 80 w 353"/>
                <a:gd name="T13" fmla="*/ 233 h 353"/>
                <a:gd name="T14" fmla="*/ 113 w 353"/>
                <a:gd name="T15" fmla="*/ 65 h 353"/>
                <a:gd name="T16" fmla="*/ 121 w 353"/>
                <a:gd name="T17" fmla="*/ 79 h 353"/>
                <a:gd name="T18" fmla="*/ 113 w 353"/>
                <a:gd name="T19" fmla="*/ 65 h 353"/>
                <a:gd name="T20" fmla="*/ 48 w 353"/>
                <a:gd name="T21" fmla="*/ 176 h 353"/>
                <a:gd name="T22" fmla="*/ 64 w 353"/>
                <a:gd name="T23" fmla="*/ 176 h 353"/>
                <a:gd name="T24" fmla="*/ 233 w 353"/>
                <a:gd name="T25" fmla="*/ 79 h 353"/>
                <a:gd name="T26" fmla="*/ 241 w 353"/>
                <a:gd name="T27" fmla="*/ 65 h 353"/>
                <a:gd name="T28" fmla="*/ 233 w 353"/>
                <a:gd name="T29" fmla="*/ 79 h 353"/>
                <a:gd name="T30" fmla="*/ 66 w 353"/>
                <a:gd name="T31" fmla="*/ 112 h 353"/>
                <a:gd name="T32" fmla="*/ 80 w 353"/>
                <a:gd name="T33" fmla="*/ 120 h 353"/>
                <a:gd name="T34" fmla="*/ 285 w 353"/>
                <a:gd name="T35" fmla="*/ 230 h 353"/>
                <a:gd name="T36" fmla="*/ 277 w 353"/>
                <a:gd name="T37" fmla="*/ 244 h 353"/>
                <a:gd name="T38" fmla="*/ 285 w 353"/>
                <a:gd name="T39" fmla="*/ 230 h 353"/>
                <a:gd name="T40" fmla="*/ 169 w 353"/>
                <a:gd name="T41" fmla="*/ 297 h 353"/>
                <a:gd name="T42" fmla="*/ 185 w 353"/>
                <a:gd name="T43" fmla="*/ 297 h 353"/>
                <a:gd name="T44" fmla="*/ 277 w 353"/>
                <a:gd name="T45" fmla="*/ 109 h 353"/>
                <a:gd name="T46" fmla="*/ 285 w 353"/>
                <a:gd name="T47" fmla="*/ 123 h 353"/>
                <a:gd name="T48" fmla="*/ 277 w 353"/>
                <a:gd name="T49" fmla="*/ 109 h 353"/>
                <a:gd name="T50" fmla="*/ 208 w 353"/>
                <a:gd name="T51" fmla="*/ 168 h 353"/>
                <a:gd name="T52" fmla="*/ 185 w 353"/>
                <a:gd name="T53" fmla="*/ 56 h 353"/>
                <a:gd name="T54" fmla="*/ 169 w 353"/>
                <a:gd name="T55" fmla="*/ 56 h 353"/>
                <a:gd name="T56" fmla="*/ 145 w 353"/>
                <a:gd name="T57" fmla="*/ 176 h 353"/>
                <a:gd name="T58" fmla="*/ 208 w 353"/>
                <a:gd name="T59" fmla="*/ 184 h 353"/>
                <a:gd name="T60" fmla="*/ 257 w 353"/>
                <a:gd name="T61" fmla="*/ 176 h 353"/>
                <a:gd name="T62" fmla="*/ 177 w 353"/>
                <a:gd name="T63" fmla="*/ 192 h 353"/>
                <a:gd name="T64" fmla="*/ 177 w 353"/>
                <a:gd name="T65" fmla="*/ 160 h 353"/>
                <a:gd name="T66" fmla="*/ 177 w 353"/>
                <a:gd name="T67" fmla="*/ 192 h 353"/>
                <a:gd name="T68" fmla="*/ 230 w 353"/>
                <a:gd name="T69" fmla="*/ 285 h 353"/>
                <a:gd name="T70" fmla="*/ 244 w 353"/>
                <a:gd name="T71" fmla="*/ 277 h 353"/>
                <a:gd name="T72" fmla="*/ 177 w 353"/>
                <a:gd name="T73" fmla="*/ 0 h 353"/>
                <a:gd name="T74" fmla="*/ 177 w 353"/>
                <a:gd name="T75" fmla="*/ 353 h 353"/>
                <a:gd name="T76" fmla="*/ 177 w 353"/>
                <a:gd name="T77" fmla="*/ 0 h 353"/>
                <a:gd name="T78" fmla="*/ 16 w 353"/>
                <a:gd name="T79" fmla="*/ 176 h 353"/>
                <a:gd name="T80" fmla="*/ 337 w 353"/>
                <a:gd name="T81" fmla="*/ 176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3" h="353">
                  <a:moveTo>
                    <a:pt x="297" y="168"/>
                  </a:moveTo>
                  <a:cubicBezTo>
                    <a:pt x="293" y="168"/>
                    <a:pt x="289" y="172"/>
                    <a:pt x="289" y="176"/>
                  </a:cubicBezTo>
                  <a:cubicBezTo>
                    <a:pt x="289" y="181"/>
                    <a:pt x="293" y="184"/>
                    <a:pt x="297" y="184"/>
                  </a:cubicBezTo>
                  <a:cubicBezTo>
                    <a:pt x="302" y="184"/>
                    <a:pt x="305" y="181"/>
                    <a:pt x="305" y="176"/>
                  </a:cubicBezTo>
                  <a:cubicBezTo>
                    <a:pt x="305" y="172"/>
                    <a:pt x="302" y="168"/>
                    <a:pt x="297" y="168"/>
                  </a:cubicBezTo>
                  <a:moveTo>
                    <a:pt x="121" y="274"/>
                  </a:moveTo>
                  <a:cubicBezTo>
                    <a:pt x="117" y="271"/>
                    <a:pt x="112" y="273"/>
                    <a:pt x="110" y="277"/>
                  </a:cubicBezTo>
                  <a:cubicBezTo>
                    <a:pt x="107" y="280"/>
                    <a:pt x="109" y="285"/>
                    <a:pt x="113" y="288"/>
                  </a:cubicBezTo>
                  <a:cubicBezTo>
                    <a:pt x="116" y="290"/>
                    <a:pt x="121" y="289"/>
                    <a:pt x="124" y="285"/>
                  </a:cubicBezTo>
                  <a:cubicBezTo>
                    <a:pt x="126" y="281"/>
                    <a:pt x="124" y="276"/>
                    <a:pt x="121" y="274"/>
                  </a:cubicBezTo>
                  <a:moveTo>
                    <a:pt x="69" y="230"/>
                  </a:moveTo>
                  <a:cubicBezTo>
                    <a:pt x="65" y="232"/>
                    <a:pt x="63" y="237"/>
                    <a:pt x="66" y="241"/>
                  </a:cubicBezTo>
                  <a:cubicBezTo>
                    <a:pt x="68" y="244"/>
                    <a:pt x="73" y="246"/>
                    <a:pt x="77" y="244"/>
                  </a:cubicBezTo>
                  <a:cubicBezTo>
                    <a:pt x="80" y="241"/>
                    <a:pt x="82" y="236"/>
                    <a:pt x="80" y="233"/>
                  </a:cubicBezTo>
                  <a:cubicBezTo>
                    <a:pt x="77" y="229"/>
                    <a:pt x="72" y="227"/>
                    <a:pt x="69" y="230"/>
                  </a:cubicBezTo>
                  <a:moveTo>
                    <a:pt x="113" y="65"/>
                  </a:moveTo>
                  <a:cubicBezTo>
                    <a:pt x="109" y="67"/>
                    <a:pt x="107" y="72"/>
                    <a:pt x="110" y="76"/>
                  </a:cubicBezTo>
                  <a:cubicBezTo>
                    <a:pt x="112" y="80"/>
                    <a:pt x="117" y="81"/>
                    <a:pt x="121" y="79"/>
                  </a:cubicBezTo>
                  <a:cubicBezTo>
                    <a:pt x="124" y="77"/>
                    <a:pt x="126" y="72"/>
                    <a:pt x="124" y="68"/>
                  </a:cubicBezTo>
                  <a:cubicBezTo>
                    <a:pt x="121" y="64"/>
                    <a:pt x="116" y="63"/>
                    <a:pt x="113" y="65"/>
                  </a:cubicBezTo>
                  <a:moveTo>
                    <a:pt x="56" y="168"/>
                  </a:moveTo>
                  <a:cubicBezTo>
                    <a:pt x="52" y="168"/>
                    <a:pt x="48" y="172"/>
                    <a:pt x="48" y="176"/>
                  </a:cubicBezTo>
                  <a:cubicBezTo>
                    <a:pt x="48" y="181"/>
                    <a:pt x="52" y="184"/>
                    <a:pt x="56" y="184"/>
                  </a:cubicBezTo>
                  <a:cubicBezTo>
                    <a:pt x="61" y="184"/>
                    <a:pt x="64" y="181"/>
                    <a:pt x="64" y="176"/>
                  </a:cubicBezTo>
                  <a:cubicBezTo>
                    <a:pt x="64" y="172"/>
                    <a:pt x="61" y="168"/>
                    <a:pt x="56" y="168"/>
                  </a:cubicBezTo>
                  <a:moveTo>
                    <a:pt x="233" y="79"/>
                  </a:moveTo>
                  <a:cubicBezTo>
                    <a:pt x="237" y="81"/>
                    <a:pt x="242" y="80"/>
                    <a:pt x="244" y="76"/>
                  </a:cubicBezTo>
                  <a:cubicBezTo>
                    <a:pt x="246" y="72"/>
                    <a:pt x="245" y="67"/>
                    <a:pt x="241" y="65"/>
                  </a:cubicBezTo>
                  <a:cubicBezTo>
                    <a:pt x="237" y="63"/>
                    <a:pt x="232" y="64"/>
                    <a:pt x="230" y="68"/>
                  </a:cubicBezTo>
                  <a:cubicBezTo>
                    <a:pt x="228" y="72"/>
                    <a:pt x="229" y="77"/>
                    <a:pt x="233" y="79"/>
                  </a:cubicBezTo>
                  <a:moveTo>
                    <a:pt x="77" y="109"/>
                  </a:moveTo>
                  <a:cubicBezTo>
                    <a:pt x="73" y="107"/>
                    <a:pt x="68" y="108"/>
                    <a:pt x="66" y="112"/>
                  </a:cubicBezTo>
                  <a:cubicBezTo>
                    <a:pt x="63" y="116"/>
                    <a:pt x="65" y="121"/>
                    <a:pt x="69" y="123"/>
                  </a:cubicBezTo>
                  <a:cubicBezTo>
                    <a:pt x="72" y="125"/>
                    <a:pt x="77" y="124"/>
                    <a:pt x="80" y="120"/>
                  </a:cubicBezTo>
                  <a:cubicBezTo>
                    <a:pt x="82" y="116"/>
                    <a:pt x="80" y="111"/>
                    <a:pt x="77" y="109"/>
                  </a:cubicBezTo>
                  <a:moveTo>
                    <a:pt x="285" y="230"/>
                  </a:moveTo>
                  <a:cubicBezTo>
                    <a:pt x="281" y="227"/>
                    <a:pt x="276" y="229"/>
                    <a:pt x="274" y="233"/>
                  </a:cubicBezTo>
                  <a:cubicBezTo>
                    <a:pt x="272" y="236"/>
                    <a:pt x="273" y="241"/>
                    <a:pt x="277" y="244"/>
                  </a:cubicBezTo>
                  <a:cubicBezTo>
                    <a:pt x="281" y="246"/>
                    <a:pt x="286" y="244"/>
                    <a:pt x="288" y="241"/>
                  </a:cubicBezTo>
                  <a:cubicBezTo>
                    <a:pt x="290" y="237"/>
                    <a:pt x="289" y="232"/>
                    <a:pt x="285" y="230"/>
                  </a:cubicBezTo>
                  <a:moveTo>
                    <a:pt x="177" y="289"/>
                  </a:moveTo>
                  <a:cubicBezTo>
                    <a:pt x="172" y="289"/>
                    <a:pt x="169" y="292"/>
                    <a:pt x="169" y="297"/>
                  </a:cubicBezTo>
                  <a:cubicBezTo>
                    <a:pt x="169" y="301"/>
                    <a:pt x="172" y="305"/>
                    <a:pt x="177" y="305"/>
                  </a:cubicBezTo>
                  <a:cubicBezTo>
                    <a:pt x="181" y="305"/>
                    <a:pt x="185" y="301"/>
                    <a:pt x="185" y="297"/>
                  </a:cubicBezTo>
                  <a:cubicBezTo>
                    <a:pt x="185" y="292"/>
                    <a:pt x="181" y="289"/>
                    <a:pt x="177" y="289"/>
                  </a:cubicBezTo>
                  <a:moveTo>
                    <a:pt x="277" y="109"/>
                  </a:moveTo>
                  <a:cubicBezTo>
                    <a:pt x="273" y="111"/>
                    <a:pt x="272" y="116"/>
                    <a:pt x="274" y="120"/>
                  </a:cubicBezTo>
                  <a:cubicBezTo>
                    <a:pt x="276" y="124"/>
                    <a:pt x="281" y="125"/>
                    <a:pt x="285" y="123"/>
                  </a:cubicBezTo>
                  <a:cubicBezTo>
                    <a:pt x="289" y="121"/>
                    <a:pt x="290" y="116"/>
                    <a:pt x="288" y="112"/>
                  </a:cubicBezTo>
                  <a:cubicBezTo>
                    <a:pt x="286" y="108"/>
                    <a:pt x="281" y="107"/>
                    <a:pt x="277" y="109"/>
                  </a:cubicBezTo>
                  <a:moveTo>
                    <a:pt x="249" y="168"/>
                  </a:moveTo>
                  <a:cubicBezTo>
                    <a:pt x="208" y="168"/>
                    <a:pt x="208" y="168"/>
                    <a:pt x="208" y="168"/>
                  </a:cubicBezTo>
                  <a:cubicBezTo>
                    <a:pt x="205" y="157"/>
                    <a:pt x="196" y="148"/>
                    <a:pt x="185" y="145"/>
                  </a:cubicBezTo>
                  <a:cubicBezTo>
                    <a:pt x="185" y="56"/>
                    <a:pt x="185" y="56"/>
                    <a:pt x="185" y="56"/>
                  </a:cubicBezTo>
                  <a:cubicBezTo>
                    <a:pt x="185" y="52"/>
                    <a:pt x="181" y="48"/>
                    <a:pt x="177" y="48"/>
                  </a:cubicBezTo>
                  <a:cubicBezTo>
                    <a:pt x="172" y="48"/>
                    <a:pt x="169" y="52"/>
                    <a:pt x="169" y="56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55" y="149"/>
                    <a:pt x="145" y="161"/>
                    <a:pt x="145" y="176"/>
                  </a:cubicBezTo>
                  <a:cubicBezTo>
                    <a:pt x="145" y="194"/>
                    <a:pt x="159" y="208"/>
                    <a:pt x="177" y="208"/>
                  </a:cubicBezTo>
                  <a:cubicBezTo>
                    <a:pt x="192" y="208"/>
                    <a:pt x="204" y="198"/>
                    <a:pt x="208" y="184"/>
                  </a:cubicBezTo>
                  <a:cubicBezTo>
                    <a:pt x="249" y="184"/>
                    <a:pt x="249" y="184"/>
                    <a:pt x="249" y="184"/>
                  </a:cubicBezTo>
                  <a:cubicBezTo>
                    <a:pt x="254" y="184"/>
                    <a:pt x="257" y="181"/>
                    <a:pt x="257" y="176"/>
                  </a:cubicBezTo>
                  <a:cubicBezTo>
                    <a:pt x="257" y="172"/>
                    <a:pt x="254" y="168"/>
                    <a:pt x="249" y="168"/>
                  </a:cubicBezTo>
                  <a:moveTo>
                    <a:pt x="177" y="192"/>
                  </a:moveTo>
                  <a:cubicBezTo>
                    <a:pt x="168" y="192"/>
                    <a:pt x="161" y="185"/>
                    <a:pt x="161" y="176"/>
                  </a:cubicBezTo>
                  <a:cubicBezTo>
                    <a:pt x="161" y="168"/>
                    <a:pt x="168" y="160"/>
                    <a:pt x="177" y="160"/>
                  </a:cubicBezTo>
                  <a:cubicBezTo>
                    <a:pt x="186" y="160"/>
                    <a:pt x="193" y="168"/>
                    <a:pt x="193" y="176"/>
                  </a:cubicBezTo>
                  <a:cubicBezTo>
                    <a:pt x="193" y="185"/>
                    <a:pt x="186" y="192"/>
                    <a:pt x="177" y="192"/>
                  </a:cubicBezTo>
                  <a:moveTo>
                    <a:pt x="233" y="274"/>
                  </a:moveTo>
                  <a:cubicBezTo>
                    <a:pt x="229" y="276"/>
                    <a:pt x="228" y="281"/>
                    <a:pt x="230" y="285"/>
                  </a:cubicBezTo>
                  <a:cubicBezTo>
                    <a:pt x="232" y="289"/>
                    <a:pt x="237" y="290"/>
                    <a:pt x="241" y="288"/>
                  </a:cubicBezTo>
                  <a:cubicBezTo>
                    <a:pt x="245" y="285"/>
                    <a:pt x="246" y="280"/>
                    <a:pt x="244" y="277"/>
                  </a:cubicBezTo>
                  <a:cubicBezTo>
                    <a:pt x="242" y="273"/>
                    <a:pt x="237" y="271"/>
                    <a:pt x="233" y="274"/>
                  </a:cubicBezTo>
                  <a:moveTo>
                    <a:pt x="177" y="0"/>
                  </a:moveTo>
                  <a:cubicBezTo>
                    <a:pt x="79" y="0"/>
                    <a:pt x="0" y="79"/>
                    <a:pt x="0" y="176"/>
                  </a:cubicBezTo>
                  <a:cubicBezTo>
                    <a:pt x="0" y="274"/>
                    <a:pt x="79" y="353"/>
                    <a:pt x="177" y="353"/>
                  </a:cubicBezTo>
                  <a:cubicBezTo>
                    <a:pt x="274" y="353"/>
                    <a:pt x="353" y="274"/>
                    <a:pt x="353" y="176"/>
                  </a:cubicBezTo>
                  <a:cubicBezTo>
                    <a:pt x="353" y="79"/>
                    <a:pt x="274" y="0"/>
                    <a:pt x="177" y="0"/>
                  </a:cubicBezTo>
                  <a:moveTo>
                    <a:pt x="177" y="337"/>
                  </a:moveTo>
                  <a:cubicBezTo>
                    <a:pt x="88" y="337"/>
                    <a:pt x="16" y="265"/>
                    <a:pt x="16" y="176"/>
                  </a:cubicBezTo>
                  <a:cubicBezTo>
                    <a:pt x="16" y="88"/>
                    <a:pt x="88" y="16"/>
                    <a:pt x="177" y="16"/>
                  </a:cubicBezTo>
                  <a:cubicBezTo>
                    <a:pt x="266" y="16"/>
                    <a:pt x="337" y="88"/>
                    <a:pt x="337" y="176"/>
                  </a:cubicBezTo>
                  <a:cubicBezTo>
                    <a:pt x="337" y="265"/>
                    <a:pt x="266" y="337"/>
                    <a:pt x="177" y="3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10701" y="3115456"/>
            <a:ext cx="1291574" cy="1162329"/>
            <a:chOff x="610701" y="3115456"/>
            <a:chExt cx="1291574" cy="1162329"/>
          </a:xfrm>
        </p:grpSpPr>
        <p:sp>
          <p:nvSpPr>
            <p:cNvPr id="21" name="Oval 20"/>
            <p:cNvSpPr/>
            <p:nvPr/>
          </p:nvSpPr>
          <p:spPr>
            <a:xfrm>
              <a:off x="958671" y="3115456"/>
              <a:ext cx="595634" cy="59563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610701" y="4014893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610701" y="3844294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sucess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2" name="Freeform 54"/>
            <p:cNvSpPr>
              <a:spLocks noEditPoints="1"/>
            </p:cNvSpPr>
            <p:nvPr/>
          </p:nvSpPr>
          <p:spPr bwMode="auto">
            <a:xfrm>
              <a:off x="1119683" y="3279864"/>
              <a:ext cx="273610" cy="266816"/>
            </a:xfrm>
            <a:custGeom>
              <a:avLst/>
              <a:gdLst>
                <a:gd name="T0" fmla="*/ 337 w 362"/>
                <a:gd name="T1" fmla="*/ 0 h 353"/>
                <a:gd name="T2" fmla="*/ 111 w 362"/>
                <a:gd name="T3" fmla="*/ 129 h 353"/>
                <a:gd name="T4" fmla="*/ 81 w 362"/>
                <a:gd name="T5" fmla="*/ 196 h 353"/>
                <a:gd name="T6" fmla="*/ 144 w 362"/>
                <a:gd name="T7" fmla="*/ 274 h 353"/>
                <a:gd name="T8" fmla="*/ 179 w 362"/>
                <a:gd name="T9" fmla="*/ 333 h 353"/>
                <a:gd name="T10" fmla="*/ 281 w 362"/>
                <a:gd name="T11" fmla="*/ 186 h 353"/>
                <a:gd name="T12" fmla="*/ 209 w 362"/>
                <a:gd name="T13" fmla="*/ 238 h 353"/>
                <a:gd name="T14" fmla="*/ 171 w 362"/>
                <a:gd name="T15" fmla="*/ 263 h 353"/>
                <a:gd name="T16" fmla="*/ 154 w 362"/>
                <a:gd name="T17" fmla="*/ 256 h 353"/>
                <a:gd name="T18" fmla="*/ 111 w 362"/>
                <a:gd name="T19" fmla="*/ 242 h 353"/>
                <a:gd name="T20" fmla="*/ 90 w 362"/>
                <a:gd name="T21" fmla="*/ 182 h 353"/>
                <a:gd name="T22" fmla="*/ 115 w 362"/>
                <a:gd name="T23" fmla="*/ 144 h 353"/>
                <a:gd name="T24" fmla="*/ 209 w 362"/>
                <a:gd name="T25" fmla="*/ 237 h 353"/>
                <a:gd name="T26" fmla="*/ 270 w 362"/>
                <a:gd name="T27" fmla="*/ 174 h 353"/>
                <a:gd name="T28" fmla="*/ 220 w 362"/>
                <a:gd name="T29" fmla="*/ 225 h 353"/>
                <a:gd name="T30" fmla="*/ 164 w 362"/>
                <a:gd name="T31" fmla="*/ 97 h 353"/>
                <a:gd name="T32" fmla="*/ 337 w 362"/>
                <a:gd name="T33" fmla="*/ 16 h 353"/>
                <a:gd name="T34" fmla="*/ 62 w 362"/>
                <a:gd name="T35" fmla="*/ 197 h 353"/>
                <a:gd name="T36" fmla="*/ 156 w 362"/>
                <a:gd name="T37" fmla="*/ 291 h 353"/>
                <a:gd name="T38" fmla="*/ 62 w 362"/>
                <a:gd name="T39" fmla="*/ 197 h 353"/>
                <a:gd name="T40" fmla="*/ 58 w 362"/>
                <a:gd name="T41" fmla="*/ 252 h 353"/>
                <a:gd name="T42" fmla="*/ 101 w 362"/>
                <a:gd name="T43" fmla="*/ 295 h 353"/>
                <a:gd name="T44" fmla="*/ 168 w 362"/>
                <a:gd name="T45" fmla="*/ 128 h 353"/>
                <a:gd name="T46" fmla="*/ 168 w 362"/>
                <a:gd name="T47" fmla="*/ 145 h 353"/>
                <a:gd name="T48" fmla="*/ 168 w 362"/>
                <a:gd name="T49" fmla="*/ 128 h 353"/>
                <a:gd name="T50" fmla="*/ 225 w 362"/>
                <a:gd name="T51" fmla="*/ 185 h 353"/>
                <a:gd name="T52" fmla="*/ 209 w 362"/>
                <a:gd name="T53" fmla="*/ 185 h 353"/>
                <a:gd name="T54" fmla="*/ 265 w 362"/>
                <a:gd name="T55" fmla="*/ 112 h 353"/>
                <a:gd name="T56" fmla="*/ 265 w 362"/>
                <a:gd name="T57" fmla="*/ 64 h 353"/>
                <a:gd name="T58" fmla="*/ 265 w 362"/>
                <a:gd name="T59" fmla="*/ 112 h 353"/>
                <a:gd name="T60" fmla="*/ 273 w 362"/>
                <a:gd name="T61" fmla="*/ 88 h 353"/>
                <a:gd name="T62" fmla="*/ 257 w 362"/>
                <a:gd name="T63" fmla="*/ 88 h 353"/>
                <a:gd name="T64" fmla="*/ 193 w 362"/>
                <a:gd name="T65" fmla="*/ 169 h 353"/>
                <a:gd name="T66" fmla="*/ 193 w 362"/>
                <a:gd name="T67" fmla="*/ 153 h 353"/>
                <a:gd name="T68" fmla="*/ 193 w 362"/>
                <a:gd name="T69" fmla="*/ 16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53">
                  <a:moveTo>
                    <a:pt x="350" y="3"/>
                  </a:moveTo>
                  <a:cubicBezTo>
                    <a:pt x="348" y="1"/>
                    <a:pt x="344" y="0"/>
                    <a:pt x="337" y="0"/>
                  </a:cubicBezTo>
                  <a:cubicBezTo>
                    <a:pt x="304" y="0"/>
                    <a:pt x="215" y="25"/>
                    <a:pt x="168" y="72"/>
                  </a:cubicBezTo>
                  <a:cubicBezTo>
                    <a:pt x="156" y="83"/>
                    <a:pt x="119" y="117"/>
                    <a:pt x="111" y="129"/>
                  </a:cubicBezTo>
                  <a:cubicBezTo>
                    <a:pt x="83" y="136"/>
                    <a:pt x="43" y="152"/>
                    <a:pt x="20" y="174"/>
                  </a:cubicBezTo>
                  <a:cubicBezTo>
                    <a:pt x="20" y="174"/>
                    <a:pt x="48" y="174"/>
                    <a:pt x="81" y="196"/>
                  </a:cubicBezTo>
                  <a:cubicBezTo>
                    <a:pt x="76" y="216"/>
                    <a:pt x="82" y="237"/>
                    <a:pt x="99" y="254"/>
                  </a:cubicBezTo>
                  <a:cubicBezTo>
                    <a:pt x="113" y="267"/>
                    <a:pt x="128" y="274"/>
                    <a:pt x="144" y="274"/>
                  </a:cubicBezTo>
                  <a:cubicBezTo>
                    <a:pt x="149" y="274"/>
                    <a:pt x="153" y="273"/>
                    <a:pt x="157" y="272"/>
                  </a:cubicBezTo>
                  <a:cubicBezTo>
                    <a:pt x="179" y="306"/>
                    <a:pt x="179" y="333"/>
                    <a:pt x="179" y="333"/>
                  </a:cubicBezTo>
                  <a:cubicBezTo>
                    <a:pt x="202" y="311"/>
                    <a:pt x="217" y="270"/>
                    <a:pt x="224" y="242"/>
                  </a:cubicBezTo>
                  <a:cubicBezTo>
                    <a:pt x="236" y="234"/>
                    <a:pt x="270" y="197"/>
                    <a:pt x="281" y="186"/>
                  </a:cubicBezTo>
                  <a:cubicBezTo>
                    <a:pt x="338" y="129"/>
                    <a:pt x="362" y="14"/>
                    <a:pt x="350" y="3"/>
                  </a:cubicBezTo>
                  <a:moveTo>
                    <a:pt x="209" y="238"/>
                  </a:moveTo>
                  <a:cubicBezTo>
                    <a:pt x="203" y="260"/>
                    <a:pt x="195" y="279"/>
                    <a:pt x="187" y="295"/>
                  </a:cubicBezTo>
                  <a:cubicBezTo>
                    <a:pt x="183" y="285"/>
                    <a:pt x="178" y="275"/>
                    <a:pt x="171" y="263"/>
                  </a:cubicBezTo>
                  <a:cubicBezTo>
                    <a:pt x="168" y="259"/>
                    <a:pt x="163" y="256"/>
                    <a:pt x="157" y="256"/>
                  </a:cubicBezTo>
                  <a:cubicBezTo>
                    <a:pt x="156" y="256"/>
                    <a:pt x="155" y="256"/>
                    <a:pt x="154" y="256"/>
                  </a:cubicBezTo>
                  <a:cubicBezTo>
                    <a:pt x="150" y="257"/>
                    <a:pt x="147" y="258"/>
                    <a:pt x="144" y="258"/>
                  </a:cubicBezTo>
                  <a:cubicBezTo>
                    <a:pt x="132" y="258"/>
                    <a:pt x="121" y="252"/>
                    <a:pt x="111" y="242"/>
                  </a:cubicBezTo>
                  <a:cubicBezTo>
                    <a:pt x="98" y="230"/>
                    <a:pt x="93" y="214"/>
                    <a:pt x="97" y="200"/>
                  </a:cubicBezTo>
                  <a:cubicBezTo>
                    <a:pt x="98" y="193"/>
                    <a:pt x="96" y="186"/>
                    <a:pt x="90" y="182"/>
                  </a:cubicBezTo>
                  <a:cubicBezTo>
                    <a:pt x="79" y="175"/>
                    <a:pt x="68" y="170"/>
                    <a:pt x="58" y="167"/>
                  </a:cubicBezTo>
                  <a:cubicBezTo>
                    <a:pt x="74" y="158"/>
                    <a:pt x="94" y="150"/>
                    <a:pt x="115" y="144"/>
                  </a:cubicBezTo>
                  <a:cubicBezTo>
                    <a:pt x="116" y="144"/>
                    <a:pt x="116" y="144"/>
                    <a:pt x="116" y="144"/>
                  </a:cubicBezTo>
                  <a:cubicBezTo>
                    <a:pt x="209" y="237"/>
                    <a:pt x="209" y="237"/>
                    <a:pt x="209" y="237"/>
                  </a:cubicBezTo>
                  <a:cubicBezTo>
                    <a:pt x="209" y="237"/>
                    <a:pt x="209" y="238"/>
                    <a:pt x="209" y="238"/>
                  </a:cubicBezTo>
                  <a:moveTo>
                    <a:pt x="270" y="174"/>
                  </a:moveTo>
                  <a:cubicBezTo>
                    <a:pt x="267" y="177"/>
                    <a:pt x="262" y="183"/>
                    <a:pt x="256" y="189"/>
                  </a:cubicBezTo>
                  <a:cubicBezTo>
                    <a:pt x="245" y="200"/>
                    <a:pt x="230" y="216"/>
                    <a:pt x="220" y="225"/>
                  </a:cubicBezTo>
                  <a:cubicBezTo>
                    <a:pt x="128" y="133"/>
                    <a:pt x="128" y="133"/>
                    <a:pt x="128" y="133"/>
                  </a:cubicBezTo>
                  <a:cubicBezTo>
                    <a:pt x="137" y="124"/>
                    <a:pt x="154" y="108"/>
                    <a:pt x="164" y="97"/>
                  </a:cubicBezTo>
                  <a:cubicBezTo>
                    <a:pt x="171" y="92"/>
                    <a:pt x="176" y="87"/>
                    <a:pt x="179" y="83"/>
                  </a:cubicBezTo>
                  <a:cubicBezTo>
                    <a:pt x="222" y="40"/>
                    <a:pt x="306" y="16"/>
                    <a:pt x="337" y="16"/>
                  </a:cubicBezTo>
                  <a:cubicBezTo>
                    <a:pt x="337" y="42"/>
                    <a:pt x="315" y="129"/>
                    <a:pt x="270" y="174"/>
                  </a:cubicBezTo>
                  <a:moveTo>
                    <a:pt x="62" y="197"/>
                  </a:moveTo>
                  <a:cubicBezTo>
                    <a:pt x="0" y="353"/>
                    <a:pt x="0" y="353"/>
                    <a:pt x="0" y="353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3" y="291"/>
                    <a:pt x="150" y="291"/>
                    <a:pt x="148" y="291"/>
                  </a:cubicBezTo>
                  <a:cubicBezTo>
                    <a:pt x="100" y="291"/>
                    <a:pt x="57" y="245"/>
                    <a:pt x="62" y="197"/>
                  </a:cubicBezTo>
                  <a:moveTo>
                    <a:pt x="29" y="324"/>
                  </a:moveTo>
                  <a:cubicBezTo>
                    <a:pt x="58" y="252"/>
                    <a:pt x="58" y="252"/>
                    <a:pt x="58" y="252"/>
                  </a:cubicBezTo>
                  <a:cubicBezTo>
                    <a:pt x="62" y="259"/>
                    <a:pt x="67" y="266"/>
                    <a:pt x="72" y="272"/>
                  </a:cubicBezTo>
                  <a:cubicBezTo>
                    <a:pt x="81" y="282"/>
                    <a:pt x="91" y="290"/>
                    <a:pt x="101" y="295"/>
                  </a:cubicBezTo>
                  <a:lnTo>
                    <a:pt x="29" y="324"/>
                  </a:lnTo>
                  <a:close/>
                  <a:moveTo>
                    <a:pt x="168" y="128"/>
                  </a:moveTo>
                  <a:cubicBezTo>
                    <a:pt x="164" y="128"/>
                    <a:pt x="160" y="132"/>
                    <a:pt x="160" y="136"/>
                  </a:cubicBezTo>
                  <a:cubicBezTo>
                    <a:pt x="160" y="141"/>
                    <a:pt x="164" y="145"/>
                    <a:pt x="168" y="145"/>
                  </a:cubicBezTo>
                  <a:cubicBezTo>
                    <a:pt x="173" y="145"/>
                    <a:pt x="176" y="141"/>
                    <a:pt x="176" y="136"/>
                  </a:cubicBezTo>
                  <a:cubicBezTo>
                    <a:pt x="176" y="132"/>
                    <a:pt x="173" y="128"/>
                    <a:pt x="168" y="128"/>
                  </a:cubicBezTo>
                  <a:moveTo>
                    <a:pt x="217" y="193"/>
                  </a:moveTo>
                  <a:cubicBezTo>
                    <a:pt x="221" y="193"/>
                    <a:pt x="225" y="189"/>
                    <a:pt x="225" y="185"/>
                  </a:cubicBezTo>
                  <a:cubicBezTo>
                    <a:pt x="225" y="180"/>
                    <a:pt x="221" y="177"/>
                    <a:pt x="217" y="177"/>
                  </a:cubicBezTo>
                  <a:cubicBezTo>
                    <a:pt x="212" y="177"/>
                    <a:pt x="209" y="180"/>
                    <a:pt x="209" y="185"/>
                  </a:cubicBezTo>
                  <a:cubicBezTo>
                    <a:pt x="209" y="189"/>
                    <a:pt x="212" y="193"/>
                    <a:pt x="217" y="193"/>
                  </a:cubicBezTo>
                  <a:moveTo>
                    <a:pt x="265" y="112"/>
                  </a:moveTo>
                  <a:cubicBezTo>
                    <a:pt x="278" y="112"/>
                    <a:pt x="289" y="102"/>
                    <a:pt x="289" y="88"/>
                  </a:cubicBezTo>
                  <a:cubicBezTo>
                    <a:pt x="289" y="75"/>
                    <a:pt x="278" y="64"/>
                    <a:pt x="265" y="64"/>
                  </a:cubicBezTo>
                  <a:cubicBezTo>
                    <a:pt x="251" y="64"/>
                    <a:pt x="241" y="75"/>
                    <a:pt x="241" y="88"/>
                  </a:cubicBezTo>
                  <a:cubicBezTo>
                    <a:pt x="241" y="102"/>
                    <a:pt x="251" y="112"/>
                    <a:pt x="265" y="112"/>
                  </a:cubicBezTo>
                  <a:moveTo>
                    <a:pt x="265" y="80"/>
                  </a:moveTo>
                  <a:cubicBezTo>
                    <a:pt x="269" y="80"/>
                    <a:pt x="273" y="84"/>
                    <a:pt x="273" y="88"/>
                  </a:cubicBezTo>
                  <a:cubicBezTo>
                    <a:pt x="273" y="93"/>
                    <a:pt x="269" y="96"/>
                    <a:pt x="265" y="96"/>
                  </a:cubicBezTo>
                  <a:cubicBezTo>
                    <a:pt x="260" y="96"/>
                    <a:pt x="257" y="93"/>
                    <a:pt x="257" y="88"/>
                  </a:cubicBezTo>
                  <a:cubicBezTo>
                    <a:pt x="257" y="84"/>
                    <a:pt x="260" y="80"/>
                    <a:pt x="265" y="80"/>
                  </a:cubicBezTo>
                  <a:moveTo>
                    <a:pt x="193" y="169"/>
                  </a:moveTo>
                  <a:cubicBezTo>
                    <a:pt x="197" y="169"/>
                    <a:pt x="201" y="165"/>
                    <a:pt x="201" y="161"/>
                  </a:cubicBezTo>
                  <a:cubicBezTo>
                    <a:pt x="201" y="156"/>
                    <a:pt x="197" y="153"/>
                    <a:pt x="193" y="153"/>
                  </a:cubicBezTo>
                  <a:cubicBezTo>
                    <a:pt x="188" y="153"/>
                    <a:pt x="185" y="156"/>
                    <a:pt x="185" y="161"/>
                  </a:cubicBezTo>
                  <a:cubicBezTo>
                    <a:pt x="185" y="165"/>
                    <a:pt x="188" y="169"/>
                    <a:pt x="193" y="16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505489" y="3150007"/>
            <a:ext cx="1291574" cy="1127778"/>
            <a:chOff x="4505489" y="3150007"/>
            <a:chExt cx="1291574" cy="1127778"/>
          </a:xfrm>
        </p:grpSpPr>
        <p:sp>
          <p:nvSpPr>
            <p:cNvPr id="23" name="Oval 22"/>
            <p:cNvSpPr/>
            <p:nvPr/>
          </p:nvSpPr>
          <p:spPr>
            <a:xfrm>
              <a:off x="4888010" y="3150007"/>
              <a:ext cx="526532" cy="526530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4505489" y="4014893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505489" y="3844294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verba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3" name="Freeform 43"/>
            <p:cNvSpPr>
              <a:spLocks noEditPoints="1"/>
            </p:cNvSpPr>
            <p:nvPr/>
          </p:nvSpPr>
          <p:spPr bwMode="auto">
            <a:xfrm>
              <a:off x="5018353" y="3340504"/>
              <a:ext cx="265846" cy="145536"/>
            </a:xfrm>
            <a:custGeom>
              <a:avLst/>
              <a:gdLst>
                <a:gd name="T0" fmla="*/ 72 w 353"/>
                <a:gd name="T1" fmla="*/ 32 h 193"/>
                <a:gd name="T2" fmla="*/ 72 w 353"/>
                <a:gd name="T3" fmla="*/ 48 h 193"/>
                <a:gd name="T4" fmla="*/ 96 w 353"/>
                <a:gd name="T5" fmla="*/ 40 h 193"/>
                <a:gd name="T6" fmla="*/ 176 w 353"/>
                <a:gd name="T7" fmla="*/ 32 h 193"/>
                <a:gd name="T8" fmla="*/ 176 w 353"/>
                <a:gd name="T9" fmla="*/ 161 h 193"/>
                <a:gd name="T10" fmla="*/ 176 w 353"/>
                <a:gd name="T11" fmla="*/ 32 h 193"/>
                <a:gd name="T12" fmla="*/ 197 w 353"/>
                <a:gd name="T13" fmla="*/ 131 h 193"/>
                <a:gd name="T14" fmla="*/ 179 w 353"/>
                <a:gd name="T15" fmla="*/ 137 h 193"/>
                <a:gd name="T16" fmla="*/ 173 w 353"/>
                <a:gd name="T17" fmla="*/ 145 h 193"/>
                <a:gd name="T18" fmla="*/ 163 w 353"/>
                <a:gd name="T19" fmla="*/ 135 h 193"/>
                <a:gd name="T20" fmla="*/ 150 w 353"/>
                <a:gd name="T21" fmla="*/ 122 h 193"/>
                <a:gd name="T22" fmla="*/ 160 w 353"/>
                <a:gd name="T23" fmla="*/ 112 h 193"/>
                <a:gd name="T24" fmla="*/ 173 w 353"/>
                <a:gd name="T25" fmla="*/ 127 h 193"/>
                <a:gd name="T26" fmla="*/ 165 w 353"/>
                <a:gd name="T27" fmla="*/ 98 h 193"/>
                <a:gd name="T28" fmla="*/ 152 w 353"/>
                <a:gd name="T29" fmla="*/ 87 h 193"/>
                <a:gd name="T30" fmla="*/ 151 w 353"/>
                <a:gd name="T31" fmla="*/ 68 h 193"/>
                <a:gd name="T32" fmla="*/ 165 w 353"/>
                <a:gd name="T33" fmla="*/ 57 h 193"/>
                <a:gd name="T34" fmla="*/ 173 w 353"/>
                <a:gd name="T35" fmla="*/ 48 h 193"/>
                <a:gd name="T36" fmla="*/ 179 w 353"/>
                <a:gd name="T37" fmla="*/ 55 h 193"/>
                <a:gd name="T38" fmla="*/ 195 w 353"/>
                <a:gd name="T39" fmla="*/ 61 h 193"/>
                <a:gd name="T40" fmla="*/ 202 w 353"/>
                <a:gd name="T41" fmla="*/ 77 h 193"/>
                <a:gd name="T42" fmla="*/ 187 w 353"/>
                <a:gd name="T43" fmla="*/ 68 h 193"/>
                <a:gd name="T44" fmla="*/ 179 w 353"/>
                <a:gd name="T45" fmla="*/ 88 h 193"/>
                <a:gd name="T46" fmla="*/ 196 w 353"/>
                <a:gd name="T47" fmla="*/ 96 h 193"/>
                <a:gd name="T48" fmla="*/ 204 w 353"/>
                <a:gd name="T49" fmla="*/ 113 h 193"/>
                <a:gd name="T50" fmla="*/ 337 w 353"/>
                <a:gd name="T51" fmla="*/ 0 h 193"/>
                <a:gd name="T52" fmla="*/ 0 w 353"/>
                <a:gd name="T53" fmla="*/ 16 h 193"/>
                <a:gd name="T54" fmla="*/ 16 w 353"/>
                <a:gd name="T55" fmla="*/ 193 h 193"/>
                <a:gd name="T56" fmla="*/ 353 w 353"/>
                <a:gd name="T57" fmla="*/ 177 h 193"/>
                <a:gd name="T58" fmla="*/ 337 w 353"/>
                <a:gd name="T59" fmla="*/ 0 h 193"/>
                <a:gd name="T60" fmla="*/ 32 w 353"/>
                <a:gd name="T61" fmla="*/ 24 h 193"/>
                <a:gd name="T62" fmla="*/ 16 w 353"/>
                <a:gd name="T63" fmla="*/ 24 h 193"/>
                <a:gd name="T64" fmla="*/ 24 w 353"/>
                <a:gd name="T65" fmla="*/ 177 h 193"/>
                <a:gd name="T66" fmla="*/ 24 w 353"/>
                <a:gd name="T67" fmla="*/ 161 h 193"/>
                <a:gd name="T68" fmla="*/ 24 w 353"/>
                <a:gd name="T69" fmla="*/ 177 h 193"/>
                <a:gd name="T70" fmla="*/ 321 w 353"/>
                <a:gd name="T71" fmla="*/ 169 h 193"/>
                <a:gd name="T72" fmla="*/ 337 w 353"/>
                <a:gd name="T73" fmla="*/ 169 h 193"/>
                <a:gd name="T74" fmla="*/ 337 w 353"/>
                <a:gd name="T75" fmla="*/ 146 h 193"/>
                <a:gd name="T76" fmla="*/ 305 w 353"/>
                <a:gd name="T77" fmla="*/ 169 h 193"/>
                <a:gd name="T78" fmla="*/ 46 w 353"/>
                <a:gd name="T79" fmla="*/ 177 h 193"/>
                <a:gd name="T80" fmla="*/ 24 w 353"/>
                <a:gd name="T81" fmla="*/ 145 h 193"/>
                <a:gd name="T82" fmla="*/ 16 w 353"/>
                <a:gd name="T83" fmla="*/ 47 h 193"/>
                <a:gd name="T84" fmla="*/ 48 w 353"/>
                <a:gd name="T85" fmla="*/ 24 h 193"/>
                <a:gd name="T86" fmla="*/ 306 w 353"/>
                <a:gd name="T87" fmla="*/ 16 h 193"/>
                <a:gd name="T88" fmla="*/ 329 w 353"/>
                <a:gd name="T89" fmla="*/ 48 h 193"/>
                <a:gd name="T90" fmla="*/ 337 w 353"/>
                <a:gd name="T91" fmla="*/ 146 h 193"/>
                <a:gd name="T92" fmla="*/ 321 w 353"/>
                <a:gd name="T93" fmla="*/ 24 h 193"/>
                <a:gd name="T94" fmla="*/ 337 w 353"/>
                <a:gd name="T95" fmla="*/ 24 h 193"/>
                <a:gd name="T96" fmla="*/ 162 w 353"/>
                <a:gd name="T97" fmla="*/ 76 h 193"/>
                <a:gd name="T98" fmla="*/ 166 w 353"/>
                <a:gd name="T99" fmla="*/ 84 h 193"/>
                <a:gd name="T100" fmla="*/ 173 w 353"/>
                <a:gd name="T101" fmla="*/ 87 h 193"/>
                <a:gd name="T102" fmla="*/ 165 w 353"/>
                <a:gd name="T103" fmla="*/ 68 h 193"/>
                <a:gd name="T104" fmla="*/ 281 w 353"/>
                <a:gd name="T105" fmla="*/ 145 h 193"/>
                <a:gd name="T106" fmla="*/ 256 w 353"/>
                <a:gd name="T107" fmla="*/ 153 h 193"/>
                <a:gd name="T108" fmla="*/ 281 w 353"/>
                <a:gd name="T109" fmla="*/ 161 h 193"/>
                <a:gd name="T110" fmla="*/ 281 w 353"/>
                <a:gd name="T111" fmla="*/ 145 h 193"/>
                <a:gd name="T112" fmla="*/ 183 w 353"/>
                <a:gd name="T113" fmla="*/ 103 h 193"/>
                <a:gd name="T114" fmla="*/ 179 w 353"/>
                <a:gd name="T115" fmla="*/ 127 h 193"/>
                <a:gd name="T116" fmla="*/ 192 w 353"/>
                <a:gd name="T117" fmla="*/ 114 h 193"/>
                <a:gd name="T118" fmla="*/ 188 w 353"/>
                <a:gd name="T119" fmla="*/ 10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3" h="193">
                  <a:moveTo>
                    <a:pt x="88" y="32"/>
                  </a:moveTo>
                  <a:cubicBezTo>
                    <a:pt x="72" y="32"/>
                    <a:pt x="72" y="32"/>
                    <a:pt x="72" y="32"/>
                  </a:cubicBezTo>
                  <a:cubicBezTo>
                    <a:pt x="67" y="32"/>
                    <a:pt x="64" y="36"/>
                    <a:pt x="64" y="40"/>
                  </a:cubicBezTo>
                  <a:cubicBezTo>
                    <a:pt x="64" y="45"/>
                    <a:pt x="67" y="48"/>
                    <a:pt x="72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92" y="48"/>
                    <a:pt x="96" y="45"/>
                    <a:pt x="96" y="40"/>
                  </a:cubicBezTo>
                  <a:cubicBezTo>
                    <a:pt x="96" y="36"/>
                    <a:pt x="92" y="32"/>
                    <a:pt x="88" y="32"/>
                  </a:cubicBezTo>
                  <a:moveTo>
                    <a:pt x="176" y="32"/>
                  </a:moveTo>
                  <a:cubicBezTo>
                    <a:pt x="141" y="32"/>
                    <a:pt x="112" y="61"/>
                    <a:pt x="112" y="96"/>
                  </a:cubicBezTo>
                  <a:cubicBezTo>
                    <a:pt x="112" y="132"/>
                    <a:pt x="141" y="161"/>
                    <a:pt x="176" y="161"/>
                  </a:cubicBezTo>
                  <a:cubicBezTo>
                    <a:pt x="212" y="161"/>
                    <a:pt x="240" y="132"/>
                    <a:pt x="240" y="96"/>
                  </a:cubicBezTo>
                  <a:cubicBezTo>
                    <a:pt x="240" y="61"/>
                    <a:pt x="212" y="32"/>
                    <a:pt x="176" y="32"/>
                  </a:cubicBezTo>
                  <a:moveTo>
                    <a:pt x="202" y="123"/>
                  </a:moveTo>
                  <a:cubicBezTo>
                    <a:pt x="201" y="126"/>
                    <a:pt x="199" y="129"/>
                    <a:pt x="197" y="131"/>
                  </a:cubicBezTo>
                  <a:cubicBezTo>
                    <a:pt x="194" y="133"/>
                    <a:pt x="192" y="134"/>
                    <a:pt x="189" y="135"/>
                  </a:cubicBezTo>
                  <a:cubicBezTo>
                    <a:pt x="185" y="136"/>
                    <a:pt x="183" y="137"/>
                    <a:pt x="179" y="137"/>
                  </a:cubicBezTo>
                  <a:cubicBezTo>
                    <a:pt x="179" y="145"/>
                    <a:pt x="179" y="145"/>
                    <a:pt x="179" y="145"/>
                  </a:cubicBezTo>
                  <a:cubicBezTo>
                    <a:pt x="173" y="145"/>
                    <a:pt x="173" y="145"/>
                    <a:pt x="173" y="145"/>
                  </a:cubicBezTo>
                  <a:cubicBezTo>
                    <a:pt x="173" y="137"/>
                    <a:pt x="173" y="137"/>
                    <a:pt x="173" y="137"/>
                  </a:cubicBezTo>
                  <a:cubicBezTo>
                    <a:pt x="169" y="137"/>
                    <a:pt x="166" y="136"/>
                    <a:pt x="163" y="135"/>
                  </a:cubicBezTo>
                  <a:cubicBezTo>
                    <a:pt x="160" y="134"/>
                    <a:pt x="157" y="132"/>
                    <a:pt x="155" y="130"/>
                  </a:cubicBezTo>
                  <a:cubicBezTo>
                    <a:pt x="153" y="128"/>
                    <a:pt x="151" y="125"/>
                    <a:pt x="150" y="122"/>
                  </a:cubicBezTo>
                  <a:cubicBezTo>
                    <a:pt x="148" y="119"/>
                    <a:pt x="148" y="116"/>
                    <a:pt x="148" y="112"/>
                  </a:cubicBezTo>
                  <a:cubicBezTo>
                    <a:pt x="160" y="112"/>
                    <a:pt x="160" y="112"/>
                    <a:pt x="160" y="112"/>
                  </a:cubicBezTo>
                  <a:cubicBezTo>
                    <a:pt x="160" y="116"/>
                    <a:pt x="161" y="120"/>
                    <a:pt x="163" y="123"/>
                  </a:cubicBezTo>
                  <a:cubicBezTo>
                    <a:pt x="165" y="126"/>
                    <a:pt x="168" y="127"/>
                    <a:pt x="173" y="127"/>
                  </a:cubicBezTo>
                  <a:cubicBezTo>
                    <a:pt x="173" y="101"/>
                    <a:pt x="173" y="101"/>
                    <a:pt x="173" y="101"/>
                  </a:cubicBezTo>
                  <a:cubicBezTo>
                    <a:pt x="170" y="100"/>
                    <a:pt x="168" y="99"/>
                    <a:pt x="165" y="98"/>
                  </a:cubicBezTo>
                  <a:cubicBezTo>
                    <a:pt x="162" y="97"/>
                    <a:pt x="160" y="95"/>
                    <a:pt x="157" y="94"/>
                  </a:cubicBezTo>
                  <a:cubicBezTo>
                    <a:pt x="155" y="92"/>
                    <a:pt x="153" y="90"/>
                    <a:pt x="152" y="87"/>
                  </a:cubicBezTo>
                  <a:cubicBezTo>
                    <a:pt x="150" y="84"/>
                    <a:pt x="149" y="81"/>
                    <a:pt x="149" y="77"/>
                  </a:cubicBezTo>
                  <a:cubicBezTo>
                    <a:pt x="149" y="73"/>
                    <a:pt x="150" y="70"/>
                    <a:pt x="151" y="68"/>
                  </a:cubicBezTo>
                  <a:cubicBezTo>
                    <a:pt x="153" y="65"/>
                    <a:pt x="155" y="63"/>
                    <a:pt x="157" y="61"/>
                  </a:cubicBezTo>
                  <a:cubicBezTo>
                    <a:pt x="159" y="59"/>
                    <a:pt x="162" y="58"/>
                    <a:pt x="165" y="57"/>
                  </a:cubicBezTo>
                  <a:cubicBezTo>
                    <a:pt x="168" y="56"/>
                    <a:pt x="170" y="55"/>
                    <a:pt x="173" y="55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79" y="48"/>
                    <a:pt x="179" y="48"/>
                    <a:pt x="179" y="48"/>
                  </a:cubicBezTo>
                  <a:cubicBezTo>
                    <a:pt x="179" y="55"/>
                    <a:pt x="179" y="55"/>
                    <a:pt x="179" y="55"/>
                  </a:cubicBezTo>
                  <a:cubicBezTo>
                    <a:pt x="183" y="55"/>
                    <a:pt x="185" y="56"/>
                    <a:pt x="188" y="57"/>
                  </a:cubicBezTo>
                  <a:cubicBezTo>
                    <a:pt x="191" y="58"/>
                    <a:pt x="193" y="59"/>
                    <a:pt x="195" y="61"/>
                  </a:cubicBezTo>
                  <a:cubicBezTo>
                    <a:pt x="197" y="62"/>
                    <a:pt x="199" y="65"/>
                    <a:pt x="200" y="67"/>
                  </a:cubicBezTo>
                  <a:cubicBezTo>
                    <a:pt x="202" y="70"/>
                    <a:pt x="202" y="73"/>
                    <a:pt x="202" y="77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73"/>
                    <a:pt x="189" y="70"/>
                    <a:pt x="187" y="68"/>
                  </a:cubicBezTo>
                  <a:cubicBezTo>
                    <a:pt x="185" y="66"/>
                    <a:pt x="183" y="65"/>
                    <a:pt x="179" y="65"/>
                  </a:cubicBezTo>
                  <a:cubicBezTo>
                    <a:pt x="179" y="88"/>
                    <a:pt x="179" y="88"/>
                    <a:pt x="179" y="88"/>
                  </a:cubicBezTo>
                  <a:cubicBezTo>
                    <a:pt x="183" y="89"/>
                    <a:pt x="185" y="90"/>
                    <a:pt x="188" y="91"/>
                  </a:cubicBezTo>
                  <a:cubicBezTo>
                    <a:pt x="191" y="93"/>
                    <a:pt x="194" y="94"/>
                    <a:pt x="196" y="96"/>
                  </a:cubicBezTo>
                  <a:cubicBezTo>
                    <a:pt x="199" y="98"/>
                    <a:pt x="200" y="100"/>
                    <a:pt x="202" y="103"/>
                  </a:cubicBezTo>
                  <a:cubicBezTo>
                    <a:pt x="203" y="105"/>
                    <a:pt x="204" y="109"/>
                    <a:pt x="204" y="113"/>
                  </a:cubicBezTo>
                  <a:cubicBezTo>
                    <a:pt x="204" y="117"/>
                    <a:pt x="203" y="120"/>
                    <a:pt x="202" y="123"/>
                  </a:cubicBezTo>
                  <a:moveTo>
                    <a:pt x="337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186"/>
                    <a:pt x="7" y="193"/>
                    <a:pt x="16" y="193"/>
                  </a:cubicBezTo>
                  <a:cubicBezTo>
                    <a:pt x="337" y="193"/>
                    <a:pt x="337" y="193"/>
                    <a:pt x="337" y="193"/>
                  </a:cubicBezTo>
                  <a:cubicBezTo>
                    <a:pt x="346" y="193"/>
                    <a:pt x="353" y="186"/>
                    <a:pt x="353" y="177"/>
                  </a:cubicBezTo>
                  <a:cubicBezTo>
                    <a:pt x="353" y="16"/>
                    <a:pt x="353" y="16"/>
                    <a:pt x="353" y="16"/>
                  </a:cubicBezTo>
                  <a:cubicBezTo>
                    <a:pt x="353" y="7"/>
                    <a:pt x="346" y="0"/>
                    <a:pt x="337" y="0"/>
                  </a:cubicBezTo>
                  <a:moveTo>
                    <a:pt x="24" y="16"/>
                  </a:moveTo>
                  <a:cubicBezTo>
                    <a:pt x="28" y="16"/>
                    <a:pt x="32" y="20"/>
                    <a:pt x="32" y="24"/>
                  </a:cubicBezTo>
                  <a:cubicBezTo>
                    <a:pt x="32" y="29"/>
                    <a:pt x="28" y="32"/>
                    <a:pt x="24" y="32"/>
                  </a:cubicBezTo>
                  <a:cubicBezTo>
                    <a:pt x="19" y="32"/>
                    <a:pt x="16" y="29"/>
                    <a:pt x="16" y="24"/>
                  </a:cubicBezTo>
                  <a:cubicBezTo>
                    <a:pt x="16" y="20"/>
                    <a:pt x="19" y="16"/>
                    <a:pt x="24" y="16"/>
                  </a:cubicBezTo>
                  <a:moveTo>
                    <a:pt x="24" y="177"/>
                  </a:moveTo>
                  <a:cubicBezTo>
                    <a:pt x="19" y="177"/>
                    <a:pt x="16" y="173"/>
                    <a:pt x="16" y="169"/>
                  </a:cubicBezTo>
                  <a:cubicBezTo>
                    <a:pt x="16" y="164"/>
                    <a:pt x="19" y="161"/>
                    <a:pt x="24" y="161"/>
                  </a:cubicBezTo>
                  <a:cubicBezTo>
                    <a:pt x="28" y="161"/>
                    <a:pt x="32" y="164"/>
                    <a:pt x="32" y="169"/>
                  </a:cubicBezTo>
                  <a:cubicBezTo>
                    <a:pt x="32" y="173"/>
                    <a:pt x="28" y="177"/>
                    <a:pt x="24" y="177"/>
                  </a:cubicBezTo>
                  <a:moveTo>
                    <a:pt x="329" y="177"/>
                  </a:moveTo>
                  <a:cubicBezTo>
                    <a:pt x="324" y="177"/>
                    <a:pt x="321" y="173"/>
                    <a:pt x="321" y="169"/>
                  </a:cubicBezTo>
                  <a:cubicBezTo>
                    <a:pt x="321" y="164"/>
                    <a:pt x="324" y="161"/>
                    <a:pt x="329" y="161"/>
                  </a:cubicBezTo>
                  <a:cubicBezTo>
                    <a:pt x="333" y="161"/>
                    <a:pt x="337" y="164"/>
                    <a:pt x="337" y="169"/>
                  </a:cubicBezTo>
                  <a:cubicBezTo>
                    <a:pt x="337" y="173"/>
                    <a:pt x="333" y="177"/>
                    <a:pt x="329" y="177"/>
                  </a:cubicBezTo>
                  <a:moveTo>
                    <a:pt x="337" y="146"/>
                  </a:moveTo>
                  <a:cubicBezTo>
                    <a:pt x="334" y="145"/>
                    <a:pt x="332" y="145"/>
                    <a:pt x="329" y="145"/>
                  </a:cubicBezTo>
                  <a:cubicBezTo>
                    <a:pt x="315" y="145"/>
                    <a:pt x="305" y="155"/>
                    <a:pt x="305" y="169"/>
                  </a:cubicBezTo>
                  <a:cubicBezTo>
                    <a:pt x="305" y="171"/>
                    <a:pt x="305" y="174"/>
                    <a:pt x="306" y="177"/>
                  </a:cubicBezTo>
                  <a:cubicBezTo>
                    <a:pt x="46" y="177"/>
                    <a:pt x="46" y="177"/>
                    <a:pt x="46" y="177"/>
                  </a:cubicBezTo>
                  <a:cubicBezTo>
                    <a:pt x="47" y="174"/>
                    <a:pt x="48" y="171"/>
                    <a:pt x="48" y="169"/>
                  </a:cubicBezTo>
                  <a:cubicBezTo>
                    <a:pt x="48" y="155"/>
                    <a:pt x="37" y="145"/>
                    <a:pt x="24" y="145"/>
                  </a:cubicBezTo>
                  <a:cubicBezTo>
                    <a:pt x="21" y="145"/>
                    <a:pt x="18" y="145"/>
                    <a:pt x="16" y="14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8" y="48"/>
                    <a:pt x="21" y="48"/>
                    <a:pt x="24" y="48"/>
                  </a:cubicBezTo>
                  <a:cubicBezTo>
                    <a:pt x="37" y="48"/>
                    <a:pt x="48" y="37"/>
                    <a:pt x="48" y="24"/>
                  </a:cubicBezTo>
                  <a:cubicBezTo>
                    <a:pt x="48" y="21"/>
                    <a:pt x="47" y="19"/>
                    <a:pt x="46" y="16"/>
                  </a:cubicBezTo>
                  <a:cubicBezTo>
                    <a:pt x="306" y="16"/>
                    <a:pt x="306" y="16"/>
                    <a:pt x="306" y="16"/>
                  </a:cubicBezTo>
                  <a:cubicBezTo>
                    <a:pt x="305" y="19"/>
                    <a:pt x="305" y="21"/>
                    <a:pt x="305" y="24"/>
                  </a:cubicBezTo>
                  <a:cubicBezTo>
                    <a:pt x="305" y="37"/>
                    <a:pt x="315" y="48"/>
                    <a:pt x="329" y="48"/>
                  </a:cubicBezTo>
                  <a:cubicBezTo>
                    <a:pt x="332" y="48"/>
                    <a:pt x="334" y="48"/>
                    <a:pt x="337" y="47"/>
                  </a:cubicBezTo>
                  <a:lnTo>
                    <a:pt x="337" y="146"/>
                  </a:lnTo>
                  <a:close/>
                  <a:moveTo>
                    <a:pt x="329" y="32"/>
                  </a:moveTo>
                  <a:cubicBezTo>
                    <a:pt x="324" y="32"/>
                    <a:pt x="321" y="29"/>
                    <a:pt x="321" y="24"/>
                  </a:cubicBezTo>
                  <a:cubicBezTo>
                    <a:pt x="321" y="20"/>
                    <a:pt x="324" y="16"/>
                    <a:pt x="329" y="16"/>
                  </a:cubicBezTo>
                  <a:cubicBezTo>
                    <a:pt x="333" y="16"/>
                    <a:pt x="337" y="20"/>
                    <a:pt x="337" y="24"/>
                  </a:cubicBezTo>
                  <a:cubicBezTo>
                    <a:pt x="337" y="29"/>
                    <a:pt x="333" y="32"/>
                    <a:pt x="329" y="32"/>
                  </a:cubicBezTo>
                  <a:moveTo>
                    <a:pt x="162" y="76"/>
                  </a:moveTo>
                  <a:cubicBezTo>
                    <a:pt x="162" y="78"/>
                    <a:pt x="162" y="79"/>
                    <a:pt x="163" y="80"/>
                  </a:cubicBezTo>
                  <a:cubicBezTo>
                    <a:pt x="164" y="82"/>
                    <a:pt x="164" y="83"/>
                    <a:pt x="166" y="84"/>
                  </a:cubicBezTo>
                  <a:cubicBezTo>
                    <a:pt x="167" y="84"/>
                    <a:pt x="168" y="85"/>
                    <a:pt x="169" y="86"/>
                  </a:cubicBezTo>
                  <a:cubicBezTo>
                    <a:pt x="171" y="86"/>
                    <a:pt x="171" y="87"/>
                    <a:pt x="173" y="87"/>
                  </a:cubicBezTo>
                  <a:cubicBezTo>
                    <a:pt x="173" y="65"/>
                    <a:pt x="173" y="65"/>
                    <a:pt x="173" y="65"/>
                  </a:cubicBezTo>
                  <a:cubicBezTo>
                    <a:pt x="169" y="65"/>
                    <a:pt x="167" y="66"/>
                    <a:pt x="165" y="68"/>
                  </a:cubicBezTo>
                  <a:cubicBezTo>
                    <a:pt x="163" y="69"/>
                    <a:pt x="162" y="72"/>
                    <a:pt x="162" y="76"/>
                  </a:cubicBezTo>
                  <a:moveTo>
                    <a:pt x="281" y="145"/>
                  </a:moveTo>
                  <a:cubicBezTo>
                    <a:pt x="264" y="145"/>
                    <a:pt x="264" y="145"/>
                    <a:pt x="264" y="145"/>
                  </a:cubicBezTo>
                  <a:cubicBezTo>
                    <a:pt x="260" y="145"/>
                    <a:pt x="256" y="148"/>
                    <a:pt x="256" y="153"/>
                  </a:cubicBezTo>
                  <a:cubicBezTo>
                    <a:pt x="256" y="157"/>
                    <a:pt x="260" y="161"/>
                    <a:pt x="264" y="161"/>
                  </a:cubicBezTo>
                  <a:cubicBezTo>
                    <a:pt x="281" y="161"/>
                    <a:pt x="281" y="161"/>
                    <a:pt x="281" y="161"/>
                  </a:cubicBezTo>
                  <a:cubicBezTo>
                    <a:pt x="285" y="161"/>
                    <a:pt x="289" y="157"/>
                    <a:pt x="289" y="153"/>
                  </a:cubicBezTo>
                  <a:cubicBezTo>
                    <a:pt x="289" y="148"/>
                    <a:pt x="285" y="145"/>
                    <a:pt x="281" y="145"/>
                  </a:cubicBezTo>
                  <a:moveTo>
                    <a:pt x="188" y="106"/>
                  </a:moveTo>
                  <a:cubicBezTo>
                    <a:pt x="186" y="105"/>
                    <a:pt x="185" y="104"/>
                    <a:pt x="183" y="103"/>
                  </a:cubicBezTo>
                  <a:cubicBezTo>
                    <a:pt x="182" y="103"/>
                    <a:pt x="181" y="102"/>
                    <a:pt x="179" y="102"/>
                  </a:cubicBezTo>
                  <a:cubicBezTo>
                    <a:pt x="179" y="127"/>
                    <a:pt x="179" y="127"/>
                    <a:pt x="179" y="127"/>
                  </a:cubicBezTo>
                  <a:cubicBezTo>
                    <a:pt x="183" y="127"/>
                    <a:pt x="186" y="126"/>
                    <a:pt x="188" y="124"/>
                  </a:cubicBezTo>
                  <a:cubicBezTo>
                    <a:pt x="191" y="122"/>
                    <a:pt x="192" y="119"/>
                    <a:pt x="192" y="114"/>
                  </a:cubicBezTo>
                  <a:cubicBezTo>
                    <a:pt x="192" y="112"/>
                    <a:pt x="191" y="111"/>
                    <a:pt x="191" y="109"/>
                  </a:cubicBezTo>
                  <a:cubicBezTo>
                    <a:pt x="190" y="108"/>
                    <a:pt x="189" y="107"/>
                    <a:pt x="188" y="10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452884" y="1551517"/>
            <a:ext cx="1291574" cy="1152513"/>
            <a:chOff x="6452884" y="1551517"/>
            <a:chExt cx="1291574" cy="1152513"/>
          </a:xfrm>
        </p:grpSpPr>
        <p:sp>
          <p:nvSpPr>
            <p:cNvPr id="8" name="Oval 7"/>
            <p:cNvSpPr/>
            <p:nvPr/>
          </p:nvSpPr>
          <p:spPr>
            <a:xfrm>
              <a:off x="6800854" y="1551517"/>
              <a:ext cx="595634" cy="59563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6452884" y="2441138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452884" y="2270539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Trabalh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dur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5" name="Freeform 10"/>
            <p:cNvSpPr>
              <a:spLocks noEditPoints="1"/>
            </p:cNvSpPr>
            <p:nvPr/>
          </p:nvSpPr>
          <p:spPr bwMode="auto">
            <a:xfrm>
              <a:off x="7026388" y="1716896"/>
              <a:ext cx="144566" cy="264874"/>
            </a:xfrm>
            <a:custGeom>
              <a:avLst/>
              <a:gdLst>
                <a:gd name="T0" fmla="*/ 193 w 193"/>
                <a:gd name="T1" fmla="*/ 136 h 353"/>
                <a:gd name="T2" fmla="*/ 184 w 193"/>
                <a:gd name="T3" fmla="*/ 128 h 353"/>
                <a:gd name="T4" fmla="*/ 121 w 193"/>
                <a:gd name="T5" fmla="*/ 128 h 353"/>
                <a:gd name="T6" fmla="*/ 160 w 193"/>
                <a:gd name="T7" fmla="*/ 10 h 353"/>
                <a:gd name="T8" fmla="*/ 160 w 193"/>
                <a:gd name="T9" fmla="*/ 10 h 353"/>
                <a:gd name="T10" fmla="*/ 160 w 193"/>
                <a:gd name="T11" fmla="*/ 8 h 353"/>
                <a:gd name="T12" fmla="*/ 152 w 193"/>
                <a:gd name="T13" fmla="*/ 0 h 353"/>
                <a:gd name="T14" fmla="*/ 72 w 193"/>
                <a:gd name="T15" fmla="*/ 0 h 353"/>
                <a:gd name="T16" fmla="*/ 65 w 193"/>
                <a:gd name="T17" fmla="*/ 5 h 353"/>
                <a:gd name="T18" fmla="*/ 64 w 193"/>
                <a:gd name="T19" fmla="*/ 5 h 353"/>
                <a:gd name="T20" fmla="*/ 0 w 193"/>
                <a:gd name="T21" fmla="*/ 198 h 353"/>
                <a:gd name="T22" fmla="*/ 0 w 193"/>
                <a:gd name="T23" fmla="*/ 198 h 353"/>
                <a:gd name="T24" fmla="*/ 0 w 193"/>
                <a:gd name="T25" fmla="*/ 200 h 353"/>
                <a:gd name="T26" fmla="*/ 8 w 193"/>
                <a:gd name="T27" fmla="*/ 208 h 353"/>
                <a:gd name="T28" fmla="*/ 79 w 193"/>
                <a:gd name="T29" fmla="*/ 208 h 353"/>
                <a:gd name="T30" fmla="*/ 64 w 193"/>
                <a:gd name="T31" fmla="*/ 344 h 353"/>
                <a:gd name="T32" fmla="*/ 64 w 193"/>
                <a:gd name="T33" fmla="*/ 344 h 353"/>
                <a:gd name="T34" fmla="*/ 64 w 193"/>
                <a:gd name="T35" fmla="*/ 345 h 353"/>
                <a:gd name="T36" fmla="*/ 72 w 193"/>
                <a:gd name="T37" fmla="*/ 353 h 353"/>
                <a:gd name="T38" fmla="*/ 79 w 193"/>
                <a:gd name="T39" fmla="*/ 348 h 353"/>
                <a:gd name="T40" fmla="*/ 79 w 193"/>
                <a:gd name="T41" fmla="*/ 348 h 353"/>
                <a:gd name="T42" fmla="*/ 192 w 193"/>
                <a:gd name="T43" fmla="*/ 139 h 353"/>
                <a:gd name="T44" fmla="*/ 192 w 193"/>
                <a:gd name="T45" fmla="*/ 139 h 353"/>
                <a:gd name="T46" fmla="*/ 193 w 193"/>
                <a:gd name="T47" fmla="*/ 136 h 353"/>
                <a:gd name="T48" fmla="*/ 85 w 193"/>
                <a:gd name="T49" fmla="*/ 305 h 353"/>
                <a:gd name="T50" fmla="*/ 96 w 193"/>
                <a:gd name="T51" fmla="*/ 201 h 353"/>
                <a:gd name="T52" fmla="*/ 96 w 193"/>
                <a:gd name="T53" fmla="*/ 201 h 353"/>
                <a:gd name="T54" fmla="*/ 96 w 193"/>
                <a:gd name="T55" fmla="*/ 200 h 353"/>
                <a:gd name="T56" fmla="*/ 88 w 193"/>
                <a:gd name="T57" fmla="*/ 192 h 353"/>
                <a:gd name="T58" fmla="*/ 19 w 193"/>
                <a:gd name="T59" fmla="*/ 192 h 353"/>
                <a:gd name="T60" fmla="*/ 78 w 193"/>
                <a:gd name="T61" fmla="*/ 16 h 353"/>
                <a:gd name="T62" fmla="*/ 141 w 193"/>
                <a:gd name="T63" fmla="*/ 16 h 353"/>
                <a:gd name="T64" fmla="*/ 102 w 193"/>
                <a:gd name="T65" fmla="*/ 134 h 353"/>
                <a:gd name="T66" fmla="*/ 102 w 193"/>
                <a:gd name="T67" fmla="*/ 134 h 353"/>
                <a:gd name="T68" fmla="*/ 101 w 193"/>
                <a:gd name="T69" fmla="*/ 136 h 353"/>
                <a:gd name="T70" fmla="*/ 109 w 193"/>
                <a:gd name="T71" fmla="*/ 144 h 353"/>
                <a:gd name="T72" fmla="*/ 171 w 193"/>
                <a:gd name="T73" fmla="*/ 144 h 353"/>
                <a:gd name="T74" fmla="*/ 85 w 193"/>
                <a:gd name="T75" fmla="*/ 30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353">
                  <a:moveTo>
                    <a:pt x="193" y="136"/>
                  </a:moveTo>
                  <a:cubicBezTo>
                    <a:pt x="193" y="132"/>
                    <a:pt x="189" y="128"/>
                    <a:pt x="184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10"/>
                    <a:pt x="160" y="10"/>
                    <a:pt x="160" y="10"/>
                  </a:cubicBezTo>
                  <a:cubicBezTo>
                    <a:pt x="160" y="9"/>
                    <a:pt x="160" y="9"/>
                    <a:pt x="160" y="8"/>
                  </a:cubicBezTo>
                  <a:cubicBezTo>
                    <a:pt x="160" y="3"/>
                    <a:pt x="157" y="0"/>
                    <a:pt x="15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9" y="0"/>
                    <a:pt x="66" y="2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05"/>
                    <a:pt x="3" y="208"/>
                    <a:pt x="8" y="208"/>
                  </a:cubicBezTo>
                  <a:cubicBezTo>
                    <a:pt x="79" y="208"/>
                    <a:pt x="79" y="208"/>
                    <a:pt x="79" y="208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4"/>
                  </a:cubicBezTo>
                  <a:cubicBezTo>
                    <a:pt x="64" y="344"/>
                    <a:pt x="64" y="344"/>
                    <a:pt x="64" y="345"/>
                  </a:cubicBezTo>
                  <a:cubicBezTo>
                    <a:pt x="64" y="349"/>
                    <a:pt x="68" y="353"/>
                    <a:pt x="72" y="353"/>
                  </a:cubicBezTo>
                  <a:cubicBezTo>
                    <a:pt x="75" y="353"/>
                    <a:pt x="78" y="351"/>
                    <a:pt x="79" y="348"/>
                  </a:cubicBezTo>
                  <a:cubicBezTo>
                    <a:pt x="79" y="348"/>
                    <a:pt x="79" y="348"/>
                    <a:pt x="79" y="348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9"/>
                    <a:pt x="192" y="139"/>
                    <a:pt x="192" y="139"/>
                  </a:cubicBezTo>
                  <a:cubicBezTo>
                    <a:pt x="192" y="138"/>
                    <a:pt x="193" y="137"/>
                    <a:pt x="193" y="136"/>
                  </a:cubicBezTo>
                  <a:moveTo>
                    <a:pt x="85" y="305"/>
                  </a:move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1"/>
                  </a:cubicBezTo>
                  <a:cubicBezTo>
                    <a:pt x="96" y="201"/>
                    <a:pt x="96" y="201"/>
                    <a:pt x="96" y="200"/>
                  </a:cubicBezTo>
                  <a:cubicBezTo>
                    <a:pt x="96" y="196"/>
                    <a:pt x="93" y="192"/>
                    <a:pt x="8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2" y="134"/>
                    <a:pt x="102" y="134"/>
                  </a:cubicBezTo>
                  <a:cubicBezTo>
                    <a:pt x="102" y="134"/>
                    <a:pt x="101" y="135"/>
                    <a:pt x="101" y="136"/>
                  </a:cubicBezTo>
                  <a:cubicBezTo>
                    <a:pt x="101" y="140"/>
                    <a:pt x="105" y="144"/>
                    <a:pt x="109" y="144"/>
                  </a:cubicBezTo>
                  <a:cubicBezTo>
                    <a:pt x="171" y="144"/>
                    <a:pt x="171" y="144"/>
                    <a:pt x="171" y="144"/>
                  </a:cubicBezTo>
                  <a:lnTo>
                    <a:pt x="85" y="3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452884" y="3115456"/>
            <a:ext cx="1291574" cy="1163548"/>
            <a:chOff x="6452884" y="3115456"/>
            <a:chExt cx="1291574" cy="1163548"/>
          </a:xfrm>
        </p:grpSpPr>
        <p:sp>
          <p:nvSpPr>
            <p:cNvPr id="73" name="TextBox 72"/>
            <p:cNvSpPr txBox="1"/>
            <p:nvPr/>
          </p:nvSpPr>
          <p:spPr>
            <a:xfrm>
              <a:off x="6452884" y="4014893"/>
              <a:ext cx="1291574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6452884" y="3844294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osições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6800854" y="3115456"/>
              <a:ext cx="595634" cy="595632"/>
              <a:chOff x="6800854" y="3115456"/>
              <a:chExt cx="595634" cy="595632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6800854" y="3115456"/>
                <a:ext cx="595634" cy="595632"/>
              </a:xfrm>
              <a:prstGeom prst="ellipse">
                <a:avLst/>
              </a:prstGeom>
              <a:solidFill>
                <a:srgbClr val="EC00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 dirty="0"/>
              </a:p>
            </p:txBody>
          </p:sp>
          <p:sp>
            <p:nvSpPr>
              <p:cNvPr id="116" name="Freeform 24"/>
              <p:cNvSpPr>
                <a:spLocks noEditPoints="1"/>
              </p:cNvSpPr>
              <p:nvPr/>
            </p:nvSpPr>
            <p:spPr bwMode="auto">
              <a:xfrm>
                <a:off x="6965747" y="3279864"/>
                <a:ext cx="265848" cy="266816"/>
              </a:xfrm>
              <a:custGeom>
                <a:avLst/>
                <a:gdLst>
                  <a:gd name="T0" fmla="*/ 193 w 353"/>
                  <a:gd name="T1" fmla="*/ 96 h 353"/>
                  <a:gd name="T2" fmla="*/ 225 w 353"/>
                  <a:gd name="T3" fmla="*/ 32 h 353"/>
                  <a:gd name="T4" fmla="*/ 160 w 353"/>
                  <a:gd name="T5" fmla="*/ 0 h 353"/>
                  <a:gd name="T6" fmla="*/ 128 w 353"/>
                  <a:gd name="T7" fmla="*/ 64 h 353"/>
                  <a:gd name="T8" fmla="*/ 144 w 353"/>
                  <a:gd name="T9" fmla="*/ 32 h 353"/>
                  <a:gd name="T10" fmla="*/ 193 w 353"/>
                  <a:gd name="T11" fmla="*/ 16 h 353"/>
                  <a:gd name="T12" fmla="*/ 209 w 353"/>
                  <a:gd name="T13" fmla="*/ 64 h 353"/>
                  <a:gd name="T14" fmla="*/ 160 w 353"/>
                  <a:gd name="T15" fmla="*/ 80 h 353"/>
                  <a:gd name="T16" fmla="*/ 144 w 353"/>
                  <a:gd name="T17" fmla="*/ 32 h 353"/>
                  <a:gd name="T18" fmla="*/ 56 w 353"/>
                  <a:gd name="T19" fmla="*/ 233 h 353"/>
                  <a:gd name="T20" fmla="*/ 168 w 353"/>
                  <a:gd name="T21" fmla="*/ 176 h 353"/>
                  <a:gd name="T22" fmla="*/ 176 w 353"/>
                  <a:gd name="T23" fmla="*/ 241 h 353"/>
                  <a:gd name="T24" fmla="*/ 185 w 353"/>
                  <a:gd name="T25" fmla="*/ 176 h 353"/>
                  <a:gd name="T26" fmla="*/ 297 w 353"/>
                  <a:gd name="T27" fmla="*/ 233 h 353"/>
                  <a:gd name="T28" fmla="*/ 313 w 353"/>
                  <a:gd name="T29" fmla="*/ 233 h 353"/>
                  <a:gd name="T30" fmla="*/ 305 w 353"/>
                  <a:gd name="T31" fmla="*/ 160 h 353"/>
                  <a:gd name="T32" fmla="*/ 185 w 353"/>
                  <a:gd name="T33" fmla="*/ 120 h 353"/>
                  <a:gd name="T34" fmla="*/ 168 w 353"/>
                  <a:gd name="T35" fmla="*/ 120 h 353"/>
                  <a:gd name="T36" fmla="*/ 48 w 353"/>
                  <a:gd name="T37" fmla="*/ 160 h 353"/>
                  <a:gd name="T38" fmla="*/ 40 w 353"/>
                  <a:gd name="T39" fmla="*/ 233 h 353"/>
                  <a:gd name="T40" fmla="*/ 64 w 353"/>
                  <a:gd name="T41" fmla="*/ 257 h 353"/>
                  <a:gd name="T42" fmla="*/ 0 w 353"/>
                  <a:gd name="T43" fmla="*/ 289 h 353"/>
                  <a:gd name="T44" fmla="*/ 32 w 353"/>
                  <a:gd name="T45" fmla="*/ 353 h 353"/>
                  <a:gd name="T46" fmla="*/ 96 w 353"/>
                  <a:gd name="T47" fmla="*/ 321 h 353"/>
                  <a:gd name="T48" fmla="*/ 64 w 353"/>
                  <a:gd name="T49" fmla="*/ 257 h 353"/>
                  <a:gd name="T50" fmla="*/ 64 w 353"/>
                  <a:gd name="T51" fmla="*/ 337 h 353"/>
                  <a:gd name="T52" fmla="*/ 16 w 353"/>
                  <a:gd name="T53" fmla="*/ 321 h 353"/>
                  <a:gd name="T54" fmla="*/ 32 w 353"/>
                  <a:gd name="T55" fmla="*/ 273 h 353"/>
                  <a:gd name="T56" fmla="*/ 80 w 353"/>
                  <a:gd name="T57" fmla="*/ 289 h 353"/>
                  <a:gd name="T58" fmla="*/ 321 w 353"/>
                  <a:gd name="T59" fmla="*/ 257 h 353"/>
                  <a:gd name="T60" fmla="*/ 257 w 353"/>
                  <a:gd name="T61" fmla="*/ 289 h 353"/>
                  <a:gd name="T62" fmla="*/ 289 w 353"/>
                  <a:gd name="T63" fmla="*/ 353 h 353"/>
                  <a:gd name="T64" fmla="*/ 353 w 353"/>
                  <a:gd name="T65" fmla="*/ 321 h 353"/>
                  <a:gd name="T66" fmla="*/ 321 w 353"/>
                  <a:gd name="T67" fmla="*/ 257 h 353"/>
                  <a:gd name="T68" fmla="*/ 321 w 353"/>
                  <a:gd name="T69" fmla="*/ 337 h 353"/>
                  <a:gd name="T70" fmla="*/ 273 w 353"/>
                  <a:gd name="T71" fmla="*/ 321 h 353"/>
                  <a:gd name="T72" fmla="*/ 289 w 353"/>
                  <a:gd name="T73" fmla="*/ 273 h 353"/>
                  <a:gd name="T74" fmla="*/ 337 w 353"/>
                  <a:gd name="T75" fmla="*/ 289 h 353"/>
                  <a:gd name="T76" fmla="*/ 193 w 353"/>
                  <a:gd name="T77" fmla="*/ 257 h 353"/>
                  <a:gd name="T78" fmla="*/ 128 w 353"/>
                  <a:gd name="T79" fmla="*/ 289 h 353"/>
                  <a:gd name="T80" fmla="*/ 160 w 353"/>
                  <a:gd name="T81" fmla="*/ 353 h 353"/>
                  <a:gd name="T82" fmla="*/ 225 w 353"/>
                  <a:gd name="T83" fmla="*/ 321 h 353"/>
                  <a:gd name="T84" fmla="*/ 193 w 353"/>
                  <a:gd name="T85" fmla="*/ 257 h 353"/>
                  <a:gd name="T86" fmla="*/ 193 w 353"/>
                  <a:gd name="T87" fmla="*/ 337 h 353"/>
                  <a:gd name="T88" fmla="*/ 144 w 353"/>
                  <a:gd name="T89" fmla="*/ 321 h 353"/>
                  <a:gd name="T90" fmla="*/ 160 w 353"/>
                  <a:gd name="T91" fmla="*/ 273 h 353"/>
                  <a:gd name="T92" fmla="*/ 209 w 353"/>
                  <a:gd name="T93" fmla="*/ 289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3" h="353">
                    <a:moveTo>
                      <a:pt x="160" y="96"/>
                    </a:moveTo>
                    <a:cubicBezTo>
                      <a:pt x="193" y="96"/>
                      <a:pt x="193" y="96"/>
                      <a:pt x="193" y="96"/>
                    </a:cubicBezTo>
                    <a:cubicBezTo>
                      <a:pt x="210" y="96"/>
                      <a:pt x="225" y="82"/>
                      <a:pt x="225" y="64"/>
                    </a:cubicBezTo>
                    <a:cubicBezTo>
                      <a:pt x="225" y="32"/>
                      <a:pt x="225" y="32"/>
                      <a:pt x="225" y="32"/>
                    </a:cubicBezTo>
                    <a:cubicBezTo>
                      <a:pt x="225" y="14"/>
                      <a:pt x="210" y="0"/>
                      <a:pt x="193" y="0"/>
                    </a:cubicBezTo>
                    <a:cubicBezTo>
                      <a:pt x="160" y="0"/>
                      <a:pt x="160" y="0"/>
                      <a:pt x="160" y="0"/>
                    </a:cubicBezTo>
                    <a:cubicBezTo>
                      <a:pt x="143" y="0"/>
                      <a:pt x="128" y="14"/>
                      <a:pt x="128" y="32"/>
                    </a:cubicBezTo>
                    <a:cubicBezTo>
                      <a:pt x="128" y="64"/>
                      <a:pt x="128" y="64"/>
                      <a:pt x="128" y="64"/>
                    </a:cubicBezTo>
                    <a:cubicBezTo>
                      <a:pt x="128" y="82"/>
                      <a:pt x="143" y="96"/>
                      <a:pt x="160" y="96"/>
                    </a:cubicBezTo>
                    <a:moveTo>
                      <a:pt x="144" y="32"/>
                    </a:moveTo>
                    <a:cubicBezTo>
                      <a:pt x="144" y="23"/>
                      <a:pt x="152" y="16"/>
                      <a:pt x="160" y="16"/>
                    </a:cubicBezTo>
                    <a:cubicBezTo>
                      <a:pt x="193" y="16"/>
                      <a:pt x="193" y="16"/>
                      <a:pt x="193" y="16"/>
                    </a:cubicBezTo>
                    <a:cubicBezTo>
                      <a:pt x="201" y="16"/>
                      <a:pt x="209" y="23"/>
                      <a:pt x="209" y="32"/>
                    </a:cubicBezTo>
                    <a:cubicBezTo>
                      <a:pt x="209" y="64"/>
                      <a:pt x="209" y="64"/>
                      <a:pt x="209" y="64"/>
                    </a:cubicBezTo>
                    <a:cubicBezTo>
                      <a:pt x="209" y="73"/>
                      <a:pt x="201" y="80"/>
                      <a:pt x="193" y="80"/>
                    </a:cubicBezTo>
                    <a:cubicBezTo>
                      <a:pt x="160" y="80"/>
                      <a:pt x="160" y="80"/>
                      <a:pt x="160" y="80"/>
                    </a:cubicBezTo>
                    <a:cubicBezTo>
                      <a:pt x="152" y="80"/>
                      <a:pt x="144" y="73"/>
                      <a:pt x="144" y="64"/>
                    </a:cubicBezTo>
                    <a:lnTo>
                      <a:pt x="144" y="32"/>
                    </a:lnTo>
                    <a:close/>
                    <a:moveTo>
                      <a:pt x="48" y="241"/>
                    </a:moveTo>
                    <a:cubicBezTo>
                      <a:pt x="52" y="241"/>
                      <a:pt x="56" y="237"/>
                      <a:pt x="56" y="233"/>
                    </a:cubicBezTo>
                    <a:cubicBezTo>
                      <a:pt x="56" y="176"/>
                      <a:pt x="56" y="176"/>
                      <a:pt x="56" y="176"/>
                    </a:cubicBezTo>
                    <a:cubicBezTo>
                      <a:pt x="168" y="176"/>
                      <a:pt x="168" y="176"/>
                      <a:pt x="168" y="176"/>
                    </a:cubicBezTo>
                    <a:cubicBezTo>
                      <a:pt x="168" y="233"/>
                      <a:pt x="168" y="233"/>
                      <a:pt x="168" y="233"/>
                    </a:cubicBezTo>
                    <a:cubicBezTo>
                      <a:pt x="168" y="237"/>
                      <a:pt x="172" y="241"/>
                      <a:pt x="176" y="241"/>
                    </a:cubicBezTo>
                    <a:cubicBezTo>
                      <a:pt x="181" y="241"/>
                      <a:pt x="185" y="237"/>
                      <a:pt x="185" y="233"/>
                    </a:cubicBezTo>
                    <a:cubicBezTo>
                      <a:pt x="185" y="176"/>
                      <a:pt x="185" y="176"/>
                      <a:pt x="185" y="176"/>
                    </a:cubicBezTo>
                    <a:cubicBezTo>
                      <a:pt x="297" y="176"/>
                      <a:pt x="297" y="176"/>
                      <a:pt x="297" y="176"/>
                    </a:cubicBezTo>
                    <a:cubicBezTo>
                      <a:pt x="297" y="233"/>
                      <a:pt x="297" y="233"/>
                      <a:pt x="297" y="233"/>
                    </a:cubicBezTo>
                    <a:cubicBezTo>
                      <a:pt x="297" y="237"/>
                      <a:pt x="301" y="241"/>
                      <a:pt x="305" y="241"/>
                    </a:cubicBezTo>
                    <a:cubicBezTo>
                      <a:pt x="309" y="241"/>
                      <a:pt x="313" y="237"/>
                      <a:pt x="313" y="233"/>
                    </a:cubicBezTo>
                    <a:cubicBezTo>
                      <a:pt x="313" y="168"/>
                      <a:pt x="313" y="168"/>
                      <a:pt x="313" y="168"/>
                    </a:cubicBezTo>
                    <a:cubicBezTo>
                      <a:pt x="313" y="164"/>
                      <a:pt x="309" y="160"/>
                      <a:pt x="305" y="160"/>
                    </a:cubicBezTo>
                    <a:cubicBezTo>
                      <a:pt x="185" y="160"/>
                      <a:pt x="185" y="160"/>
                      <a:pt x="185" y="160"/>
                    </a:cubicBezTo>
                    <a:cubicBezTo>
                      <a:pt x="185" y="120"/>
                      <a:pt x="185" y="120"/>
                      <a:pt x="185" y="120"/>
                    </a:cubicBezTo>
                    <a:cubicBezTo>
                      <a:pt x="185" y="116"/>
                      <a:pt x="181" y="112"/>
                      <a:pt x="176" y="112"/>
                    </a:cubicBezTo>
                    <a:cubicBezTo>
                      <a:pt x="172" y="112"/>
                      <a:pt x="168" y="116"/>
                      <a:pt x="168" y="120"/>
                    </a:cubicBezTo>
                    <a:cubicBezTo>
                      <a:pt x="168" y="160"/>
                      <a:pt x="168" y="160"/>
                      <a:pt x="168" y="160"/>
                    </a:cubicBezTo>
                    <a:cubicBezTo>
                      <a:pt x="48" y="160"/>
                      <a:pt x="48" y="160"/>
                      <a:pt x="48" y="160"/>
                    </a:cubicBezTo>
                    <a:cubicBezTo>
                      <a:pt x="44" y="160"/>
                      <a:pt x="40" y="164"/>
                      <a:pt x="40" y="168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40" y="237"/>
                      <a:pt x="44" y="241"/>
                      <a:pt x="48" y="241"/>
                    </a:cubicBezTo>
                    <a:moveTo>
                      <a:pt x="64" y="257"/>
                    </a:moveTo>
                    <a:cubicBezTo>
                      <a:pt x="32" y="257"/>
                      <a:pt x="32" y="257"/>
                      <a:pt x="32" y="257"/>
                    </a:cubicBezTo>
                    <a:cubicBezTo>
                      <a:pt x="14" y="257"/>
                      <a:pt x="0" y="271"/>
                      <a:pt x="0" y="289"/>
                    </a:cubicBezTo>
                    <a:cubicBezTo>
                      <a:pt x="0" y="321"/>
                      <a:pt x="0" y="321"/>
                      <a:pt x="0" y="321"/>
                    </a:cubicBezTo>
                    <a:cubicBezTo>
                      <a:pt x="0" y="339"/>
                      <a:pt x="14" y="353"/>
                      <a:pt x="32" y="353"/>
                    </a:cubicBezTo>
                    <a:cubicBezTo>
                      <a:pt x="64" y="353"/>
                      <a:pt x="64" y="353"/>
                      <a:pt x="64" y="353"/>
                    </a:cubicBezTo>
                    <a:cubicBezTo>
                      <a:pt x="82" y="353"/>
                      <a:pt x="96" y="339"/>
                      <a:pt x="96" y="321"/>
                    </a:cubicBezTo>
                    <a:cubicBezTo>
                      <a:pt x="96" y="289"/>
                      <a:pt x="96" y="289"/>
                      <a:pt x="96" y="289"/>
                    </a:cubicBezTo>
                    <a:cubicBezTo>
                      <a:pt x="96" y="271"/>
                      <a:pt x="82" y="257"/>
                      <a:pt x="64" y="257"/>
                    </a:cubicBezTo>
                    <a:moveTo>
                      <a:pt x="80" y="321"/>
                    </a:moveTo>
                    <a:cubicBezTo>
                      <a:pt x="80" y="330"/>
                      <a:pt x="73" y="337"/>
                      <a:pt x="64" y="337"/>
                    </a:cubicBezTo>
                    <a:cubicBezTo>
                      <a:pt x="32" y="337"/>
                      <a:pt x="32" y="337"/>
                      <a:pt x="32" y="337"/>
                    </a:cubicBezTo>
                    <a:cubicBezTo>
                      <a:pt x="23" y="337"/>
                      <a:pt x="16" y="330"/>
                      <a:pt x="16" y="321"/>
                    </a:cubicBezTo>
                    <a:cubicBezTo>
                      <a:pt x="16" y="289"/>
                      <a:pt x="16" y="289"/>
                      <a:pt x="16" y="289"/>
                    </a:cubicBezTo>
                    <a:cubicBezTo>
                      <a:pt x="16" y="280"/>
                      <a:pt x="23" y="273"/>
                      <a:pt x="32" y="273"/>
                    </a:cubicBezTo>
                    <a:cubicBezTo>
                      <a:pt x="64" y="273"/>
                      <a:pt x="64" y="273"/>
                      <a:pt x="64" y="273"/>
                    </a:cubicBezTo>
                    <a:cubicBezTo>
                      <a:pt x="73" y="273"/>
                      <a:pt x="80" y="280"/>
                      <a:pt x="80" y="289"/>
                    </a:cubicBezTo>
                    <a:lnTo>
                      <a:pt x="80" y="321"/>
                    </a:lnTo>
                    <a:close/>
                    <a:moveTo>
                      <a:pt x="321" y="257"/>
                    </a:moveTo>
                    <a:cubicBezTo>
                      <a:pt x="289" y="257"/>
                      <a:pt x="289" y="257"/>
                      <a:pt x="289" y="257"/>
                    </a:cubicBezTo>
                    <a:cubicBezTo>
                      <a:pt x="271" y="257"/>
                      <a:pt x="257" y="271"/>
                      <a:pt x="257" y="289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7" y="339"/>
                      <a:pt x="271" y="353"/>
                      <a:pt x="289" y="353"/>
                    </a:cubicBezTo>
                    <a:cubicBezTo>
                      <a:pt x="321" y="353"/>
                      <a:pt x="321" y="353"/>
                      <a:pt x="321" y="353"/>
                    </a:cubicBezTo>
                    <a:cubicBezTo>
                      <a:pt x="339" y="353"/>
                      <a:pt x="353" y="339"/>
                      <a:pt x="353" y="321"/>
                    </a:cubicBezTo>
                    <a:cubicBezTo>
                      <a:pt x="353" y="289"/>
                      <a:pt x="353" y="289"/>
                      <a:pt x="353" y="289"/>
                    </a:cubicBezTo>
                    <a:cubicBezTo>
                      <a:pt x="353" y="271"/>
                      <a:pt x="339" y="257"/>
                      <a:pt x="321" y="257"/>
                    </a:cubicBezTo>
                    <a:moveTo>
                      <a:pt x="337" y="321"/>
                    </a:moveTo>
                    <a:cubicBezTo>
                      <a:pt x="337" y="330"/>
                      <a:pt x="330" y="337"/>
                      <a:pt x="321" y="337"/>
                    </a:cubicBezTo>
                    <a:cubicBezTo>
                      <a:pt x="289" y="337"/>
                      <a:pt x="289" y="337"/>
                      <a:pt x="289" y="337"/>
                    </a:cubicBezTo>
                    <a:cubicBezTo>
                      <a:pt x="280" y="337"/>
                      <a:pt x="273" y="330"/>
                      <a:pt x="273" y="321"/>
                    </a:cubicBezTo>
                    <a:cubicBezTo>
                      <a:pt x="273" y="289"/>
                      <a:pt x="273" y="289"/>
                      <a:pt x="273" y="289"/>
                    </a:cubicBezTo>
                    <a:cubicBezTo>
                      <a:pt x="273" y="280"/>
                      <a:pt x="280" y="273"/>
                      <a:pt x="289" y="273"/>
                    </a:cubicBezTo>
                    <a:cubicBezTo>
                      <a:pt x="321" y="273"/>
                      <a:pt x="321" y="273"/>
                      <a:pt x="321" y="273"/>
                    </a:cubicBezTo>
                    <a:cubicBezTo>
                      <a:pt x="330" y="273"/>
                      <a:pt x="337" y="280"/>
                      <a:pt x="337" y="289"/>
                    </a:cubicBezTo>
                    <a:lnTo>
                      <a:pt x="337" y="321"/>
                    </a:lnTo>
                    <a:close/>
                    <a:moveTo>
                      <a:pt x="193" y="257"/>
                    </a:moveTo>
                    <a:cubicBezTo>
                      <a:pt x="160" y="257"/>
                      <a:pt x="160" y="257"/>
                      <a:pt x="160" y="257"/>
                    </a:cubicBezTo>
                    <a:cubicBezTo>
                      <a:pt x="143" y="257"/>
                      <a:pt x="128" y="271"/>
                      <a:pt x="128" y="289"/>
                    </a:cubicBezTo>
                    <a:cubicBezTo>
                      <a:pt x="128" y="321"/>
                      <a:pt x="128" y="321"/>
                      <a:pt x="128" y="321"/>
                    </a:cubicBezTo>
                    <a:cubicBezTo>
                      <a:pt x="128" y="339"/>
                      <a:pt x="143" y="353"/>
                      <a:pt x="160" y="353"/>
                    </a:cubicBezTo>
                    <a:cubicBezTo>
                      <a:pt x="193" y="353"/>
                      <a:pt x="193" y="353"/>
                      <a:pt x="193" y="353"/>
                    </a:cubicBezTo>
                    <a:cubicBezTo>
                      <a:pt x="210" y="353"/>
                      <a:pt x="225" y="339"/>
                      <a:pt x="225" y="321"/>
                    </a:cubicBezTo>
                    <a:cubicBezTo>
                      <a:pt x="225" y="289"/>
                      <a:pt x="225" y="289"/>
                      <a:pt x="225" y="289"/>
                    </a:cubicBezTo>
                    <a:cubicBezTo>
                      <a:pt x="225" y="271"/>
                      <a:pt x="210" y="257"/>
                      <a:pt x="193" y="257"/>
                    </a:cubicBezTo>
                    <a:moveTo>
                      <a:pt x="209" y="321"/>
                    </a:moveTo>
                    <a:cubicBezTo>
                      <a:pt x="209" y="330"/>
                      <a:pt x="201" y="337"/>
                      <a:pt x="193" y="337"/>
                    </a:cubicBezTo>
                    <a:cubicBezTo>
                      <a:pt x="160" y="337"/>
                      <a:pt x="160" y="337"/>
                      <a:pt x="160" y="337"/>
                    </a:cubicBezTo>
                    <a:cubicBezTo>
                      <a:pt x="152" y="337"/>
                      <a:pt x="144" y="330"/>
                      <a:pt x="144" y="321"/>
                    </a:cubicBezTo>
                    <a:cubicBezTo>
                      <a:pt x="144" y="289"/>
                      <a:pt x="144" y="289"/>
                      <a:pt x="144" y="289"/>
                    </a:cubicBezTo>
                    <a:cubicBezTo>
                      <a:pt x="144" y="280"/>
                      <a:pt x="152" y="273"/>
                      <a:pt x="160" y="273"/>
                    </a:cubicBezTo>
                    <a:cubicBezTo>
                      <a:pt x="193" y="273"/>
                      <a:pt x="193" y="273"/>
                      <a:pt x="193" y="273"/>
                    </a:cubicBezTo>
                    <a:cubicBezTo>
                      <a:pt x="201" y="273"/>
                      <a:pt x="209" y="280"/>
                      <a:pt x="209" y="289"/>
                    </a:cubicBezTo>
                    <a:lnTo>
                      <a:pt x="209" y="32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4505489" y="1551517"/>
            <a:ext cx="1291574" cy="1152513"/>
            <a:chOff x="4505489" y="1551517"/>
            <a:chExt cx="1291574" cy="1152513"/>
          </a:xfrm>
        </p:grpSpPr>
        <p:sp>
          <p:nvSpPr>
            <p:cNvPr id="7" name="Oval 6"/>
            <p:cNvSpPr/>
            <p:nvPr/>
          </p:nvSpPr>
          <p:spPr>
            <a:xfrm>
              <a:off x="4853459" y="1551517"/>
              <a:ext cx="595634" cy="59563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505489" y="2441138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4505489" y="2270539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rganizaçã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7" name="Freeform 81"/>
            <p:cNvSpPr>
              <a:spLocks noEditPoints="1"/>
            </p:cNvSpPr>
            <p:nvPr/>
          </p:nvSpPr>
          <p:spPr bwMode="auto">
            <a:xfrm>
              <a:off x="5019323" y="1729023"/>
              <a:ext cx="263906" cy="240620"/>
            </a:xfrm>
            <a:custGeom>
              <a:avLst/>
              <a:gdLst>
                <a:gd name="T0" fmla="*/ 345 w 353"/>
                <a:gd name="T1" fmla="*/ 273 h 321"/>
                <a:gd name="T2" fmla="*/ 192 w 353"/>
                <a:gd name="T3" fmla="*/ 273 h 321"/>
                <a:gd name="T4" fmla="*/ 152 w 353"/>
                <a:gd name="T5" fmla="*/ 241 h 321"/>
                <a:gd name="T6" fmla="*/ 113 w 353"/>
                <a:gd name="T7" fmla="*/ 273 h 321"/>
                <a:gd name="T8" fmla="*/ 8 w 353"/>
                <a:gd name="T9" fmla="*/ 273 h 321"/>
                <a:gd name="T10" fmla="*/ 0 w 353"/>
                <a:gd name="T11" fmla="*/ 281 h 321"/>
                <a:gd name="T12" fmla="*/ 8 w 353"/>
                <a:gd name="T13" fmla="*/ 289 h 321"/>
                <a:gd name="T14" fmla="*/ 113 w 353"/>
                <a:gd name="T15" fmla="*/ 289 h 321"/>
                <a:gd name="T16" fmla="*/ 152 w 353"/>
                <a:gd name="T17" fmla="*/ 321 h 321"/>
                <a:gd name="T18" fmla="*/ 192 w 353"/>
                <a:gd name="T19" fmla="*/ 289 h 321"/>
                <a:gd name="T20" fmla="*/ 345 w 353"/>
                <a:gd name="T21" fmla="*/ 289 h 321"/>
                <a:gd name="T22" fmla="*/ 353 w 353"/>
                <a:gd name="T23" fmla="*/ 281 h 321"/>
                <a:gd name="T24" fmla="*/ 345 w 353"/>
                <a:gd name="T25" fmla="*/ 273 h 321"/>
                <a:gd name="T26" fmla="*/ 152 w 353"/>
                <a:gd name="T27" fmla="*/ 305 h 321"/>
                <a:gd name="T28" fmla="*/ 128 w 353"/>
                <a:gd name="T29" fmla="*/ 281 h 321"/>
                <a:gd name="T30" fmla="*/ 152 w 353"/>
                <a:gd name="T31" fmla="*/ 257 h 321"/>
                <a:gd name="T32" fmla="*/ 177 w 353"/>
                <a:gd name="T33" fmla="*/ 281 h 321"/>
                <a:gd name="T34" fmla="*/ 152 w 353"/>
                <a:gd name="T35" fmla="*/ 305 h 321"/>
                <a:gd name="T36" fmla="*/ 8 w 353"/>
                <a:gd name="T37" fmla="*/ 48 h 321"/>
                <a:gd name="T38" fmla="*/ 49 w 353"/>
                <a:gd name="T39" fmla="*/ 48 h 321"/>
                <a:gd name="T40" fmla="*/ 88 w 353"/>
                <a:gd name="T41" fmla="*/ 80 h 321"/>
                <a:gd name="T42" fmla="*/ 128 w 353"/>
                <a:gd name="T43" fmla="*/ 48 h 321"/>
                <a:gd name="T44" fmla="*/ 345 w 353"/>
                <a:gd name="T45" fmla="*/ 48 h 321"/>
                <a:gd name="T46" fmla="*/ 353 w 353"/>
                <a:gd name="T47" fmla="*/ 40 h 321"/>
                <a:gd name="T48" fmla="*/ 345 w 353"/>
                <a:gd name="T49" fmla="*/ 32 h 321"/>
                <a:gd name="T50" fmla="*/ 128 w 353"/>
                <a:gd name="T51" fmla="*/ 32 h 321"/>
                <a:gd name="T52" fmla="*/ 88 w 353"/>
                <a:gd name="T53" fmla="*/ 0 h 321"/>
                <a:gd name="T54" fmla="*/ 49 w 353"/>
                <a:gd name="T55" fmla="*/ 32 h 321"/>
                <a:gd name="T56" fmla="*/ 8 w 353"/>
                <a:gd name="T57" fmla="*/ 32 h 321"/>
                <a:gd name="T58" fmla="*/ 0 w 353"/>
                <a:gd name="T59" fmla="*/ 40 h 321"/>
                <a:gd name="T60" fmla="*/ 8 w 353"/>
                <a:gd name="T61" fmla="*/ 48 h 321"/>
                <a:gd name="T62" fmla="*/ 88 w 353"/>
                <a:gd name="T63" fmla="*/ 16 h 321"/>
                <a:gd name="T64" fmla="*/ 112 w 353"/>
                <a:gd name="T65" fmla="*/ 40 h 321"/>
                <a:gd name="T66" fmla="*/ 88 w 353"/>
                <a:gd name="T67" fmla="*/ 64 h 321"/>
                <a:gd name="T68" fmla="*/ 64 w 353"/>
                <a:gd name="T69" fmla="*/ 40 h 321"/>
                <a:gd name="T70" fmla="*/ 88 w 353"/>
                <a:gd name="T71" fmla="*/ 16 h 321"/>
                <a:gd name="T72" fmla="*/ 345 w 353"/>
                <a:gd name="T73" fmla="*/ 152 h 321"/>
                <a:gd name="T74" fmla="*/ 320 w 353"/>
                <a:gd name="T75" fmla="*/ 152 h 321"/>
                <a:gd name="T76" fmla="*/ 281 w 353"/>
                <a:gd name="T77" fmla="*/ 120 h 321"/>
                <a:gd name="T78" fmla="*/ 242 w 353"/>
                <a:gd name="T79" fmla="*/ 152 h 321"/>
                <a:gd name="T80" fmla="*/ 8 w 353"/>
                <a:gd name="T81" fmla="*/ 152 h 321"/>
                <a:gd name="T82" fmla="*/ 0 w 353"/>
                <a:gd name="T83" fmla="*/ 160 h 321"/>
                <a:gd name="T84" fmla="*/ 8 w 353"/>
                <a:gd name="T85" fmla="*/ 168 h 321"/>
                <a:gd name="T86" fmla="*/ 242 w 353"/>
                <a:gd name="T87" fmla="*/ 168 h 321"/>
                <a:gd name="T88" fmla="*/ 281 w 353"/>
                <a:gd name="T89" fmla="*/ 201 h 321"/>
                <a:gd name="T90" fmla="*/ 320 w 353"/>
                <a:gd name="T91" fmla="*/ 168 h 321"/>
                <a:gd name="T92" fmla="*/ 345 w 353"/>
                <a:gd name="T93" fmla="*/ 168 h 321"/>
                <a:gd name="T94" fmla="*/ 353 w 353"/>
                <a:gd name="T95" fmla="*/ 160 h 321"/>
                <a:gd name="T96" fmla="*/ 345 w 353"/>
                <a:gd name="T97" fmla="*/ 152 h 321"/>
                <a:gd name="T98" fmla="*/ 281 w 353"/>
                <a:gd name="T99" fmla="*/ 184 h 321"/>
                <a:gd name="T100" fmla="*/ 257 w 353"/>
                <a:gd name="T101" fmla="*/ 160 h 321"/>
                <a:gd name="T102" fmla="*/ 281 w 353"/>
                <a:gd name="T103" fmla="*/ 136 h 321"/>
                <a:gd name="T104" fmla="*/ 305 w 353"/>
                <a:gd name="T105" fmla="*/ 160 h 321"/>
                <a:gd name="T106" fmla="*/ 281 w 353"/>
                <a:gd name="T107" fmla="*/ 18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3" h="321">
                  <a:moveTo>
                    <a:pt x="345" y="273"/>
                  </a:moveTo>
                  <a:cubicBezTo>
                    <a:pt x="192" y="273"/>
                    <a:pt x="192" y="273"/>
                    <a:pt x="192" y="273"/>
                  </a:cubicBezTo>
                  <a:cubicBezTo>
                    <a:pt x="188" y="254"/>
                    <a:pt x="172" y="241"/>
                    <a:pt x="152" y="241"/>
                  </a:cubicBezTo>
                  <a:cubicBezTo>
                    <a:pt x="133" y="241"/>
                    <a:pt x="117" y="254"/>
                    <a:pt x="113" y="273"/>
                  </a:cubicBezTo>
                  <a:cubicBezTo>
                    <a:pt x="8" y="273"/>
                    <a:pt x="8" y="273"/>
                    <a:pt x="8" y="273"/>
                  </a:cubicBezTo>
                  <a:cubicBezTo>
                    <a:pt x="3" y="273"/>
                    <a:pt x="0" y="276"/>
                    <a:pt x="0" y="281"/>
                  </a:cubicBezTo>
                  <a:cubicBezTo>
                    <a:pt x="0" y="285"/>
                    <a:pt x="3" y="289"/>
                    <a:pt x="8" y="289"/>
                  </a:cubicBezTo>
                  <a:cubicBezTo>
                    <a:pt x="113" y="289"/>
                    <a:pt x="113" y="289"/>
                    <a:pt x="113" y="289"/>
                  </a:cubicBezTo>
                  <a:cubicBezTo>
                    <a:pt x="117" y="307"/>
                    <a:pt x="133" y="321"/>
                    <a:pt x="152" y="321"/>
                  </a:cubicBezTo>
                  <a:cubicBezTo>
                    <a:pt x="172" y="321"/>
                    <a:pt x="188" y="307"/>
                    <a:pt x="192" y="289"/>
                  </a:cubicBezTo>
                  <a:cubicBezTo>
                    <a:pt x="345" y="289"/>
                    <a:pt x="345" y="289"/>
                    <a:pt x="345" y="289"/>
                  </a:cubicBezTo>
                  <a:cubicBezTo>
                    <a:pt x="350" y="289"/>
                    <a:pt x="353" y="285"/>
                    <a:pt x="353" y="281"/>
                  </a:cubicBezTo>
                  <a:cubicBezTo>
                    <a:pt x="353" y="276"/>
                    <a:pt x="350" y="273"/>
                    <a:pt x="345" y="273"/>
                  </a:cubicBezTo>
                  <a:moveTo>
                    <a:pt x="152" y="305"/>
                  </a:moveTo>
                  <a:cubicBezTo>
                    <a:pt x="139" y="305"/>
                    <a:pt x="128" y="294"/>
                    <a:pt x="128" y="281"/>
                  </a:cubicBezTo>
                  <a:cubicBezTo>
                    <a:pt x="128" y="267"/>
                    <a:pt x="139" y="257"/>
                    <a:pt x="152" y="257"/>
                  </a:cubicBezTo>
                  <a:cubicBezTo>
                    <a:pt x="166" y="257"/>
                    <a:pt x="177" y="267"/>
                    <a:pt x="177" y="281"/>
                  </a:cubicBezTo>
                  <a:cubicBezTo>
                    <a:pt x="177" y="294"/>
                    <a:pt x="166" y="305"/>
                    <a:pt x="152" y="305"/>
                  </a:cubicBezTo>
                  <a:moveTo>
                    <a:pt x="8" y="48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53" y="66"/>
                    <a:pt x="69" y="80"/>
                    <a:pt x="88" y="80"/>
                  </a:cubicBezTo>
                  <a:cubicBezTo>
                    <a:pt x="108" y="80"/>
                    <a:pt x="124" y="66"/>
                    <a:pt x="128" y="48"/>
                  </a:cubicBezTo>
                  <a:cubicBezTo>
                    <a:pt x="345" y="48"/>
                    <a:pt x="345" y="48"/>
                    <a:pt x="345" y="48"/>
                  </a:cubicBezTo>
                  <a:cubicBezTo>
                    <a:pt x="350" y="48"/>
                    <a:pt x="353" y="44"/>
                    <a:pt x="353" y="40"/>
                  </a:cubicBezTo>
                  <a:cubicBezTo>
                    <a:pt x="353" y="36"/>
                    <a:pt x="350" y="32"/>
                    <a:pt x="345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4" y="14"/>
                    <a:pt x="108" y="0"/>
                    <a:pt x="88" y="0"/>
                  </a:cubicBezTo>
                  <a:cubicBezTo>
                    <a:pt x="69" y="0"/>
                    <a:pt x="53" y="14"/>
                    <a:pt x="49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3" y="32"/>
                    <a:pt x="0" y="36"/>
                    <a:pt x="0" y="40"/>
                  </a:cubicBezTo>
                  <a:cubicBezTo>
                    <a:pt x="0" y="44"/>
                    <a:pt x="3" y="48"/>
                    <a:pt x="8" y="48"/>
                  </a:cubicBezTo>
                  <a:moveTo>
                    <a:pt x="88" y="16"/>
                  </a:moveTo>
                  <a:cubicBezTo>
                    <a:pt x="102" y="16"/>
                    <a:pt x="112" y="27"/>
                    <a:pt x="112" y="40"/>
                  </a:cubicBezTo>
                  <a:cubicBezTo>
                    <a:pt x="112" y="53"/>
                    <a:pt x="102" y="64"/>
                    <a:pt x="88" y="64"/>
                  </a:cubicBezTo>
                  <a:cubicBezTo>
                    <a:pt x="75" y="64"/>
                    <a:pt x="64" y="53"/>
                    <a:pt x="64" y="40"/>
                  </a:cubicBezTo>
                  <a:cubicBezTo>
                    <a:pt x="64" y="27"/>
                    <a:pt x="75" y="16"/>
                    <a:pt x="88" y="16"/>
                  </a:cubicBezTo>
                  <a:moveTo>
                    <a:pt x="345" y="152"/>
                  </a:moveTo>
                  <a:cubicBezTo>
                    <a:pt x="320" y="152"/>
                    <a:pt x="320" y="152"/>
                    <a:pt x="320" y="152"/>
                  </a:cubicBezTo>
                  <a:cubicBezTo>
                    <a:pt x="316" y="134"/>
                    <a:pt x="300" y="120"/>
                    <a:pt x="281" y="120"/>
                  </a:cubicBezTo>
                  <a:cubicBezTo>
                    <a:pt x="261" y="120"/>
                    <a:pt x="245" y="134"/>
                    <a:pt x="242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3" y="152"/>
                    <a:pt x="0" y="156"/>
                    <a:pt x="0" y="160"/>
                  </a:cubicBezTo>
                  <a:cubicBezTo>
                    <a:pt x="0" y="165"/>
                    <a:pt x="3" y="168"/>
                    <a:pt x="8" y="168"/>
                  </a:cubicBezTo>
                  <a:cubicBezTo>
                    <a:pt x="242" y="168"/>
                    <a:pt x="242" y="168"/>
                    <a:pt x="242" y="168"/>
                  </a:cubicBezTo>
                  <a:cubicBezTo>
                    <a:pt x="245" y="187"/>
                    <a:pt x="261" y="201"/>
                    <a:pt x="281" y="201"/>
                  </a:cubicBezTo>
                  <a:cubicBezTo>
                    <a:pt x="300" y="201"/>
                    <a:pt x="316" y="187"/>
                    <a:pt x="320" y="168"/>
                  </a:cubicBezTo>
                  <a:cubicBezTo>
                    <a:pt x="345" y="168"/>
                    <a:pt x="345" y="168"/>
                    <a:pt x="345" y="168"/>
                  </a:cubicBezTo>
                  <a:cubicBezTo>
                    <a:pt x="350" y="168"/>
                    <a:pt x="353" y="165"/>
                    <a:pt x="353" y="160"/>
                  </a:cubicBezTo>
                  <a:cubicBezTo>
                    <a:pt x="353" y="156"/>
                    <a:pt x="350" y="152"/>
                    <a:pt x="345" y="152"/>
                  </a:cubicBezTo>
                  <a:moveTo>
                    <a:pt x="281" y="184"/>
                  </a:moveTo>
                  <a:cubicBezTo>
                    <a:pt x="268" y="184"/>
                    <a:pt x="257" y="174"/>
                    <a:pt x="257" y="160"/>
                  </a:cubicBezTo>
                  <a:cubicBezTo>
                    <a:pt x="257" y="147"/>
                    <a:pt x="268" y="136"/>
                    <a:pt x="281" y="136"/>
                  </a:cubicBezTo>
                  <a:cubicBezTo>
                    <a:pt x="294" y="136"/>
                    <a:pt x="305" y="147"/>
                    <a:pt x="305" y="160"/>
                  </a:cubicBezTo>
                  <a:cubicBezTo>
                    <a:pt x="305" y="174"/>
                    <a:pt x="294" y="184"/>
                    <a:pt x="281" y="18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10701" y="1551517"/>
            <a:ext cx="1291574" cy="1152513"/>
            <a:chOff x="610701" y="1551517"/>
            <a:chExt cx="1291574" cy="1152513"/>
          </a:xfrm>
        </p:grpSpPr>
        <p:sp>
          <p:nvSpPr>
            <p:cNvPr id="51" name="TextBox 50"/>
            <p:cNvSpPr txBox="1"/>
            <p:nvPr/>
          </p:nvSpPr>
          <p:spPr>
            <a:xfrm>
              <a:off x="610701" y="2441138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10701" y="2270539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ncontros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958671" y="1551517"/>
              <a:ext cx="595634" cy="595632"/>
              <a:chOff x="958671" y="1551517"/>
              <a:chExt cx="595634" cy="595632"/>
            </a:xfrm>
          </p:grpSpPr>
          <p:sp>
            <p:nvSpPr>
              <p:cNvPr id="5" name="Oval 4"/>
              <p:cNvSpPr/>
              <p:nvPr/>
            </p:nvSpPr>
            <p:spPr>
              <a:xfrm>
                <a:off x="958671" y="1551517"/>
                <a:ext cx="595634" cy="595632"/>
              </a:xfrm>
              <a:prstGeom prst="ellipse">
                <a:avLst/>
              </a:prstGeom>
              <a:solidFill>
                <a:srgbClr val="EC00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118" name="Freeform 110"/>
              <p:cNvSpPr>
                <a:spLocks noEditPoints="1"/>
              </p:cNvSpPr>
              <p:nvPr/>
            </p:nvSpPr>
            <p:spPr bwMode="auto">
              <a:xfrm>
                <a:off x="1124535" y="1741151"/>
                <a:ext cx="263906" cy="216364"/>
              </a:xfrm>
              <a:custGeom>
                <a:avLst/>
                <a:gdLst>
                  <a:gd name="T0" fmla="*/ 68 w 353"/>
                  <a:gd name="T1" fmla="*/ 173 h 289"/>
                  <a:gd name="T2" fmla="*/ 55 w 353"/>
                  <a:gd name="T3" fmla="*/ 131 h 289"/>
                  <a:gd name="T4" fmla="*/ 55 w 353"/>
                  <a:gd name="T5" fmla="*/ 117 h 289"/>
                  <a:gd name="T6" fmla="*/ 49 w 353"/>
                  <a:gd name="T7" fmla="*/ 75 h 289"/>
                  <a:gd name="T8" fmla="*/ 69 w 353"/>
                  <a:gd name="T9" fmla="*/ 52 h 289"/>
                  <a:gd name="T10" fmla="*/ 98 w 353"/>
                  <a:gd name="T11" fmla="*/ 50 h 289"/>
                  <a:gd name="T12" fmla="*/ 103 w 353"/>
                  <a:gd name="T13" fmla="*/ 35 h 289"/>
                  <a:gd name="T14" fmla="*/ 61 w 353"/>
                  <a:gd name="T15" fmla="*/ 39 h 289"/>
                  <a:gd name="T16" fmla="*/ 40 w 353"/>
                  <a:gd name="T17" fmla="*/ 113 h 289"/>
                  <a:gd name="T18" fmla="*/ 52 w 353"/>
                  <a:gd name="T19" fmla="*/ 173 h 289"/>
                  <a:gd name="T20" fmla="*/ 0 w 353"/>
                  <a:gd name="T21" fmla="*/ 249 h 289"/>
                  <a:gd name="T22" fmla="*/ 43 w 353"/>
                  <a:gd name="T23" fmla="*/ 257 h 289"/>
                  <a:gd name="T24" fmla="*/ 16 w 353"/>
                  <a:gd name="T25" fmla="*/ 241 h 289"/>
                  <a:gd name="T26" fmla="*/ 319 w 353"/>
                  <a:gd name="T27" fmla="*/ 201 h 289"/>
                  <a:gd name="T28" fmla="*/ 311 w 353"/>
                  <a:gd name="T29" fmla="*/ 140 h 289"/>
                  <a:gd name="T30" fmla="*/ 318 w 353"/>
                  <a:gd name="T31" fmla="*/ 69 h 289"/>
                  <a:gd name="T32" fmla="*/ 265 w 353"/>
                  <a:gd name="T33" fmla="*/ 32 h 289"/>
                  <a:gd name="T34" fmla="*/ 253 w 353"/>
                  <a:gd name="T35" fmla="*/ 51 h 289"/>
                  <a:gd name="T36" fmla="*/ 265 w 353"/>
                  <a:gd name="T37" fmla="*/ 48 h 289"/>
                  <a:gd name="T38" fmla="*/ 285 w 353"/>
                  <a:gd name="T39" fmla="*/ 53 h 289"/>
                  <a:gd name="T40" fmla="*/ 298 w 353"/>
                  <a:gd name="T41" fmla="*/ 106 h 289"/>
                  <a:gd name="T42" fmla="*/ 298 w 353"/>
                  <a:gd name="T43" fmla="*/ 131 h 289"/>
                  <a:gd name="T44" fmla="*/ 297 w 353"/>
                  <a:gd name="T45" fmla="*/ 132 h 289"/>
                  <a:gd name="T46" fmla="*/ 314 w 353"/>
                  <a:gd name="T47" fmla="*/ 216 h 289"/>
                  <a:gd name="T48" fmla="*/ 301 w 353"/>
                  <a:gd name="T49" fmla="*/ 241 h 289"/>
                  <a:gd name="T50" fmla="*/ 345 w 353"/>
                  <a:gd name="T51" fmla="*/ 257 h 289"/>
                  <a:gd name="T52" fmla="*/ 319 w 353"/>
                  <a:gd name="T53" fmla="*/ 201 h 289"/>
                  <a:gd name="T54" fmla="*/ 211 w 353"/>
                  <a:gd name="T55" fmla="*/ 181 h 289"/>
                  <a:gd name="T56" fmla="*/ 231 w 353"/>
                  <a:gd name="T57" fmla="*/ 105 h 289"/>
                  <a:gd name="T58" fmla="*/ 209 w 353"/>
                  <a:gd name="T59" fmla="*/ 5 h 289"/>
                  <a:gd name="T60" fmla="*/ 152 w 353"/>
                  <a:gd name="T61" fmla="*/ 9 h 289"/>
                  <a:gd name="T62" fmla="*/ 122 w 353"/>
                  <a:gd name="T63" fmla="*/ 104 h 289"/>
                  <a:gd name="T64" fmla="*/ 141 w 353"/>
                  <a:gd name="T65" fmla="*/ 181 h 289"/>
                  <a:gd name="T66" fmla="*/ 56 w 353"/>
                  <a:gd name="T67" fmla="*/ 281 h 289"/>
                  <a:gd name="T68" fmla="*/ 289 w 353"/>
                  <a:gd name="T69" fmla="*/ 289 h 289"/>
                  <a:gd name="T70" fmla="*/ 240 w 353"/>
                  <a:gd name="T71" fmla="*/ 218 h 289"/>
                  <a:gd name="T72" fmla="*/ 116 w 353"/>
                  <a:gd name="T73" fmla="*/ 234 h 289"/>
                  <a:gd name="T74" fmla="*/ 157 w 353"/>
                  <a:gd name="T75" fmla="*/ 181 h 289"/>
                  <a:gd name="T76" fmla="*/ 137 w 353"/>
                  <a:gd name="T77" fmla="*/ 129 h 289"/>
                  <a:gd name="T78" fmla="*/ 137 w 353"/>
                  <a:gd name="T79" fmla="*/ 97 h 289"/>
                  <a:gd name="T80" fmla="*/ 159 w 353"/>
                  <a:gd name="T81" fmla="*/ 23 h 289"/>
                  <a:gd name="T82" fmla="*/ 186 w 353"/>
                  <a:gd name="T83" fmla="*/ 16 h 289"/>
                  <a:gd name="T84" fmla="*/ 217 w 353"/>
                  <a:gd name="T85" fmla="*/ 44 h 289"/>
                  <a:gd name="T86" fmla="*/ 215 w 353"/>
                  <a:gd name="T87" fmla="*/ 108 h 289"/>
                  <a:gd name="T88" fmla="*/ 213 w 353"/>
                  <a:gd name="T89" fmla="*/ 132 h 289"/>
                  <a:gd name="T90" fmla="*/ 235 w 353"/>
                  <a:gd name="T91" fmla="*/ 234 h 289"/>
                  <a:gd name="T92" fmla="*/ 280 w 353"/>
                  <a:gd name="T93" fmla="*/ 273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53" h="289">
                    <a:moveTo>
                      <a:pt x="38" y="216"/>
                    </a:moveTo>
                    <a:cubicBezTo>
                      <a:pt x="49" y="213"/>
                      <a:pt x="68" y="201"/>
                      <a:pt x="68" y="173"/>
                    </a:cubicBezTo>
                    <a:cubicBezTo>
                      <a:pt x="68" y="148"/>
                      <a:pt x="60" y="138"/>
                      <a:pt x="55" y="132"/>
                    </a:cubicBezTo>
                    <a:cubicBezTo>
                      <a:pt x="55" y="131"/>
                      <a:pt x="55" y="131"/>
                      <a:pt x="55" y="131"/>
                    </a:cubicBezTo>
                    <a:cubicBezTo>
                      <a:pt x="55" y="131"/>
                      <a:pt x="55" y="131"/>
                      <a:pt x="55" y="131"/>
                    </a:cubicBezTo>
                    <a:cubicBezTo>
                      <a:pt x="54" y="130"/>
                      <a:pt x="53" y="126"/>
                      <a:pt x="55" y="117"/>
                    </a:cubicBezTo>
                    <a:cubicBezTo>
                      <a:pt x="56" y="113"/>
                      <a:pt x="56" y="109"/>
                      <a:pt x="54" y="106"/>
                    </a:cubicBezTo>
                    <a:cubicBezTo>
                      <a:pt x="51" y="99"/>
                      <a:pt x="45" y="85"/>
                      <a:pt x="49" y="75"/>
                    </a:cubicBezTo>
                    <a:cubicBezTo>
                      <a:pt x="56" y="58"/>
                      <a:pt x="59" y="57"/>
                      <a:pt x="67" y="53"/>
                    </a:cubicBezTo>
                    <a:cubicBezTo>
                      <a:pt x="68" y="53"/>
                      <a:pt x="69" y="53"/>
                      <a:pt x="69" y="52"/>
                    </a:cubicBezTo>
                    <a:cubicBezTo>
                      <a:pt x="71" y="51"/>
                      <a:pt x="79" y="48"/>
                      <a:pt x="88" y="48"/>
                    </a:cubicBezTo>
                    <a:cubicBezTo>
                      <a:pt x="92" y="48"/>
                      <a:pt x="95" y="49"/>
                      <a:pt x="98" y="50"/>
                    </a:cubicBezTo>
                    <a:cubicBezTo>
                      <a:pt x="98" y="47"/>
                      <a:pt x="99" y="45"/>
                      <a:pt x="100" y="42"/>
                    </a:cubicBezTo>
                    <a:cubicBezTo>
                      <a:pt x="101" y="39"/>
                      <a:pt x="102" y="37"/>
                      <a:pt x="103" y="35"/>
                    </a:cubicBezTo>
                    <a:cubicBezTo>
                      <a:pt x="98" y="33"/>
                      <a:pt x="93" y="32"/>
                      <a:pt x="88" y="32"/>
                    </a:cubicBezTo>
                    <a:cubicBezTo>
                      <a:pt x="76" y="32"/>
                      <a:pt x="65" y="36"/>
                      <a:pt x="61" y="39"/>
                    </a:cubicBezTo>
                    <a:cubicBezTo>
                      <a:pt x="48" y="44"/>
                      <a:pt x="42" y="50"/>
                      <a:pt x="34" y="69"/>
                    </a:cubicBezTo>
                    <a:cubicBezTo>
                      <a:pt x="27" y="86"/>
                      <a:pt x="36" y="104"/>
                      <a:pt x="40" y="113"/>
                    </a:cubicBezTo>
                    <a:cubicBezTo>
                      <a:pt x="35" y="133"/>
                      <a:pt x="42" y="140"/>
                      <a:pt x="42" y="140"/>
                    </a:cubicBezTo>
                    <a:cubicBezTo>
                      <a:pt x="45" y="145"/>
                      <a:pt x="52" y="153"/>
                      <a:pt x="52" y="173"/>
                    </a:cubicBezTo>
                    <a:cubicBezTo>
                      <a:pt x="52" y="197"/>
                      <a:pt x="34" y="201"/>
                      <a:pt x="34" y="201"/>
                    </a:cubicBezTo>
                    <a:cubicBezTo>
                      <a:pt x="19" y="206"/>
                      <a:pt x="0" y="217"/>
                      <a:pt x="0" y="249"/>
                    </a:cubicBezTo>
                    <a:cubicBezTo>
                      <a:pt x="0" y="249"/>
                      <a:pt x="0" y="257"/>
                      <a:pt x="8" y="257"/>
                    </a:cubicBezTo>
                    <a:cubicBezTo>
                      <a:pt x="43" y="257"/>
                      <a:pt x="43" y="257"/>
                      <a:pt x="43" y="257"/>
                    </a:cubicBezTo>
                    <a:cubicBezTo>
                      <a:pt x="45" y="251"/>
                      <a:pt x="48" y="245"/>
                      <a:pt x="51" y="241"/>
                    </a:cubicBezTo>
                    <a:cubicBezTo>
                      <a:pt x="16" y="241"/>
                      <a:pt x="16" y="241"/>
                      <a:pt x="16" y="241"/>
                    </a:cubicBezTo>
                    <a:cubicBezTo>
                      <a:pt x="19" y="225"/>
                      <a:pt x="28" y="220"/>
                      <a:pt x="38" y="216"/>
                    </a:cubicBezTo>
                    <a:moveTo>
                      <a:pt x="319" y="201"/>
                    </a:moveTo>
                    <a:cubicBezTo>
                      <a:pt x="319" y="201"/>
                      <a:pt x="301" y="197"/>
                      <a:pt x="301" y="173"/>
                    </a:cubicBezTo>
                    <a:cubicBezTo>
                      <a:pt x="301" y="153"/>
                      <a:pt x="307" y="145"/>
                      <a:pt x="311" y="140"/>
                    </a:cubicBezTo>
                    <a:cubicBezTo>
                      <a:pt x="311" y="140"/>
                      <a:pt x="318" y="133"/>
                      <a:pt x="312" y="113"/>
                    </a:cubicBezTo>
                    <a:cubicBezTo>
                      <a:pt x="317" y="104"/>
                      <a:pt x="325" y="86"/>
                      <a:pt x="318" y="69"/>
                    </a:cubicBezTo>
                    <a:cubicBezTo>
                      <a:pt x="310" y="50"/>
                      <a:pt x="304" y="44"/>
                      <a:pt x="292" y="39"/>
                    </a:cubicBezTo>
                    <a:cubicBezTo>
                      <a:pt x="287" y="36"/>
                      <a:pt x="276" y="32"/>
                      <a:pt x="265" y="32"/>
                    </a:cubicBezTo>
                    <a:cubicBezTo>
                      <a:pt x="259" y="32"/>
                      <a:pt x="254" y="33"/>
                      <a:pt x="248" y="35"/>
                    </a:cubicBezTo>
                    <a:cubicBezTo>
                      <a:pt x="250" y="40"/>
                      <a:pt x="252" y="46"/>
                      <a:pt x="253" y="51"/>
                    </a:cubicBezTo>
                    <a:cubicBezTo>
                      <a:pt x="254" y="51"/>
                      <a:pt x="254" y="50"/>
                      <a:pt x="254" y="50"/>
                    </a:cubicBezTo>
                    <a:cubicBezTo>
                      <a:pt x="257" y="49"/>
                      <a:pt x="260" y="48"/>
                      <a:pt x="265" y="48"/>
                    </a:cubicBezTo>
                    <a:cubicBezTo>
                      <a:pt x="273" y="48"/>
                      <a:pt x="281" y="51"/>
                      <a:pt x="283" y="52"/>
                    </a:cubicBezTo>
                    <a:cubicBezTo>
                      <a:pt x="284" y="53"/>
                      <a:pt x="284" y="53"/>
                      <a:pt x="285" y="53"/>
                    </a:cubicBezTo>
                    <a:cubicBezTo>
                      <a:pt x="293" y="57"/>
                      <a:pt x="296" y="58"/>
                      <a:pt x="303" y="75"/>
                    </a:cubicBezTo>
                    <a:cubicBezTo>
                      <a:pt x="307" y="85"/>
                      <a:pt x="301" y="99"/>
                      <a:pt x="298" y="106"/>
                    </a:cubicBezTo>
                    <a:cubicBezTo>
                      <a:pt x="297" y="109"/>
                      <a:pt x="296" y="113"/>
                      <a:pt x="297" y="117"/>
                    </a:cubicBezTo>
                    <a:cubicBezTo>
                      <a:pt x="299" y="126"/>
                      <a:pt x="298" y="130"/>
                      <a:pt x="298" y="131"/>
                    </a:cubicBezTo>
                    <a:cubicBezTo>
                      <a:pt x="298" y="131"/>
                      <a:pt x="298" y="131"/>
                      <a:pt x="298" y="131"/>
                    </a:cubicBezTo>
                    <a:cubicBezTo>
                      <a:pt x="297" y="132"/>
                      <a:pt x="297" y="132"/>
                      <a:pt x="297" y="132"/>
                    </a:cubicBezTo>
                    <a:cubicBezTo>
                      <a:pt x="293" y="138"/>
                      <a:pt x="285" y="148"/>
                      <a:pt x="285" y="173"/>
                    </a:cubicBezTo>
                    <a:cubicBezTo>
                      <a:pt x="285" y="201"/>
                      <a:pt x="303" y="213"/>
                      <a:pt x="314" y="216"/>
                    </a:cubicBezTo>
                    <a:cubicBezTo>
                      <a:pt x="324" y="220"/>
                      <a:pt x="334" y="225"/>
                      <a:pt x="336" y="241"/>
                    </a:cubicBezTo>
                    <a:cubicBezTo>
                      <a:pt x="301" y="241"/>
                      <a:pt x="301" y="241"/>
                      <a:pt x="301" y="241"/>
                    </a:cubicBezTo>
                    <a:cubicBezTo>
                      <a:pt x="304" y="245"/>
                      <a:pt x="307" y="251"/>
                      <a:pt x="309" y="257"/>
                    </a:cubicBezTo>
                    <a:cubicBezTo>
                      <a:pt x="345" y="257"/>
                      <a:pt x="345" y="257"/>
                      <a:pt x="345" y="257"/>
                    </a:cubicBezTo>
                    <a:cubicBezTo>
                      <a:pt x="353" y="257"/>
                      <a:pt x="353" y="249"/>
                      <a:pt x="353" y="249"/>
                    </a:cubicBezTo>
                    <a:cubicBezTo>
                      <a:pt x="353" y="217"/>
                      <a:pt x="333" y="206"/>
                      <a:pt x="319" y="201"/>
                    </a:cubicBezTo>
                    <a:moveTo>
                      <a:pt x="240" y="218"/>
                    </a:moveTo>
                    <a:cubicBezTo>
                      <a:pt x="240" y="218"/>
                      <a:pt x="211" y="211"/>
                      <a:pt x="211" y="181"/>
                    </a:cubicBezTo>
                    <a:cubicBezTo>
                      <a:pt x="211" y="155"/>
                      <a:pt x="223" y="146"/>
                      <a:pt x="228" y="139"/>
                    </a:cubicBezTo>
                    <a:cubicBezTo>
                      <a:pt x="228" y="139"/>
                      <a:pt x="237" y="131"/>
                      <a:pt x="231" y="105"/>
                    </a:cubicBezTo>
                    <a:cubicBezTo>
                      <a:pt x="241" y="90"/>
                      <a:pt x="245" y="66"/>
                      <a:pt x="232" y="37"/>
                    </a:cubicBezTo>
                    <a:cubicBezTo>
                      <a:pt x="225" y="20"/>
                      <a:pt x="219" y="11"/>
                      <a:pt x="209" y="5"/>
                    </a:cubicBezTo>
                    <a:cubicBezTo>
                      <a:pt x="202" y="1"/>
                      <a:pt x="194" y="0"/>
                      <a:pt x="186" y="0"/>
                    </a:cubicBezTo>
                    <a:cubicBezTo>
                      <a:pt x="172" y="0"/>
                      <a:pt x="158" y="5"/>
                      <a:pt x="152" y="9"/>
                    </a:cubicBezTo>
                    <a:cubicBezTo>
                      <a:pt x="136" y="16"/>
                      <a:pt x="125" y="22"/>
                      <a:pt x="115" y="48"/>
                    </a:cubicBezTo>
                    <a:cubicBezTo>
                      <a:pt x="107" y="69"/>
                      <a:pt x="117" y="92"/>
                      <a:pt x="122" y="104"/>
                    </a:cubicBezTo>
                    <a:cubicBezTo>
                      <a:pt x="116" y="130"/>
                      <a:pt x="125" y="139"/>
                      <a:pt x="125" y="139"/>
                    </a:cubicBezTo>
                    <a:cubicBezTo>
                      <a:pt x="129" y="146"/>
                      <a:pt x="141" y="155"/>
                      <a:pt x="141" y="181"/>
                    </a:cubicBezTo>
                    <a:cubicBezTo>
                      <a:pt x="141" y="211"/>
                      <a:pt x="112" y="218"/>
                      <a:pt x="112" y="218"/>
                    </a:cubicBezTo>
                    <a:cubicBezTo>
                      <a:pt x="94" y="225"/>
                      <a:pt x="56" y="238"/>
                      <a:pt x="56" y="281"/>
                    </a:cubicBezTo>
                    <a:cubicBezTo>
                      <a:pt x="56" y="281"/>
                      <a:pt x="56" y="289"/>
                      <a:pt x="64" y="289"/>
                    </a:cubicBezTo>
                    <a:cubicBezTo>
                      <a:pt x="289" y="289"/>
                      <a:pt x="289" y="289"/>
                      <a:pt x="289" y="289"/>
                    </a:cubicBezTo>
                    <a:cubicBezTo>
                      <a:pt x="297" y="289"/>
                      <a:pt x="297" y="281"/>
                      <a:pt x="297" y="281"/>
                    </a:cubicBezTo>
                    <a:cubicBezTo>
                      <a:pt x="297" y="238"/>
                      <a:pt x="258" y="225"/>
                      <a:pt x="240" y="218"/>
                    </a:cubicBezTo>
                    <a:moveTo>
                      <a:pt x="72" y="273"/>
                    </a:moveTo>
                    <a:cubicBezTo>
                      <a:pt x="76" y="250"/>
                      <a:pt x="96" y="241"/>
                      <a:pt x="116" y="234"/>
                    </a:cubicBezTo>
                    <a:cubicBezTo>
                      <a:pt x="117" y="234"/>
                      <a:pt x="117" y="234"/>
                      <a:pt x="117" y="234"/>
                    </a:cubicBezTo>
                    <a:cubicBezTo>
                      <a:pt x="131" y="230"/>
                      <a:pt x="157" y="214"/>
                      <a:pt x="157" y="181"/>
                    </a:cubicBezTo>
                    <a:cubicBezTo>
                      <a:pt x="157" y="153"/>
                      <a:pt x="146" y="140"/>
                      <a:pt x="140" y="132"/>
                    </a:cubicBezTo>
                    <a:cubicBezTo>
                      <a:pt x="138" y="131"/>
                      <a:pt x="137" y="129"/>
                      <a:pt x="137" y="129"/>
                    </a:cubicBezTo>
                    <a:cubicBezTo>
                      <a:pt x="137" y="128"/>
                      <a:pt x="134" y="122"/>
                      <a:pt x="138" y="107"/>
                    </a:cubicBezTo>
                    <a:cubicBezTo>
                      <a:pt x="139" y="100"/>
                      <a:pt x="137" y="97"/>
                      <a:pt x="137" y="97"/>
                    </a:cubicBezTo>
                    <a:cubicBezTo>
                      <a:pt x="132" y="87"/>
                      <a:pt x="124" y="69"/>
                      <a:pt x="130" y="54"/>
                    </a:cubicBezTo>
                    <a:cubicBezTo>
                      <a:pt x="138" y="33"/>
                      <a:pt x="146" y="29"/>
                      <a:pt x="159" y="23"/>
                    </a:cubicBezTo>
                    <a:cubicBezTo>
                      <a:pt x="160" y="23"/>
                      <a:pt x="160" y="22"/>
                      <a:pt x="161" y="22"/>
                    </a:cubicBezTo>
                    <a:cubicBezTo>
                      <a:pt x="164" y="20"/>
                      <a:pt x="174" y="16"/>
                      <a:pt x="186" y="16"/>
                    </a:cubicBezTo>
                    <a:cubicBezTo>
                      <a:pt x="192" y="16"/>
                      <a:pt x="197" y="17"/>
                      <a:pt x="201" y="19"/>
                    </a:cubicBezTo>
                    <a:cubicBezTo>
                      <a:pt x="206" y="22"/>
                      <a:pt x="210" y="27"/>
                      <a:pt x="217" y="44"/>
                    </a:cubicBezTo>
                    <a:cubicBezTo>
                      <a:pt x="230" y="73"/>
                      <a:pt x="222" y="89"/>
                      <a:pt x="218" y="95"/>
                    </a:cubicBezTo>
                    <a:cubicBezTo>
                      <a:pt x="215" y="99"/>
                      <a:pt x="214" y="104"/>
                      <a:pt x="215" y="108"/>
                    </a:cubicBezTo>
                    <a:cubicBezTo>
                      <a:pt x="218" y="122"/>
                      <a:pt x="216" y="127"/>
                      <a:pt x="216" y="129"/>
                    </a:cubicBezTo>
                    <a:cubicBezTo>
                      <a:pt x="216" y="129"/>
                      <a:pt x="214" y="131"/>
                      <a:pt x="213" y="132"/>
                    </a:cubicBezTo>
                    <a:cubicBezTo>
                      <a:pt x="207" y="140"/>
                      <a:pt x="195" y="153"/>
                      <a:pt x="195" y="181"/>
                    </a:cubicBezTo>
                    <a:cubicBezTo>
                      <a:pt x="195" y="214"/>
                      <a:pt x="221" y="230"/>
                      <a:pt x="235" y="234"/>
                    </a:cubicBezTo>
                    <a:cubicBezTo>
                      <a:pt x="236" y="234"/>
                      <a:pt x="236" y="234"/>
                      <a:pt x="236" y="234"/>
                    </a:cubicBezTo>
                    <a:cubicBezTo>
                      <a:pt x="256" y="241"/>
                      <a:pt x="276" y="250"/>
                      <a:pt x="280" y="273"/>
                    </a:cubicBezTo>
                    <a:lnTo>
                      <a:pt x="72" y="27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2558095" y="1551517"/>
            <a:ext cx="1291574" cy="1152513"/>
            <a:chOff x="2558095" y="1551517"/>
            <a:chExt cx="1291574" cy="1152513"/>
          </a:xfrm>
        </p:grpSpPr>
        <p:sp>
          <p:nvSpPr>
            <p:cNvPr id="6" name="Oval 5"/>
            <p:cNvSpPr/>
            <p:nvPr/>
          </p:nvSpPr>
          <p:spPr>
            <a:xfrm>
              <a:off x="2906065" y="1551517"/>
              <a:ext cx="595634" cy="59563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2558095" y="2441138"/>
              <a:ext cx="1291574" cy="26289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558095" y="2270539"/>
              <a:ext cx="1291574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presentação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119" name="Freeform 39"/>
            <p:cNvSpPr>
              <a:spLocks noEditPoints="1"/>
            </p:cNvSpPr>
            <p:nvPr/>
          </p:nvSpPr>
          <p:spPr bwMode="auto">
            <a:xfrm>
              <a:off x="3070473" y="1715925"/>
              <a:ext cx="266818" cy="266816"/>
            </a:xfrm>
            <a:custGeom>
              <a:avLst/>
              <a:gdLst>
                <a:gd name="T0" fmla="*/ 281 w 353"/>
                <a:gd name="T1" fmla="*/ 144 h 353"/>
                <a:gd name="T2" fmla="*/ 281 w 353"/>
                <a:gd name="T3" fmla="*/ 128 h 353"/>
                <a:gd name="T4" fmla="*/ 193 w 353"/>
                <a:gd name="T5" fmla="*/ 136 h 353"/>
                <a:gd name="T6" fmla="*/ 201 w 353"/>
                <a:gd name="T7" fmla="*/ 112 h 353"/>
                <a:gd name="T8" fmla="*/ 257 w 353"/>
                <a:gd name="T9" fmla="*/ 104 h 353"/>
                <a:gd name="T10" fmla="*/ 201 w 353"/>
                <a:gd name="T11" fmla="*/ 96 h 353"/>
                <a:gd name="T12" fmla="*/ 201 w 353"/>
                <a:gd name="T13" fmla="*/ 112 h 353"/>
                <a:gd name="T14" fmla="*/ 233 w 353"/>
                <a:gd name="T15" fmla="*/ 176 h 353"/>
                <a:gd name="T16" fmla="*/ 233 w 353"/>
                <a:gd name="T17" fmla="*/ 160 h 353"/>
                <a:gd name="T18" fmla="*/ 193 w 353"/>
                <a:gd name="T19" fmla="*/ 168 h 353"/>
                <a:gd name="T20" fmla="*/ 81 w 353"/>
                <a:gd name="T21" fmla="*/ 208 h 353"/>
                <a:gd name="T22" fmla="*/ 161 w 353"/>
                <a:gd name="T23" fmla="*/ 192 h 353"/>
                <a:gd name="T24" fmla="*/ 145 w 353"/>
                <a:gd name="T25" fmla="*/ 96 h 353"/>
                <a:gd name="T26" fmla="*/ 64 w 353"/>
                <a:gd name="T27" fmla="*/ 112 h 353"/>
                <a:gd name="T28" fmla="*/ 81 w 353"/>
                <a:gd name="T29" fmla="*/ 208 h 353"/>
                <a:gd name="T30" fmla="*/ 145 w 353"/>
                <a:gd name="T31" fmla="*/ 112 h 353"/>
                <a:gd name="T32" fmla="*/ 81 w 353"/>
                <a:gd name="T33" fmla="*/ 192 h 353"/>
                <a:gd name="T34" fmla="*/ 201 w 353"/>
                <a:gd name="T35" fmla="*/ 208 h 353"/>
                <a:gd name="T36" fmla="*/ 289 w 353"/>
                <a:gd name="T37" fmla="*/ 200 h 353"/>
                <a:gd name="T38" fmla="*/ 201 w 353"/>
                <a:gd name="T39" fmla="*/ 192 h 353"/>
                <a:gd name="T40" fmla="*/ 201 w 353"/>
                <a:gd name="T41" fmla="*/ 208 h 353"/>
                <a:gd name="T42" fmla="*/ 193 w 353"/>
                <a:gd name="T43" fmla="*/ 16 h 353"/>
                <a:gd name="T44" fmla="*/ 161 w 353"/>
                <a:gd name="T45" fmla="*/ 16 h 353"/>
                <a:gd name="T46" fmla="*/ 0 w 353"/>
                <a:gd name="T47" fmla="*/ 32 h 353"/>
                <a:gd name="T48" fmla="*/ 16 w 353"/>
                <a:gd name="T49" fmla="*/ 64 h 353"/>
                <a:gd name="T50" fmla="*/ 32 w 353"/>
                <a:gd name="T51" fmla="*/ 273 h 353"/>
                <a:gd name="T52" fmla="*/ 169 w 353"/>
                <a:gd name="T53" fmla="*/ 293 h 353"/>
                <a:gd name="T54" fmla="*/ 121 w 353"/>
                <a:gd name="T55" fmla="*/ 345 h 353"/>
                <a:gd name="T56" fmla="*/ 134 w 353"/>
                <a:gd name="T57" fmla="*/ 351 h 353"/>
                <a:gd name="T58" fmla="*/ 219 w 353"/>
                <a:gd name="T59" fmla="*/ 351 h 353"/>
                <a:gd name="T60" fmla="*/ 233 w 353"/>
                <a:gd name="T61" fmla="*/ 345 h 353"/>
                <a:gd name="T62" fmla="*/ 185 w 353"/>
                <a:gd name="T63" fmla="*/ 293 h 353"/>
                <a:gd name="T64" fmla="*/ 321 w 353"/>
                <a:gd name="T65" fmla="*/ 273 h 353"/>
                <a:gd name="T66" fmla="*/ 337 w 353"/>
                <a:gd name="T67" fmla="*/ 64 h 353"/>
                <a:gd name="T68" fmla="*/ 353 w 353"/>
                <a:gd name="T69" fmla="*/ 32 h 353"/>
                <a:gd name="T70" fmla="*/ 321 w 353"/>
                <a:gd name="T71" fmla="*/ 257 h 353"/>
                <a:gd name="T72" fmla="*/ 32 w 353"/>
                <a:gd name="T73" fmla="*/ 64 h 353"/>
                <a:gd name="T74" fmla="*/ 321 w 353"/>
                <a:gd name="T75" fmla="*/ 257 h 353"/>
                <a:gd name="T76" fmla="*/ 16 w 353"/>
                <a:gd name="T77" fmla="*/ 48 h 353"/>
                <a:gd name="T78" fmla="*/ 337 w 353"/>
                <a:gd name="T79" fmla="*/ 3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53">
                  <a:moveTo>
                    <a:pt x="201" y="144"/>
                  </a:moveTo>
                  <a:cubicBezTo>
                    <a:pt x="281" y="144"/>
                    <a:pt x="281" y="144"/>
                    <a:pt x="281" y="144"/>
                  </a:cubicBezTo>
                  <a:cubicBezTo>
                    <a:pt x="286" y="144"/>
                    <a:pt x="289" y="141"/>
                    <a:pt x="289" y="136"/>
                  </a:cubicBezTo>
                  <a:cubicBezTo>
                    <a:pt x="289" y="132"/>
                    <a:pt x="286" y="128"/>
                    <a:pt x="281" y="128"/>
                  </a:cubicBezTo>
                  <a:cubicBezTo>
                    <a:pt x="201" y="128"/>
                    <a:pt x="201" y="128"/>
                    <a:pt x="201" y="128"/>
                  </a:cubicBezTo>
                  <a:cubicBezTo>
                    <a:pt x="196" y="128"/>
                    <a:pt x="193" y="132"/>
                    <a:pt x="193" y="136"/>
                  </a:cubicBezTo>
                  <a:cubicBezTo>
                    <a:pt x="193" y="141"/>
                    <a:pt x="196" y="144"/>
                    <a:pt x="201" y="144"/>
                  </a:cubicBezTo>
                  <a:moveTo>
                    <a:pt x="201" y="112"/>
                  </a:moveTo>
                  <a:cubicBezTo>
                    <a:pt x="249" y="112"/>
                    <a:pt x="249" y="112"/>
                    <a:pt x="249" y="112"/>
                  </a:cubicBezTo>
                  <a:cubicBezTo>
                    <a:pt x="254" y="112"/>
                    <a:pt x="257" y="108"/>
                    <a:pt x="257" y="104"/>
                  </a:cubicBezTo>
                  <a:cubicBezTo>
                    <a:pt x="257" y="100"/>
                    <a:pt x="254" y="96"/>
                    <a:pt x="249" y="96"/>
                  </a:cubicBezTo>
                  <a:cubicBezTo>
                    <a:pt x="201" y="96"/>
                    <a:pt x="201" y="96"/>
                    <a:pt x="201" y="96"/>
                  </a:cubicBezTo>
                  <a:cubicBezTo>
                    <a:pt x="196" y="96"/>
                    <a:pt x="193" y="100"/>
                    <a:pt x="193" y="104"/>
                  </a:cubicBezTo>
                  <a:cubicBezTo>
                    <a:pt x="193" y="108"/>
                    <a:pt x="196" y="112"/>
                    <a:pt x="201" y="112"/>
                  </a:cubicBezTo>
                  <a:moveTo>
                    <a:pt x="201" y="176"/>
                  </a:moveTo>
                  <a:cubicBezTo>
                    <a:pt x="233" y="176"/>
                    <a:pt x="233" y="176"/>
                    <a:pt x="233" y="176"/>
                  </a:cubicBezTo>
                  <a:cubicBezTo>
                    <a:pt x="237" y="176"/>
                    <a:pt x="241" y="173"/>
                    <a:pt x="241" y="168"/>
                  </a:cubicBezTo>
                  <a:cubicBezTo>
                    <a:pt x="241" y="164"/>
                    <a:pt x="237" y="160"/>
                    <a:pt x="233" y="160"/>
                  </a:cubicBezTo>
                  <a:cubicBezTo>
                    <a:pt x="201" y="160"/>
                    <a:pt x="201" y="160"/>
                    <a:pt x="201" y="160"/>
                  </a:cubicBezTo>
                  <a:cubicBezTo>
                    <a:pt x="196" y="160"/>
                    <a:pt x="193" y="164"/>
                    <a:pt x="193" y="168"/>
                  </a:cubicBezTo>
                  <a:cubicBezTo>
                    <a:pt x="193" y="173"/>
                    <a:pt x="196" y="176"/>
                    <a:pt x="201" y="176"/>
                  </a:cubicBezTo>
                  <a:moveTo>
                    <a:pt x="81" y="208"/>
                  </a:moveTo>
                  <a:cubicBezTo>
                    <a:pt x="145" y="208"/>
                    <a:pt x="145" y="208"/>
                    <a:pt x="145" y="208"/>
                  </a:cubicBezTo>
                  <a:cubicBezTo>
                    <a:pt x="154" y="208"/>
                    <a:pt x="161" y="201"/>
                    <a:pt x="161" y="192"/>
                  </a:cubicBezTo>
                  <a:cubicBezTo>
                    <a:pt x="161" y="112"/>
                    <a:pt x="161" y="112"/>
                    <a:pt x="161" y="112"/>
                  </a:cubicBezTo>
                  <a:cubicBezTo>
                    <a:pt x="161" y="103"/>
                    <a:pt x="154" y="96"/>
                    <a:pt x="145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72" y="96"/>
                    <a:pt x="64" y="103"/>
                    <a:pt x="64" y="112"/>
                  </a:cubicBezTo>
                  <a:cubicBezTo>
                    <a:pt x="64" y="192"/>
                    <a:pt x="64" y="192"/>
                    <a:pt x="64" y="192"/>
                  </a:cubicBezTo>
                  <a:cubicBezTo>
                    <a:pt x="64" y="201"/>
                    <a:pt x="72" y="208"/>
                    <a:pt x="81" y="208"/>
                  </a:cubicBezTo>
                  <a:moveTo>
                    <a:pt x="81" y="112"/>
                  </a:moveTo>
                  <a:cubicBezTo>
                    <a:pt x="145" y="112"/>
                    <a:pt x="145" y="112"/>
                    <a:pt x="145" y="112"/>
                  </a:cubicBezTo>
                  <a:cubicBezTo>
                    <a:pt x="145" y="192"/>
                    <a:pt x="145" y="192"/>
                    <a:pt x="145" y="192"/>
                  </a:cubicBezTo>
                  <a:cubicBezTo>
                    <a:pt x="81" y="192"/>
                    <a:pt x="81" y="192"/>
                    <a:pt x="81" y="192"/>
                  </a:cubicBezTo>
                  <a:lnTo>
                    <a:pt x="81" y="112"/>
                  </a:lnTo>
                  <a:close/>
                  <a:moveTo>
                    <a:pt x="201" y="208"/>
                  </a:moveTo>
                  <a:cubicBezTo>
                    <a:pt x="281" y="208"/>
                    <a:pt x="281" y="208"/>
                    <a:pt x="281" y="208"/>
                  </a:cubicBezTo>
                  <a:cubicBezTo>
                    <a:pt x="286" y="208"/>
                    <a:pt x="289" y="205"/>
                    <a:pt x="289" y="200"/>
                  </a:cubicBezTo>
                  <a:cubicBezTo>
                    <a:pt x="289" y="196"/>
                    <a:pt x="286" y="192"/>
                    <a:pt x="281" y="192"/>
                  </a:cubicBezTo>
                  <a:cubicBezTo>
                    <a:pt x="201" y="192"/>
                    <a:pt x="201" y="192"/>
                    <a:pt x="201" y="192"/>
                  </a:cubicBezTo>
                  <a:cubicBezTo>
                    <a:pt x="196" y="192"/>
                    <a:pt x="193" y="196"/>
                    <a:pt x="193" y="200"/>
                  </a:cubicBezTo>
                  <a:cubicBezTo>
                    <a:pt x="193" y="205"/>
                    <a:pt x="196" y="208"/>
                    <a:pt x="201" y="208"/>
                  </a:cubicBezTo>
                  <a:moveTo>
                    <a:pt x="337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7"/>
                    <a:pt x="186" y="0"/>
                    <a:pt x="177" y="0"/>
                  </a:cubicBezTo>
                  <a:cubicBezTo>
                    <a:pt x="168" y="0"/>
                    <a:pt x="161" y="7"/>
                    <a:pt x="161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7" y="16"/>
                    <a:pt x="0" y="23"/>
                    <a:pt x="0" y="3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7"/>
                    <a:pt x="7" y="64"/>
                    <a:pt x="16" y="64"/>
                  </a:cubicBezTo>
                  <a:cubicBezTo>
                    <a:pt x="16" y="257"/>
                    <a:pt x="16" y="257"/>
                    <a:pt x="16" y="257"/>
                  </a:cubicBezTo>
                  <a:cubicBezTo>
                    <a:pt x="16" y="265"/>
                    <a:pt x="23" y="273"/>
                    <a:pt x="32" y="273"/>
                  </a:cubicBezTo>
                  <a:cubicBezTo>
                    <a:pt x="169" y="273"/>
                    <a:pt x="169" y="273"/>
                    <a:pt x="169" y="273"/>
                  </a:cubicBezTo>
                  <a:cubicBezTo>
                    <a:pt x="169" y="293"/>
                    <a:pt x="169" y="293"/>
                    <a:pt x="169" y="293"/>
                  </a:cubicBezTo>
                  <a:cubicBezTo>
                    <a:pt x="123" y="339"/>
                    <a:pt x="123" y="339"/>
                    <a:pt x="123" y="339"/>
                  </a:cubicBezTo>
                  <a:cubicBezTo>
                    <a:pt x="122" y="341"/>
                    <a:pt x="121" y="343"/>
                    <a:pt x="121" y="345"/>
                  </a:cubicBezTo>
                  <a:cubicBezTo>
                    <a:pt x="121" y="349"/>
                    <a:pt x="124" y="353"/>
                    <a:pt x="129" y="353"/>
                  </a:cubicBezTo>
                  <a:cubicBezTo>
                    <a:pt x="131" y="353"/>
                    <a:pt x="133" y="352"/>
                    <a:pt x="134" y="351"/>
                  </a:cubicBezTo>
                  <a:cubicBezTo>
                    <a:pt x="177" y="308"/>
                    <a:pt x="177" y="308"/>
                    <a:pt x="177" y="308"/>
                  </a:cubicBezTo>
                  <a:cubicBezTo>
                    <a:pt x="219" y="351"/>
                    <a:pt x="219" y="351"/>
                    <a:pt x="219" y="351"/>
                  </a:cubicBezTo>
                  <a:cubicBezTo>
                    <a:pt x="221" y="352"/>
                    <a:pt x="223" y="353"/>
                    <a:pt x="225" y="353"/>
                  </a:cubicBezTo>
                  <a:cubicBezTo>
                    <a:pt x="229" y="353"/>
                    <a:pt x="233" y="349"/>
                    <a:pt x="233" y="345"/>
                  </a:cubicBezTo>
                  <a:cubicBezTo>
                    <a:pt x="233" y="343"/>
                    <a:pt x="232" y="341"/>
                    <a:pt x="231" y="339"/>
                  </a:cubicBezTo>
                  <a:cubicBezTo>
                    <a:pt x="185" y="293"/>
                    <a:pt x="185" y="293"/>
                    <a:pt x="185" y="293"/>
                  </a:cubicBezTo>
                  <a:cubicBezTo>
                    <a:pt x="185" y="273"/>
                    <a:pt x="185" y="273"/>
                    <a:pt x="185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65"/>
                    <a:pt x="337" y="257"/>
                  </a:cubicBezTo>
                  <a:cubicBezTo>
                    <a:pt x="337" y="64"/>
                    <a:pt x="337" y="64"/>
                    <a:pt x="337" y="64"/>
                  </a:cubicBezTo>
                  <a:cubicBezTo>
                    <a:pt x="346" y="64"/>
                    <a:pt x="353" y="57"/>
                    <a:pt x="353" y="48"/>
                  </a:cubicBezTo>
                  <a:cubicBezTo>
                    <a:pt x="353" y="32"/>
                    <a:pt x="353" y="32"/>
                    <a:pt x="353" y="32"/>
                  </a:cubicBezTo>
                  <a:cubicBezTo>
                    <a:pt x="353" y="23"/>
                    <a:pt x="346" y="16"/>
                    <a:pt x="337" y="16"/>
                  </a:cubicBezTo>
                  <a:moveTo>
                    <a:pt x="321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1" y="64"/>
                    <a:pt x="321" y="64"/>
                    <a:pt x="321" y="64"/>
                  </a:cubicBezTo>
                  <a:lnTo>
                    <a:pt x="321" y="257"/>
                  </a:lnTo>
                  <a:close/>
                  <a:moveTo>
                    <a:pt x="337" y="48"/>
                  </a:moveTo>
                  <a:cubicBezTo>
                    <a:pt x="16" y="48"/>
                    <a:pt x="16" y="48"/>
                    <a:pt x="16" y="48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337" y="32"/>
                    <a:pt x="337" y="32"/>
                    <a:pt x="337" y="32"/>
                  </a:cubicBezTo>
                  <a:lnTo>
                    <a:pt x="337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434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5637543" y="1609494"/>
            <a:ext cx="2472131" cy="2472130"/>
            <a:chOff x="5637543" y="1609494"/>
            <a:chExt cx="2472131" cy="2472130"/>
          </a:xfrm>
        </p:grpSpPr>
        <p:sp>
          <p:nvSpPr>
            <p:cNvPr id="31" name="Freeform 6"/>
            <p:cNvSpPr>
              <a:spLocks noEditPoints="1"/>
            </p:cNvSpPr>
            <p:nvPr/>
          </p:nvSpPr>
          <p:spPr bwMode="auto">
            <a:xfrm>
              <a:off x="5637543" y="1609494"/>
              <a:ext cx="2472131" cy="2472130"/>
            </a:xfrm>
            <a:custGeom>
              <a:avLst/>
              <a:gdLst>
                <a:gd name="T0" fmla="*/ 2213 w 2377"/>
                <a:gd name="T1" fmla="*/ 1189 h 2377"/>
                <a:gd name="T2" fmla="*/ 1189 w 2377"/>
                <a:gd name="T3" fmla="*/ 2213 h 2377"/>
                <a:gd name="T4" fmla="*/ 164 w 2377"/>
                <a:gd name="T5" fmla="*/ 1189 h 2377"/>
                <a:gd name="T6" fmla="*/ 1189 w 2377"/>
                <a:gd name="T7" fmla="*/ 164 h 2377"/>
                <a:gd name="T8" fmla="*/ 2213 w 2377"/>
                <a:gd name="T9" fmla="*/ 1189 h 2377"/>
                <a:gd name="T10" fmla="*/ 1189 w 2377"/>
                <a:gd name="T11" fmla="*/ 0 h 2377"/>
                <a:gd name="T12" fmla="*/ 0 w 2377"/>
                <a:gd name="T13" fmla="*/ 1189 h 2377"/>
                <a:gd name="T14" fmla="*/ 1189 w 2377"/>
                <a:gd name="T15" fmla="*/ 2377 h 2377"/>
                <a:gd name="T16" fmla="*/ 2377 w 2377"/>
                <a:gd name="T17" fmla="*/ 1189 h 2377"/>
                <a:gd name="T18" fmla="*/ 1189 w 2377"/>
                <a:gd name="T19" fmla="*/ 0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7" h="2377">
                  <a:moveTo>
                    <a:pt x="2213" y="1189"/>
                  </a:moveTo>
                  <a:cubicBezTo>
                    <a:pt x="2213" y="1755"/>
                    <a:pt x="1755" y="2213"/>
                    <a:pt x="1189" y="2213"/>
                  </a:cubicBezTo>
                  <a:cubicBezTo>
                    <a:pt x="623" y="2213"/>
                    <a:pt x="164" y="1755"/>
                    <a:pt x="164" y="1189"/>
                  </a:cubicBezTo>
                  <a:cubicBezTo>
                    <a:pt x="164" y="623"/>
                    <a:pt x="623" y="164"/>
                    <a:pt x="1189" y="164"/>
                  </a:cubicBezTo>
                  <a:cubicBezTo>
                    <a:pt x="1755" y="164"/>
                    <a:pt x="2213" y="623"/>
                    <a:pt x="2213" y="1189"/>
                  </a:cubicBezTo>
                  <a:close/>
                  <a:moveTo>
                    <a:pt x="1189" y="0"/>
                  </a:moveTo>
                  <a:cubicBezTo>
                    <a:pt x="533" y="0"/>
                    <a:pt x="0" y="532"/>
                    <a:pt x="0" y="1189"/>
                  </a:cubicBezTo>
                  <a:cubicBezTo>
                    <a:pt x="0" y="1845"/>
                    <a:pt x="533" y="2377"/>
                    <a:pt x="1189" y="2377"/>
                  </a:cubicBezTo>
                  <a:cubicBezTo>
                    <a:pt x="1845" y="2377"/>
                    <a:pt x="2377" y="1845"/>
                    <a:pt x="2377" y="1189"/>
                  </a:cubicBezTo>
                  <a:cubicBezTo>
                    <a:pt x="2377" y="532"/>
                    <a:pt x="1845" y="0"/>
                    <a:pt x="118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141014" y="2755810"/>
              <a:ext cx="14563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nvolviment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141014" y="2970004"/>
              <a:ext cx="1456356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49" name="Freeform 110"/>
            <p:cNvSpPr>
              <a:spLocks noEditPoints="1"/>
            </p:cNvSpPr>
            <p:nvPr/>
          </p:nvSpPr>
          <p:spPr bwMode="auto">
            <a:xfrm>
              <a:off x="6682938" y="2299921"/>
              <a:ext cx="378700" cy="310478"/>
            </a:xfrm>
            <a:custGeom>
              <a:avLst/>
              <a:gdLst>
                <a:gd name="T0" fmla="*/ 68 w 353"/>
                <a:gd name="T1" fmla="*/ 173 h 289"/>
                <a:gd name="T2" fmla="*/ 55 w 353"/>
                <a:gd name="T3" fmla="*/ 131 h 289"/>
                <a:gd name="T4" fmla="*/ 55 w 353"/>
                <a:gd name="T5" fmla="*/ 117 h 289"/>
                <a:gd name="T6" fmla="*/ 49 w 353"/>
                <a:gd name="T7" fmla="*/ 75 h 289"/>
                <a:gd name="T8" fmla="*/ 69 w 353"/>
                <a:gd name="T9" fmla="*/ 52 h 289"/>
                <a:gd name="T10" fmla="*/ 98 w 353"/>
                <a:gd name="T11" fmla="*/ 50 h 289"/>
                <a:gd name="T12" fmla="*/ 103 w 353"/>
                <a:gd name="T13" fmla="*/ 35 h 289"/>
                <a:gd name="T14" fmla="*/ 61 w 353"/>
                <a:gd name="T15" fmla="*/ 39 h 289"/>
                <a:gd name="T16" fmla="*/ 40 w 353"/>
                <a:gd name="T17" fmla="*/ 113 h 289"/>
                <a:gd name="T18" fmla="*/ 52 w 353"/>
                <a:gd name="T19" fmla="*/ 173 h 289"/>
                <a:gd name="T20" fmla="*/ 0 w 353"/>
                <a:gd name="T21" fmla="*/ 249 h 289"/>
                <a:gd name="T22" fmla="*/ 43 w 353"/>
                <a:gd name="T23" fmla="*/ 257 h 289"/>
                <a:gd name="T24" fmla="*/ 16 w 353"/>
                <a:gd name="T25" fmla="*/ 241 h 289"/>
                <a:gd name="T26" fmla="*/ 319 w 353"/>
                <a:gd name="T27" fmla="*/ 201 h 289"/>
                <a:gd name="T28" fmla="*/ 311 w 353"/>
                <a:gd name="T29" fmla="*/ 140 h 289"/>
                <a:gd name="T30" fmla="*/ 318 w 353"/>
                <a:gd name="T31" fmla="*/ 69 h 289"/>
                <a:gd name="T32" fmla="*/ 265 w 353"/>
                <a:gd name="T33" fmla="*/ 32 h 289"/>
                <a:gd name="T34" fmla="*/ 253 w 353"/>
                <a:gd name="T35" fmla="*/ 51 h 289"/>
                <a:gd name="T36" fmla="*/ 265 w 353"/>
                <a:gd name="T37" fmla="*/ 48 h 289"/>
                <a:gd name="T38" fmla="*/ 285 w 353"/>
                <a:gd name="T39" fmla="*/ 53 h 289"/>
                <a:gd name="T40" fmla="*/ 298 w 353"/>
                <a:gd name="T41" fmla="*/ 106 h 289"/>
                <a:gd name="T42" fmla="*/ 298 w 353"/>
                <a:gd name="T43" fmla="*/ 131 h 289"/>
                <a:gd name="T44" fmla="*/ 297 w 353"/>
                <a:gd name="T45" fmla="*/ 132 h 289"/>
                <a:gd name="T46" fmla="*/ 314 w 353"/>
                <a:gd name="T47" fmla="*/ 216 h 289"/>
                <a:gd name="T48" fmla="*/ 301 w 353"/>
                <a:gd name="T49" fmla="*/ 241 h 289"/>
                <a:gd name="T50" fmla="*/ 345 w 353"/>
                <a:gd name="T51" fmla="*/ 257 h 289"/>
                <a:gd name="T52" fmla="*/ 319 w 353"/>
                <a:gd name="T53" fmla="*/ 201 h 289"/>
                <a:gd name="T54" fmla="*/ 211 w 353"/>
                <a:gd name="T55" fmla="*/ 181 h 289"/>
                <a:gd name="T56" fmla="*/ 231 w 353"/>
                <a:gd name="T57" fmla="*/ 105 h 289"/>
                <a:gd name="T58" fmla="*/ 209 w 353"/>
                <a:gd name="T59" fmla="*/ 5 h 289"/>
                <a:gd name="T60" fmla="*/ 152 w 353"/>
                <a:gd name="T61" fmla="*/ 9 h 289"/>
                <a:gd name="T62" fmla="*/ 122 w 353"/>
                <a:gd name="T63" fmla="*/ 104 h 289"/>
                <a:gd name="T64" fmla="*/ 141 w 353"/>
                <a:gd name="T65" fmla="*/ 181 h 289"/>
                <a:gd name="T66" fmla="*/ 56 w 353"/>
                <a:gd name="T67" fmla="*/ 281 h 289"/>
                <a:gd name="T68" fmla="*/ 289 w 353"/>
                <a:gd name="T69" fmla="*/ 289 h 289"/>
                <a:gd name="T70" fmla="*/ 240 w 353"/>
                <a:gd name="T71" fmla="*/ 218 h 289"/>
                <a:gd name="T72" fmla="*/ 116 w 353"/>
                <a:gd name="T73" fmla="*/ 234 h 289"/>
                <a:gd name="T74" fmla="*/ 157 w 353"/>
                <a:gd name="T75" fmla="*/ 181 h 289"/>
                <a:gd name="T76" fmla="*/ 137 w 353"/>
                <a:gd name="T77" fmla="*/ 129 h 289"/>
                <a:gd name="T78" fmla="*/ 137 w 353"/>
                <a:gd name="T79" fmla="*/ 97 h 289"/>
                <a:gd name="T80" fmla="*/ 159 w 353"/>
                <a:gd name="T81" fmla="*/ 23 h 289"/>
                <a:gd name="T82" fmla="*/ 186 w 353"/>
                <a:gd name="T83" fmla="*/ 16 h 289"/>
                <a:gd name="T84" fmla="*/ 217 w 353"/>
                <a:gd name="T85" fmla="*/ 44 h 289"/>
                <a:gd name="T86" fmla="*/ 215 w 353"/>
                <a:gd name="T87" fmla="*/ 108 h 289"/>
                <a:gd name="T88" fmla="*/ 213 w 353"/>
                <a:gd name="T89" fmla="*/ 132 h 289"/>
                <a:gd name="T90" fmla="*/ 235 w 353"/>
                <a:gd name="T91" fmla="*/ 234 h 289"/>
                <a:gd name="T92" fmla="*/ 280 w 353"/>
                <a:gd name="T93" fmla="*/ 27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289">
                  <a:moveTo>
                    <a:pt x="38" y="216"/>
                  </a:moveTo>
                  <a:cubicBezTo>
                    <a:pt x="49" y="213"/>
                    <a:pt x="68" y="201"/>
                    <a:pt x="68" y="173"/>
                  </a:cubicBezTo>
                  <a:cubicBezTo>
                    <a:pt x="68" y="148"/>
                    <a:pt x="60" y="138"/>
                    <a:pt x="55" y="132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5" y="131"/>
                    <a:pt x="55" y="131"/>
                    <a:pt x="55" y="131"/>
                  </a:cubicBezTo>
                  <a:cubicBezTo>
                    <a:pt x="54" y="130"/>
                    <a:pt x="53" y="126"/>
                    <a:pt x="55" y="117"/>
                  </a:cubicBezTo>
                  <a:cubicBezTo>
                    <a:pt x="56" y="113"/>
                    <a:pt x="56" y="109"/>
                    <a:pt x="54" y="106"/>
                  </a:cubicBezTo>
                  <a:cubicBezTo>
                    <a:pt x="51" y="99"/>
                    <a:pt x="45" y="85"/>
                    <a:pt x="49" y="75"/>
                  </a:cubicBezTo>
                  <a:cubicBezTo>
                    <a:pt x="56" y="58"/>
                    <a:pt x="59" y="57"/>
                    <a:pt x="67" y="53"/>
                  </a:cubicBezTo>
                  <a:cubicBezTo>
                    <a:pt x="68" y="53"/>
                    <a:pt x="69" y="53"/>
                    <a:pt x="69" y="52"/>
                  </a:cubicBezTo>
                  <a:cubicBezTo>
                    <a:pt x="71" y="51"/>
                    <a:pt x="79" y="48"/>
                    <a:pt x="88" y="48"/>
                  </a:cubicBezTo>
                  <a:cubicBezTo>
                    <a:pt x="92" y="48"/>
                    <a:pt x="95" y="49"/>
                    <a:pt x="98" y="50"/>
                  </a:cubicBezTo>
                  <a:cubicBezTo>
                    <a:pt x="98" y="47"/>
                    <a:pt x="99" y="45"/>
                    <a:pt x="100" y="42"/>
                  </a:cubicBezTo>
                  <a:cubicBezTo>
                    <a:pt x="101" y="39"/>
                    <a:pt x="102" y="37"/>
                    <a:pt x="103" y="35"/>
                  </a:cubicBezTo>
                  <a:cubicBezTo>
                    <a:pt x="98" y="33"/>
                    <a:pt x="93" y="32"/>
                    <a:pt x="88" y="32"/>
                  </a:cubicBezTo>
                  <a:cubicBezTo>
                    <a:pt x="76" y="32"/>
                    <a:pt x="65" y="36"/>
                    <a:pt x="61" y="39"/>
                  </a:cubicBezTo>
                  <a:cubicBezTo>
                    <a:pt x="48" y="44"/>
                    <a:pt x="42" y="50"/>
                    <a:pt x="34" y="69"/>
                  </a:cubicBezTo>
                  <a:cubicBezTo>
                    <a:pt x="27" y="86"/>
                    <a:pt x="36" y="104"/>
                    <a:pt x="40" y="113"/>
                  </a:cubicBezTo>
                  <a:cubicBezTo>
                    <a:pt x="35" y="133"/>
                    <a:pt x="42" y="140"/>
                    <a:pt x="42" y="140"/>
                  </a:cubicBezTo>
                  <a:cubicBezTo>
                    <a:pt x="45" y="145"/>
                    <a:pt x="52" y="153"/>
                    <a:pt x="52" y="173"/>
                  </a:cubicBezTo>
                  <a:cubicBezTo>
                    <a:pt x="52" y="197"/>
                    <a:pt x="34" y="201"/>
                    <a:pt x="34" y="201"/>
                  </a:cubicBezTo>
                  <a:cubicBezTo>
                    <a:pt x="19" y="206"/>
                    <a:pt x="0" y="217"/>
                    <a:pt x="0" y="249"/>
                  </a:cubicBezTo>
                  <a:cubicBezTo>
                    <a:pt x="0" y="249"/>
                    <a:pt x="0" y="257"/>
                    <a:pt x="8" y="257"/>
                  </a:cubicBezTo>
                  <a:cubicBezTo>
                    <a:pt x="43" y="257"/>
                    <a:pt x="43" y="257"/>
                    <a:pt x="43" y="257"/>
                  </a:cubicBezTo>
                  <a:cubicBezTo>
                    <a:pt x="45" y="251"/>
                    <a:pt x="48" y="245"/>
                    <a:pt x="51" y="241"/>
                  </a:cubicBezTo>
                  <a:cubicBezTo>
                    <a:pt x="16" y="241"/>
                    <a:pt x="16" y="241"/>
                    <a:pt x="16" y="241"/>
                  </a:cubicBezTo>
                  <a:cubicBezTo>
                    <a:pt x="19" y="225"/>
                    <a:pt x="28" y="220"/>
                    <a:pt x="38" y="216"/>
                  </a:cubicBezTo>
                  <a:moveTo>
                    <a:pt x="319" y="201"/>
                  </a:moveTo>
                  <a:cubicBezTo>
                    <a:pt x="319" y="201"/>
                    <a:pt x="301" y="197"/>
                    <a:pt x="301" y="173"/>
                  </a:cubicBezTo>
                  <a:cubicBezTo>
                    <a:pt x="301" y="153"/>
                    <a:pt x="307" y="145"/>
                    <a:pt x="311" y="140"/>
                  </a:cubicBezTo>
                  <a:cubicBezTo>
                    <a:pt x="311" y="140"/>
                    <a:pt x="318" y="133"/>
                    <a:pt x="312" y="113"/>
                  </a:cubicBezTo>
                  <a:cubicBezTo>
                    <a:pt x="317" y="104"/>
                    <a:pt x="325" y="86"/>
                    <a:pt x="318" y="69"/>
                  </a:cubicBezTo>
                  <a:cubicBezTo>
                    <a:pt x="310" y="50"/>
                    <a:pt x="304" y="44"/>
                    <a:pt x="292" y="39"/>
                  </a:cubicBezTo>
                  <a:cubicBezTo>
                    <a:pt x="287" y="36"/>
                    <a:pt x="276" y="32"/>
                    <a:pt x="265" y="32"/>
                  </a:cubicBezTo>
                  <a:cubicBezTo>
                    <a:pt x="259" y="32"/>
                    <a:pt x="254" y="33"/>
                    <a:pt x="248" y="35"/>
                  </a:cubicBezTo>
                  <a:cubicBezTo>
                    <a:pt x="250" y="40"/>
                    <a:pt x="252" y="46"/>
                    <a:pt x="253" y="51"/>
                  </a:cubicBezTo>
                  <a:cubicBezTo>
                    <a:pt x="254" y="51"/>
                    <a:pt x="254" y="50"/>
                    <a:pt x="254" y="50"/>
                  </a:cubicBezTo>
                  <a:cubicBezTo>
                    <a:pt x="257" y="49"/>
                    <a:pt x="260" y="48"/>
                    <a:pt x="265" y="48"/>
                  </a:cubicBezTo>
                  <a:cubicBezTo>
                    <a:pt x="273" y="48"/>
                    <a:pt x="281" y="51"/>
                    <a:pt x="283" y="52"/>
                  </a:cubicBezTo>
                  <a:cubicBezTo>
                    <a:pt x="284" y="53"/>
                    <a:pt x="284" y="53"/>
                    <a:pt x="285" y="53"/>
                  </a:cubicBezTo>
                  <a:cubicBezTo>
                    <a:pt x="293" y="57"/>
                    <a:pt x="296" y="58"/>
                    <a:pt x="303" y="75"/>
                  </a:cubicBezTo>
                  <a:cubicBezTo>
                    <a:pt x="307" y="85"/>
                    <a:pt x="301" y="99"/>
                    <a:pt x="298" y="106"/>
                  </a:cubicBezTo>
                  <a:cubicBezTo>
                    <a:pt x="297" y="109"/>
                    <a:pt x="296" y="113"/>
                    <a:pt x="297" y="117"/>
                  </a:cubicBezTo>
                  <a:cubicBezTo>
                    <a:pt x="299" y="126"/>
                    <a:pt x="298" y="130"/>
                    <a:pt x="298" y="131"/>
                  </a:cubicBezTo>
                  <a:cubicBezTo>
                    <a:pt x="298" y="131"/>
                    <a:pt x="298" y="131"/>
                    <a:pt x="298" y="131"/>
                  </a:cubicBezTo>
                  <a:cubicBezTo>
                    <a:pt x="297" y="132"/>
                    <a:pt x="297" y="132"/>
                    <a:pt x="297" y="132"/>
                  </a:cubicBezTo>
                  <a:cubicBezTo>
                    <a:pt x="293" y="138"/>
                    <a:pt x="285" y="148"/>
                    <a:pt x="285" y="173"/>
                  </a:cubicBezTo>
                  <a:cubicBezTo>
                    <a:pt x="285" y="201"/>
                    <a:pt x="303" y="213"/>
                    <a:pt x="314" y="216"/>
                  </a:cubicBezTo>
                  <a:cubicBezTo>
                    <a:pt x="324" y="220"/>
                    <a:pt x="334" y="225"/>
                    <a:pt x="336" y="241"/>
                  </a:cubicBezTo>
                  <a:cubicBezTo>
                    <a:pt x="301" y="241"/>
                    <a:pt x="301" y="241"/>
                    <a:pt x="301" y="241"/>
                  </a:cubicBezTo>
                  <a:cubicBezTo>
                    <a:pt x="304" y="245"/>
                    <a:pt x="307" y="251"/>
                    <a:pt x="309" y="257"/>
                  </a:cubicBezTo>
                  <a:cubicBezTo>
                    <a:pt x="345" y="257"/>
                    <a:pt x="345" y="257"/>
                    <a:pt x="345" y="257"/>
                  </a:cubicBezTo>
                  <a:cubicBezTo>
                    <a:pt x="353" y="257"/>
                    <a:pt x="353" y="249"/>
                    <a:pt x="353" y="249"/>
                  </a:cubicBezTo>
                  <a:cubicBezTo>
                    <a:pt x="353" y="217"/>
                    <a:pt x="333" y="206"/>
                    <a:pt x="319" y="201"/>
                  </a:cubicBezTo>
                  <a:moveTo>
                    <a:pt x="240" y="218"/>
                  </a:moveTo>
                  <a:cubicBezTo>
                    <a:pt x="240" y="218"/>
                    <a:pt x="211" y="211"/>
                    <a:pt x="211" y="181"/>
                  </a:cubicBezTo>
                  <a:cubicBezTo>
                    <a:pt x="211" y="155"/>
                    <a:pt x="223" y="146"/>
                    <a:pt x="228" y="139"/>
                  </a:cubicBezTo>
                  <a:cubicBezTo>
                    <a:pt x="228" y="139"/>
                    <a:pt x="237" y="131"/>
                    <a:pt x="231" y="105"/>
                  </a:cubicBezTo>
                  <a:cubicBezTo>
                    <a:pt x="241" y="90"/>
                    <a:pt x="245" y="66"/>
                    <a:pt x="232" y="37"/>
                  </a:cubicBezTo>
                  <a:cubicBezTo>
                    <a:pt x="225" y="20"/>
                    <a:pt x="219" y="11"/>
                    <a:pt x="209" y="5"/>
                  </a:cubicBezTo>
                  <a:cubicBezTo>
                    <a:pt x="202" y="1"/>
                    <a:pt x="194" y="0"/>
                    <a:pt x="186" y="0"/>
                  </a:cubicBezTo>
                  <a:cubicBezTo>
                    <a:pt x="172" y="0"/>
                    <a:pt x="158" y="5"/>
                    <a:pt x="152" y="9"/>
                  </a:cubicBezTo>
                  <a:cubicBezTo>
                    <a:pt x="136" y="16"/>
                    <a:pt x="125" y="22"/>
                    <a:pt x="115" y="48"/>
                  </a:cubicBezTo>
                  <a:cubicBezTo>
                    <a:pt x="107" y="69"/>
                    <a:pt x="117" y="92"/>
                    <a:pt x="122" y="104"/>
                  </a:cubicBezTo>
                  <a:cubicBezTo>
                    <a:pt x="116" y="130"/>
                    <a:pt x="125" y="139"/>
                    <a:pt x="125" y="139"/>
                  </a:cubicBezTo>
                  <a:cubicBezTo>
                    <a:pt x="129" y="146"/>
                    <a:pt x="141" y="155"/>
                    <a:pt x="141" y="181"/>
                  </a:cubicBezTo>
                  <a:cubicBezTo>
                    <a:pt x="141" y="211"/>
                    <a:pt x="112" y="218"/>
                    <a:pt x="112" y="218"/>
                  </a:cubicBezTo>
                  <a:cubicBezTo>
                    <a:pt x="94" y="225"/>
                    <a:pt x="56" y="238"/>
                    <a:pt x="56" y="281"/>
                  </a:cubicBezTo>
                  <a:cubicBezTo>
                    <a:pt x="56" y="281"/>
                    <a:pt x="56" y="289"/>
                    <a:pt x="64" y="289"/>
                  </a:cubicBezTo>
                  <a:cubicBezTo>
                    <a:pt x="289" y="289"/>
                    <a:pt x="289" y="289"/>
                    <a:pt x="289" y="289"/>
                  </a:cubicBezTo>
                  <a:cubicBezTo>
                    <a:pt x="297" y="289"/>
                    <a:pt x="297" y="281"/>
                    <a:pt x="297" y="281"/>
                  </a:cubicBezTo>
                  <a:cubicBezTo>
                    <a:pt x="297" y="238"/>
                    <a:pt x="258" y="225"/>
                    <a:pt x="240" y="218"/>
                  </a:cubicBezTo>
                  <a:moveTo>
                    <a:pt x="72" y="273"/>
                  </a:moveTo>
                  <a:cubicBezTo>
                    <a:pt x="76" y="250"/>
                    <a:pt x="96" y="241"/>
                    <a:pt x="116" y="234"/>
                  </a:cubicBezTo>
                  <a:cubicBezTo>
                    <a:pt x="117" y="234"/>
                    <a:pt x="117" y="234"/>
                    <a:pt x="117" y="234"/>
                  </a:cubicBezTo>
                  <a:cubicBezTo>
                    <a:pt x="131" y="230"/>
                    <a:pt x="157" y="214"/>
                    <a:pt x="157" y="181"/>
                  </a:cubicBezTo>
                  <a:cubicBezTo>
                    <a:pt x="157" y="153"/>
                    <a:pt x="146" y="140"/>
                    <a:pt x="140" y="132"/>
                  </a:cubicBezTo>
                  <a:cubicBezTo>
                    <a:pt x="138" y="131"/>
                    <a:pt x="137" y="129"/>
                    <a:pt x="137" y="129"/>
                  </a:cubicBezTo>
                  <a:cubicBezTo>
                    <a:pt x="137" y="128"/>
                    <a:pt x="134" y="122"/>
                    <a:pt x="138" y="107"/>
                  </a:cubicBezTo>
                  <a:cubicBezTo>
                    <a:pt x="139" y="100"/>
                    <a:pt x="137" y="97"/>
                    <a:pt x="137" y="97"/>
                  </a:cubicBezTo>
                  <a:cubicBezTo>
                    <a:pt x="132" y="87"/>
                    <a:pt x="124" y="69"/>
                    <a:pt x="130" y="54"/>
                  </a:cubicBezTo>
                  <a:cubicBezTo>
                    <a:pt x="138" y="33"/>
                    <a:pt x="146" y="29"/>
                    <a:pt x="159" y="23"/>
                  </a:cubicBezTo>
                  <a:cubicBezTo>
                    <a:pt x="160" y="23"/>
                    <a:pt x="160" y="22"/>
                    <a:pt x="161" y="22"/>
                  </a:cubicBezTo>
                  <a:cubicBezTo>
                    <a:pt x="164" y="20"/>
                    <a:pt x="174" y="16"/>
                    <a:pt x="186" y="16"/>
                  </a:cubicBezTo>
                  <a:cubicBezTo>
                    <a:pt x="192" y="16"/>
                    <a:pt x="197" y="17"/>
                    <a:pt x="201" y="19"/>
                  </a:cubicBezTo>
                  <a:cubicBezTo>
                    <a:pt x="206" y="22"/>
                    <a:pt x="210" y="27"/>
                    <a:pt x="217" y="44"/>
                  </a:cubicBezTo>
                  <a:cubicBezTo>
                    <a:pt x="230" y="73"/>
                    <a:pt x="222" y="89"/>
                    <a:pt x="218" y="95"/>
                  </a:cubicBezTo>
                  <a:cubicBezTo>
                    <a:pt x="215" y="99"/>
                    <a:pt x="214" y="104"/>
                    <a:pt x="215" y="108"/>
                  </a:cubicBezTo>
                  <a:cubicBezTo>
                    <a:pt x="218" y="122"/>
                    <a:pt x="216" y="127"/>
                    <a:pt x="216" y="129"/>
                  </a:cubicBezTo>
                  <a:cubicBezTo>
                    <a:pt x="216" y="129"/>
                    <a:pt x="214" y="131"/>
                    <a:pt x="213" y="132"/>
                  </a:cubicBezTo>
                  <a:cubicBezTo>
                    <a:pt x="207" y="140"/>
                    <a:pt x="195" y="153"/>
                    <a:pt x="195" y="181"/>
                  </a:cubicBezTo>
                  <a:cubicBezTo>
                    <a:pt x="195" y="214"/>
                    <a:pt x="221" y="230"/>
                    <a:pt x="235" y="234"/>
                  </a:cubicBezTo>
                  <a:cubicBezTo>
                    <a:pt x="236" y="234"/>
                    <a:pt x="236" y="234"/>
                    <a:pt x="236" y="234"/>
                  </a:cubicBezTo>
                  <a:cubicBezTo>
                    <a:pt x="256" y="241"/>
                    <a:pt x="276" y="250"/>
                    <a:pt x="280" y="273"/>
                  </a:cubicBezTo>
                  <a:lnTo>
                    <a:pt x="72" y="27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336818" y="1609494"/>
            <a:ext cx="2472131" cy="2472130"/>
            <a:chOff x="3336818" y="1609494"/>
            <a:chExt cx="2472131" cy="2472130"/>
          </a:xfrm>
        </p:grpSpPr>
        <p:sp>
          <p:nvSpPr>
            <p:cNvPr id="32" name="Freeform 7"/>
            <p:cNvSpPr>
              <a:spLocks noEditPoints="1"/>
            </p:cNvSpPr>
            <p:nvPr/>
          </p:nvSpPr>
          <p:spPr bwMode="auto">
            <a:xfrm>
              <a:off x="3336818" y="1609494"/>
              <a:ext cx="2472131" cy="2472130"/>
            </a:xfrm>
            <a:custGeom>
              <a:avLst/>
              <a:gdLst>
                <a:gd name="T0" fmla="*/ 164 w 2377"/>
                <a:gd name="T1" fmla="*/ 1189 h 2377"/>
                <a:gd name="T2" fmla="*/ 1189 w 2377"/>
                <a:gd name="T3" fmla="*/ 164 h 2377"/>
                <a:gd name="T4" fmla="*/ 2213 w 2377"/>
                <a:gd name="T5" fmla="*/ 1189 h 2377"/>
                <a:gd name="T6" fmla="*/ 1189 w 2377"/>
                <a:gd name="T7" fmla="*/ 2213 h 2377"/>
                <a:gd name="T8" fmla="*/ 164 w 2377"/>
                <a:gd name="T9" fmla="*/ 1189 h 2377"/>
                <a:gd name="T10" fmla="*/ 1189 w 2377"/>
                <a:gd name="T11" fmla="*/ 2377 h 2377"/>
                <a:gd name="T12" fmla="*/ 2377 w 2377"/>
                <a:gd name="T13" fmla="*/ 1189 h 2377"/>
                <a:gd name="T14" fmla="*/ 1189 w 2377"/>
                <a:gd name="T15" fmla="*/ 0 h 2377"/>
                <a:gd name="T16" fmla="*/ 0 w 2377"/>
                <a:gd name="T17" fmla="*/ 1189 h 2377"/>
                <a:gd name="T18" fmla="*/ 1189 w 2377"/>
                <a:gd name="T19" fmla="*/ 2377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7" h="2377">
                  <a:moveTo>
                    <a:pt x="164" y="1189"/>
                  </a:moveTo>
                  <a:cubicBezTo>
                    <a:pt x="164" y="623"/>
                    <a:pt x="623" y="164"/>
                    <a:pt x="1189" y="164"/>
                  </a:cubicBezTo>
                  <a:cubicBezTo>
                    <a:pt x="1755" y="164"/>
                    <a:pt x="2213" y="623"/>
                    <a:pt x="2213" y="1189"/>
                  </a:cubicBezTo>
                  <a:cubicBezTo>
                    <a:pt x="2213" y="1755"/>
                    <a:pt x="1755" y="2213"/>
                    <a:pt x="1189" y="2213"/>
                  </a:cubicBezTo>
                  <a:cubicBezTo>
                    <a:pt x="623" y="2213"/>
                    <a:pt x="164" y="1755"/>
                    <a:pt x="164" y="1189"/>
                  </a:cubicBezTo>
                  <a:close/>
                  <a:moveTo>
                    <a:pt x="1189" y="2377"/>
                  </a:moveTo>
                  <a:cubicBezTo>
                    <a:pt x="1845" y="2377"/>
                    <a:pt x="2377" y="1845"/>
                    <a:pt x="2377" y="1189"/>
                  </a:cubicBezTo>
                  <a:cubicBezTo>
                    <a:pt x="2377" y="532"/>
                    <a:pt x="1845" y="0"/>
                    <a:pt x="1189" y="0"/>
                  </a:cubicBezTo>
                  <a:cubicBezTo>
                    <a:pt x="533" y="0"/>
                    <a:pt x="0" y="532"/>
                    <a:pt x="0" y="1189"/>
                  </a:cubicBezTo>
                  <a:cubicBezTo>
                    <a:pt x="0" y="1845"/>
                    <a:pt x="533" y="2377"/>
                    <a:pt x="1189" y="237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843822" y="2755810"/>
              <a:ext cx="14563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organizaçã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843822" y="2970004"/>
              <a:ext cx="1456356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50" name="Freeform 24"/>
            <p:cNvSpPr>
              <a:spLocks noEditPoints="1"/>
            </p:cNvSpPr>
            <p:nvPr/>
          </p:nvSpPr>
          <p:spPr bwMode="auto">
            <a:xfrm>
              <a:off x="4365217" y="2222447"/>
              <a:ext cx="381486" cy="382876"/>
            </a:xfrm>
            <a:custGeom>
              <a:avLst/>
              <a:gdLst>
                <a:gd name="T0" fmla="*/ 193 w 353"/>
                <a:gd name="T1" fmla="*/ 96 h 353"/>
                <a:gd name="T2" fmla="*/ 225 w 353"/>
                <a:gd name="T3" fmla="*/ 32 h 353"/>
                <a:gd name="T4" fmla="*/ 160 w 353"/>
                <a:gd name="T5" fmla="*/ 0 h 353"/>
                <a:gd name="T6" fmla="*/ 128 w 353"/>
                <a:gd name="T7" fmla="*/ 64 h 353"/>
                <a:gd name="T8" fmla="*/ 144 w 353"/>
                <a:gd name="T9" fmla="*/ 32 h 353"/>
                <a:gd name="T10" fmla="*/ 193 w 353"/>
                <a:gd name="T11" fmla="*/ 16 h 353"/>
                <a:gd name="T12" fmla="*/ 209 w 353"/>
                <a:gd name="T13" fmla="*/ 64 h 353"/>
                <a:gd name="T14" fmla="*/ 160 w 353"/>
                <a:gd name="T15" fmla="*/ 80 h 353"/>
                <a:gd name="T16" fmla="*/ 144 w 353"/>
                <a:gd name="T17" fmla="*/ 32 h 353"/>
                <a:gd name="T18" fmla="*/ 56 w 353"/>
                <a:gd name="T19" fmla="*/ 233 h 353"/>
                <a:gd name="T20" fmla="*/ 168 w 353"/>
                <a:gd name="T21" fmla="*/ 176 h 353"/>
                <a:gd name="T22" fmla="*/ 176 w 353"/>
                <a:gd name="T23" fmla="*/ 241 h 353"/>
                <a:gd name="T24" fmla="*/ 185 w 353"/>
                <a:gd name="T25" fmla="*/ 176 h 353"/>
                <a:gd name="T26" fmla="*/ 297 w 353"/>
                <a:gd name="T27" fmla="*/ 233 h 353"/>
                <a:gd name="T28" fmla="*/ 313 w 353"/>
                <a:gd name="T29" fmla="*/ 233 h 353"/>
                <a:gd name="T30" fmla="*/ 305 w 353"/>
                <a:gd name="T31" fmla="*/ 160 h 353"/>
                <a:gd name="T32" fmla="*/ 185 w 353"/>
                <a:gd name="T33" fmla="*/ 120 h 353"/>
                <a:gd name="T34" fmla="*/ 168 w 353"/>
                <a:gd name="T35" fmla="*/ 120 h 353"/>
                <a:gd name="T36" fmla="*/ 48 w 353"/>
                <a:gd name="T37" fmla="*/ 160 h 353"/>
                <a:gd name="T38" fmla="*/ 40 w 353"/>
                <a:gd name="T39" fmla="*/ 233 h 353"/>
                <a:gd name="T40" fmla="*/ 64 w 353"/>
                <a:gd name="T41" fmla="*/ 257 h 353"/>
                <a:gd name="T42" fmla="*/ 0 w 353"/>
                <a:gd name="T43" fmla="*/ 289 h 353"/>
                <a:gd name="T44" fmla="*/ 32 w 353"/>
                <a:gd name="T45" fmla="*/ 353 h 353"/>
                <a:gd name="T46" fmla="*/ 96 w 353"/>
                <a:gd name="T47" fmla="*/ 321 h 353"/>
                <a:gd name="T48" fmla="*/ 64 w 353"/>
                <a:gd name="T49" fmla="*/ 257 h 353"/>
                <a:gd name="T50" fmla="*/ 64 w 353"/>
                <a:gd name="T51" fmla="*/ 337 h 353"/>
                <a:gd name="T52" fmla="*/ 16 w 353"/>
                <a:gd name="T53" fmla="*/ 321 h 353"/>
                <a:gd name="T54" fmla="*/ 32 w 353"/>
                <a:gd name="T55" fmla="*/ 273 h 353"/>
                <a:gd name="T56" fmla="*/ 80 w 353"/>
                <a:gd name="T57" fmla="*/ 289 h 353"/>
                <a:gd name="T58" fmla="*/ 321 w 353"/>
                <a:gd name="T59" fmla="*/ 257 h 353"/>
                <a:gd name="T60" fmla="*/ 257 w 353"/>
                <a:gd name="T61" fmla="*/ 289 h 353"/>
                <a:gd name="T62" fmla="*/ 289 w 353"/>
                <a:gd name="T63" fmla="*/ 353 h 353"/>
                <a:gd name="T64" fmla="*/ 353 w 353"/>
                <a:gd name="T65" fmla="*/ 321 h 353"/>
                <a:gd name="T66" fmla="*/ 321 w 353"/>
                <a:gd name="T67" fmla="*/ 257 h 353"/>
                <a:gd name="T68" fmla="*/ 321 w 353"/>
                <a:gd name="T69" fmla="*/ 337 h 353"/>
                <a:gd name="T70" fmla="*/ 273 w 353"/>
                <a:gd name="T71" fmla="*/ 321 h 353"/>
                <a:gd name="T72" fmla="*/ 289 w 353"/>
                <a:gd name="T73" fmla="*/ 273 h 353"/>
                <a:gd name="T74" fmla="*/ 337 w 353"/>
                <a:gd name="T75" fmla="*/ 289 h 353"/>
                <a:gd name="T76" fmla="*/ 193 w 353"/>
                <a:gd name="T77" fmla="*/ 257 h 353"/>
                <a:gd name="T78" fmla="*/ 128 w 353"/>
                <a:gd name="T79" fmla="*/ 289 h 353"/>
                <a:gd name="T80" fmla="*/ 160 w 353"/>
                <a:gd name="T81" fmla="*/ 353 h 353"/>
                <a:gd name="T82" fmla="*/ 225 w 353"/>
                <a:gd name="T83" fmla="*/ 321 h 353"/>
                <a:gd name="T84" fmla="*/ 193 w 353"/>
                <a:gd name="T85" fmla="*/ 257 h 353"/>
                <a:gd name="T86" fmla="*/ 193 w 353"/>
                <a:gd name="T87" fmla="*/ 337 h 353"/>
                <a:gd name="T88" fmla="*/ 144 w 353"/>
                <a:gd name="T89" fmla="*/ 321 h 353"/>
                <a:gd name="T90" fmla="*/ 160 w 353"/>
                <a:gd name="T91" fmla="*/ 273 h 353"/>
                <a:gd name="T92" fmla="*/ 209 w 353"/>
                <a:gd name="T93" fmla="*/ 28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3" h="353">
                  <a:moveTo>
                    <a:pt x="160" y="96"/>
                  </a:moveTo>
                  <a:cubicBezTo>
                    <a:pt x="193" y="96"/>
                    <a:pt x="193" y="96"/>
                    <a:pt x="193" y="96"/>
                  </a:cubicBezTo>
                  <a:cubicBezTo>
                    <a:pt x="210" y="96"/>
                    <a:pt x="225" y="82"/>
                    <a:pt x="225" y="64"/>
                  </a:cubicBezTo>
                  <a:cubicBezTo>
                    <a:pt x="225" y="32"/>
                    <a:pt x="225" y="32"/>
                    <a:pt x="225" y="32"/>
                  </a:cubicBezTo>
                  <a:cubicBezTo>
                    <a:pt x="225" y="14"/>
                    <a:pt x="210" y="0"/>
                    <a:pt x="193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43" y="0"/>
                    <a:pt x="128" y="14"/>
                    <a:pt x="128" y="32"/>
                  </a:cubicBezTo>
                  <a:cubicBezTo>
                    <a:pt x="128" y="64"/>
                    <a:pt x="128" y="64"/>
                    <a:pt x="128" y="64"/>
                  </a:cubicBezTo>
                  <a:cubicBezTo>
                    <a:pt x="128" y="82"/>
                    <a:pt x="143" y="96"/>
                    <a:pt x="160" y="96"/>
                  </a:cubicBezTo>
                  <a:moveTo>
                    <a:pt x="144" y="32"/>
                  </a:moveTo>
                  <a:cubicBezTo>
                    <a:pt x="144" y="23"/>
                    <a:pt x="152" y="16"/>
                    <a:pt x="160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01" y="16"/>
                    <a:pt x="209" y="23"/>
                    <a:pt x="209" y="32"/>
                  </a:cubicBezTo>
                  <a:cubicBezTo>
                    <a:pt x="209" y="64"/>
                    <a:pt x="209" y="64"/>
                    <a:pt x="209" y="64"/>
                  </a:cubicBezTo>
                  <a:cubicBezTo>
                    <a:pt x="209" y="73"/>
                    <a:pt x="201" y="80"/>
                    <a:pt x="193" y="80"/>
                  </a:cubicBezTo>
                  <a:cubicBezTo>
                    <a:pt x="160" y="80"/>
                    <a:pt x="160" y="80"/>
                    <a:pt x="160" y="80"/>
                  </a:cubicBezTo>
                  <a:cubicBezTo>
                    <a:pt x="152" y="80"/>
                    <a:pt x="144" y="73"/>
                    <a:pt x="144" y="64"/>
                  </a:cubicBezTo>
                  <a:lnTo>
                    <a:pt x="144" y="32"/>
                  </a:lnTo>
                  <a:close/>
                  <a:moveTo>
                    <a:pt x="48" y="241"/>
                  </a:moveTo>
                  <a:cubicBezTo>
                    <a:pt x="52" y="241"/>
                    <a:pt x="56" y="237"/>
                    <a:pt x="56" y="233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168" y="176"/>
                    <a:pt x="168" y="176"/>
                    <a:pt x="168" y="176"/>
                  </a:cubicBezTo>
                  <a:cubicBezTo>
                    <a:pt x="168" y="233"/>
                    <a:pt x="168" y="233"/>
                    <a:pt x="168" y="233"/>
                  </a:cubicBezTo>
                  <a:cubicBezTo>
                    <a:pt x="168" y="237"/>
                    <a:pt x="172" y="241"/>
                    <a:pt x="176" y="241"/>
                  </a:cubicBezTo>
                  <a:cubicBezTo>
                    <a:pt x="181" y="241"/>
                    <a:pt x="185" y="237"/>
                    <a:pt x="185" y="233"/>
                  </a:cubicBezTo>
                  <a:cubicBezTo>
                    <a:pt x="185" y="176"/>
                    <a:pt x="185" y="176"/>
                    <a:pt x="185" y="176"/>
                  </a:cubicBezTo>
                  <a:cubicBezTo>
                    <a:pt x="297" y="176"/>
                    <a:pt x="297" y="176"/>
                    <a:pt x="297" y="176"/>
                  </a:cubicBezTo>
                  <a:cubicBezTo>
                    <a:pt x="297" y="233"/>
                    <a:pt x="297" y="233"/>
                    <a:pt x="297" y="233"/>
                  </a:cubicBezTo>
                  <a:cubicBezTo>
                    <a:pt x="297" y="237"/>
                    <a:pt x="301" y="241"/>
                    <a:pt x="305" y="241"/>
                  </a:cubicBezTo>
                  <a:cubicBezTo>
                    <a:pt x="309" y="241"/>
                    <a:pt x="313" y="237"/>
                    <a:pt x="313" y="233"/>
                  </a:cubicBezTo>
                  <a:cubicBezTo>
                    <a:pt x="313" y="168"/>
                    <a:pt x="313" y="168"/>
                    <a:pt x="313" y="168"/>
                  </a:cubicBezTo>
                  <a:cubicBezTo>
                    <a:pt x="313" y="164"/>
                    <a:pt x="309" y="160"/>
                    <a:pt x="305" y="160"/>
                  </a:cubicBezTo>
                  <a:cubicBezTo>
                    <a:pt x="185" y="160"/>
                    <a:pt x="185" y="160"/>
                    <a:pt x="185" y="160"/>
                  </a:cubicBezTo>
                  <a:cubicBezTo>
                    <a:pt x="185" y="120"/>
                    <a:pt x="185" y="120"/>
                    <a:pt x="185" y="120"/>
                  </a:cubicBezTo>
                  <a:cubicBezTo>
                    <a:pt x="185" y="116"/>
                    <a:pt x="181" y="112"/>
                    <a:pt x="176" y="112"/>
                  </a:cubicBezTo>
                  <a:cubicBezTo>
                    <a:pt x="172" y="112"/>
                    <a:pt x="168" y="116"/>
                    <a:pt x="168" y="120"/>
                  </a:cubicBezTo>
                  <a:cubicBezTo>
                    <a:pt x="168" y="160"/>
                    <a:pt x="168" y="160"/>
                    <a:pt x="168" y="160"/>
                  </a:cubicBezTo>
                  <a:cubicBezTo>
                    <a:pt x="48" y="160"/>
                    <a:pt x="48" y="160"/>
                    <a:pt x="48" y="160"/>
                  </a:cubicBezTo>
                  <a:cubicBezTo>
                    <a:pt x="44" y="160"/>
                    <a:pt x="40" y="164"/>
                    <a:pt x="40" y="168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7"/>
                    <a:pt x="44" y="241"/>
                    <a:pt x="48" y="241"/>
                  </a:cubicBezTo>
                  <a:moveTo>
                    <a:pt x="64" y="257"/>
                  </a:moveTo>
                  <a:cubicBezTo>
                    <a:pt x="32" y="257"/>
                    <a:pt x="32" y="257"/>
                    <a:pt x="32" y="257"/>
                  </a:cubicBezTo>
                  <a:cubicBezTo>
                    <a:pt x="14" y="257"/>
                    <a:pt x="0" y="271"/>
                    <a:pt x="0" y="289"/>
                  </a:cubicBezTo>
                  <a:cubicBezTo>
                    <a:pt x="0" y="321"/>
                    <a:pt x="0" y="321"/>
                    <a:pt x="0" y="321"/>
                  </a:cubicBezTo>
                  <a:cubicBezTo>
                    <a:pt x="0" y="339"/>
                    <a:pt x="14" y="353"/>
                    <a:pt x="32" y="353"/>
                  </a:cubicBezTo>
                  <a:cubicBezTo>
                    <a:pt x="64" y="353"/>
                    <a:pt x="64" y="353"/>
                    <a:pt x="64" y="353"/>
                  </a:cubicBezTo>
                  <a:cubicBezTo>
                    <a:pt x="82" y="353"/>
                    <a:pt x="96" y="339"/>
                    <a:pt x="96" y="321"/>
                  </a:cubicBezTo>
                  <a:cubicBezTo>
                    <a:pt x="96" y="289"/>
                    <a:pt x="96" y="289"/>
                    <a:pt x="96" y="289"/>
                  </a:cubicBezTo>
                  <a:cubicBezTo>
                    <a:pt x="96" y="271"/>
                    <a:pt x="82" y="257"/>
                    <a:pt x="64" y="257"/>
                  </a:cubicBezTo>
                  <a:moveTo>
                    <a:pt x="80" y="321"/>
                  </a:moveTo>
                  <a:cubicBezTo>
                    <a:pt x="80" y="330"/>
                    <a:pt x="73" y="337"/>
                    <a:pt x="64" y="337"/>
                  </a:cubicBezTo>
                  <a:cubicBezTo>
                    <a:pt x="32" y="337"/>
                    <a:pt x="32" y="337"/>
                    <a:pt x="32" y="337"/>
                  </a:cubicBezTo>
                  <a:cubicBezTo>
                    <a:pt x="23" y="337"/>
                    <a:pt x="16" y="330"/>
                    <a:pt x="16" y="321"/>
                  </a:cubicBezTo>
                  <a:cubicBezTo>
                    <a:pt x="16" y="289"/>
                    <a:pt x="16" y="289"/>
                    <a:pt x="16" y="289"/>
                  </a:cubicBezTo>
                  <a:cubicBezTo>
                    <a:pt x="16" y="280"/>
                    <a:pt x="23" y="273"/>
                    <a:pt x="32" y="273"/>
                  </a:cubicBezTo>
                  <a:cubicBezTo>
                    <a:pt x="64" y="273"/>
                    <a:pt x="64" y="273"/>
                    <a:pt x="64" y="273"/>
                  </a:cubicBezTo>
                  <a:cubicBezTo>
                    <a:pt x="73" y="273"/>
                    <a:pt x="80" y="280"/>
                    <a:pt x="80" y="289"/>
                  </a:cubicBezTo>
                  <a:lnTo>
                    <a:pt x="80" y="321"/>
                  </a:lnTo>
                  <a:close/>
                  <a:moveTo>
                    <a:pt x="321" y="257"/>
                  </a:moveTo>
                  <a:cubicBezTo>
                    <a:pt x="289" y="257"/>
                    <a:pt x="289" y="257"/>
                    <a:pt x="289" y="257"/>
                  </a:cubicBezTo>
                  <a:cubicBezTo>
                    <a:pt x="271" y="257"/>
                    <a:pt x="257" y="271"/>
                    <a:pt x="257" y="289"/>
                  </a:cubicBezTo>
                  <a:cubicBezTo>
                    <a:pt x="257" y="321"/>
                    <a:pt x="257" y="321"/>
                    <a:pt x="257" y="321"/>
                  </a:cubicBezTo>
                  <a:cubicBezTo>
                    <a:pt x="257" y="339"/>
                    <a:pt x="271" y="353"/>
                    <a:pt x="289" y="353"/>
                  </a:cubicBezTo>
                  <a:cubicBezTo>
                    <a:pt x="321" y="353"/>
                    <a:pt x="321" y="353"/>
                    <a:pt x="321" y="353"/>
                  </a:cubicBezTo>
                  <a:cubicBezTo>
                    <a:pt x="339" y="353"/>
                    <a:pt x="353" y="339"/>
                    <a:pt x="353" y="321"/>
                  </a:cubicBezTo>
                  <a:cubicBezTo>
                    <a:pt x="353" y="289"/>
                    <a:pt x="353" y="289"/>
                    <a:pt x="353" y="289"/>
                  </a:cubicBezTo>
                  <a:cubicBezTo>
                    <a:pt x="353" y="271"/>
                    <a:pt x="339" y="257"/>
                    <a:pt x="321" y="257"/>
                  </a:cubicBezTo>
                  <a:moveTo>
                    <a:pt x="337" y="321"/>
                  </a:moveTo>
                  <a:cubicBezTo>
                    <a:pt x="337" y="330"/>
                    <a:pt x="330" y="337"/>
                    <a:pt x="321" y="337"/>
                  </a:cubicBezTo>
                  <a:cubicBezTo>
                    <a:pt x="289" y="337"/>
                    <a:pt x="289" y="337"/>
                    <a:pt x="289" y="337"/>
                  </a:cubicBezTo>
                  <a:cubicBezTo>
                    <a:pt x="280" y="337"/>
                    <a:pt x="273" y="330"/>
                    <a:pt x="273" y="321"/>
                  </a:cubicBezTo>
                  <a:cubicBezTo>
                    <a:pt x="273" y="289"/>
                    <a:pt x="273" y="289"/>
                    <a:pt x="273" y="289"/>
                  </a:cubicBezTo>
                  <a:cubicBezTo>
                    <a:pt x="273" y="280"/>
                    <a:pt x="280" y="273"/>
                    <a:pt x="289" y="273"/>
                  </a:cubicBezTo>
                  <a:cubicBezTo>
                    <a:pt x="321" y="273"/>
                    <a:pt x="321" y="273"/>
                    <a:pt x="321" y="273"/>
                  </a:cubicBezTo>
                  <a:cubicBezTo>
                    <a:pt x="330" y="273"/>
                    <a:pt x="337" y="280"/>
                    <a:pt x="337" y="289"/>
                  </a:cubicBezTo>
                  <a:lnTo>
                    <a:pt x="337" y="321"/>
                  </a:lnTo>
                  <a:close/>
                  <a:moveTo>
                    <a:pt x="193" y="257"/>
                  </a:moveTo>
                  <a:cubicBezTo>
                    <a:pt x="160" y="257"/>
                    <a:pt x="160" y="257"/>
                    <a:pt x="160" y="257"/>
                  </a:cubicBezTo>
                  <a:cubicBezTo>
                    <a:pt x="143" y="257"/>
                    <a:pt x="128" y="271"/>
                    <a:pt x="128" y="289"/>
                  </a:cubicBezTo>
                  <a:cubicBezTo>
                    <a:pt x="128" y="321"/>
                    <a:pt x="128" y="321"/>
                    <a:pt x="128" y="321"/>
                  </a:cubicBezTo>
                  <a:cubicBezTo>
                    <a:pt x="128" y="339"/>
                    <a:pt x="143" y="353"/>
                    <a:pt x="160" y="353"/>
                  </a:cubicBezTo>
                  <a:cubicBezTo>
                    <a:pt x="193" y="353"/>
                    <a:pt x="193" y="353"/>
                    <a:pt x="193" y="353"/>
                  </a:cubicBezTo>
                  <a:cubicBezTo>
                    <a:pt x="210" y="353"/>
                    <a:pt x="225" y="339"/>
                    <a:pt x="225" y="321"/>
                  </a:cubicBezTo>
                  <a:cubicBezTo>
                    <a:pt x="225" y="289"/>
                    <a:pt x="225" y="289"/>
                    <a:pt x="225" y="289"/>
                  </a:cubicBezTo>
                  <a:cubicBezTo>
                    <a:pt x="225" y="271"/>
                    <a:pt x="210" y="257"/>
                    <a:pt x="193" y="257"/>
                  </a:cubicBezTo>
                  <a:moveTo>
                    <a:pt x="209" y="321"/>
                  </a:moveTo>
                  <a:cubicBezTo>
                    <a:pt x="209" y="330"/>
                    <a:pt x="201" y="337"/>
                    <a:pt x="193" y="337"/>
                  </a:cubicBezTo>
                  <a:cubicBezTo>
                    <a:pt x="160" y="337"/>
                    <a:pt x="160" y="337"/>
                    <a:pt x="160" y="337"/>
                  </a:cubicBezTo>
                  <a:cubicBezTo>
                    <a:pt x="152" y="337"/>
                    <a:pt x="144" y="330"/>
                    <a:pt x="144" y="321"/>
                  </a:cubicBezTo>
                  <a:cubicBezTo>
                    <a:pt x="144" y="289"/>
                    <a:pt x="144" y="289"/>
                    <a:pt x="144" y="289"/>
                  </a:cubicBezTo>
                  <a:cubicBezTo>
                    <a:pt x="144" y="280"/>
                    <a:pt x="152" y="273"/>
                    <a:pt x="160" y="273"/>
                  </a:cubicBezTo>
                  <a:cubicBezTo>
                    <a:pt x="193" y="273"/>
                    <a:pt x="193" y="273"/>
                    <a:pt x="193" y="273"/>
                  </a:cubicBezTo>
                  <a:cubicBezTo>
                    <a:pt x="201" y="273"/>
                    <a:pt x="209" y="280"/>
                    <a:pt x="209" y="289"/>
                  </a:cubicBezTo>
                  <a:lnTo>
                    <a:pt x="209" y="321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34326" y="1609494"/>
            <a:ext cx="2472131" cy="2472130"/>
            <a:chOff x="1034326" y="1609494"/>
            <a:chExt cx="2472131" cy="2472130"/>
          </a:xfrm>
        </p:grpSpPr>
        <p:sp>
          <p:nvSpPr>
            <p:cNvPr id="30" name="Freeform 5"/>
            <p:cNvSpPr>
              <a:spLocks noEditPoints="1"/>
            </p:cNvSpPr>
            <p:nvPr/>
          </p:nvSpPr>
          <p:spPr bwMode="auto">
            <a:xfrm>
              <a:off x="1034326" y="1609494"/>
              <a:ext cx="2472131" cy="2472130"/>
            </a:xfrm>
            <a:custGeom>
              <a:avLst/>
              <a:gdLst>
                <a:gd name="T0" fmla="*/ 2213 w 2377"/>
                <a:gd name="T1" fmla="*/ 1189 h 2377"/>
                <a:gd name="T2" fmla="*/ 1189 w 2377"/>
                <a:gd name="T3" fmla="*/ 2213 h 2377"/>
                <a:gd name="T4" fmla="*/ 164 w 2377"/>
                <a:gd name="T5" fmla="*/ 1189 h 2377"/>
                <a:gd name="T6" fmla="*/ 1189 w 2377"/>
                <a:gd name="T7" fmla="*/ 164 h 2377"/>
                <a:gd name="T8" fmla="*/ 2213 w 2377"/>
                <a:gd name="T9" fmla="*/ 1189 h 2377"/>
                <a:gd name="T10" fmla="*/ 1189 w 2377"/>
                <a:gd name="T11" fmla="*/ 0 h 2377"/>
                <a:gd name="T12" fmla="*/ 0 w 2377"/>
                <a:gd name="T13" fmla="*/ 1189 h 2377"/>
                <a:gd name="T14" fmla="*/ 1189 w 2377"/>
                <a:gd name="T15" fmla="*/ 2377 h 2377"/>
                <a:gd name="T16" fmla="*/ 2377 w 2377"/>
                <a:gd name="T17" fmla="*/ 1189 h 2377"/>
                <a:gd name="T18" fmla="*/ 1189 w 2377"/>
                <a:gd name="T19" fmla="*/ 0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77" h="2377">
                  <a:moveTo>
                    <a:pt x="2213" y="1189"/>
                  </a:moveTo>
                  <a:cubicBezTo>
                    <a:pt x="2213" y="1755"/>
                    <a:pt x="1755" y="2213"/>
                    <a:pt x="1189" y="2213"/>
                  </a:cubicBezTo>
                  <a:cubicBezTo>
                    <a:pt x="623" y="2213"/>
                    <a:pt x="164" y="1755"/>
                    <a:pt x="164" y="1189"/>
                  </a:cubicBezTo>
                  <a:cubicBezTo>
                    <a:pt x="164" y="623"/>
                    <a:pt x="623" y="164"/>
                    <a:pt x="1189" y="164"/>
                  </a:cubicBezTo>
                  <a:cubicBezTo>
                    <a:pt x="1755" y="164"/>
                    <a:pt x="2213" y="623"/>
                    <a:pt x="2213" y="1189"/>
                  </a:cubicBezTo>
                  <a:close/>
                  <a:moveTo>
                    <a:pt x="1189" y="0"/>
                  </a:moveTo>
                  <a:cubicBezTo>
                    <a:pt x="533" y="0"/>
                    <a:pt x="0" y="532"/>
                    <a:pt x="0" y="1189"/>
                  </a:cubicBezTo>
                  <a:cubicBezTo>
                    <a:pt x="0" y="1845"/>
                    <a:pt x="533" y="2377"/>
                    <a:pt x="1189" y="2377"/>
                  </a:cubicBezTo>
                  <a:cubicBezTo>
                    <a:pt x="1845" y="2377"/>
                    <a:pt x="2377" y="1845"/>
                    <a:pt x="2377" y="1189"/>
                  </a:cubicBezTo>
                  <a:cubicBezTo>
                    <a:pt x="2377" y="532"/>
                    <a:pt x="1845" y="0"/>
                    <a:pt x="1189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548397" y="2755810"/>
              <a:ext cx="145635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Metas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 de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negóci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548397" y="2970004"/>
              <a:ext cx="1456356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cs typeface="Poppins" panose="02000000000000000000" pitchFamily="2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cs typeface="Poppins" panose="02000000000000000000" pitchFamily="2" charset="0"/>
              </a:endParaRPr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2078952" y="2222447"/>
              <a:ext cx="382878" cy="382876"/>
            </a:xfrm>
            <a:custGeom>
              <a:avLst/>
              <a:gdLst>
                <a:gd name="T0" fmla="*/ 177 w 353"/>
                <a:gd name="T1" fmla="*/ 128 h 353"/>
                <a:gd name="T2" fmla="*/ 128 w 353"/>
                <a:gd name="T3" fmla="*/ 177 h 353"/>
                <a:gd name="T4" fmla="*/ 177 w 353"/>
                <a:gd name="T5" fmla="*/ 225 h 353"/>
                <a:gd name="T6" fmla="*/ 225 w 353"/>
                <a:gd name="T7" fmla="*/ 177 h 353"/>
                <a:gd name="T8" fmla="*/ 177 w 353"/>
                <a:gd name="T9" fmla="*/ 128 h 353"/>
                <a:gd name="T10" fmla="*/ 177 w 353"/>
                <a:gd name="T11" fmla="*/ 209 h 353"/>
                <a:gd name="T12" fmla="*/ 144 w 353"/>
                <a:gd name="T13" fmla="*/ 177 h 353"/>
                <a:gd name="T14" fmla="*/ 177 w 353"/>
                <a:gd name="T15" fmla="*/ 145 h 353"/>
                <a:gd name="T16" fmla="*/ 209 w 353"/>
                <a:gd name="T17" fmla="*/ 177 h 353"/>
                <a:gd name="T18" fmla="*/ 177 w 353"/>
                <a:gd name="T19" fmla="*/ 209 h 353"/>
                <a:gd name="T20" fmla="*/ 177 w 353"/>
                <a:gd name="T21" fmla="*/ 64 h 353"/>
                <a:gd name="T22" fmla="*/ 64 w 353"/>
                <a:gd name="T23" fmla="*/ 177 h 353"/>
                <a:gd name="T24" fmla="*/ 177 w 353"/>
                <a:gd name="T25" fmla="*/ 289 h 353"/>
                <a:gd name="T26" fmla="*/ 289 w 353"/>
                <a:gd name="T27" fmla="*/ 177 h 353"/>
                <a:gd name="T28" fmla="*/ 177 w 353"/>
                <a:gd name="T29" fmla="*/ 64 h 353"/>
                <a:gd name="T30" fmla="*/ 177 w 353"/>
                <a:gd name="T31" fmla="*/ 273 h 353"/>
                <a:gd name="T32" fmla="*/ 80 w 353"/>
                <a:gd name="T33" fmla="*/ 177 h 353"/>
                <a:gd name="T34" fmla="*/ 177 w 353"/>
                <a:gd name="T35" fmla="*/ 80 h 353"/>
                <a:gd name="T36" fmla="*/ 273 w 353"/>
                <a:gd name="T37" fmla="*/ 177 h 353"/>
                <a:gd name="T38" fmla="*/ 177 w 353"/>
                <a:gd name="T39" fmla="*/ 273 h 353"/>
                <a:gd name="T40" fmla="*/ 299 w 353"/>
                <a:gd name="T41" fmla="*/ 304 h 353"/>
                <a:gd name="T42" fmla="*/ 353 w 353"/>
                <a:gd name="T43" fmla="*/ 177 h 353"/>
                <a:gd name="T44" fmla="*/ 177 w 353"/>
                <a:gd name="T45" fmla="*/ 0 h 353"/>
                <a:gd name="T46" fmla="*/ 0 w 353"/>
                <a:gd name="T47" fmla="*/ 177 h 353"/>
                <a:gd name="T48" fmla="*/ 54 w 353"/>
                <a:gd name="T49" fmla="*/ 304 h 353"/>
                <a:gd name="T50" fmla="*/ 34 w 353"/>
                <a:gd name="T51" fmla="*/ 340 h 353"/>
                <a:gd name="T52" fmla="*/ 32 w 353"/>
                <a:gd name="T53" fmla="*/ 345 h 353"/>
                <a:gd name="T54" fmla="*/ 40 w 353"/>
                <a:gd name="T55" fmla="*/ 353 h 353"/>
                <a:gd name="T56" fmla="*/ 46 w 353"/>
                <a:gd name="T57" fmla="*/ 351 h 353"/>
                <a:gd name="T58" fmla="*/ 48 w 353"/>
                <a:gd name="T59" fmla="*/ 347 h 353"/>
                <a:gd name="T60" fmla="*/ 66 w 353"/>
                <a:gd name="T61" fmla="*/ 314 h 353"/>
                <a:gd name="T62" fmla="*/ 177 w 353"/>
                <a:gd name="T63" fmla="*/ 353 h 353"/>
                <a:gd name="T64" fmla="*/ 287 w 353"/>
                <a:gd name="T65" fmla="*/ 314 h 353"/>
                <a:gd name="T66" fmla="*/ 305 w 353"/>
                <a:gd name="T67" fmla="*/ 347 h 353"/>
                <a:gd name="T68" fmla="*/ 313 w 353"/>
                <a:gd name="T69" fmla="*/ 353 h 353"/>
                <a:gd name="T70" fmla="*/ 321 w 353"/>
                <a:gd name="T71" fmla="*/ 345 h 353"/>
                <a:gd name="T72" fmla="*/ 319 w 353"/>
                <a:gd name="T73" fmla="*/ 340 h 353"/>
                <a:gd name="T74" fmla="*/ 299 w 353"/>
                <a:gd name="T75" fmla="*/ 304 h 353"/>
                <a:gd name="T76" fmla="*/ 177 w 353"/>
                <a:gd name="T77" fmla="*/ 337 h 353"/>
                <a:gd name="T78" fmla="*/ 16 w 353"/>
                <a:gd name="T79" fmla="*/ 177 h 353"/>
                <a:gd name="T80" fmla="*/ 177 w 353"/>
                <a:gd name="T81" fmla="*/ 16 h 353"/>
                <a:gd name="T82" fmla="*/ 337 w 353"/>
                <a:gd name="T83" fmla="*/ 177 h 353"/>
                <a:gd name="T84" fmla="*/ 177 w 353"/>
                <a:gd name="T85" fmla="*/ 33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" h="353">
                  <a:moveTo>
                    <a:pt x="177" y="128"/>
                  </a:moveTo>
                  <a:cubicBezTo>
                    <a:pt x="150" y="128"/>
                    <a:pt x="128" y="150"/>
                    <a:pt x="128" y="177"/>
                  </a:cubicBezTo>
                  <a:cubicBezTo>
                    <a:pt x="128" y="203"/>
                    <a:pt x="150" y="225"/>
                    <a:pt x="177" y="225"/>
                  </a:cubicBezTo>
                  <a:cubicBezTo>
                    <a:pt x="203" y="225"/>
                    <a:pt x="225" y="203"/>
                    <a:pt x="225" y="177"/>
                  </a:cubicBezTo>
                  <a:cubicBezTo>
                    <a:pt x="225" y="150"/>
                    <a:pt x="203" y="128"/>
                    <a:pt x="177" y="128"/>
                  </a:cubicBezTo>
                  <a:moveTo>
                    <a:pt x="177" y="209"/>
                  </a:moveTo>
                  <a:cubicBezTo>
                    <a:pt x="159" y="209"/>
                    <a:pt x="144" y="194"/>
                    <a:pt x="144" y="177"/>
                  </a:cubicBezTo>
                  <a:cubicBezTo>
                    <a:pt x="144" y="159"/>
                    <a:pt x="159" y="145"/>
                    <a:pt x="177" y="145"/>
                  </a:cubicBezTo>
                  <a:cubicBezTo>
                    <a:pt x="194" y="145"/>
                    <a:pt x="209" y="159"/>
                    <a:pt x="209" y="177"/>
                  </a:cubicBezTo>
                  <a:cubicBezTo>
                    <a:pt x="209" y="194"/>
                    <a:pt x="194" y="209"/>
                    <a:pt x="177" y="209"/>
                  </a:cubicBezTo>
                  <a:moveTo>
                    <a:pt x="177" y="64"/>
                  </a:moveTo>
                  <a:cubicBezTo>
                    <a:pt x="114" y="64"/>
                    <a:pt x="64" y="115"/>
                    <a:pt x="64" y="177"/>
                  </a:cubicBezTo>
                  <a:cubicBezTo>
                    <a:pt x="64" y="239"/>
                    <a:pt x="114" y="289"/>
                    <a:pt x="177" y="289"/>
                  </a:cubicBezTo>
                  <a:cubicBezTo>
                    <a:pt x="239" y="289"/>
                    <a:pt x="289" y="239"/>
                    <a:pt x="289" y="177"/>
                  </a:cubicBezTo>
                  <a:cubicBezTo>
                    <a:pt x="289" y="115"/>
                    <a:pt x="239" y="64"/>
                    <a:pt x="177" y="64"/>
                  </a:cubicBezTo>
                  <a:moveTo>
                    <a:pt x="177" y="273"/>
                  </a:moveTo>
                  <a:cubicBezTo>
                    <a:pt x="123" y="273"/>
                    <a:pt x="80" y="230"/>
                    <a:pt x="80" y="177"/>
                  </a:cubicBezTo>
                  <a:cubicBezTo>
                    <a:pt x="80" y="123"/>
                    <a:pt x="123" y="80"/>
                    <a:pt x="177" y="80"/>
                  </a:cubicBezTo>
                  <a:cubicBezTo>
                    <a:pt x="230" y="80"/>
                    <a:pt x="273" y="123"/>
                    <a:pt x="273" y="177"/>
                  </a:cubicBezTo>
                  <a:cubicBezTo>
                    <a:pt x="273" y="230"/>
                    <a:pt x="230" y="273"/>
                    <a:pt x="177" y="273"/>
                  </a:cubicBezTo>
                  <a:moveTo>
                    <a:pt x="299" y="304"/>
                  </a:moveTo>
                  <a:cubicBezTo>
                    <a:pt x="332" y="272"/>
                    <a:pt x="353" y="227"/>
                    <a:pt x="353" y="177"/>
                  </a:cubicBezTo>
                  <a:cubicBezTo>
                    <a:pt x="353" y="79"/>
                    <a:pt x="274" y="0"/>
                    <a:pt x="177" y="0"/>
                  </a:cubicBezTo>
                  <a:cubicBezTo>
                    <a:pt x="79" y="0"/>
                    <a:pt x="0" y="79"/>
                    <a:pt x="0" y="177"/>
                  </a:cubicBezTo>
                  <a:cubicBezTo>
                    <a:pt x="0" y="227"/>
                    <a:pt x="21" y="272"/>
                    <a:pt x="54" y="304"/>
                  </a:cubicBezTo>
                  <a:cubicBezTo>
                    <a:pt x="34" y="340"/>
                    <a:pt x="34" y="340"/>
                    <a:pt x="34" y="340"/>
                  </a:cubicBezTo>
                  <a:cubicBezTo>
                    <a:pt x="33" y="341"/>
                    <a:pt x="32" y="343"/>
                    <a:pt x="32" y="345"/>
                  </a:cubicBezTo>
                  <a:cubicBezTo>
                    <a:pt x="32" y="350"/>
                    <a:pt x="36" y="353"/>
                    <a:pt x="40" y="353"/>
                  </a:cubicBezTo>
                  <a:cubicBezTo>
                    <a:pt x="42" y="353"/>
                    <a:pt x="44" y="352"/>
                    <a:pt x="46" y="351"/>
                  </a:cubicBezTo>
                  <a:cubicBezTo>
                    <a:pt x="47" y="350"/>
                    <a:pt x="47" y="349"/>
                    <a:pt x="48" y="347"/>
                  </a:cubicBezTo>
                  <a:cubicBezTo>
                    <a:pt x="66" y="314"/>
                    <a:pt x="66" y="314"/>
                    <a:pt x="66" y="314"/>
                  </a:cubicBezTo>
                  <a:cubicBezTo>
                    <a:pt x="96" y="339"/>
                    <a:pt x="135" y="353"/>
                    <a:pt x="177" y="353"/>
                  </a:cubicBezTo>
                  <a:cubicBezTo>
                    <a:pt x="218" y="353"/>
                    <a:pt x="257" y="339"/>
                    <a:pt x="287" y="314"/>
                  </a:cubicBezTo>
                  <a:cubicBezTo>
                    <a:pt x="305" y="347"/>
                    <a:pt x="305" y="347"/>
                    <a:pt x="305" y="347"/>
                  </a:cubicBezTo>
                  <a:cubicBezTo>
                    <a:pt x="306" y="351"/>
                    <a:pt x="309" y="353"/>
                    <a:pt x="313" y="353"/>
                  </a:cubicBezTo>
                  <a:cubicBezTo>
                    <a:pt x="317" y="353"/>
                    <a:pt x="321" y="350"/>
                    <a:pt x="321" y="345"/>
                  </a:cubicBezTo>
                  <a:cubicBezTo>
                    <a:pt x="321" y="343"/>
                    <a:pt x="320" y="341"/>
                    <a:pt x="319" y="340"/>
                  </a:cubicBezTo>
                  <a:lnTo>
                    <a:pt x="299" y="304"/>
                  </a:lnTo>
                  <a:close/>
                  <a:moveTo>
                    <a:pt x="177" y="337"/>
                  </a:moveTo>
                  <a:cubicBezTo>
                    <a:pt x="88" y="337"/>
                    <a:pt x="16" y="265"/>
                    <a:pt x="16" y="177"/>
                  </a:cubicBezTo>
                  <a:cubicBezTo>
                    <a:pt x="16" y="88"/>
                    <a:pt x="88" y="16"/>
                    <a:pt x="177" y="16"/>
                  </a:cubicBezTo>
                  <a:cubicBezTo>
                    <a:pt x="265" y="16"/>
                    <a:pt x="337" y="88"/>
                    <a:pt x="337" y="177"/>
                  </a:cubicBezTo>
                  <a:cubicBezTo>
                    <a:pt x="337" y="265"/>
                    <a:pt x="265" y="337"/>
                    <a:pt x="177" y="33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process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35" name="Freeform 10"/>
          <p:cNvSpPr>
            <a:spLocks/>
          </p:cNvSpPr>
          <p:nvPr/>
        </p:nvSpPr>
        <p:spPr bwMode="auto">
          <a:xfrm>
            <a:off x="5637543" y="2846442"/>
            <a:ext cx="2472131" cy="1235182"/>
          </a:xfrm>
          <a:custGeom>
            <a:avLst/>
            <a:gdLst>
              <a:gd name="T0" fmla="*/ 1189 w 2377"/>
              <a:gd name="T1" fmla="*/ 1024 h 1188"/>
              <a:gd name="T2" fmla="*/ 164 w 2377"/>
              <a:gd name="T3" fmla="*/ 0 h 1188"/>
              <a:gd name="T4" fmla="*/ 0 w 2377"/>
              <a:gd name="T5" fmla="*/ 0 h 1188"/>
              <a:gd name="T6" fmla="*/ 1189 w 2377"/>
              <a:gd name="T7" fmla="*/ 1188 h 1188"/>
              <a:gd name="T8" fmla="*/ 2377 w 2377"/>
              <a:gd name="T9" fmla="*/ 0 h 1188"/>
              <a:gd name="T10" fmla="*/ 2213 w 2377"/>
              <a:gd name="T11" fmla="*/ 0 h 1188"/>
              <a:gd name="T12" fmla="*/ 1189 w 2377"/>
              <a:gd name="T13" fmla="*/ 1024 h 1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377" h="1188">
                <a:moveTo>
                  <a:pt x="1189" y="1024"/>
                </a:moveTo>
                <a:cubicBezTo>
                  <a:pt x="623" y="1024"/>
                  <a:pt x="164" y="566"/>
                  <a:pt x="16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656"/>
                  <a:pt x="533" y="1188"/>
                  <a:pt x="1189" y="1188"/>
                </a:cubicBezTo>
                <a:cubicBezTo>
                  <a:pt x="1845" y="1188"/>
                  <a:pt x="2377" y="656"/>
                  <a:pt x="2377" y="0"/>
                </a:cubicBezTo>
                <a:cubicBezTo>
                  <a:pt x="2213" y="0"/>
                  <a:pt x="2213" y="0"/>
                  <a:pt x="2213" y="0"/>
                </a:cubicBezTo>
                <a:cubicBezTo>
                  <a:pt x="2213" y="566"/>
                  <a:pt x="1755" y="1024"/>
                  <a:pt x="1189" y="1024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14"/>
          <p:cNvGrpSpPr/>
          <p:nvPr/>
        </p:nvGrpSpPr>
        <p:grpSpPr>
          <a:xfrm>
            <a:off x="3336818" y="1609494"/>
            <a:ext cx="2562252" cy="1411838"/>
            <a:chOff x="3402387" y="1675109"/>
            <a:chExt cx="2426236" cy="1336891"/>
          </a:xfrm>
          <a:solidFill>
            <a:srgbClr val="EC0000"/>
          </a:solidFill>
        </p:grpSpPr>
        <p:sp>
          <p:nvSpPr>
            <p:cNvPr id="33" name="Freeform 8"/>
            <p:cNvSpPr>
              <a:spLocks/>
            </p:cNvSpPr>
            <p:nvPr/>
          </p:nvSpPr>
          <p:spPr bwMode="auto">
            <a:xfrm>
              <a:off x="3402387" y="1675109"/>
              <a:ext cx="2340899" cy="1171286"/>
            </a:xfrm>
            <a:custGeom>
              <a:avLst/>
              <a:gdLst>
                <a:gd name="T0" fmla="*/ 1189 w 2377"/>
                <a:gd name="T1" fmla="*/ 164 h 1189"/>
                <a:gd name="T2" fmla="*/ 2213 w 2377"/>
                <a:gd name="T3" fmla="*/ 1189 h 1189"/>
                <a:gd name="T4" fmla="*/ 2377 w 2377"/>
                <a:gd name="T5" fmla="*/ 1189 h 1189"/>
                <a:gd name="T6" fmla="*/ 1189 w 2377"/>
                <a:gd name="T7" fmla="*/ 0 h 1189"/>
                <a:gd name="T8" fmla="*/ 0 w 2377"/>
                <a:gd name="T9" fmla="*/ 1189 h 1189"/>
                <a:gd name="T10" fmla="*/ 164 w 2377"/>
                <a:gd name="T11" fmla="*/ 1189 h 1189"/>
                <a:gd name="T12" fmla="*/ 1189 w 2377"/>
                <a:gd name="T13" fmla="*/ 164 h 1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7" h="1189">
                  <a:moveTo>
                    <a:pt x="1189" y="164"/>
                  </a:moveTo>
                  <a:cubicBezTo>
                    <a:pt x="1755" y="164"/>
                    <a:pt x="2213" y="623"/>
                    <a:pt x="2213" y="1189"/>
                  </a:cubicBezTo>
                  <a:cubicBezTo>
                    <a:pt x="2377" y="1189"/>
                    <a:pt x="2377" y="1189"/>
                    <a:pt x="2377" y="1189"/>
                  </a:cubicBezTo>
                  <a:cubicBezTo>
                    <a:pt x="2377" y="532"/>
                    <a:pt x="1845" y="0"/>
                    <a:pt x="1189" y="0"/>
                  </a:cubicBezTo>
                  <a:cubicBezTo>
                    <a:pt x="533" y="0"/>
                    <a:pt x="0" y="532"/>
                    <a:pt x="0" y="1189"/>
                  </a:cubicBezTo>
                  <a:cubicBezTo>
                    <a:pt x="164" y="1189"/>
                    <a:pt x="164" y="1189"/>
                    <a:pt x="164" y="1189"/>
                  </a:cubicBezTo>
                  <a:cubicBezTo>
                    <a:pt x="164" y="623"/>
                    <a:pt x="623" y="164"/>
                    <a:pt x="1189" y="16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5490623" y="2843000"/>
              <a:ext cx="338000" cy="169000"/>
            </a:xfrm>
            <a:custGeom>
              <a:avLst/>
              <a:gdLst>
                <a:gd name="T0" fmla="*/ 101 w 202"/>
                <a:gd name="T1" fmla="*/ 101 h 101"/>
                <a:gd name="T2" fmla="*/ 202 w 202"/>
                <a:gd name="T3" fmla="*/ 0 h 101"/>
                <a:gd name="T4" fmla="*/ 101 w 202"/>
                <a:gd name="T5" fmla="*/ 0 h 101"/>
                <a:gd name="T6" fmla="*/ 0 w 202"/>
                <a:gd name="T7" fmla="*/ 0 h 101"/>
                <a:gd name="T8" fmla="*/ 101 w 202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01">
                  <a:moveTo>
                    <a:pt x="101" y="101"/>
                  </a:moveTo>
                  <a:lnTo>
                    <a:pt x="202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101" y="10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34326" y="2671555"/>
            <a:ext cx="2562252" cy="1410070"/>
            <a:chOff x="1222122" y="2680791"/>
            <a:chExt cx="2426236" cy="1335217"/>
          </a:xfrm>
        </p:grpSpPr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1222122" y="2846395"/>
              <a:ext cx="2340899" cy="1169613"/>
            </a:xfrm>
            <a:custGeom>
              <a:avLst/>
              <a:gdLst>
                <a:gd name="T0" fmla="*/ 1189 w 2377"/>
                <a:gd name="T1" fmla="*/ 1024 h 1188"/>
                <a:gd name="T2" fmla="*/ 164 w 2377"/>
                <a:gd name="T3" fmla="*/ 0 h 1188"/>
                <a:gd name="T4" fmla="*/ 0 w 2377"/>
                <a:gd name="T5" fmla="*/ 0 h 1188"/>
                <a:gd name="T6" fmla="*/ 1189 w 2377"/>
                <a:gd name="T7" fmla="*/ 1188 h 1188"/>
                <a:gd name="T8" fmla="*/ 2377 w 2377"/>
                <a:gd name="T9" fmla="*/ 0 h 1188"/>
                <a:gd name="T10" fmla="*/ 2213 w 2377"/>
                <a:gd name="T11" fmla="*/ 0 h 1188"/>
                <a:gd name="T12" fmla="*/ 1189 w 2377"/>
                <a:gd name="T13" fmla="*/ 1024 h 1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77" h="1188">
                  <a:moveTo>
                    <a:pt x="1189" y="1024"/>
                  </a:moveTo>
                  <a:cubicBezTo>
                    <a:pt x="623" y="1024"/>
                    <a:pt x="164" y="566"/>
                    <a:pt x="1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56"/>
                    <a:pt x="533" y="1188"/>
                    <a:pt x="1189" y="1188"/>
                  </a:cubicBezTo>
                  <a:cubicBezTo>
                    <a:pt x="1845" y="1188"/>
                    <a:pt x="2377" y="656"/>
                    <a:pt x="2377" y="0"/>
                  </a:cubicBezTo>
                  <a:cubicBezTo>
                    <a:pt x="2213" y="0"/>
                    <a:pt x="2213" y="0"/>
                    <a:pt x="2213" y="0"/>
                  </a:cubicBezTo>
                  <a:cubicBezTo>
                    <a:pt x="2213" y="566"/>
                    <a:pt x="1755" y="1024"/>
                    <a:pt x="1189" y="10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"/>
            <p:cNvSpPr>
              <a:spLocks/>
            </p:cNvSpPr>
            <p:nvPr/>
          </p:nvSpPr>
          <p:spPr bwMode="auto">
            <a:xfrm>
              <a:off x="3310358" y="2680791"/>
              <a:ext cx="338000" cy="169000"/>
            </a:xfrm>
            <a:custGeom>
              <a:avLst/>
              <a:gdLst>
                <a:gd name="T0" fmla="*/ 101 w 202"/>
                <a:gd name="T1" fmla="*/ 0 h 101"/>
                <a:gd name="T2" fmla="*/ 0 w 202"/>
                <a:gd name="T3" fmla="*/ 101 h 101"/>
                <a:gd name="T4" fmla="*/ 101 w 202"/>
                <a:gd name="T5" fmla="*/ 101 h 101"/>
                <a:gd name="T6" fmla="*/ 202 w 202"/>
                <a:gd name="T7" fmla="*/ 101 h 101"/>
                <a:gd name="T8" fmla="*/ 101 w 202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2" h="101">
                  <a:moveTo>
                    <a:pt x="101" y="0"/>
                  </a:moveTo>
                  <a:lnTo>
                    <a:pt x="0" y="101"/>
                  </a:lnTo>
                  <a:lnTo>
                    <a:pt x="101" y="101"/>
                  </a:lnTo>
                  <a:lnTo>
                    <a:pt x="202" y="101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64554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Processo</a:t>
            </a:r>
            <a:r>
              <a:rPr lang="en-US" dirty="0"/>
              <a:t> de </a:t>
            </a:r>
            <a:r>
              <a:rPr lang="en-US" dirty="0" err="1"/>
              <a:t>negóci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1012129" y="1591462"/>
            <a:ext cx="1618458" cy="281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761183" y="1591462"/>
            <a:ext cx="1618458" cy="281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510831" y="1591462"/>
            <a:ext cx="1618458" cy="281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387301" y="3884686"/>
            <a:ext cx="1618458" cy="281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595" y="2011912"/>
            <a:ext cx="9142810" cy="1746181"/>
            <a:chOff x="595" y="2011912"/>
            <a:chExt cx="9142810" cy="1746181"/>
          </a:xfrm>
        </p:grpSpPr>
        <p:sp>
          <p:nvSpPr>
            <p:cNvPr id="4" name="Freeform 5"/>
            <p:cNvSpPr>
              <a:spLocks noEditPoints="1"/>
            </p:cNvSpPr>
            <p:nvPr/>
          </p:nvSpPr>
          <p:spPr bwMode="auto">
            <a:xfrm>
              <a:off x="1110258" y="2077042"/>
              <a:ext cx="1422797" cy="1602581"/>
            </a:xfrm>
            <a:custGeom>
              <a:avLst/>
              <a:gdLst>
                <a:gd name="T0" fmla="*/ 1644 w 3288"/>
                <a:gd name="T1" fmla="*/ 3701 h 3701"/>
                <a:gd name="T2" fmla="*/ 1465 w 3288"/>
                <a:gd name="T3" fmla="*/ 3654 h 3701"/>
                <a:gd name="T4" fmla="*/ 178 w 3288"/>
                <a:gd name="T5" fmla="*/ 2911 h 3701"/>
                <a:gd name="T6" fmla="*/ 0 w 3288"/>
                <a:gd name="T7" fmla="*/ 2601 h 3701"/>
                <a:gd name="T8" fmla="*/ 0 w 3288"/>
                <a:gd name="T9" fmla="*/ 1116 h 3701"/>
                <a:gd name="T10" fmla="*/ 178 w 3288"/>
                <a:gd name="T11" fmla="*/ 806 h 3701"/>
                <a:gd name="T12" fmla="*/ 1465 w 3288"/>
                <a:gd name="T13" fmla="*/ 63 h 3701"/>
                <a:gd name="T14" fmla="*/ 1823 w 3288"/>
                <a:gd name="T15" fmla="*/ 63 h 3701"/>
                <a:gd name="T16" fmla="*/ 3109 w 3288"/>
                <a:gd name="T17" fmla="*/ 806 h 3701"/>
                <a:gd name="T18" fmla="*/ 3288 w 3288"/>
                <a:gd name="T19" fmla="*/ 1116 h 3701"/>
                <a:gd name="T20" fmla="*/ 3288 w 3288"/>
                <a:gd name="T21" fmla="*/ 2601 h 3701"/>
                <a:gd name="T22" fmla="*/ 3109 w 3288"/>
                <a:gd name="T23" fmla="*/ 2911 h 3701"/>
                <a:gd name="T24" fmla="*/ 1823 w 3288"/>
                <a:gd name="T25" fmla="*/ 3654 h 3701"/>
                <a:gd name="T26" fmla="*/ 1644 w 3288"/>
                <a:gd name="T27" fmla="*/ 3701 h 3701"/>
                <a:gd name="T28" fmla="*/ 1644 w 3288"/>
                <a:gd name="T29" fmla="*/ 125 h 3701"/>
                <a:gd name="T30" fmla="*/ 1520 w 3288"/>
                <a:gd name="T31" fmla="*/ 159 h 3701"/>
                <a:gd name="T32" fmla="*/ 233 w 3288"/>
                <a:gd name="T33" fmla="*/ 901 h 3701"/>
                <a:gd name="T34" fmla="*/ 110 w 3288"/>
                <a:gd name="T35" fmla="*/ 1116 h 3701"/>
                <a:gd name="T36" fmla="*/ 110 w 3288"/>
                <a:gd name="T37" fmla="*/ 2601 h 3701"/>
                <a:gd name="T38" fmla="*/ 233 w 3288"/>
                <a:gd name="T39" fmla="*/ 2816 h 3701"/>
                <a:gd name="T40" fmla="*/ 1520 w 3288"/>
                <a:gd name="T41" fmla="*/ 3558 h 3701"/>
                <a:gd name="T42" fmla="*/ 1767 w 3288"/>
                <a:gd name="T43" fmla="*/ 3558 h 3701"/>
                <a:gd name="T44" fmla="*/ 3054 w 3288"/>
                <a:gd name="T45" fmla="*/ 2816 h 3701"/>
                <a:gd name="T46" fmla="*/ 3178 w 3288"/>
                <a:gd name="T47" fmla="*/ 2601 h 3701"/>
                <a:gd name="T48" fmla="*/ 3178 w 3288"/>
                <a:gd name="T49" fmla="*/ 1116 h 3701"/>
                <a:gd name="T50" fmla="*/ 3054 w 3288"/>
                <a:gd name="T51" fmla="*/ 901 h 3701"/>
                <a:gd name="T52" fmla="*/ 1767 w 3288"/>
                <a:gd name="T53" fmla="*/ 159 h 3701"/>
                <a:gd name="T54" fmla="*/ 1644 w 3288"/>
                <a:gd name="T55" fmla="*/ 125 h 3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88" h="3701">
                  <a:moveTo>
                    <a:pt x="1644" y="3701"/>
                  </a:moveTo>
                  <a:cubicBezTo>
                    <a:pt x="1582" y="3701"/>
                    <a:pt x="1520" y="3685"/>
                    <a:pt x="1465" y="3654"/>
                  </a:cubicBezTo>
                  <a:cubicBezTo>
                    <a:pt x="178" y="2911"/>
                    <a:pt x="178" y="2911"/>
                    <a:pt x="178" y="2911"/>
                  </a:cubicBezTo>
                  <a:cubicBezTo>
                    <a:pt x="68" y="2847"/>
                    <a:pt x="0" y="2729"/>
                    <a:pt x="0" y="2601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988"/>
                    <a:pt x="68" y="870"/>
                    <a:pt x="178" y="806"/>
                  </a:cubicBezTo>
                  <a:cubicBezTo>
                    <a:pt x="1465" y="63"/>
                    <a:pt x="1465" y="63"/>
                    <a:pt x="1465" y="63"/>
                  </a:cubicBezTo>
                  <a:cubicBezTo>
                    <a:pt x="1575" y="0"/>
                    <a:pt x="1712" y="0"/>
                    <a:pt x="1823" y="63"/>
                  </a:cubicBezTo>
                  <a:cubicBezTo>
                    <a:pt x="3109" y="806"/>
                    <a:pt x="3109" y="806"/>
                    <a:pt x="3109" y="806"/>
                  </a:cubicBezTo>
                  <a:cubicBezTo>
                    <a:pt x="3219" y="870"/>
                    <a:pt x="3288" y="988"/>
                    <a:pt x="3288" y="1116"/>
                  </a:cubicBezTo>
                  <a:cubicBezTo>
                    <a:pt x="3288" y="2601"/>
                    <a:pt x="3288" y="2601"/>
                    <a:pt x="3288" y="2601"/>
                  </a:cubicBezTo>
                  <a:cubicBezTo>
                    <a:pt x="3288" y="2729"/>
                    <a:pt x="3219" y="2847"/>
                    <a:pt x="3109" y="2911"/>
                  </a:cubicBezTo>
                  <a:cubicBezTo>
                    <a:pt x="1823" y="3654"/>
                    <a:pt x="1823" y="3654"/>
                    <a:pt x="1823" y="3654"/>
                  </a:cubicBezTo>
                  <a:cubicBezTo>
                    <a:pt x="1767" y="3685"/>
                    <a:pt x="1706" y="3701"/>
                    <a:pt x="1644" y="3701"/>
                  </a:cubicBezTo>
                  <a:close/>
                  <a:moveTo>
                    <a:pt x="1644" y="125"/>
                  </a:moveTo>
                  <a:cubicBezTo>
                    <a:pt x="1601" y="125"/>
                    <a:pt x="1558" y="136"/>
                    <a:pt x="1520" y="159"/>
                  </a:cubicBezTo>
                  <a:cubicBezTo>
                    <a:pt x="233" y="901"/>
                    <a:pt x="233" y="901"/>
                    <a:pt x="233" y="901"/>
                  </a:cubicBezTo>
                  <a:cubicBezTo>
                    <a:pt x="157" y="945"/>
                    <a:pt x="110" y="1027"/>
                    <a:pt x="110" y="1116"/>
                  </a:cubicBezTo>
                  <a:cubicBezTo>
                    <a:pt x="110" y="2601"/>
                    <a:pt x="110" y="2601"/>
                    <a:pt x="110" y="2601"/>
                  </a:cubicBezTo>
                  <a:cubicBezTo>
                    <a:pt x="110" y="2689"/>
                    <a:pt x="157" y="2771"/>
                    <a:pt x="233" y="2816"/>
                  </a:cubicBezTo>
                  <a:cubicBezTo>
                    <a:pt x="1520" y="3558"/>
                    <a:pt x="1520" y="3558"/>
                    <a:pt x="1520" y="3558"/>
                  </a:cubicBezTo>
                  <a:cubicBezTo>
                    <a:pt x="1596" y="3602"/>
                    <a:pt x="1691" y="3602"/>
                    <a:pt x="1767" y="3558"/>
                  </a:cubicBezTo>
                  <a:cubicBezTo>
                    <a:pt x="3054" y="2816"/>
                    <a:pt x="3054" y="2816"/>
                    <a:pt x="3054" y="2816"/>
                  </a:cubicBezTo>
                  <a:cubicBezTo>
                    <a:pt x="3130" y="2771"/>
                    <a:pt x="3178" y="2689"/>
                    <a:pt x="3178" y="2601"/>
                  </a:cubicBezTo>
                  <a:cubicBezTo>
                    <a:pt x="3178" y="1116"/>
                    <a:pt x="3178" y="1116"/>
                    <a:pt x="3178" y="1116"/>
                  </a:cubicBezTo>
                  <a:cubicBezTo>
                    <a:pt x="3178" y="1027"/>
                    <a:pt x="3130" y="945"/>
                    <a:pt x="3054" y="901"/>
                  </a:cubicBezTo>
                  <a:cubicBezTo>
                    <a:pt x="1767" y="159"/>
                    <a:pt x="1767" y="159"/>
                    <a:pt x="1767" y="159"/>
                  </a:cubicBezTo>
                  <a:cubicBezTo>
                    <a:pt x="1729" y="136"/>
                    <a:pt x="1686" y="125"/>
                    <a:pt x="1644" y="1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1268611" y="2254445"/>
              <a:ext cx="1105496" cy="1254919"/>
            </a:xfrm>
            <a:custGeom>
              <a:avLst/>
              <a:gdLst>
                <a:gd name="T0" fmla="*/ 2555 w 2555"/>
                <a:gd name="T1" fmla="*/ 2045 h 2897"/>
                <a:gd name="T2" fmla="*/ 2555 w 2555"/>
                <a:gd name="T3" fmla="*/ 851 h 2897"/>
                <a:gd name="T4" fmla="*/ 2433 w 2555"/>
                <a:gd name="T5" fmla="*/ 641 h 2897"/>
                <a:gd name="T6" fmla="*/ 1399 w 2555"/>
                <a:gd name="T7" fmla="*/ 44 h 2897"/>
                <a:gd name="T8" fmla="*/ 1156 w 2555"/>
                <a:gd name="T9" fmla="*/ 44 h 2897"/>
                <a:gd name="T10" fmla="*/ 122 w 2555"/>
                <a:gd name="T11" fmla="*/ 641 h 2897"/>
                <a:gd name="T12" fmla="*/ 0 w 2555"/>
                <a:gd name="T13" fmla="*/ 851 h 2897"/>
                <a:gd name="T14" fmla="*/ 0 w 2555"/>
                <a:gd name="T15" fmla="*/ 2045 h 2897"/>
                <a:gd name="T16" fmla="*/ 122 w 2555"/>
                <a:gd name="T17" fmla="*/ 2256 h 2897"/>
                <a:gd name="T18" fmla="*/ 1156 w 2555"/>
                <a:gd name="T19" fmla="*/ 2853 h 2897"/>
                <a:gd name="T20" fmla="*/ 1399 w 2555"/>
                <a:gd name="T21" fmla="*/ 2853 h 2897"/>
                <a:gd name="T22" fmla="*/ 2433 w 2555"/>
                <a:gd name="T23" fmla="*/ 2256 h 2897"/>
                <a:gd name="T24" fmla="*/ 2555 w 2555"/>
                <a:gd name="T25" fmla="*/ 204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5" h="2897">
                  <a:moveTo>
                    <a:pt x="2555" y="2045"/>
                  </a:moveTo>
                  <a:cubicBezTo>
                    <a:pt x="2555" y="851"/>
                    <a:pt x="2555" y="851"/>
                    <a:pt x="2555" y="851"/>
                  </a:cubicBezTo>
                  <a:cubicBezTo>
                    <a:pt x="2555" y="764"/>
                    <a:pt x="2509" y="684"/>
                    <a:pt x="2433" y="641"/>
                  </a:cubicBezTo>
                  <a:cubicBezTo>
                    <a:pt x="1399" y="44"/>
                    <a:pt x="1399" y="44"/>
                    <a:pt x="1399" y="44"/>
                  </a:cubicBezTo>
                  <a:cubicBezTo>
                    <a:pt x="1324" y="0"/>
                    <a:pt x="1231" y="0"/>
                    <a:pt x="1156" y="44"/>
                  </a:cubicBezTo>
                  <a:cubicBezTo>
                    <a:pt x="122" y="641"/>
                    <a:pt x="122" y="641"/>
                    <a:pt x="122" y="641"/>
                  </a:cubicBezTo>
                  <a:cubicBezTo>
                    <a:pt x="47" y="684"/>
                    <a:pt x="0" y="764"/>
                    <a:pt x="0" y="851"/>
                  </a:cubicBezTo>
                  <a:cubicBezTo>
                    <a:pt x="0" y="2045"/>
                    <a:pt x="0" y="2045"/>
                    <a:pt x="0" y="2045"/>
                  </a:cubicBezTo>
                  <a:cubicBezTo>
                    <a:pt x="0" y="2132"/>
                    <a:pt x="47" y="2213"/>
                    <a:pt x="122" y="2256"/>
                  </a:cubicBezTo>
                  <a:cubicBezTo>
                    <a:pt x="1156" y="2853"/>
                    <a:pt x="1156" y="2853"/>
                    <a:pt x="1156" y="2853"/>
                  </a:cubicBezTo>
                  <a:cubicBezTo>
                    <a:pt x="1231" y="2897"/>
                    <a:pt x="1324" y="2897"/>
                    <a:pt x="1399" y="2853"/>
                  </a:cubicBezTo>
                  <a:cubicBezTo>
                    <a:pt x="2433" y="2256"/>
                    <a:pt x="2433" y="2256"/>
                    <a:pt x="2433" y="2256"/>
                  </a:cubicBezTo>
                  <a:cubicBezTo>
                    <a:pt x="2509" y="2213"/>
                    <a:pt x="2555" y="2132"/>
                    <a:pt x="2555" y="204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2643783" y="2254445"/>
              <a:ext cx="1105496" cy="1254919"/>
            </a:xfrm>
            <a:custGeom>
              <a:avLst/>
              <a:gdLst>
                <a:gd name="T0" fmla="*/ 2555 w 2555"/>
                <a:gd name="T1" fmla="*/ 2045 h 2897"/>
                <a:gd name="T2" fmla="*/ 2555 w 2555"/>
                <a:gd name="T3" fmla="*/ 851 h 2897"/>
                <a:gd name="T4" fmla="*/ 2434 w 2555"/>
                <a:gd name="T5" fmla="*/ 641 h 2897"/>
                <a:gd name="T6" fmla="*/ 1399 w 2555"/>
                <a:gd name="T7" fmla="*/ 44 h 2897"/>
                <a:gd name="T8" fmla="*/ 1156 w 2555"/>
                <a:gd name="T9" fmla="*/ 44 h 2897"/>
                <a:gd name="T10" fmla="*/ 122 w 2555"/>
                <a:gd name="T11" fmla="*/ 641 h 2897"/>
                <a:gd name="T12" fmla="*/ 0 w 2555"/>
                <a:gd name="T13" fmla="*/ 851 h 2897"/>
                <a:gd name="T14" fmla="*/ 0 w 2555"/>
                <a:gd name="T15" fmla="*/ 2045 h 2897"/>
                <a:gd name="T16" fmla="*/ 122 w 2555"/>
                <a:gd name="T17" fmla="*/ 2256 h 2897"/>
                <a:gd name="T18" fmla="*/ 1156 w 2555"/>
                <a:gd name="T19" fmla="*/ 2853 h 2897"/>
                <a:gd name="T20" fmla="*/ 1399 w 2555"/>
                <a:gd name="T21" fmla="*/ 2853 h 2897"/>
                <a:gd name="T22" fmla="*/ 2434 w 2555"/>
                <a:gd name="T23" fmla="*/ 2256 h 2897"/>
                <a:gd name="T24" fmla="*/ 2555 w 2555"/>
                <a:gd name="T25" fmla="*/ 204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5" h="2897">
                  <a:moveTo>
                    <a:pt x="2555" y="2045"/>
                  </a:moveTo>
                  <a:cubicBezTo>
                    <a:pt x="2555" y="851"/>
                    <a:pt x="2555" y="851"/>
                    <a:pt x="2555" y="851"/>
                  </a:cubicBezTo>
                  <a:cubicBezTo>
                    <a:pt x="2555" y="764"/>
                    <a:pt x="2509" y="684"/>
                    <a:pt x="2434" y="641"/>
                  </a:cubicBezTo>
                  <a:cubicBezTo>
                    <a:pt x="1399" y="44"/>
                    <a:pt x="1399" y="44"/>
                    <a:pt x="1399" y="44"/>
                  </a:cubicBezTo>
                  <a:cubicBezTo>
                    <a:pt x="1324" y="0"/>
                    <a:pt x="1231" y="0"/>
                    <a:pt x="1156" y="44"/>
                  </a:cubicBezTo>
                  <a:cubicBezTo>
                    <a:pt x="122" y="641"/>
                    <a:pt x="122" y="641"/>
                    <a:pt x="122" y="641"/>
                  </a:cubicBezTo>
                  <a:cubicBezTo>
                    <a:pt x="47" y="684"/>
                    <a:pt x="0" y="764"/>
                    <a:pt x="0" y="851"/>
                  </a:cubicBezTo>
                  <a:cubicBezTo>
                    <a:pt x="0" y="2045"/>
                    <a:pt x="0" y="2045"/>
                    <a:pt x="0" y="2045"/>
                  </a:cubicBezTo>
                  <a:cubicBezTo>
                    <a:pt x="0" y="2132"/>
                    <a:pt x="47" y="2213"/>
                    <a:pt x="122" y="2256"/>
                  </a:cubicBezTo>
                  <a:cubicBezTo>
                    <a:pt x="1156" y="2853"/>
                    <a:pt x="1156" y="2853"/>
                    <a:pt x="1156" y="2853"/>
                  </a:cubicBezTo>
                  <a:cubicBezTo>
                    <a:pt x="1231" y="2897"/>
                    <a:pt x="1324" y="2897"/>
                    <a:pt x="1399" y="2853"/>
                  </a:cubicBezTo>
                  <a:cubicBezTo>
                    <a:pt x="2434" y="2256"/>
                    <a:pt x="2434" y="2256"/>
                    <a:pt x="2434" y="2256"/>
                  </a:cubicBezTo>
                  <a:cubicBezTo>
                    <a:pt x="2509" y="2213"/>
                    <a:pt x="2555" y="2132"/>
                    <a:pt x="2555" y="2045"/>
                  </a:cubicBez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4019550" y="2254445"/>
              <a:ext cx="1104900" cy="1254919"/>
            </a:xfrm>
            <a:custGeom>
              <a:avLst/>
              <a:gdLst>
                <a:gd name="T0" fmla="*/ 2554 w 2554"/>
                <a:gd name="T1" fmla="*/ 2045 h 2897"/>
                <a:gd name="T2" fmla="*/ 2554 w 2554"/>
                <a:gd name="T3" fmla="*/ 851 h 2897"/>
                <a:gd name="T4" fmla="*/ 2433 w 2554"/>
                <a:gd name="T5" fmla="*/ 641 h 2897"/>
                <a:gd name="T6" fmla="*/ 1399 w 2554"/>
                <a:gd name="T7" fmla="*/ 44 h 2897"/>
                <a:gd name="T8" fmla="*/ 1155 w 2554"/>
                <a:gd name="T9" fmla="*/ 44 h 2897"/>
                <a:gd name="T10" fmla="*/ 121 w 2554"/>
                <a:gd name="T11" fmla="*/ 641 h 2897"/>
                <a:gd name="T12" fmla="*/ 0 w 2554"/>
                <a:gd name="T13" fmla="*/ 851 h 2897"/>
                <a:gd name="T14" fmla="*/ 0 w 2554"/>
                <a:gd name="T15" fmla="*/ 2045 h 2897"/>
                <a:gd name="T16" fmla="*/ 121 w 2554"/>
                <a:gd name="T17" fmla="*/ 2256 h 2897"/>
                <a:gd name="T18" fmla="*/ 1155 w 2554"/>
                <a:gd name="T19" fmla="*/ 2853 h 2897"/>
                <a:gd name="T20" fmla="*/ 1399 w 2554"/>
                <a:gd name="T21" fmla="*/ 2853 h 2897"/>
                <a:gd name="T22" fmla="*/ 2433 w 2554"/>
                <a:gd name="T23" fmla="*/ 2256 h 2897"/>
                <a:gd name="T24" fmla="*/ 2554 w 2554"/>
                <a:gd name="T25" fmla="*/ 204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4" h="2897">
                  <a:moveTo>
                    <a:pt x="2554" y="2045"/>
                  </a:moveTo>
                  <a:cubicBezTo>
                    <a:pt x="2554" y="851"/>
                    <a:pt x="2554" y="851"/>
                    <a:pt x="2554" y="851"/>
                  </a:cubicBezTo>
                  <a:cubicBezTo>
                    <a:pt x="2554" y="764"/>
                    <a:pt x="2508" y="684"/>
                    <a:pt x="2433" y="641"/>
                  </a:cubicBezTo>
                  <a:cubicBezTo>
                    <a:pt x="1399" y="44"/>
                    <a:pt x="1399" y="44"/>
                    <a:pt x="1399" y="44"/>
                  </a:cubicBezTo>
                  <a:cubicBezTo>
                    <a:pt x="1323" y="0"/>
                    <a:pt x="1231" y="0"/>
                    <a:pt x="1155" y="44"/>
                  </a:cubicBezTo>
                  <a:cubicBezTo>
                    <a:pt x="121" y="641"/>
                    <a:pt x="121" y="641"/>
                    <a:pt x="121" y="641"/>
                  </a:cubicBezTo>
                  <a:cubicBezTo>
                    <a:pt x="46" y="684"/>
                    <a:pt x="0" y="764"/>
                    <a:pt x="0" y="851"/>
                  </a:cubicBezTo>
                  <a:cubicBezTo>
                    <a:pt x="0" y="2045"/>
                    <a:pt x="0" y="2045"/>
                    <a:pt x="0" y="2045"/>
                  </a:cubicBezTo>
                  <a:cubicBezTo>
                    <a:pt x="0" y="2132"/>
                    <a:pt x="46" y="2213"/>
                    <a:pt x="121" y="2256"/>
                  </a:cubicBezTo>
                  <a:cubicBezTo>
                    <a:pt x="1155" y="2853"/>
                    <a:pt x="1155" y="2853"/>
                    <a:pt x="1155" y="2853"/>
                  </a:cubicBezTo>
                  <a:cubicBezTo>
                    <a:pt x="1231" y="2897"/>
                    <a:pt x="1323" y="2897"/>
                    <a:pt x="1399" y="2853"/>
                  </a:cubicBezTo>
                  <a:cubicBezTo>
                    <a:pt x="2433" y="2256"/>
                    <a:pt x="2433" y="2256"/>
                    <a:pt x="2433" y="2256"/>
                  </a:cubicBezTo>
                  <a:cubicBezTo>
                    <a:pt x="2508" y="2213"/>
                    <a:pt x="2554" y="2132"/>
                    <a:pt x="2554" y="20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5396142" y="2254445"/>
              <a:ext cx="1105496" cy="1254919"/>
            </a:xfrm>
            <a:custGeom>
              <a:avLst/>
              <a:gdLst>
                <a:gd name="T0" fmla="*/ 2555 w 2555"/>
                <a:gd name="T1" fmla="*/ 2045 h 2897"/>
                <a:gd name="T2" fmla="*/ 2555 w 2555"/>
                <a:gd name="T3" fmla="*/ 851 h 2897"/>
                <a:gd name="T4" fmla="*/ 2433 w 2555"/>
                <a:gd name="T5" fmla="*/ 641 h 2897"/>
                <a:gd name="T6" fmla="*/ 1399 w 2555"/>
                <a:gd name="T7" fmla="*/ 44 h 2897"/>
                <a:gd name="T8" fmla="*/ 1156 w 2555"/>
                <a:gd name="T9" fmla="*/ 44 h 2897"/>
                <a:gd name="T10" fmla="*/ 121 w 2555"/>
                <a:gd name="T11" fmla="*/ 641 h 2897"/>
                <a:gd name="T12" fmla="*/ 0 w 2555"/>
                <a:gd name="T13" fmla="*/ 851 h 2897"/>
                <a:gd name="T14" fmla="*/ 0 w 2555"/>
                <a:gd name="T15" fmla="*/ 2045 h 2897"/>
                <a:gd name="T16" fmla="*/ 121 w 2555"/>
                <a:gd name="T17" fmla="*/ 2256 h 2897"/>
                <a:gd name="T18" fmla="*/ 1156 w 2555"/>
                <a:gd name="T19" fmla="*/ 2853 h 2897"/>
                <a:gd name="T20" fmla="*/ 1399 w 2555"/>
                <a:gd name="T21" fmla="*/ 2853 h 2897"/>
                <a:gd name="T22" fmla="*/ 2433 w 2555"/>
                <a:gd name="T23" fmla="*/ 2256 h 2897"/>
                <a:gd name="T24" fmla="*/ 2555 w 2555"/>
                <a:gd name="T25" fmla="*/ 204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5" h="2897">
                  <a:moveTo>
                    <a:pt x="2555" y="2045"/>
                  </a:moveTo>
                  <a:cubicBezTo>
                    <a:pt x="2555" y="851"/>
                    <a:pt x="2555" y="851"/>
                    <a:pt x="2555" y="851"/>
                  </a:cubicBezTo>
                  <a:cubicBezTo>
                    <a:pt x="2555" y="764"/>
                    <a:pt x="2508" y="684"/>
                    <a:pt x="2433" y="641"/>
                  </a:cubicBezTo>
                  <a:cubicBezTo>
                    <a:pt x="1399" y="44"/>
                    <a:pt x="1399" y="44"/>
                    <a:pt x="1399" y="44"/>
                  </a:cubicBezTo>
                  <a:cubicBezTo>
                    <a:pt x="1324" y="0"/>
                    <a:pt x="1231" y="0"/>
                    <a:pt x="1156" y="44"/>
                  </a:cubicBezTo>
                  <a:cubicBezTo>
                    <a:pt x="121" y="641"/>
                    <a:pt x="121" y="641"/>
                    <a:pt x="121" y="641"/>
                  </a:cubicBezTo>
                  <a:cubicBezTo>
                    <a:pt x="46" y="684"/>
                    <a:pt x="0" y="764"/>
                    <a:pt x="0" y="851"/>
                  </a:cubicBezTo>
                  <a:cubicBezTo>
                    <a:pt x="0" y="2045"/>
                    <a:pt x="0" y="2045"/>
                    <a:pt x="0" y="2045"/>
                  </a:cubicBezTo>
                  <a:cubicBezTo>
                    <a:pt x="0" y="2132"/>
                    <a:pt x="46" y="2213"/>
                    <a:pt x="121" y="2256"/>
                  </a:cubicBezTo>
                  <a:cubicBezTo>
                    <a:pt x="1156" y="2853"/>
                    <a:pt x="1156" y="2853"/>
                    <a:pt x="1156" y="2853"/>
                  </a:cubicBezTo>
                  <a:cubicBezTo>
                    <a:pt x="1231" y="2897"/>
                    <a:pt x="1324" y="2897"/>
                    <a:pt x="1399" y="2853"/>
                  </a:cubicBezTo>
                  <a:cubicBezTo>
                    <a:pt x="2433" y="2256"/>
                    <a:pt x="2433" y="2256"/>
                    <a:pt x="2433" y="2256"/>
                  </a:cubicBezTo>
                  <a:cubicBezTo>
                    <a:pt x="2508" y="2213"/>
                    <a:pt x="2555" y="2132"/>
                    <a:pt x="2555" y="204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6769894" y="2254445"/>
              <a:ext cx="1105496" cy="1254919"/>
            </a:xfrm>
            <a:custGeom>
              <a:avLst/>
              <a:gdLst>
                <a:gd name="T0" fmla="*/ 2555 w 2555"/>
                <a:gd name="T1" fmla="*/ 2045 h 2897"/>
                <a:gd name="T2" fmla="*/ 2555 w 2555"/>
                <a:gd name="T3" fmla="*/ 851 h 2897"/>
                <a:gd name="T4" fmla="*/ 2433 w 2555"/>
                <a:gd name="T5" fmla="*/ 641 h 2897"/>
                <a:gd name="T6" fmla="*/ 1399 w 2555"/>
                <a:gd name="T7" fmla="*/ 44 h 2897"/>
                <a:gd name="T8" fmla="*/ 1156 w 2555"/>
                <a:gd name="T9" fmla="*/ 44 h 2897"/>
                <a:gd name="T10" fmla="*/ 122 w 2555"/>
                <a:gd name="T11" fmla="*/ 641 h 2897"/>
                <a:gd name="T12" fmla="*/ 0 w 2555"/>
                <a:gd name="T13" fmla="*/ 851 h 2897"/>
                <a:gd name="T14" fmla="*/ 0 w 2555"/>
                <a:gd name="T15" fmla="*/ 2045 h 2897"/>
                <a:gd name="T16" fmla="*/ 122 w 2555"/>
                <a:gd name="T17" fmla="*/ 2256 h 2897"/>
                <a:gd name="T18" fmla="*/ 1156 w 2555"/>
                <a:gd name="T19" fmla="*/ 2853 h 2897"/>
                <a:gd name="T20" fmla="*/ 1399 w 2555"/>
                <a:gd name="T21" fmla="*/ 2853 h 2897"/>
                <a:gd name="T22" fmla="*/ 2433 w 2555"/>
                <a:gd name="T23" fmla="*/ 2256 h 2897"/>
                <a:gd name="T24" fmla="*/ 2555 w 2555"/>
                <a:gd name="T25" fmla="*/ 2045 h 2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55" h="2897">
                  <a:moveTo>
                    <a:pt x="2555" y="2045"/>
                  </a:moveTo>
                  <a:cubicBezTo>
                    <a:pt x="2555" y="851"/>
                    <a:pt x="2555" y="851"/>
                    <a:pt x="2555" y="851"/>
                  </a:cubicBezTo>
                  <a:cubicBezTo>
                    <a:pt x="2555" y="764"/>
                    <a:pt x="2508" y="684"/>
                    <a:pt x="2433" y="641"/>
                  </a:cubicBezTo>
                  <a:cubicBezTo>
                    <a:pt x="1399" y="44"/>
                    <a:pt x="1399" y="44"/>
                    <a:pt x="1399" y="44"/>
                  </a:cubicBezTo>
                  <a:cubicBezTo>
                    <a:pt x="1324" y="0"/>
                    <a:pt x="1231" y="0"/>
                    <a:pt x="1156" y="44"/>
                  </a:cubicBezTo>
                  <a:cubicBezTo>
                    <a:pt x="122" y="641"/>
                    <a:pt x="122" y="641"/>
                    <a:pt x="122" y="641"/>
                  </a:cubicBezTo>
                  <a:cubicBezTo>
                    <a:pt x="46" y="684"/>
                    <a:pt x="0" y="764"/>
                    <a:pt x="0" y="851"/>
                  </a:cubicBezTo>
                  <a:cubicBezTo>
                    <a:pt x="0" y="2045"/>
                    <a:pt x="0" y="2045"/>
                    <a:pt x="0" y="2045"/>
                  </a:cubicBezTo>
                  <a:cubicBezTo>
                    <a:pt x="0" y="2132"/>
                    <a:pt x="46" y="2213"/>
                    <a:pt x="122" y="2256"/>
                  </a:cubicBezTo>
                  <a:cubicBezTo>
                    <a:pt x="1156" y="2853"/>
                    <a:pt x="1156" y="2853"/>
                    <a:pt x="1156" y="2853"/>
                  </a:cubicBezTo>
                  <a:cubicBezTo>
                    <a:pt x="1231" y="2897"/>
                    <a:pt x="1324" y="2897"/>
                    <a:pt x="1399" y="2853"/>
                  </a:cubicBezTo>
                  <a:cubicBezTo>
                    <a:pt x="2433" y="2256"/>
                    <a:pt x="2433" y="2256"/>
                    <a:pt x="2433" y="2256"/>
                  </a:cubicBezTo>
                  <a:cubicBezTo>
                    <a:pt x="2508" y="2213"/>
                    <a:pt x="2555" y="2132"/>
                    <a:pt x="2555" y="2045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0" name="Freeform 11"/>
            <p:cNvSpPr>
              <a:spLocks noEditPoints="1"/>
            </p:cNvSpPr>
            <p:nvPr/>
          </p:nvSpPr>
          <p:spPr bwMode="auto">
            <a:xfrm>
              <a:off x="2485430" y="2077042"/>
              <a:ext cx="1422797" cy="1602581"/>
            </a:xfrm>
            <a:custGeom>
              <a:avLst/>
              <a:gdLst>
                <a:gd name="T0" fmla="*/ 1644 w 3288"/>
                <a:gd name="T1" fmla="*/ 3701 h 3701"/>
                <a:gd name="T2" fmla="*/ 1465 w 3288"/>
                <a:gd name="T3" fmla="*/ 3654 h 3701"/>
                <a:gd name="T4" fmla="*/ 179 w 3288"/>
                <a:gd name="T5" fmla="*/ 2911 h 3701"/>
                <a:gd name="T6" fmla="*/ 0 w 3288"/>
                <a:gd name="T7" fmla="*/ 2601 h 3701"/>
                <a:gd name="T8" fmla="*/ 0 w 3288"/>
                <a:gd name="T9" fmla="*/ 1116 h 3701"/>
                <a:gd name="T10" fmla="*/ 179 w 3288"/>
                <a:gd name="T11" fmla="*/ 806 h 3701"/>
                <a:gd name="T12" fmla="*/ 1465 w 3288"/>
                <a:gd name="T13" fmla="*/ 63 h 3701"/>
                <a:gd name="T14" fmla="*/ 1823 w 3288"/>
                <a:gd name="T15" fmla="*/ 63 h 3701"/>
                <a:gd name="T16" fmla="*/ 3109 w 3288"/>
                <a:gd name="T17" fmla="*/ 806 h 3701"/>
                <a:gd name="T18" fmla="*/ 3288 w 3288"/>
                <a:gd name="T19" fmla="*/ 1116 h 3701"/>
                <a:gd name="T20" fmla="*/ 3288 w 3288"/>
                <a:gd name="T21" fmla="*/ 2601 h 3701"/>
                <a:gd name="T22" fmla="*/ 3109 w 3288"/>
                <a:gd name="T23" fmla="*/ 2911 h 3701"/>
                <a:gd name="T24" fmla="*/ 1823 w 3288"/>
                <a:gd name="T25" fmla="*/ 3654 h 3701"/>
                <a:gd name="T26" fmla="*/ 1644 w 3288"/>
                <a:gd name="T27" fmla="*/ 3701 h 3701"/>
                <a:gd name="T28" fmla="*/ 1644 w 3288"/>
                <a:gd name="T29" fmla="*/ 125 h 3701"/>
                <a:gd name="T30" fmla="*/ 1520 w 3288"/>
                <a:gd name="T31" fmla="*/ 159 h 3701"/>
                <a:gd name="T32" fmla="*/ 234 w 3288"/>
                <a:gd name="T33" fmla="*/ 901 h 3701"/>
                <a:gd name="T34" fmla="*/ 110 w 3288"/>
                <a:gd name="T35" fmla="*/ 1116 h 3701"/>
                <a:gd name="T36" fmla="*/ 110 w 3288"/>
                <a:gd name="T37" fmla="*/ 2601 h 3701"/>
                <a:gd name="T38" fmla="*/ 234 w 3288"/>
                <a:gd name="T39" fmla="*/ 2816 h 3701"/>
                <a:gd name="T40" fmla="*/ 1520 w 3288"/>
                <a:gd name="T41" fmla="*/ 3558 h 3701"/>
                <a:gd name="T42" fmla="*/ 1768 w 3288"/>
                <a:gd name="T43" fmla="*/ 3558 h 3701"/>
                <a:gd name="T44" fmla="*/ 3054 w 3288"/>
                <a:gd name="T45" fmla="*/ 2816 h 3701"/>
                <a:gd name="T46" fmla="*/ 3178 w 3288"/>
                <a:gd name="T47" fmla="*/ 2601 h 3701"/>
                <a:gd name="T48" fmla="*/ 3178 w 3288"/>
                <a:gd name="T49" fmla="*/ 1116 h 3701"/>
                <a:gd name="T50" fmla="*/ 3054 w 3288"/>
                <a:gd name="T51" fmla="*/ 901 h 3701"/>
                <a:gd name="T52" fmla="*/ 1768 w 3288"/>
                <a:gd name="T53" fmla="*/ 159 h 3701"/>
                <a:gd name="T54" fmla="*/ 1644 w 3288"/>
                <a:gd name="T55" fmla="*/ 125 h 3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88" h="3701">
                  <a:moveTo>
                    <a:pt x="1644" y="3701"/>
                  </a:moveTo>
                  <a:cubicBezTo>
                    <a:pt x="1582" y="3701"/>
                    <a:pt x="1520" y="3685"/>
                    <a:pt x="1465" y="3654"/>
                  </a:cubicBezTo>
                  <a:cubicBezTo>
                    <a:pt x="179" y="2911"/>
                    <a:pt x="179" y="2911"/>
                    <a:pt x="179" y="2911"/>
                  </a:cubicBezTo>
                  <a:cubicBezTo>
                    <a:pt x="68" y="2847"/>
                    <a:pt x="0" y="2729"/>
                    <a:pt x="0" y="2601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988"/>
                    <a:pt x="68" y="870"/>
                    <a:pt x="179" y="806"/>
                  </a:cubicBezTo>
                  <a:cubicBezTo>
                    <a:pt x="1465" y="63"/>
                    <a:pt x="1465" y="63"/>
                    <a:pt x="1465" y="63"/>
                  </a:cubicBezTo>
                  <a:cubicBezTo>
                    <a:pt x="1575" y="0"/>
                    <a:pt x="1712" y="0"/>
                    <a:pt x="1823" y="63"/>
                  </a:cubicBezTo>
                  <a:cubicBezTo>
                    <a:pt x="3109" y="806"/>
                    <a:pt x="3109" y="806"/>
                    <a:pt x="3109" y="806"/>
                  </a:cubicBezTo>
                  <a:cubicBezTo>
                    <a:pt x="3219" y="870"/>
                    <a:pt x="3288" y="988"/>
                    <a:pt x="3288" y="1116"/>
                  </a:cubicBezTo>
                  <a:cubicBezTo>
                    <a:pt x="3288" y="2601"/>
                    <a:pt x="3288" y="2601"/>
                    <a:pt x="3288" y="2601"/>
                  </a:cubicBezTo>
                  <a:cubicBezTo>
                    <a:pt x="3288" y="2729"/>
                    <a:pt x="3219" y="2847"/>
                    <a:pt x="3109" y="2911"/>
                  </a:cubicBezTo>
                  <a:cubicBezTo>
                    <a:pt x="1823" y="3654"/>
                    <a:pt x="1823" y="3654"/>
                    <a:pt x="1823" y="3654"/>
                  </a:cubicBezTo>
                  <a:cubicBezTo>
                    <a:pt x="1768" y="3685"/>
                    <a:pt x="1706" y="3701"/>
                    <a:pt x="1644" y="3701"/>
                  </a:cubicBezTo>
                  <a:close/>
                  <a:moveTo>
                    <a:pt x="1644" y="125"/>
                  </a:moveTo>
                  <a:cubicBezTo>
                    <a:pt x="1601" y="125"/>
                    <a:pt x="1558" y="136"/>
                    <a:pt x="1520" y="159"/>
                  </a:cubicBezTo>
                  <a:cubicBezTo>
                    <a:pt x="234" y="901"/>
                    <a:pt x="234" y="901"/>
                    <a:pt x="234" y="901"/>
                  </a:cubicBezTo>
                  <a:cubicBezTo>
                    <a:pt x="157" y="945"/>
                    <a:pt x="110" y="1027"/>
                    <a:pt x="110" y="1116"/>
                  </a:cubicBezTo>
                  <a:cubicBezTo>
                    <a:pt x="110" y="2601"/>
                    <a:pt x="110" y="2601"/>
                    <a:pt x="110" y="2601"/>
                  </a:cubicBezTo>
                  <a:cubicBezTo>
                    <a:pt x="110" y="2689"/>
                    <a:pt x="157" y="2771"/>
                    <a:pt x="234" y="2816"/>
                  </a:cubicBezTo>
                  <a:cubicBezTo>
                    <a:pt x="1520" y="3558"/>
                    <a:pt x="1520" y="3558"/>
                    <a:pt x="1520" y="3558"/>
                  </a:cubicBezTo>
                  <a:cubicBezTo>
                    <a:pt x="1596" y="3602"/>
                    <a:pt x="1691" y="3602"/>
                    <a:pt x="1768" y="3558"/>
                  </a:cubicBezTo>
                  <a:cubicBezTo>
                    <a:pt x="3054" y="2816"/>
                    <a:pt x="3054" y="2816"/>
                    <a:pt x="3054" y="2816"/>
                  </a:cubicBezTo>
                  <a:cubicBezTo>
                    <a:pt x="3130" y="2771"/>
                    <a:pt x="3178" y="2689"/>
                    <a:pt x="3178" y="2601"/>
                  </a:cubicBezTo>
                  <a:cubicBezTo>
                    <a:pt x="3178" y="1116"/>
                    <a:pt x="3178" y="1116"/>
                    <a:pt x="3178" y="1116"/>
                  </a:cubicBezTo>
                  <a:cubicBezTo>
                    <a:pt x="3178" y="1027"/>
                    <a:pt x="3130" y="945"/>
                    <a:pt x="3054" y="901"/>
                  </a:cubicBezTo>
                  <a:cubicBezTo>
                    <a:pt x="1768" y="159"/>
                    <a:pt x="1768" y="159"/>
                    <a:pt x="1768" y="159"/>
                  </a:cubicBezTo>
                  <a:cubicBezTo>
                    <a:pt x="1729" y="136"/>
                    <a:pt x="1687" y="125"/>
                    <a:pt x="1644" y="1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Freeform 12"/>
            <p:cNvSpPr>
              <a:spLocks noEditPoints="1"/>
            </p:cNvSpPr>
            <p:nvPr/>
          </p:nvSpPr>
          <p:spPr bwMode="auto">
            <a:xfrm>
              <a:off x="3860602" y="2077042"/>
              <a:ext cx="1422797" cy="1602581"/>
            </a:xfrm>
            <a:custGeom>
              <a:avLst/>
              <a:gdLst>
                <a:gd name="T0" fmla="*/ 1644 w 3288"/>
                <a:gd name="T1" fmla="*/ 3701 h 3701"/>
                <a:gd name="T2" fmla="*/ 1465 w 3288"/>
                <a:gd name="T3" fmla="*/ 3654 h 3701"/>
                <a:gd name="T4" fmla="*/ 179 w 3288"/>
                <a:gd name="T5" fmla="*/ 2911 h 3701"/>
                <a:gd name="T6" fmla="*/ 0 w 3288"/>
                <a:gd name="T7" fmla="*/ 2601 h 3701"/>
                <a:gd name="T8" fmla="*/ 0 w 3288"/>
                <a:gd name="T9" fmla="*/ 1116 h 3701"/>
                <a:gd name="T10" fmla="*/ 179 w 3288"/>
                <a:gd name="T11" fmla="*/ 806 h 3701"/>
                <a:gd name="T12" fmla="*/ 1465 w 3288"/>
                <a:gd name="T13" fmla="*/ 63 h 3701"/>
                <a:gd name="T14" fmla="*/ 1823 w 3288"/>
                <a:gd name="T15" fmla="*/ 63 h 3701"/>
                <a:gd name="T16" fmla="*/ 3109 w 3288"/>
                <a:gd name="T17" fmla="*/ 806 h 3701"/>
                <a:gd name="T18" fmla="*/ 3288 w 3288"/>
                <a:gd name="T19" fmla="*/ 1116 h 3701"/>
                <a:gd name="T20" fmla="*/ 3288 w 3288"/>
                <a:gd name="T21" fmla="*/ 2601 h 3701"/>
                <a:gd name="T22" fmla="*/ 3109 w 3288"/>
                <a:gd name="T23" fmla="*/ 2911 h 3701"/>
                <a:gd name="T24" fmla="*/ 1823 w 3288"/>
                <a:gd name="T25" fmla="*/ 3654 h 3701"/>
                <a:gd name="T26" fmla="*/ 1644 w 3288"/>
                <a:gd name="T27" fmla="*/ 3701 h 3701"/>
                <a:gd name="T28" fmla="*/ 1644 w 3288"/>
                <a:gd name="T29" fmla="*/ 125 h 3701"/>
                <a:gd name="T30" fmla="*/ 1520 w 3288"/>
                <a:gd name="T31" fmla="*/ 159 h 3701"/>
                <a:gd name="T32" fmla="*/ 234 w 3288"/>
                <a:gd name="T33" fmla="*/ 901 h 3701"/>
                <a:gd name="T34" fmla="*/ 110 w 3288"/>
                <a:gd name="T35" fmla="*/ 1116 h 3701"/>
                <a:gd name="T36" fmla="*/ 110 w 3288"/>
                <a:gd name="T37" fmla="*/ 2601 h 3701"/>
                <a:gd name="T38" fmla="*/ 234 w 3288"/>
                <a:gd name="T39" fmla="*/ 2816 h 3701"/>
                <a:gd name="T40" fmla="*/ 1520 w 3288"/>
                <a:gd name="T41" fmla="*/ 3558 h 3701"/>
                <a:gd name="T42" fmla="*/ 1768 w 3288"/>
                <a:gd name="T43" fmla="*/ 3558 h 3701"/>
                <a:gd name="T44" fmla="*/ 3054 w 3288"/>
                <a:gd name="T45" fmla="*/ 2816 h 3701"/>
                <a:gd name="T46" fmla="*/ 3178 w 3288"/>
                <a:gd name="T47" fmla="*/ 2601 h 3701"/>
                <a:gd name="T48" fmla="*/ 3178 w 3288"/>
                <a:gd name="T49" fmla="*/ 1116 h 3701"/>
                <a:gd name="T50" fmla="*/ 3054 w 3288"/>
                <a:gd name="T51" fmla="*/ 901 h 3701"/>
                <a:gd name="T52" fmla="*/ 1768 w 3288"/>
                <a:gd name="T53" fmla="*/ 159 h 3701"/>
                <a:gd name="T54" fmla="*/ 1644 w 3288"/>
                <a:gd name="T55" fmla="*/ 125 h 3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88" h="3701">
                  <a:moveTo>
                    <a:pt x="1644" y="3701"/>
                  </a:moveTo>
                  <a:cubicBezTo>
                    <a:pt x="1582" y="3701"/>
                    <a:pt x="1520" y="3685"/>
                    <a:pt x="1465" y="3654"/>
                  </a:cubicBezTo>
                  <a:cubicBezTo>
                    <a:pt x="179" y="2911"/>
                    <a:pt x="179" y="2911"/>
                    <a:pt x="179" y="2911"/>
                  </a:cubicBezTo>
                  <a:cubicBezTo>
                    <a:pt x="68" y="2847"/>
                    <a:pt x="0" y="2729"/>
                    <a:pt x="0" y="2601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988"/>
                    <a:pt x="68" y="870"/>
                    <a:pt x="179" y="806"/>
                  </a:cubicBezTo>
                  <a:cubicBezTo>
                    <a:pt x="1465" y="63"/>
                    <a:pt x="1465" y="63"/>
                    <a:pt x="1465" y="63"/>
                  </a:cubicBezTo>
                  <a:cubicBezTo>
                    <a:pt x="1575" y="0"/>
                    <a:pt x="1713" y="0"/>
                    <a:pt x="1823" y="63"/>
                  </a:cubicBezTo>
                  <a:cubicBezTo>
                    <a:pt x="3109" y="806"/>
                    <a:pt x="3109" y="806"/>
                    <a:pt x="3109" y="806"/>
                  </a:cubicBezTo>
                  <a:cubicBezTo>
                    <a:pt x="3220" y="870"/>
                    <a:pt x="3288" y="988"/>
                    <a:pt x="3288" y="1116"/>
                  </a:cubicBezTo>
                  <a:cubicBezTo>
                    <a:pt x="3288" y="2601"/>
                    <a:pt x="3288" y="2601"/>
                    <a:pt x="3288" y="2601"/>
                  </a:cubicBezTo>
                  <a:cubicBezTo>
                    <a:pt x="3288" y="2729"/>
                    <a:pt x="3220" y="2847"/>
                    <a:pt x="3109" y="2911"/>
                  </a:cubicBezTo>
                  <a:cubicBezTo>
                    <a:pt x="1823" y="3654"/>
                    <a:pt x="1823" y="3654"/>
                    <a:pt x="1823" y="3654"/>
                  </a:cubicBezTo>
                  <a:cubicBezTo>
                    <a:pt x="1768" y="3685"/>
                    <a:pt x="1706" y="3701"/>
                    <a:pt x="1644" y="3701"/>
                  </a:cubicBezTo>
                  <a:close/>
                  <a:moveTo>
                    <a:pt x="1644" y="125"/>
                  </a:moveTo>
                  <a:cubicBezTo>
                    <a:pt x="1601" y="125"/>
                    <a:pt x="1558" y="136"/>
                    <a:pt x="1520" y="159"/>
                  </a:cubicBezTo>
                  <a:cubicBezTo>
                    <a:pt x="234" y="901"/>
                    <a:pt x="234" y="901"/>
                    <a:pt x="234" y="901"/>
                  </a:cubicBezTo>
                  <a:cubicBezTo>
                    <a:pt x="157" y="945"/>
                    <a:pt x="110" y="1027"/>
                    <a:pt x="110" y="1116"/>
                  </a:cubicBezTo>
                  <a:cubicBezTo>
                    <a:pt x="110" y="2601"/>
                    <a:pt x="110" y="2601"/>
                    <a:pt x="110" y="2601"/>
                  </a:cubicBezTo>
                  <a:cubicBezTo>
                    <a:pt x="110" y="2689"/>
                    <a:pt x="157" y="2771"/>
                    <a:pt x="234" y="2816"/>
                  </a:cubicBezTo>
                  <a:cubicBezTo>
                    <a:pt x="1520" y="3558"/>
                    <a:pt x="1520" y="3558"/>
                    <a:pt x="1520" y="3558"/>
                  </a:cubicBezTo>
                  <a:cubicBezTo>
                    <a:pt x="1597" y="3602"/>
                    <a:pt x="1691" y="3602"/>
                    <a:pt x="1768" y="3558"/>
                  </a:cubicBezTo>
                  <a:cubicBezTo>
                    <a:pt x="3054" y="2816"/>
                    <a:pt x="3054" y="2816"/>
                    <a:pt x="3054" y="2816"/>
                  </a:cubicBezTo>
                  <a:cubicBezTo>
                    <a:pt x="3131" y="2771"/>
                    <a:pt x="3178" y="2689"/>
                    <a:pt x="3178" y="2601"/>
                  </a:cubicBezTo>
                  <a:cubicBezTo>
                    <a:pt x="3178" y="1116"/>
                    <a:pt x="3178" y="1116"/>
                    <a:pt x="3178" y="1116"/>
                  </a:cubicBezTo>
                  <a:cubicBezTo>
                    <a:pt x="3178" y="1027"/>
                    <a:pt x="3131" y="945"/>
                    <a:pt x="3054" y="901"/>
                  </a:cubicBezTo>
                  <a:cubicBezTo>
                    <a:pt x="1768" y="159"/>
                    <a:pt x="1768" y="159"/>
                    <a:pt x="1768" y="159"/>
                  </a:cubicBezTo>
                  <a:cubicBezTo>
                    <a:pt x="1730" y="136"/>
                    <a:pt x="1687" y="125"/>
                    <a:pt x="1644" y="1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2" name="Freeform 13"/>
            <p:cNvSpPr>
              <a:spLocks noEditPoints="1"/>
            </p:cNvSpPr>
            <p:nvPr/>
          </p:nvSpPr>
          <p:spPr bwMode="auto">
            <a:xfrm>
              <a:off x="5235774" y="2077042"/>
              <a:ext cx="1422797" cy="1602581"/>
            </a:xfrm>
            <a:custGeom>
              <a:avLst/>
              <a:gdLst>
                <a:gd name="T0" fmla="*/ 1644 w 3288"/>
                <a:gd name="T1" fmla="*/ 3701 h 3701"/>
                <a:gd name="T2" fmla="*/ 1465 w 3288"/>
                <a:gd name="T3" fmla="*/ 3654 h 3701"/>
                <a:gd name="T4" fmla="*/ 179 w 3288"/>
                <a:gd name="T5" fmla="*/ 2911 h 3701"/>
                <a:gd name="T6" fmla="*/ 0 w 3288"/>
                <a:gd name="T7" fmla="*/ 2601 h 3701"/>
                <a:gd name="T8" fmla="*/ 0 w 3288"/>
                <a:gd name="T9" fmla="*/ 1116 h 3701"/>
                <a:gd name="T10" fmla="*/ 179 w 3288"/>
                <a:gd name="T11" fmla="*/ 806 h 3701"/>
                <a:gd name="T12" fmla="*/ 1465 w 3288"/>
                <a:gd name="T13" fmla="*/ 63 h 3701"/>
                <a:gd name="T14" fmla="*/ 1823 w 3288"/>
                <a:gd name="T15" fmla="*/ 63 h 3701"/>
                <a:gd name="T16" fmla="*/ 3109 w 3288"/>
                <a:gd name="T17" fmla="*/ 806 h 3701"/>
                <a:gd name="T18" fmla="*/ 3288 w 3288"/>
                <a:gd name="T19" fmla="*/ 1116 h 3701"/>
                <a:gd name="T20" fmla="*/ 3288 w 3288"/>
                <a:gd name="T21" fmla="*/ 2601 h 3701"/>
                <a:gd name="T22" fmla="*/ 3109 w 3288"/>
                <a:gd name="T23" fmla="*/ 2911 h 3701"/>
                <a:gd name="T24" fmla="*/ 1823 w 3288"/>
                <a:gd name="T25" fmla="*/ 3654 h 3701"/>
                <a:gd name="T26" fmla="*/ 1644 w 3288"/>
                <a:gd name="T27" fmla="*/ 3701 h 3701"/>
                <a:gd name="T28" fmla="*/ 1644 w 3288"/>
                <a:gd name="T29" fmla="*/ 125 h 3701"/>
                <a:gd name="T30" fmla="*/ 1520 w 3288"/>
                <a:gd name="T31" fmla="*/ 159 h 3701"/>
                <a:gd name="T32" fmla="*/ 234 w 3288"/>
                <a:gd name="T33" fmla="*/ 901 h 3701"/>
                <a:gd name="T34" fmla="*/ 110 w 3288"/>
                <a:gd name="T35" fmla="*/ 1116 h 3701"/>
                <a:gd name="T36" fmla="*/ 110 w 3288"/>
                <a:gd name="T37" fmla="*/ 2601 h 3701"/>
                <a:gd name="T38" fmla="*/ 234 w 3288"/>
                <a:gd name="T39" fmla="*/ 2816 h 3701"/>
                <a:gd name="T40" fmla="*/ 1520 w 3288"/>
                <a:gd name="T41" fmla="*/ 3558 h 3701"/>
                <a:gd name="T42" fmla="*/ 1768 w 3288"/>
                <a:gd name="T43" fmla="*/ 3558 h 3701"/>
                <a:gd name="T44" fmla="*/ 3054 w 3288"/>
                <a:gd name="T45" fmla="*/ 2816 h 3701"/>
                <a:gd name="T46" fmla="*/ 3178 w 3288"/>
                <a:gd name="T47" fmla="*/ 2601 h 3701"/>
                <a:gd name="T48" fmla="*/ 3178 w 3288"/>
                <a:gd name="T49" fmla="*/ 1116 h 3701"/>
                <a:gd name="T50" fmla="*/ 3054 w 3288"/>
                <a:gd name="T51" fmla="*/ 901 h 3701"/>
                <a:gd name="T52" fmla="*/ 1768 w 3288"/>
                <a:gd name="T53" fmla="*/ 159 h 3701"/>
                <a:gd name="T54" fmla="*/ 1644 w 3288"/>
                <a:gd name="T55" fmla="*/ 125 h 3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88" h="3701">
                  <a:moveTo>
                    <a:pt x="1644" y="3701"/>
                  </a:moveTo>
                  <a:cubicBezTo>
                    <a:pt x="1582" y="3701"/>
                    <a:pt x="1520" y="3685"/>
                    <a:pt x="1465" y="3654"/>
                  </a:cubicBezTo>
                  <a:cubicBezTo>
                    <a:pt x="179" y="2911"/>
                    <a:pt x="179" y="2911"/>
                    <a:pt x="179" y="2911"/>
                  </a:cubicBezTo>
                  <a:cubicBezTo>
                    <a:pt x="69" y="2847"/>
                    <a:pt x="0" y="2729"/>
                    <a:pt x="0" y="2601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988"/>
                    <a:pt x="69" y="870"/>
                    <a:pt x="179" y="806"/>
                  </a:cubicBezTo>
                  <a:cubicBezTo>
                    <a:pt x="1465" y="63"/>
                    <a:pt x="1465" y="63"/>
                    <a:pt x="1465" y="63"/>
                  </a:cubicBezTo>
                  <a:cubicBezTo>
                    <a:pt x="1576" y="0"/>
                    <a:pt x="1713" y="0"/>
                    <a:pt x="1823" y="63"/>
                  </a:cubicBezTo>
                  <a:cubicBezTo>
                    <a:pt x="3109" y="806"/>
                    <a:pt x="3109" y="806"/>
                    <a:pt x="3109" y="806"/>
                  </a:cubicBezTo>
                  <a:cubicBezTo>
                    <a:pt x="3220" y="870"/>
                    <a:pt x="3288" y="988"/>
                    <a:pt x="3288" y="1116"/>
                  </a:cubicBezTo>
                  <a:cubicBezTo>
                    <a:pt x="3288" y="2601"/>
                    <a:pt x="3288" y="2601"/>
                    <a:pt x="3288" y="2601"/>
                  </a:cubicBezTo>
                  <a:cubicBezTo>
                    <a:pt x="3288" y="2729"/>
                    <a:pt x="3220" y="2847"/>
                    <a:pt x="3109" y="2911"/>
                  </a:cubicBezTo>
                  <a:cubicBezTo>
                    <a:pt x="1823" y="3654"/>
                    <a:pt x="1823" y="3654"/>
                    <a:pt x="1823" y="3654"/>
                  </a:cubicBezTo>
                  <a:cubicBezTo>
                    <a:pt x="1768" y="3685"/>
                    <a:pt x="1706" y="3701"/>
                    <a:pt x="1644" y="3701"/>
                  </a:cubicBezTo>
                  <a:close/>
                  <a:moveTo>
                    <a:pt x="1644" y="125"/>
                  </a:moveTo>
                  <a:cubicBezTo>
                    <a:pt x="1601" y="125"/>
                    <a:pt x="1559" y="136"/>
                    <a:pt x="1520" y="159"/>
                  </a:cubicBezTo>
                  <a:cubicBezTo>
                    <a:pt x="234" y="901"/>
                    <a:pt x="234" y="901"/>
                    <a:pt x="234" y="901"/>
                  </a:cubicBezTo>
                  <a:cubicBezTo>
                    <a:pt x="158" y="945"/>
                    <a:pt x="110" y="1027"/>
                    <a:pt x="110" y="1116"/>
                  </a:cubicBezTo>
                  <a:cubicBezTo>
                    <a:pt x="110" y="2601"/>
                    <a:pt x="110" y="2601"/>
                    <a:pt x="110" y="2601"/>
                  </a:cubicBezTo>
                  <a:cubicBezTo>
                    <a:pt x="110" y="2689"/>
                    <a:pt x="158" y="2771"/>
                    <a:pt x="234" y="2816"/>
                  </a:cubicBezTo>
                  <a:cubicBezTo>
                    <a:pt x="1520" y="3558"/>
                    <a:pt x="1520" y="3558"/>
                    <a:pt x="1520" y="3558"/>
                  </a:cubicBezTo>
                  <a:cubicBezTo>
                    <a:pt x="1597" y="3602"/>
                    <a:pt x="1692" y="3602"/>
                    <a:pt x="1768" y="3558"/>
                  </a:cubicBezTo>
                  <a:cubicBezTo>
                    <a:pt x="3054" y="2816"/>
                    <a:pt x="3054" y="2816"/>
                    <a:pt x="3054" y="2816"/>
                  </a:cubicBezTo>
                  <a:cubicBezTo>
                    <a:pt x="3131" y="2771"/>
                    <a:pt x="3178" y="2689"/>
                    <a:pt x="3178" y="2601"/>
                  </a:cubicBezTo>
                  <a:cubicBezTo>
                    <a:pt x="3178" y="1116"/>
                    <a:pt x="3178" y="1116"/>
                    <a:pt x="3178" y="1116"/>
                  </a:cubicBezTo>
                  <a:cubicBezTo>
                    <a:pt x="3178" y="1027"/>
                    <a:pt x="3131" y="945"/>
                    <a:pt x="3054" y="901"/>
                  </a:cubicBezTo>
                  <a:cubicBezTo>
                    <a:pt x="1768" y="159"/>
                    <a:pt x="1768" y="159"/>
                    <a:pt x="1768" y="159"/>
                  </a:cubicBezTo>
                  <a:cubicBezTo>
                    <a:pt x="1730" y="136"/>
                    <a:pt x="1687" y="125"/>
                    <a:pt x="1644" y="1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3" name="Freeform 14"/>
            <p:cNvSpPr>
              <a:spLocks noEditPoints="1"/>
            </p:cNvSpPr>
            <p:nvPr/>
          </p:nvSpPr>
          <p:spPr bwMode="auto">
            <a:xfrm>
              <a:off x="6610946" y="2077042"/>
              <a:ext cx="1422797" cy="1602581"/>
            </a:xfrm>
            <a:custGeom>
              <a:avLst/>
              <a:gdLst>
                <a:gd name="T0" fmla="*/ 1644 w 3288"/>
                <a:gd name="T1" fmla="*/ 3701 h 3701"/>
                <a:gd name="T2" fmla="*/ 1465 w 3288"/>
                <a:gd name="T3" fmla="*/ 3654 h 3701"/>
                <a:gd name="T4" fmla="*/ 179 w 3288"/>
                <a:gd name="T5" fmla="*/ 2911 h 3701"/>
                <a:gd name="T6" fmla="*/ 0 w 3288"/>
                <a:gd name="T7" fmla="*/ 2601 h 3701"/>
                <a:gd name="T8" fmla="*/ 0 w 3288"/>
                <a:gd name="T9" fmla="*/ 1116 h 3701"/>
                <a:gd name="T10" fmla="*/ 179 w 3288"/>
                <a:gd name="T11" fmla="*/ 806 h 3701"/>
                <a:gd name="T12" fmla="*/ 1465 w 3288"/>
                <a:gd name="T13" fmla="*/ 63 h 3701"/>
                <a:gd name="T14" fmla="*/ 1823 w 3288"/>
                <a:gd name="T15" fmla="*/ 63 h 3701"/>
                <a:gd name="T16" fmla="*/ 3110 w 3288"/>
                <a:gd name="T17" fmla="*/ 806 h 3701"/>
                <a:gd name="T18" fmla="*/ 3288 w 3288"/>
                <a:gd name="T19" fmla="*/ 1116 h 3701"/>
                <a:gd name="T20" fmla="*/ 3288 w 3288"/>
                <a:gd name="T21" fmla="*/ 2601 h 3701"/>
                <a:gd name="T22" fmla="*/ 3110 w 3288"/>
                <a:gd name="T23" fmla="*/ 2911 h 3701"/>
                <a:gd name="T24" fmla="*/ 1823 w 3288"/>
                <a:gd name="T25" fmla="*/ 3654 h 3701"/>
                <a:gd name="T26" fmla="*/ 1644 w 3288"/>
                <a:gd name="T27" fmla="*/ 3701 h 3701"/>
                <a:gd name="T28" fmla="*/ 1644 w 3288"/>
                <a:gd name="T29" fmla="*/ 125 h 3701"/>
                <a:gd name="T30" fmla="*/ 1521 w 3288"/>
                <a:gd name="T31" fmla="*/ 159 h 3701"/>
                <a:gd name="T32" fmla="*/ 234 w 3288"/>
                <a:gd name="T33" fmla="*/ 901 h 3701"/>
                <a:gd name="T34" fmla="*/ 110 w 3288"/>
                <a:gd name="T35" fmla="*/ 1116 h 3701"/>
                <a:gd name="T36" fmla="*/ 110 w 3288"/>
                <a:gd name="T37" fmla="*/ 2601 h 3701"/>
                <a:gd name="T38" fmla="*/ 234 w 3288"/>
                <a:gd name="T39" fmla="*/ 2816 h 3701"/>
                <a:gd name="T40" fmla="*/ 1521 w 3288"/>
                <a:gd name="T41" fmla="*/ 3558 h 3701"/>
                <a:gd name="T42" fmla="*/ 1768 w 3288"/>
                <a:gd name="T43" fmla="*/ 3558 h 3701"/>
                <a:gd name="T44" fmla="*/ 3055 w 3288"/>
                <a:gd name="T45" fmla="*/ 2816 h 3701"/>
                <a:gd name="T46" fmla="*/ 3178 w 3288"/>
                <a:gd name="T47" fmla="*/ 2601 h 3701"/>
                <a:gd name="T48" fmla="*/ 3178 w 3288"/>
                <a:gd name="T49" fmla="*/ 1116 h 3701"/>
                <a:gd name="T50" fmla="*/ 3055 w 3288"/>
                <a:gd name="T51" fmla="*/ 901 h 3701"/>
                <a:gd name="T52" fmla="*/ 1768 w 3288"/>
                <a:gd name="T53" fmla="*/ 159 h 3701"/>
                <a:gd name="T54" fmla="*/ 1644 w 3288"/>
                <a:gd name="T55" fmla="*/ 125 h 3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88" h="3701">
                  <a:moveTo>
                    <a:pt x="1644" y="3701"/>
                  </a:moveTo>
                  <a:cubicBezTo>
                    <a:pt x="1582" y="3701"/>
                    <a:pt x="1521" y="3685"/>
                    <a:pt x="1465" y="3654"/>
                  </a:cubicBezTo>
                  <a:cubicBezTo>
                    <a:pt x="179" y="2911"/>
                    <a:pt x="179" y="2911"/>
                    <a:pt x="179" y="2911"/>
                  </a:cubicBezTo>
                  <a:cubicBezTo>
                    <a:pt x="69" y="2847"/>
                    <a:pt x="0" y="2729"/>
                    <a:pt x="0" y="2601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988"/>
                    <a:pt x="69" y="870"/>
                    <a:pt x="179" y="806"/>
                  </a:cubicBezTo>
                  <a:cubicBezTo>
                    <a:pt x="1465" y="63"/>
                    <a:pt x="1465" y="63"/>
                    <a:pt x="1465" y="63"/>
                  </a:cubicBezTo>
                  <a:cubicBezTo>
                    <a:pt x="1576" y="0"/>
                    <a:pt x="1713" y="0"/>
                    <a:pt x="1823" y="63"/>
                  </a:cubicBezTo>
                  <a:cubicBezTo>
                    <a:pt x="3110" y="806"/>
                    <a:pt x="3110" y="806"/>
                    <a:pt x="3110" y="806"/>
                  </a:cubicBezTo>
                  <a:cubicBezTo>
                    <a:pt x="3220" y="870"/>
                    <a:pt x="3288" y="988"/>
                    <a:pt x="3288" y="1116"/>
                  </a:cubicBezTo>
                  <a:cubicBezTo>
                    <a:pt x="3288" y="2601"/>
                    <a:pt x="3288" y="2601"/>
                    <a:pt x="3288" y="2601"/>
                  </a:cubicBezTo>
                  <a:cubicBezTo>
                    <a:pt x="3288" y="2729"/>
                    <a:pt x="3220" y="2847"/>
                    <a:pt x="3110" y="2911"/>
                  </a:cubicBezTo>
                  <a:cubicBezTo>
                    <a:pt x="1823" y="3654"/>
                    <a:pt x="1823" y="3654"/>
                    <a:pt x="1823" y="3654"/>
                  </a:cubicBezTo>
                  <a:cubicBezTo>
                    <a:pt x="1768" y="3685"/>
                    <a:pt x="1706" y="3701"/>
                    <a:pt x="1644" y="3701"/>
                  </a:cubicBezTo>
                  <a:close/>
                  <a:moveTo>
                    <a:pt x="1644" y="125"/>
                  </a:moveTo>
                  <a:cubicBezTo>
                    <a:pt x="1602" y="125"/>
                    <a:pt x="1559" y="136"/>
                    <a:pt x="1521" y="159"/>
                  </a:cubicBezTo>
                  <a:cubicBezTo>
                    <a:pt x="234" y="901"/>
                    <a:pt x="234" y="901"/>
                    <a:pt x="234" y="901"/>
                  </a:cubicBezTo>
                  <a:cubicBezTo>
                    <a:pt x="158" y="945"/>
                    <a:pt x="110" y="1027"/>
                    <a:pt x="110" y="1116"/>
                  </a:cubicBezTo>
                  <a:cubicBezTo>
                    <a:pt x="110" y="2601"/>
                    <a:pt x="110" y="2601"/>
                    <a:pt x="110" y="2601"/>
                  </a:cubicBezTo>
                  <a:cubicBezTo>
                    <a:pt x="110" y="2689"/>
                    <a:pt x="158" y="2771"/>
                    <a:pt x="234" y="2816"/>
                  </a:cubicBezTo>
                  <a:cubicBezTo>
                    <a:pt x="1521" y="3558"/>
                    <a:pt x="1521" y="3558"/>
                    <a:pt x="1521" y="3558"/>
                  </a:cubicBezTo>
                  <a:cubicBezTo>
                    <a:pt x="1597" y="3602"/>
                    <a:pt x="1692" y="3602"/>
                    <a:pt x="1768" y="3558"/>
                  </a:cubicBezTo>
                  <a:cubicBezTo>
                    <a:pt x="3055" y="2816"/>
                    <a:pt x="3055" y="2816"/>
                    <a:pt x="3055" y="2816"/>
                  </a:cubicBezTo>
                  <a:cubicBezTo>
                    <a:pt x="3131" y="2771"/>
                    <a:pt x="3178" y="2689"/>
                    <a:pt x="3178" y="2601"/>
                  </a:cubicBezTo>
                  <a:cubicBezTo>
                    <a:pt x="3178" y="1116"/>
                    <a:pt x="3178" y="1116"/>
                    <a:pt x="3178" y="1116"/>
                  </a:cubicBezTo>
                  <a:cubicBezTo>
                    <a:pt x="3178" y="1027"/>
                    <a:pt x="3131" y="945"/>
                    <a:pt x="3055" y="901"/>
                  </a:cubicBezTo>
                  <a:cubicBezTo>
                    <a:pt x="1768" y="159"/>
                    <a:pt x="1768" y="159"/>
                    <a:pt x="1768" y="159"/>
                  </a:cubicBezTo>
                  <a:cubicBezTo>
                    <a:pt x="1730" y="136"/>
                    <a:pt x="1687" y="125"/>
                    <a:pt x="1644" y="12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1110258" y="2077041"/>
              <a:ext cx="1422797" cy="804863"/>
            </a:xfrm>
            <a:custGeom>
              <a:avLst/>
              <a:gdLst>
                <a:gd name="T0" fmla="*/ 110 w 3288"/>
                <a:gd name="T1" fmla="*/ 1858 h 1858"/>
                <a:gd name="T2" fmla="*/ 110 w 3288"/>
                <a:gd name="T3" fmla="*/ 1116 h 1858"/>
                <a:gd name="T4" fmla="*/ 233 w 3288"/>
                <a:gd name="T5" fmla="*/ 901 h 1858"/>
                <a:gd name="T6" fmla="*/ 1520 w 3288"/>
                <a:gd name="T7" fmla="*/ 159 h 1858"/>
                <a:gd name="T8" fmla="*/ 1644 w 3288"/>
                <a:gd name="T9" fmla="*/ 125 h 1858"/>
                <a:gd name="T10" fmla="*/ 1767 w 3288"/>
                <a:gd name="T11" fmla="*/ 159 h 1858"/>
                <a:gd name="T12" fmla="*/ 3054 w 3288"/>
                <a:gd name="T13" fmla="*/ 901 h 1858"/>
                <a:gd name="T14" fmla="*/ 3178 w 3288"/>
                <a:gd name="T15" fmla="*/ 1116 h 1858"/>
                <a:gd name="T16" fmla="*/ 3178 w 3288"/>
                <a:gd name="T17" fmla="*/ 1858 h 1858"/>
                <a:gd name="T18" fmla="*/ 3288 w 3288"/>
                <a:gd name="T19" fmla="*/ 1858 h 1858"/>
                <a:gd name="T20" fmla="*/ 3288 w 3288"/>
                <a:gd name="T21" fmla="*/ 1116 h 1858"/>
                <a:gd name="T22" fmla="*/ 3109 w 3288"/>
                <a:gd name="T23" fmla="*/ 806 h 1858"/>
                <a:gd name="T24" fmla="*/ 1823 w 3288"/>
                <a:gd name="T25" fmla="*/ 63 h 1858"/>
                <a:gd name="T26" fmla="*/ 1465 w 3288"/>
                <a:gd name="T27" fmla="*/ 63 h 1858"/>
                <a:gd name="T28" fmla="*/ 178 w 3288"/>
                <a:gd name="T29" fmla="*/ 806 h 1858"/>
                <a:gd name="T30" fmla="*/ 0 w 3288"/>
                <a:gd name="T31" fmla="*/ 1116 h 1858"/>
                <a:gd name="T32" fmla="*/ 0 w 3288"/>
                <a:gd name="T33" fmla="*/ 1858 h 1858"/>
                <a:gd name="T34" fmla="*/ 110 w 3288"/>
                <a:gd name="T35" fmla="*/ 1858 h 1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8" h="1858">
                  <a:moveTo>
                    <a:pt x="110" y="1858"/>
                  </a:moveTo>
                  <a:cubicBezTo>
                    <a:pt x="110" y="1116"/>
                    <a:pt x="110" y="1116"/>
                    <a:pt x="110" y="1116"/>
                  </a:cubicBezTo>
                  <a:cubicBezTo>
                    <a:pt x="110" y="1027"/>
                    <a:pt x="157" y="945"/>
                    <a:pt x="233" y="901"/>
                  </a:cubicBezTo>
                  <a:cubicBezTo>
                    <a:pt x="1520" y="159"/>
                    <a:pt x="1520" y="159"/>
                    <a:pt x="1520" y="159"/>
                  </a:cubicBezTo>
                  <a:cubicBezTo>
                    <a:pt x="1558" y="136"/>
                    <a:pt x="1601" y="125"/>
                    <a:pt x="1644" y="125"/>
                  </a:cubicBezTo>
                  <a:cubicBezTo>
                    <a:pt x="1686" y="125"/>
                    <a:pt x="1729" y="136"/>
                    <a:pt x="1767" y="159"/>
                  </a:cubicBezTo>
                  <a:cubicBezTo>
                    <a:pt x="3054" y="901"/>
                    <a:pt x="3054" y="901"/>
                    <a:pt x="3054" y="901"/>
                  </a:cubicBezTo>
                  <a:cubicBezTo>
                    <a:pt x="3130" y="945"/>
                    <a:pt x="3178" y="1027"/>
                    <a:pt x="3178" y="1116"/>
                  </a:cubicBezTo>
                  <a:cubicBezTo>
                    <a:pt x="3178" y="1858"/>
                    <a:pt x="3178" y="1858"/>
                    <a:pt x="3178" y="1858"/>
                  </a:cubicBezTo>
                  <a:cubicBezTo>
                    <a:pt x="3288" y="1858"/>
                    <a:pt x="3288" y="1858"/>
                    <a:pt x="3288" y="1858"/>
                  </a:cubicBezTo>
                  <a:cubicBezTo>
                    <a:pt x="3288" y="1116"/>
                    <a:pt x="3288" y="1116"/>
                    <a:pt x="3288" y="1116"/>
                  </a:cubicBezTo>
                  <a:cubicBezTo>
                    <a:pt x="3288" y="988"/>
                    <a:pt x="3219" y="870"/>
                    <a:pt x="3109" y="806"/>
                  </a:cubicBezTo>
                  <a:cubicBezTo>
                    <a:pt x="1823" y="63"/>
                    <a:pt x="1823" y="63"/>
                    <a:pt x="1823" y="63"/>
                  </a:cubicBezTo>
                  <a:cubicBezTo>
                    <a:pt x="1712" y="0"/>
                    <a:pt x="1575" y="0"/>
                    <a:pt x="1465" y="63"/>
                  </a:cubicBezTo>
                  <a:cubicBezTo>
                    <a:pt x="178" y="806"/>
                    <a:pt x="178" y="806"/>
                    <a:pt x="178" y="806"/>
                  </a:cubicBezTo>
                  <a:cubicBezTo>
                    <a:pt x="68" y="870"/>
                    <a:pt x="0" y="988"/>
                    <a:pt x="0" y="1116"/>
                  </a:cubicBezTo>
                  <a:cubicBezTo>
                    <a:pt x="0" y="1858"/>
                    <a:pt x="0" y="1858"/>
                    <a:pt x="0" y="1858"/>
                  </a:cubicBezTo>
                  <a:lnTo>
                    <a:pt x="110" y="185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3860602" y="2077041"/>
              <a:ext cx="1422797" cy="804863"/>
            </a:xfrm>
            <a:custGeom>
              <a:avLst/>
              <a:gdLst>
                <a:gd name="T0" fmla="*/ 110 w 3288"/>
                <a:gd name="T1" fmla="*/ 1858 h 1858"/>
                <a:gd name="T2" fmla="*/ 110 w 3288"/>
                <a:gd name="T3" fmla="*/ 1116 h 1858"/>
                <a:gd name="T4" fmla="*/ 234 w 3288"/>
                <a:gd name="T5" fmla="*/ 901 h 1858"/>
                <a:gd name="T6" fmla="*/ 1520 w 3288"/>
                <a:gd name="T7" fmla="*/ 159 h 1858"/>
                <a:gd name="T8" fmla="*/ 1644 w 3288"/>
                <a:gd name="T9" fmla="*/ 125 h 1858"/>
                <a:gd name="T10" fmla="*/ 1768 w 3288"/>
                <a:gd name="T11" fmla="*/ 159 h 1858"/>
                <a:gd name="T12" fmla="*/ 3054 w 3288"/>
                <a:gd name="T13" fmla="*/ 901 h 1858"/>
                <a:gd name="T14" fmla="*/ 3178 w 3288"/>
                <a:gd name="T15" fmla="*/ 1116 h 1858"/>
                <a:gd name="T16" fmla="*/ 3178 w 3288"/>
                <a:gd name="T17" fmla="*/ 1858 h 1858"/>
                <a:gd name="T18" fmla="*/ 3288 w 3288"/>
                <a:gd name="T19" fmla="*/ 1858 h 1858"/>
                <a:gd name="T20" fmla="*/ 3288 w 3288"/>
                <a:gd name="T21" fmla="*/ 1116 h 1858"/>
                <a:gd name="T22" fmla="*/ 3109 w 3288"/>
                <a:gd name="T23" fmla="*/ 806 h 1858"/>
                <a:gd name="T24" fmla="*/ 1823 w 3288"/>
                <a:gd name="T25" fmla="*/ 63 h 1858"/>
                <a:gd name="T26" fmla="*/ 1465 w 3288"/>
                <a:gd name="T27" fmla="*/ 63 h 1858"/>
                <a:gd name="T28" fmla="*/ 179 w 3288"/>
                <a:gd name="T29" fmla="*/ 806 h 1858"/>
                <a:gd name="T30" fmla="*/ 0 w 3288"/>
                <a:gd name="T31" fmla="*/ 1116 h 1858"/>
                <a:gd name="T32" fmla="*/ 0 w 3288"/>
                <a:gd name="T33" fmla="*/ 1858 h 1858"/>
                <a:gd name="T34" fmla="*/ 110 w 3288"/>
                <a:gd name="T35" fmla="*/ 1858 h 1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8" h="1858">
                  <a:moveTo>
                    <a:pt x="110" y="1858"/>
                  </a:moveTo>
                  <a:cubicBezTo>
                    <a:pt x="110" y="1116"/>
                    <a:pt x="110" y="1116"/>
                    <a:pt x="110" y="1116"/>
                  </a:cubicBezTo>
                  <a:cubicBezTo>
                    <a:pt x="110" y="1027"/>
                    <a:pt x="157" y="945"/>
                    <a:pt x="234" y="901"/>
                  </a:cubicBezTo>
                  <a:cubicBezTo>
                    <a:pt x="1520" y="159"/>
                    <a:pt x="1520" y="159"/>
                    <a:pt x="1520" y="159"/>
                  </a:cubicBezTo>
                  <a:cubicBezTo>
                    <a:pt x="1558" y="136"/>
                    <a:pt x="1601" y="125"/>
                    <a:pt x="1644" y="125"/>
                  </a:cubicBezTo>
                  <a:cubicBezTo>
                    <a:pt x="1687" y="125"/>
                    <a:pt x="1730" y="136"/>
                    <a:pt x="1768" y="159"/>
                  </a:cubicBezTo>
                  <a:cubicBezTo>
                    <a:pt x="3054" y="901"/>
                    <a:pt x="3054" y="901"/>
                    <a:pt x="3054" y="901"/>
                  </a:cubicBezTo>
                  <a:cubicBezTo>
                    <a:pt x="3131" y="945"/>
                    <a:pt x="3178" y="1027"/>
                    <a:pt x="3178" y="1116"/>
                  </a:cubicBezTo>
                  <a:cubicBezTo>
                    <a:pt x="3178" y="1858"/>
                    <a:pt x="3178" y="1858"/>
                    <a:pt x="3178" y="1858"/>
                  </a:cubicBezTo>
                  <a:cubicBezTo>
                    <a:pt x="3288" y="1858"/>
                    <a:pt x="3288" y="1858"/>
                    <a:pt x="3288" y="1858"/>
                  </a:cubicBezTo>
                  <a:cubicBezTo>
                    <a:pt x="3288" y="1116"/>
                    <a:pt x="3288" y="1116"/>
                    <a:pt x="3288" y="1116"/>
                  </a:cubicBezTo>
                  <a:cubicBezTo>
                    <a:pt x="3288" y="988"/>
                    <a:pt x="3220" y="870"/>
                    <a:pt x="3109" y="806"/>
                  </a:cubicBezTo>
                  <a:cubicBezTo>
                    <a:pt x="1823" y="63"/>
                    <a:pt x="1823" y="63"/>
                    <a:pt x="1823" y="63"/>
                  </a:cubicBezTo>
                  <a:cubicBezTo>
                    <a:pt x="1713" y="0"/>
                    <a:pt x="1575" y="0"/>
                    <a:pt x="1465" y="63"/>
                  </a:cubicBezTo>
                  <a:cubicBezTo>
                    <a:pt x="179" y="806"/>
                    <a:pt x="179" y="806"/>
                    <a:pt x="179" y="806"/>
                  </a:cubicBezTo>
                  <a:cubicBezTo>
                    <a:pt x="68" y="870"/>
                    <a:pt x="0" y="988"/>
                    <a:pt x="0" y="1116"/>
                  </a:cubicBezTo>
                  <a:cubicBezTo>
                    <a:pt x="0" y="1858"/>
                    <a:pt x="0" y="1858"/>
                    <a:pt x="0" y="1858"/>
                  </a:cubicBezTo>
                  <a:lnTo>
                    <a:pt x="110" y="185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6610946" y="2077041"/>
              <a:ext cx="1422797" cy="804863"/>
            </a:xfrm>
            <a:custGeom>
              <a:avLst/>
              <a:gdLst>
                <a:gd name="T0" fmla="*/ 110 w 3288"/>
                <a:gd name="T1" fmla="*/ 1858 h 1858"/>
                <a:gd name="T2" fmla="*/ 110 w 3288"/>
                <a:gd name="T3" fmla="*/ 1116 h 1858"/>
                <a:gd name="T4" fmla="*/ 234 w 3288"/>
                <a:gd name="T5" fmla="*/ 901 h 1858"/>
                <a:gd name="T6" fmla="*/ 1521 w 3288"/>
                <a:gd name="T7" fmla="*/ 159 h 1858"/>
                <a:gd name="T8" fmla="*/ 1644 w 3288"/>
                <a:gd name="T9" fmla="*/ 125 h 1858"/>
                <a:gd name="T10" fmla="*/ 1768 w 3288"/>
                <a:gd name="T11" fmla="*/ 159 h 1858"/>
                <a:gd name="T12" fmla="*/ 3055 w 3288"/>
                <a:gd name="T13" fmla="*/ 901 h 1858"/>
                <a:gd name="T14" fmla="*/ 3178 w 3288"/>
                <a:gd name="T15" fmla="*/ 1116 h 1858"/>
                <a:gd name="T16" fmla="*/ 3178 w 3288"/>
                <a:gd name="T17" fmla="*/ 1858 h 1858"/>
                <a:gd name="T18" fmla="*/ 3288 w 3288"/>
                <a:gd name="T19" fmla="*/ 1858 h 1858"/>
                <a:gd name="T20" fmla="*/ 3288 w 3288"/>
                <a:gd name="T21" fmla="*/ 1116 h 1858"/>
                <a:gd name="T22" fmla="*/ 3110 w 3288"/>
                <a:gd name="T23" fmla="*/ 806 h 1858"/>
                <a:gd name="T24" fmla="*/ 1823 w 3288"/>
                <a:gd name="T25" fmla="*/ 63 h 1858"/>
                <a:gd name="T26" fmla="*/ 1465 w 3288"/>
                <a:gd name="T27" fmla="*/ 63 h 1858"/>
                <a:gd name="T28" fmla="*/ 179 w 3288"/>
                <a:gd name="T29" fmla="*/ 806 h 1858"/>
                <a:gd name="T30" fmla="*/ 0 w 3288"/>
                <a:gd name="T31" fmla="*/ 1116 h 1858"/>
                <a:gd name="T32" fmla="*/ 0 w 3288"/>
                <a:gd name="T33" fmla="*/ 1858 h 1858"/>
                <a:gd name="T34" fmla="*/ 110 w 3288"/>
                <a:gd name="T35" fmla="*/ 1858 h 18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8" h="1858">
                  <a:moveTo>
                    <a:pt x="110" y="1858"/>
                  </a:moveTo>
                  <a:cubicBezTo>
                    <a:pt x="110" y="1116"/>
                    <a:pt x="110" y="1116"/>
                    <a:pt x="110" y="1116"/>
                  </a:cubicBezTo>
                  <a:cubicBezTo>
                    <a:pt x="110" y="1027"/>
                    <a:pt x="158" y="945"/>
                    <a:pt x="234" y="901"/>
                  </a:cubicBezTo>
                  <a:cubicBezTo>
                    <a:pt x="1521" y="159"/>
                    <a:pt x="1521" y="159"/>
                    <a:pt x="1521" y="159"/>
                  </a:cubicBezTo>
                  <a:cubicBezTo>
                    <a:pt x="1559" y="136"/>
                    <a:pt x="1602" y="125"/>
                    <a:pt x="1644" y="125"/>
                  </a:cubicBezTo>
                  <a:cubicBezTo>
                    <a:pt x="1687" y="125"/>
                    <a:pt x="1730" y="136"/>
                    <a:pt x="1768" y="159"/>
                  </a:cubicBezTo>
                  <a:cubicBezTo>
                    <a:pt x="3055" y="901"/>
                    <a:pt x="3055" y="901"/>
                    <a:pt x="3055" y="901"/>
                  </a:cubicBezTo>
                  <a:cubicBezTo>
                    <a:pt x="3131" y="945"/>
                    <a:pt x="3178" y="1027"/>
                    <a:pt x="3178" y="1116"/>
                  </a:cubicBezTo>
                  <a:cubicBezTo>
                    <a:pt x="3178" y="1858"/>
                    <a:pt x="3178" y="1858"/>
                    <a:pt x="3178" y="1858"/>
                  </a:cubicBezTo>
                  <a:cubicBezTo>
                    <a:pt x="3288" y="1858"/>
                    <a:pt x="3288" y="1858"/>
                    <a:pt x="3288" y="1858"/>
                  </a:cubicBezTo>
                  <a:cubicBezTo>
                    <a:pt x="3288" y="1116"/>
                    <a:pt x="3288" y="1116"/>
                    <a:pt x="3288" y="1116"/>
                  </a:cubicBezTo>
                  <a:cubicBezTo>
                    <a:pt x="3288" y="988"/>
                    <a:pt x="3220" y="870"/>
                    <a:pt x="3110" y="806"/>
                  </a:cubicBezTo>
                  <a:cubicBezTo>
                    <a:pt x="1823" y="63"/>
                    <a:pt x="1823" y="63"/>
                    <a:pt x="1823" y="63"/>
                  </a:cubicBezTo>
                  <a:cubicBezTo>
                    <a:pt x="1713" y="0"/>
                    <a:pt x="1576" y="0"/>
                    <a:pt x="1465" y="63"/>
                  </a:cubicBezTo>
                  <a:cubicBezTo>
                    <a:pt x="179" y="806"/>
                    <a:pt x="179" y="806"/>
                    <a:pt x="179" y="806"/>
                  </a:cubicBezTo>
                  <a:cubicBezTo>
                    <a:pt x="69" y="870"/>
                    <a:pt x="0" y="988"/>
                    <a:pt x="0" y="1116"/>
                  </a:cubicBezTo>
                  <a:cubicBezTo>
                    <a:pt x="0" y="1858"/>
                    <a:pt x="0" y="1858"/>
                    <a:pt x="0" y="1858"/>
                  </a:cubicBezTo>
                  <a:lnTo>
                    <a:pt x="110" y="185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auto">
            <a:xfrm>
              <a:off x="2485430" y="2881904"/>
              <a:ext cx="1422797" cy="804863"/>
            </a:xfrm>
            <a:custGeom>
              <a:avLst/>
              <a:gdLst>
                <a:gd name="T0" fmla="*/ 3178 w 3288"/>
                <a:gd name="T1" fmla="*/ 0 h 1859"/>
                <a:gd name="T2" fmla="*/ 3178 w 3288"/>
                <a:gd name="T3" fmla="*/ 743 h 1859"/>
                <a:gd name="T4" fmla="*/ 3054 w 3288"/>
                <a:gd name="T5" fmla="*/ 958 h 1859"/>
                <a:gd name="T6" fmla="*/ 1768 w 3288"/>
                <a:gd name="T7" fmla="*/ 1700 h 1859"/>
                <a:gd name="T8" fmla="*/ 1644 w 3288"/>
                <a:gd name="T9" fmla="*/ 1733 h 1859"/>
                <a:gd name="T10" fmla="*/ 1520 w 3288"/>
                <a:gd name="T11" fmla="*/ 1700 h 1859"/>
                <a:gd name="T12" fmla="*/ 234 w 3288"/>
                <a:gd name="T13" fmla="*/ 958 h 1859"/>
                <a:gd name="T14" fmla="*/ 110 w 3288"/>
                <a:gd name="T15" fmla="*/ 743 h 1859"/>
                <a:gd name="T16" fmla="*/ 110 w 3288"/>
                <a:gd name="T17" fmla="*/ 0 h 1859"/>
                <a:gd name="T18" fmla="*/ 0 w 3288"/>
                <a:gd name="T19" fmla="*/ 0 h 1859"/>
                <a:gd name="T20" fmla="*/ 0 w 3288"/>
                <a:gd name="T21" fmla="*/ 743 h 1859"/>
                <a:gd name="T22" fmla="*/ 179 w 3288"/>
                <a:gd name="T23" fmla="*/ 1053 h 1859"/>
                <a:gd name="T24" fmla="*/ 1465 w 3288"/>
                <a:gd name="T25" fmla="*/ 1796 h 1859"/>
                <a:gd name="T26" fmla="*/ 1823 w 3288"/>
                <a:gd name="T27" fmla="*/ 1796 h 1859"/>
                <a:gd name="T28" fmla="*/ 3109 w 3288"/>
                <a:gd name="T29" fmla="*/ 1053 h 1859"/>
                <a:gd name="T30" fmla="*/ 3288 w 3288"/>
                <a:gd name="T31" fmla="*/ 743 h 1859"/>
                <a:gd name="T32" fmla="*/ 3288 w 3288"/>
                <a:gd name="T33" fmla="*/ 0 h 1859"/>
                <a:gd name="T34" fmla="*/ 3178 w 3288"/>
                <a:gd name="T35" fmla="*/ 0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8" h="1859">
                  <a:moveTo>
                    <a:pt x="3178" y="0"/>
                  </a:moveTo>
                  <a:cubicBezTo>
                    <a:pt x="3178" y="743"/>
                    <a:pt x="3178" y="743"/>
                    <a:pt x="3178" y="743"/>
                  </a:cubicBezTo>
                  <a:cubicBezTo>
                    <a:pt x="3178" y="831"/>
                    <a:pt x="3130" y="913"/>
                    <a:pt x="3054" y="958"/>
                  </a:cubicBezTo>
                  <a:cubicBezTo>
                    <a:pt x="1768" y="1700"/>
                    <a:pt x="1768" y="1700"/>
                    <a:pt x="1768" y="1700"/>
                  </a:cubicBezTo>
                  <a:cubicBezTo>
                    <a:pt x="1729" y="1722"/>
                    <a:pt x="1687" y="1733"/>
                    <a:pt x="1644" y="1733"/>
                  </a:cubicBezTo>
                  <a:cubicBezTo>
                    <a:pt x="1601" y="1733"/>
                    <a:pt x="1558" y="1722"/>
                    <a:pt x="1520" y="1700"/>
                  </a:cubicBezTo>
                  <a:cubicBezTo>
                    <a:pt x="234" y="958"/>
                    <a:pt x="234" y="958"/>
                    <a:pt x="234" y="958"/>
                  </a:cubicBezTo>
                  <a:cubicBezTo>
                    <a:pt x="157" y="913"/>
                    <a:pt x="110" y="831"/>
                    <a:pt x="110" y="743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871"/>
                    <a:pt x="68" y="989"/>
                    <a:pt x="179" y="1053"/>
                  </a:cubicBezTo>
                  <a:cubicBezTo>
                    <a:pt x="1465" y="1796"/>
                    <a:pt x="1465" y="1796"/>
                    <a:pt x="1465" y="1796"/>
                  </a:cubicBezTo>
                  <a:cubicBezTo>
                    <a:pt x="1575" y="1859"/>
                    <a:pt x="1712" y="1859"/>
                    <a:pt x="1823" y="1796"/>
                  </a:cubicBezTo>
                  <a:cubicBezTo>
                    <a:pt x="3109" y="1053"/>
                    <a:pt x="3109" y="1053"/>
                    <a:pt x="3109" y="1053"/>
                  </a:cubicBezTo>
                  <a:cubicBezTo>
                    <a:pt x="3219" y="989"/>
                    <a:pt x="3288" y="871"/>
                    <a:pt x="3288" y="743"/>
                  </a:cubicBezTo>
                  <a:cubicBezTo>
                    <a:pt x="3288" y="0"/>
                    <a:pt x="3288" y="0"/>
                    <a:pt x="3288" y="0"/>
                  </a:cubicBezTo>
                  <a:lnTo>
                    <a:pt x="3178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5235774" y="2881904"/>
              <a:ext cx="1422797" cy="804863"/>
            </a:xfrm>
            <a:custGeom>
              <a:avLst/>
              <a:gdLst>
                <a:gd name="T0" fmla="*/ 3178 w 3288"/>
                <a:gd name="T1" fmla="*/ 0 h 1859"/>
                <a:gd name="T2" fmla="*/ 3178 w 3288"/>
                <a:gd name="T3" fmla="*/ 743 h 1859"/>
                <a:gd name="T4" fmla="*/ 3054 w 3288"/>
                <a:gd name="T5" fmla="*/ 958 h 1859"/>
                <a:gd name="T6" fmla="*/ 1768 w 3288"/>
                <a:gd name="T7" fmla="*/ 1700 h 1859"/>
                <a:gd name="T8" fmla="*/ 1644 w 3288"/>
                <a:gd name="T9" fmla="*/ 1733 h 1859"/>
                <a:gd name="T10" fmla="*/ 1520 w 3288"/>
                <a:gd name="T11" fmla="*/ 1700 h 1859"/>
                <a:gd name="T12" fmla="*/ 234 w 3288"/>
                <a:gd name="T13" fmla="*/ 958 h 1859"/>
                <a:gd name="T14" fmla="*/ 110 w 3288"/>
                <a:gd name="T15" fmla="*/ 743 h 1859"/>
                <a:gd name="T16" fmla="*/ 110 w 3288"/>
                <a:gd name="T17" fmla="*/ 0 h 1859"/>
                <a:gd name="T18" fmla="*/ 0 w 3288"/>
                <a:gd name="T19" fmla="*/ 0 h 1859"/>
                <a:gd name="T20" fmla="*/ 0 w 3288"/>
                <a:gd name="T21" fmla="*/ 743 h 1859"/>
                <a:gd name="T22" fmla="*/ 179 w 3288"/>
                <a:gd name="T23" fmla="*/ 1053 h 1859"/>
                <a:gd name="T24" fmla="*/ 1465 w 3288"/>
                <a:gd name="T25" fmla="*/ 1796 h 1859"/>
                <a:gd name="T26" fmla="*/ 1823 w 3288"/>
                <a:gd name="T27" fmla="*/ 1796 h 1859"/>
                <a:gd name="T28" fmla="*/ 3109 w 3288"/>
                <a:gd name="T29" fmla="*/ 1053 h 1859"/>
                <a:gd name="T30" fmla="*/ 3288 w 3288"/>
                <a:gd name="T31" fmla="*/ 743 h 1859"/>
                <a:gd name="T32" fmla="*/ 3288 w 3288"/>
                <a:gd name="T33" fmla="*/ 0 h 1859"/>
                <a:gd name="T34" fmla="*/ 3178 w 3288"/>
                <a:gd name="T35" fmla="*/ 0 h 1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88" h="1859">
                  <a:moveTo>
                    <a:pt x="3178" y="0"/>
                  </a:moveTo>
                  <a:cubicBezTo>
                    <a:pt x="3178" y="743"/>
                    <a:pt x="3178" y="743"/>
                    <a:pt x="3178" y="743"/>
                  </a:cubicBezTo>
                  <a:cubicBezTo>
                    <a:pt x="3178" y="831"/>
                    <a:pt x="3131" y="913"/>
                    <a:pt x="3054" y="958"/>
                  </a:cubicBezTo>
                  <a:cubicBezTo>
                    <a:pt x="1768" y="1700"/>
                    <a:pt x="1768" y="1700"/>
                    <a:pt x="1768" y="1700"/>
                  </a:cubicBezTo>
                  <a:cubicBezTo>
                    <a:pt x="1730" y="1722"/>
                    <a:pt x="1687" y="1733"/>
                    <a:pt x="1644" y="1733"/>
                  </a:cubicBezTo>
                  <a:cubicBezTo>
                    <a:pt x="1601" y="1733"/>
                    <a:pt x="1559" y="1722"/>
                    <a:pt x="1520" y="1700"/>
                  </a:cubicBezTo>
                  <a:cubicBezTo>
                    <a:pt x="234" y="958"/>
                    <a:pt x="234" y="958"/>
                    <a:pt x="234" y="958"/>
                  </a:cubicBezTo>
                  <a:cubicBezTo>
                    <a:pt x="158" y="913"/>
                    <a:pt x="110" y="831"/>
                    <a:pt x="110" y="743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43"/>
                    <a:pt x="0" y="743"/>
                    <a:pt x="0" y="743"/>
                  </a:cubicBezTo>
                  <a:cubicBezTo>
                    <a:pt x="0" y="871"/>
                    <a:pt x="69" y="989"/>
                    <a:pt x="179" y="1053"/>
                  </a:cubicBezTo>
                  <a:cubicBezTo>
                    <a:pt x="1465" y="1796"/>
                    <a:pt x="1465" y="1796"/>
                    <a:pt x="1465" y="1796"/>
                  </a:cubicBezTo>
                  <a:cubicBezTo>
                    <a:pt x="1576" y="1859"/>
                    <a:pt x="1713" y="1859"/>
                    <a:pt x="1823" y="1796"/>
                  </a:cubicBezTo>
                  <a:cubicBezTo>
                    <a:pt x="3109" y="1053"/>
                    <a:pt x="3109" y="1053"/>
                    <a:pt x="3109" y="1053"/>
                  </a:cubicBezTo>
                  <a:cubicBezTo>
                    <a:pt x="3220" y="989"/>
                    <a:pt x="3288" y="871"/>
                    <a:pt x="3288" y="743"/>
                  </a:cubicBezTo>
                  <a:cubicBezTo>
                    <a:pt x="3288" y="0"/>
                    <a:pt x="3288" y="0"/>
                    <a:pt x="3288" y="0"/>
                  </a:cubicBezTo>
                  <a:lnTo>
                    <a:pt x="3178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9" name="Rectangle 20"/>
            <p:cNvSpPr>
              <a:spLocks noChangeArrowheads="1"/>
            </p:cNvSpPr>
            <p:nvPr/>
          </p:nvSpPr>
          <p:spPr bwMode="auto">
            <a:xfrm>
              <a:off x="595" y="2858092"/>
              <a:ext cx="1157288" cy="47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7986117" y="2858092"/>
              <a:ext cx="1157288" cy="4762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5" name="Freeform 28"/>
            <p:cNvSpPr>
              <a:spLocks noEditPoints="1"/>
            </p:cNvSpPr>
            <p:nvPr/>
          </p:nvSpPr>
          <p:spPr bwMode="auto">
            <a:xfrm>
              <a:off x="3003815" y="2598008"/>
              <a:ext cx="433652" cy="340308"/>
            </a:xfrm>
            <a:custGeom>
              <a:avLst/>
              <a:gdLst>
                <a:gd name="T0" fmla="*/ 1033 w 1488"/>
                <a:gd name="T1" fmla="*/ 885 h 1166"/>
                <a:gd name="T2" fmla="*/ 775 w 1488"/>
                <a:gd name="T3" fmla="*/ 799 h 1166"/>
                <a:gd name="T4" fmla="*/ 1102 w 1488"/>
                <a:gd name="T5" fmla="*/ 907 h 1166"/>
                <a:gd name="T6" fmla="*/ 959 w 1488"/>
                <a:gd name="T7" fmla="*/ 1123 h 1166"/>
                <a:gd name="T8" fmla="*/ 744 w 1488"/>
                <a:gd name="T9" fmla="*/ 1112 h 1166"/>
                <a:gd name="T10" fmla="*/ 529 w 1488"/>
                <a:gd name="T11" fmla="*/ 1123 h 1166"/>
                <a:gd name="T12" fmla="*/ 388 w 1488"/>
                <a:gd name="T13" fmla="*/ 1014 h 1166"/>
                <a:gd name="T14" fmla="*/ 345 w 1488"/>
                <a:gd name="T15" fmla="*/ 775 h 1166"/>
                <a:gd name="T16" fmla="*/ 432 w 1488"/>
                <a:gd name="T17" fmla="*/ 0 h 1166"/>
                <a:gd name="T18" fmla="*/ 902 w 1488"/>
                <a:gd name="T19" fmla="*/ 153 h 1166"/>
                <a:gd name="T20" fmla="*/ 153 w 1488"/>
                <a:gd name="T21" fmla="*/ 537 h 1166"/>
                <a:gd name="T22" fmla="*/ 959 w 1488"/>
                <a:gd name="T23" fmla="*/ 161 h 1166"/>
                <a:gd name="T24" fmla="*/ 1440 w 1488"/>
                <a:gd name="T25" fmla="*/ 432 h 1166"/>
                <a:gd name="T26" fmla="*/ 431 w 1488"/>
                <a:gd name="T27" fmla="*/ 861 h 1166"/>
                <a:gd name="T28" fmla="*/ 517 w 1488"/>
                <a:gd name="T29" fmla="*/ 713 h 1166"/>
                <a:gd name="T30" fmla="*/ 356 w 1488"/>
                <a:gd name="T31" fmla="*/ 830 h 1166"/>
                <a:gd name="T32" fmla="*/ 658 w 1488"/>
                <a:gd name="T33" fmla="*/ 787 h 1166"/>
                <a:gd name="T34" fmla="*/ 632 w 1488"/>
                <a:gd name="T35" fmla="*/ 747 h 1166"/>
                <a:gd name="T36" fmla="*/ 598 w 1488"/>
                <a:gd name="T37" fmla="*/ 747 h 1166"/>
                <a:gd name="T38" fmla="*/ 541 w 1488"/>
                <a:gd name="T39" fmla="*/ 799 h 1166"/>
                <a:gd name="T40" fmla="*/ 399 w 1488"/>
                <a:gd name="T41" fmla="*/ 959 h 1166"/>
                <a:gd name="T42" fmla="*/ 732 w 1488"/>
                <a:gd name="T43" fmla="*/ 904 h 1166"/>
                <a:gd name="T44" fmla="*/ 714 w 1488"/>
                <a:gd name="T45" fmla="*/ 832 h 1166"/>
                <a:gd name="T46" fmla="*/ 670 w 1488"/>
                <a:gd name="T47" fmla="*/ 842 h 1166"/>
                <a:gd name="T48" fmla="*/ 720 w 1488"/>
                <a:gd name="T49" fmla="*/ 1088 h 1166"/>
                <a:gd name="T50" fmla="*/ 784 w 1488"/>
                <a:gd name="T51" fmla="*/ 985 h 1166"/>
                <a:gd name="T52" fmla="*/ 713 w 1488"/>
                <a:gd name="T53" fmla="*/ 971 h 1166"/>
                <a:gd name="T54" fmla="*/ 689 w 1488"/>
                <a:gd name="T55" fmla="*/ 1119 h 1166"/>
                <a:gd name="T56" fmla="*/ 820 w 1488"/>
                <a:gd name="T57" fmla="*/ 1017 h 1166"/>
                <a:gd name="T58" fmla="*/ 808 w 1488"/>
                <a:gd name="T59" fmla="*/ 1046 h 1166"/>
                <a:gd name="T60" fmla="*/ 861 w 1488"/>
                <a:gd name="T61" fmla="*/ 1119 h 1166"/>
                <a:gd name="T62" fmla="*/ 701 w 1488"/>
                <a:gd name="T63" fmla="*/ 637 h 1166"/>
                <a:gd name="T64" fmla="*/ 628 w 1488"/>
                <a:gd name="T65" fmla="*/ 644 h 1166"/>
                <a:gd name="T66" fmla="*/ 586 w 1488"/>
                <a:gd name="T67" fmla="*/ 543 h 1166"/>
                <a:gd name="T68" fmla="*/ 400 w 1488"/>
                <a:gd name="T69" fmla="*/ 720 h 1166"/>
                <a:gd name="T70" fmla="*/ 552 w 1488"/>
                <a:gd name="T71" fmla="*/ 703 h 1166"/>
                <a:gd name="T72" fmla="*/ 563 w 1488"/>
                <a:gd name="T73" fmla="*/ 729 h 1166"/>
                <a:gd name="T74" fmla="*/ 596 w 1488"/>
                <a:gd name="T75" fmla="*/ 712 h 1166"/>
                <a:gd name="T76" fmla="*/ 617 w 1488"/>
                <a:gd name="T77" fmla="*/ 709 h 1166"/>
                <a:gd name="T78" fmla="*/ 658 w 1488"/>
                <a:gd name="T79" fmla="*/ 722 h 1166"/>
                <a:gd name="T80" fmla="*/ 693 w 1488"/>
                <a:gd name="T81" fmla="*/ 787 h 1166"/>
                <a:gd name="T82" fmla="*/ 710 w 1488"/>
                <a:gd name="T83" fmla="*/ 796 h 1166"/>
                <a:gd name="T84" fmla="*/ 756 w 1488"/>
                <a:gd name="T85" fmla="*/ 818 h 1166"/>
                <a:gd name="T86" fmla="*/ 770 w 1488"/>
                <a:gd name="T87" fmla="*/ 907 h 1166"/>
                <a:gd name="T88" fmla="*/ 760 w 1488"/>
                <a:gd name="T89" fmla="*/ 926 h 1166"/>
                <a:gd name="T90" fmla="*/ 799 w 1488"/>
                <a:gd name="T91" fmla="*/ 947 h 1166"/>
                <a:gd name="T92" fmla="*/ 990 w 1488"/>
                <a:gd name="T93" fmla="*/ 1076 h 1166"/>
                <a:gd name="T94" fmla="*/ 1076 w 1488"/>
                <a:gd name="T95" fmla="*/ 928 h 1166"/>
                <a:gd name="T96" fmla="*/ 1119 w 1488"/>
                <a:gd name="T97" fmla="*/ 861 h 1166"/>
                <a:gd name="T98" fmla="*/ 768 w 1488"/>
                <a:gd name="T99" fmla="*/ 400 h 1166"/>
                <a:gd name="T100" fmla="*/ 627 w 1488"/>
                <a:gd name="T101" fmla="*/ 603 h 1166"/>
                <a:gd name="T102" fmla="*/ 830 w 1488"/>
                <a:gd name="T103" fmla="*/ 462 h 1166"/>
                <a:gd name="T104" fmla="*/ 212 w 1488"/>
                <a:gd name="T105" fmla="*/ 416 h 1166"/>
                <a:gd name="T106" fmla="*/ 1276 w 1488"/>
                <a:gd name="T107" fmla="*/ 416 h 1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88" h="1166">
                  <a:moveTo>
                    <a:pt x="1033" y="885"/>
                  </a:moveTo>
                  <a:cubicBezTo>
                    <a:pt x="861" y="713"/>
                    <a:pt x="861" y="713"/>
                    <a:pt x="861" y="713"/>
                  </a:cubicBezTo>
                  <a:cubicBezTo>
                    <a:pt x="885" y="689"/>
                    <a:pt x="885" y="689"/>
                    <a:pt x="885" y="689"/>
                  </a:cubicBezTo>
                  <a:cubicBezTo>
                    <a:pt x="1057" y="861"/>
                    <a:pt x="1057" y="861"/>
                    <a:pt x="1057" y="861"/>
                  </a:cubicBezTo>
                  <a:lnTo>
                    <a:pt x="1033" y="885"/>
                  </a:lnTo>
                  <a:close/>
                  <a:moveTo>
                    <a:pt x="775" y="799"/>
                  </a:moveTo>
                  <a:cubicBezTo>
                    <a:pt x="990" y="1014"/>
                    <a:pt x="990" y="1014"/>
                    <a:pt x="990" y="1014"/>
                  </a:cubicBezTo>
                  <a:cubicBezTo>
                    <a:pt x="1014" y="990"/>
                    <a:pt x="1014" y="990"/>
                    <a:pt x="1014" y="990"/>
                  </a:cubicBezTo>
                  <a:cubicBezTo>
                    <a:pt x="799" y="775"/>
                    <a:pt x="799" y="775"/>
                    <a:pt x="799" y="775"/>
                  </a:cubicBezTo>
                  <a:lnTo>
                    <a:pt x="775" y="799"/>
                  </a:lnTo>
                  <a:close/>
                  <a:moveTo>
                    <a:pt x="1303" y="553"/>
                  </a:moveTo>
                  <a:cubicBezTo>
                    <a:pt x="1112" y="744"/>
                    <a:pt x="1112" y="744"/>
                    <a:pt x="1112" y="744"/>
                  </a:cubicBezTo>
                  <a:cubicBezTo>
                    <a:pt x="1143" y="775"/>
                    <a:pt x="1143" y="775"/>
                    <a:pt x="1143" y="775"/>
                  </a:cubicBezTo>
                  <a:cubicBezTo>
                    <a:pt x="1173" y="805"/>
                    <a:pt x="1173" y="855"/>
                    <a:pt x="1143" y="885"/>
                  </a:cubicBezTo>
                  <a:cubicBezTo>
                    <a:pt x="1131" y="897"/>
                    <a:pt x="1117" y="904"/>
                    <a:pt x="1102" y="907"/>
                  </a:cubicBezTo>
                  <a:cubicBezTo>
                    <a:pt x="1115" y="921"/>
                    <a:pt x="1123" y="939"/>
                    <a:pt x="1123" y="959"/>
                  </a:cubicBezTo>
                  <a:cubicBezTo>
                    <a:pt x="1123" y="980"/>
                    <a:pt x="1115" y="999"/>
                    <a:pt x="1100" y="1014"/>
                  </a:cubicBezTo>
                  <a:cubicBezTo>
                    <a:pt x="1083" y="1031"/>
                    <a:pt x="1059" y="1039"/>
                    <a:pt x="1036" y="1036"/>
                  </a:cubicBezTo>
                  <a:cubicBezTo>
                    <a:pt x="1039" y="1059"/>
                    <a:pt x="1031" y="1083"/>
                    <a:pt x="1014" y="1100"/>
                  </a:cubicBezTo>
                  <a:cubicBezTo>
                    <a:pt x="999" y="1115"/>
                    <a:pt x="980" y="1123"/>
                    <a:pt x="959" y="1123"/>
                  </a:cubicBezTo>
                  <a:cubicBezTo>
                    <a:pt x="939" y="1123"/>
                    <a:pt x="921" y="1115"/>
                    <a:pt x="906" y="1102"/>
                  </a:cubicBezTo>
                  <a:cubicBezTo>
                    <a:pt x="904" y="1118"/>
                    <a:pt x="896" y="1132"/>
                    <a:pt x="885" y="1143"/>
                  </a:cubicBezTo>
                  <a:cubicBezTo>
                    <a:pt x="870" y="1158"/>
                    <a:pt x="850" y="1166"/>
                    <a:pt x="830" y="1166"/>
                  </a:cubicBezTo>
                  <a:cubicBezTo>
                    <a:pt x="810" y="1166"/>
                    <a:pt x="790" y="1158"/>
                    <a:pt x="775" y="1143"/>
                  </a:cubicBezTo>
                  <a:cubicBezTo>
                    <a:pt x="744" y="1112"/>
                    <a:pt x="744" y="1112"/>
                    <a:pt x="744" y="1112"/>
                  </a:cubicBezTo>
                  <a:cubicBezTo>
                    <a:pt x="713" y="1143"/>
                    <a:pt x="713" y="1143"/>
                    <a:pt x="713" y="1143"/>
                  </a:cubicBezTo>
                  <a:cubicBezTo>
                    <a:pt x="698" y="1158"/>
                    <a:pt x="678" y="1166"/>
                    <a:pt x="658" y="1166"/>
                  </a:cubicBezTo>
                  <a:cubicBezTo>
                    <a:pt x="638" y="1166"/>
                    <a:pt x="618" y="1158"/>
                    <a:pt x="603" y="1143"/>
                  </a:cubicBezTo>
                  <a:cubicBezTo>
                    <a:pt x="592" y="1132"/>
                    <a:pt x="584" y="1118"/>
                    <a:pt x="581" y="1102"/>
                  </a:cubicBezTo>
                  <a:cubicBezTo>
                    <a:pt x="567" y="1116"/>
                    <a:pt x="548" y="1123"/>
                    <a:pt x="529" y="1123"/>
                  </a:cubicBezTo>
                  <a:cubicBezTo>
                    <a:pt x="509" y="1123"/>
                    <a:pt x="489" y="1115"/>
                    <a:pt x="474" y="1100"/>
                  </a:cubicBezTo>
                  <a:cubicBezTo>
                    <a:pt x="459" y="1085"/>
                    <a:pt x="451" y="1066"/>
                    <a:pt x="451" y="1045"/>
                  </a:cubicBezTo>
                  <a:cubicBezTo>
                    <a:pt x="451" y="1042"/>
                    <a:pt x="452" y="1039"/>
                    <a:pt x="452" y="1036"/>
                  </a:cubicBezTo>
                  <a:cubicBezTo>
                    <a:pt x="449" y="1036"/>
                    <a:pt x="446" y="1037"/>
                    <a:pt x="443" y="1037"/>
                  </a:cubicBezTo>
                  <a:cubicBezTo>
                    <a:pt x="422" y="1037"/>
                    <a:pt x="403" y="1029"/>
                    <a:pt x="388" y="1014"/>
                  </a:cubicBezTo>
                  <a:cubicBezTo>
                    <a:pt x="373" y="999"/>
                    <a:pt x="365" y="980"/>
                    <a:pt x="365" y="959"/>
                  </a:cubicBezTo>
                  <a:cubicBezTo>
                    <a:pt x="365" y="939"/>
                    <a:pt x="373" y="921"/>
                    <a:pt x="386" y="907"/>
                  </a:cubicBezTo>
                  <a:cubicBezTo>
                    <a:pt x="371" y="904"/>
                    <a:pt x="356" y="897"/>
                    <a:pt x="345" y="885"/>
                  </a:cubicBezTo>
                  <a:cubicBezTo>
                    <a:pt x="330" y="870"/>
                    <a:pt x="322" y="851"/>
                    <a:pt x="322" y="830"/>
                  </a:cubicBezTo>
                  <a:cubicBezTo>
                    <a:pt x="322" y="809"/>
                    <a:pt x="330" y="790"/>
                    <a:pt x="345" y="775"/>
                  </a:cubicBezTo>
                  <a:cubicBezTo>
                    <a:pt x="376" y="744"/>
                    <a:pt x="376" y="744"/>
                    <a:pt x="376" y="744"/>
                  </a:cubicBezTo>
                  <a:cubicBezTo>
                    <a:pt x="185" y="553"/>
                    <a:pt x="185" y="553"/>
                    <a:pt x="185" y="553"/>
                  </a:cubicBezTo>
                  <a:cubicBezTo>
                    <a:pt x="153" y="586"/>
                    <a:pt x="153" y="586"/>
                    <a:pt x="153" y="586"/>
                  </a:cubicBezTo>
                  <a:cubicBezTo>
                    <a:pt x="0" y="432"/>
                    <a:pt x="0" y="432"/>
                    <a:pt x="0" y="432"/>
                  </a:cubicBezTo>
                  <a:cubicBezTo>
                    <a:pt x="432" y="0"/>
                    <a:pt x="432" y="0"/>
                    <a:pt x="432" y="0"/>
                  </a:cubicBezTo>
                  <a:cubicBezTo>
                    <a:pt x="586" y="153"/>
                    <a:pt x="586" y="153"/>
                    <a:pt x="586" y="153"/>
                  </a:cubicBezTo>
                  <a:cubicBezTo>
                    <a:pt x="553" y="185"/>
                    <a:pt x="553" y="185"/>
                    <a:pt x="553" y="185"/>
                  </a:cubicBezTo>
                  <a:cubicBezTo>
                    <a:pt x="744" y="376"/>
                    <a:pt x="744" y="376"/>
                    <a:pt x="744" y="376"/>
                  </a:cubicBezTo>
                  <a:cubicBezTo>
                    <a:pt x="935" y="185"/>
                    <a:pt x="935" y="185"/>
                    <a:pt x="935" y="185"/>
                  </a:cubicBezTo>
                  <a:cubicBezTo>
                    <a:pt x="902" y="153"/>
                    <a:pt x="902" y="153"/>
                    <a:pt x="902" y="153"/>
                  </a:cubicBezTo>
                  <a:cubicBezTo>
                    <a:pt x="1055" y="0"/>
                    <a:pt x="1055" y="0"/>
                    <a:pt x="1055" y="0"/>
                  </a:cubicBezTo>
                  <a:cubicBezTo>
                    <a:pt x="1488" y="432"/>
                    <a:pt x="1488" y="432"/>
                    <a:pt x="1488" y="432"/>
                  </a:cubicBezTo>
                  <a:cubicBezTo>
                    <a:pt x="1335" y="586"/>
                    <a:pt x="1335" y="586"/>
                    <a:pt x="1335" y="586"/>
                  </a:cubicBezTo>
                  <a:lnTo>
                    <a:pt x="1303" y="553"/>
                  </a:lnTo>
                  <a:close/>
                  <a:moveTo>
                    <a:pt x="153" y="537"/>
                  </a:moveTo>
                  <a:cubicBezTo>
                    <a:pt x="537" y="153"/>
                    <a:pt x="537" y="153"/>
                    <a:pt x="537" y="153"/>
                  </a:cubicBezTo>
                  <a:cubicBezTo>
                    <a:pt x="432" y="48"/>
                    <a:pt x="432" y="48"/>
                    <a:pt x="432" y="48"/>
                  </a:cubicBezTo>
                  <a:cubicBezTo>
                    <a:pt x="48" y="432"/>
                    <a:pt x="48" y="432"/>
                    <a:pt x="48" y="432"/>
                  </a:cubicBezTo>
                  <a:lnTo>
                    <a:pt x="153" y="537"/>
                  </a:lnTo>
                  <a:close/>
                  <a:moveTo>
                    <a:pt x="959" y="161"/>
                  </a:moveTo>
                  <a:cubicBezTo>
                    <a:pt x="959" y="161"/>
                    <a:pt x="959" y="161"/>
                    <a:pt x="959" y="161"/>
                  </a:cubicBezTo>
                  <a:cubicBezTo>
                    <a:pt x="1327" y="529"/>
                    <a:pt x="1327" y="529"/>
                    <a:pt x="1327" y="529"/>
                  </a:cubicBezTo>
                  <a:cubicBezTo>
                    <a:pt x="1327" y="529"/>
                    <a:pt x="1327" y="529"/>
                    <a:pt x="1327" y="529"/>
                  </a:cubicBezTo>
                  <a:cubicBezTo>
                    <a:pt x="1335" y="537"/>
                    <a:pt x="1335" y="537"/>
                    <a:pt x="1335" y="537"/>
                  </a:cubicBezTo>
                  <a:cubicBezTo>
                    <a:pt x="1440" y="432"/>
                    <a:pt x="1440" y="432"/>
                    <a:pt x="1440" y="432"/>
                  </a:cubicBezTo>
                  <a:cubicBezTo>
                    <a:pt x="1055" y="48"/>
                    <a:pt x="1055" y="48"/>
                    <a:pt x="1055" y="48"/>
                  </a:cubicBezTo>
                  <a:cubicBezTo>
                    <a:pt x="951" y="153"/>
                    <a:pt x="951" y="153"/>
                    <a:pt x="951" y="153"/>
                  </a:cubicBezTo>
                  <a:lnTo>
                    <a:pt x="959" y="161"/>
                  </a:lnTo>
                  <a:close/>
                  <a:moveTo>
                    <a:pt x="369" y="861"/>
                  </a:moveTo>
                  <a:cubicBezTo>
                    <a:pt x="386" y="878"/>
                    <a:pt x="414" y="878"/>
                    <a:pt x="431" y="861"/>
                  </a:cubicBezTo>
                  <a:cubicBezTo>
                    <a:pt x="517" y="775"/>
                    <a:pt x="517" y="775"/>
                    <a:pt x="517" y="775"/>
                  </a:cubicBezTo>
                  <a:cubicBezTo>
                    <a:pt x="518" y="774"/>
                    <a:pt x="518" y="773"/>
                    <a:pt x="519" y="773"/>
                  </a:cubicBezTo>
                  <a:cubicBezTo>
                    <a:pt x="526" y="765"/>
                    <a:pt x="530" y="755"/>
                    <a:pt x="530" y="744"/>
                  </a:cubicBezTo>
                  <a:cubicBezTo>
                    <a:pt x="530" y="738"/>
                    <a:pt x="528" y="733"/>
                    <a:pt x="526" y="727"/>
                  </a:cubicBezTo>
                  <a:cubicBezTo>
                    <a:pt x="524" y="722"/>
                    <a:pt x="521" y="717"/>
                    <a:pt x="517" y="713"/>
                  </a:cubicBezTo>
                  <a:cubicBezTo>
                    <a:pt x="500" y="697"/>
                    <a:pt x="472" y="697"/>
                    <a:pt x="455" y="713"/>
                  </a:cubicBezTo>
                  <a:cubicBezTo>
                    <a:pt x="400" y="768"/>
                    <a:pt x="400" y="768"/>
                    <a:pt x="400" y="768"/>
                  </a:cubicBezTo>
                  <a:cubicBezTo>
                    <a:pt x="400" y="768"/>
                    <a:pt x="400" y="768"/>
                    <a:pt x="400" y="768"/>
                  </a:cubicBezTo>
                  <a:cubicBezTo>
                    <a:pt x="369" y="799"/>
                    <a:pt x="369" y="799"/>
                    <a:pt x="369" y="799"/>
                  </a:cubicBezTo>
                  <a:cubicBezTo>
                    <a:pt x="361" y="807"/>
                    <a:pt x="356" y="818"/>
                    <a:pt x="356" y="830"/>
                  </a:cubicBezTo>
                  <a:cubicBezTo>
                    <a:pt x="356" y="842"/>
                    <a:pt x="361" y="853"/>
                    <a:pt x="369" y="861"/>
                  </a:cubicBezTo>
                  <a:close/>
                  <a:moveTo>
                    <a:pt x="474" y="990"/>
                  </a:moveTo>
                  <a:cubicBezTo>
                    <a:pt x="646" y="818"/>
                    <a:pt x="646" y="818"/>
                    <a:pt x="646" y="818"/>
                  </a:cubicBezTo>
                  <a:cubicBezTo>
                    <a:pt x="648" y="815"/>
                    <a:pt x="651" y="812"/>
                    <a:pt x="652" y="809"/>
                  </a:cubicBezTo>
                  <a:cubicBezTo>
                    <a:pt x="656" y="803"/>
                    <a:pt x="658" y="795"/>
                    <a:pt x="658" y="787"/>
                  </a:cubicBezTo>
                  <a:cubicBezTo>
                    <a:pt x="658" y="781"/>
                    <a:pt x="657" y="775"/>
                    <a:pt x="655" y="770"/>
                  </a:cubicBezTo>
                  <a:cubicBezTo>
                    <a:pt x="654" y="767"/>
                    <a:pt x="652" y="765"/>
                    <a:pt x="651" y="762"/>
                  </a:cubicBezTo>
                  <a:cubicBezTo>
                    <a:pt x="649" y="760"/>
                    <a:pt x="648" y="758"/>
                    <a:pt x="646" y="756"/>
                  </a:cubicBezTo>
                  <a:cubicBezTo>
                    <a:pt x="642" y="753"/>
                    <a:pt x="638" y="750"/>
                    <a:pt x="634" y="748"/>
                  </a:cubicBezTo>
                  <a:cubicBezTo>
                    <a:pt x="633" y="748"/>
                    <a:pt x="632" y="747"/>
                    <a:pt x="632" y="747"/>
                  </a:cubicBezTo>
                  <a:cubicBezTo>
                    <a:pt x="630" y="746"/>
                    <a:pt x="628" y="745"/>
                    <a:pt x="626" y="745"/>
                  </a:cubicBezTo>
                  <a:cubicBezTo>
                    <a:pt x="625" y="745"/>
                    <a:pt x="624" y="744"/>
                    <a:pt x="624" y="744"/>
                  </a:cubicBezTo>
                  <a:cubicBezTo>
                    <a:pt x="621" y="744"/>
                    <a:pt x="618" y="744"/>
                    <a:pt x="615" y="744"/>
                  </a:cubicBezTo>
                  <a:cubicBezTo>
                    <a:pt x="615" y="744"/>
                    <a:pt x="615" y="744"/>
                    <a:pt x="615" y="744"/>
                  </a:cubicBezTo>
                  <a:cubicBezTo>
                    <a:pt x="609" y="744"/>
                    <a:pt x="603" y="745"/>
                    <a:pt x="598" y="747"/>
                  </a:cubicBezTo>
                  <a:cubicBezTo>
                    <a:pt x="598" y="747"/>
                    <a:pt x="597" y="747"/>
                    <a:pt x="597" y="747"/>
                  </a:cubicBezTo>
                  <a:cubicBezTo>
                    <a:pt x="595" y="748"/>
                    <a:pt x="593" y="749"/>
                    <a:pt x="591" y="751"/>
                  </a:cubicBezTo>
                  <a:cubicBezTo>
                    <a:pt x="590" y="751"/>
                    <a:pt x="589" y="752"/>
                    <a:pt x="589" y="752"/>
                  </a:cubicBezTo>
                  <a:cubicBezTo>
                    <a:pt x="587" y="754"/>
                    <a:pt x="586" y="755"/>
                    <a:pt x="584" y="756"/>
                  </a:cubicBezTo>
                  <a:cubicBezTo>
                    <a:pt x="541" y="799"/>
                    <a:pt x="541" y="799"/>
                    <a:pt x="541" y="799"/>
                  </a:cubicBezTo>
                  <a:cubicBezTo>
                    <a:pt x="541" y="799"/>
                    <a:pt x="541" y="799"/>
                    <a:pt x="541" y="799"/>
                  </a:cubicBezTo>
                  <a:cubicBezTo>
                    <a:pt x="455" y="885"/>
                    <a:pt x="455" y="885"/>
                    <a:pt x="455" y="885"/>
                  </a:cubicBezTo>
                  <a:cubicBezTo>
                    <a:pt x="455" y="885"/>
                    <a:pt x="455" y="885"/>
                    <a:pt x="455" y="885"/>
                  </a:cubicBezTo>
                  <a:cubicBezTo>
                    <a:pt x="412" y="928"/>
                    <a:pt x="412" y="928"/>
                    <a:pt x="412" y="928"/>
                  </a:cubicBezTo>
                  <a:cubicBezTo>
                    <a:pt x="404" y="936"/>
                    <a:pt x="399" y="947"/>
                    <a:pt x="399" y="959"/>
                  </a:cubicBezTo>
                  <a:cubicBezTo>
                    <a:pt x="399" y="971"/>
                    <a:pt x="404" y="982"/>
                    <a:pt x="412" y="990"/>
                  </a:cubicBezTo>
                  <a:cubicBezTo>
                    <a:pt x="429" y="1007"/>
                    <a:pt x="457" y="1007"/>
                    <a:pt x="474" y="990"/>
                  </a:cubicBezTo>
                  <a:close/>
                  <a:moveTo>
                    <a:pt x="560" y="1076"/>
                  </a:moveTo>
                  <a:cubicBezTo>
                    <a:pt x="689" y="947"/>
                    <a:pt x="689" y="947"/>
                    <a:pt x="689" y="947"/>
                  </a:cubicBezTo>
                  <a:cubicBezTo>
                    <a:pt x="732" y="904"/>
                    <a:pt x="732" y="904"/>
                    <a:pt x="732" y="904"/>
                  </a:cubicBezTo>
                  <a:cubicBezTo>
                    <a:pt x="740" y="896"/>
                    <a:pt x="744" y="885"/>
                    <a:pt x="744" y="873"/>
                  </a:cubicBezTo>
                  <a:cubicBezTo>
                    <a:pt x="744" y="861"/>
                    <a:pt x="740" y="850"/>
                    <a:pt x="732" y="842"/>
                  </a:cubicBezTo>
                  <a:cubicBezTo>
                    <a:pt x="729" y="840"/>
                    <a:pt x="726" y="838"/>
                    <a:pt x="723" y="836"/>
                  </a:cubicBezTo>
                  <a:cubicBezTo>
                    <a:pt x="723" y="835"/>
                    <a:pt x="722" y="835"/>
                    <a:pt x="721" y="834"/>
                  </a:cubicBezTo>
                  <a:cubicBezTo>
                    <a:pt x="719" y="833"/>
                    <a:pt x="716" y="832"/>
                    <a:pt x="714" y="832"/>
                  </a:cubicBezTo>
                  <a:cubicBezTo>
                    <a:pt x="713" y="831"/>
                    <a:pt x="712" y="831"/>
                    <a:pt x="711" y="831"/>
                  </a:cubicBezTo>
                  <a:cubicBezTo>
                    <a:pt x="708" y="830"/>
                    <a:pt x="705" y="830"/>
                    <a:pt x="702" y="830"/>
                  </a:cubicBezTo>
                  <a:cubicBezTo>
                    <a:pt x="701" y="830"/>
                    <a:pt x="701" y="829"/>
                    <a:pt x="701" y="829"/>
                  </a:cubicBezTo>
                  <a:cubicBezTo>
                    <a:pt x="697" y="829"/>
                    <a:pt x="693" y="830"/>
                    <a:pt x="689" y="831"/>
                  </a:cubicBezTo>
                  <a:cubicBezTo>
                    <a:pt x="682" y="833"/>
                    <a:pt x="676" y="837"/>
                    <a:pt x="670" y="842"/>
                  </a:cubicBezTo>
                  <a:cubicBezTo>
                    <a:pt x="498" y="1014"/>
                    <a:pt x="498" y="1014"/>
                    <a:pt x="498" y="1014"/>
                  </a:cubicBezTo>
                  <a:cubicBezTo>
                    <a:pt x="490" y="1022"/>
                    <a:pt x="485" y="1033"/>
                    <a:pt x="485" y="1045"/>
                  </a:cubicBezTo>
                  <a:cubicBezTo>
                    <a:pt x="485" y="1056"/>
                    <a:pt x="490" y="1068"/>
                    <a:pt x="498" y="1076"/>
                  </a:cubicBezTo>
                  <a:cubicBezTo>
                    <a:pt x="515" y="1093"/>
                    <a:pt x="543" y="1093"/>
                    <a:pt x="560" y="1076"/>
                  </a:cubicBezTo>
                  <a:close/>
                  <a:moveTo>
                    <a:pt x="720" y="1088"/>
                  </a:moveTo>
                  <a:cubicBezTo>
                    <a:pt x="775" y="1033"/>
                    <a:pt x="775" y="1033"/>
                    <a:pt x="775" y="1033"/>
                  </a:cubicBezTo>
                  <a:cubicBezTo>
                    <a:pt x="783" y="1025"/>
                    <a:pt x="788" y="1014"/>
                    <a:pt x="788" y="1002"/>
                  </a:cubicBezTo>
                  <a:cubicBezTo>
                    <a:pt x="788" y="999"/>
                    <a:pt x="787" y="996"/>
                    <a:pt x="787" y="993"/>
                  </a:cubicBezTo>
                  <a:cubicBezTo>
                    <a:pt x="787" y="993"/>
                    <a:pt x="786" y="993"/>
                    <a:pt x="786" y="992"/>
                  </a:cubicBezTo>
                  <a:cubicBezTo>
                    <a:pt x="786" y="990"/>
                    <a:pt x="785" y="988"/>
                    <a:pt x="784" y="985"/>
                  </a:cubicBezTo>
                  <a:cubicBezTo>
                    <a:pt x="784" y="985"/>
                    <a:pt x="784" y="985"/>
                    <a:pt x="784" y="985"/>
                  </a:cubicBezTo>
                  <a:cubicBezTo>
                    <a:pt x="782" y="980"/>
                    <a:pt x="779" y="975"/>
                    <a:pt x="775" y="971"/>
                  </a:cubicBezTo>
                  <a:cubicBezTo>
                    <a:pt x="766" y="963"/>
                    <a:pt x="755" y="958"/>
                    <a:pt x="744" y="958"/>
                  </a:cubicBezTo>
                  <a:cubicBezTo>
                    <a:pt x="740" y="958"/>
                    <a:pt x="736" y="959"/>
                    <a:pt x="733" y="960"/>
                  </a:cubicBezTo>
                  <a:cubicBezTo>
                    <a:pt x="726" y="962"/>
                    <a:pt x="719" y="965"/>
                    <a:pt x="713" y="971"/>
                  </a:cubicBezTo>
                  <a:cubicBezTo>
                    <a:pt x="708" y="976"/>
                    <a:pt x="708" y="976"/>
                    <a:pt x="708" y="976"/>
                  </a:cubicBezTo>
                  <a:cubicBezTo>
                    <a:pt x="627" y="1057"/>
                    <a:pt x="627" y="1057"/>
                    <a:pt x="627" y="1057"/>
                  </a:cubicBezTo>
                  <a:cubicBezTo>
                    <a:pt x="619" y="1065"/>
                    <a:pt x="614" y="1076"/>
                    <a:pt x="614" y="1088"/>
                  </a:cubicBezTo>
                  <a:cubicBezTo>
                    <a:pt x="614" y="1100"/>
                    <a:pt x="619" y="1111"/>
                    <a:pt x="627" y="1119"/>
                  </a:cubicBezTo>
                  <a:cubicBezTo>
                    <a:pt x="644" y="1136"/>
                    <a:pt x="672" y="1136"/>
                    <a:pt x="689" y="1119"/>
                  </a:cubicBezTo>
                  <a:lnTo>
                    <a:pt x="720" y="1088"/>
                  </a:lnTo>
                  <a:close/>
                  <a:moveTo>
                    <a:pt x="873" y="1088"/>
                  </a:moveTo>
                  <a:cubicBezTo>
                    <a:pt x="873" y="1076"/>
                    <a:pt x="869" y="1065"/>
                    <a:pt x="861" y="1057"/>
                  </a:cubicBezTo>
                  <a:cubicBezTo>
                    <a:pt x="820" y="1017"/>
                    <a:pt x="820" y="1017"/>
                    <a:pt x="820" y="1017"/>
                  </a:cubicBezTo>
                  <a:cubicBezTo>
                    <a:pt x="820" y="1017"/>
                    <a:pt x="820" y="1017"/>
                    <a:pt x="820" y="1017"/>
                  </a:cubicBezTo>
                  <a:cubicBezTo>
                    <a:pt x="820" y="1018"/>
                    <a:pt x="820" y="1018"/>
                    <a:pt x="820" y="1018"/>
                  </a:cubicBezTo>
                  <a:cubicBezTo>
                    <a:pt x="819" y="1022"/>
                    <a:pt x="818" y="1026"/>
                    <a:pt x="816" y="1030"/>
                  </a:cubicBezTo>
                  <a:cubicBezTo>
                    <a:pt x="816" y="1031"/>
                    <a:pt x="815" y="1033"/>
                    <a:pt x="815" y="1034"/>
                  </a:cubicBezTo>
                  <a:cubicBezTo>
                    <a:pt x="813" y="1037"/>
                    <a:pt x="812" y="1040"/>
                    <a:pt x="810" y="1043"/>
                  </a:cubicBezTo>
                  <a:cubicBezTo>
                    <a:pt x="809" y="1044"/>
                    <a:pt x="809" y="1045"/>
                    <a:pt x="808" y="1046"/>
                  </a:cubicBezTo>
                  <a:cubicBezTo>
                    <a:pt x="805" y="1050"/>
                    <a:pt x="802" y="1054"/>
                    <a:pt x="799" y="1057"/>
                  </a:cubicBezTo>
                  <a:cubicBezTo>
                    <a:pt x="768" y="1088"/>
                    <a:pt x="768" y="1088"/>
                    <a:pt x="768" y="1088"/>
                  </a:cubicBezTo>
                  <a:cubicBezTo>
                    <a:pt x="799" y="1119"/>
                    <a:pt x="799" y="1119"/>
                    <a:pt x="799" y="1119"/>
                  </a:cubicBezTo>
                  <a:cubicBezTo>
                    <a:pt x="815" y="1135"/>
                    <a:pt x="844" y="1135"/>
                    <a:pt x="861" y="1119"/>
                  </a:cubicBezTo>
                  <a:cubicBezTo>
                    <a:pt x="861" y="1119"/>
                    <a:pt x="861" y="1119"/>
                    <a:pt x="861" y="1119"/>
                  </a:cubicBezTo>
                  <a:cubicBezTo>
                    <a:pt x="869" y="1111"/>
                    <a:pt x="873" y="1100"/>
                    <a:pt x="873" y="1088"/>
                  </a:cubicBezTo>
                  <a:close/>
                  <a:moveTo>
                    <a:pt x="1119" y="799"/>
                  </a:moveTo>
                  <a:cubicBezTo>
                    <a:pt x="830" y="510"/>
                    <a:pt x="830" y="510"/>
                    <a:pt x="830" y="510"/>
                  </a:cubicBezTo>
                  <a:cubicBezTo>
                    <a:pt x="713" y="627"/>
                    <a:pt x="713" y="627"/>
                    <a:pt x="713" y="627"/>
                  </a:cubicBezTo>
                  <a:cubicBezTo>
                    <a:pt x="709" y="631"/>
                    <a:pt x="705" y="634"/>
                    <a:pt x="701" y="637"/>
                  </a:cubicBezTo>
                  <a:cubicBezTo>
                    <a:pt x="699" y="638"/>
                    <a:pt x="697" y="639"/>
                    <a:pt x="695" y="640"/>
                  </a:cubicBezTo>
                  <a:cubicBezTo>
                    <a:pt x="692" y="642"/>
                    <a:pt x="690" y="643"/>
                    <a:pt x="688" y="644"/>
                  </a:cubicBezTo>
                  <a:cubicBezTo>
                    <a:pt x="684" y="646"/>
                    <a:pt x="679" y="647"/>
                    <a:pt x="675" y="648"/>
                  </a:cubicBezTo>
                  <a:cubicBezTo>
                    <a:pt x="674" y="648"/>
                    <a:pt x="674" y="648"/>
                    <a:pt x="673" y="648"/>
                  </a:cubicBezTo>
                  <a:cubicBezTo>
                    <a:pt x="658" y="651"/>
                    <a:pt x="643" y="650"/>
                    <a:pt x="628" y="644"/>
                  </a:cubicBezTo>
                  <a:cubicBezTo>
                    <a:pt x="627" y="644"/>
                    <a:pt x="627" y="643"/>
                    <a:pt x="626" y="643"/>
                  </a:cubicBezTo>
                  <a:cubicBezTo>
                    <a:pt x="618" y="639"/>
                    <a:pt x="610" y="634"/>
                    <a:pt x="603" y="627"/>
                  </a:cubicBezTo>
                  <a:cubicBezTo>
                    <a:pt x="598" y="623"/>
                    <a:pt x="595" y="618"/>
                    <a:pt x="592" y="613"/>
                  </a:cubicBezTo>
                  <a:cubicBezTo>
                    <a:pt x="584" y="601"/>
                    <a:pt x="580" y="587"/>
                    <a:pt x="580" y="572"/>
                  </a:cubicBezTo>
                  <a:cubicBezTo>
                    <a:pt x="580" y="562"/>
                    <a:pt x="582" y="552"/>
                    <a:pt x="586" y="543"/>
                  </a:cubicBezTo>
                  <a:cubicBezTo>
                    <a:pt x="589" y="534"/>
                    <a:pt x="595" y="525"/>
                    <a:pt x="603" y="517"/>
                  </a:cubicBezTo>
                  <a:cubicBezTo>
                    <a:pt x="720" y="400"/>
                    <a:pt x="720" y="400"/>
                    <a:pt x="720" y="400"/>
                  </a:cubicBezTo>
                  <a:cubicBezTo>
                    <a:pt x="529" y="210"/>
                    <a:pt x="529" y="210"/>
                    <a:pt x="529" y="210"/>
                  </a:cubicBezTo>
                  <a:cubicBezTo>
                    <a:pt x="209" y="529"/>
                    <a:pt x="209" y="529"/>
                    <a:pt x="209" y="529"/>
                  </a:cubicBezTo>
                  <a:cubicBezTo>
                    <a:pt x="400" y="720"/>
                    <a:pt x="400" y="720"/>
                    <a:pt x="400" y="720"/>
                  </a:cubicBezTo>
                  <a:cubicBezTo>
                    <a:pt x="431" y="689"/>
                    <a:pt x="431" y="689"/>
                    <a:pt x="431" y="689"/>
                  </a:cubicBezTo>
                  <a:cubicBezTo>
                    <a:pt x="461" y="659"/>
                    <a:pt x="511" y="659"/>
                    <a:pt x="541" y="689"/>
                  </a:cubicBezTo>
                  <a:cubicBezTo>
                    <a:pt x="542" y="690"/>
                    <a:pt x="543" y="691"/>
                    <a:pt x="544" y="692"/>
                  </a:cubicBezTo>
                  <a:cubicBezTo>
                    <a:pt x="546" y="694"/>
                    <a:pt x="548" y="697"/>
                    <a:pt x="550" y="699"/>
                  </a:cubicBezTo>
                  <a:cubicBezTo>
                    <a:pt x="551" y="701"/>
                    <a:pt x="551" y="702"/>
                    <a:pt x="552" y="703"/>
                  </a:cubicBezTo>
                  <a:cubicBezTo>
                    <a:pt x="554" y="706"/>
                    <a:pt x="555" y="709"/>
                    <a:pt x="557" y="712"/>
                  </a:cubicBezTo>
                  <a:cubicBezTo>
                    <a:pt x="557" y="713"/>
                    <a:pt x="558" y="714"/>
                    <a:pt x="558" y="716"/>
                  </a:cubicBezTo>
                  <a:cubicBezTo>
                    <a:pt x="560" y="719"/>
                    <a:pt x="561" y="723"/>
                    <a:pt x="562" y="727"/>
                  </a:cubicBezTo>
                  <a:cubicBezTo>
                    <a:pt x="562" y="728"/>
                    <a:pt x="562" y="728"/>
                    <a:pt x="562" y="729"/>
                  </a:cubicBezTo>
                  <a:cubicBezTo>
                    <a:pt x="562" y="729"/>
                    <a:pt x="562" y="729"/>
                    <a:pt x="563" y="729"/>
                  </a:cubicBezTo>
                  <a:cubicBezTo>
                    <a:pt x="564" y="728"/>
                    <a:pt x="566" y="727"/>
                    <a:pt x="568" y="725"/>
                  </a:cubicBezTo>
                  <a:cubicBezTo>
                    <a:pt x="570" y="724"/>
                    <a:pt x="571" y="723"/>
                    <a:pt x="573" y="721"/>
                  </a:cubicBezTo>
                  <a:cubicBezTo>
                    <a:pt x="576" y="720"/>
                    <a:pt x="579" y="718"/>
                    <a:pt x="581" y="717"/>
                  </a:cubicBezTo>
                  <a:cubicBezTo>
                    <a:pt x="583" y="716"/>
                    <a:pt x="585" y="715"/>
                    <a:pt x="586" y="715"/>
                  </a:cubicBezTo>
                  <a:cubicBezTo>
                    <a:pt x="589" y="713"/>
                    <a:pt x="593" y="713"/>
                    <a:pt x="596" y="712"/>
                  </a:cubicBezTo>
                  <a:cubicBezTo>
                    <a:pt x="598" y="711"/>
                    <a:pt x="599" y="711"/>
                    <a:pt x="600" y="711"/>
                  </a:cubicBezTo>
                  <a:cubicBezTo>
                    <a:pt x="604" y="710"/>
                    <a:pt x="608" y="710"/>
                    <a:pt x="611" y="710"/>
                  </a:cubicBezTo>
                  <a:cubicBezTo>
                    <a:pt x="612" y="710"/>
                    <a:pt x="614" y="709"/>
                    <a:pt x="615" y="709"/>
                  </a:cubicBezTo>
                  <a:cubicBezTo>
                    <a:pt x="615" y="709"/>
                    <a:pt x="615" y="709"/>
                    <a:pt x="615" y="709"/>
                  </a:cubicBezTo>
                  <a:cubicBezTo>
                    <a:pt x="616" y="709"/>
                    <a:pt x="617" y="709"/>
                    <a:pt x="617" y="709"/>
                  </a:cubicBezTo>
                  <a:cubicBezTo>
                    <a:pt x="622" y="710"/>
                    <a:pt x="626" y="710"/>
                    <a:pt x="630" y="711"/>
                  </a:cubicBezTo>
                  <a:cubicBezTo>
                    <a:pt x="633" y="711"/>
                    <a:pt x="636" y="712"/>
                    <a:pt x="639" y="713"/>
                  </a:cubicBezTo>
                  <a:cubicBezTo>
                    <a:pt x="641" y="714"/>
                    <a:pt x="643" y="714"/>
                    <a:pt x="644" y="715"/>
                  </a:cubicBezTo>
                  <a:cubicBezTo>
                    <a:pt x="647" y="716"/>
                    <a:pt x="650" y="718"/>
                    <a:pt x="653" y="719"/>
                  </a:cubicBezTo>
                  <a:cubicBezTo>
                    <a:pt x="654" y="720"/>
                    <a:pt x="656" y="721"/>
                    <a:pt x="658" y="722"/>
                  </a:cubicBezTo>
                  <a:cubicBezTo>
                    <a:pt x="660" y="723"/>
                    <a:pt x="662" y="725"/>
                    <a:pt x="663" y="727"/>
                  </a:cubicBezTo>
                  <a:cubicBezTo>
                    <a:pt x="666" y="728"/>
                    <a:pt x="668" y="730"/>
                    <a:pt x="670" y="732"/>
                  </a:cubicBezTo>
                  <a:cubicBezTo>
                    <a:pt x="672" y="734"/>
                    <a:pt x="673" y="736"/>
                    <a:pt x="675" y="738"/>
                  </a:cubicBezTo>
                  <a:cubicBezTo>
                    <a:pt x="680" y="744"/>
                    <a:pt x="684" y="750"/>
                    <a:pt x="687" y="757"/>
                  </a:cubicBezTo>
                  <a:cubicBezTo>
                    <a:pt x="691" y="767"/>
                    <a:pt x="693" y="777"/>
                    <a:pt x="693" y="787"/>
                  </a:cubicBezTo>
                  <a:cubicBezTo>
                    <a:pt x="693" y="788"/>
                    <a:pt x="693" y="788"/>
                    <a:pt x="693" y="789"/>
                  </a:cubicBezTo>
                  <a:cubicBezTo>
                    <a:pt x="693" y="791"/>
                    <a:pt x="692" y="793"/>
                    <a:pt x="692" y="796"/>
                  </a:cubicBezTo>
                  <a:cubicBezTo>
                    <a:pt x="693" y="796"/>
                    <a:pt x="693" y="796"/>
                    <a:pt x="693" y="796"/>
                  </a:cubicBezTo>
                  <a:cubicBezTo>
                    <a:pt x="698" y="795"/>
                    <a:pt x="704" y="795"/>
                    <a:pt x="709" y="796"/>
                  </a:cubicBezTo>
                  <a:cubicBezTo>
                    <a:pt x="709" y="796"/>
                    <a:pt x="710" y="796"/>
                    <a:pt x="710" y="796"/>
                  </a:cubicBezTo>
                  <a:cubicBezTo>
                    <a:pt x="715" y="796"/>
                    <a:pt x="720" y="798"/>
                    <a:pt x="725" y="799"/>
                  </a:cubicBezTo>
                  <a:cubicBezTo>
                    <a:pt x="726" y="800"/>
                    <a:pt x="727" y="800"/>
                    <a:pt x="728" y="800"/>
                  </a:cubicBezTo>
                  <a:cubicBezTo>
                    <a:pt x="732" y="802"/>
                    <a:pt x="737" y="804"/>
                    <a:pt x="741" y="807"/>
                  </a:cubicBezTo>
                  <a:cubicBezTo>
                    <a:pt x="742" y="807"/>
                    <a:pt x="743" y="808"/>
                    <a:pt x="743" y="808"/>
                  </a:cubicBezTo>
                  <a:cubicBezTo>
                    <a:pt x="748" y="811"/>
                    <a:pt x="752" y="814"/>
                    <a:pt x="756" y="818"/>
                  </a:cubicBezTo>
                  <a:cubicBezTo>
                    <a:pt x="771" y="833"/>
                    <a:pt x="779" y="852"/>
                    <a:pt x="779" y="873"/>
                  </a:cubicBezTo>
                  <a:cubicBezTo>
                    <a:pt x="779" y="878"/>
                    <a:pt x="778" y="883"/>
                    <a:pt x="777" y="888"/>
                  </a:cubicBezTo>
                  <a:cubicBezTo>
                    <a:pt x="777" y="890"/>
                    <a:pt x="776" y="891"/>
                    <a:pt x="776" y="893"/>
                  </a:cubicBezTo>
                  <a:cubicBezTo>
                    <a:pt x="775" y="896"/>
                    <a:pt x="774" y="899"/>
                    <a:pt x="773" y="902"/>
                  </a:cubicBezTo>
                  <a:cubicBezTo>
                    <a:pt x="772" y="904"/>
                    <a:pt x="771" y="906"/>
                    <a:pt x="770" y="907"/>
                  </a:cubicBezTo>
                  <a:cubicBezTo>
                    <a:pt x="769" y="910"/>
                    <a:pt x="768" y="913"/>
                    <a:pt x="766" y="915"/>
                  </a:cubicBezTo>
                  <a:cubicBezTo>
                    <a:pt x="765" y="917"/>
                    <a:pt x="764" y="919"/>
                    <a:pt x="762" y="920"/>
                  </a:cubicBezTo>
                  <a:cubicBezTo>
                    <a:pt x="761" y="922"/>
                    <a:pt x="760" y="924"/>
                    <a:pt x="759" y="925"/>
                  </a:cubicBezTo>
                  <a:cubicBezTo>
                    <a:pt x="759" y="925"/>
                    <a:pt x="759" y="925"/>
                    <a:pt x="759" y="925"/>
                  </a:cubicBezTo>
                  <a:cubicBezTo>
                    <a:pt x="759" y="926"/>
                    <a:pt x="759" y="926"/>
                    <a:pt x="760" y="926"/>
                  </a:cubicBezTo>
                  <a:cubicBezTo>
                    <a:pt x="764" y="927"/>
                    <a:pt x="768" y="928"/>
                    <a:pt x="772" y="929"/>
                  </a:cubicBezTo>
                  <a:cubicBezTo>
                    <a:pt x="773" y="930"/>
                    <a:pt x="774" y="930"/>
                    <a:pt x="775" y="931"/>
                  </a:cubicBezTo>
                  <a:cubicBezTo>
                    <a:pt x="779" y="932"/>
                    <a:pt x="781" y="934"/>
                    <a:pt x="784" y="936"/>
                  </a:cubicBezTo>
                  <a:cubicBezTo>
                    <a:pt x="786" y="936"/>
                    <a:pt x="787" y="937"/>
                    <a:pt x="788" y="938"/>
                  </a:cubicBezTo>
                  <a:cubicBezTo>
                    <a:pt x="792" y="940"/>
                    <a:pt x="795" y="943"/>
                    <a:pt x="799" y="947"/>
                  </a:cubicBezTo>
                  <a:cubicBezTo>
                    <a:pt x="799" y="947"/>
                    <a:pt x="799" y="947"/>
                    <a:pt x="799" y="947"/>
                  </a:cubicBezTo>
                  <a:cubicBezTo>
                    <a:pt x="799" y="947"/>
                    <a:pt x="799" y="947"/>
                    <a:pt x="799" y="947"/>
                  </a:cubicBezTo>
                  <a:cubicBezTo>
                    <a:pt x="799" y="947"/>
                    <a:pt x="799" y="947"/>
                    <a:pt x="799" y="947"/>
                  </a:cubicBezTo>
                  <a:cubicBezTo>
                    <a:pt x="928" y="1076"/>
                    <a:pt x="928" y="1076"/>
                    <a:pt x="928" y="1076"/>
                  </a:cubicBezTo>
                  <a:cubicBezTo>
                    <a:pt x="944" y="1092"/>
                    <a:pt x="973" y="1092"/>
                    <a:pt x="990" y="1076"/>
                  </a:cubicBezTo>
                  <a:cubicBezTo>
                    <a:pt x="1007" y="1059"/>
                    <a:pt x="1007" y="1031"/>
                    <a:pt x="990" y="1014"/>
                  </a:cubicBezTo>
                  <a:cubicBezTo>
                    <a:pt x="1014" y="990"/>
                    <a:pt x="1014" y="990"/>
                    <a:pt x="1014" y="990"/>
                  </a:cubicBezTo>
                  <a:cubicBezTo>
                    <a:pt x="1030" y="1006"/>
                    <a:pt x="1059" y="1006"/>
                    <a:pt x="1076" y="990"/>
                  </a:cubicBezTo>
                  <a:cubicBezTo>
                    <a:pt x="1084" y="982"/>
                    <a:pt x="1088" y="971"/>
                    <a:pt x="1088" y="959"/>
                  </a:cubicBezTo>
                  <a:cubicBezTo>
                    <a:pt x="1088" y="947"/>
                    <a:pt x="1084" y="936"/>
                    <a:pt x="1076" y="928"/>
                  </a:cubicBezTo>
                  <a:cubicBezTo>
                    <a:pt x="1033" y="885"/>
                    <a:pt x="1033" y="885"/>
                    <a:pt x="1033" y="885"/>
                  </a:cubicBezTo>
                  <a:cubicBezTo>
                    <a:pt x="1057" y="861"/>
                    <a:pt x="1057" y="861"/>
                    <a:pt x="1057" y="861"/>
                  </a:cubicBezTo>
                  <a:cubicBezTo>
                    <a:pt x="1065" y="869"/>
                    <a:pt x="1076" y="874"/>
                    <a:pt x="1088" y="874"/>
                  </a:cubicBezTo>
                  <a:cubicBezTo>
                    <a:pt x="1088" y="874"/>
                    <a:pt x="1088" y="874"/>
                    <a:pt x="1088" y="874"/>
                  </a:cubicBezTo>
                  <a:cubicBezTo>
                    <a:pt x="1100" y="874"/>
                    <a:pt x="1110" y="869"/>
                    <a:pt x="1119" y="861"/>
                  </a:cubicBezTo>
                  <a:cubicBezTo>
                    <a:pt x="1136" y="844"/>
                    <a:pt x="1136" y="816"/>
                    <a:pt x="1119" y="799"/>
                  </a:cubicBezTo>
                  <a:close/>
                  <a:moveTo>
                    <a:pt x="1278" y="529"/>
                  </a:moveTo>
                  <a:cubicBezTo>
                    <a:pt x="959" y="209"/>
                    <a:pt x="959" y="209"/>
                    <a:pt x="959" y="209"/>
                  </a:cubicBezTo>
                  <a:cubicBezTo>
                    <a:pt x="768" y="400"/>
                    <a:pt x="768" y="400"/>
                    <a:pt x="768" y="400"/>
                  </a:cubicBezTo>
                  <a:cubicBezTo>
                    <a:pt x="768" y="400"/>
                    <a:pt x="768" y="400"/>
                    <a:pt x="768" y="400"/>
                  </a:cubicBezTo>
                  <a:cubicBezTo>
                    <a:pt x="627" y="541"/>
                    <a:pt x="627" y="541"/>
                    <a:pt x="627" y="541"/>
                  </a:cubicBezTo>
                  <a:cubicBezTo>
                    <a:pt x="623" y="546"/>
                    <a:pt x="620" y="551"/>
                    <a:pt x="617" y="556"/>
                  </a:cubicBezTo>
                  <a:cubicBezTo>
                    <a:pt x="615" y="561"/>
                    <a:pt x="614" y="567"/>
                    <a:pt x="614" y="572"/>
                  </a:cubicBezTo>
                  <a:cubicBezTo>
                    <a:pt x="614" y="579"/>
                    <a:pt x="616" y="585"/>
                    <a:pt x="619" y="591"/>
                  </a:cubicBezTo>
                  <a:cubicBezTo>
                    <a:pt x="621" y="595"/>
                    <a:pt x="624" y="599"/>
                    <a:pt x="627" y="603"/>
                  </a:cubicBezTo>
                  <a:cubicBezTo>
                    <a:pt x="635" y="611"/>
                    <a:pt x="646" y="616"/>
                    <a:pt x="658" y="616"/>
                  </a:cubicBezTo>
                  <a:cubicBezTo>
                    <a:pt x="658" y="616"/>
                    <a:pt x="658" y="616"/>
                    <a:pt x="658" y="616"/>
                  </a:cubicBezTo>
                  <a:cubicBezTo>
                    <a:pt x="667" y="616"/>
                    <a:pt x="675" y="613"/>
                    <a:pt x="682" y="608"/>
                  </a:cubicBezTo>
                  <a:cubicBezTo>
                    <a:pt x="685" y="607"/>
                    <a:pt x="687" y="605"/>
                    <a:pt x="689" y="603"/>
                  </a:cubicBezTo>
                  <a:cubicBezTo>
                    <a:pt x="830" y="462"/>
                    <a:pt x="830" y="462"/>
                    <a:pt x="830" y="462"/>
                  </a:cubicBezTo>
                  <a:cubicBezTo>
                    <a:pt x="1088" y="720"/>
                    <a:pt x="1088" y="720"/>
                    <a:pt x="1088" y="720"/>
                  </a:cubicBezTo>
                  <a:lnTo>
                    <a:pt x="1278" y="529"/>
                  </a:lnTo>
                  <a:close/>
                  <a:moveTo>
                    <a:pt x="126" y="416"/>
                  </a:moveTo>
                  <a:cubicBezTo>
                    <a:pt x="169" y="459"/>
                    <a:pt x="169" y="459"/>
                    <a:pt x="169" y="459"/>
                  </a:cubicBezTo>
                  <a:cubicBezTo>
                    <a:pt x="212" y="416"/>
                    <a:pt x="212" y="416"/>
                    <a:pt x="212" y="416"/>
                  </a:cubicBezTo>
                  <a:cubicBezTo>
                    <a:pt x="169" y="373"/>
                    <a:pt x="169" y="373"/>
                    <a:pt x="169" y="373"/>
                  </a:cubicBezTo>
                  <a:lnTo>
                    <a:pt x="126" y="416"/>
                  </a:lnTo>
                  <a:close/>
                  <a:moveTo>
                    <a:pt x="1362" y="416"/>
                  </a:moveTo>
                  <a:cubicBezTo>
                    <a:pt x="1319" y="373"/>
                    <a:pt x="1319" y="373"/>
                    <a:pt x="1319" y="373"/>
                  </a:cubicBezTo>
                  <a:cubicBezTo>
                    <a:pt x="1276" y="416"/>
                    <a:pt x="1276" y="416"/>
                    <a:pt x="1276" y="416"/>
                  </a:cubicBezTo>
                  <a:cubicBezTo>
                    <a:pt x="1319" y="459"/>
                    <a:pt x="1319" y="459"/>
                    <a:pt x="1319" y="459"/>
                  </a:cubicBezTo>
                  <a:lnTo>
                    <a:pt x="1362" y="4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6" name="Freeform 29"/>
            <p:cNvSpPr>
              <a:spLocks noEditPoints="1"/>
            </p:cNvSpPr>
            <p:nvPr/>
          </p:nvSpPr>
          <p:spPr bwMode="auto">
            <a:xfrm>
              <a:off x="7013578" y="2827871"/>
              <a:ext cx="514846" cy="256666"/>
            </a:xfrm>
            <a:custGeom>
              <a:avLst/>
              <a:gdLst>
                <a:gd name="T0" fmla="*/ 1371 w 1373"/>
                <a:gd name="T1" fmla="*/ 249 h 683"/>
                <a:gd name="T2" fmla="*/ 1034 w 1373"/>
                <a:gd name="T3" fmla="*/ 17 h 683"/>
                <a:gd name="T4" fmla="*/ 370 w 1373"/>
                <a:gd name="T5" fmla="*/ 86 h 683"/>
                <a:gd name="T6" fmla="*/ 527 w 1373"/>
                <a:gd name="T7" fmla="*/ 601 h 683"/>
                <a:gd name="T8" fmla="*/ 1017 w 1373"/>
                <a:gd name="T9" fmla="*/ 601 h 683"/>
                <a:gd name="T10" fmla="*/ 1291 w 1373"/>
                <a:gd name="T11" fmla="*/ 601 h 683"/>
                <a:gd name="T12" fmla="*/ 1371 w 1373"/>
                <a:gd name="T13" fmla="*/ 332 h 683"/>
                <a:gd name="T14" fmla="*/ 1337 w 1373"/>
                <a:gd name="T15" fmla="*/ 308 h 683"/>
                <a:gd name="T16" fmla="*/ 1240 w 1373"/>
                <a:gd name="T17" fmla="*/ 152 h 683"/>
                <a:gd name="T18" fmla="*/ 1061 w 1373"/>
                <a:gd name="T19" fmla="*/ 308 h 683"/>
                <a:gd name="T20" fmla="*/ 1061 w 1373"/>
                <a:gd name="T21" fmla="*/ 152 h 683"/>
                <a:gd name="T22" fmla="*/ 999 w 1373"/>
                <a:gd name="T23" fmla="*/ 34 h 683"/>
                <a:gd name="T24" fmla="*/ 741 w 1373"/>
                <a:gd name="T25" fmla="*/ 567 h 683"/>
                <a:gd name="T26" fmla="*/ 735 w 1373"/>
                <a:gd name="T27" fmla="*/ 538 h 683"/>
                <a:gd name="T28" fmla="*/ 722 w 1373"/>
                <a:gd name="T29" fmla="*/ 511 h 683"/>
                <a:gd name="T30" fmla="*/ 699 w 1373"/>
                <a:gd name="T31" fmla="*/ 488 h 683"/>
                <a:gd name="T32" fmla="*/ 674 w 1373"/>
                <a:gd name="T33" fmla="*/ 473 h 683"/>
                <a:gd name="T34" fmla="*/ 632 w 1373"/>
                <a:gd name="T35" fmla="*/ 464 h 683"/>
                <a:gd name="T36" fmla="*/ 591 w 1373"/>
                <a:gd name="T37" fmla="*/ 473 h 683"/>
                <a:gd name="T38" fmla="*/ 565 w 1373"/>
                <a:gd name="T39" fmla="*/ 488 h 683"/>
                <a:gd name="T40" fmla="*/ 543 w 1373"/>
                <a:gd name="T41" fmla="*/ 511 h 683"/>
                <a:gd name="T42" fmla="*/ 530 w 1373"/>
                <a:gd name="T43" fmla="*/ 538 h 683"/>
                <a:gd name="T44" fmla="*/ 523 w 1373"/>
                <a:gd name="T45" fmla="*/ 567 h 683"/>
                <a:gd name="T46" fmla="*/ 632 w 1373"/>
                <a:gd name="T47" fmla="*/ 649 h 683"/>
                <a:gd name="T48" fmla="*/ 632 w 1373"/>
                <a:gd name="T49" fmla="*/ 499 h 683"/>
                <a:gd name="T50" fmla="*/ 632 w 1373"/>
                <a:gd name="T51" fmla="*/ 649 h 683"/>
                <a:gd name="T52" fmla="*/ 1111 w 1373"/>
                <a:gd name="T53" fmla="*/ 574 h 683"/>
                <a:gd name="T54" fmla="*/ 1260 w 1373"/>
                <a:gd name="T55" fmla="*/ 582 h 683"/>
                <a:gd name="T56" fmla="*/ 1294 w 1373"/>
                <a:gd name="T57" fmla="*/ 559 h 683"/>
                <a:gd name="T58" fmla="*/ 1285 w 1373"/>
                <a:gd name="T59" fmla="*/ 529 h 683"/>
                <a:gd name="T60" fmla="*/ 1268 w 1373"/>
                <a:gd name="T61" fmla="*/ 502 h 683"/>
                <a:gd name="T62" fmla="*/ 1246 w 1373"/>
                <a:gd name="T63" fmla="*/ 483 h 683"/>
                <a:gd name="T64" fmla="*/ 1214 w 1373"/>
                <a:gd name="T65" fmla="*/ 469 h 683"/>
                <a:gd name="T66" fmla="*/ 1164 w 1373"/>
                <a:gd name="T67" fmla="*/ 467 h 683"/>
                <a:gd name="T68" fmla="*/ 1137 w 1373"/>
                <a:gd name="T69" fmla="*/ 477 h 683"/>
                <a:gd name="T70" fmla="*/ 1110 w 1373"/>
                <a:gd name="T71" fmla="*/ 495 h 683"/>
                <a:gd name="T72" fmla="*/ 1092 w 1373"/>
                <a:gd name="T73" fmla="*/ 519 h 683"/>
                <a:gd name="T74" fmla="*/ 1080 w 1373"/>
                <a:gd name="T75" fmla="*/ 549 h 683"/>
                <a:gd name="T76" fmla="*/ 1034 w 1373"/>
                <a:gd name="T77" fmla="*/ 567 h 683"/>
                <a:gd name="T78" fmla="*/ 1079 w 1373"/>
                <a:gd name="T79" fmla="*/ 344 h 683"/>
                <a:gd name="T80" fmla="*/ 1337 w 1373"/>
                <a:gd name="T81" fmla="*/ 567 h 683"/>
                <a:gd name="T82" fmla="*/ 314 w 1373"/>
                <a:gd name="T83" fmla="*/ 312 h 683"/>
                <a:gd name="T84" fmla="*/ 17 w 1373"/>
                <a:gd name="T85" fmla="*/ 278 h 683"/>
                <a:gd name="T86" fmla="*/ 331 w 1373"/>
                <a:gd name="T87" fmla="*/ 191 h 683"/>
                <a:gd name="T88" fmla="*/ 123 w 1373"/>
                <a:gd name="T89" fmla="*/ 191 h 683"/>
                <a:gd name="T90" fmla="*/ 331 w 1373"/>
                <a:gd name="T91" fmla="*/ 191 h 683"/>
                <a:gd name="T92" fmla="*/ 140 w 1373"/>
                <a:gd name="T93" fmla="*/ 416 h 683"/>
                <a:gd name="T94" fmla="*/ 314 w 1373"/>
                <a:gd name="T95" fmla="*/ 382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73" h="683">
                  <a:moveTo>
                    <a:pt x="1373" y="326"/>
                  </a:moveTo>
                  <a:cubicBezTo>
                    <a:pt x="1373" y="323"/>
                    <a:pt x="1372" y="321"/>
                    <a:pt x="1371" y="319"/>
                  </a:cubicBezTo>
                  <a:cubicBezTo>
                    <a:pt x="1371" y="249"/>
                    <a:pt x="1371" y="249"/>
                    <a:pt x="1371" y="249"/>
                  </a:cubicBezTo>
                  <a:cubicBezTo>
                    <a:pt x="1371" y="177"/>
                    <a:pt x="1312" y="118"/>
                    <a:pt x="1240" y="118"/>
                  </a:cubicBezTo>
                  <a:cubicBezTo>
                    <a:pt x="1034" y="118"/>
                    <a:pt x="1034" y="118"/>
                    <a:pt x="1034" y="118"/>
                  </a:cubicBezTo>
                  <a:cubicBezTo>
                    <a:pt x="1034" y="17"/>
                    <a:pt x="1034" y="17"/>
                    <a:pt x="1034" y="17"/>
                  </a:cubicBezTo>
                  <a:cubicBezTo>
                    <a:pt x="1034" y="8"/>
                    <a:pt x="1026" y="0"/>
                    <a:pt x="1017" y="0"/>
                  </a:cubicBezTo>
                  <a:cubicBezTo>
                    <a:pt x="455" y="0"/>
                    <a:pt x="455" y="0"/>
                    <a:pt x="455" y="0"/>
                  </a:cubicBezTo>
                  <a:cubicBezTo>
                    <a:pt x="408" y="0"/>
                    <a:pt x="370" y="38"/>
                    <a:pt x="370" y="86"/>
                  </a:cubicBezTo>
                  <a:cubicBezTo>
                    <a:pt x="370" y="584"/>
                    <a:pt x="370" y="584"/>
                    <a:pt x="370" y="584"/>
                  </a:cubicBezTo>
                  <a:cubicBezTo>
                    <a:pt x="370" y="593"/>
                    <a:pt x="377" y="601"/>
                    <a:pt x="387" y="601"/>
                  </a:cubicBezTo>
                  <a:cubicBezTo>
                    <a:pt x="527" y="601"/>
                    <a:pt x="527" y="601"/>
                    <a:pt x="527" y="601"/>
                  </a:cubicBezTo>
                  <a:cubicBezTo>
                    <a:pt x="539" y="649"/>
                    <a:pt x="582" y="683"/>
                    <a:pt x="632" y="683"/>
                  </a:cubicBezTo>
                  <a:cubicBezTo>
                    <a:pt x="683" y="683"/>
                    <a:pt x="726" y="649"/>
                    <a:pt x="738" y="601"/>
                  </a:cubicBezTo>
                  <a:cubicBezTo>
                    <a:pt x="1017" y="601"/>
                    <a:pt x="1017" y="601"/>
                    <a:pt x="1017" y="601"/>
                  </a:cubicBezTo>
                  <a:cubicBezTo>
                    <a:pt x="1080" y="601"/>
                    <a:pt x="1080" y="601"/>
                    <a:pt x="1080" y="601"/>
                  </a:cubicBezTo>
                  <a:cubicBezTo>
                    <a:pt x="1093" y="649"/>
                    <a:pt x="1135" y="683"/>
                    <a:pt x="1186" y="683"/>
                  </a:cubicBezTo>
                  <a:cubicBezTo>
                    <a:pt x="1236" y="683"/>
                    <a:pt x="1279" y="649"/>
                    <a:pt x="1291" y="601"/>
                  </a:cubicBezTo>
                  <a:cubicBezTo>
                    <a:pt x="1354" y="601"/>
                    <a:pt x="1354" y="601"/>
                    <a:pt x="1354" y="601"/>
                  </a:cubicBezTo>
                  <a:cubicBezTo>
                    <a:pt x="1364" y="601"/>
                    <a:pt x="1371" y="593"/>
                    <a:pt x="1371" y="584"/>
                  </a:cubicBezTo>
                  <a:cubicBezTo>
                    <a:pt x="1371" y="332"/>
                    <a:pt x="1371" y="332"/>
                    <a:pt x="1371" y="332"/>
                  </a:cubicBezTo>
                  <a:cubicBezTo>
                    <a:pt x="1372" y="330"/>
                    <a:pt x="1373" y="328"/>
                    <a:pt x="1373" y="326"/>
                  </a:cubicBezTo>
                  <a:close/>
                  <a:moveTo>
                    <a:pt x="1337" y="249"/>
                  </a:moveTo>
                  <a:cubicBezTo>
                    <a:pt x="1337" y="308"/>
                    <a:pt x="1337" y="308"/>
                    <a:pt x="1337" y="308"/>
                  </a:cubicBezTo>
                  <a:cubicBezTo>
                    <a:pt x="1096" y="308"/>
                    <a:pt x="1096" y="308"/>
                    <a:pt x="1096" y="308"/>
                  </a:cubicBezTo>
                  <a:cubicBezTo>
                    <a:pt x="1096" y="152"/>
                    <a:pt x="1096" y="152"/>
                    <a:pt x="1096" y="152"/>
                  </a:cubicBezTo>
                  <a:cubicBezTo>
                    <a:pt x="1240" y="152"/>
                    <a:pt x="1240" y="152"/>
                    <a:pt x="1240" y="152"/>
                  </a:cubicBezTo>
                  <a:cubicBezTo>
                    <a:pt x="1293" y="152"/>
                    <a:pt x="1337" y="196"/>
                    <a:pt x="1337" y="249"/>
                  </a:cubicBezTo>
                  <a:close/>
                  <a:moveTo>
                    <a:pt x="1061" y="152"/>
                  </a:moveTo>
                  <a:cubicBezTo>
                    <a:pt x="1061" y="308"/>
                    <a:pt x="1061" y="308"/>
                    <a:pt x="1061" y="308"/>
                  </a:cubicBezTo>
                  <a:cubicBezTo>
                    <a:pt x="1034" y="308"/>
                    <a:pt x="1034" y="308"/>
                    <a:pt x="1034" y="308"/>
                  </a:cubicBezTo>
                  <a:cubicBezTo>
                    <a:pt x="1034" y="152"/>
                    <a:pt x="1034" y="152"/>
                    <a:pt x="1034" y="152"/>
                  </a:cubicBezTo>
                  <a:lnTo>
                    <a:pt x="1061" y="152"/>
                  </a:lnTo>
                  <a:close/>
                  <a:moveTo>
                    <a:pt x="404" y="86"/>
                  </a:moveTo>
                  <a:cubicBezTo>
                    <a:pt x="404" y="57"/>
                    <a:pt x="427" y="34"/>
                    <a:pt x="455" y="34"/>
                  </a:cubicBezTo>
                  <a:cubicBezTo>
                    <a:pt x="999" y="34"/>
                    <a:pt x="999" y="34"/>
                    <a:pt x="999" y="34"/>
                  </a:cubicBezTo>
                  <a:cubicBezTo>
                    <a:pt x="999" y="135"/>
                    <a:pt x="999" y="135"/>
                    <a:pt x="999" y="135"/>
                  </a:cubicBezTo>
                  <a:cubicBezTo>
                    <a:pt x="999" y="567"/>
                    <a:pt x="999" y="567"/>
                    <a:pt x="999" y="567"/>
                  </a:cubicBezTo>
                  <a:cubicBezTo>
                    <a:pt x="741" y="567"/>
                    <a:pt x="741" y="567"/>
                    <a:pt x="741" y="567"/>
                  </a:cubicBezTo>
                  <a:cubicBezTo>
                    <a:pt x="741" y="564"/>
                    <a:pt x="740" y="561"/>
                    <a:pt x="740" y="559"/>
                  </a:cubicBezTo>
                  <a:cubicBezTo>
                    <a:pt x="740" y="555"/>
                    <a:pt x="739" y="552"/>
                    <a:pt x="739" y="549"/>
                  </a:cubicBezTo>
                  <a:cubicBezTo>
                    <a:pt x="738" y="545"/>
                    <a:pt x="736" y="542"/>
                    <a:pt x="735" y="538"/>
                  </a:cubicBezTo>
                  <a:cubicBezTo>
                    <a:pt x="734" y="535"/>
                    <a:pt x="733" y="532"/>
                    <a:pt x="732" y="529"/>
                  </a:cubicBezTo>
                  <a:cubicBezTo>
                    <a:pt x="730" y="526"/>
                    <a:pt x="728" y="522"/>
                    <a:pt x="726" y="519"/>
                  </a:cubicBezTo>
                  <a:cubicBezTo>
                    <a:pt x="725" y="516"/>
                    <a:pt x="723" y="514"/>
                    <a:pt x="722" y="511"/>
                  </a:cubicBezTo>
                  <a:cubicBezTo>
                    <a:pt x="719" y="508"/>
                    <a:pt x="717" y="505"/>
                    <a:pt x="714" y="502"/>
                  </a:cubicBezTo>
                  <a:cubicBezTo>
                    <a:pt x="712" y="500"/>
                    <a:pt x="710" y="498"/>
                    <a:pt x="708" y="495"/>
                  </a:cubicBezTo>
                  <a:cubicBezTo>
                    <a:pt x="706" y="493"/>
                    <a:pt x="702" y="490"/>
                    <a:pt x="699" y="488"/>
                  </a:cubicBezTo>
                  <a:cubicBezTo>
                    <a:pt x="697" y="486"/>
                    <a:pt x="695" y="484"/>
                    <a:pt x="692" y="483"/>
                  </a:cubicBezTo>
                  <a:cubicBezTo>
                    <a:pt x="689" y="480"/>
                    <a:pt x="685" y="478"/>
                    <a:pt x="681" y="477"/>
                  </a:cubicBezTo>
                  <a:cubicBezTo>
                    <a:pt x="679" y="475"/>
                    <a:pt x="677" y="474"/>
                    <a:pt x="674" y="473"/>
                  </a:cubicBezTo>
                  <a:cubicBezTo>
                    <a:pt x="670" y="471"/>
                    <a:pt x="665" y="470"/>
                    <a:pt x="661" y="469"/>
                  </a:cubicBezTo>
                  <a:cubicBezTo>
                    <a:pt x="658" y="468"/>
                    <a:pt x="656" y="467"/>
                    <a:pt x="654" y="467"/>
                  </a:cubicBezTo>
                  <a:cubicBezTo>
                    <a:pt x="647" y="465"/>
                    <a:pt x="640" y="464"/>
                    <a:pt x="632" y="464"/>
                  </a:cubicBezTo>
                  <a:cubicBezTo>
                    <a:pt x="625" y="464"/>
                    <a:pt x="618" y="465"/>
                    <a:pt x="611" y="467"/>
                  </a:cubicBezTo>
                  <a:cubicBezTo>
                    <a:pt x="608" y="467"/>
                    <a:pt x="606" y="468"/>
                    <a:pt x="604" y="469"/>
                  </a:cubicBezTo>
                  <a:cubicBezTo>
                    <a:pt x="599" y="470"/>
                    <a:pt x="595" y="471"/>
                    <a:pt x="591" y="473"/>
                  </a:cubicBezTo>
                  <a:cubicBezTo>
                    <a:pt x="588" y="474"/>
                    <a:pt x="586" y="475"/>
                    <a:pt x="583" y="477"/>
                  </a:cubicBezTo>
                  <a:cubicBezTo>
                    <a:pt x="580" y="479"/>
                    <a:pt x="576" y="480"/>
                    <a:pt x="572" y="483"/>
                  </a:cubicBezTo>
                  <a:cubicBezTo>
                    <a:pt x="570" y="484"/>
                    <a:pt x="568" y="486"/>
                    <a:pt x="565" y="488"/>
                  </a:cubicBezTo>
                  <a:cubicBezTo>
                    <a:pt x="562" y="490"/>
                    <a:pt x="559" y="493"/>
                    <a:pt x="556" y="495"/>
                  </a:cubicBezTo>
                  <a:cubicBezTo>
                    <a:pt x="554" y="498"/>
                    <a:pt x="552" y="500"/>
                    <a:pt x="550" y="502"/>
                  </a:cubicBezTo>
                  <a:cubicBezTo>
                    <a:pt x="548" y="505"/>
                    <a:pt x="545" y="508"/>
                    <a:pt x="543" y="511"/>
                  </a:cubicBezTo>
                  <a:cubicBezTo>
                    <a:pt x="541" y="514"/>
                    <a:pt x="540" y="516"/>
                    <a:pt x="538" y="519"/>
                  </a:cubicBezTo>
                  <a:cubicBezTo>
                    <a:pt x="536" y="522"/>
                    <a:pt x="535" y="526"/>
                    <a:pt x="533" y="529"/>
                  </a:cubicBezTo>
                  <a:cubicBezTo>
                    <a:pt x="532" y="532"/>
                    <a:pt x="531" y="535"/>
                    <a:pt x="530" y="538"/>
                  </a:cubicBezTo>
                  <a:cubicBezTo>
                    <a:pt x="528" y="542"/>
                    <a:pt x="527" y="545"/>
                    <a:pt x="526" y="549"/>
                  </a:cubicBezTo>
                  <a:cubicBezTo>
                    <a:pt x="526" y="552"/>
                    <a:pt x="525" y="555"/>
                    <a:pt x="525" y="559"/>
                  </a:cubicBezTo>
                  <a:cubicBezTo>
                    <a:pt x="524" y="561"/>
                    <a:pt x="524" y="564"/>
                    <a:pt x="523" y="567"/>
                  </a:cubicBezTo>
                  <a:cubicBezTo>
                    <a:pt x="404" y="567"/>
                    <a:pt x="404" y="567"/>
                    <a:pt x="404" y="567"/>
                  </a:cubicBezTo>
                  <a:lnTo>
                    <a:pt x="404" y="86"/>
                  </a:lnTo>
                  <a:close/>
                  <a:moveTo>
                    <a:pt x="632" y="649"/>
                  </a:moveTo>
                  <a:cubicBezTo>
                    <a:pt x="594" y="649"/>
                    <a:pt x="562" y="620"/>
                    <a:pt x="558" y="583"/>
                  </a:cubicBezTo>
                  <a:cubicBezTo>
                    <a:pt x="558" y="580"/>
                    <a:pt x="557" y="577"/>
                    <a:pt x="557" y="574"/>
                  </a:cubicBezTo>
                  <a:cubicBezTo>
                    <a:pt x="557" y="532"/>
                    <a:pt x="591" y="499"/>
                    <a:pt x="632" y="499"/>
                  </a:cubicBezTo>
                  <a:cubicBezTo>
                    <a:pt x="674" y="499"/>
                    <a:pt x="707" y="532"/>
                    <a:pt x="707" y="574"/>
                  </a:cubicBezTo>
                  <a:cubicBezTo>
                    <a:pt x="707" y="577"/>
                    <a:pt x="707" y="579"/>
                    <a:pt x="707" y="582"/>
                  </a:cubicBezTo>
                  <a:cubicBezTo>
                    <a:pt x="703" y="620"/>
                    <a:pt x="671" y="649"/>
                    <a:pt x="632" y="649"/>
                  </a:cubicBezTo>
                  <a:close/>
                  <a:moveTo>
                    <a:pt x="1186" y="649"/>
                  </a:moveTo>
                  <a:cubicBezTo>
                    <a:pt x="1148" y="649"/>
                    <a:pt x="1115" y="620"/>
                    <a:pt x="1111" y="583"/>
                  </a:cubicBezTo>
                  <a:cubicBezTo>
                    <a:pt x="1111" y="580"/>
                    <a:pt x="1111" y="577"/>
                    <a:pt x="1111" y="574"/>
                  </a:cubicBezTo>
                  <a:cubicBezTo>
                    <a:pt x="1111" y="532"/>
                    <a:pt x="1145" y="499"/>
                    <a:pt x="1186" y="499"/>
                  </a:cubicBezTo>
                  <a:cubicBezTo>
                    <a:pt x="1227" y="499"/>
                    <a:pt x="1261" y="532"/>
                    <a:pt x="1261" y="574"/>
                  </a:cubicBezTo>
                  <a:cubicBezTo>
                    <a:pt x="1261" y="577"/>
                    <a:pt x="1261" y="579"/>
                    <a:pt x="1260" y="582"/>
                  </a:cubicBezTo>
                  <a:cubicBezTo>
                    <a:pt x="1256" y="620"/>
                    <a:pt x="1224" y="649"/>
                    <a:pt x="1186" y="649"/>
                  </a:cubicBezTo>
                  <a:close/>
                  <a:moveTo>
                    <a:pt x="1295" y="567"/>
                  </a:moveTo>
                  <a:cubicBezTo>
                    <a:pt x="1295" y="564"/>
                    <a:pt x="1294" y="561"/>
                    <a:pt x="1294" y="559"/>
                  </a:cubicBezTo>
                  <a:cubicBezTo>
                    <a:pt x="1293" y="555"/>
                    <a:pt x="1293" y="552"/>
                    <a:pt x="1292" y="549"/>
                  </a:cubicBezTo>
                  <a:cubicBezTo>
                    <a:pt x="1291" y="545"/>
                    <a:pt x="1290" y="542"/>
                    <a:pt x="1289" y="538"/>
                  </a:cubicBezTo>
                  <a:cubicBezTo>
                    <a:pt x="1288" y="535"/>
                    <a:pt x="1287" y="532"/>
                    <a:pt x="1285" y="529"/>
                  </a:cubicBezTo>
                  <a:cubicBezTo>
                    <a:pt x="1284" y="526"/>
                    <a:pt x="1282" y="522"/>
                    <a:pt x="1280" y="519"/>
                  </a:cubicBezTo>
                  <a:cubicBezTo>
                    <a:pt x="1278" y="516"/>
                    <a:pt x="1277" y="514"/>
                    <a:pt x="1275" y="511"/>
                  </a:cubicBezTo>
                  <a:cubicBezTo>
                    <a:pt x="1273" y="508"/>
                    <a:pt x="1270" y="505"/>
                    <a:pt x="1268" y="502"/>
                  </a:cubicBezTo>
                  <a:cubicBezTo>
                    <a:pt x="1266" y="500"/>
                    <a:pt x="1264" y="498"/>
                    <a:pt x="1262" y="495"/>
                  </a:cubicBezTo>
                  <a:cubicBezTo>
                    <a:pt x="1259" y="493"/>
                    <a:pt x="1256" y="490"/>
                    <a:pt x="1253" y="488"/>
                  </a:cubicBezTo>
                  <a:cubicBezTo>
                    <a:pt x="1251" y="486"/>
                    <a:pt x="1248" y="484"/>
                    <a:pt x="1246" y="483"/>
                  </a:cubicBezTo>
                  <a:cubicBezTo>
                    <a:pt x="1242" y="480"/>
                    <a:pt x="1239" y="479"/>
                    <a:pt x="1235" y="477"/>
                  </a:cubicBezTo>
                  <a:cubicBezTo>
                    <a:pt x="1233" y="475"/>
                    <a:pt x="1230" y="474"/>
                    <a:pt x="1228" y="473"/>
                  </a:cubicBezTo>
                  <a:cubicBezTo>
                    <a:pt x="1223" y="471"/>
                    <a:pt x="1219" y="470"/>
                    <a:pt x="1214" y="469"/>
                  </a:cubicBezTo>
                  <a:cubicBezTo>
                    <a:pt x="1212" y="468"/>
                    <a:pt x="1210" y="467"/>
                    <a:pt x="1208" y="467"/>
                  </a:cubicBezTo>
                  <a:cubicBezTo>
                    <a:pt x="1201" y="465"/>
                    <a:pt x="1193" y="464"/>
                    <a:pt x="1186" y="464"/>
                  </a:cubicBezTo>
                  <a:cubicBezTo>
                    <a:pt x="1179" y="464"/>
                    <a:pt x="1171" y="465"/>
                    <a:pt x="1164" y="467"/>
                  </a:cubicBezTo>
                  <a:cubicBezTo>
                    <a:pt x="1162" y="467"/>
                    <a:pt x="1160" y="468"/>
                    <a:pt x="1158" y="469"/>
                  </a:cubicBezTo>
                  <a:cubicBezTo>
                    <a:pt x="1153" y="470"/>
                    <a:pt x="1149" y="471"/>
                    <a:pt x="1144" y="473"/>
                  </a:cubicBezTo>
                  <a:cubicBezTo>
                    <a:pt x="1142" y="474"/>
                    <a:pt x="1139" y="475"/>
                    <a:pt x="1137" y="477"/>
                  </a:cubicBezTo>
                  <a:cubicBezTo>
                    <a:pt x="1133" y="478"/>
                    <a:pt x="1129" y="480"/>
                    <a:pt x="1126" y="483"/>
                  </a:cubicBezTo>
                  <a:cubicBezTo>
                    <a:pt x="1124" y="484"/>
                    <a:pt x="1121" y="486"/>
                    <a:pt x="1119" y="488"/>
                  </a:cubicBezTo>
                  <a:cubicBezTo>
                    <a:pt x="1116" y="490"/>
                    <a:pt x="1113" y="493"/>
                    <a:pt x="1110" y="495"/>
                  </a:cubicBezTo>
                  <a:cubicBezTo>
                    <a:pt x="1108" y="498"/>
                    <a:pt x="1106" y="500"/>
                    <a:pt x="1104" y="502"/>
                  </a:cubicBezTo>
                  <a:cubicBezTo>
                    <a:pt x="1102" y="505"/>
                    <a:pt x="1099" y="508"/>
                    <a:pt x="1097" y="511"/>
                  </a:cubicBezTo>
                  <a:cubicBezTo>
                    <a:pt x="1095" y="514"/>
                    <a:pt x="1094" y="516"/>
                    <a:pt x="1092" y="519"/>
                  </a:cubicBezTo>
                  <a:cubicBezTo>
                    <a:pt x="1090" y="522"/>
                    <a:pt x="1088" y="526"/>
                    <a:pt x="1086" y="529"/>
                  </a:cubicBezTo>
                  <a:cubicBezTo>
                    <a:pt x="1085" y="532"/>
                    <a:pt x="1084" y="535"/>
                    <a:pt x="1083" y="538"/>
                  </a:cubicBezTo>
                  <a:cubicBezTo>
                    <a:pt x="1082" y="542"/>
                    <a:pt x="1081" y="545"/>
                    <a:pt x="1080" y="549"/>
                  </a:cubicBezTo>
                  <a:cubicBezTo>
                    <a:pt x="1079" y="552"/>
                    <a:pt x="1079" y="555"/>
                    <a:pt x="1078" y="559"/>
                  </a:cubicBezTo>
                  <a:cubicBezTo>
                    <a:pt x="1078" y="561"/>
                    <a:pt x="1077" y="564"/>
                    <a:pt x="1077" y="567"/>
                  </a:cubicBezTo>
                  <a:cubicBezTo>
                    <a:pt x="1034" y="567"/>
                    <a:pt x="1034" y="567"/>
                    <a:pt x="1034" y="567"/>
                  </a:cubicBezTo>
                  <a:cubicBezTo>
                    <a:pt x="1034" y="343"/>
                    <a:pt x="1034" y="343"/>
                    <a:pt x="1034" y="343"/>
                  </a:cubicBezTo>
                  <a:cubicBezTo>
                    <a:pt x="1075" y="343"/>
                    <a:pt x="1075" y="343"/>
                    <a:pt x="1075" y="343"/>
                  </a:cubicBezTo>
                  <a:cubicBezTo>
                    <a:pt x="1076" y="343"/>
                    <a:pt x="1077" y="344"/>
                    <a:pt x="1079" y="344"/>
                  </a:cubicBezTo>
                  <a:cubicBezTo>
                    <a:pt x="1080" y="344"/>
                    <a:pt x="1081" y="343"/>
                    <a:pt x="1083" y="343"/>
                  </a:cubicBezTo>
                  <a:cubicBezTo>
                    <a:pt x="1337" y="343"/>
                    <a:pt x="1337" y="343"/>
                    <a:pt x="1337" y="343"/>
                  </a:cubicBezTo>
                  <a:cubicBezTo>
                    <a:pt x="1337" y="567"/>
                    <a:pt x="1337" y="567"/>
                    <a:pt x="1337" y="567"/>
                  </a:cubicBezTo>
                  <a:lnTo>
                    <a:pt x="1295" y="567"/>
                  </a:lnTo>
                  <a:close/>
                  <a:moveTo>
                    <a:pt x="331" y="295"/>
                  </a:moveTo>
                  <a:cubicBezTo>
                    <a:pt x="331" y="304"/>
                    <a:pt x="324" y="312"/>
                    <a:pt x="314" y="312"/>
                  </a:cubicBezTo>
                  <a:cubicBezTo>
                    <a:pt x="17" y="312"/>
                    <a:pt x="17" y="312"/>
                    <a:pt x="17" y="312"/>
                  </a:cubicBezTo>
                  <a:cubicBezTo>
                    <a:pt x="8" y="312"/>
                    <a:pt x="0" y="304"/>
                    <a:pt x="0" y="295"/>
                  </a:cubicBezTo>
                  <a:cubicBezTo>
                    <a:pt x="0" y="286"/>
                    <a:pt x="8" y="278"/>
                    <a:pt x="17" y="278"/>
                  </a:cubicBezTo>
                  <a:cubicBezTo>
                    <a:pt x="314" y="278"/>
                    <a:pt x="314" y="278"/>
                    <a:pt x="314" y="278"/>
                  </a:cubicBezTo>
                  <a:cubicBezTo>
                    <a:pt x="324" y="278"/>
                    <a:pt x="331" y="286"/>
                    <a:pt x="331" y="295"/>
                  </a:cubicBezTo>
                  <a:close/>
                  <a:moveTo>
                    <a:pt x="331" y="191"/>
                  </a:moveTo>
                  <a:cubicBezTo>
                    <a:pt x="331" y="201"/>
                    <a:pt x="324" y="208"/>
                    <a:pt x="314" y="208"/>
                  </a:cubicBezTo>
                  <a:cubicBezTo>
                    <a:pt x="140" y="208"/>
                    <a:pt x="140" y="208"/>
                    <a:pt x="140" y="208"/>
                  </a:cubicBezTo>
                  <a:cubicBezTo>
                    <a:pt x="131" y="208"/>
                    <a:pt x="123" y="201"/>
                    <a:pt x="123" y="191"/>
                  </a:cubicBezTo>
                  <a:cubicBezTo>
                    <a:pt x="123" y="182"/>
                    <a:pt x="131" y="174"/>
                    <a:pt x="140" y="174"/>
                  </a:cubicBezTo>
                  <a:cubicBezTo>
                    <a:pt x="314" y="174"/>
                    <a:pt x="314" y="174"/>
                    <a:pt x="314" y="174"/>
                  </a:cubicBezTo>
                  <a:cubicBezTo>
                    <a:pt x="324" y="174"/>
                    <a:pt x="331" y="182"/>
                    <a:pt x="331" y="191"/>
                  </a:cubicBezTo>
                  <a:close/>
                  <a:moveTo>
                    <a:pt x="331" y="399"/>
                  </a:moveTo>
                  <a:cubicBezTo>
                    <a:pt x="331" y="408"/>
                    <a:pt x="324" y="416"/>
                    <a:pt x="314" y="416"/>
                  </a:cubicBezTo>
                  <a:cubicBezTo>
                    <a:pt x="140" y="416"/>
                    <a:pt x="140" y="416"/>
                    <a:pt x="140" y="416"/>
                  </a:cubicBezTo>
                  <a:cubicBezTo>
                    <a:pt x="131" y="416"/>
                    <a:pt x="123" y="408"/>
                    <a:pt x="123" y="399"/>
                  </a:cubicBezTo>
                  <a:cubicBezTo>
                    <a:pt x="123" y="389"/>
                    <a:pt x="131" y="382"/>
                    <a:pt x="140" y="382"/>
                  </a:cubicBezTo>
                  <a:cubicBezTo>
                    <a:pt x="314" y="382"/>
                    <a:pt x="314" y="382"/>
                    <a:pt x="314" y="382"/>
                  </a:cubicBezTo>
                  <a:cubicBezTo>
                    <a:pt x="324" y="382"/>
                    <a:pt x="331" y="389"/>
                    <a:pt x="331" y="3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7" name="Freeform 30"/>
            <p:cNvSpPr>
              <a:spLocks noEditPoints="1"/>
            </p:cNvSpPr>
            <p:nvPr/>
          </p:nvSpPr>
          <p:spPr bwMode="auto">
            <a:xfrm>
              <a:off x="5728264" y="2601565"/>
              <a:ext cx="335688" cy="333192"/>
            </a:xfrm>
            <a:custGeom>
              <a:avLst/>
              <a:gdLst>
                <a:gd name="T0" fmla="*/ 561 w 1084"/>
                <a:gd name="T1" fmla="*/ 897 h 1074"/>
                <a:gd name="T2" fmla="*/ 496 w 1084"/>
                <a:gd name="T3" fmla="*/ 964 h 1074"/>
                <a:gd name="T4" fmla="*/ 629 w 1084"/>
                <a:gd name="T5" fmla="*/ 964 h 1074"/>
                <a:gd name="T6" fmla="*/ 616 w 1084"/>
                <a:gd name="T7" fmla="*/ 924 h 1074"/>
                <a:gd name="T8" fmla="*/ 528 w 1084"/>
                <a:gd name="T9" fmla="*/ 964 h 1074"/>
                <a:gd name="T10" fmla="*/ 562 w 1084"/>
                <a:gd name="T11" fmla="*/ 929 h 1074"/>
                <a:gd name="T12" fmla="*/ 592 w 1084"/>
                <a:gd name="T13" fmla="*/ 946 h 1074"/>
                <a:gd name="T14" fmla="*/ 562 w 1084"/>
                <a:gd name="T15" fmla="*/ 999 h 1074"/>
                <a:gd name="T16" fmla="*/ 1059 w 1084"/>
                <a:gd name="T17" fmla="*/ 710 h 1074"/>
                <a:gd name="T18" fmla="*/ 617 w 1084"/>
                <a:gd name="T19" fmla="*/ 868 h 1074"/>
                <a:gd name="T20" fmla="*/ 625 w 1084"/>
                <a:gd name="T21" fmla="*/ 867 h 1074"/>
                <a:gd name="T22" fmla="*/ 967 w 1084"/>
                <a:gd name="T23" fmla="*/ 696 h 1074"/>
                <a:gd name="T24" fmla="*/ 796 w 1084"/>
                <a:gd name="T25" fmla="*/ 355 h 1074"/>
                <a:gd name="T26" fmla="*/ 663 w 1084"/>
                <a:gd name="T27" fmla="*/ 134 h 1074"/>
                <a:gd name="T28" fmla="*/ 518 w 1084"/>
                <a:gd name="T29" fmla="*/ 181 h 1074"/>
                <a:gd name="T30" fmla="*/ 470 w 1084"/>
                <a:gd name="T31" fmla="*/ 203 h 1074"/>
                <a:gd name="T32" fmla="*/ 386 w 1084"/>
                <a:gd name="T33" fmla="*/ 258 h 1074"/>
                <a:gd name="T34" fmla="*/ 462 w 1084"/>
                <a:gd name="T35" fmla="*/ 505 h 1074"/>
                <a:gd name="T36" fmla="*/ 604 w 1084"/>
                <a:gd name="T37" fmla="*/ 859 h 1074"/>
                <a:gd name="T38" fmla="*/ 562 w 1084"/>
                <a:gd name="T39" fmla="*/ 854 h 1074"/>
                <a:gd name="T40" fmla="*/ 216 w 1084"/>
                <a:gd name="T41" fmla="*/ 82 h 1074"/>
                <a:gd name="T42" fmla="*/ 24 w 1084"/>
                <a:gd name="T43" fmla="*/ 3 h 1074"/>
                <a:gd name="T44" fmla="*/ 12 w 1084"/>
                <a:gd name="T45" fmla="*/ 33 h 1074"/>
                <a:gd name="T46" fmla="*/ 522 w 1084"/>
                <a:gd name="T47" fmla="*/ 862 h 1074"/>
                <a:gd name="T48" fmla="*/ 562 w 1084"/>
                <a:gd name="T49" fmla="*/ 1074 h 1074"/>
                <a:gd name="T50" fmla="*/ 665 w 1084"/>
                <a:gd name="T51" fmla="*/ 923 h 1074"/>
                <a:gd name="T52" fmla="*/ 1080 w 1084"/>
                <a:gd name="T53" fmla="*/ 718 h 1074"/>
                <a:gd name="T54" fmla="*/ 724 w 1084"/>
                <a:gd name="T55" fmla="*/ 508 h 1074"/>
                <a:gd name="T56" fmla="*/ 656 w 1084"/>
                <a:gd name="T57" fmla="*/ 508 h 1074"/>
                <a:gd name="T58" fmla="*/ 593 w 1084"/>
                <a:gd name="T59" fmla="*/ 481 h 1074"/>
                <a:gd name="T60" fmla="*/ 692 w 1084"/>
                <a:gd name="T61" fmla="*/ 436 h 1074"/>
                <a:gd name="T62" fmla="*/ 584 w 1084"/>
                <a:gd name="T63" fmla="*/ 239 h 1074"/>
                <a:gd name="T64" fmla="*/ 535 w 1084"/>
                <a:gd name="T65" fmla="*/ 243 h 1074"/>
                <a:gd name="T66" fmla="*/ 498 w 1084"/>
                <a:gd name="T67" fmla="*/ 225 h 1074"/>
                <a:gd name="T68" fmla="*/ 564 w 1084"/>
                <a:gd name="T69" fmla="*/ 195 h 1074"/>
                <a:gd name="T70" fmla="*/ 499 w 1084"/>
                <a:gd name="T71" fmla="*/ 307 h 1074"/>
                <a:gd name="T72" fmla="*/ 514 w 1084"/>
                <a:gd name="T73" fmla="*/ 317 h 1074"/>
                <a:gd name="T74" fmla="*/ 556 w 1084"/>
                <a:gd name="T75" fmla="*/ 269 h 1074"/>
                <a:gd name="T76" fmla="*/ 623 w 1084"/>
                <a:gd name="T77" fmla="*/ 267 h 1074"/>
                <a:gd name="T78" fmla="*/ 593 w 1084"/>
                <a:gd name="T79" fmla="*/ 182 h 1074"/>
                <a:gd name="T80" fmla="*/ 739 w 1084"/>
                <a:gd name="T81" fmla="*/ 380 h 1074"/>
                <a:gd name="T82" fmla="*/ 421 w 1084"/>
                <a:gd name="T83" fmla="*/ 260 h 1074"/>
                <a:gd name="T84" fmla="*/ 490 w 1084"/>
                <a:gd name="T85" fmla="*/ 527 h 1074"/>
                <a:gd name="T86" fmla="*/ 607 w 1084"/>
                <a:gd name="T87" fmla="*/ 592 h 1074"/>
                <a:gd name="T88" fmla="*/ 622 w 1084"/>
                <a:gd name="T89" fmla="*/ 601 h 1074"/>
                <a:gd name="T90" fmla="*/ 677 w 1084"/>
                <a:gd name="T91" fmla="*/ 534 h 1074"/>
                <a:gd name="T92" fmla="*/ 763 w 1084"/>
                <a:gd name="T93" fmla="*/ 537 h 1074"/>
                <a:gd name="T94" fmla="*/ 721 w 1084"/>
                <a:gd name="T95" fmla="*/ 423 h 1074"/>
                <a:gd name="T96" fmla="*/ 931 w 1084"/>
                <a:gd name="T97" fmla="*/ 695 h 1074"/>
                <a:gd name="T98" fmla="*/ 490 w 1084"/>
                <a:gd name="T99" fmla="*/ 527 h 1074"/>
                <a:gd name="T100" fmla="*/ 484 w 1084"/>
                <a:gd name="T101" fmla="*/ 964 h 1074"/>
                <a:gd name="T102" fmla="*/ 547 w 1084"/>
                <a:gd name="T103" fmla="*/ 888 h 1074"/>
                <a:gd name="T104" fmla="*/ 630 w 1084"/>
                <a:gd name="T105" fmla="*/ 926 h 1074"/>
                <a:gd name="T106" fmla="*/ 631 w 1084"/>
                <a:gd name="T107" fmla="*/ 927 h 1074"/>
                <a:gd name="T108" fmla="*/ 562 w 1084"/>
                <a:gd name="T109" fmla="*/ 1042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4" h="1074">
                  <a:moveTo>
                    <a:pt x="616" y="924"/>
                  </a:moveTo>
                  <a:cubicBezTo>
                    <a:pt x="604" y="907"/>
                    <a:pt x="584" y="897"/>
                    <a:pt x="561" y="897"/>
                  </a:cubicBezTo>
                  <a:cubicBezTo>
                    <a:pt x="556" y="897"/>
                    <a:pt x="551" y="898"/>
                    <a:pt x="548" y="899"/>
                  </a:cubicBezTo>
                  <a:cubicBezTo>
                    <a:pt x="518" y="905"/>
                    <a:pt x="496" y="933"/>
                    <a:pt x="496" y="964"/>
                  </a:cubicBezTo>
                  <a:cubicBezTo>
                    <a:pt x="496" y="1001"/>
                    <a:pt x="526" y="1031"/>
                    <a:pt x="562" y="1031"/>
                  </a:cubicBezTo>
                  <a:cubicBezTo>
                    <a:pt x="599" y="1031"/>
                    <a:pt x="629" y="1001"/>
                    <a:pt x="629" y="964"/>
                  </a:cubicBezTo>
                  <a:cubicBezTo>
                    <a:pt x="629" y="951"/>
                    <a:pt x="626" y="939"/>
                    <a:pt x="620" y="930"/>
                  </a:cubicBezTo>
                  <a:cubicBezTo>
                    <a:pt x="618" y="927"/>
                    <a:pt x="617" y="925"/>
                    <a:pt x="616" y="924"/>
                  </a:cubicBezTo>
                  <a:close/>
                  <a:moveTo>
                    <a:pt x="562" y="999"/>
                  </a:moveTo>
                  <a:cubicBezTo>
                    <a:pt x="543" y="999"/>
                    <a:pt x="528" y="983"/>
                    <a:pt x="528" y="964"/>
                  </a:cubicBezTo>
                  <a:cubicBezTo>
                    <a:pt x="528" y="948"/>
                    <a:pt x="539" y="933"/>
                    <a:pt x="555" y="930"/>
                  </a:cubicBezTo>
                  <a:cubicBezTo>
                    <a:pt x="557" y="929"/>
                    <a:pt x="559" y="929"/>
                    <a:pt x="562" y="929"/>
                  </a:cubicBezTo>
                  <a:cubicBezTo>
                    <a:pt x="573" y="929"/>
                    <a:pt x="584" y="934"/>
                    <a:pt x="590" y="944"/>
                  </a:cubicBezTo>
                  <a:cubicBezTo>
                    <a:pt x="592" y="946"/>
                    <a:pt x="592" y="946"/>
                    <a:pt x="592" y="946"/>
                  </a:cubicBezTo>
                  <a:cubicBezTo>
                    <a:pt x="595" y="951"/>
                    <a:pt x="597" y="957"/>
                    <a:pt x="597" y="964"/>
                  </a:cubicBezTo>
                  <a:cubicBezTo>
                    <a:pt x="597" y="983"/>
                    <a:pt x="582" y="999"/>
                    <a:pt x="562" y="999"/>
                  </a:cubicBezTo>
                  <a:close/>
                  <a:moveTo>
                    <a:pt x="1080" y="718"/>
                  </a:moveTo>
                  <a:cubicBezTo>
                    <a:pt x="1077" y="710"/>
                    <a:pt x="1067" y="706"/>
                    <a:pt x="1059" y="710"/>
                  </a:cubicBezTo>
                  <a:cubicBezTo>
                    <a:pt x="648" y="896"/>
                    <a:pt x="648" y="896"/>
                    <a:pt x="648" y="896"/>
                  </a:cubicBezTo>
                  <a:cubicBezTo>
                    <a:pt x="640" y="885"/>
                    <a:pt x="629" y="875"/>
                    <a:pt x="617" y="868"/>
                  </a:cubicBezTo>
                  <a:cubicBezTo>
                    <a:pt x="617" y="869"/>
                    <a:pt x="618" y="869"/>
                    <a:pt x="619" y="869"/>
                  </a:cubicBezTo>
                  <a:cubicBezTo>
                    <a:pt x="621" y="869"/>
                    <a:pt x="623" y="868"/>
                    <a:pt x="625" y="867"/>
                  </a:cubicBezTo>
                  <a:cubicBezTo>
                    <a:pt x="959" y="717"/>
                    <a:pt x="959" y="717"/>
                    <a:pt x="959" y="717"/>
                  </a:cubicBezTo>
                  <a:cubicBezTo>
                    <a:pt x="967" y="714"/>
                    <a:pt x="971" y="704"/>
                    <a:pt x="967" y="696"/>
                  </a:cubicBezTo>
                  <a:cubicBezTo>
                    <a:pt x="817" y="363"/>
                    <a:pt x="817" y="363"/>
                    <a:pt x="817" y="363"/>
                  </a:cubicBezTo>
                  <a:cubicBezTo>
                    <a:pt x="814" y="355"/>
                    <a:pt x="804" y="351"/>
                    <a:pt x="796" y="355"/>
                  </a:cubicBezTo>
                  <a:cubicBezTo>
                    <a:pt x="768" y="367"/>
                    <a:pt x="768" y="367"/>
                    <a:pt x="768" y="367"/>
                  </a:cubicBezTo>
                  <a:cubicBezTo>
                    <a:pt x="663" y="134"/>
                    <a:pt x="663" y="134"/>
                    <a:pt x="663" y="134"/>
                  </a:cubicBezTo>
                  <a:cubicBezTo>
                    <a:pt x="659" y="126"/>
                    <a:pt x="650" y="122"/>
                    <a:pt x="642" y="126"/>
                  </a:cubicBezTo>
                  <a:cubicBezTo>
                    <a:pt x="518" y="181"/>
                    <a:pt x="518" y="181"/>
                    <a:pt x="518" y="181"/>
                  </a:cubicBezTo>
                  <a:cubicBezTo>
                    <a:pt x="470" y="203"/>
                    <a:pt x="470" y="203"/>
                    <a:pt x="470" y="203"/>
                  </a:cubicBezTo>
                  <a:cubicBezTo>
                    <a:pt x="470" y="203"/>
                    <a:pt x="470" y="203"/>
                    <a:pt x="470" y="203"/>
                  </a:cubicBezTo>
                  <a:cubicBezTo>
                    <a:pt x="394" y="237"/>
                    <a:pt x="394" y="237"/>
                    <a:pt x="394" y="237"/>
                  </a:cubicBezTo>
                  <a:cubicBezTo>
                    <a:pt x="386" y="241"/>
                    <a:pt x="382" y="250"/>
                    <a:pt x="386" y="258"/>
                  </a:cubicBezTo>
                  <a:cubicBezTo>
                    <a:pt x="491" y="492"/>
                    <a:pt x="491" y="492"/>
                    <a:pt x="491" y="492"/>
                  </a:cubicBezTo>
                  <a:cubicBezTo>
                    <a:pt x="462" y="505"/>
                    <a:pt x="462" y="505"/>
                    <a:pt x="462" y="505"/>
                  </a:cubicBezTo>
                  <a:cubicBezTo>
                    <a:pt x="454" y="508"/>
                    <a:pt x="451" y="518"/>
                    <a:pt x="454" y="526"/>
                  </a:cubicBezTo>
                  <a:cubicBezTo>
                    <a:pt x="604" y="859"/>
                    <a:pt x="604" y="859"/>
                    <a:pt x="604" y="859"/>
                  </a:cubicBezTo>
                  <a:cubicBezTo>
                    <a:pt x="605" y="861"/>
                    <a:pt x="606" y="863"/>
                    <a:pt x="608" y="864"/>
                  </a:cubicBezTo>
                  <a:cubicBezTo>
                    <a:pt x="594" y="858"/>
                    <a:pt x="578" y="854"/>
                    <a:pt x="562" y="854"/>
                  </a:cubicBezTo>
                  <a:cubicBezTo>
                    <a:pt x="559" y="854"/>
                    <a:pt x="556" y="855"/>
                    <a:pt x="553" y="855"/>
                  </a:cubicBezTo>
                  <a:cubicBezTo>
                    <a:pt x="216" y="82"/>
                    <a:pt x="216" y="82"/>
                    <a:pt x="216" y="82"/>
                  </a:cubicBezTo>
                  <a:cubicBezTo>
                    <a:pt x="215" y="78"/>
                    <a:pt x="211" y="75"/>
                    <a:pt x="207" y="7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5" y="0"/>
                    <a:pt x="6" y="4"/>
                    <a:pt x="3" y="12"/>
                  </a:cubicBezTo>
                  <a:cubicBezTo>
                    <a:pt x="0" y="21"/>
                    <a:pt x="4" y="30"/>
                    <a:pt x="12" y="33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522" y="862"/>
                    <a:pt x="522" y="862"/>
                    <a:pt x="522" y="862"/>
                  </a:cubicBezTo>
                  <a:cubicBezTo>
                    <a:pt x="480" y="879"/>
                    <a:pt x="452" y="918"/>
                    <a:pt x="452" y="964"/>
                  </a:cubicBezTo>
                  <a:cubicBezTo>
                    <a:pt x="452" y="1025"/>
                    <a:pt x="502" y="1074"/>
                    <a:pt x="562" y="1074"/>
                  </a:cubicBezTo>
                  <a:cubicBezTo>
                    <a:pt x="623" y="1074"/>
                    <a:pt x="673" y="1025"/>
                    <a:pt x="673" y="964"/>
                  </a:cubicBezTo>
                  <a:cubicBezTo>
                    <a:pt x="673" y="950"/>
                    <a:pt x="670" y="936"/>
                    <a:pt x="665" y="923"/>
                  </a:cubicBezTo>
                  <a:cubicBezTo>
                    <a:pt x="1073" y="739"/>
                    <a:pt x="1073" y="739"/>
                    <a:pt x="1073" y="739"/>
                  </a:cubicBezTo>
                  <a:cubicBezTo>
                    <a:pt x="1081" y="736"/>
                    <a:pt x="1084" y="726"/>
                    <a:pt x="1080" y="718"/>
                  </a:cubicBezTo>
                  <a:close/>
                  <a:moveTo>
                    <a:pt x="692" y="436"/>
                  </a:moveTo>
                  <a:cubicBezTo>
                    <a:pt x="724" y="508"/>
                    <a:pt x="724" y="508"/>
                    <a:pt x="724" y="508"/>
                  </a:cubicBezTo>
                  <a:cubicBezTo>
                    <a:pt x="671" y="501"/>
                    <a:pt x="671" y="501"/>
                    <a:pt x="671" y="501"/>
                  </a:cubicBezTo>
                  <a:cubicBezTo>
                    <a:pt x="665" y="500"/>
                    <a:pt x="659" y="503"/>
                    <a:pt x="656" y="508"/>
                  </a:cubicBezTo>
                  <a:cubicBezTo>
                    <a:pt x="625" y="553"/>
                    <a:pt x="625" y="553"/>
                    <a:pt x="625" y="553"/>
                  </a:cubicBezTo>
                  <a:cubicBezTo>
                    <a:pt x="593" y="481"/>
                    <a:pt x="593" y="481"/>
                    <a:pt x="593" y="481"/>
                  </a:cubicBezTo>
                  <a:cubicBezTo>
                    <a:pt x="642" y="459"/>
                    <a:pt x="642" y="459"/>
                    <a:pt x="642" y="459"/>
                  </a:cubicBezTo>
                  <a:lnTo>
                    <a:pt x="692" y="436"/>
                  </a:lnTo>
                  <a:close/>
                  <a:moveTo>
                    <a:pt x="564" y="195"/>
                  </a:moveTo>
                  <a:cubicBezTo>
                    <a:pt x="584" y="239"/>
                    <a:pt x="584" y="239"/>
                    <a:pt x="584" y="239"/>
                  </a:cubicBezTo>
                  <a:cubicBezTo>
                    <a:pt x="550" y="236"/>
                    <a:pt x="550" y="236"/>
                    <a:pt x="550" y="236"/>
                  </a:cubicBezTo>
                  <a:cubicBezTo>
                    <a:pt x="544" y="235"/>
                    <a:pt x="538" y="238"/>
                    <a:pt x="535" y="243"/>
                  </a:cubicBezTo>
                  <a:cubicBezTo>
                    <a:pt x="517" y="268"/>
                    <a:pt x="517" y="268"/>
                    <a:pt x="517" y="268"/>
                  </a:cubicBezTo>
                  <a:cubicBezTo>
                    <a:pt x="498" y="225"/>
                    <a:pt x="498" y="225"/>
                    <a:pt x="498" y="225"/>
                  </a:cubicBezTo>
                  <a:cubicBezTo>
                    <a:pt x="531" y="210"/>
                    <a:pt x="531" y="210"/>
                    <a:pt x="531" y="210"/>
                  </a:cubicBezTo>
                  <a:lnTo>
                    <a:pt x="564" y="195"/>
                  </a:lnTo>
                  <a:close/>
                  <a:moveTo>
                    <a:pt x="468" y="239"/>
                  </a:moveTo>
                  <a:cubicBezTo>
                    <a:pt x="499" y="307"/>
                    <a:pt x="499" y="307"/>
                    <a:pt x="499" y="307"/>
                  </a:cubicBezTo>
                  <a:cubicBezTo>
                    <a:pt x="501" y="312"/>
                    <a:pt x="506" y="316"/>
                    <a:pt x="512" y="316"/>
                  </a:cubicBezTo>
                  <a:cubicBezTo>
                    <a:pt x="513" y="316"/>
                    <a:pt x="513" y="317"/>
                    <a:pt x="514" y="317"/>
                  </a:cubicBezTo>
                  <a:cubicBezTo>
                    <a:pt x="519" y="317"/>
                    <a:pt x="524" y="314"/>
                    <a:pt x="527" y="310"/>
                  </a:cubicBezTo>
                  <a:cubicBezTo>
                    <a:pt x="556" y="269"/>
                    <a:pt x="556" y="269"/>
                    <a:pt x="556" y="269"/>
                  </a:cubicBezTo>
                  <a:cubicBezTo>
                    <a:pt x="608" y="273"/>
                    <a:pt x="608" y="273"/>
                    <a:pt x="608" y="273"/>
                  </a:cubicBezTo>
                  <a:cubicBezTo>
                    <a:pt x="614" y="274"/>
                    <a:pt x="619" y="271"/>
                    <a:pt x="623" y="267"/>
                  </a:cubicBezTo>
                  <a:cubicBezTo>
                    <a:pt x="626" y="262"/>
                    <a:pt x="626" y="256"/>
                    <a:pt x="624" y="251"/>
                  </a:cubicBezTo>
                  <a:cubicBezTo>
                    <a:pt x="593" y="182"/>
                    <a:pt x="593" y="182"/>
                    <a:pt x="593" y="182"/>
                  </a:cubicBezTo>
                  <a:cubicBezTo>
                    <a:pt x="640" y="161"/>
                    <a:pt x="640" y="161"/>
                    <a:pt x="640" y="161"/>
                  </a:cubicBezTo>
                  <a:cubicBezTo>
                    <a:pt x="739" y="380"/>
                    <a:pt x="739" y="380"/>
                    <a:pt x="739" y="380"/>
                  </a:cubicBezTo>
                  <a:cubicBezTo>
                    <a:pt x="520" y="478"/>
                    <a:pt x="520" y="478"/>
                    <a:pt x="520" y="478"/>
                  </a:cubicBezTo>
                  <a:cubicBezTo>
                    <a:pt x="421" y="260"/>
                    <a:pt x="421" y="260"/>
                    <a:pt x="421" y="260"/>
                  </a:cubicBezTo>
                  <a:lnTo>
                    <a:pt x="468" y="239"/>
                  </a:lnTo>
                  <a:close/>
                  <a:moveTo>
                    <a:pt x="490" y="527"/>
                  </a:moveTo>
                  <a:cubicBezTo>
                    <a:pt x="563" y="494"/>
                    <a:pt x="563" y="494"/>
                    <a:pt x="563" y="494"/>
                  </a:cubicBezTo>
                  <a:cubicBezTo>
                    <a:pt x="607" y="592"/>
                    <a:pt x="607" y="592"/>
                    <a:pt x="607" y="592"/>
                  </a:cubicBezTo>
                  <a:cubicBezTo>
                    <a:pt x="609" y="597"/>
                    <a:pt x="614" y="600"/>
                    <a:pt x="620" y="601"/>
                  </a:cubicBezTo>
                  <a:cubicBezTo>
                    <a:pt x="621" y="601"/>
                    <a:pt x="621" y="601"/>
                    <a:pt x="622" y="601"/>
                  </a:cubicBezTo>
                  <a:cubicBezTo>
                    <a:pt x="627" y="601"/>
                    <a:pt x="632" y="598"/>
                    <a:pt x="635" y="594"/>
                  </a:cubicBezTo>
                  <a:cubicBezTo>
                    <a:pt x="677" y="534"/>
                    <a:pt x="677" y="534"/>
                    <a:pt x="677" y="534"/>
                  </a:cubicBezTo>
                  <a:cubicBezTo>
                    <a:pt x="748" y="543"/>
                    <a:pt x="748" y="543"/>
                    <a:pt x="748" y="543"/>
                  </a:cubicBezTo>
                  <a:cubicBezTo>
                    <a:pt x="754" y="544"/>
                    <a:pt x="760" y="541"/>
                    <a:pt x="763" y="537"/>
                  </a:cubicBezTo>
                  <a:cubicBezTo>
                    <a:pt x="767" y="532"/>
                    <a:pt x="767" y="526"/>
                    <a:pt x="765" y="521"/>
                  </a:cubicBezTo>
                  <a:cubicBezTo>
                    <a:pt x="721" y="423"/>
                    <a:pt x="721" y="423"/>
                    <a:pt x="721" y="423"/>
                  </a:cubicBezTo>
                  <a:cubicBezTo>
                    <a:pt x="795" y="390"/>
                    <a:pt x="795" y="390"/>
                    <a:pt x="795" y="390"/>
                  </a:cubicBezTo>
                  <a:cubicBezTo>
                    <a:pt x="931" y="695"/>
                    <a:pt x="931" y="695"/>
                    <a:pt x="931" y="695"/>
                  </a:cubicBezTo>
                  <a:cubicBezTo>
                    <a:pt x="627" y="832"/>
                    <a:pt x="627" y="832"/>
                    <a:pt x="627" y="832"/>
                  </a:cubicBezTo>
                  <a:lnTo>
                    <a:pt x="490" y="527"/>
                  </a:lnTo>
                  <a:close/>
                  <a:moveTo>
                    <a:pt x="562" y="1042"/>
                  </a:moveTo>
                  <a:cubicBezTo>
                    <a:pt x="519" y="1042"/>
                    <a:pt x="484" y="1007"/>
                    <a:pt x="484" y="964"/>
                  </a:cubicBezTo>
                  <a:cubicBezTo>
                    <a:pt x="484" y="930"/>
                    <a:pt x="507" y="900"/>
                    <a:pt x="539" y="890"/>
                  </a:cubicBezTo>
                  <a:cubicBezTo>
                    <a:pt x="542" y="889"/>
                    <a:pt x="544" y="888"/>
                    <a:pt x="547" y="888"/>
                  </a:cubicBezTo>
                  <a:cubicBezTo>
                    <a:pt x="552" y="886"/>
                    <a:pt x="557" y="886"/>
                    <a:pt x="562" y="886"/>
                  </a:cubicBezTo>
                  <a:cubicBezTo>
                    <a:pt x="590" y="886"/>
                    <a:pt x="615" y="900"/>
                    <a:pt x="630" y="926"/>
                  </a:cubicBezTo>
                  <a:cubicBezTo>
                    <a:pt x="630" y="926"/>
                    <a:pt x="631" y="926"/>
                    <a:pt x="631" y="926"/>
                  </a:cubicBezTo>
                  <a:cubicBezTo>
                    <a:pt x="631" y="927"/>
                    <a:pt x="631" y="927"/>
                    <a:pt x="631" y="927"/>
                  </a:cubicBezTo>
                  <a:cubicBezTo>
                    <a:pt x="637" y="938"/>
                    <a:pt x="641" y="951"/>
                    <a:pt x="641" y="964"/>
                  </a:cubicBezTo>
                  <a:cubicBezTo>
                    <a:pt x="641" y="1007"/>
                    <a:pt x="606" y="1042"/>
                    <a:pt x="562" y="104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8" name="Freeform 31"/>
            <p:cNvSpPr>
              <a:spLocks noEditPoints="1"/>
            </p:cNvSpPr>
            <p:nvPr/>
          </p:nvSpPr>
          <p:spPr bwMode="auto">
            <a:xfrm>
              <a:off x="4388469" y="2815620"/>
              <a:ext cx="367064" cy="288310"/>
            </a:xfrm>
            <a:custGeom>
              <a:avLst/>
              <a:gdLst>
                <a:gd name="T0" fmla="*/ 167 w 1306"/>
                <a:gd name="T1" fmla="*/ 690 h 1024"/>
                <a:gd name="T2" fmla="*/ 167 w 1306"/>
                <a:gd name="T3" fmla="*/ 1024 h 1024"/>
                <a:gd name="T4" fmla="*/ 1306 w 1306"/>
                <a:gd name="T5" fmla="*/ 857 h 1024"/>
                <a:gd name="T6" fmla="*/ 1139 w 1306"/>
                <a:gd name="T7" fmla="*/ 989 h 1024"/>
                <a:gd name="T8" fmla="*/ 34 w 1306"/>
                <a:gd name="T9" fmla="*/ 857 h 1024"/>
                <a:gd name="T10" fmla="*/ 1139 w 1306"/>
                <a:gd name="T11" fmla="*/ 724 h 1024"/>
                <a:gd name="T12" fmla="*/ 1139 w 1306"/>
                <a:gd name="T13" fmla="*/ 989 h 1024"/>
                <a:gd name="T14" fmla="*/ 112 w 1306"/>
                <a:gd name="T15" fmla="*/ 857 h 1024"/>
                <a:gd name="T16" fmla="*/ 296 w 1306"/>
                <a:gd name="T17" fmla="*/ 857 h 1024"/>
                <a:gd name="T18" fmla="*/ 204 w 1306"/>
                <a:gd name="T19" fmla="*/ 915 h 1024"/>
                <a:gd name="T20" fmla="*/ 204 w 1306"/>
                <a:gd name="T21" fmla="*/ 799 h 1024"/>
                <a:gd name="T22" fmla="*/ 204 w 1306"/>
                <a:gd name="T23" fmla="*/ 915 h 1024"/>
                <a:gd name="T24" fmla="*/ 337 w 1306"/>
                <a:gd name="T25" fmla="*/ 857 h 1024"/>
                <a:gd name="T26" fmla="*/ 520 w 1306"/>
                <a:gd name="T27" fmla="*/ 857 h 1024"/>
                <a:gd name="T28" fmla="*/ 429 w 1306"/>
                <a:gd name="T29" fmla="*/ 915 h 1024"/>
                <a:gd name="T30" fmla="*/ 429 w 1306"/>
                <a:gd name="T31" fmla="*/ 799 h 1024"/>
                <a:gd name="T32" fmla="*/ 429 w 1306"/>
                <a:gd name="T33" fmla="*/ 915 h 1024"/>
                <a:gd name="T34" fmla="*/ 561 w 1306"/>
                <a:gd name="T35" fmla="*/ 857 h 1024"/>
                <a:gd name="T36" fmla="*/ 745 w 1306"/>
                <a:gd name="T37" fmla="*/ 857 h 1024"/>
                <a:gd name="T38" fmla="*/ 653 w 1306"/>
                <a:gd name="T39" fmla="*/ 915 h 1024"/>
                <a:gd name="T40" fmla="*/ 653 w 1306"/>
                <a:gd name="T41" fmla="*/ 799 h 1024"/>
                <a:gd name="T42" fmla="*/ 653 w 1306"/>
                <a:gd name="T43" fmla="*/ 915 h 1024"/>
                <a:gd name="T44" fmla="*/ 785 w 1306"/>
                <a:gd name="T45" fmla="*/ 857 h 1024"/>
                <a:gd name="T46" fmla="*/ 969 w 1306"/>
                <a:gd name="T47" fmla="*/ 857 h 1024"/>
                <a:gd name="T48" fmla="*/ 877 w 1306"/>
                <a:gd name="T49" fmla="*/ 915 h 1024"/>
                <a:gd name="T50" fmla="*/ 877 w 1306"/>
                <a:gd name="T51" fmla="*/ 799 h 1024"/>
                <a:gd name="T52" fmla="*/ 877 w 1306"/>
                <a:gd name="T53" fmla="*/ 915 h 1024"/>
                <a:gd name="T54" fmla="*/ 1010 w 1306"/>
                <a:gd name="T55" fmla="*/ 857 h 1024"/>
                <a:gd name="T56" fmla="*/ 1194 w 1306"/>
                <a:gd name="T57" fmla="*/ 857 h 1024"/>
                <a:gd name="T58" fmla="*/ 1102 w 1306"/>
                <a:gd name="T59" fmla="*/ 915 h 1024"/>
                <a:gd name="T60" fmla="*/ 1102 w 1306"/>
                <a:gd name="T61" fmla="*/ 799 h 1024"/>
                <a:gd name="T62" fmla="*/ 1102 w 1306"/>
                <a:gd name="T63" fmla="*/ 915 h 1024"/>
                <a:gd name="T64" fmla="*/ 1019 w 1306"/>
                <a:gd name="T65" fmla="*/ 633 h 1024"/>
                <a:gd name="T66" fmla="*/ 1036 w 1306"/>
                <a:gd name="T67" fmla="*/ 17 h 1024"/>
                <a:gd name="T68" fmla="*/ 753 w 1306"/>
                <a:gd name="T69" fmla="*/ 0 h 1024"/>
                <a:gd name="T70" fmla="*/ 287 w 1306"/>
                <a:gd name="T71" fmla="*/ 0 h 1024"/>
                <a:gd name="T72" fmla="*/ 270 w 1306"/>
                <a:gd name="T73" fmla="*/ 616 h 1024"/>
                <a:gd name="T74" fmla="*/ 736 w 1306"/>
                <a:gd name="T75" fmla="*/ 34 h 1024"/>
                <a:gd name="T76" fmla="*/ 663 w 1306"/>
                <a:gd name="T77" fmla="*/ 103 h 1024"/>
                <a:gd name="T78" fmla="*/ 650 w 1306"/>
                <a:gd name="T79" fmla="*/ 98 h 1024"/>
                <a:gd name="T80" fmla="*/ 570 w 1306"/>
                <a:gd name="T81" fmla="*/ 174 h 1024"/>
                <a:gd name="T82" fmla="*/ 736 w 1306"/>
                <a:gd name="T83" fmla="*/ 34 h 1024"/>
                <a:gd name="T84" fmla="*/ 536 w 1306"/>
                <a:gd name="T85" fmla="*/ 34 h 1024"/>
                <a:gd name="T86" fmla="*/ 547 w 1306"/>
                <a:gd name="T87" fmla="*/ 232 h 1024"/>
                <a:gd name="T88" fmla="*/ 565 w 1306"/>
                <a:gd name="T89" fmla="*/ 228 h 1024"/>
                <a:gd name="T90" fmla="*/ 741 w 1306"/>
                <a:gd name="T91" fmla="*/ 229 h 1024"/>
                <a:gd name="T92" fmla="*/ 770 w 1306"/>
                <a:gd name="T93" fmla="*/ 216 h 1024"/>
                <a:gd name="T94" fmla="*/ 1002 w 1306"/>
                <a:gd name="T95" fmla="*/ 34 h 1024"/>
                <a:gd name="T96" fmla="*/ 304 w 1306"/>
                <a:gd name="T97" fmla="*/ 599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6" h="1024">
                  <a:moveTo>
                    <a:pt x="1139" y="690"/>
                  </a:moveTo>
                  <a:cubicBezTo>
                    <a:pt x="167" y="690"/>
                    <a:pt x="167" y="690"/>
                    <a:pt x="167" y="690"/>
                  </a:cubicBezTo>
                  <a:cubicBezTo>
                    <a:pt x="75" y="690"/>
                    <a:pt x="0" y="765"/>
                    <a:pt x="0" y="857"/>
                  </a:cubicBezTo>
                  <a:cubicBezTo>
                    <a:pt x="0" y="949"/>
                    <a:pt x="75" y="1024"/>
                    <a:pt x="167" y="1024"/>
                  </a:cubicBezTo>
                  <a:cubicBezTo>
                    <a:pt x="1139" y="1024"/>
                    <a:pt x="1139" y="1024"/>
                    <a:pt x="1139" y="1024"/>
                  </a:cubicBezTo>
                  <a:cubicBezTo>
                    <a:pt x="1231" y="1024"/>
                    <a:pt x="1306" y="949"/>
                    <a:pt x="1306" y="857"/>
                  </a:cubicBezTo>
                  <a:cubicBezTo>
                    <a:pt x="1306" y="765"/>
                    <a:pt x="1231" y="690"/>
                    <a:pt x="1139" y="690"/>
                  </a:cubicBezTo>
                  <a:close/>
                  <a:moveTo>
                    <a:pt x="1139" y="989"/>
                  </a:moveTo>
                  <a:cubicBezTo>
                    <a:pt x="167" y="989"/>
                    <a:pt x="167" y="989"/>
                    <a:pt x="167" y="989"/>
                  </a:cubicBezTo>
                  <a:cubicBezTo>
                    <a:pt x="94" y="989"/>
                    <a:pt x="34" y="930"/>
                    <a:pt x="34" y="857"/>
                  </a:cubicBezTo>
                  <a:cubicBezTo>
                    <a:pt x="34" y="784"/>
                    <a:pt x="94" y="724"/>
                    <a:pt x="167" y="724"/>
                  </a:cubicBezTo>
                  <a:cubicBezTo>
                    <a:pt x="1139" y="724"/>
                    <a:pt x="1139" y="724"/>
                    <a:pt x="1139" y="724"/>
                  </a:cubicBezTo>
                  <a:cubicBezTo>
                    <a:pt x="1212" y="724"/>
                    <a:pt x="1272" y="784"/>
                    <a:pt x="1272" y="857"/>
                  </a:cubicBezTo>
                  <a:cubicBezTo>
                    <a:pt x="1272" y="930"/>
                    <a:pt x="1212" y="989"/>
                    <a:pt x="1139" y="989"/>
                  </a:cubicBezTo>
                  <a:close/>
                  <a:moveTo>
                    <a:pt x="204" y="765"/>
                  </a:moveTo>
                  <a:cubicBezTo>
                    <a:pt x="153" y="765"/>
                    <a:pt x="112" y="806"/>
                    <a:pt x="112" y="857"/>
                  </a:cubicBezTo>
                  <a:cubicBezTo>
                    <a:pt x="112" y="908"/>
                    <a:pt x="153" y="949"/>
                    <a:pt x="204" y="949"/>
                  </a:cubicBezTo>
                  <a:cubicBezTo>
                    <a:pt x="255" y="949"/>
                    <a:pt x="296" y="908"/>
                    <a:pt x="296" y="857"/>
                  </a:cubicBezTo>
                  <a:cubicBezTo>
                    <a:pt x="296" y="806"/>
                    <a:pt x="255" y="765"/>
                    <a:pt x="204" y="765"/>
                  </a:cubicBezTo>
                  <a:close/>
                  <a:moveTo>
                    <a:pt x="204" y="915"/>
                  </a:moveTo>
                  <a:cubicBezTo>
                    <a:pt x="172" y="915"/>
                    <a:pt x="146" y="889"/>
                    <a:pt x="146" y="857"/>
                  </a:cubicBezTo>
                  <a:cubicBezTo>
                    <a:pt x="146" y="825"/>
                    <a:pt x="172" y="799"/>
                    <a:pt x="204" y="799"/>
                  </a:cubicBezTo>
                  <a:cubicBezTo>
                    <a:pt x="236" y="799"/>
                    <a:pt x="262" y="825"/>
                    <a:pt x="262" y="857"/>
                  </a:cubicBezTo>
                  <a:cubicBezTo>
                    <a:pt x="262" y="889"/>
                    <a:pt x="236" y="915"/>
                    <a:pt x="204" y="915"/>
                  </a:cubicBezTo>
                  <a:close/>
                  <a:moveTo>
                    <a:pt x="429" y="765"/>
                  </a:moveTo>
                  <a:cubicBezTo>
                    <a:pt x="378" y="765"/>
                    <a:pt x="337" y="806"/>
                    <a:pt x="337" y="857"/>
                  </a:cubicBezTo>
                  <a:cubicBezTo>
                    <a:pt x="337" y="908"/>
                    <a:pt x="378" y="949"/>
                    <a:pt x="429" y="949"/>
                  </a:cubicBezTo>
                  <a:cubicBezTo>
                    <a:pt x="479" y="949"/>
                    <a:pt x="520" y="908"/>
                    <a:pt x="520" y="857"/>
                  </a:cubicBezTo>
                  <a:cubicBezTo>
                    <a:pt x="520" y="806"/>
                    <a:pt x="479" y="765"/>
                    <a:pt x="429" y="765"/>
                  </a:cubicBezTo>
                  <a:close/>
                  <a:moveTo>
                    <a:pt x="429" y="915"/>
                  </a:moveTo>
                  <a:cubicBezTo>
                    <a:pt x="397" y="915"/>
                    <a:pt x="371" y="889"/>
                    <a:pt x="371" y="857"/>
                  </a:cubicBezTo>
                  <a:cubicBezTo>
                    <a:pt x="371" y="825"/>
                    <a:pt x="397" y="799"/>
                    <a:pt x="429" y="799"/>
                  </a:cubicBezTo>
                  <a:cubicBezTo>
                    <a:pt x="460" y="799"/>
                    <a:pt x="486" y="825"/>
                    <a:pt x="486" y="857"/>
                  </a:cubicBezTo>
                  <a:cubicBezTo>
                    <a:pt x="486" y="889"/>
                    <a:pt x="460" y="915"/>
                    <a:pt x="429" y="915"/>
                  </a:cubicBezTo>
                  <a:close/>
                  <a:moveTo>
                    <a:pt x="653" y="765"/>
                  </a:moveTo>
                  <a:cubicBezTo>
                    <a:pt x="602" y="765"/>
                    <a:pt x="561" y="806"/>
                    <a:pt x="561" y="857"/>
                  </a:cubicBezTo>
                  <a:cubicBezTo>
                    <a:pt x="561" y="908"/>
                    <a:pt x="602" y="949"/>
                    <a:pt x="653" y="949"/>
                  </a:cubicBezTo>
                  <a:cubicBezTo>
                    <a:pt x="704" y="949"/>
                    <a:pt x="745" y="908"/>
                    <a:pt x="745" y="857"/>
                  </a:cubicBezTo>
                  <a:cubicBezTo>
                    <a:pt x="745" y="806"/>
                    <a:pt x="704" y="765"/>
                    <a:pt x="653" y="765"/>
                  </a:cubicBezTo>
                  <a:close/>
                  <a:moveTo>
                    <a:pt x="653" y="915"/>
                  </a:moveTo>
                  <a:cubicBezTo>
                    <a:pt x="621" y="915"/>
                    <a:pt x="595" y="889"/>
                    <a:pt x="595" y="857"/>
                  </a:cubicBezTo>
                  <a:cubicBezTo>
                    <a:pt x="595" y="825"/>
                    <a:pt x="621" y="799"/>
                    <a:pt x="653" y="799"/>
                  </a:cubicBezTo>
                  <a:cubicBezTo>
                    <a:pt x="685" y="799"/>
                    <a:pt x="711" y="825"/>
                    <a:pt x="711" y="857"/>
                  </a:cubicBezTo>
                  <a:cubicBezTo>
                    <a:pt x="711" y="889"/>
                    <a:pt x="685" y="915"/>
                    <a:pt x="653" y="915"/>
                  </a:cubicBezTo>
                  <a:close/>
                  <a:moveTo>
                    <a:pt x="877" y="765"/>
                  </a:moveTo>
                  <a:cubicBezTo>
                    <a:pt x="827" y="765"/>
                    <a:pt x="785" y="806"/>
                    <a:pt x="785" y="857"/>
                  </a:cubicBezTo>
                  <a:cubicBezTo>
                    <a:pt x="785" y="908"/>
                    <a:pt x="827" y="949"/>
                    <a:pt x="877" y="949"/>
                  </a:cubicBezTo>
                  <a:cubicBezTo>
                    <a:pt x="928" y="949"/>
                    <a:pt x="969" y="908"/>
                    <a:pt x="969" y="857"/>
                  </a:cubicBezTo>
                  <a:cubicBezTo>
                    <a:pt x="969" y="806"/>
                    <a:pt x="928" y="765"/>
                    <a:pt x="877" y="765"/>
                  </a:cubicBezTo>
                  <a:close/>
                  <a:moveTo>
                    <a:pt x="877" y="915"/>
                  </a:moveTo>
                  <a:cubicBezTo>
                    <a:pt x="846" y="915"/>
                    <a:pt x="820" y="889"/>
                    <a:pt x="820" y="857"/>
                  </a:cubicBezTo>
                  <a:cubicBezTo>
                    <a:pt x="820" y="825"/>
                    <a:pt x="846" y="799"/>
                    <a:pt x="877" y="799"/>
                  </a:cubicBezTo>
                  <a:cubicBezTo>
                    <a:pt x="909" y="799"/>
                    <a:pt x="935" y="825"/>
                    <a:pt x="935" y="857"/>
                  </a:cubicBezTo>
                  <a:cubicBezTo>
                    <a:pt x="935" y="889"/>
                    <a:pt x="909" y="915"/>
                    <a:pt x="877" y="915"/>
                  </a:cubicBezTo>
                  <a:close/>
                  <a:moveTo>
                    <a:pt x="1102" y="765"/>
                  </a:moveTo>
                  <a:cubicBezTo>
                    <a:pt x="1051" y="765"/>
                    <a:pt x="1010" y="806"/>
                    <a:pt x="1010" y="857"/>
                  </a:cubicBezTo>
                  <a:cubicBezTo>
                    <a:pt x="1010" y="908"/>
                    <a:pt x="1051" y="949"/>
                    <a:pt x="1102" y="949"/>
                  </a:cubicBezTo>
                  <a:cubicBezTo>
                    <a:pt x="1152" y="949"/>
                    <a:pt x="1194" y="908"/>
                    <a:pt x="1194" y="857"/>
                  </a:cubicBezTo>
                  <a:cubicBezTo>
                    <a:pt x="1194" y="806"/>
                    <a:pt x="1152" y="765"/>
                    <a:pt x="1102" y="765"/>
                  </a:cubicBezTo>
                  <a:close/>
                  <a:moveTo>
                    <a:pt x="1102" y="915"/>
                  </a:moveTo>
                  <a:cubicBezTo>
                    <a:pt x="1070" y="915"/>
                    <a:pt x="1044" y="889"/>
                    <a:pt x="1044" y="857"/>
                  </a:cubicBezTo>
                  <a:cubicBezTo>
                    <a:pt x="1044" y="825"/>
                    <a:pt x="1070" y="799"/>
                    <a:pt x="1102" y="799"/>
                  </a:cubicBezTo>
                  <a:cubicBezTo>
                    <a:pt x="1133" y="799"/>
                    <a:pt x="1159" y="825"/>
                    <a:pt x="1159" y="857"/>
                  </a:cubicBezTo>
                  <a:cubicBezTo>
                    <a:pt x="1159" y="889"/>
                    <a:pt x="1133" y="915"/>
                    <a:pt x="1102" y="915"/>
                  </a:cubicBezTo>
                  <a:close/>
                  <a:moveTo>
                    <a:pt x="287" y="633"/>
                  </a:moveTo>
                  <a:cubicBezTo>
                    <a:pt x="1019" y="633"/>
                    <a:pt x="1019" y="633"/>
                    <a:pt x="1019" y="633"/>
                  </a:cubicBezTo>
                  <a:cubicBezTo>
                    <a:pt x="1028" y="633"/>
                    <a:pt x="1036" y="625"/>
                    <a:pt x="1036" y="616"/>
                  </a:cubicBezTo>
                  <a:cubicBezTo>
                    <a:pt x="1036" y="17"/>
                    <a:pt x="1036" y="17"/>
                    <a:pt x="1036" y="17"/>
                  </a:cubicBezTo>
                  <a:cubicBezTo>
                    <a:pt x="1036" y="7"/>
                    <a:pt x="1028" y="0"/>
                    <a:pt x="1019" y="0"/>
                  </a:cubicBezTo>
                  <a:cubicBezTo>
                    <a:pt x="753" y="0"/>
                    <a:pt x="753" y="0"/>
                    <a:pt x="753" y="0"/>
                  </a:cubicBezTo>
                  <a:cubicBezTo>
                    <a:pt x="553" y="0"/>
                    <a:pt x="553" y="0"/>
                    <a:pt x="553" y="0"/>
                  </a:cubicBezTo>
                  <a:cubicBezTo>
                    <a:pt x="287" y="0"/>
                    <a:pt x="287" y="0"/>
                    <a:pt x="287" y="0"/>
                  </a:cubicBezTo>
                  <a:cubicBezTo>
                    <a:pt x="277" y="0"/>
                    <a:pt x="270" y="7"/>
                    <a:pt x="270" y="17"/>
                  </a:cubicBezTo>
                  <a:cubicBezTo>
                    <a:pt x="270" y="616"/>
                    <a:pt x="270" y="616"/>
                    <a:pt x="270" y="616"/>
                  </a:cubicBezTo>
                  <a:cubicBezTo>
                    <a:pt x="270" y="625"/>
                    <a:pt x="277" y="633"/>
                    <a:pt x="287" y="633"/>
                  </a:cubicBezTo>
                  <a:close/>
                  <a:moveTo>
                    <a:pt x="736" y="34"/>
                  </a:moveTo>
                  <a:cubicBezTo>
                    <a:pt x="736" y="175"/>
                    <a:pt x="736" y="175"/>
                    <a:pt x="736" y="175"/>
                  </a:cubicBezTo>
                  <a:cubicBezTo>
                    <a:pt x="663" y="103"/>
                    <a:pt x="663" y="103"/>
                    <a:pt x="663" y="103"/>
                  </a:cubicBezTo>
                  <a:cubicBezTo>
                    <a:pt x="659" y="99"/>
                    <a:pt x="655" y="98"/>
                    <a:pt x="651" y="98"/>
                  </a:cubicBezTo>
                  <a:cubicBezTo>
                    <a:pt x="651" y="98"/>
                    <a:pt x="650" y="98"/>
                    <a:pt x="650" y="98"/>
                  </a:cubicBezTo>
                  <a:cubicBezTo>
                    <a:pt x="646" y="98"/>
                    <a:pt x="641" y="100"/>
                    <a:pt x="638" y="103"/>
                  </a:cubicBezTo>
                  <a:cubicBezTo>
                    <a:pt x="570" y="174"/>
                    <a:pt x="570" y="174"/>
                    <a:pt x="570" y="174"/>
                  </a:cubicBezTo>
                  <a:cubicBezTo>
                    <a:pt x="570" y="34"/>
                    <a:pt x="570" y="34"/>
                    <a:pt x="570" y="34"/>
                  </a:cubicBezTo>
                  <a:lnTo>
                    <a:pt x="736" y="34"/>
                  </a:lnTo>
                  <a:close/>
                  <a:moveTo>
                    <a:pt x="304" y="34"/>
                  </a:moveTo>
                  <a:cubicBezTo>
                    <a:pt x="536" y="34"/>
                    <a:pt x="536" y="34"/>
                    <a:pt x="536" y="34"/>
                  </a:cubicBezTo>
                  <a:cubicBezTo>
                    <a:pt x="536" y="216"/>
                    <a:pt x="536" y="216"/>
                    <a:pt x="536" y="216"/>
                  </a:cubicBezTo>
                  <a:cubicBezTo>
                    <a:pt x="536" y="223"/>
                    <a:pt x="540" y="230"/>
                    <a:pt x="547" y="232"/>
                  </a:cubicBezTo>
                  <a:cubicBezTo>
                    <a:pt x="549" y="233"/>
                    <a:pt x="551" y="234"/>
                    <a:pt x="553" y="234"/>
                  </a:cubicBezTo>
                  <a:cubicBezTo>
                    <a:pt x="558" y="234"/>
                    <a:pt x="562" y="232"/>
                    <a:pt x="565" y="228"/>
                  </a:cubicBezTo>
                  <a:cubicBezTo>
                    <a:pt x="651" y="139"/>
                    <a:pt x="651" y="139"/>
                    <a:pt x="651" y="139"/>
                  </a:cubicBezTo>
                  <a:cubicBezTo>
                    <a:pt x="741" y="229"/>
                    <a:pt x="741" y="229"/>
                    <a:pt x="741" y="229"/>
                  </a:cubicBezTo>
                  <a:cubicBezTo>
                    <a:pt x="746" y="234"/>
                    <a:pt x="753" y="235"/>
                    <a:pt x="759" y="232"/>
                  </a:cubicBezTo>
                  <a:cubicBezTo>
                    <a:pt x="766" y="230"/>
                    <a:pt x="770" y="223"/>
                    <a:pt x="770" y="216"/>
                  </a:cubicBezTo>
                  <a:cubicBezTo>
                    <a:pt x="770" y="34"/>
                    <a:pt x="770" y="34"/>
                    <a:pt x="770" y="34"/>
                  </a:cubicBezTo>
                  <a:cubicBezTo>
                    <a:pt x="1002" y="34"/>
                    <a:pt x="1002" y="34"/>
                    <a:pt x="1002" y="34"/>
                  </a:cubicBezTo>
                  <a:cubicBezTo>
                    <a:pt x="1002" y="599"/>
                    <a:pt x="1002" y="599"/>
                    <a:pt x="1002" y="599"/>
                  </a:cubicBezTo>
                  <a:cubicBezTo>
                    <a:pt x="304" y="599"/>
                    <a:pt x="304" y="599"/>
                    <a:pt x="304" y="599"/>
                  </a:cubicBezTo>
                  <a:lnTo>
                    <a:pt x="304" y="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29" name="Freeform 32"/>
            <p:cNvSpPr>
              <a:spLocks noEditPoints="1"/>
            </p:cNvSpPr>
            <p:nvPr/>
          </p:nvSpPr>
          <p:spPr bwMode="auto">
            <a:xfrm>
              <a:off x="1710953" y="2798701"/>
              <a:ext cx="220812" cy="389878"/>
            </a:xfrm>
            <a:custGeom>
              <a:avLst/>
              <a:gdLst>
                <a:gd name="T0" fmla="*/ 109 w 783"/>
                <a:gd name="T1" fmla="*/ 0 h 1381"/>
                <a:gd name="T2" fmla="*/ 0 w 783"/>
                <a:gd name="T3" fmla="*/ 316 h 1381"/>
                <a:gd name="T4" fmla="*/ 2 w 783"/>
                <a:gd name="T5" fmla="*/ 1072 h 1381"/>
                <a:gd name="T6" fmla="*/ 152 w 783"/>
                <a:gd name="T7" fmla="*/ 1371 h 1381"/>
                <a:gd name="T8" fmla="*/ 182 w 783"/>
                <a:gd name="T9" fmla="*/ 1371 h 1381"/>
                <a:gd name="T10" fmla="*/ 251 w 783"/>
                <a:gd name="T11" fmla="*/ 1235 h 1381"/>
                <a:gd name="T12" fmla="*/ 332 w 783"/>
                <a:gd name="T13" fmla="*/ 1072 h 1381"/>
                <a:gd name="T14" fmla="*/ 334 w 783"/>
                <a:gd name="T15" fmla="*/ 316 h 1381"/>
                <a:gd name="T16" fmla="*/ 225 w 783"/>
                <a:gd name="T17" fmla="*/ 0 h 1381"/>
                <a:gd name="T18" fmla="*/ 121 w 783"/>
                <a:gd name="T19" fmla="*/ 333 h 1381"/>
                <a:gd name="T20" fmla="*/ 213 w 783"/>
                <a:gd name="T21" fmla="*/ 1047 h 1381"/>
                <a:gd name="T22" fmla="*/ 35 w 783"/>
                <a:gd name="T23" fmla="*/ 1047 h 1381"/>
                <a:gd name="T24" fmla="*/ 87 w 783"/>
                <a:gd name="T25" fmla="*/ 333 h 1381"/>
                <a:gd name="T26" fmla="*/ 35 w 783"/>
                <a:gd name="T27" fmla="*/ 1047 h 1381"/>
                <a:gd name="T28" fmla="*/ 35 w 783"/>
                <a:gd name="T29" fmla="*/ 230 h 1381"/>
                <a:gd name="T30" fmla="*/ 300 w 783"/>
                <a:gd name="T31" fmla="*/ 299 h 1381"/>
                <a:gd name="T32" fmla="*/ 248 w 783"/>
                <a:gd name="T33" fmla="*/ 333 h 1381"/>
                <a:gd name="T34" fmla="*/ 300 w 783"/>
                <a:gd name="T35" fmla="*/ 1047 h 1381"/>
                <a:gd name="T36" fmla="*/ 248 w 783"/>
                <a:gd name="T37" fmla="*/ 333 h 1381"/>
                <a:gd name="T38" fmla="*/ 225 w 783"/>
                <a:gd name="T39" fmla="*/ 34 h 1381"/>
                <a:gd name="T40" fmla="*/ 300 w 783"/>
                <a:gd name="T41" fmla="*/ 195 h 1381"/>
                <a:gd name="T42" fmla="*/ 35 w 783"/>
                <a:gd name="T43" fmla="*/ 109 h 1381"/>
                <a:gd name="T44" fmla="*/ 167 w 783"/>
                <a:gd name="T45" fmla="*/ 1325 h 1381"/>
                <a:gd name="T46" fmla="*/ 207 w 783"/>
                <a:gd name="T47" fmla="*/ 1246 h 1381"/>
                <a:gd name="T48" fmla="*/ 224 w 783"/>
                <a:gd name="T49" fmla="*/ 1212 h 1381"/>
                <a:gd name="T50" fmla="*/ 45 w 783"/>
                <a:gd name="T51" fmla="*/ 1081 h 1381"/>
                <a:gd name="T52" fmla="*/ 224 w 783"/>
                <a:gd name="T53" fmla="*/ 1212 h 1381"/>
                <a:gd name="T54" fmla="*/ 449 w 783"/>
                <a:gd name="T55" fmla="*/ 1381 h 1381"/>
                <a:gd name="T56" fmla="*/ 783 w 783"/>
                <a:gd name="T57" fmla="*/ 0 h 1381"/>
                <a:gd name="T58" fmla="*/ 748 w 783"/>
                <a:gd name="T59" fmla="*/ 1346 h 1381"/>
                <a:gd name="T60" fmla="*/ 483 w 783"/>
                <a:gd name="T61" fmla="*/ 1306 h 1381"/>
                <a:gd name="T62" fmla="*/ 616 w 783"/>
                <a:gd name="T63" fmla="*/ 1272 h 1381"/>
                <a:gd name="T64" fmla="*/ 483 w 783"/>
                <a:gd name="T65" fmla="*/ 1166 h 1381"/>
                <a:gd name="T66" fmla="*/ 570 w 783"/>
                <a:gd name="T67" fmla="*/ 1131 h 1381"/>
                <a:gd name="T68" fmla="*/ 483 w 783"/>
                <a:gd name="T69" fmla="*/ 1025 h 1381"/>
                <a:gd name="T70" fmla="*/ 616 w 783"/>
                <a:gd name="T71" fmla="*/ 991 h 1381"/>
                <a:gd name="T72" fmla="*/ 483 w 783"/>
                <a:gd name="T73" fmla="*/ 885 h 1381"/>
                <a:gd name="T74" fmla="*/ 570 w 783"/>
                <a:gd name="T75" fmla="*/ 851 h 1381"/>
                <a:gd name="T76" fmla="*/ 483 w 783"/>
                <a:gd name="T77" fmla="*/ 745 h 1381"/>
                <a:gd name="T78" fmla="*/ 616 w 783"/>
                <a:gd name="T79" fmla="*/ 711 h 1381"/>
                <a:gd name="T80" fmla="*/ 483 w 783"/>
                <a:gd name="T81" fmla="*/ 605 h 1381"/>
                <a:gd name="T82" fmla="*/ 570 w 783"/>
                <a:gd name="T83" fmla="*/ 570 h 1381"/>
                <a:gd name="T84" fmla="*/ 483 w 783"/>
                <a:gd name="T85" fmla="*/ 464 h 1381"/>
                <a:gd name="T86" fmla="*/ 616 w 783"/>
                <a:gd name="T87" fmla="*/ 430 h 1381"/>
                <a:gd name="T88" fmla="*/ 483 w 783"/>
                <a:gd name="T89" fmla="*/ 324 h 1381"/>
                <a:gd name="T90" fmla="*/ 570 w 783"/>
                <a:gd name="T91" fmla="*/ 290 h 1381"/>
                <a:gd name="T92" fmla="*/ 483 w 783"/>
                <a:gd name="T93" fmla="*/ 184 h 1381"/>
                <a:gd name="T94" fmla="*/ 616 w 783"/>
                <a:gd name="T95" fmla="*/ 150 h 1381"/>
                <a:gd name="T96" fmla="*/ 483 w 783"/>
                <a:gd name="T97" fmla="*/ 34 h 1381"/>
                <a:gd name="T98" fmla="*/ 748 w 783"/>
                <a:gd name="T99" fmla="*/ 1346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83" h="1381">
                  <a:moveTo>
                    <a:pt x="225" y="0"/>
                  </a:moveTo>
                  <a:cubicBezTo>
                    <a:pt x="109" y="0"/>
                    <a:pt x="109" y="0"/>
                    <a:pt x="109" y="0"/>
                  </a:cubicBezTo>
                  <a:cubicBezTo>
                    <a:pt x="49" y="0"/>
                    <a:pt x="0" y="49"/>
                    <a:pt x="0" y="109"/>
                  </a:cubicBezTo>
                  <a:cubicBezTo>
                    <a:pt x="0" y="316"/>
                    <a:pt x="0" y="316"/>
                    <a:pt x="0" y="316"/>
                  </a:cubicBezTo>
                  <a:cubicBezTo>
                    <a:pt x="0" y="1064"/>
                    <a:pt x="0" y="1064"/>
                    <a:pt x="0" y="1064"/>
                  </a:cubicBezTo>
                  <a:cubicBezTo>
                    <a:pt x="0" y="1067"/>
                    <a:pt x="1" y="1069"/>
                    <a:pt x="2" y="1072"/>
                  </a:cubicBezTo>
                  <a:cubicBezTo>
                    <a:pt x="2" y="1072"/>
                    <a:pt x="2" y="1072"/>
                    <a:pt x="2" y="1072"/>
                  </a:cubicBezTo>
                  <a:cubicBezTo>
                    <a:pt x="152" y="1371"/>
                    <a:pt x="152" y="1371"/>
                    <a:pt x="152" y="1371"/>
                  </a:cubicBezTo>
                  <a:cubicBezTo>
                    <a:pt x="155" y="1377"/>
                    <a:pt x="161" y="1381"/>
                    <a:pt x="167" y="1381"/>
                  </a:cubicBezTo>
                  <a:cubicBezTo>
                    <a:pt x="174" y="1381"/>
                    <a:pt x="179" y="1377"/>
                    <a:pt x="182" y="1371"/>
                  </a:cubicBezTo>
                  <a:cubicBezTo>
                    <a:pt x="250" y="1237"/>
                    <a:pt x="250" y="1237"/>
                    <a:pt x="250" y="1237"/>
                  </a:cubicBezTo>
                  <a:cubicBezTo>
                    <a:pt x="250" y="1236"/>
                    <a:pt x="250" y="1235"/>
                    <a:pt x="251" y="1235"/>
                  </a:cubicBezTo>
                  <a:cubicBezTo>
                    <a:pt x="332" y="1072"/>
                    <a:pt x="332" y="1072"/>
                    <a:pt x="332" y="1072"/>
                  </a:cubicBezTo>
                  <a:cubicBezTo>
                    <a:pt x="332" y="1072"/>
                    <a:pt x="332" y="1072"/>
                    <a:pt x="332" y="1072"/>
                  </a:cubicBezTo>
                  <a:cubicBezTo>
                    <a:pt x="333" y="1069"/>
                    <a:pt x="334" y="1067"/>
                    <a:pt x="334" y="1064"/>
                  </a:cubicBezTo>
                  <a:cubicBezTo>
                    <a:pt x="334" y="316"/>
                    <a:pt x="334" y="316"/>
                    <a:pt x="334" y="316"/>
                  </a:cubicBezTo>
                  <a:cubicBezTo>
                    <a:pt x="334" y="109"/>
                    <a:pt x="334" y="109"/>
                    <a:pt x="334" y="109"/>
                  </a:cubicBezTo>
                  <a:cubicBezTo>
                    <a:pt x="334" y="49"/>
                    <a:pt x="285" y="0"/>
                    <a:pt x="225" y="0"/>
                  </a:cubicBezTo>
                  <a:close/>
                  <a:moveTo>
                    <a:pt x="121" y="1047"/>
                  </a:moveTo>
                  <a:cubicBezTo>
                    <a:pt x="121" y="333"/>
                    <a:pt x="121" y="333"/>
                    <a:pt x="121" y="333"/>
                  </a:cubicBezTo>
                  <a:cubicBezTo>
                    <a:pt x="213" y="333"/>
                    <a:pt x="213" y="333"/>
                    <a:pt x="213" y="333"/>
                  </a:cubicBezTo>
                  <a:cubicBezTo>
                    <a:pt x="213" y="1047"/>
                    <a:pt x="213" y="1047"/>
                    <a:pt x="213" y="1047"/>
                  </a:cubicBezTo>
                  <a:lnTo>
                    <a:pt x="121" y="1047"/>
                  </a:lnTo>
                  <a:close/>
                  <a:moveTo>
                    <a:pt x="35" y="1047"/>
                  </a:moveTo>
                  <a:cubicBezTo>
                    <a:pt x="35" y="333"/>
                    <a:pt x="35" y="333"/>
                    <a:pt x="35" y="333"/>
                  </a:cubicBezTo>
                  <a:cubicBezTo>
                    <a:pt x="87" y="333"/>
                    <a:pt x="87" y="333"/>
                    <a:pt x="87" y="333"/>
                  </a:cubicBezTo>
                  <a:cubicBezTo>
                    <a:pt x="87" y="1047"/>
                    <a:pt x="87" y="1047"/>
                    <a:pt x="87" y="1047"/>
                  </a:cubicBezTo>
                  <a:lnTo>
                    <a:pt x="35" y="1047"/>
                  </a:lnTo>
                  <a:close/>
                  <a:moveTo>
                    <a:pt x="35" y="299"/>
                  </a:moveTo>
                  <a:cubicBezTo>
                    <a:pt x="35" y="230"/>
                    <a:pt x="35" y="230"/>
                    <a:pt x="35" y="230"/>
                  </a:cubicBezTo>
                  <a:cubicBezTo>
                    <a:pt x="300" y="230"/>
                    <a:pt x="300" y="230"/>
                    <a:pt x="300" y="230"/>
                  </a:cubicBezTo>
                  <a:cubicBezTo>
                    <a:pt x="300" y="299"/>
                    <a:pt x="300" y="299"/>
                    <a:pt x="300" y="299"/>
                  </a:cubicBezTo>
                  <a:lnTo>
                    <a:pt x="35" y="299"/>
                  </a:lnTo>
                  <a:close/>
                  <a:moveTo>
                    <a:pt x="248" y="333"/>
                  </a:moveTo>
                  <a:cubicBezTo>
                    <a:pt x="300" y="333"/>
                    <a:pt x="300" y="333"/>
                    <a:pt x="300" y="333"/>
                  </a:cubicBezTo>
                  <a:cubicBezTo>
                    <a:pt x="300" y="1047"/>
                    <a:pt x="300" y="1047"/>
                    <a:pt x="300" y="1047"/>
                  </a:cubicBezTo>
                  <a:cubicBezTo>
                    <a:pt x="248" y="1047"/>
                    <a:pt x="248" y="1047"/>
                    <a:pt x="248" y="1047"/>
                  </a:cubicBezTo>
                  <a:lnTo>
                    <a:pt x="248" y="333"/>
                  </a:lnTo>
                  <a:close/>
                  <a:moveTo>
                    <a:pt x="109" y="34"/>
                  </a:moveTo>
                  <a:cubicBezTo>
                    <a:pt x="225" y="34"/>
                    <a:pt x="225" y="34"/>
                    <a:pt x="225" y="34"/>
                  </a:cubicBezTo>
                  <a:cubicBezTo>
                    <a:pt x="266" y="34"/>
                    <a:pt x="300" y="68"/>
                    <a:pt x="300" y="109"/>
                  </a:cubicBezTo>
                  <a:cubicBezTo>
                    <a:pt x="300" y="195"/>
                    <a:pt x="300" y="195"/>
                    <a:pt x="300" y="195"/>
                  </a:cubicBezTo>
                  <a:cubicBezTo>
                    <a:pt x="35" y="195"/>
                    <a:pt x="35" y="195"/>
                    <a:pt x="35" y="195"/>
                  </a:cubicBezTo>
                  <a:cubicBezTo>
                    <a:pt x="35" y="109"/>
                    <a:pt x="35" y="109"/>
                    <a:pt x="35" y="109"/>
                  </a:cubicBezTo>
                  <a:cubicBezTo>
                    <a:pt x="35" y="68"/>
                    <a:pt x="68" y="34"/>
                    <a:pt x="109" y="34"/>
                  </a:cubicBezTo>
                  <a:close/>
                  <a:moveTo>
                    <a:pt x="167" y="1325"/>
                  </a:moveTo>
                  <a:cubicBezTo>
                    <a:pt x="127" y="1246"/>
                    <a:pt x="127" y="1246"/>
                    <a:pt x="127" y="1246"/>
                  </a:cubicBezTo>
                  <a:cubicBezTo>
                    <a:pt x="207" y="1246"/>
                    <a:pt x="207" y="1246"/>
                    <a:pt x="207" y="1246"/>
                  </a:cubicBezTo>
                  <a:lnTo>
                    <a:pt x="167" y="1325"/>
                  </a:lnTo>
                  <a:close/>
                  <a:moveTo>
                    <a:pt x="224" y="1212"/>
                  </a:moveTo>
                  <a:cubicBezTo>
                    <a:pt x="110" y="1212"/>
                    <a:pt x="110" y="1212"/>
                    <a:pt x="110" y="1212"/>
                  </a:cubicBezTo>
                  <a:cubicBezTo>
                    <a:pt x="45" y="1081"/>
                    <a:pt x="45" y="1081"/>
                    <a:pt x="45" y="1081"/>
                  </a:cubicBezTo>
                  <a:cubicBezTo>
                    <a:pt x="289" y="1081"/>
                    <a:pt x="289" y="1081"/>
                    <a:pt x="289" y="1081"/>
                  </a:cubicBezTo>
                  <a:lnTo>
                    <a:pt x="224" y="1212"/>
                  </a:lnTo>
                  <a:close/>
                  <a:moveTo>
                    <a:pt x="449" y="0"/>
                  </a:moveTo>
                  <a:cubicBezTo>
                    <a:pt x="449" y="1381"/>
                    <a:pt x="449" y="1381"/>
                    <a:pt x="449" y="1381"/>
                  </a:cubicBezTo>
                  <a:cubicBezTo>
                    <a:pt x="783" y="1381"/>
                    <a:pt x="783" y="1381"/>
                    <a:pt x="783" y="1381"/>
                  </a:cubicBezTo>
                  <a:cubicBezTo>
                    <a:pt x="783" y="0"/>
                    <a:pt x="783" y="0"/>
                    <a:pt x="783" y="0"/>
                  </a:cubicBezTo>
                  <a:lnTo>
                    <a:pt x="449" y="0"/>
                  </a:lnTo>
                  <a:close/>
                  <a:moveTo>
                    <a:pt x="748" y="1346"/>
                  </a:moveTo>
                  <a:cubicBezTo>
                    <a:pt x="483" y="1346"/>
                    <a:pt x="483" y="1346"/>
                    <a:pt x="483" y="1346"/>
                  </a:cubicBezTo>
                  <a:cubicBezTo>
                    <a:pt x="483" y="1306"/>
                    <a:pt x="483" y="1306"/>
                    <a:pt x="483" y="1306"/>
                  </a:cubicBezTo>
                  <a:cubicBezTo>
                    <a:pt x="616" y="1306"/>
                    <a:pt x="616" y="1306"/>
                    <a:pt x="616" y="1306"/>
                  </a:cubicBezTo>
                  <a:cubicBezTo>
                    <a:pt x="616" y="1272"/>
                    <a:pt x="616" y="1272"/>
                    <a:pt x="616" y="1272"/>
                  </a:cubicBezTo>
                  <a:cubicBezTo>
                    <a:pt x="483" y="1272"/>
                    <a:pt x="483" y="1272"/>
                    <a:pt x="483" y="1272"/>
                  </a:cubicBezTo>
                  <a:cubicBezTo>
                    <a:pt x="483" y="1166"/>
                    <a:pt x="483" y="1166"/>
                    <a:pt x="483" y="1166"/>
                  </a:cubicBezTo>
                  <a:cubicBezTo>
                    <a:pt x="570" y="1166"/>
                    <a:pt x="570" y="1166"/>
                    <a:pt x="570" y="1166"/>
                  </a:cubicBezTo>
                  <a:cubicBezTo>
                    <a:pt x="570" y="1131"/>
                    <a:pt x="570" y="1131"/>
                    <a:pt x="570" y="1131"/>
                  </a:cubicBezTo>
                  <a:cubicBezTo>
                    <a:pt x="483" y="1131"/>
                    <a:pt x="483" y="1131"/>
                    <a:pt x="483" y="1131"/>
                  </a:cubicBezTo>
                  <a:cubicBezTo>
                    <a:pt x="483" y="1025"/>
                    <a:pt x="483" y="1025"/>
                    <a:pt x="483" y="1025"/>
                  </a:cubicBezTo>
                  <a:cubicBezTo>
                    <a:pt x="616" y="1025"/>
                    <a:pt x="616" y="1025"/>
                    <a:pt x="616" y="1025"/>
                  </a:cubicBezTo>
                  <a:cubicBezTo>
                    <a:pt x="616" y="991"/>
                    <a:pt x="616" y="991"/>
                    <a:pt x="616" y="991"/>
                  </a:cubicBezTo>
                  <a:cubicBezTo>
                    <a:pt x="483" y="991"/>
                    <a:pt x="483" y="991"/>
                    <a:pt x="483" y="991"/>
                  </a:cubicBezTo>
                  <a:cubicBezTo>
                    <a:pt x="483" y="885"/>
                    <a:pt x="483" y="885"/>
                    <a:pt x="483" y="885"/>
                  </a:cubicBezTo>
                  <a:cubicBezTo>
                    <a:pt x="570" y="885"/>
                    <a:pt x="570" y="885"/>
                    <a:pt x="570" y="885"/>
                  </a:cubicBezTo>
                  <a:cubicBezTo>
                    <a:pt x="570" y="851"/>
                    <a:pt x="570" y="851"/>
                    <a:pt x="570" y="851"/>
                  </a:cubicBezTo>
                  <a:cubicBezTo>
                    <a:pt x="483" y="851"/>
                    <a:pt x="483" y="851"/>
                    <a:pt x="483" y="851"/>
                  </a:cubicBezTo>
                  <a:cubicBezTo>
                    <a:pt x="483" y="745"/>
                    <a:pt x="483" y="745"/>
                    <a:pt x="483" y="745"/>
                  </a:cubicBezTo>
                  <a:cubicBezTo>
                    <a:pt x="616" y="745"/>
                    <a:pt x="616" y="745"/>
                    <a:pt x="616" y="745"/>
                  </a:cubicBezTo>
                  <a:cubicBezTo>
                    <a:pt x="616" y="711"/>
                    <a:pt x="616" y="711"/>
                    <a:pt x="616" y="711"/>
                  </a:cubicBezTo>
                  <a:cubicBezTo>
                    <a:pt x="483" y="711"/>
                    <a:pt x="483" y="711"/>
                    <a:pt x="483" y="711"/>
                  </a:cubicBezTo>
                  <a:cubicBezTo>
                    <a:pt x="483" y="605"/>
                    <a:pt x="483" y="605"/>
                    <a:pt x="483" y="605"/>
                  </a:cubicBezTo>
                  <a:cubicBezTo>
                    <a:pt x="570" y="605"/>
                    <a:pt x="570" y="605"/>
                    <a:pt x="570" y="605"/>
                  </a:cubicBezTo>
                  <a:cubicBezTo>
                    <a:pt x="570" y="570"/>
                    <a:pt x="570" y="570"/>
                    <a:pt x="570" y="570"/>
                  </a:cubicBezTo>
                  <a:cubicBezTo>
                    <a:pt x="483" y="570"/>
                    <a:pt x="483" y="570"/>
                    <a:pt x="483" y="570"/>
                  </a:cubicBezTo>
                  <a:cubicBezTo>
                    <a:pt x="483" y="464"/>
                    <a:pt x="483" y="464"/>
                    <a:pt x="483" y="464"/>
                  </a:cubicBezTo>
                  <a:cubicBezTo>
                    <a:pt x="616" y="464"/>
                    <a:pt x="616" y="464"/>
                    <a:pt x="616" y="464"/>
                  </a:cubicBezTo>
                  <a:cubicBezTo>
                    <a:pt x="616" y="430"/>
                    <a:pt x="616" y="430"/>
                    <a:pt x="616" y="430"/>
                  </a:cubicBezTo>
                  <a:cubicBezTo>
                    <a:pt x="483" y="430"/>
                    <a:pt x="483" y="430"/>
                    <a:pt x="483" y="430"/>
                  </a:cubicBezTo>
                  <a:cubicBezTo>
                    <a:pt x="483" y="324"/>
                    <a:pt x="483" y="324"/>
                    <a:pt x="483" y="324"/>
                  </a:cubicBezTo>
                  <a:cubicBezTo>
                    <a:pt x="570" y="324"/>
                    <a:pt x="570" y="324"/>
                    <a:pt x="570" y="324"/>
                  </a:cubicBezTo>
                  <a:cubicBezTo>
                    <a:pt x="570" y="290"/>
                    <a:pt x="570" y="290"/>
                    <a:pt x="570" y="290"/>
                  </a:cubicBezTo>
                  <a:cubicBezTo>
                    <a:pt x="483" y="290"/>
                    <a:pt x="483" y="290"/>
                    <a:pt x="483" y="290"/>
                  </a:cubicBezTo>
                  <a:cubicBezTo>
                    <a:pt x="483" y="184"/>
                    <a:pt x="483" y="184"/>
                    <a:pt x="483" y="184"/>
                  </a:cubicBezTo>
                  <a:cubicBezTo>
                    <a:pt x="616" y="184"/>
                    <a:pt x="616" y="184"/>
                    <a:pt x="616" y="184"/>
                  </a:cubicBezTo>
                  <a:cubicBezTo>
                    <a:pt x="616" y="150"/>
                    <a:pt x="616" y="150"/>
                    <a:pt x="616" y="150"/>
                  </a:cubicBezTo>
                  <a:cubicBezTo>
                    <a:pt x="483" y="150"/>
                    <a:pt x="483" y="150"/>
                    <a:pt x="483" y="150"/>
                  </a:cubicBezTo>
                  <a:cubicBezTo>
                    <a:pt x="483" y="34"/>
                    <a:pt x="483" y="34"/>
                    <a:pt x="483" y="34"/>
                  </a:cubicBezTo>
                  <a:cubicBezTo>
                    <a:pt x="748" y="34"/>
                    <a:pt x="748" y="34"/>
                    <a:pt x="748" y="34"/>
                  </a:cubicBezTo>
                  <a:lnTo>
                    <a:pt x="748" y="13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717080" y="2011912"/>
              <a:ext cx="208557" cy="208557"/>
              <a:chOff x="1717080" y="2011912"/>
              <a:chExt cx="208557" cy="208557"/>
            </a:xfrm>
          </p:grpSpPr>
          <p:sp>
            <p:nvSpPr>
              <p:cNvPr id="36" name="Oval 35"/>
              <p:cNvSpPr/>
              <p:nvPr/>
            </p:nvSpPr>
            <p:spPr>
              <a:xfrm>
                <a:off x="1717080" y="2011912"/>
                <a:ext cx="208557" cy="20855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1728590" y="2044249"/>
                <a:ext cx="185538" cy="1523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800" cap="all" dirty="0">
                    <a:solidFill>
                      <a:schemeClr val="accent1"/>
                    </a:solidFill>
                    <a:latin typeface="Lato Black" panose="020F0A02020204030203" pitchFamily="34" charset="0"/>
                    <a:cs typeface="Poppins SemiBold" panose="02000000000000000000" pitchFamily="2" charset="0"/>
                  </a:rPr>
                  <a:t>01</a:t>
                </a:r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3092252" y="3549536"/>
              <a:ext cx="208557" cy="208557"/>
              <a:chOff x="3092252" y="3549536"/>
              <a:chExt cx="208557" cy="208557"/>
            </a:xfrm>
          </p:grpSpPr>
          <p:sp>
            <p:nvSpPr>
              <p:cNvPr id="38" name="Oval 37"/>
              <p:cNvSpPr/>
              <p:nvPr/>
            </p:nvSpPr>
            <p:spPr>
              <a:xfrm>
                <a:off x="3092252" y="3549536"/>
                <a:ext cx="208557" cy="20855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EC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3103762" y="3581873"/>
                <a:ext cx="185538" cy="1523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800" cap="all" dirty="0">
                    <a:solidFill>
                      <a:schemeClr val="accent1"/>
                    </a:solidFill>
                    <a:latin typeface="Lato Black" panose="020F0A02020204030203" pitchFamily="34" charset="0"/>
                    <a:cs typeface="Poppins SemiBold" panose="02000000000000000000" pitchFamily="2" charset="0"/>
                  </a:rPr>
                  <a:t>02</a:t>
                </a:r>
              </a:p>
            </p:txBody>
          </p:sp>
        </p:grpSp>
        <p:grpSp>
          <p:nvGrpSpPr>
            <p:cNvPr id="24" name="Group 23"/>
            <p:cNvGrpSpPr/>
            <p:nvPr/>
          </p:nvGrpSpPr>
          <p:grpSpPr>
            <a:xfrm>
              <a:off x="5842893" y="3549536"/>
              <a:ext cx="208557" cy="208557"/>
              <a:chOff x="5842893" y="3549536"/>
              <a:chExt cx="208557" cy="208557"/>
            </a:xfrm>
          </p:grpSpPr>
          <p:sp>
            <p:nvSpPr>
              <p:cNvPr id="40" name="Oval 39"/>
              <p:cNvSpPr/>
              <p:nvPr/>
            </p:nvSpPr>
            <p:spPr>
              <a:xfrm>
                <a:off x="5842893" y="3549536"/>
                <a:ext cx="208557" cy="20855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5854403" y="3581873"/>
                <a:ext cx="185538" cy="1523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800" cap="all" dirty="0">
                    <a:solidFill>
                      <a:schemeClr val="accent1"/>
                    </a:solidFill>
                    <a:latin typeface="Lato Black" panose="020F0A02020204030203" pitchFamily="34" charset="0"/>
                    <a:cs typeface="Poppins SemiBold" panose="02000000000000000000" pitchFamily="2" charset="0"/>
                  </a:rPr>
                  <a:t>04</a:t>
                </a:r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4467722" y="2011912"/>
              <a:ext cx="208557" cy="208557"/>
              <a:chOff x="4467722" y="2011912"/>
              <a:chExt cx="208557" cy="208557"/>
            </a:xfrm>
          </p:grpSpPr>
          <p:sp>
            <p:nvSpPr>
              <p:cNvPr id="42" name="Oval 41"/>
              <p:cNvSpPr/>
              <p:nvPr/>
            </p:nvSpPr>
            <p:spPr>
              <a:xfrm>
                <a:off x="4467722" y="2011912"/>
                <a:ext cx="208557" cy="20855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479231" y="2044249"/>
                <a:ext cx="185538" cy="1523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800" cap="all" dirty="0">
                    <a:solidFill>
                      <a:schemeClr val="accent1"/>
                    </a:solidFill>
                    <a:latin typeface="Lato Black" panose="020F0A02020204030203" pitchFamily="34" charset="0"/>
                    <a:cs typeface="Poppins SemiBold" panose="02000000000000000000" pitchFamily="2" charset="0"/>
                  </a:rPr>
                  <a:t>03</a:t>
                </a: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7215782" y="2011912"/>
              <a:ext cx="208557" cy="208557"/>
              <a:chOff x="7215782" y="2011912"/>
              <a:chExt cx="208557" cy="208557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7215782" y="2011912"/>
                <a:ext cx="208557" cy="208557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506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7227292" y="2044249"/>
                <a:ext cx="185538" cy="15234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800" cap="all" dirty="0">
                    <a:solidFill>
                      <a:schemeClr val="accent1"/>
                    </a:solidFill>
                    <a:latin typeface="Lato Black" panose="020F0A02020204030203" pitchFamily="34" charset="0"/>
                    <a:cs typeface="Poppins SemiBold" panose="02000000000000000000" pitchFamily="2" charset="0"/>
                  </a:rPr>
                  <a:t>05</a:t>
                </a: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1337170" y="2560366"/>
              <a:ext cx="9683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jeto</a:t>
              </a:r>
              <a:endPara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4086224" y="2560366"/>
              <a:ext cx="9683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dução</a:t>
              </a:r>
              <a:endPara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6835872" y="2560366"/>
              <a:ext cx="9683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entrega</a:t>
              </a:r>
              <a:endPara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712342" y="3035326"/>
              <a:ext cx="9683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aprovação</a:t>
              </a:r>
              <a:endPara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5462983" y="3035326"/>
              <a:ext cx="968376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logística</a:t>
              </a:r>
              <a:endPara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5137942" y="3884686"/>
            <a:ext cx="1618458" cy="281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ro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lutpa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cus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g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ibh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mperdie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iquam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33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tapas</a:t>
            </a:r>
            <a:r>
              <a:rPr lang="en-US" dirty="0"/>
              <a:t> do </a:t>
            </a:r>
            <a:r>
              <a:rPr lang="en-US" dirty="0" err="1">
                <a:solidFill>
                  <a:srgbClr val="EC0000"/>
                </a:solidFill>
              </a:rPr>
              <a:t>proje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4" name="Chevron 43"/>
          <p:cNvSpPr/>
          <p:nvPr/>
        </p:nvSpPr>
        <p:spPr>
          <a:xfrm>
            <a:off x="593726" y="2989715"/>
            <a:ext cx="1671108" cy="355651"/>
          </a:xfrm>
          <a:prstGeom prst="chevron">
            <a:avLst>
              <a:gd name="adj" fmla="val 4538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6" name="Chevron 45"/>
          <p:cNvSpPr/>
          <p:nvPr/>
        </p:nvSpPr>
        <p:spPr>
          <a:xfrm>
            <a:off x="2164292" y="2989715"/>
            <a:ext cx="1671108" cy="355651"/>
          </a:xfrm>
          <a:prstGeom prst="chevron">
            <a:avLst>
              <a:gd name="adj" fmla="val 4538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7" name="Chevron 46"/>
          <p:cNvSpPr/>
          <p:nvPr/>
        </p:nvSpPr>
        <p:spPr>
          <a:xfrm>
            <a:off x="3734858" y="2989715"/>
            <a:ext cx="1671108" cy="355651"/>
          </a:xfrm>
          <a:prstGeom prst="chevron">
            <a:avLst>
              <a:gd name="adj" fmla="val 4538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8" name="Chevron 47"/>
          <p:cNvSpPr/>
          <p:nvPr/>
        </p:nvSpPr>
        <p:spPr>
          <a:xfrm>
            <a:off x="5305424" y="2989715"/>
            <a:ext cx="1671108" cy="355651"/>
          </a:xfrm>
          <a:prstGeom prst="chevron">
            <a:avLst>
              <a:gd name="adj" fmla="val 4538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9" name="Chevron 48"/>
          <p:cNvSpPr/>
          <p:nvPr/>
        </p:nvSpPr>
        <p:spPr>
          <a:xfrm>
            <a:off x="6875992" y="2989715"/>
            <a:ext cx="1671108" cy="355651"/>
          </a:xfrm>
          <a:prstGeom prst="chevron">
            <a:avLst>
              <a:gd name="adj" fmla="val 45387"/>
            </a:avLst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76300" y="3526229"/>
            <a:ext cx="1105960" cy="48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76300" y="3096027"/>
            <a:ext cx="110596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eunir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446866" y="3526229"/>
            <a:ext cx="1105960" cy="48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446866" y="3096027"/>
            <a:ext cx="110596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liderar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017432" y="3526229"/>
            <a:ext cx="1105960" cy="48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017432" y="3096027"/>
            <a:ext cx="110596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marcar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587998" y="3526229"/>
            <a:ext cx="1105960" cy="48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587998" y="3096027"/>
            <a:ext cx="110596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Trabalhar</a:t>
            </a:r>
            <a:r>
              <a:rPr lang="en-US" sz="900" b="1" cap="all" spc="20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duro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158566" y="3526229"/>
            <a:ext cx="1105960" cy="4801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Duis et lacinia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quam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Maecenas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licitudin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dolor at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st</a:t>
            </a:r>
            <a:r>
              <a: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ehicula</a:t>
            </a:r>
            <a:endParaRPr lang="en-US" sz="800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158566" y="3096027"/>
            <a:ext cx="1105960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 b="1" cap="all" spc="20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ganhar</a:t>
            </a:r>
            <a:endParaRPr lang="en-US" sz="900" b="1" cap="all" spc="20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7267548" y="1634066"/>
            <a:ext cx="887996" cy="887996"/>
            <a:chOff x="7267548" y="1634066"/>
            <a:chExt cx="887996" cy="887996"/>
          </a:xfrm>
        </p:grpSpPr>
        <p:sp>
          <p:nvSpPr>
            <p:cNvPr id="73" name="Oval 72"/>
            <p:cNvSpPr/>
            <p:nvPr/>
          </p:nvSpPr>
          <p:spPr>
            <a:xfrm>
              <a:off x="7267548" y="1634066"/>
              <a:ext cx="887996" cy="8879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Freeform 124"/>
            <p:cNvSpPr>
              <a:spLocks noEditPoints="1"/>
            </p:cNvSpPr>
            <p:nvPr/>
          </p:nvSpPr>
          <p:spPr bwMode="auto">
            <a:xfrm>
              <a:off x="7472892" y="1807805"/>
              <a:ext cx="477308" cy="540518"/>
            </a:xfrm>
            <a:custGeom>
              <a:avLst/>
              <a:gdLst>
                <a:gd name="T0" fmla="*/ 330 w 3330"/>
                <a:gd name="T1" fmla="*/ 1178 h 3772"/>
                <a:gd name="T2" fmla="*/ 481 w 3330"/>
                <a:gd name="T3" fmla="*/ 1263 h 3772"/>
                <a:gd name="T4" fmla="*/ 502 w 3330"/>
                <a:gd name="T5" fmla="*/ 1757 h 3772"/>
                <a:gd name="T6" fmla="*/ 553 w 3330"/>
                <a:gd name="T7" fmla="*/ 1197 h 3772"/>
                <a:gd name="T8" fmla="*/ 908 w 3330"/>
                <a:gd name="T9" fmla="*/ 1582 h 3772"/>
                <a:gd name="T10" fmla="*/ 758 w 3330"/>
                <a:gd name="T11" fmla="*/ 1912 h 3772"/>
                <a:gd name="T12" fmla="*/ 725 w 3330"/>
                <a:gd name="T13" fmla="*/ 1486 h 3772"/>
                <a:gd name="T14" fmla="*/ 521 w 3330"/>
                <a:gd name="T15" fmla="*/ 2754 h 3772"/>
                <a:gd name="T16" fmla="*/ 487 w 3330"/>
                <a:gd name="T17" fmla="*/ 2039 h 3772"/>
                <a:gd name="T18" fmla="*/ 290 w 3330"/>
                <a:gd name="T19" fmla="*/ 2809 h 3772"/>
                <a:gd name="T20" fmla="*/ 251 w 3330"/>
                <a:gd name="T21" fmla="*/ 1451 h 3772"/>
                <a:gd name="T22" fmla="*/ 153 w 3330"/>
                <a:gd name="T23" fmla="*/ 2009 h 3772"/>
                <a:gd name="T24" fmla="*/ 613 w 3330"/>
                <a:gd name="T25" fmla="*/ 833 h 3772"/>
                <a:gd name="T26" fmla="*/ 335 w 3330"/>
                <a:gd name="T27" fmla="*/ 1002 h 3772"/>
                <a:gd name="T28" fmla="*/ 2587 w 3330"/>
                <a:gd name="T29" fmla="*/ 1905 h 3772"/>
                <a:gd name="T30" fmla="*/ 2622 w 3330"/>
                <a:gd name="T31" fmla="*/ 1485 h 3772"/>
                <a:gd name="T32" fmla="*/ 2746 w 3330"/>
                <a:gd name="T33" fmla="*/ 2881 h 3772"/>
                <a:gd name="T34" fmla="*/ 2858 w 3330"/>
                <a:gd name="T35" fmla="*/ 2008 h 3772"/>
                <a:gd name="T36" fmla="*/ 2985 w 3330"/>
                <a:gd name="T37" fmla="*/ 2881 h 3772"/>
                <a:gd name="T38" fmla="*/ 3094 w 3330"/>
                <a:gd name="T39" fmla="*/ 1452 h 3772"/>
                <a:gd name="T40" fmla="*/ 3175 w 3330"/>
                <a:gd name="T41" fmla="*/ 2011 h 3772"/>
                <a:gd name="T42" fmla="*/ 3015 w 3330"/>
                <a:gd name="T43" fmla="*/ 1178 h 3772"/>
                <a:gd name="T44" fmla="*/ 2858 w 3330"/>
                <a:gd name="T45" fmla="*/ 1263 h 3772"/>
                <a:gd name="T46" fmla="*/ 2837 w 3330"/>
                <a:gd name="T47" fmla="*/ 1757 h 3772"/>
                <a:gd name="T48" fmla="*/ 2786 w 3330"/>
                <a:gd name="T49" fmla="*/ 1197 h 3772"/>
                <a:gd name="T50" fmla="*/ 2435 w 3330"/>
                <a:gd name="T51" fmla="*/ 1369 h 3772"/>
                <a:gd name="T52" fmla="*/ 3000 w 3330"/>
                <a:gd name="T53" fmla="*/ 1034 h 3772"/>
                <a:gd name="T54" fmla="*/ 2784 w 3330"/>
                <a:gd name="T55" fmla="*/ 804 h 3772"/>
                <a:gd name="T56" fmla="*/ 1411 w 3330"/>
                <a:gd name="T57" fmla="*/ 1146 h 3772"/>
                <a:gd name="T58" fmla="*/ 1447 w 3330"/>
                <a:gd name="T59" fmla="*/ 657 h 3772"/>
                <a:gd name="T60" fmla="*/ 1520 w 3330"/>
                <a:gd name="T61" fmla="*/ 2086 h 3772"/>
                <a:gd name="T62" fmla="*/ 1648 w 3330"/>
                <a:gd name="T63" fmla="*/ 1214 h 3772"/>
                <a:gd name="T64" fmla="*/ 1759 w 3330"/>
                <a:gd name="T65" fmla="*/ 2086 h 3772"/>
                <a:gd name="T66" fmla="*/ 1886 w 3330"/>
                <a:gd name="T67" fmla="*/ 657 h 3772"/>
                <a:gd name="T68" fmla="*/ 1921 w 3330"/>
                <a:gd name="T69" fmla="*/ 1153 h 3772"/>
                <a:gd name="T70" fmla="*/ 2069 w 3330"/>
                <a:gd name="T71" fmla="*/ 617 h 3772"/>
                <a:gd name="T72" fmla="*/ 1687 w 3330"/>
                <a:gd name="T73" fmla="*/ 457 h 3772"/>
                <a:gd name="T74" fmla="*/ 1662 w 3330"/>
                <a:gd name="T75" fmla="*/ 962 h 3772"/>
                <a:gd name="T76" fmla="*/ 1638 w 3330"/>
                <a:gd name="T77" fmla="*/ 457 h 3772"/>
                <a:gd name="T78" fmla="*/ 1264 w 3330"/>
                <a:gd name="T79" fmla="*/ 566 h 3772"/>
                <a:gd name="T80" fmla="*/ 1648 w 3330"/>
                <a:gd name="T81" fmla="*/ 345 h 3772"/>
                <a:gd name="T82" fmla="*/ 1632 w 3330"/>
                <a:gd name="T83" fmla="*/ 0 h 3772"/>
                <a:gd name="T84" fmla="*/ 3330 w 3330"/>
                <a:gd name="T85" fmla="*/ 2961 h 3772"/>
                <a:gd name="T86" fmla="*/ 1006 w 3330"/>
                <a:gd name="T87" fmla="*/ 2961 h 3772"/>
                <a:gd name="T88" fmla="*/ 3330 w 3330"/>
                <a:gd name="T89" fmla="*/ 2961 h 3772"/>
                <a:gd name="T90" fmla="*/ 1706 w 3330"/>
                <a:gd name="T91" fmla="*/ 2761 h 3772"/>
                <a:gd name="T92" fmla="*/ 1736 w 3330"/>
                <a:gd name="T93" fmla="*/ 2543 h 3772"/>
                <a:gd name="T94" fmla="*/ 1642 w 3330"/>
                <a:gd name="T95" fmla="*/ 3039 h 3772"/>
                <a:gd name="T96" fmla="*/ 1439 w 3330"/>
                <a:gd name="T97" fmla="*/ 3281 h 3772"/>
                <a:gd name="T98" fmla="*/ 1731 w 3330"/>
                <a:gd name="T99" fmla="*/ 3320 h 3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30" h="3772">
                  <a:moveTo>
                    <a:pt x="99" y="1960"/>
                  </a:moveTo>
                  <a:cubicBezTo>
                    <a:pt x="99" y="1763"/>
                    <a:pt x="99" y="1566"/>
                    <a:pt x="99" y="1369"/>
                  </a:cubicBezTo>
                  <a:cubicBezTo>
                    <a:pt x="101" y="1366"/>
                    <a:pt x="103" y="1363"/>
                    <a:pt x="103" y="1360"/>
                  </a:cubicBezTo>
                  <a:cubicBezTo>
                    <a:pt x="131" y="1245"/>
                    <a:pt x="212" y="1179"/>
                    <a:pt x="330" y="1178"/>
                  </a:cubicBezTo>
                  <a:cubicBezTo>
                    <a:pt x="370" y="1177"/>
                    <a:pt x="410" y="1177"/>
                    <a:pt x="450" y="1177"/>
                  </a:cubicBezTo>
                  <a:cubicBezTo>
                    <a:pt x="450" y="1197"/>
                    <a:pt x="450" y="1197"/>
                    <a:pt x="450" y="1197"/>
                  </a:cubicBezTo>
                  <a:cubicBezTo>
                    <a:pt x="477" y="1251"/>
                    <a:pt x="477" y="1251"/>
                    <a:pt x="477" y="1251"/>
                  </a:cubicBezTo>
                  <a:cubicBezTo>
                    <a:pt x="481" y="1263"/>
                    <a:pt x="481" y="1263"/>
                    <a:pt x="481" y="1263"/>
                  </a:cubicBezTo>
                  <a:cubicBezTo>
                    <a:pt x="455" y="1706"/>
                    <a:pt x="455" y="1706"/>
                    <a:pt x="455" y="1706"/>
                  </a:cubicBezTo>
                  <a:cubicBezTo>
                    <a:pt x="501" y="1757"/>
                    <a:pt x="501" y="1757"/>
                    <a:pt x="501" y="1757"/>
                  </a:cubicBezTo>
                  <a:cubicBezTo>
                    <a:pt x="501" y="1757"/>
                    <a:pt x="501" y="1757"/>
                    <a:pt x="501" y="1757"/>
                  </a:cubicBezTo>
                  <a:cubicBezTo>
                    <a:pt x="502" y="1757"/>
                    <a:pt x="502" y="1757"/>
                    <a:pt x="502" y="1757"/>
                  </a:cubicBezTo>
                  <a:cubicBezTo>
                    <a:pt x="548" y="1706"/>
                    <a:pt x="548" y="1706"/>
                    <a:pt x="548" y="1706"/>
                  </a:cubicBezTo>
                  <a:cubicBezTo>
                    <a:pt x="522" y="1263"/>
                    <a:pt x="522" y="1263"/>
                    <a:pt x="522" y="1263"/>
                  </a:cubicBezTo>
                  <a:cubicBezTo>
                    <a:pt x="526" y="1251"/>
                    <a:pt x="526" y="1251"/>
                    <a:pt x="526" y="1251"/>
                  </a:cubicBezTo>
                  <a:cubicBezTo>
                    <a:pt x="553" y="1197"/>
                    <a:pt x="553" y="1197"/>
                    <a:pt x="553" y="1197"/>
                  </a:cubicBezTo>
                  <a:cubicBezTo>
                    <a:pt x="553" y="1177"/>
                    <a:pt x="553" y="1177"/>
                    <a:pt x="553" y="1177"/>
                  </a:cubicBezTo>
                  <a:cubicBezTo>
                    <a:pt x="595" y="1177"/>
                    <a:pt x="637" y="1178"/>
                    <a:pt x="679" y="1178"/>
                  </a:cubicBezTo>
                  <a:cubicBezTo>
                    <a:pt x="813" y="1180"/>
                    <a:pt x="907" y="1277"/>
                    <a:pt x="908" y="1412"/>
                  </a:cubicBezTo>
                  <a:cubicBezTo>
                    <a:pt x="909" y="1468"/>
                    <a:pt x="908" y="1525"/>
                    <a:pt x="908" y="1582"/>
                  </a:cubicBezTo>
                  <a:cubicBezTo>
                    <a:pt x="908" y="1701"/>
                    <a:pt x="909" y="1819"/>
                    <a:pt x="908" y="1938"/>
                  </a:cubicBezTo>
                  <a:cubicBezTo>
                    <a:pt x="908" y="1980"/>
                    <a:pt x="881" y="2008"/>
                    <a:pt x="839" y="2011"/>
                  </a:cubicBezTo>
                  <a:cubicBezTo>
                    <a:pt x="796" y="2014"/>
                    <a:pt x="766" y="1990"/>
                    <a:pt x="760" y="1947"/>
                  </a:cubicBezTo>
                  <a:cubicBezTo>
                    <a:pt x="758" y="1935"/>
                    <a:pt x="758" y="1924"/>
                    <a:pt x="758" y="1912"/>
                  </a:cubicBezTo>
                  <a:cubicBezTo>
                    <a:pt x="758" y="1768"/>
                    <a:pt x="758" y="1625"/>
                    <a:pt x="758" y="1482"/>
                  </a:cubicBezTo>
                  <a:cubicBezTo>
                    <a:pt x="758" y="1472"/>
                    <a:pt x="758" y="1462"/>
                    <a:pt x="758" y="1452"/>
                  </a:cubicBezTo>
                  <a:cubicBezTo>
                    <a:pt x="745" y="1452"/>
                    <a:pt x="736" y="1452"/>
                    <a:pt x="725" y="1452"/>
                  </a:cubicBezTo>
                  <a:cubicBezTo>
                    <a:pt x="725" y="1465"/>
                    <a:pt x="725" y="1475"/>
                    <a:pt x="725" y="1486"/>
                  </a:cubicBezTo>
                  <a:cubicBezTo>
                    <a:pt x="725" y="1909"/>
                    <a:pt x="724" y="2332"/>
                    <a:pt x="725" y="2755"/>
                  </a:cubicBezTo>
                  <a:cubicBezTo>
                    <a:pt x="725" y="2815"/>
                    <a:pt x="708" y="2859"/>
                    <a:pt x="649" y="2881"/>
                  </a:cubicBezTo>
                  <a:cubicBezTo>
                    <a:pt x="632" y="2881"/>
                    <a:pt x="615" y="2881"/>
                    <a:pt x="598" y="2881"/>
                  </a:cubicBezTo>
                  <a:cubicBezTo>
                    <a:pt x="538" y="2859"/>
                    <a:pt x="520" y="2815"/>
                    <a:pt x="521" y="2754"/>
                  </a:cubicBezTo>
                  <a:cubicBezTo>
                    <a:pt x="523" y="2515"/>
                    <a:pt x="522" y="2277"/>
                    <a:pt x="522" y="2039"/>
                  </a:cubicBezTo>
                  <a:cubicBezTo>
                    <a:pt x="522" y="2029"/>
                    <a:pt x="522" y="2019"/>
                    <a:pt x="522" y="2008"/>
                  </a:cubicBezTo>
                  <a:cubicBezTo>
                    <a:pt x="509" y="2008"/>
                    <a:pt x="499" y="2008"/>
                    <a:pt x="487" y="2008"/>
                  </a:cubicBezTo>
                  <a:cubicBezTo>
                    <a:pt x="487" y="2020"/>
                    <a:pt x="487" y="2030"/>
                    <a:pt x="487" y="2039"/>
                  </a:cubicBezTo>
                  <a:cubicBezTo>
                    <a:pt x="487" y="2279"/>
                    <a:pt x="486" y="2518"/>
                    <a:pt x="488" y="2757"/>
                  </a:cubicBezTo>
                  <a:cubicBezTo>
                    <a:pt x="488" y="2817"/>
                    <a:pt x="469" y="2860"/>
                    <a:pt x="410" y="2881"/>
                  </a:cubicBezTo>
                  <a:cubicBezTo>
                    <a:pt x="393" y="2881"/>
                    <a:pt x="376" y="2881"/>
                    <a:pt x="359" y="2881"/>
                  </a:cubicBezTo>
                  <a:cubicBezTo>
                    <a:pt x="326" y="2866"/>
                    <a:pt x="298" y="2847"/>
                    <a:pt x="290" y="2809"/>
                  </a:cubicBezTo>
                  <a:cubicBezTo>
                    <a:pt x="286" y="2791"/>
                    <a:pt x="286" y="2772"/>
                    <a:pt x="286" y="2754"/>
                  </a:cubicBezTo>
                  <a:cubicBezTo>
                    <a:pt x="286" y="2331"/>
                    <a:pt x="286" y="1908"/>
                    <a:pt x="286" y="1485"/>
                  </a:cubicBezTo>
                  <a:cubicBezTo>
                    <a:pt x="286" y="1474"/>
                    <a:pt x="286" y="1463"/>
                    <a:pt x="286" y="1451"/>
                  </a:cubicBezTo>
                  <a:cubicBezTo>
                    <a:pt x="273" y="1451"/>
                    <a:pt x="263" y="1451"/>
                    <a:pt x="251" y="1451"/>
                  </a:cubicBezTo>
                  <a:cubicBezTo>
                    <a:pt x="251" y="1462"/>
                    <a:pt x="251" y="1471"/>
                    <a:pt x="251" y="1480"/>
                  </a:cubicBezTo>
                  <a:cubicBezTo>
                    <a:pt x="251" y="1621"/>
                    <a:pt x="251" y="1763"/>
                    <a:pt x="251" y="1905"/>
                  </a:cubicBezTo>
                  <a:cubicBezTo>
                    <a:pt x="251" y="1917"/>
                    <a:pt x="252" y="1928"/>
                    <a:pt x="250" y="1940"/>
                  </a:cubicBezTo>
                  <a:cubicBezTo>
                    <a:pt x="245" y="1993"/>
                    <a:pt x="204" y="2021"/>
                    <a:pt x="153" y="2009"/>
                  </a:cubicBezTo>
                  <a:cubicBezTo>
                    <a:pt x="126" y="2002"/>
                    <a:pt x="112" y="1981"/>
                    <a:pt x="99" y="1960"/>
                  </a:cubicBezTo>
                  <a:close/>
                  <a:moveTo>
                    <a:pt x="487" y="1139"/>
                  </a:moveTo>
                  <a:cubicBezTo>
                    <a:pt x="563" y="1146"/>
                    <a:pt x="635" y="1104"/>
                    <a:pt x="664" y="1034"/>
                  </a:cubicBezTo>
                  <a:cubicBezTo>
                    <a:pt x="694" y="963"/>
                    <a:pt x="675" y="882"/>
                    <a:pt x="613" y="833"/>
                  </a:cubicBezTo>
                  <a:cubicBezTo>
                    <a:pt x="590" y="816"/>
                    <a:pt x="562" y="807"/>
                    <a:pt x="537" y="794"/>
                  </a:cubicBezTo>
                  <a:cubicBezTo>
                    <a:pt x="515" y="794"/>
                    <a:pt x="493" y="794"/>
                    <a:pt x="471" y="794"/>
                  </a:cubicBezTo>
                  <a:cubicBezTo>
                    <a:pt x="463" y="798"/>
                    <a:pt x="456" y="802"/>
                    <a:pt x="448" y="804"/>
                  </a:cubicBezTo>
                  <a:cubicBezTo>
                    <a:pt x="368" y="831"/>
                    <a:pt x="317" y="920"/>
                    <a:pt x="335" y="1002"/>
                  </a:cubicBezTo>
                  <a:cubicBezTo>
                    <a:pt x="351" y="1076"/>
                    <a:pt x="414" y="1133"/>
                    <a:pt x="487" y="1139"/>
                  </a:cubicBezTo>
                  <a:close/>
                  <a:moveTo>
                    <a:pt x="2489" y="2009"/>
                  </a:moveTo>
                  <a:cubicBezTo>
                    <a:pt x="2540" y="2021"/>
                    <a:pt x="2581" y="1993"/>
                    <a:pt x="2586" y="1940"/>
                  </a:cubicBezTo>
                  <a:cubicBezTo>
                    <a:pt x="2588" y="1928"/>
                    <a:pt x="2587" y="1917"/>
                    <a:pt x="2587" y="1905"/>
                  </a:cubicBezTo>
                  <a:cubicBezTo>
                    <a:pt x="2587" y="1763"/>
                    <a:pt x="2587" y="1621"/>
                    <a:pt x="2587" y="1480"/>
                  </a:cubicBezTo>
                  <a:cubicBezTo>
                    <a:pt x="2587" y="1471"/>
                    <a:pt x="2587" y="1462"/>
                    <a:pt x="2587" y="1451"/>
                  </a:cubicBezTo>
                  <a:cubicBezTo>
                    <a:pt x="2599" y="1451"/>
                    <a:pt x="2609" y="1451"/>
                    <a:pt x="2622" y="1451"/>
                  </a:cubicBezTo>
                  <a:cubicBezTo>
                    <a:pt x="2622" y="1463"/>
                    <a:pt x="2622" y="1474"/>
                    <a:pt x="2622" y="1485"/>
                  </a:cubicBezTo>
                  <a:cubicBezTo>
                    <a:pt x="2622" y="1908"/>
                    <a:pt x="2622" y="2331"/>
                    <a:pt x="2622" y="2754"/>
                  </a:cubicBezTo>
                  <a:cubicBezTo>
                    <a:pt x="2622" y="2772"/>
                    <a:pt x="2622" y="2791"/>
                    <a:pt x="2626" y="2809"/>
                  </a:cubicBezTo>
                  <a:cubicBezTo>
                    <a:pt x="2634" y="2847"/>
                    <a:pt x="2662" y="2866"/>
                    <a:pt x="2695" y="2881"/>
                  </a:cubicBezTo>
                  <a:cubicBezTo>
                    <a:pt x="2712" y="2881"/>
                    <a:pt x="2729" y="2881"/>
                    <a:pt x="2746" y="2881"/>
                  </a:cubicBezTo>
                  <a:cubicBezTo>
                    <a:pt x="2805" y="2860"/>
                    <a:pt x="2824" y="2817"/>
                    <a:pt x="2824" y="2757"/>
                  </a:cubicBezTo>
                  <a:cubicBezTo>
                    <a:pt x="2822" y="2518"/>
                    <a:pt x="2823" y="2279"/>
                    <a:pt x="2823" y="2039"/>
                  </a:cubicBezTo>
                  <a:cubicBezTo>
                    <a:pt x="2823" y="2030"/>
                    <a:pt x="2823" y="2020"/>
                    <a:pt x="2823" y="2008"/>
                  </a:cubicBezTo>
                  <a:cubicBezTo>
                    <a:pt x="2835" y="2008"/>
                    <a:pt x="2845" y="2008"/>
                    <a:pt x="2858" y="2008"/>
                  </a:cubicBezTo>
                  <a:cubicBezTo>
                    <a:pt x="2858" y="2019"/>
                    <a:pt x="2858" y="2029"/>
                    <a:pt x="2858" y="2039"/>
                  </a:cubicBezTo>
                  <a:cubicBezTo>
                    <a:pt x="2858" y="2277"/>
                    <a:pt x="2859" y="2515"/>
                    <a:pt x="2857" y="2754"/>
                  </a:cubicBezTo>
                  <a:cubicBezTo>
                    <a:pt x="2856" y="2815"/>
                    <a:pt x="2874" y="2859"/>
                    <a:pt x="2934" y="2881"/>
                  </a:cubicBezTo>
                  <a:cubicBezTo>
                    <a:pt x="2951" y="2881"/>
                    <a:pt x="2968" y="2881"/>
                    <a:pt x="2985" y="2881"/>
                  </a:cubicBezTo>
                  <a:cubicBezTo>
                    <a:pt x="3044" y="2859"/>
                    <a:pt x="3061" y="2815"/>
                    <a:pt x="3061" y="2755"/>
                  </a:cubicBezTo>
                  <a:cubicBezTo>
                    <a:pt x="3060" y="2332"/>
                    <a:pt x="3061" y="1909"/>
                    <a:pt x="3061" y="1486"/>
                  </a:cubicBezTo>
                  <a:cubicBezTo>
                    <a:pt x="3061" y="1475"/>
                    <a:pt x="3061" y="1465"/>
                    <a:pt x="3061" y="1452"/>
                  </a:cubicBezTo>
                  <a:cubicBezTo>
                    <a:pt x="3072" y="1452"/>
                    <a:pt x="3081" y="1452"/>
                    <a:pt x="3094" y="1452"/>
                  </a:cubicBezTo>
                  <a:cubicBezTo>
                    <a:pt x="3094" y="1462"/>
                    <a:pt x="3094" y="1472"/>
                    <a:pt x="3094" y="1482"/>
                  </a:cubicBezTo>
                  <a:cubicBezTo>
                    <a:pt x="3094" y="1625"/>
                    <a:pt x="3094" y="1768"/>
                    <a:pt x="3094" y="1912"/>
                  </a:cubicBezTo>
                  <a:cubicBezTo>
                    <a:pt x="3094" y="1924"/>
                    <a:pt x="3094" y="1935"/>
                    <a:pt x="3096" y="1947"/>
                  </a:cubicBezTo>
                  <a:cubicBezTo>
                    <a:pt x="3102" y="1990"/>
                    <a:pt x="3132" y="2014"/>
                    <a:pt x="3175" y="2011"/>
                  </a:cubicBezTo>
                  <a:cubicBezTo>
                    <a:pt x="3216" y="2008"/>
                    <a:pt x="3244" y="1980"/>
                    <a:pt x="3244" y="1938"/>
                  </a:cubicBezTo>
                  <a:cubicBezTo>
                    <a:pt x="3245" y="1819"/>
                    <a:pt x="3244" y="1701"/>
                    <a:pt x="3244" y="1582"/>
                  </a:cubicBezTo>
                  <a:cubicBezTo>
                    <a:pt x="3244" y="1525"/>
                    <a:pt x="3245" y="1468"/>
                    <a:pt x="3244" y="1412"/>
                  </a:cubicBezTo>
                  <a:cubicBezTo>
                    <a:pt x="3243" y="1277"/>
                    <a:pt x="3149" y="1180"/>
                    <a:pt x="3015" y="1178"/>
                  </a:cubicBezTo>
                  <a:cubicBezTo>
                    <a:pt x="2973" y="1178"/>
                    <a:pt x="2931" y="1177"/>
                    <a:pt x="2889" y="1177"/>
                  </a:cubicBezTo>
                  <a:cubicBezTo>
                    <a:pt x="2889" y="1197"/>
                    <a:pt x="2889" y="1197"/>
                    <a:pt x="2889" y="1197"/>
                  </a:cubicBezTo>
                  <a:cubicBezTo>
                    <a:pt x="2862" y="1251"/>
                    <a:pt x="2862" y="1251"/>
                    <a:pt x="2862" y="1251"/>
                  </a:cubicBezTo>
                  <a:cubicBezTo>
                    <a:pt x="2858" y="1263"/>
                    <a:pt x="2858" y="1263"/>
                    <a:pt x="2858" y="1263"/>
                  </a:cubicBezTo>
                  <a:cubicBezTo>
                    <a:pt x="2884" y="1706"/>
                    <a:pt x="2884" y="1706"/>
                    <a:pt x="2884" y="1706"/>
                  </a:cubicBezTo>
                  <a:cubicBezTo>
                    <a:pt x="2838" y="1757"/>
                    <a:pt x="2838" y="1757"/>
                    <a:pt x="2838" y="1757"/>
                  </a:cubicBezTo>
                  <a:cubicBezTo>
                    <a:pt x="2837" y="1757"/>
                    <a:pt x="2837" y="1757"/>
                    <a:pt x="2837" y="1757"/>
                  </a:cubicBezTo>
                  <a:cubicBezTo>
                    <a:pt x="2837" y="1757"/>
                    <a:pt x="2837" y="1757"/>
                    <a:pt x="2837" y="1757"/>
                  </a:cubicBezTo>
                  <a:cubicBezTo>
                    <a:pt x="2791" y="1706"/>
                    <a:pt x="2791" y="1706"/>
                    <a:pt x="2791" y="1706"/>
                  </a:cubicBezTo>
                  <a:cubicBezTo>
                    <a:pt x="2817" y="1263"/>
                    <a:pt x="2817" y="1263"/>
                    <a:pt x="2817" y="1263"/>
                  </a:cubicBezTo>
                  <a:cubicBezTo>
                    <a:pt x="2813" y="1251"/>
                    <a:pt x="2813" y="1251"/>
                    <a:pt x="2813" y="1251"/>
                  </a:cubicBezTo>
                  <a:cubicBezTo>
                    <a:pt x="2786" y="1197"/>
                    <a:pt x="2786" y="1197"/>
                    <a:pt x="2786" y="1197"/>
                  </a:cubicBezTo>
                  <a:cubicBezTo>
                    <a:pt x="2786" y="1177"/>
                    <a:pt x="2786" y="1177"/>
                    <a:pt x="2786" y="1177"/>
                  </a:cubicBezTo>
                  <a:cubicBezTo>
                    <a:pt x="2746" y="1177"/>
                    <a:pt x="2706" y="1177"/>
                    <a:pt x="2666" y="1178"/>
                  </a:cubicBezTo>
                  <a:cubicBezTo>
                    <a:pt x="2548" y="1179"/>
                    <a:pt x="2467" y="1245"/>
                    <a:pt x="2439" y="1360"/>
                  </a:cubicBezTo>
                  <a:cubicBezTo>
                    <a:pt x="2439" y="1363"/>
                    <a:pt x="2437" y="1366"/>
                    <a:pt x="2435" y="1369"/>
                  </a:cubicBezTo>
                  <a:cubicBezTo>
                    <a:pt x="2435" y="1566"/>
                    <a:pt x="2435" y="1763"/>
                    <a:pt x="2435" y="1960"/>
                  </a:cubicBezTo>
                  <a:cubicBezTo>
                    <a:pt x="2448" y="1981"/>
                    <a:pt x="2462" y="2002"/>
                    <a:pt x="2489" y="2009"/>
                  </a:cubicBezTo>
                  <a:close/>
                  <a:moveTo>
                    <a:pt x="2823" y="1139"/>
                  </a:moveTo>
                  <a:cubicBezTo>
                    <a:pt x="2899" y="1146"/>
                    <a:pt x="2971" y="1104"/>
                    <a:pt x="3000" y="1034"/>
                  </a:cubicBezTo>
                  <a:cubicBezTo>
                    <a:pt x="3030" y="963"/>
                    <a:pt x="3011" y="882"/>
                    <a:pt x="2948" y="833"/>
                  </a:cubicBezTo>
                  <a:cubicBezTo>
                    <a:pt x="2926" y="816"/>
                    <a:pt x="2898" y="807"/>
                    <a:pt x="2873" y="794"/>
                  </a:cubicBezTo>
                  <a:cubicBezTo>
                    <a:pt x="2851" y="794"/>
                    <a:pt x="2829" y="794"/>
                    <a:pt x="2807" y="794"/>
                  </a:cubicBezTo>
                  <a:cubicBezTo>
                    <a:pt x="2799" y="798"/>
                    <a:pt x="2792" y="802"/>
                    <a:pt x="2784" y="804"/>
                  </a:cubicBezTo>
                  <a:cubicBezTo>
                    <a:pt x="2704" y="831"/>
                    <a:pt x="2653" y="920"/>
                    <a:pt x="2671" y="1002"/>
                  </a:cubicBezTo>
                  <a:cubicBezTo>
                    <a:pt x="2687" y="1076"/>
                    <a:pt x="2750" y="1133"/>
                    <a:pt x="2823" y="1139"/>
                  </a:cubicBezTo>
                  <a:close/>
                  <a:moveTo>
                    <a:pt x="1314" y="1215"/>
                  </a:moveTo>
                  <a:cubicBezTo>
                    <a:pt x="1365" y="1227"/>
                    <a:pt x="1406" y="1198"/>
                    <a:pt x="1411" y="1146"/>
                  </a:cubicBezTo>
                  <a:cubicBezTo>
                    <a:pt x="1413" y="1134"/>
                    <a:pt x="1412" y="1122"/>
                    <a:pt x="1412" y="1110"/>
                  </a:cubicBezTo>
                  <a:cubicBezTo>
                    <a:pt x="1412" y="969"/>
                    <a:pt x="1412" y="827"/>
                    <a:pt x="1412" y="686"/>
                  </a:cubicBezTo>
                  <a:cubicBezTo>
                    <a:pt x="1412" y="677"/>
                    <a:pt x="1412" y="667"/>
                    <a:pt x="1412" y="657"/>
                  </a:cubicBezTo>
                  <a:cubicBezTo>
                    <a:pt x="1424" y="657"/>
                    <a:pt x="1434" y="657"/>
                    <a:pt x="1447" y="657"/>
                  </a:cubicBezTo>
                  <a:cubicBezTo>
                    <a:pt x="1447" y="669"/>
                    <a:pt x="1447" y="680"/>
                    <a:pt x="1447" y="690"/>
                  </a:cubicBezTo>
                  <a:cubicBezTo>
                    <a:pt x="1447" y="1114"/>
                    <a:pt x="1447" y="1537"/>
                    <a:pt x="1447" y="1960"/>
                  </a:cubicBezTo>
                  <a:cubicBezTo>
                    <a:pt x="1447" y="1978"/>
                    <a:pt x="1447" y="1997"/>
                    <a:pt x="1451" y="2015"/>
                  </a:cubicBezTo>
                  <a:cubicBezTo>
                    <a:pt x="1459" y="2053"/>
                    <a:pt x="1487" y="2072"/>
                    <a:pt x="1520" y="2086"/>
                  </a:cubicBezTo>
                  <a:cubicBezTo>
                    <a:pt x="1537" y="2086"/>
                    <a:pt x="1554" y="2086"/>
                    <a:pt x="1571" y="2086"/>
                  </a:cubicBezTo>
                  <a:cubicBezTo>
                    <a:pt x="1630" y="2066"/>
                    <a:pt x="1649" y="2023"/>
                    <a:pt x="1649" y="1963"/>
                  </a:cubicBezTo>
                  <a:cubicBezTo>
                    <a:pt x="1647" y="1723"/>
                    <a:pt x="1648" y="1484"/>
                    <a:pt x="1648" y="1245"/>
                  </a:cubicBezTo>
                  <a:cubicBezTo>
                    <a:pt x="1648" y="1235"/>
                    <a:pt x="1648" y="1225"/>
                    <a:pt x="1648" y="1214"/>
                  </a:cubicBezTo>
                  <a:cubicBezTo>
                    <a:pt x="1660" y="1214"/>
                    <a:pt x="1670" y="1214"/>
                    <a:pt x="1683" y="1214"/>
                  </a:cubicBezTo>
                  <a:cubicBezTo>
                    <a:pt x="1683" y="1225"/>
                    <a:pt x="1683" y="1235"/>
                    <a:pt x="1683" y="1245"/>
                  </a:cubicBezTo>
                  <a:cubicBezTo>
                    <a:pt x="1683" y="1483"/>
                    <a:pt x="1684" y="1721"/>
                    <a:pt x="1682" y="1959"/>
                  </a:cubicBezTo>
                  <a:cubicBezTo>
                    <a:pt x="1681" y="2021"/>
                    <a:pt x="1699" y="2065"/>
                    <a:pt x="1759" y="2086"/>
                  </a:cubicBezTo>
                  <a:cubicBezTo>
                    <a:pt x="1776" y="2086"/>
                    <a:pt x="1793" y="2086"/>
                    <a:pt x="1810" y="2086"/>
                  </a:cubicBezTo>
                  <a:cubicBezTo>
                    <a:pt x="1869" y="2065"/>
                    <a:pt x="1886" y="2021"/>
                    <a:pt x="1886" y="1961"/>
                  </a:cubicBezTo>
                  <a:cubicBezTo>
                    <a:pt x="1885" y="1538"/>
                    <a:pt x="1886" y="1115"/>
                    <a:pt x="1886" y="692"/>
                  </a:cubicBezTo>
                  <a:cubicBezTo>
                    <a:pt x="1886" y="681"/>
                    <a:pt x="1886" y="670"/>
                    <a:pt x="1886" y="657"/>
                  </a:cubicBezTo>
                  <a:cubicBezTo>
                    <a:pt x="1897" y="657"/>
                    <a:pt x="1906" y="657"/>
                    <a:pt x="1919" y="657"/>
                  </a:cubicBezTo>
                  <a:cubicBezTo>
                    <a:pt x="1919" y="668"/>
                    <a:pt x="1919" y="678"/>
                    <a:pt x="1919" y="688"/>
                  </a:cubicBezTo>
                  <a:cubicBezTo>
                    <a:pt x="1919" y="831"/>
                    <a:pt x="1919" y="974"/>
                    <a:pt x="1919" y="1117"/>
                  </a:cubicBezTo>
                  <a:cubicBezTo>
                    <a:pt x="1919" y="1129"/>
                    <a:pt x="1919" y="1141"/>
                    <a:pt x="1921" y="1153"/>
                  </a:cubicBezTo>
                  <a:cubicBezTo>
                    <a:pt x="1927" y="1196"/>
                    <a:pt x="1957" y="1220"/>
                    <a:pt x="2000" y="1217"/>
                  </a:cubicBezTo>
                  <a:cubicBezTo>
                    <a:pt x="2042" y="1214"/>
                    <a:pt x="2069" y="1186"/>
                    <a:pt x="2069" y="1144"/>
                  </a:cubicBezTo>
                  <a:cubicBezTo>
                    <a:pt x="2070" y="1025"/>
                    <a:pt x="2069" y="906"/>
                    <a:pt x="2069" y="788"/>
                  </a:cubicBezTo>
                  <a:cubicBezTo>
                    <a:pt x="2069" y="731"/>
                    <a:pt x="2070" y="674"/>
                    <a:pt x="2069" y="617"/>
                  </a:cubicBezTo>
                  <a:cubicBezTo>
                    <a:pt x="2068" y="483"/>
                    <a:pt x="1974" y="386"/>
                    <a:pt x="1840" y="384"/>
                  </a:cubicBezTo>
                  <a:cubicBezTo>
                    <a:pt x="1798" y="383"/>
                    <a:pt x="1756" y="383"/>
                    <a:pt x="1714" y="383"/>
                  </a:cubicBezTo>
                  <a:cubicBezTo>
                    <a:pt x="1714" y="403"/>
                    <a:pt x="1714" y="403"/>
                    <a:pt x="1714" y="403"/>
                  </a:cubicBezTo>
                  <a:cubicBezTo>
                    <a:pt x="1687" y="457"/>
                    <a:pt x="1687" y="457"/>
                    <a:pt x="1687" y="457"/>
                  </a:cubicBezTo>
                  <a:cubicBezTo>
                    <a:pt x="1683" y="468"/>
                    <a:pt x="1683" y="468"/>
                    <a:pt x="1683" y="468"/>
                  </a:cubicBezTo>
                  <a:cubicBezTo>
                    <a:pt x="1709" y="912"/>
                    <a:pt x="1709" y="912"/>
                    <a:pt x="1709" y="912"/>
                  </a:cubicBezTo>
                  <a:cubicBezTo>
                    <a:pt x="1663" y="963"/>
                    <a:pt x="1663" y="963"/>
                    <a:pt x="1663" y="963"/>
                  </a:cubicBezTo>
                  <a:cubicBezTo>
                    <a:pt x="1662" y="962"/>
                    <a:pt x="1662" y="962"/>
                    <a:pt x="1662" y="962"/>
                  </a:cubicBezTo>
                  <a:cubicBezTo>
                    <a:pt x="1662" y="963"/>
                    <a:pt x="1662" y="963"/>
                    <a:pt x="1662" y="963"/>
                  </a:cubicBezTo>
                  <a:cubicBezTo>
                    <a:pt x="1616" y="912"/>
                    <a:pt x="1616" y="912"/>
                    <a:pt x="1616" y="912"/>
                  </a:cubicBezTo>
                  <a:cubicBezTo>
                    <a:pt x="1642" y="468"/>
                    <a:pt x="1642" y="468"/>
                    <a:pt x="1642" y="468"/>
                  </a:cubicBezTo>
                  <a:cubicBezTo>
                    <a:pt x="1638" y="457"/>
                    <a:pt x="1638" y="457"/>
                    <a:pt x="1638" y="457"/>
                  </a:cubicBezTo>
                  <a:cubicBezTo>
                    <a:pt x="1611" y="403"/>
                    <a:pt x="1611" y="403"/>
                    <a:pt x="1611" y="403"/>
                  </a:cubicBezTo>
                  <a:cubicBezTo>
                    <a:pt x="1611" y="383"/>
                    <a:pt x="1611" y="383"/>
                    <a:pt x="1611" y="383"/>
                  </a:cubicBezTo>
                  <a:cubicBezTo>
                    <a:pt x="1571" y="383"/>
                    <a:pt x="1531" y="383"/>
                    <a:pt x="1491" y="383"/>
                  </a:cubicBezTo>
                  <a:cubicBezTo>
                    <a:pt x="1373" y="385"/>
                    <a:pt x="1292" y="451"/>
                    <a:pt x="1264" y="566"/>
                  </a:cubicBezTo>
                  <a:cubicBezTo>
                    <a:pt x="1264" y="569"/>
                    <a:pt x="1262" y="572"/>
                    <a:pt x="1260" y="575"/>
                  </a:cubicBezTo>
                  <a:cubicBezTo>
                    <a:pt x="1260" y="772"/>
                    <a:pt x="1260" y="969"/>
                    <a:pt x="1260" y="1165"/>
                  </a:cubicBezTo>
                  <a:cubicBezTo>
                    <a:pt x="1273" y="1187"/>
                    <a:pt x="1287" y="1208"/>
                    <a:pt x="1314" y="1215"/>
                  </a:cubicBezTo>
                  <a:close/>
                  <a:moveTo>
                    <a:pt x="1648" y="345"/>
                  </a:moveTo>
                  <a:cubicBezTo>
                    <a:pt x="1724" y="352"/>
                    <a:pt x="1796" y="310"/>
                    <a:pt x="1825" y="240"/>
                  </a:cubicBezTo>
                  <a:cubicBezTo>
                    <a:pt x="1855" y="169"/>
                    <a:pt x="1836" y="88"/>
                    <a:pt x="1773" y="39"/>
                  </a:cubicBezTo>
                  <a:cubicBezTo>
                    <a:pt x="1751" y="22"/>
                    <a:pt x="1723" y="13"/>
                    <a:pt x="1698" y="0"/>
                  </a:cubicBezTo>
                  <a:cubicBezTo>
                    <a:pt x="1676" y="0"/>
                    <a:pt x="1654" y="0"/>
                    <a:pt x="1632" y="0"/>
                  </a:cubicBezTo>
                  <a:cubicBezTo>
                    <a:pt x="1624" y="3"/>
                    <a:pt x="1617" y="7"/>
                    <a:pt x="1609" y="10"/>
                  </a:cubicBezTo>
                  <a:cubicBezTo>
                    <a:pt x="1529" y="37"/>
                    <a:pt x="1478" y="126"/>
                    <a:pt x="1496" y="208"/>
                  </a:cubicBezTo>
                  <a:cubicBezTo>
                    <a:pt x="1512" y="282"/>
                    <a:pt x="1575" y="339"/>
                    <a:pt x="1648" y="345"/>
                  </a:cubicBezTo>
                  <a:close/>
                  <a:moveTo>
                    <a:pt x="3330" y="2961"/>
                  </a:moveTo>
                  <a:cubicBezTo>
                    <a:pt x="3330" y="3772"/>
                    <a:pt x="3330" y="3772"/>
                    <a:pt x="3330" y="3772"/>
                  </a:cubicBezTo>
                  <a:cubicBezTo>
                    <a:pt x="0" y="3772"/>
                    <a:pt x="0" y="3772"/>
                    <a:pt x="0" y="3772"/>
                  </a:cubicBezTo>
                  <a:cubicBezTo>
                    <a:pt x="0" y="2961"/>
                    <a:pt x="0" y="2961"/>
                    <a:pt x="0" y="2961"/>
                  </a:cubicBezTo>
                  <a:cubicBezTo>
                    <a:pt x="1006" y="2961"/>
                    <a:pt x="1006" y="2961"/>
                    <a:pt x="1006" y="2961"/>
                  </a:cubicBezTo>
                  <a:cubicBezTo>
                    <a:pt x="1006" y="2162"/>
                    <a:pt x="1006" y="2162"/>
                    <a:pt x="1006" y="2162"/>
                  </a:cubicBezTo>
                  <a:cubicBezTo>
                    <a:pt x="2323" y="2162"/>
                    <a:pt x="2323" y="2162"/>
                    <a:pt x="2323" y="2162"/>
                  </a:cubicBezTo>
                  <a:cubicBezTo>
                    <a:pt x="2323" y="2961"/>
                    <a:pt x="2323" y="2961"/>
                    <a:pt x="2323" y="2961"/>
                  </a:cubicBezTo>
                  <a:lnTo>
                    <a:pt x="3330" y="2961"/>
                  </a:lnTo>
                  <a:close/>
                  <a:moveTo>
                    <a:pt x="1925" y="3119"/>
                  </a:moveTo>
                  <a:cubicBezTo>
                    <a:pt x="1925" y="3021"/>
                    <a:pt x="1872" y="2961"/>
                    <a:pt x="1743" y="2915"/>
                  </a:cubicBezTo>
                  <a:cubicBezTo>
                    <a:pt x="1650" y="2880"/>
                    <a:pt x="1612" y="2857"/>
                    <a:pt x="1612" y="2822"/>
                  </a:cubicBezTo>
                  <a:cubicBezTo>
                    <a:pt x="1612" y="2791"/>
                    <a:pt x="1635" y="2761"/>
                    <a:pt x="1706" y="2761"/>
                  </a:cubicBezTo>
                  <a:cubicBezTo>
                    <a:pt x="1784" y="2761"/>
                    <a:pt x="1834" y="2786"/>
                    <a:pt x="1863" y="2798"/>
                  </a:cubicBezTo>
                  <a:cubicBezTo>
                    <a:pt x="1894" y="2675"/>
                    <a:pt x="1894" y="2675"/>
                    <a:pt x="1894" y="2675"/>
                  </a:cubicBezTo>
                  <a:cubicBezTo>
                    <a:pt x="1859" y="2657"/>
                    <a:pt x="1809" y="2642"/>
                    <a:pt x="1736" y="2638"/>
                  </a:cubicBezTo>
                  <a:cubicBezTo>
                    <a:pt x="1736" y="2543"/>
                    <a:pt x="1736" y="2543"/>
                    <a:pt x="1736" y="2543"/>
                  </a:cubicBezTo>
                  <a:cubicBezTo>
                    <a:pt x="1630" y="2543"/>
                    <a:pt x="1630" y="2543"/>
                    <a:pt x="1630" y="2543"/>
                  </a:cubicBezTo>
                  <a:cubicBezTo>
                    <a:pt x="1630" y="2646"/>
                    <a:pt x="1630" y="2646"/>
                    <a:pt x="1630" y="2646"/>
                  </a:cubicBezTo>
                  <a:cubicBezTo>
                    <a:pt x="1513" y="2669"/>
                    <a:pt x="1446" y="2744"/>
                    <a:pt x="1446" y="2840"/>
                  </a:cubicBezTo>
                  <a:cubicBezTo>
                    <a:pt x="1446" y="2946"/>
                    <a:pt x="1525" y="3000"/>
                    <a:pt x="1642" y="3039"/>
                  </a:cubicBezTo>
                  <a:cubicBezTo>
                    <a:pt x="1722" y="3067"/>
                    <a:pt x="1757" y="3093"/>
                    <a:pt x="1757" y="3134"/>
                  </a:cubicBezTo>
                  <a:cubicBezTo>
                    <a:pt x="1757" y="3178"/>
                    <a:pt x="1715" y="3202"/>
                    <a:pt x="1653" y="3202"/>
                  </a:cubicBezTo>
                  <a:cubicBezTo>
                    <a:pt x="1582" y="3202"/>
                    <a:pt x="1518" y="3179"/>
                    <a:pt x="1472" y="3154"/>
                  </a:cubicBezTo>
                  <a:cubicBezTo>
                    <a:pt x="1439" y="3281"/>
                    <a:pt x="1439" y="3281"/>
                    <a:pt x="1439" y="3281"/>
                  </a:cubicBezTo>
                  <a:cubicBezTo>
                    <a:pt x="1481" y="3305"/>
                    <a:pt x="1551" y="3325"/>
                    <a:pt x="1624" y="3328"/>
                  </a:cubicBezTo>
                  <a:cubicBezTo>
                    <a:pt x="1624" y="3432"/>
                    <a:pt x="1624" y="3432"/>
                    <a:pt x="1624" y="3432"/>
                  </a:cubicBezTo>
                  <a:cubicBezTo>
                    <a:pt x="1731" y="3432"/>
                    <a:pt x="1731" y="3432"/>
                    <a:pt x="1731" y="3432"/>
                  </a:cubicBezTo>
                  <a:cubicBezTo>
                    <a:pt x="1731" y="3320"/>
                    <a:pt x="1731" y="3320"/>
                    <a:pt x="1731" y="3320"/>
                  </a:cubicBezTo>
                  <a:cubicBezTo>
                    <a:pt x="1856" y="3299"/>
                    <a:pt x="1925" y="3216"/>
                    <a:pt x="1925" y="31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985282" y="1634066"/>
            <a:ext cx="887996" cy="887996"/>
            <a:chOff x="985282" y="1634066"/>
            <a:chExt cx="887996" cy="887996"/>
          </a:xfrm>
        </p:grpSpPr>
        <p:sp>
          <p:nvSpPr>
            <p:cNvPr id="69" name="Oval 68"/>
            <p:cNvSpPr/>
            <p:nvPr/>
          </p:nvSpPr>
          <p:spPr>
            <a:xfrm>
              <a:off x="985282" y="1634066"/>
              <a:ext cx="887996" cy="8879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Freeform 125"/>
            <p:cNvSpPr>
              <a:spLocks noEditPoints="1"/>
            </p:cNvSpPr>
            <p:nvPr/>
          </p:nvSpPr>
          <p:spPr bwMode="auto">
            <a:xfrm>
              <a:off x="1169906" y="1842322"/>
              <a:ext cx="518748" cy="471484"/>
            </a:xfrm>
            <a:custGeom>
              <a:avLst/>
              <a:gdLst>
                <a:gd name="T0" fmla="*/ 608 w 3754"/>
                <a:gd name="T1" fmla="*/ 0 h 3412"/>
                <a:gd name="T2" fmla="*/ 924 w 3754"/>
                <a:gd name="T3" fmla="*/ 393 h 3412"/>
                <a:gd name="T4" fmla="*/ 3754 w 3754"/>
                <a:gd name="T5" fmla="*/ 128 h 3412"/>
                <a:gd name="T6" fmla="*/ 1992 w 3754"/>
                <a:gd name="T7" fmla="*/ 1726 h 3412"/>
                <a:gd name="T8" fmla="*/ 1531 w 3754"/>
                <a:gd name="T9" fmla="*/ 1505 h 3412"/>
                <a:gd name="T10" fmla="*/ 1531 w 3754"/>
                <a:gd name="T11" fmla="*/ 1049 h 3412"/>
                <a:gd name="T12" fmla="*/ 1034 w 3754"/>
                <a:gd name="T13" fmla="*/ 894 h 3412"/>
                <a:gd name="T14" fmla="*/ 1033 w 3754"/>
                <a:gd name="T15" fmla="*/ 1906 h 3412"/>
                <a:gd name="T16" fmla="*/ 1034 w 3754"/>
                <a:gd name="T17" fmla="*/ 3202 h 3412"/>
                <a:gd name="T18" fmla="*/ 816 w 3754"/>
                <a:gd name="T19" fmla="*/ 3412 h 3412"/>
                <a:gd name="T20" fmla="*/ 691 w 3754"/>
                <a:gd name="T21" fmla="*/ 1985 h 3412"/>
                <a:gd name="T22" fmla="*/ 647 w 3754"/>
                <a:gd name="T23" fmla="*/ 3204 h 3412"/>
                <a:gd name="T24" fmla="*/ 425 w 3754"/>
                <a:gd name="T25" fmla="*/ 3412 h 3412"/>
                <a:gd name="T26" fmla="*/ 305 w 3754"/>
                <a:gd name="T27" fmla="*/ 1129 h 3412"/>
                <a:gd name="T28" fmla="*/ 249 w 3754"/>
                <a:gd name="T29" fmla="*/ 1121 h 3412"/>
                <a:gd name="T30" fmla="*/ 88 w 3754"/>
                <a:gd name="T31" fmla="*/ 1986 h 3412"/>
                <a:gd name="T32" fmla="*/ 7 w 3754"/>
                <a:gd name="T33" fmla="*/ 926 h 3412"/>
                <a:gd name="T34" fmla="*/ 386 w 3754"/>
                <a:gd name="T35" fmla="*/ 627 h 3412"/>
                <a:gd name="T36" fmla="*/ 746 w 3754"/>
                <a:gd name="T37" fmla="*/ 626 h 3412"/>
                <a:gd name="T38" fmla="*/ 813 w 3754"/>
                <a:gd name="T39" fmla="*/ 627 h 3412"/>
                <a:gd name="T40" fmla="*/ 1354 w 3754"/>
                <a:gd name="T41" fmla="*/ 733 h 3412"/>
                <a:gd name="T42" fmla="*/ 1531 w 3754"/>
                <a:gd name="T43" fmla="*/ 128 h 3412"/>
                <a:gd name="T44" fmla="*/ 3754 w 3754"/>
                <a:gd name="T45" fmla="*/ 128 h 3412"/>
                <a:gd name="T46" fmla="*/ 672 w 3754"/>
                <a:gd name="T47" fmla="*/ 773 h 3412"/>
                <a:gd name="T48" fmla="*/ 748 w 3754"/>
                <a:gd name="T49" fmla="*/ 660 h 3412"/>
                <a:gd name="T50" fmla="*/ 601 w 3754"/>
                <a:gd name="T51" fmla="*/ 660 h 3412"/>
                <a:gd name="T52" fmla="*/ 675 w 3754"/>
                <a:gd name="T53" fmla="*/ 823 h 3412"/>
                <a:gd name="T54" fmla="*/ 675 w 3754"/>
                <a:gd name="T55" fmla="*/ 1396 h 3412"/>
                <a:gd name="T56" fmla="*/ 3631 w 3754"/>
                <a:gd name="T57" fmla="*/ 107 h 3412"/>
                <a:gd name="T58" fmla="*/ 1633 w 3754"/>
                <a:gd name="T59" fmla="*/ 627 h 3412"/>
                <a:gd name="T60" fmla="*/ 1786 w 3754"/>
                <a:gd name="T61" fmla="*/ 767 h 3412"/>
                <a:gd name="T62" fmla="*/ 1786 w 3754"/>
                <a:gd name="T63" fmla="*/ 634 h 3412"/>
                <a:gd name="T64" fmla="*/ 2390 w 3754"/>
                <a:gd name="T65" fmla="*/ 255 h 3412"/>
                <a:gd name="T66" fmla="*/ 2289 w 3754"/>
                <a:gd name="T67" fmla="*/ 475 h 3412"/>
                <a:gd name="T68" fmla="*/ 2176 w 3754"/>
                <a:gd name="T69" fmla="*/ 634 h 3412"/>
                <a:gd name="T70" fmla="*/ 2316 w 3754"/>
                <a:gd name="T71" fmla="*/ 927 h 3412"/>
                <a:gd name="T72" fmla="*/ 1987 w 3754"/>
                <a:gd name="T73" fmla="*/ 1056 h 3412"/>
                <a:gd name="T74" fmla="*/ 2316 w 3754"/>
                <a:gd name="T75" fmla="*/ 1219 h 3412"/>
                <a:gd name="T76" fmla="*/ 1756 w 3754"/>
                <a:gd name="T77" fmla="*/ 1224 h 3412"/>
                <a:gd name="T78" fmla="*/ 1769 w 3754"/>
                <a:gd name="T79" fmla="*/ 1126 h 3412"/>
                <a:gd name="T80" fmla="*/ 1633 w 3754"/>
                <a:gd name="T81" fmla="*/ 1226 h 3412"/>
                <a:gd name="T82" fmla="*/ 1654 w 3754"/>
                <a:gd name="T83" fmla="*/ 1624 h 3412"/>
                <a:gd name="T84" fmla="*/ 3652 w 3754"/>
                <a:gd name="T85" fmla="*/ 1603 h 3412"/>
                <a:gd name="T86" fmla="*/ 2639 w 3754"/>
                <a:gd name="T87" fmla="*/ 783 h 3412"/>
                <a:gd name="T88" fmla="*/ 3170 w 3754"/>
                <a:gd name="T89" fmla="*/ 481 h 3412"/>
                <a:gd name="T90" fmla="*/ 3170 w 3754"/>
                <a:gd name="T91" fmla="*/ 1310 h 3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54" h="3412">
                  <a:moveTo>
                    <a:pt x="386" y="340"/>
                  </a:moveTo>
                  <a:cubicBezTo>
                    <a:pt x="356" y="205"/>
                    <a:pt x="439" y="61"/>
                    <a:pt x="571" y="17"/>
                  </a:cubicBezTo>
                  <a:cubicBezTo>
                    <a:pt x="584" y="12"/>
                    <a:pt x="596" y="6"/>
                    <a:pt x="608" y="0"/>
                  </a:cubicBezTo>
                  <a:cubicBezTo>
                    <a:pt x="644" y="0"/>
                    <a:pt x="680" y="0"/>
                    <a:pt x="716" y="0"/>
                  </a:cubicBezTo>
                  <a:cubicBezTo>
                    <a:pt x="757" y="21"/>
                    <a:pt x="804" y="36"/>
                    <a:pt x="840" y="64"/>
                  </a:cubicBezTo>
                  <a:cubicBezTo>
                    <a:pt x="942" y="143"/>
                    <a:pt x="973" y="276"/>
                    <a:pt x="924" y="393"/>
                  </a:cubicBezTo>
                  <a:cubicBezTo>
                    <a:pt x="876" y="507"/>
                    <a:pt x="759" y="576"/>
                    <a:pt x="634" y="565"/>
                  </a:cubicBezTo>
                  <a:cubicBezTo>
                    <a:pt x="516" y="554"/>
                    <a:pt x="413" y="461"/>
                    <a:pt x="386" y="340"/>
                  </a:cubicBezTo>
                  <a:close/>
                  <a:moveTo>
                    <a:pt x="3754" y="128"/>
                  </a:moveTo>
                  <a:cubicBezTo>
                    <a:pt x="3754" y="1603"/>
                    <a:pt x="3754" y="1603"/>
                    <a:pt x="3754" y="1603"/>
                  </a:cubicBezTo>
                  <a:cubicBezTo>
                    <a:pt x="3754" y="1671"/>
                    <a:pt x="3699" y="1726"/>
                    <a:pt x="3631" y="1726"/>
                  </a:cubicBezTo>
                  <a:cubicBezTo>
                    <a:pt x="1992" y="1726"/>
                    <a:pt x="1992" y="1726"/>
                    <a:pt x="1992" y="1726"/>
                  </a:cubicBezTo>
                  <a:cubicBezTo>
                    <a:pt x="1654" y="1726"/>
                    <a:pt x="1654" y="1726"/>
                    <a:pt x="1654" y="1726"/>
                  </a:cubicBezTo>
                  <a:cubicBezTo>
                    <a:pt x="1586" y="1726"/>
                    <a:pt x="1531" y="1671"/>
                    <a:pt x="1531" y="1603"/>
                  </a:cubicBezTo>
                  <a:cubicBezTo>
                    <a:pt x="1531" y="1505"/>
                    <a:pt x="1531" y="1505"/>
                    <a:pt x="1531" y="1505"/>
                  </a:cubicBezTo>
                  <a:cubicBezTo>
                    <a:pt x="1531" y="1465"/>
                    <a:pt x="1531" y="1465"/>
                    <a:pt x="1531" y="1465"/>
                  </a:cubicBezTo>
                  <a:cubicBezTo>
                    <a:pt x="1531" y="1287"/>
                    <a:pt x="1531" y="1287"/>
                    <a:pt x="1531" y="1287"/>
                  </a:cubicBezTo>
                  <a:cubicBezTo>
                    <a:pt x="1531" y="1049"/>
                    <a:pt x="1531" y="1049"/>
                    <a:pt x="1531" y="1049"/>
                  </a:cubicBezTo>
                  <a:cubicBezTo>
                    <a:pt x="1394" y="1005"/>
                    <a:pt x="1258" y="961"/>
                    <a:pt x="1122" y="916"/>
                  </a:cubicBezTo>
                  <a:cubicBezTo>
                    <a:pt x="1075" y="901"/>
                    <a:pt x="1075" y="901"/>
                    <a:pt x="1075" y="901"/>
                  </a:cubicBezTo>
                  <a:cubicBezTo>
                    <a:pt x="1034" y="894"/>
                    <a:pt x="1034" y="894"/>
                    <a:pt x="1034" y="894"/>
                  </a:cubicBezTo>
                  <a:cubicBezTo>
                    <a:pt x="1034" y="1066"/>
                    <a:pt x="1034" y="1066"/>
                    <a:pt x="1034" y="1066"/>
                  </a:cubicBezTo>
                  <a:cubicBezTo>
                    <a:pt x="1034" y="1066"/>
                    <a:pt x="1033" y="1066"/>
                    <a:pt x="1033" y="1066"/>
                  </a:cubicBezTo>
                  <a:cubicBezTo>
                    <a:pt x="1033" y="1906"/>
                    <a:pt x="1033" y="1906"/>
                    <a:pt x="1033" y="1906"/>
                  </a:cubicBezTo>
                  <a:cubicBezTo>
                    <a:pt x="1033" y="2290"/>
                    <a:pt x="1033" y="2290"/>
                    <a:pt x="1033" y="2290"/>
                  </a:cubicBezTo>
                  <a:cubicBezTo>
                    <a:pt x="1033" y="2530"/>
                    <a:pt x="1034" y="2770"/>
                    <a:pt x="1034" y="3010"/>
                  </a:cubicBezTo>
                  <a:cubicBezTo>
                    <a:pt x="1034" y="3074"/>
                    <a:pt x="1034" y="3138"/>
                    <a:pt x="1034" y="3202"/>
                  </a:cubicBezTo>
                  <a:cubicBezTo>
                    <a:pt x="1034" y="3290"/>
                    <a:pt x="1011" y="3358"/>
                    <a:pt x="935" y="3396"/>
                  </a:cubicBezTo>
                  <a:cubicBezTo>
                    <a:pt x="924" y="3402"/>
                    <a:pt x="912" y="3407"/>
                    <a:pt x="899" y="3412"/>
                  </a:cubicBezTo>
                  <a:cubicBezTo>
                    <a:pt x="871" y="3412"/>
                    <a:pt x="844" y="3412"/>
                    <a:pt x="816" y="3412"/>
                  </a:cubicBezTo>
                  <a:cubicBezTo>
                    <a:pt x="718" y="3377"/>
                    <a:pt x="689" y="3305"/>
                    <a:pt x="690" y="3204"/>
                  </a:cubicBezTo>
                  <a:cubicBezTo>
                    <a:pt x="693" y="2815"/>
                    <a:pt x="691" y="2425"/>
                    <a:pt x="691" y="2036"/>
                  </a:cubicBezTo>
                  <a:cubicBezTo>
                    <a:pt x="691" y="2019"/>
                    <a:pt x="691" y="2003"/>
                    <a:pt x="691" y="1985"/>
                  </a:cubicBezTo>
                  <a:cubicBezTo>
                    <a:pt x="674" y="1985"/>
                    <a:pt x="661" y="1985"/>
                    <a:pt x="645" y="1985"/>
                  </a:cubicBezTo>
                  <a:cubicBezTo>
                    <a:pt x="645" y="2003"/>
                    <a:pt x="645" y="2018"/>
                    <a:pt x="645" y="2034"/>
                  </a:cubicBezTo>
                  <a:cubicBezTo>
                    <a:pt x="645" y="2424"/>
                    <a:pt x="644" y="2814"/>
                    <a:pt x="647" y="3204"/>
                  </a:cubicBezTo>
                  <a:cubicBezTo>
                    <a:pt x="647" y="3295"/>
                    <a:pt x="621" y="3361"/>
                    <a:pt x="542" y="3397"/>
                  </a:cubicBezTo>
                  <a:cubicBezTo>
                    <a:pt x="532" y="3403"/>
                    <a:pt x="521" y="3408"/>
                    <a:pt x="508" y="3412"/>
                  </a:cubicBezTo>
                  <a:cubicBezTo>
                    <a:pt x="480" y="3412"/>
                    <a:pt x="452" y="3412"/>
                    <a:pt x="425" y="3412"/>
                  </a:cubicBezTo>
                  <a:cubicBezTo>
                    <a:pt x="372" y="3388"/>
                    <a:pt x="325" y="3358"/>
                    <a:pt x="312" y="3296"/>
                  </a:cubicBezTo>
                  <a:cubicBezTo>
                    <a:pt x="306" y="3266"/>
                    <a:pt x="305" y="3235"/>
                    <a:pt x="305" y="3205"/>
                  </a:cubicBezTo>
                  <a:cubicBezTo>
                    <a:pt x="305" y="2513"/>
                    <a:pt x="305" y="1821"/>
                    <a:pt x="305" y="1129"/>
                  </a:cubicBezTo>
                  <a:cubicBezTo>
                    <a:pt x="305" y="1111"/>
                    <a:pt x="305" y="1094"/>
                    <a:pt x="305" y="1074"/>
                  </a:cubicBezTo>
                  <a:cubicBezTo>
                    <a:pt x="284" y="1074"/>
                    <a:pt x="269" y="1074"/>
                    <a:pt x="249" y="1074"/>
                  </a:cubicBezTo>
                  <a:cubicBezTo>
                    <a:pt x="249" y="1092"/>
                    <a:pt x="249" y="1106"/>
                    <a:pt x="249" y="1121"/>
                  </a:cubicBezTo>
                  <a:cubicBezTo>
                    <a:pt x="249" y="1353"/>
                    <a:pt x="249" y="1585"/>
                    <a:pt x="249" y="1816"/>
                  </a:cubicBezTo>
                  <a:cubicBezTo>
                    <a:pt x="249" y="1835"/>
                    <a:pt x="250" y="1855"/>
                    <a:pt x="248" y="1874"/>
                  </a:cubicBezTo>
                  <a:cubicBezTo>
                    <a:pt x="239" y="1960"/>
                    <a:pt x="172" y="2006"/>
                    <a:pt x="88" y="1986"/>
                  </a:cubicBezTo>
                  <a:cubicBezTo>
                    <a:pt x="44" y="1976"/>
                    <a:pt x="21" y="1942"/>
                    <a:pt x="0" y="1906"/>
                  </a:cubicBezTo>
                  <a:cubicBezTo>
                    <a:pt x="0" y="1584"/>
                    <a:pt x="0" y="1262"/>
                    <a:pt x="0" y="941"/>
                  </a:cubicBezTo>
                  <a:cubicBezTo>
                    <a:pt x="3" y="936"/>
                    <a:pt x="6" y="931"/>
                    <a:pt x="7" y="926"/>
                  </a:cubicBezTo>
                  <a:cubicBezTo>
                    <a:pt x="11" y="909"/>
                    <a:pt x="16" y="893"/>
                    <a:pt x="22" y="878"/>
                  </a:cubicBezTo>
                  <a:cubicBezTo>
                    <a:pt x="76" y="720"/>
                    <a:pt x="202" y="629"/>
                    <a:pt x="378" y="627"/>
                  </a:cubicBezTo>
                  <a:cubicBezTo>
                    <a:pt x="380" y="627"/>
                    <a:pt x="383" y="627"/>
                    <a:pt x="386" y="627"/>
                  </a:cubicBezTo>
                  <a:cubicBezTo>
                    <a:pt x="446" y="627"/>
                    <a:pt x="632" y="626"/>
                    <a:pt x="742" y="626"/>
                  </a:cubicBezTo>
                  <a:cubicBezTo>
                    <a:pt x="742" y="626"/>
                    <a:pt x="742" y="626"/>
                    <a:pt x="742" y="626"/>
                  </a:cubicBezTo>
                  <a:cubicBezTo>
                    <a:pt x="743" y="626"/>
                    <a:pt x="744" y="626"/>
                    <a:pt x="746" y="626"/>
                  </a:cubicBezTo>
                  <a:cubicBezTo>
                    <a:pt x="776" y="626"/>
                    <a:pt x="800" y="626"/>
                    <a:pt x="813" y="626"/>
                  </a:cubicBezTo>
                  <a:cubicBezTo>
                    <a:pt x="813" y="626"/>
                    <a:pt x="813" y="626"/>
                    <a:pt x="813" y="626"/>
                  </a:cubicBezTo>
                  <a:cubicBezTo>
                    <a:pt x="813" y="627"/>
                    <a:pt x="813" y="627"/>
                    <a:pt x="813" y="627"/>
                  </a:cubicBezTo>
                  <a:cubicBezTo>
                    <a:pt x="851" y="627"/>
                    <a:pt x="888" y="627"/>
                    <a:pt x="925" y="628"/>
                  </a:cubicBezTo>
                  <a:cubicBezTo>
                    <a:pt x="978" y="623"/>
                    <a:pt x="1033" y="629"/>
                    <a:pt x="1089" y="647"/>
                  </a:cubicBezTo>
                  <a:cubicBezTo>
                    <a:pt x="1177" y="675"/>
                    <a:pt x="1265" y="704"/>
                    <a:pt x="1354" y="733"/>
                  </a:cubicBezTo>
                  <a:cubicBezTo>
                    <a:pt x="1413" y="752"/>
                    <a:pt x="1472" y="771"/>
                    <a:pt x="1531" y="790"/>
                  </a:cubicBezTo>
                  <a:cubicBezTo>
                    <a:pt x="1531" y="627"/>
                    <a:pt x="1531" y="627"/>
                    <a:pt x="1531" y="627"/>
                  </a:cubicBezTo>
                  <a:cubicBezTo>
                    <a:pt x="1531" y="128"/>
                    <a:pt x="1531" y="128"/>
                    <a:pt x="1531" y="128"/>
                  </a:cubicBezTo>
                  <a:cubicBezTo>
                    <a:pt x="1531" y="60"/>
                    <a:pt x="1586" y="5"/>
                    <a:pt x="1654" y="5"/>
                  </a:cubicBezTo>
                  <a:cubicBezTo>
                    <a:pt x="3631" y="5"/>
                    <a:pt x="3631" y="5"/>
                    <a:pt x="3631" y="5"/>
                  </a:cubicBezTo>
                  <a:cubicBezTo>
                    <a:pt x="3699" y="5"/>
                    <a:pt x="3754" y="60"/>
                    <a:pt x="3754" y="128"/>
                  </a:cubicBezTo>
                  <a:close/>
                  <a:moveTo>
                    <a:pt x="601" y="660"/>
                  </a:moveTo>
                  <a:cubicBezTo>
                    <a:pt x="645" y="773"/>
                    <a:pt x="645" y="773"/>
                    <a:pt x="645" y="773"/>
                  </a:cubicBezTo>
                  <a:cubicBezTo>
                    <a:pt x="672" y="773"/>
                    <a:pt x="672" y="773"/>
                    <a:pt x="672" y="773"/>
                  </a:cubicBezTo>
                  <a:cubicBezTo>
                    <a:pt x="677" y="773"/>
                    <a:pt x="677" y="773"/>
                    <a:pt x="677" y="773"/>
                  </a:cubicBezTo>
                  <a:cubicBezTo>
                    <a:pt x="704" y="773"/>
                    <a:pt x="704" y="773"/>
                    <a:pt x="704" y="773"/>
                  </a:cubicBezTo>
                  <a:cubicBezTo>
                    <a:pt x="748" y="660"/>
                    <a:pt x="748" y="660"/>
                    <a:pt x="748" y="660"/>
                  </a:cubicBezTo>
                  <a:cubicBezTo>
                    <a:pt x="677" y="660"/>
                    <a:pt x="677" y="660"/>
                    <a:pt x="677" y="660"/>
                  </a:cubicBezTo>
                  <a:cubicBezTo>
                    <a:pt x="672" y="660"/>
                    <a:pt x="672" y="660"/>
                    <a:pt x="672" y="660"/>
                  </a:cubicBezTo>
                  <a:lnTo>
                    <a:pt x="601" y="660"/>
                  </a:lnTo>
                  <a:close/>
                  <a:moveTo>
                    <a:pt x="755" y="1331"/>
                  </a:moveTo>
                  <a:cubicBezTo>
                    <a:pt x="704" y="823"/>
                    <a:pt x="704" y="823"/>
                    <a:pt x="704" y="823"/>
                  </a:cubicBezTo>
                  <a:cubicBezTo>
                    <a:pt x="675" y="823"/>
                    <a:pt x="675" y="823"/>
                    <a:pt x="675" y="823"/>
                  </a:cubicBezTo>
                  <a:cubicBezTo>
                    <a:pt x="645" y="823"/>
                    <a:pt x="645" y="823"/>
                    <a:pt x="645" y="823"/>
                  </a:cubicBezTo>
                  <a:cubicBezTo>
                    <a:pt x="595" y="1331"/>
                    <a:pt x="595" y="1331"/>
                    <a:pt x="595" y="1331"/>
                  </a:cubicBezTo>
                  <a:cubicBezTo>
                    <a:pt x="675" y="1396"/>
                    <a:pt x="675" y="1396"/>
                    <a:pt x="675" y="1396"/>
                  </a:cubicBezTo>
                  <a:lnTo>
                    <a:pt x="755" y="1331"/>
                  </a:lnTo>
                  <a:close/>
                  <a:moveTo>
                    <a:pt x="3652" y="128"/>
                  </a:moveTo>
                  <a:cubicBezTo>
                    <a:pt x="3652" y="117"/>
                    <a:pt x="3642" y="107"/>
                    <a:pt x="3631" y="107"/>
                  </a:cubicBezTo>
                  <a:cubicBezTo>
                    <a:pt x="1654" y="107"/>
                    <a:pt x="1654" y="107"/>
                    <a:pt x="1654" y="107"/>
                  </a:cubicBezTo>
                  <a:cubicBezTo>
                    <a:pt x="1642" y="107"/>
                    <a:pt x="1633" y="117"/>
                    <a:pt x="1633" y="128"/>
                  </a:cubicBezTo>
                  <a:cubicBezTo>
                    <a:pt x="1633" y="627"/>
                    <a:pt x="1633" y="627"/>
                    <a:pt x="1633" y="627"/>
                  </a:cubicBezTo>
                  <a:cubicBezTo>
                    <a:pt x="1633" y="823"/>
                    <a:pt x="1633" y="823"/>
                    <a:pt x="1633" y="823"/>
                  </a:cubicBezTo>
                  <a:cubicBezTo>
                    <a:pt x="1684" y="840"/>
                    <a:pt x="1735" y="856"/>
                    <a:pt x="1786" y="873"/>
                  </a:cubicBezTo>
                  <a:cubicBezTo>
                    <a:pt x="1786" y="767"/>
                    <a:pt x="1786" y="767"/>
                    <a:pt x="1786" y="767"/>
                  </a:cubicBezTo>
                  <a:cubicBezTo>
                    <a:pt x="2025" y="767"/>
                    <a:pt x="2025" y="767"/>
                    <a:pt x="2025" y="767"/>
                  </a:cubicBezTo>
                  <a:cubicBezTo>
                    <a:pt x="2119" y="634"/>
                    <a:pt x="2119" y="634"/>
                    <a:pt x="2119" y="634"/>
                  </a:cubicBezTo>
                  <a:cubicBezTo>
                    <a:pt x="1786" y="634"/>
                    <a:pt x="1786" y="634"/>
                    <a:pt x="1786" y="634"/>
                  </a:cubicBezTo>
                  <a:cubicBezTo>
                    <a:pt x="1786" y="475"/>
                    <a:pt x="1786" y="475"/>
                    <a:pt x="1786" y="475"/>
                  </a:cubicBezTo>
                  <a:cubicBezTo>
                    <a:pt x="2233" y="475"/>
                    <a:pt x="2233" y="475"/>
                    <a:pt x="2233" y="475"/>
                  </a:cubicBezTo>
                  <a:cubicBezTo>
                    <a:pt x="2390" y="255"/>
                    <a:pt x="2390" y="255"/>
                    <a:pt x="2390" y="255"/>
                  </a:cubicBezTo>
                  <a:cubicBezTo>
                    <a:pt x="2394" y="248"/>
                    <a:pt x="2406" y="249"/>
                    <a:pt x="2416" y="256"/>
                  </a:cubicBezTo>
                  <a:cubicBezTo>
                    <a:pt x="2427" y="264"/>
                    <a:pt x="2431" y="275"/>
                    <a:pt x="2427" y="281"/>
                  </a:cubicBezTo>
                  <a:cubicBezTo>
                    <a:pt x="2289" y="475"/>
                    <a:pt x="2289" y="475"/>
                    <a:pt x="2289" y="475"/>
                  </a:cubicBezTo>
                  <a:cubicBezTo>
                    <a:pt x="2316" y="475"/>
                    <a:pt x="2316" y="475"/>
                    <a:pt x="2316" y="475"/>
                  </a:cubicBezTo>
                  <a:cubicBezTo>
                    <a:pt x="2316" y="634"/>
                    <a:pt x="2316" y="634"/>
                    <a:pt x="2316" y="634"/>
                  </a:cubicBezTo>
                  <a:cubicBezTo>
                    <a:pt x="2176" y="634"/>
                    <a:pt x="2176" y="634"/>
                    <a:pt x="2176" y="634"/>
                  </a:cubicBezTo>
                  <a:cubicBezTo>
                    <a:pt x="2081" y="767"/>
                    <a:pt x="2081" y="767"/>
                    <a:pt x="2081" y="767"/>
                  </a:cubicBezTo>
                  <a:cubicBezTo>
                    <a:pt x="2316" y="767"/>
                    <a:pt x="2316" y="767"/>
                    <a:pt x="2316" y="767"/>
                  </a:cubicBezTo>
                  <a:cubicBezTo>
                    <a:pt x="2316" y="927"/>
                    <a:pt x="2316" y="927"/>
                    <a:pt x="2316" y="927"/>
                  </a:cubicBezTo>
                  <a:cubicBezTo>
                    <a:pt x="1967" y="927"/>
                    <a:pt x="1967" y="927"/>
                    <a:pt x="1967" y="927"/>
                  </a:cubicBezTo>
                  <a:cubicBezTo>
                    <a:pt x="1957" y="941"/>
                    <a:pt x="1957" y="941"/>
                    <a:pt x="1957" y="941"/>
                  </a:cubicBezTo>
                  <a:cubicBezTo>
                    <a:pt x="1987" y="969"/>
                    <a:pt x="1998" y="1011"/>
                    <a:pt x="1987" y="1056"/>
                  </a:cubicBezTo>
                  <a:cubicBezTo>
                    <a:pt x="1986" y="1058"/>
                    <a:pt x="1986" y="1059"/>
                    <a:pt x="1986" y="1060"/>
                  </a:cubicBezTo>
                  <a:cubicBezTo>
                    <a:pt x="2316" y="1060"/>
                    <a:pt x="2316" y="1060"/>
                    <a:pt x="2316" y="1060"/>
                  </a:cubicBezTo>
                  <a:cubicBezTo>
                    <a:pt x="2316" y="1219"/>
                    <a:pt x="2316" y="1219"/>
                    <a:pt x="2316" y="1219"/>
                  </a:cubicBezTo>
                  <a:cubicBezTo>
                    <a:pt x="1786" y="1219"/>
                    <a:pt x="1786" y="1219"/>
                    <a:pt x="1786" y="1219"/>
                  </a:cubicBezTo>
                  <a:cubicBezTo>
                    <a:pt x="1786" y="1182"/>
                    <a:pt x="1786" y="1182"/>
                    <a:pt x="1786" y="1182"/>
                  </a:cubicBezTo>
                  <a:cubicBezTo>
                    <a:pt x="1756" y="1224"/>
                    <a:pt x="1756" y="1224"/>
                    <a:pt x="1756" y="1224"/>
                  </a:cubicBezTo>
                  <a:cubicBezTo>
                    <a:pt x="1751" y="1230"/>
                    <a:pt x="1739" y="1229"/>
                    <a:pt x="1729" y="1222"/>
                  </a:cubicBezTo>
                  <a:cubicBezTo>
                    <a:pt x="1719" y="1215"/>
                    <a:pt x="1714" y="1203"/>
                    <a:pt x="1718" y="1197"/>
                  </a:cubicBezTo>
                  <a:cubicBezTo>
                    <a:pt x="1769" y="1126"/>
                    <a:pt x="1769" y="1126"/>
                    <a:pt x="1769" y="1126"/>
                  </a:cubicBezTo>
                  <a:cubicBezTo>
                    <a:pt x="1742" y="1117"/>
                    <a:pt x="1714" y="1109"/>
                    <a:pt x="1687" y="1100"/>
                  </a:cubicBezTo>
                  <a:cubicBezTo>
                    <a:pt x="1669" y="1094"/>
                    <a:pt x="1651" y="1088"/>
                    <a:pt x="1633" y="1082"/>
                  </a:cubicBezTo>
                  <a:cubicBezTo>
                    <a:pt x="1633" y="1226"/>
                    <a:pt x="1633" y="1226"/>
                    <a:pt x="1633" y="1226"/>
                  </a:cubicBezTo>
                  <a:cubicBezTo>
                    <a:pt x="1633" y="1505"/>
                    <a:pt x="1633" y="1505"/>
                    <a:pt x="1633" y="1505"/>
                  </a:cubicBezTo>
                  <a:cubicBezTo>
                    <a:pt x="1633" y="1603"/>
                    <a:pt x="1633" y="1603"/>
                    <a:pt x="1633" y="1603"/>
                  </a:cubicBezTo>
                  <a:cubicBezTo>
                    <a:pt x="1633" y="1615"/>
                    <a:pt x="1642" y="1624"/>
                    <a:pt x="1654" y="1624"/>
                  </a:cubicBezTo>
                  <a:cubicBezTo>
                    <a:pt x="2039" y="1624"/>
                    <a:pt x="2039" y="1624"/>
                    <a:pt x="2039" y="1624"/>
                  </a:cubicBezTo>
                  <a:cubicBezTo>
                    <a:pt x="3631" y="1624"/>
                    <a:pt x="3631" y="1624"/>
                    <a:pt x="3631" y="1624"/>
                  </a:cubicBezTo>
                  <a:cubicBezTo>
                    <a:pt x="3642" y="1624"/>
                    <a:pt x="3652" y="1615"/>
                    <a:pt x="3652" y="1603"/>
                  </a:cubicBezTo>
                  <a:lnTo>
                    <a:pt x="3652" y="128"/>
                  </a:lnTo>
                  <a:close/>
                  <a:moveTo>
                    <a:pt x="3053" y="368"/>
                  </a:moveTo>
                  <a:cubicBezTo>
                    <a:pt x="2824" y="368"/>
                    <a:pt x="2639" y="554"/>
                    <a:pt x="2639" y="783"/>
                  </a:cubicBezTo>
                  <a:cubicBezTo>
                    <a:pt x="3053" y="783"/>
                    <a:pt x="3053" y="783"/>
                    <a:pt x="3053" y="783"/>
                  </a:cubicBezTo>
                  <a:lnTo>
                    <a:pt x="3053" y="368"/>
                  </a:lnTo>
                  <a:close/>
                  <a:moveTo>
                    <a:pt x="3170" y="481"/>
                  </a:moveTo>
                  <a:cubicBezTo>
                    <a:pt x="3170" y="896"/>
                    <a:pt x="3170" y="896"/>
                    <a:pt x="3170" y="896"/>
                  </a:cubicBezTo>
                  <a:cubicBezTo>
                    <a:pt x="2755" y="896"/>
                    <a:pt x="2755" y="896"/>
                    <a:pt x="2755" y="896"/>
                  </a:cubicBezTo>
                  <a:cubicBezTo>
                    <a:pt x="2755" y="1125"/>
                    <a:pt x="2941" y="1310"/>
                    <a:pt x="3170" y="1310"/>
                  </a:cubicBezTo>
                  <a:cubicBezTo>
                    <a:pt x="3399" y="1310"/>
                    <a:pt x="3584" y="1125"/>
                    <a:pt x="3584" y="896"/>
                  </a:cubicBezTo>
                  <a:cubicBezTo>
                    <a:pt x="3584" y="667"/>
                    <a:pt x="3399" y="481"/>
                    <a:pt x="3170" y="48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26414" y="1634066"/>
            <a:ext cx="887996" cy="887996"/>
            <a:chOff x="4126414" y="1634066"/>
            <a:chExt cx="887996" cy="887996"/>
          </a:xfrm>
        </p:grpSpPr>
        <p:sp>
          <p:nvSpPr>
            <p:cNvPr id="71" name="Oval 70"/>
            <p:cNvSpPr/>
            <p:nvPr/>
          </p:nvSpPr>
          <p:spPr>
            <a:xfrm>
              <a:off x="4126414" y="1634066"/>
              <a:ext cx="887996" cy="8879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Freeform 126"/>
            <p:cNvSpPr>
              <a:spLocks noEditPoints="1"/>
            </p:cNvSpPr>
            <p:nvPr/>
          </p:nvSpPr>
          <p:spPr bwMode="auto">
            <a:xfrm>
              <a:off x="4387553" y="1811867"/>
              <a:ext cx="365718" cy="532394"/>
            </a:xfrm>
            <a:custGeom>
              <a:avLst/>
              <a:gdLst>
                <a:gd name="T0" fmla="*/ 643 w 2797"/>
                <a:gd name="T1" fmla="*/ 1863 h 4067"/>
                <a:gd name="T2" fmla="*/ 1120 w 2797"/>
                <a:gd name="T3" fmla="*/ 3633 h 4067"/>
                <a:gd name="T4" fmla="*/ 1011 w 2797"/>
                <a:gd name="T5" fmla="*/ 2977 h 4067"/>
                <a:gd name="T6" fmla="*/ 959 w 2797"/>
                <a:gd name="T7" fmla="*/ 2812 h 4067"/>
                <a:gd name="T8" fmla="*/ 924 w 2797"/>
                <a:gd name="T9" fmla="*/ 2891 h 4067"/>
                <a:gd name="T10" fmla="*/ 762 w 2797"/>
                <a:gd name="T11" fmla="*/ 4067 h 4067"/>
                <a:gd name="T12" fmla="*/ 620 w 2797"/>
                <a:gd name="T13" fmla="*/ 2951 h 4067"/>
                <a:gd name="T14" fmla="*/ 456 w 2797"/>
                <a:gd name="T15" fmla="*/ 4067 h 4067"/>
                <a:gd name="T16" fmla="*/ 362 w 2797"/>
                <a:gd name="T17" fmla="*/ 2238 h 4067"/>
                <a:gd name="T18" fmla="*/ 317 w 2797"/>
                <a:gd name="T19" fmla="*/ 2864 h 4067"/>
                <a:gd name="T20" fmla="*/ 362 w 2797"/>
                <a:gd name="T21" fmla="*/ 1893 h 4067"/>
                <a:gd name="T22" fmla="*/ 915 w 2797"/>
                <a:gd name="T23" fmla="*/ 1887 h 4067"/>
                <a:gd name="T24" fmla="*/ 1098 w 2797"/>
                <a:gd name="T25" fmla="*/ 2941 h 4067"/>
                <a:gd name="T26" fmla="*/ 585 w 2797"/>
                <a:gd name="T27" fmla="*/ 1914 h 4067"/>
                <a:gd name="T28" fmla="*/ 666 w 2797"/>
                <a:gd name="T29" fmla="*/ 2002 h 4067"/>
                <a:gd name="T30" fmla="*/ 585 w 2797"/>
                <a:gd name="T31" fmla="*/ 1914 h 4067"/>
                <a:gd name="T32" fmla="*/ 620 w 2797"/>
                <a:gd name="T33" fmla="*/ 2041 h 4067"/>
                <a:gd name="T34" fmla="*/ 2653 w 2797"/>
                <a:gd name="T35" fmla="*/ 763 h 4067"/>
                <a:gd name="T36" fmla="*/ 2486 w 2797"/>
                <a:gd name="T37" fmla="*/ 1024 h 4067"/>
                <a:gd name="T38" fmla="*/ 2198 w 2797"/>
                <a:gd name="T39" fmla="*/ 1138 h 4067"/>
                <a:gd name="T40" fmla="*/ 1853 w 2797"/>
                <a:gd name="T41" fmla="*/ 1197 h 4067"/>
                <a:gd name="T42" fmla="*/ 1584 w 2797"/>
                <a:gd name="T43" fmla="*/ 905 h 4067"/>
                <a:gd name="T44" fmla="*/ 1538 w 2797"/>
                <a:gd name="T45" fmla="*/ 511 h 4067"/>
                <a:gd name="T46" fmla="*/ 1732 w 2797"/>
                <a:gd name="T47" fmla="*/ 165 h 4067"/>
                <a:gd name="T48" fmla="*/ 2093 w 2797"/>
                <a:gd name="T49" fmla="*/ 0 h 4067"/>
                <a:gd name="T50" fmla="*/ 2242 w 2797"/>
                <a:gd name="T51" fmla="*/ 0 h 4067"/>
                <a:gd name="T52" fmla="*/ 2603 w 2797"/>
                <a:gd name="T53" fmla="*/ 165 h 4067"/>
                <a:gd name="T54" fmla="*/ 2797 w 2797"/>
                <a:gd name="T55" fmla="*/ 511 h 4067"/>
                <a:gd name="T56" fmla="*/ 2168 w 2797"/>
                <a:gd name="T57" fmla="*/ 486 h 4067"/>
                <a:gd name="T58" fmla="*/ 852 w 2797"/>
                <a:gd name="T59" fmla="*/ 424 h 4067"/>
                <a:gd name="T60" fmla="*/ 428 w 2797"/>
                <a:gd name="T61" fmla="*/ 561 h 4067"/>
                <a:gd name="T62" fmla="*/ 562 w 2797"/>
                <a:gd name="T63" fmla="*/ 796 h 4067"/>
                <a:gd name="T64" fmla="*/ 580 w 2797"/>
                <a:gd name="T65" fmla="*/ 806 h 4067"/>
                <a:gd name="T66" fmla="*/ 604 w 2797"/>
                <a:gd name="T67" fmla="*/ 811 h 4067"/>
                <a:gd name="T68" fmla="*/ 637 w 2797"/>
                <a:gd name="T69" fmla="*/ 802 h 4067"/>
                <a:gd name="T70" fmla="*/ 656 w 2797"/>
                <a:gd name="T71" fmla="*/ 787 h 4067"/>
                <a:gd name="T72" fmla="*/ 649 w 2797"/>
                <a:gd name="T73" fmla="*/ 339 h 4067"/>
                <a:gd name="T74" fmla="*/ 649 w 2797"/>
                <a:gd name="T75" fmla="*/ 339 h 4067"/>
                <a:gd name="T76" fmla="*/ 339 w 2797"/>
                <a:gd name="T77" fmla="*/ 635 h 4067"/>
                <a:gd name="T78" fmla="*/ 1044 w 2797"/>
                <a:gd name="T79" fmla="*/ 635 h 4067"/>
                <a:gd name="T80" fmla="*/ 1062 w 2797"/>
                <a:gd name="T81" fmla="*/ 1118 h 4067"/>
                <a:gd name="T82" fmla="*/ 223 w 2797"/>
                <a:gd name="T83" fmla="*/ 157 h 4067"/>
                <a:gd name="T84" fmla="*/ 1127 w 2797"/>
                <a:gd name="T85" fmla="*/ 637 h 4067"/>
                <a:gd name="T86" fmla="*/ 1127 w 2797"/>
                <a:gd name="T87" fmla="*/ 637 h 4067"/>
                <a:gd name="T88" fmla="*/ 707 w 2797"/>
                <a:gd name="T89" fmla="*/ 990 h 4067"/>
                <a:gd name="T90" fmla="*/ 2154 w 2797"/>
                <a:gd name="T91" fmla="*/ 1375 h 4067"/>
                <a:gd name="T92" fmla="*/ 2700 w 2797"/>
                <a:gd name="T93" fmla="*/ 3557 h 4067"/>
                <a:gd name="T94" fmla="*/ 2453 w 2797"/>
                <a:gd name="T95" fmla="*/ 3053 h 4067"/>
                <a:gd name="T96" fmla="*/ 2471 w 2797"/>
                <a:gd name="T97" fmla="*/ 2858 h 4067"/>
                <a:gd name="T98" fmla="*/ 2435 w 2797"/>
                <a:gd name="T99" fmla="*/ 2232 h 4067"/>
                <a:gd name="T100" fmla="*/ 2338 w 2797"/>
                <a:gd name="T101" fmla="*/ 4067 h 4067"/>
                <a:gd name="T102" fmla="*/ 2175 w 2797"/>
                <a:gd name="T103" fmla="*/ 2951 h 4067"/>
                <a:gd name="T104" fmla="*/ 2032 w 2797"/>
                <a:gd name="T105" fmla="*/ 4067 h 4067"/>
                <a:gd name="T106" fmla="*/ 1873 w 2797"/>
                <a:gd name="T107" fmla="*/ 2281 h 4067"/>
                <a:gd name="T108" fmla="*/ 1829 w 2797"/>
                <a:gd name="T109" fmla="*/ 2818 h 4067"/>
                <a:gd name="T110" fmla="*/ 1640 w 2797"/>
                <a:gd name="T111" fmla="*/ 2122 h 4067"/>
                <a:gd name="T112" fmla="*/ 2426 w 2797"/>
                <a:gd name="T113" fmla="*/ 1887 h 4067"/>
                <a:gd name="T114" fmla="*/ 2664 w 2797"/>
                <a:gd name="T115" fmla="*/ 2883 h 4067"/>
                <a:gd name="T116" fmla="*/ 2700 w 2797"/>
                <a:gd name="T117" fmla="*/ 3053 h 4067"/>
                <a:gd name="T118" fmla="*/ 2156 w 2797"/>
                <a:gd name="T119" fmla="*/ 2002 h 4067"/>
                <a:gd name="T120" fmla="*/ 2152 w 2797"/>
                <a:gd name="T121" fmla="*/ 1914 h 4067"/>
                <a:gd name="T122" fmla="*/ 2154 w 2797"/>
                <a:gd name="T123" fmla="*/ 2041 h 4067"/>
                <a:gd name="T124" fmla="*/ 2216 w 2797"/>
                <a:gd name="T125" fmla="*/ 2440 h 4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7" h="4067">
                  <a:moveTo>
                    <a:pt x="399" y="1619"/>
                  </a:moveTo>
                  <a:cubicBezTo>
                    <a:pt x="399" y="1484"/>
                    <a:pt x="508" y="1375"/>
                    <a:pt x="643" y="1375"/>
                  </a:cubicBezTo>
                  <a:cubicBezTo>
                    <a:pt x="778" y="1375"/>
                    <a:pt x="887" y="1484"/>
                    <a:pt x="887" y="1619"/>
                  </a:cubicBezTo>
                  <a:cubicBezTo>
                    <a:pt x="887" y="1754"/>
                    <a:pt x="778" y="1863"/>
                    <a:pt x="643" y="1863"/>
                  </a:cubicBezTo>
                  <a:cubicBezTo>
                    <a:pt x="508" y="1863"/>
                    <a:pt x="399" y="1754"/>
                    <a:pt x="399" y="1619"/>
                  </a:cubicBezTo>
                  <a:close/>
                  <a:moveTo>
                    <a:pt x="1189" y="3053"/>
                  </a:moveTo>
                  <a:cubicBezTo>
                    <a:pt x="1189" y="3557"/>
                    <a:pt x="1189" y="3557"/>
                    <a:pt x="1189" y="3557"/>
                  </a:cubicBezTo>
                  <a:cubicBezTo>
                    <a:pt x="1189" y="3599"/>
                    <a:pt x="1158" y="3633"/>
                    <a:pt x="1120" y="3633"/>
                  </a:cubicBezTo>
                  <a:cubicBezTo>
                    <a:pt x="1011" y="3633"/>
                    <a:pt x="1011" y="3633"/>
                    <a:pt x="1011" y="3633"/>
                  </a:cubicBezTo>
                  <a:cubicBezTo>
                    <a:pt x="973" y="3633"/>
                    <a:pt x="942" y="3599"/>
                    <a:pt x="942" y="3557"/>
                  </a:cubicBezTo>
                  <a:cubicBezTo>
                    <a:pt x="942" y="3053"/>
                    <a:pt x="942" y="3053"/>
                    <a:pt x="942" y="3053"/>
                  </a:cubicBezTo>
                  <a:cubicBezTo>
                    <a:pt x="942" y="3011"/>
                    <a:pt x="973" y="2977"/>
                    <a:pt x="1011" y="2977"/>
                  </a:cubicBezTo>
                  <a:cubicBezTo>
                    <a:pt x="1033" y="2977"/>
                    <a:pt x="1033" y="2977"/>
                    <a:pt x="1033" y="2977"/>
                  </a:cubicBezTo>
                  <a:cubicBezTo>
                    <a:pt x="1033" y="2947"/>
                    <a:pt x="1033" y="2947"/>
                    <a:pt x="1033" y="2947"/>
                  </a:cubicBezTo>
                  <a:cubicBezTo>
                    <a:pt x="993" y="2938"/>
                    <a:pt x="965" y="2906"/>
                    <a:pt x="960" y="2858"/>
                  </a:cubicBezTo>
                  <a:cubicBezTo>
                    <a:pt x="958" y="2843"/>
                    <a:pt x="959" y="2828"/>
                    <a:pt x="959" y="2812"/>
                  </a:cubicBezTo>
                  <a:cubicBezTo>
                    <a:pt x="959" y="2631"/>
                    <a:pt x="959" y="2450"/>
                    <a:pt x="959" y="2269"/>
                  </a:cubicBezTo>
                  <a:cubicBezTo>
                    <a:pt x="959" y="2257"/>
                    <a:pt x="959" y="2245"/>
                    <a:pt x="959" y="2232"/>
                  </a:cubicBezTo>
                  <a:cubicBezTo>
                    <a:pt x="946" y="2232"/>
                    <a:pt x="936" y="2232"/>
                    <a:pt x="924" y="2232"/>
                  </a:cubicBezTo>
                  <a:cubicBezTo>
                    <a:pt x="924" y="2891"/>
                    <a:pt x="924" y="2891"/>
                    <a:pt x="924" y="2891"/>
                  </a:cubicBezTo>
                  <a:cubicBezTo>
                    <a:pt x="924" y="3192"/>
                    <a:pt x="924" y="3192"/>
                    <a:pt x="924" y="3192"/>
                  </a:cubicBezTo>
                  <a:cubicBezTo>
                    <a:pt x="924" y="3430"/>
                    <a:pt x="924" y="3668"/>
                    <a:pt x="925" y="3907"/>
                  </a:cubicBezTo>
                  <a:cubicBezTo>
                    <a:pt x="925" y="3983"/>
                    <a:pt x="903" y="4040"/>
                    <a:pt x="827" y="4067"/>
                  </a:cubicBezTo>
                  <a:cubicBezTo>
                    <a:pt x="805" y="4067"/>
                    <a:pt x="784" y="4067"/>
                    <a:pt x="762" y="4067"/>
                  </a:cubicBezTo>
                  <a:cubicBezTo>
                    <a:pt x="686" y="4039"/>
                    <a:pt x="663" y="3983"/>
                    <a:pt x="663" y="3905"/>
                  </a:cubicBezTo>
                  <a:cubicBezTo>
                    <a:pt x="666" y="3600"/>
                    <a:pt x="664" y="3295"/>
                    <a:pt x="664" y="2990"/>
                  </a:cubicBezTo>
                  <a:cubicBezTo>
                    <a:pt x="664" y="2977"/>
                    <a:pt x="664" y="2965"/>
                    <a:pt x="664" y="2951"/>
                  </a:cubicBezTo>
                  <a:cubicBezTo>
                    <a:pt x="648" y="2951"/>
                    <a:pt x="636" y="2951"/>
                    <a:pt x="620" y="2951"/>
                  </a:cubicBezTo>
                  <a:cubicBezTo>
                    <a:pt x="620" y="2965"/>
                    <a:pt x="620" y="2978"/>
                    <a:pt x="620" y="2991"/>
                  </a:cubicBezTo>
                  <a:cubicBezTo>
                    <a:pt x="620" y="3297"/>
                    <a:pt x="619" y="3603"/>
                    <a:pt x="621" y="3909"/>
                  </a:cubicBezTo>
                  <a:cubicBezTo>
                    <a:pt x="621" y="3986"/>
                    <a:pt x="597" y="4041"/>
                    <a:pt x="521" y="4067"/>
                  </a:cubicBezTo>
                  <a:cubicBezTo>
                    <a:pt x="499" y="4067"/>
                    <a:pt x="478" y="4067"/>
                    <a:pt x="456" y="4067"/>
                  </a:cubicBezTo>
                  <a:cubicBezTo>
                    <a:pt x="415" y="4048"/>
                    <a:pt x="378" y="4024"/>
                    <a:pt x="368" y="3976"/>
                  </a:cubicBezTo>
                  <a:cubicBezTo>
                    <a:pt x="363" y="3953"/>
                    <a:pt x="363" y="3929"/>
                    <a:pt x="363" y="3905"/>
                  </a:cubicBezTo>
                  <a:cubicBezTo>
                    <a:pt x="362" y="3364"/>
                    <a:pt x="362" y="2822"/>
                    <a:pt x="362" y="2281"/>
                  </a:cubicBezTo>
                  <a:cubicBezTo>
                    <a:pt x="362" y="2267"/>
                    <a:pt x="362" y="2253"/>
                    <a:pt x="362" y="2238"/>
                  </a:cubicBezTo>
                  <a:cubicBezTo>
                    <a:pt x="346" y="2238"/>
                    <a:pt x="334" y="2238"/>
                    <a:pt x="318" y="2238"/>
                  </a:cubicBezTo>
                  <a:cubicBezTo>
                    <a:pt x="318" y="2251"/>
                    <a:pt x="318" y="2263"/>
                    <a:pt x="318" y="2275"/>
                  </a:cubicBezTo>
                  <a:cubicBezTo>
                    <a:pt x="318" y="2456"/>
                    <a:pt x="318" y="2637"/>
                    <a:pt x="318" y="2818"/>
                  </a:cubicBezTo>
                  <a:cubicBezTo>
                    <a:pt x="318" y="2834"/>
                    <a:pt x="319" y="2849"/>
                    <a:pt x="317" y="2864"/>
                  </a:cubicBezTo>
                  <a:cubicBezTo>
                    <a:pt x="310" y="2931"/>
                    <a:pt x="258" y="2967"/>
                    <a:pt x="193" y="2952"/>
                  </a:cubicBezTo>
                  <a:cubicBezTo>
                    <a:pt x="158" y="2943"/>
                    <a:pt x="140" y="2917"/>
                    <a:pt x="124" y="2889"/>
                  </a:cubicBezTo>
                  <a:cubicBezTo>
                    <a:pt x="124" y="2637"/>
                    <a:pt x="128" y="2126"/>
                    <a:pt x="129" y="2122"/>
                  </a:cubicBezTo>
                  <a:cubicBezTo>
                    <a:pt x="160" y="1994"/>
                    <a:pt x="242" y="1913"/>
                    <a:pt x="362" y="1893"/>
                  </a:cubicBezTo>
                  <a:cubicBezTo>
                    <a:pt x="381" y="1890"/>
                    <a:pt x="400" y="1888"/>
                    <a:pt x="420" y="1888"/>
                  </a:cubicBezTo>
                  <a:cubicBezTo>
                    <a:pt x="453" y="1888"/>
                    <a:pt x="864" y="1887"/>
                    <a:pt x="915" y="1887"/>
                  </a:cubicBezTo>
                  <a:cubicBezTo>
                    <a:pt x="915" y="1887"/>
                    <a:pt x="915" y="1887"/>
                    <a:pt x="915" y="1887"/>
                  </a:cubicBezTo>
                  <a:cubicBezTo>
                    <a:pt x="915" y="1887"/>
                    <a:pt x="915" y="1887"/>
                    <a:pt x="915" y="1887"/>
                  </a:cubicBezTo>
                  <a:cubicBezTo>
                    <a:pt x="916" y="1887"/>
                    <a:pt x="917" y="1888"/>
                    <a:pt x="917" y="1888"/>
                  </a:cubicBezTo>
                  <a:cubicBezTo>
                    <a:pt x="1036" y="1908"/>
                    <a:pt x="1118" y="1989"/>
                    <a:pt x="1148" y="2116"/>
                  </a:cubicBezTo>
                  <a:cubicBezTo>
                    <a:pt x="1149" y="2120"/>
                    <a:pt x="1153" y="2631"/>
                    <a:pt x="1153" y="2883"/>
                  </a:cubicBezTo>
                  <a:cubicBezTo>
                    <a:pt x="1139" y="2907"/>
                    <a:pt x="1124" y="2930"/>
                    <a:pt x="1098" y="2941"/>
                  </a:cubicBezTo>
                  <a:cubicBezTo>
                    <a:pt x="1098" y="2977"/>
                    <a:pt x="1098" y="2977"/>
                    <a:pt x="1098" y="2977"/>
                  </a:cubicBezTo>
                  <a:cubicBezTo>
                    <a:pt x="1120" y="2977"/>
                    <a:pt x="1120" y="2977"/>
                    <a:pt x="1120" y="2977"/>
                  </a:cubicBezTo>
                  <a:cubicBezTo>
                    <a:pt x="1158" y="2977"/>
                    <a:pt x="1189" y="3011"/>
                    <a:pt x="1189" y="3053"/>
                  </a:cubicBezTo>
                  <a:close/>
                  <a:moveTo>
                    <a:pt x="585" y="1914"/>
                  </a:moveTo>
                  <a:cubicBezTo>
                    <a:pt x="619" y="2002"/>
                    <a:pt x="619" y="2002"/>
                    <a:pt x="619" y="2002"/>
                  </a:cubicBezTo>
                  <a:cubicBezTo>
                    <a:pt x="641" y="2002"/>
                    <a:pt x="641" y="2002"/>
                    <a:pt x="641" y="2002"/>
                  </a:cubicBezTo>
                  <a:cubicBezTo>
                    <a:pt x="645" y="2002"/>
                    <a:pt x="645" y="2002"/>
                    <a:pt x="645" y="2002"/>
                  </a:cubicBezTo>
                  <a:cubicBezTo>
                    <a:pt x="666" y="2002"/>
                    <a:pt x="666" y="2002"/>
                    <a:pt x="666" y="2002"/>
                  </a:cubicBezTo>
                  <a:cubicBezTo>
                    <a:pt x="700" y="1914"/>
                    <a:pt x="700" y="1914"/>
                    <a:pt x="700" y="1914"/>
                  </a:cubicBezTo>
                  <a:cubicBezTo>
                    <a:pt x="645" y="1914"/>
                    <a:pt x="645" y="1914"/>
                    <a:pt x="645" y="1914"/>
                  </a:cubicBezTo>
                  <a:cubicBezTo>
                    <a:pt x="641" y="1914"/>
                    <a:pt x="641" y="1914"/>
                    <a:pt x="641" y="1914"/>
                  </a:cubicBezTo>
                  <a:lnTo>
                    <a:pt x="585" y="1914"/>
                  </a:lnTo>
                  <a:close/>
                  <a:moveTo>
                    <a:pt x="705" y="2440"/>
                  </a:moveTo>
                  <a:cubicBezTo>
                    <a:pt x="666" y="2041"/>
                    <a:pt x="666" y="2041"/>
                    <a:pt x="666" y="2041"/>
                  </a:cubicBezTo>
                  <a:cubicBezTo>
                    <a:pt x="643" y="2041"/>
                    <a:pt x="643" y="2041"/>
                    <a:pt x="643" y="2041"/>
                  </a:cubicBezTo>
                  <a:cubicBezTo>
                    <a:pt x="620" y="2041"/>
                    <a:pt x="620" y="2041"/>
                    <a:pt x="620" y="2041"/>
                  </a:cubicBezTo>
                  <a:cubicBezTo>
                    <a:pt x="580" y="2440"/>
                    <a:pt x="580" y="2440"/>
                    <a:pt x="580" y="2440"/>
                  </a:cubicBezTo>
                  <a:cubicBezTo>
                    <a:pt x="643" y="2491"/>
                    <a:pt x="643" y="2491"/>
                    <a:pt x="643" y="2491"/>
                  </a:cubicBezTo>
                  <a:lnTo>
                    <a:pt x="705" y="2440"/>
                  </a:lnTo>
                  <a:close/>
                  <a:moveTo>
                    <a:pt x="2653" y="763"/>
                  </a:moveTo>
                  <a:cubicBezTo>
                    <a:pt x="2648" y="783"/>
                    <a:pt x="2642" y="802"/>
                    <a:pt x="2634" y="821"/>
                  </a:cubicBezTo>
                  <a:cubicBezTo>
                    <a:pt x="2751" y="905"/>
                    <a:pt x="2751" y="905"/>
                    <a:pt x="2751" y="905"/>
                  </a:cubicBezTo>
                  <a:cubicBezTo>
                    <a:pt x="2603" y="1109"/>
                    <a:pt x="2603" y="1109"/>
                    <a:pt x="2603" y="1109"/>
                  </a:cubicBezTo>
                  <a:cubicBezTo>
                    <a:pt x="2486" y="1024"/>
                    <a:pt x="2486" y="1024"/>
                    <a:pt x="2486" y="1024"/>
                  </a:cubicBezTo>
                  <a:cubicBezTo>
                    <a:pt x="2471" y="1037"/>
                    <a:pt x="2454" y="1049"/>
                    <a:pt x="2437" y="1060"/>
                  </a:cubicBezTo>
                  <a:cubicBezTo>
                    <a:pt x="2482" y="1197"/>
                    <a:pt x="2482" y="1197"/>
                    <a:pt x="2482" y="1197"/>
                  </a:cubicBezTo>
                  <a:cubicBezTo>
                    <a:pt x="2242" y="1275"/>
                    <a:pt x="2242" y="1275"/>
                    <a:pt x="2242" y="1275"/>
                  </a:cubicBezTo>
                  <a:cubicBezTo>
                    <a:pt x="2198" y="1138"/>
                    <a:pt x="2198" y="1138"/>
                    <a:pt x="2198" y="1138"/>
                  </a:cubicBezTo>
                  <a:cubicBezTo>
                    <a:pt x="2188" y="1138"/>
                    <a:pt x="2178" y="1139"/>
                    <a:pt x="2168" y="1139"/>
                  </a:cubicBezTo>
                  <a:cubicBezTo>
                    <a:pt x="2157" y="1139"/>
                    <a:pt x="2147" y="1138"/>
                    <a:pt x="2137" y="1138"/>
                  </a:cubicBezTo>
                  <a:cubicBezTo>
                    <a:pt x="2093" y="1275"/>
                    <a:pt x="2093" y="1275"/>
                    <a:pt x="2093" y="1275"/>
                  </a:cubicBezTo>
                  <a:cubicBezTo>
                    <a:pt x="1853" y="1197"/>
                    <a:pt x="1853" y="1197"/>
                    <a:pt x="1853" y="1197"/>
                  </a:cubicBezTo>
                  <a:cubicBezTo>
                    <a:pt x="1898" y="1060"/>
                    <a:pt x="1898" y="1060"/>
                    <a:pt x="1898" y="1060"/>
                  </a:cubicBezTo>
                  <a:cubicBezTo>
                    <a:pt x="1881" y="1049"/>
                    <a:pt x="1864" y="1037"/>
                    <a:pt x="1849" y="1024"/>
                  </a:cubicBezTo>
                  <a:cubicBezTo>
                    <a:pt x="1732" y="1109"/>
                    <a:pt x="1732" y="1109"/>
                    <a:pt x="1732" y="1109"/>
                  </a:cubicBezTo>
                  <a:cubicBezTo>
                    <a:pt x="1584" y="905"/>
                    <a:pt x="1584" y="905"/>
                    <a:pt x="1584" y="905"/>
                  </a:cubicBezTo>
                  <a:cubicBezTo>
                    <a:pt x="1701" y="821"/>
                    <a:pt x="1701" y="821"/>
                    <a:pt x="1701" y="821"/>
                  </a:cubicBezTo>
                  <a:cubicBezTo>
                    <a:pt x="1694" y="802"/>
                    <a:pt x="1687" y="783"/>
                    <a:pt x="1682" y="763"/>
                  </a:cubicBezTo>
                  <a:cubicBezTo>
                    <a:pt x="1538" y="763"/>
                    <a:pt x="1538" y="763"/>
                    <a:pt x="1538" y="763"/>
                  </a:cubicBezTo>
                  <a:cubicBezTo>
                    <a:pt x="1538" y="511"/>
                    <a:pt x="1538" y="511"/>
                    <a:pt x="1538" y="511"/>
                  </a:cubicBezTo>
                  <a:cubicBezTo>
                    <a:pt x="1682" y="511"/>
                    <a:pt x="1682" y="511"/>
                    <a:pt x="1682" y="511"/>
                  </a:cubicBezTo>
                  <a:cubicBezTo>
                    <a:pt x="1687" y="492"/>
                    <a:pt x="1694" y="472"/>
                    <a:pt x="1701" y="454"/>
                  </a:cubicBezTo>
                  <a:cubicBezTo>
                    <a:pt x="1584" y="369"/>
                    <a:pt x="1584" y="369"/>
                    <a:pt x="1584" y="369"/>
                  </a:cubicBezTo>
                  <a:cubicBezTo>
                    <a:pt x="1732" y="165"/>
                    <a:pt x="1732" y="165"/>
                    <a:pt x="1732" y="165"/>
                  </a:cubicBezTo>
                  <a:cubicBezTo>
                    <a:pt x="1849" y="250"/>
                    <a:pt x="1849" y="250"/>
                    <a:pt x="1849" y="250"/>
                  </a:cubicBezTo>
                  <a:cubicBezTo>
                    <a:pt x="1864" y="237"/>
                    <a:pt x="1881" y="225"/>
                    <a:pt x="1898" y="215"/>
                  </a:cubicBezTo>
                  <a:cubicBezTo>
                    <a:pt x="1853" y="77"/>
                    <a:pt x="1853" y="77"/>
                    <a:pt x="1853" y="77"/>
                  </a:cubicBezTo>
                  <a:cubicBezTo>
                    <a:pt x="2093" y="0"/>
                    <a:pt x="2093" y="0"/>
                    <a:pt x="2093" y="0"/>
                  </a:cubicBezTo>
                  <a:cubicBezTo>
                    <a:pt x="2137" y="137"/>
                    <a:pt x="2137" y="137"/>
                    <a:pt x="2137" y="137"/>
                  </a:cubicBezTo>
                  <a:cubicBezTo>
                    <a:pt x="2147" y="136"/>
                    <a:pt x="2157" y="136"/>
                    <a:pt x="2168" y="136"/>
                  </a:cubicBezTo>
                  <a:cubicBezTo>
                    <a:pt x="2178" y="136"/>
                    <a:pt x="2188" y="136"/>
                    <a:pt x="2198" y="137"/>
                  </a:cubicBezTo>
                  <a:cubicBezTo>
                    <a:pt x="2242" y="0"/>
                    <a:pt x="2242" y="0"/>
                    <a:pt x="2242" y="0"/>
                  </a:cubicBezTo>
                  <a:cubicBezTo>
                    <a:pt x="2482" y="77"/>
                    <a:pt x="2482" y="77"/>
                    <a:pt x="2482" y="77"/>
                  </a:cubicBezTo>
                  <a:cubicBezTo>
                    <a:pt x="2437" y="215"/>
                    <a:pt x="2437" y="215"/>
                    <a:pt x="2437" y="215"/>
                  </a:cubicBezTo>
                  <a:cubicBezTo>
                    <a:pt x="2454" y="225"/>
                    <a:pt x="2471" y="237"/>
                    <a:pt x="2486" y="250"/>
                  </a:cubicBezTo>
                  <a:cubicBezTo>
                    <a:pt x="2603" y="165"/>
                    <a:pt x="2603" y="165"/>
                    <a:pt x="2603" y="165"/>
                  </a:cubicBezTo>
                  <a:cubicBezTo>
                    <a:pt x="2751" y="369"/>
                    <a:pt x="2751" y="369"/>
                    <a:pt x="2751" y="369"/>
                  </a:cubicBezTo>
                  <a:cubicBezTo>
                    <a:pt x="2634" y="454"/>
                    <a:pt x="2634" y="454"/>
                    <a:pt x="2634" y="454"/>
                  </a:cubicBezTo>
                  <a:cubicBezTo>
                    <a:pt x="2642" y="472"/>
                    <a:pt x="2648" y="492"/>
                    <a:pt x="2653" y="511"/>
                  </a:cubicBezTo>
                  <a:cubicBezTo>
                    <a:pt x="2797" y="511"/>
                    <a:pt x="2797" y="511"/>
                    <a:pt x="2797" y="511"/>
                  </a:cubicBezTo>
                  <a:cubicBezTo>
                    <a:pt x="2797" y="763"/>
                    <a:pt x="2797" y="763"/>
                    <a:pt x="2797" y="763"/>
                  </a:cubicBezTo>
                  <a:lnTo>
                    <a:pt x="2653" y="763"/>
                  </a:lnTo>
                  <a:close/>
                  <a:moveTo>
                    <a:pt x="2319" y="637"/>
                  </a:moveTo>
                  <a:cubicBezTo>
                    <a:pt x="2319" y="554"/>
                    <a:pt x="2251" y="486"/>
                    <a:pt x="2168" y="486"/>
                  </a:cubicBezTo>
                  <a:cubicBezTo>
                    <a:pt x="2084" y="486"/>
                    <a:pt x="2016" y="554"/>
                    <a:pt x="2016" y="637"/>
                  </a:cubicBezTo>
                  <a:cubicBezTo>
                    <a:pt x="2016" y="721"/>
                    <a:pt x="2084" y="788"/>
                    <a:pt x="2168" y="788"/>
                  </a:cubicBezTo>
                  <a:cubicBezTo>
                    <a:pt x="2251" y="788"/>
                    <a:pt x="2319" y="721"/>
                    <a:pt x="2319" y="637"/>
                  </a:cubicBezTo>
                  <a:close/>
                  <a:moveTo>
                    <a:pt x="852" y="424"/>
                  </a:moveTo>
                  <a:cubicBezTo>
                    <a:pt x="822" y="400"/>
                    <a:pt x="778" y="406"/>
                    <a:pt x="755" y="436"/>
                  </a:cubicBezTo>
                  <a:cubicBezTo>
                    <a:pt x="598" y="637"/>
                    <a:pt x="598" y="637"/>
                    <a:pt x="598" y="637"/>
                  </a:cubicBezTo>
                  <a:cubicBezTo>
                    <a:pt x="526" y="562"/>
                    <a:pt x="526" y="562"/>
                    <a:pt x="526" y="562"/>
                  </a:cubicBezTo>
                  <a:cubicBezTo>
                    <a:pt x="499" y="535"/>
                    <a:pt x="455" y="534"/>
                    <a:pt x="428" y="561"/>
                  </a:cubicBezTo>
                  <a:cubicBezTo>
                    <a:pt x="400" y="587"/>
                    <a:pt x="400" y="631"/>
                    <a:pt x="427" y="658"/>
                  </a:cubicBezTo>
                  <a:cubicBezTo>
                    <a:pt x="554" y="790"/>
                    <a:pt x="554" y="790"/>
                    <a:pt x="554" y="790"/>
                  </a:cubicBezTo>
                  <a:cubicBezTo>
                    <a:pt x="556" y="791"/>
                    <a:pt x="557" y="792"/>
                    <a:pt x="558" y="793"/>
                  </a:cubicBezTo>
                  <a:cubicBezTo>
                    <a:pt x="559" y="794"/>
                    <a:pt x="560" y="795"/>
                    <a:pt x="562" y="796"/>
                  </a:cubicBezTo>
                  <a:cubicBezTo>
                    <a:pt x="562" y="797"/>
                    <a:pt x="563" y="797"/>
                    <a:pt x="564" y="798"/>
                  </a:cubicBezTo>
                  <a:cubicBezTo>
                    <a:pt x="565" y="799"/>
                    <a:pt x="567" y="800"/>
                    <a:pt x="568" y="801"/>
                  </a:cubicBezTo>
                  <a:cubicBezTo>
                    <a:pt x="571" y="802"/>
                    <a:pt x="573" y="803"/>
                    <a:pt x="575" y="805"/>
                  </a:cubicBezTo>
                  <a:cubicBezTo>
                    <a:pt x="577" y="805"/>
                    <a:pt x="578" y="806"/>
                    <a:pt x="580" y="806"/>
                  </a:cubicBezTo>
                  <a:cubicBezTo>
                    <a:pt x="582" y="807"/>
                    <a:pt x="585" y="808"/>
                    <a:pt x="588" y="809"/>
                  </a:cubicBezTo>
                  <a:cubicBezTo>
                    <a:pt x="589" y="809"/>
                    <a:pt x="590" y="810"/>
                    <a:pt x="592" y="810"/>
                  </a:cubicBezTo>
                  <a:cubicBezTo>
                    <a:pt x="596" y="810"/>
                    <a:pt x="600" y="811"/>
                    <a:pt x="604" y="811"/>
                  </a:cubicBezTo>
                  <a:cubicBezTo>
                    <a:pt x="604" y="811"/>
                    <a:pt x="604" y="811"/>
                    <a:pt x="604" y="811"/>
                  </a:cubicBezTo>
                  <a:cubicBezTo>
                    <a:pt x="609" y="811"/>
                    <a:pt x="614" y="810"/>
                    <a:pt x="618" y="809"/>
                  </a:cubicBezTo>
                  <a:cubicBezTo>
                    <a:pt x="620" y="809"/>
                    <a:pt x="621" y="808"/>
                    <a:pt x="623" y="808"/>
                  </a:cubicBezTo>
                  <a:cubicBezTo>
                    <a:pt x="626" y="807"/>
                    <a:pt x="629" y="806"/>
                    <a:pt x="632" y="805"/>
                  </a:cubicBezTo>
                  <a:cubicBezTo>
                    <a:pt x="634" y="804"/>
                    <a:pt x="635" y="803"/>
                    <a:pt x="637" y="802"/>
                  </a:cubicBezTo>
                  <a:cubicBezTo>
                    <a:pt x="639" y="801"/>
                    <a:pt x="642" y="799"/>
                    <a:pt x="645" y="797"/>
                  </a:cubicBezTo>
                  <a:cubicBezTo>
                    <a:pt x="646" y="796"/>
                    <a:pt x="648" y="795"/>
                    <a:pt x="649" y="794"/>
                  </a:cubicBezTo>
                  <a:cubicBezTo>
                    <a:pt x="650" y="793"/>
                    <a:pt x="651" y="792"/>
                    <a:pt x="652" y="791"/>
                  </a:cubicBezTo>
                  <a:cubicBezTo>
                    <a:pt x="654" y="790"/>
                    <a:pt x="655" y="788"/>
                    <a:pt x="656" y="787"/>
                  </a:cubicBezTo>
                  <a:cubicBezTo>
                    <a:pt x="657" y="786"/>
                    <a:pt x="658" y="785"/>
                    <a:pt x="659" y="784"/>
                  </a:cubicBezTo>
                  <a:cubicBezTo>
                    <a:pt x="864" y="521"/>
                    <a:pt x="864" y="521"/>
                    <a:pt x="864" y="521"/>
                  </a:cubicBezTo>
                  <a:cubicBezTo>
                    <a:pt x="887" y="491"/>
                    <a:pt x="882" y="447"/>
                    <a:pt x="852" y="424"/>
                  </a:cubicBezTo>
                  <a:close/>
                  <a:moveTo>
                    <a:pt x="649" y="339"/>
                  </a:moveTo>
                  <a:cubicBezTo>
                    <a:pt x="681" y="339"/>
                    <a:pt x="707" y="313"/>
                    <a:pt x="707" y="281"/>
                  </a:cubicBezTo>
                  <a:cubicBezTo>
                    <a:pt x="707" y="249"/>
                    <a:pt x="681" y="223"/>
                    <a:pt x="649" y="223"/>
                  </a:cubicBezTo>
                  <a:cubicBezTo>
                    <a:pt x="617" y="223"/>
                    <a:pt x="591" y="249"/>
                    <a:pt x="591" y="281"/>
                  </a:cubicBezTo>
                  <a:cubicBezTo>
                    <a:pt x="591" y="313"/>
                    <a:pt x="617" y="339"/>
                    <a:pt x="649" y="339"/>
                  </a:cubicBezTo>
                  <a:close/>
                  <a:moveTo>
                    <a:pt x="281" y="577"/>
                  </a:moveTo>
                  <a:cubicBezTo>
                    <a:pt x="249" y="577"/>
                    <a:pt x="223" y="603"/>
                    <a:pt x="223" y="635"/>
                  </a:cubicBezTo>
                  <a:cubicBezTo>
                    <a:pt x="223" y="668"/>
                    <a:pt x="249" y="693"/>
                    <a:pt x="281" y="693"/>
                  </a:cubicBezTo>
                  <a:cubicBezTo>
                    <a:pt x="313" y="693"/>
                    <a:pt x="339" y="668"/>
                    <a:pt x="339" y="635"/>
                  </a:cubicBezTo>
                  <a:cubicBezTo>
                    <a:pt x="339" y="603"/>
                    <a:pt x="313" y="577"/>
                    <a:pt x="281" y="577"/>
                  </a:cubicBezTo>
                  <a:close/>
                  <a:moveTo>
                    <a:pt x="928" y="635"/>
                  </a:moveTo>
                  <a:cubicBezTo>
                    <a:pt x="928" y="667"/>
                    <a:pt x="954" y="693"/>
                    <a:pt x="986" y="693"/>
                  </a:cubicBezTo>
                  <a:cubicBezTo>
                    <a:pt x="1018" y="693"/>
                    <a:pt x="1044" y="667"/>
                    <a:pt x="1044" y="635"/>
                  </a:cubicBezTo>
                  <a:cubicBezTo>
                    <a:pt x="1044" y="603"/>
                    <a:pt x="1018" y="577"/>
                    <a:pt x="986" y="577"/>
                  </a:cubicBezTo>
                  <a:cubicBezTo>
                    <a:pt x="954" y="577"/>
                    <a:pt x="928" y="603"/>
                    <a:pt x="928" y="635"/>
                  </a:cubicBezTo>
                  <a:close/>
                  <a:moveTo>
                    <a:pt x="1285" y="637"/>
                  </a:moveTo>
                  <a:cubicBezTo>
                    <a:pt x="1284" y="829"/>
                    <a:pt x="1197" y="1001"/>
                    <a:pt x="1062" y="1118"/>
                  </a:cubicBezTo>
                  <a:cubicBezTo>
                    <a:pt x="949" y="1215"/>
                    <a:pt x="803" y="1274"/>
                    <a:pt x="643" y="1274"/>
                  </a:cubicBezTo>
                  <a:cubicBezTo>
                    <a:pt x="483" y="1274"/>
                    <a:pt x="336" y="1215"/>
                    <a:pt x="223" y="1118"/>
                  </a:cubicBezTo>
                  <a:cubicBezTo>
                    <a:pt x="88" y="1001"/>
                    <a:pt x="2" y="829"/>
                    <a:pt x="0" y="637"/>
                  </a:cubicBezTo>
                  <a:cubicBezTo>
                    <a:pt x="2" y="445"/>
                    <a:pt x="88" y="273"/>
                    <a:pt x="223" y="157"/>
                  </a:cubicBezTo>
                  <a:cubicBezTo>
                    <a:pt x="336" y="59"/>
                    <a:pt x="483" y="0"/>
                    <a:pt x="643" y="0"/>
                  </a:cubicBezTo>
                  <a:cubicBezTo>
                    <a:pt x="803" y="0"/>
                    <a:pt x="949" y="60"/>
                    <a:pt x="1062" y="157"/>
                  </a:cubicBezTo>
                  <a:cubicBezTo>
                    <a:pt x="1197" y="274"/>
                    <a:pt x="1284" y="445"/>
                    <a:pt x="1285" y="637"/>
                  </a:cubicBezTo>
                  <a:close/>
                  <a:moveTo>
                    <a:pt x="1127" y="637"/>
                  </a:moveTo>
                  <a:cubicBezTo>
                    <a:pt x="1124" y="373"/>
                    <a:pt x="908" y="159"/>
                    <a:pt x="643" y="159"/>
                  </a:cubicBezTo>
                  <a:cubicBezTo>
                    <a:pt x="377" y="159"/>
                    <a:pt x="162" y="373"/>
                    <a:pt x="158" y="637"/>
                  </a:cubicBezTo>
                  <a:cubicBezTo>
                    <a:pt x="162" y="902"/>
                    <a:pt x="378" y="1116"/>
                    <a:pt x="643" y="1116"/>
                  </a:cubicBezTo>
                  <a:cubicBezTo>
                    <a:pt x="908" y="1116"/>
                    <a:pt x="1124" y="902"/>
                    <a:pt x="1127" y="637"/>
                  </a:cubicBezTo>
                  <a:close/>
                  <a:moveTo>
                    <a:pt x="649" y="932"/>
                  </a:moveTo>
                  <a:cubicBezTo>
                    <a:pt x="617" y="932"/>
                    <a:pt x="591" y="958"/>
                    <a:pt x="591" y="990"/>
                  </a:cubicBezTo>
                  <a:cubicBezTo>
                    <a:pt x="591" y="1022"/>
                    <a:pt x="617" y="1048"/>
                    <a:pt x="649" y="1048"/>
                  </a:cubicBezTo>
                  <a:cubicBezTo>
                    <a:pt x="681" y="1048"/>
                    <a:pt x="707" y="1022"/>
                    <a:pt x="707" y="990"/>
                  </a:cubicBezTo>
                  <a:cubicBezTo>
                    <a:pt x="707" y="958"/>
                    <a:pt x="681" y="932"/>
                    <a:pt x="649" y="932"/>
                  </a:cubicBezTo>
                  <a:close/>
                  <a:moveTo>
                    <a:pt x="2154" y="1863"/>
                  </a:moveTo>
                  <a:cubicBezTo>
                    <a:pt x="2289" y="1863"/>
                    <a:pt x="2398" y="1754"/>
                    <a:pt x="2398" y="1619"/>
                  </a:cubicBezTo>
                  <a:cubicBezTo>
                    <a:pt x="2398" y="1484"/>
                    <a:pt x="2289" y="1375"/>
                    <a:pt x="2154" y="1375"/>
                  </a:cubicBezTo>
                  <a:cubicBezTo>
                    <a:pt x="2019" y="1375"/>
                    <a:pt x="1910" y="1484"/>
                    <a:pt x="1910" y="1619"/>
                  </a:cubicBezTo>
                  <a:cubicBezTo>
                    <a:pt x="1910" y="1754"/>
                    <a:pt x="2019" y="1863"/>
                    <a:pt x="2154" y="1863"/>
                  </a:cubicBezTo>
                  <a:close/>
                  <a:moveTo>
                    <a:pt x="2700" y="3053"/>
                  </a:moveTo>
                  <a:cubicBezTo>
                    <a:pt x="2700" y="3557"/>
                    <a:pt x="2700" y="3557"/>
                    <a:pt x="2700" y="3557"/>
                  </a:cubicBezTo>
                  <a:cubicBezTo>
                    <a:pt x="2700" y="3599"/>
                    <a:pt x="2669" y="3633"/>
                    <a:pt x="2631" y="3633"/>
                  </a:cubicBezTo>
                  <a:cubicBezTo>
                    <a:pt x="2522" y="3633"/>
                    <a:pt x="2522" y="3633"/>
                    <a:pt x="2522" y="3633"/>
                  </a:cubicBezTo>
                  <a:cubicBezTo>
                    <a:pt x="2484" y="3633"/>
                    <a:pt x="2453" y="3599"/>
                    <a:pt x="2453" y="3557"/>
                  </a:cubicBezTo>
                  <a:cubicBezTo>
                    <a:pt x="2453" y="3053"/>
                    <a:pt x="2453" y="3053"/>
                    <a:pt x="2453" y="3053"/>
                  </a:cubicBezTo>
                  <a:cubicBezTo>
                    <a:pt x="2453" y="3011"/>
                    <a:pt x="2484" y="2977"/>
                    <a:pt x="2522" y="2977"/>
                  </a:cubicBezTo>
                  <a:cubicBezTo>
                    <a:pt x="2544" y="2977"/>
                    <a:pt x="2544" y="2977"/>
                    <a:pt x="2544" y="2977"/>
                  </a:cubicBezTo>
                  <a:cubicBezTo>
                    <a:pt x="2544" y="2947"/>
                    <a:pt x="2544" y="2947"/>
                    <a:pt x="2544" y="2947"/>
                  </a:cubicBezTo>
                  <a:cubicBezTo>
                    <a:pt x="2504" y="2938"/>
                    <a:pt x="2476" y="2906"/>
                    <a:pt x="2471" y="2858"/>
                  </a:cubicBezTo>
                  <a:cubicBezTo>
                    <a:pt x="2469" y="2843"/>
                    <a:pt x="2470" y="2828"/>
                    <a:pt x="2470" y="2812"/>
                  </a:cubicBezTo>
                  <a:cubicBezTo>
                    <a:pt x="2470" y="2631"/>
                    <a:pt x="2470" y="2450"/>
                    <a:pt x="2470" y="2269"/>
                  </a:cubicBezTo>
                  <a:cubicBezTo>
                    <a:pt x="2470" y="2257"/>
                    <a:pt x="2470" y="2245"/>
                    <a:pt x="2470" y="2232"/>
                  </a:cubicBezTo>
                  <a:cubicBezTo>
                    <a:pt x="2458" y="2232"/>
                    <a:pt x="2447" y="2232"/>
                    <a:pt x="2435" y="2232"/>
                  </a:cubicBezTo>
                  <a:cubicBezTo>
                    <a:pt x="2435" y="2891"/>
                    <a:pt x="2435" y="2891"/>
                    <a:pt x="2435" y="2891"/>
                  </a:cubicBezTo>
                  <a:cubicBezTo>
                    <a:pt x="2435" y="3192"/>
                    <a:pt x="2435" y="3192"/>
                    <a:pt x="2435" y="3192"/>
                  </a:cubicBezTo>
                  <a:cubicBezTo>
                    <a:pt x="2435" y="3430"/>
                    <a:pt x="2435" y="3668"/>
                    <a:pt x="2436" y="3907"/>
                  </a:cubicBezTo>
                  <a:cubicBezTo>
                    <a:pt x="2436" y="3983"/>
                    <a:pt x="2414" y="4040"/>
                    <a:pt x="2338" y="4067"/>
                  </a:cubicBezTo>
                  <a:cubicBezTo>
                    <a:pt x="2316" y="4067"/>
                    <a:pt x="2295" y="4067"/>
                    <a:pt x="2273" y="4067"/>
                  </a:cubicBezTo>
                  <a:cubicBezTo>
                    <a:pt x="2197" y="4039"/>
                    <a:pt x="2174" y="3983"/>
                    <a:pt x="2174" y="3905"/>
                  </a:cubicBezTo>
                  <a:cubicBezTo>
                    <a:pt x="2177" y="3600"/>
                    <a:pt x="2175" y="3295"/>
                    <a:pt x="2175" y="2990"/>
                  </a:cubicBezTo>
                  <a:cubicBezTo>
                    <a:pt x="2175" y="2977"/>
                    <a:pt x="2175" y="2965"/>
                    <a:pt x="2175" y="2951"/>
                  </a:cubicBezTo>
                  <a:cubicBezTo>
                    <a:pt x="2159" y="2951"/>
                    <a:pt x="2147" y="2951"/>
                    <a:pt x="2131" y="2951"/>
                  </a:cubicBezTo>
                  <a:cubicBezTo>
                    <a:pt x="2131" y="2965"/>
                    <a:pt x="2131" y="2978"/>
                    <a:pt x="2131" y="2991"/>
                  </a:cubicBezTo>
                  <a:cubicBezTo>
                    <a:pt x="2131" y="3297"/>
                    <a:pt x="2130" y="3603"/>
                    <a:pt x="2132" y="3909"/>
                  </a:cubicBezTo>
                  <a:cubicBezTo>
                    <a:pt x="2132" y="3986"/>
                    <a:pt x="2108" y="4041"/>
                    <a:pt x="2032" y="4067"/>
                  </a:cubicBezTo>
                  <a:cubicBezTo>
                    <a:pt x="2010" y="4067"/>
                    <a:pt x="1989" y="4067"/>
                    <a:pt x="1967" y="4067"/>
                  </a:cubicBezTo>
                  <a:cubicBezTo>
                    <a:pt x="1926" y="4048"/>
                    <a:pt x="1889" y="4024"/>
                    <a:pt x="1879" y="3976"/>
                  </a:cubicBezTo>
                  <a:cubicBezTo>
                    <a:pt x="1874" y="3953"/>
                    <a:pt x="1874" y="3929"/>
                    <a:pt x="1874" y="3905"/>
                  </a:cubicBezTo>
                  <a:cubicBezTo>
                    <a:pt x="1873" y="3364"/>
                    <a:pt x="1873" y="2822"/>
                    <a:pt x="1873" y="2281"/>
                  </a:cubicBezTo>
                  <a:cubicBezTo>
                    <a:pt x="1873" y="2267"/>
                    <a:pt x="1873" y="2253"/>
                    <a:pt x="1873" y="2238"/>
                  </a:cubicBezTo>
                  <a:cubicBezTo>
                    <a:pt x="1857" y="2238"/>
                    <a:pt x="1845" y="2238"/>
                    <a:pt x="1829" y="2238"/>
                  </a:cubicBezTo>
                  <a:cubicBezTo>
                    <a:pt x="1829" y="2251"/>
                    <a:pt x="1829" y="2263"/>
                    <a:pt x="1829" y="2275"/>
                  </a:cubicBezTo>
                  <a:cubicBezTo>
                    <a:pt x="1829" y="2456"/>
                    <a:pt x="1829" y="2637"/>
                    <a:pt x="1829" y="2818"/>
                  </a:cubicBezTo>
                  <a:cubicBezTo>
                    <a:pt x="1829" y="2834"/>
                    <a:pt x="1830" y="2849"/>
                    <a:pt x="1828" y="2864"/>
                  </a:cubicBezTo>
                  <a:cubicBezTo>
                    <a:pt x="1821" y="2931"/>
                    <a:pt x="1769" y="2967"/>
                    <a:pt x="1704" y="2952"/>
                  </a:cubicBezTo>
                  <a:cubicBezTo>
                    <a:pt x="1669" y="2943"/>
                    <a:pt x="1652" y="2917"/>
                    <a:pt x="1635" y="2889"/>
                  </a:cubicBezTo>
                  <a:cubicBezTo>
                    <a:pt x="1635" y="2637"/>
                    <a:pt x="1639" y="2126"/>
                    <a:pt x="1640" y="2122"/>
                  </a:cubicBezTo>
                  <a:cubicBezTo>
                    <a:pt x="1671" y="1994"/>
                    <a:pt x="1753" y="1913"/>
                    <a:pt x="1873" y="1893"/>
                  </a:cubicBezTo>
                  <a:cubicBezTo>
                    <a:pt x="1892" y="1890"/>
                    <a:pt x="1911" y="1888"/>
                    <a:pt x="1931" y="1888"/>
                  </a:cubicBezTo>
                  <a:cubicBezTo>
                    <a:pt x="1964" y="1888"/>
                    <a:pt x="2375" y="1887"/>
                    <a:pt x="2426" y="1887"/>
                  </a:cubicBezTo>
                  <a:cubicBezTo>
                    <a:pt x="2426" y="1887"/>
                    <a:pt x="2426" y="1887"/>
                    <a:pt x="2426" y="1887"/>
                  </a:cubicBezTo>
                  <a:cubicBezTo>
                    <a:pt x="2426" y="1887"/>
                    <a:pt x="2426" y="1887"/>
                    <a:pt x="2426" y="1887"/>
                  </a:cubicBezTo>
                  <a:cubicBezTo>
                    <a:pt x="2427" y="1887"/>
                    <a:pt x="2428" y="1888"/>
                    <a:pt x="2428" y="1888"/>
                  </a:cubicBezTo>
                  <a:cubicBezTo>
                    <a:pt x="2547" y="1908"/>
                    <a:pt x="2629" y="1989"/>
                    <a:pt x="2659" y="2116"/>
                  </a:cubicBezTo>
                  <a:cubicBezTo>
                    <a:pt x="2660" y="2120"/>
                    <a:pt x="2664" y="2631"/>
                    <a:pt x="2664" y="2883"/>
                  </a:cubicBezTo>
                  <a:cubicBezTo>
                    <a:pt x="2650" y="2907"/>
                    <a:pt x="2635" y="2930"/>
                    <a:pt x="2609" y="2941"/>
                  </a:cubicBezTo>
                  <a:cubicBezTo>
                    <a:pt x="2609" y="2977"/>
                    <a:pt x="2609" y="2977"/>
                    <a:pt x="2609" y="2977"/>
                  </a:cubicBezTo>
                  <a:cubicBezTo>
                    <a:pt x="2631" y="2977"/>
                    <a:pt x="2631" y="2977"/>
                    <a:pt x="2631" y="2977"/>
                  </a:cubicBezTo>
                  <a:cubicBezTo>
                    <a:pt x="2669" y="2977"/>
                    <a:pt x="2700" y="3011"/>
                    <a:pt x="2700" y="3053"/>
                  </a:cubicBezTo>
                  <a:close/>
                  <a:moveTo>
                    <a:pt x="2096" y="1914"/>
                  </a:moveTo>
                  <a:cubicBezTo>
                    <a:pt x="2130" y="2002"/>
                    <a:pt x="2130" y="2002"/>
                    <a:pt x="2130" y="2002"/>
                  </a:cubicBezTo>
                  <a:cubicBezTo>
                    <a:pt x="2152" y="2002"/>
                    <a:pt x="2152" y="2002"/>
                    <a:pt x="2152" y="2002"/>
                  </a:cubicBezTo>
                  <a:cubicBezTo>
                    <a:pt x="2156" y="2002"/>
                    <a:pt x="2156" y="2002"/>
                    <a:pt x="2156" y="2002"/>
                  </a:cubicBezTo>
                  <a:cubicBezTo>
                    <a:pt x="2177" y="2002"/>
                    <a:pt x="2177" y="2002"/>
                    <a:pt x="2177" y="2002"/>
                  </a:cubicBezTo>
                  <a:cubicBezTo>
                    <a:pt x="2211" y="1914"/>
                    <a:pt x="2211" y="1914"/>
                    <a:pt x="2211" y="1914"/>
                  </a:cubicBezTo>
                  <a:cubicBezTo>
                    <a:pt x="2156" y="1914"/>
                    <a:pt x="2156" y="1914"/>
                    <a:pt x="2156" y="1914"/>
                  </a:cubicBezTo>
                  <a:cubicBezTo>
                    <a:pt x="2152" y="1914"/>
                    <a:pt x="2152" y="1914"/>
                    <a:pt x="2152" y="1914"/>
                  </a:cubicBezTo>
                  <a:lnTo>
                    <a:pt x="2096" y="1914"/>
                  </a:lnTo>
                  <a:close/>
                  <a:moveTo>
                    <a:pt x="2216" y="2440"/>
                  </a:moveTo>
                  <a:cubicBezTo>
                    <a:pt x="2177" y="2041"/>
                    <a:pt x="2177" y="2041"/>
                    <a:pt x="2177" y="2041"/>
                  </a:cubicBezTo>
                  <a:cubicBezTo>
                    <a:pt x="2154" y="2041"/>
                    <a:pt x="2154" y="2041"/>
                    <a:pt x="2154" y="2041"/>
                  </a:cubicBezTo>
                  <a:cubicBezTo>
                    <a:pt x="2131" y="2041"/>
                    <a:pt x="2131" y="2041"/>
                    <a:pt x="2131" y="2041"/>
                  </a:cubicBezTo>
                  <a:cubicBezTo>
                    <a:pt x="2091" y="2440"/>
                    <a:pt x="2091" y="2440"/>
                    <a:pt x="2091" y="2440"/>
                  </a:cubicBezTo>
                  <a:cubicBezTo>
                    <a:pt x="2154" y="2491"/>
                    <a:pt x="2154" y="2491"/>
                    <a:pt x="2154" y="2491"/>
                  </a:cubicBezTo>
                  <a:lnTo>
                    <a:pt x="2216" y="24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696980" y="1634066"/>
            <a:ext cx="887996" cy="887996"/>
            <a:chOff x="5696980" y="1634066"/>
            <a:chExt cx="887996" cy="887996"/>
          </a:xfrm>
        </p:grpSpPr>
        <p:sp>
          <p:nvSpPr>
            <p:cNvPr id="72" name="Oval 71"/>
            <p:cNvSpPr/>
            <p:nvPr/>
          </p:nvSpPr>
          <p:spPr>
            <a:xfrm>
              <a:off x="5696980" y="1634066"/>
              <a:ext cx="887996" cy="8879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9" name="Freeform 131"/>
            <p:cNvSpPr>
              <a:spLocks noEditPoints="1"/>
            </p:cNvSpPr>
            <p:nvPr/>
          </p:nvSpPr>
          <p:spPr bwMode="auto">
            <a:xfrm>
              <a:off x="5881605" y="1829795"/>
              <a:ext cx="518746" cy="496538"/>
            </a:xfrm>
            <a:custGeom>
              <a:avLst/>
              <a:gdLst>
                <a:gd name="T0" fmla="*/ 2734 w 3759"/>
                <a:gd name="T1" fmla="*/ 1405 h 3592"/>
                <a:gd name="T2" fmla="*/ 2709 w 3759"/>
                <a:gd name="T3" fmla="*/ 1421 h 3592"/>
                <a:gd name="T4" fmla="*/ 2674 w 3759"/>
                <a:gd name="T5" fmla="*/ 1414 h 3592"/>
                <a:gd name="T6" fmla="*/ 2691 w 3759"/>
                <a:gd name="T7" fmla="*/ 1088 h 3592"/>
                <a:gd name="T8" fmla="*/ 2977 w 3759"/>
                <a:gd name="T9" fmla="*/ 1311 h 3592"/>
                <a:gd name="T10" fmla="*/ 3129 w 3759"/>
                <a:gd name="T11" fmla="*/ 1312 h 3592"/>
                <a:gd name="T12" fmla="*/ 2724 w 3759"/>
                <a:gd name="T13" fmla="*/ 1011 h 3592"/>
                <a:gd name="T14" fmla="*/ 1777 w 3759"/>
                <a:gd name="T15" fmla="*/ 326 h 3592"/>
                <a:gd name="T16" fmla="*/ 461 w 3759"/>
                <a:gd name="T17" fmla="*/ 591 h 3592"/>
                <a:gd name="T18" fmla="*/ 987 w 3759"/>
                <a:gd name="T19" fmla="*/ 524 h 3592"/>
                <a:gd name="T20" fmla="*/ 1317 w 3759"/>
                <a:gd name="T21" fmla="*/ 2592 h 3592"/>
                <a:gd name="T22" fmla="*/ 969 w 3759"/>
                <a:gd name="T23" fmla="*/ 2363 h 3592"/>
                <a:gd name="T24" fmla="*/ 583 w 3759"/>
                <a:gd name="T25" fmla="*/ 2139 h 3592"/>
                <a:gd name="T26" fmla="*/ 1290 w 3759"/>
                <a:gd name="T27" fmla="*/ 1102 h 3592"/>
                <a:gd name="T28" fmla="*/ 1356 w 3759"/>
                <a:gd name="T29" fmla="*/ 1121 h 3592"/>
                <a:gd name="T30" fmla="*/ 675 w 3759"/>
                <a:gd name="T31" fmla="*/ 1503 h 3592"/>
                <a:gd name="T32" fmla="*/ 998 w 3759"/>
                <a:gd name="T33" fmla="*/ 1233 h 3592"/>
                <a:gd name="T34" fmla="*/ 996 w 3759"/>
                <a:gd name="T35" fmla="*/ 1278 h 3592"/>
                <a:gd name="T36" fmla="*/ 1317 w 3759"/>
                <a:gd name="T37" fmla="*/ 1792 h 3592"/>
                <a:gd name="T38" fmla="*/ 3547 w 3759"/>
                <a:gd name="T39" fmla="*/ 2600 h 3592"/>
                <a:gd name="T40" fmla="*/ 1692 w 3759"/>
                <a:gd name="T41" fmla="*/ 2842 h 3592"/>
                <a:gd name="T42" fmla="*/ 3548 w 3759"/>
                <a:gd name="T43" fmla="*/ 3472 h 3592"/>
                <a:gd name="T44" fmla="*/ 3115 w 3759"/>
                <a:gd name="T45" fmla="*/ 2494 h 3592"/>
                <a:gd name="T46" fmla="*/ 3060 w 3759"/>
                <a:gd name="T47" fmla="*/ 2664 h 3592"/>
                <a:gd name="T48" fmla="*/ 3422 w 3759"/>
                <a:gd name="T49" fmla="*/ 2633 h 3592"/>
                <a:gd name="T50" fmla="*/ 3422 w 3759"/>
                <a:gd name="T51" fmla="*/ 2576 h 3592"/>
                <a:gd name="T52" fmla="*/ 3303 w 3759"/>
                <a:gd name="T53" fmla="*/ 2305 h 3592"/>
                <a:gd name="T54" fmla="*/ 2942 w 3759"/>
                <a:gd name="T55" fmla="*/ 2336 h 3592"/>
                <a:gd name="T56" fmla="*/ 2942 w 3759"/>
                <a:gd name="T57" fmla="*/ 2393 h 3592"/>
                <a:gd name="T58" fmla="*/ 2920 w 3759"/>
                <a:gd name="T59" fmla="*/ 2453 h 3592"/>
                <a:gd name="T60" fmla="*/ 3476 w 3759"/>
                <a:gd name="T61" fmla="*/ 2446 h 3592"/>
                <a:gd name="T62" fmla="*/ 2856 w 3759"/>
                <a:gd name="T63" fmla="*/ 2143 h 3592"/>
                <a:gd name="T64" fmla="*/ 3411 w 3759"/>
                <a:gd name="T65" fmla="*/ 2271 h 3592"/>
                <a:gd name="T66" fmla="*/ 3390 w 3759"/>
                <a:gd name="T67" fmla="*/ 2224 h 3592"/>
                <a:gd name="T68" fmla="*/ 3390 w 3759"/>
                <a:gd name="T69" fmla="*/ 2167 h 3592"/>
                <a:gd name="T70" fmla="*/ 3083 w 3759"/>
                <a:gd name="T71" fmla="*/ 2113 h 3592"/>
                <a:gd name="T72" fmla="*/ 2449 w 3759"/>
                <a:gd name="T73" fmla="*/ 2549 h 3592"/>
                <a:gd name="T74" fmla="*/ 2679 w 3759"/>
                <a:gd name="T75" fmla="*/ 2184 h 3592"/>
                <a:gd name="T76" fmla="*/ 2731 w 3759"/>
                <a:gd name="T77" fmla="*/ 2208 h 3592"/>
                <a:gd name="T78" fmla="*/ 2601 w 3759"/>
                <a:gd name="T79" fmla="*/ 2618 h 3592"/>
                <a:gd name="T80" fmla="*/ 2382 w 3759"/>
                <a:gd name="T81" fmla="*/ 2497 h 3592"/>
                <a:gd name="T82" fmla="*/ 1855 w 3759"/>
                <a:gd name="T83" fmla="*/ 2641 h 3592"/>
                <a:gd name="T84" fmla="*/ 2002 w 3759"/>
                <a:gd name="T85" fmla="*/ 2641 h 3592"/>
                <a:gd name="T86" fmla="*/ 1979 w 3759"/>
                <a:gd name="T87" fmla="*/ 2585 h 3592"/>
                <a:gd name="T88" fmla="*/ 1980 w 3759"/>
                <a:gd name="T89" fmla="*/ 2528 h 3592"/>
                <a:gd name="T90" fmla="*/ 2240 w 3759"/>
                <a:gd name="T91" fmla="*/ 2301 h 3592"/>
                <a:gd name="T92" fmla="*/ 1881 w 3759"/>
                <a:gd name="T93" fmla="*/ 2347 h 3592"/>
                <a:gd name="T94" fmla="*/ 1881 w 3759"/>
                <a:gd name="T95" fmla="*/ 2404 h 3592"/>
                <a:gd name="T96" fmla="*/ 1860 w 3759"/>
                <a:gd name="T97" fmla="*/ 2458 h 3592"/>
                <a:gd name="T98" fmla="*/ 2351 w 3759"/>
                <a:gd name="T99" fmla="*/ 2122 h 3592"/>
                <a:gd name="T100" fmla="*/ 1795 w 3759"/>
                <a:gd name="T101" fmla="*/ 2240 h 3592"/>
                <a:gd name="T102" fmla="*/ 2351 w 3759"/>
                <a:gd name="T103" fmla="*/ 2261 h 3592"/>
                <a:gd name="T104" fmla="*/ 2330 w 3759"/>
                <a:gd name="T105" fmla="*/ 2204 h 3592"/>
                <a:gd name="T106" fmla="*/ 2330 w 3759"/>
                <a:gd name="T107" fmla="*/ 2148 h 3592"/>
                <a:gd name="T108" fmla="*/ 1827 w 3759"/>
                <a:gd name="T109" fmla="*/ 1950 h 3592"/>
                <a:gd name="T110" fmla="*/ 1827 w 3759"/>
                <a:gd name="T111" fmla="*/ 2007 h 3592"/>
                <a:gd name="T112" fmla="*/ 1806 w 3759"/>
                <a:gd name="T113" fmla="*/ 2067 h 3592"/>
                <a:gd name="T114" fmla="*/ 2362 w 3759"/>
                <a:gd name="T115" fmla="*/ 2060 h 3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59" h="3592">
                  <a:moveTo>
                    <a:pt x="2588" y="1326"/>
                  </a:moveTo>
                  <a:cubicBezTo>
                    <a:pt x="2571" y="1308"/>
                    <a:pt x="2571" y="1281"/>
                    <a:pt x="2589" y="1264"/>
                  </a:cubicBezTo>
                  <a:cubicBezTo>
                    <a:pt x="2606" y="1247"/>
                    <a:pt x="2634" y="1248"/>
                    <a:pt x="2650" y="1265"/>
                  </a:cubicBezTo>
                  <a:cubicBezTo>
                    <a:pt x="2696" y="1312"/>
                    <a:pt x="2696" y="1312"/>
                    <a:pt x="2696" y="1312"/>
                  </a:cubicBezTo>
                  <a:cubicBezTo>
                    <a:pt x="2795" y="1185"/>
                    <a:pt x="2795" y="1185"/>
                    <a:pt x="2795" y="1185"/>
                  </a:cubicBezTo>
                  <a:cubicBezTo>
                    <a:pt x="2810" y="1167"/>
                    <a:pt x="2837" y="1163"/>
                    <a:pt x="2856" y="1178"/>
                  </a:cubicBezTo>
                  <a:cubicBezTo>
                    <a:pt x="2875" y="1193"/>
                    <a:pt x="2878" y="1220"/>
                    <a:pt x="2863" y="1239"/>
                  </a:cubicBezTo>
                  <a:cubicBezTo>
                    <a:pt x="2734" y="1405"/>
                    <a:pt x="2734" y="1405"/>
                    <a:pt x="2734" y="1405"/>
                  </a:cubicBezTo>
                  <a:cubicBezTo>
                    <a:pt x="2734" y="1406"/>
                    <a:pt x="2733" y="1406"/>
                    <a:pt x="2733" y="1407"/>
                  </a:cubicBezTo>
                  <a:cubicBezTo>
                    <a:pt x="2732" y="1408"/>
                    <a:pt x="2731" y="1409"/>
                    <a:pt x="2730" y="1409"/>
                  </a:cubicBezTo>
                  <a:cubicBezTo>
                    <a:pt x="2730" y="1410"/>
                    <a:pt x="2729" y="1411"/>
                    <a:pt x="2728" y="1411"/>
                  </a:cubicBezTo>
                  <a:cubicBezTo>
                    <a:pt x="2727" y="1412"/>
                    <a:pt x="2726" y="1413"/>
                    <a:pt x="2725" y="1413"/>
                  </a:cubicBezTo>
                  <a:cubicBezTo>
                    <a:pt x="2724" y="1415"/>
                    <a:pt x="2722" y="1416"/>
                    <a:pt x="2720" y="1416"/>
                  </a:cubicBezTo>
                  <a:cubicBezTo>
                    <a:pt x="2719" y="1417"/>
                    <a:pt x="2718" y="1418"/>
                    <a:pt x="2717" y="1418"/>
                  </a:cubicBezTo>
                  <a:cubicBezTo>
                    <a:pt x="2715" y="1419"/>
                    <a:pt x="2713" y="1420"/>
                    <a:pt x="2711" y="1420"/>
                  </a:cubicBezTo>
                  <a:cubicBezTo>
                    <a:pt x="2711" y="1420"/>
                    <a:pt x="2710" y="1421"/>
                    <a:pt x="2709" y="1421"/>
                  </a:cubicBezTo>
                  <a:cubicBezTo>
                    <a:pt x="2706" y="1421"/>
                    <a:pt x="2703" y="1422"/>
                    <a:pt x="2700" y="1422"/>
                  </a:cubicBezTo>
                  <a:cubicBezTo>
                    <a:pt x="2700" y="1422"/>
                    <a:pt x="2700" y="1422"/>
                    <a:pt x="2700" y="1422"/>
                  </a:cubicBezTo>
                  <a:cubicBezTo>
                    <a:pt x="2697" y="1422"/>
                    <a:pt x="2695" y="1422"/>
                    <a:pt x="2692" y="1421"/>
                  </a:cubicBezTo>
                  <a:cubicBezTo>
                    <a:pt x="2691" y="1421"/>
                    <a:pt x="2690" y="1421"/>
                    <a:pt x="2690" y="1421"/>
                  </a:cubicBezTo>
                  <a:cubicBezTo>
                    <a:pt x="2688" y="1420"/>
                    <a:pt x="2686" y="1420"/>
                    <a:pt x="2684" y="1419"/>
                  </a:cubicBezTo>
                  <a:cubicBezTo>
                    <a:pt x="2683" y="1419"/>
                    <a:pt x="2683" y="1418"/>
                    <a:pt x="2682" y="1418"/>
                  </a:cubicBezTo>
                  <a:cubicBezTo>
                    <a:pt x="2680" y="1417"/>
                    <a:pt x="2679" y="1416"/>
                    <a:pt x="2677" y="1415"/>
                  </a:cubicBezTo>
                  <a:cubicBezTo>
                    <a:pt x="2676" y="1415"/>
                    <a:pt x="2675" y="1414"/>
                    <a:pt x="2674" y="1414"/>
                  </a:cubicBezTo>
                  <a:cubicBezTo>
                    <a:pt x="2674" y="1413"/>
                    <a:pt x="2674" y="1413"/>
                    <a:pt x="2673" y="1413"/>
                  </a:cubicBezTo>
                  <a:cubicBezTo>
                    <a:pt x="2672" y="1412"/>
                    <a:pt x="2672" y="1411"/>
                    <a:pt x="2671" y="1411"/>
                  </a:cubicBezTo>
                  <a:cubicBezTo>
                    <a:pt x="2670" y="1410"/>
                    <a:pt x="2669" y="1409"/>
                    <a:pt x="2669" y="1409"/>
                  </a:cubicBezTo>
                  <a:lnTo>
                    <a:pt x="2588" y="1326"/>
                  </a:lnTo>
                  <a:close/>
                  <a:moveTo>
                    <a:pt x="2728" y="1125"/>
                  </a:moveTo>
                  <a:cubicBezTo>
                    <a:pt x="2748" y="1125"/>
                    <a:pt x="2764" y="1108"/>
                    <a:pt x="2764" y="1088"/>
                  </a:cubicBezTo>
                  <a:cubicBezTo>
                    <a:pt x="2764" y="1068"/>
                    <a:pt x="2748" y="1051"/>
                    <a:pt x="2728" y="1051"/>
                  </a:cubicBezTo>
                  <a:cubicBezTo>
                    <a:pt x="2708" y="1051"/>
                    <a:pt x="2691" y="1068"/>
                    <a:pt x="2691" y="1088"/>
                  </a:cubicBezTo>
                  <a:cubicBezTo>
                    <a:pt x="2691" y="1108"/>
                    <a:pt x="2708" y="1125"/>
                    <a:pt x="2728" y="1125"/>
                  </a:cubicBezTo>
                  <a:close/>
                  <a:moveTo>
                    <a:pt x="2533" y="1311"/>
                  </a:moveTo>
                  <a:cubicBezTo>
                    <a:pt x="2533" y="1291"/>
                    <a:pt x="2516" y="1275"/>
                    <a:pt x="2496" y="1275"/>
                  </a:cubicBezTo>
                  <a:cubicBezTo>
                    <a:pt x="2476" y="1275"/>
                    <a:pt x="2459" y="1291"/>
                    <a:pt x="2459" y="1311"/>
                  </a:cubicBezTo>
                  <a:cubicBezTo>
                    <a:pt x="2459" y="1331"/>
                    <a:pt x="2476" y="1348"/>
                    <a:pt x="2496" y="1348"/>
                  </a:cubicBezTo>
                  <a:cubicBezTo>
                    <a:pt x="2516" y="1348"/>
                    <a:pt x="2533" y="1331"/>
                    <a:pt x="2533" y="1311"/>
                  </a:cubicBezTo>
                  <a:close/>
                  <a:moveTo>
                    <a:pt x="2940" y="1348"/>
                  </a:moveTo>
                  <a:cubicBezTo>
                    <a:pt x="2960" y="1348"/>
                    <a:pt x="2977" y="1331"/>
                    <a:pt x="2977" y="1311"/>
                  </a:cubicBezTo>
                  <a:cubicBezTo>
                    <a:pt x="2977" y="1291"/>
                    <a:pt x="2960" y="1275"/>
                    <a:pt x="2940" y="1275"/>
                  </a:cubicBezTo>
                  <a:cubicBezTo>
                    <a:pt x="2920" y="1275"/>
                    <a:pt x="2904" y="1291"/>
                    <a:pt x="2904" y="1311"/>
                  </a:cubicBezTo>
                  <a:cubicBezTo>
                    <a:pt x="2904" y="1331"/>
                    <a:pt x="2920" y="1348"/>
                    <a:pt x="2940" y="1348"/>
                  </a:cubicBezTo>
                  <a:close/>
                  <a:moveTo>
                    <a:pt x="2319" y="1312"/>
                  </a:moveTo>
                  <a:cubicBezTo>
                    <a:pt x="2320" y="1191"/>
                    <a:pt x="2375" y="1083"/>
                    <a:pt x="2460" y="1010"/>
                  </a:cubicBezTo>
                  <a:cubicBezTo>
                    <a:pt x="2531" y="948"/>
                    <a:pt x="2623" y="911"/>
                    <a:pt x="2724" y="911"/>
                  </a:cubicBezTo>
                  <a:cubicBezTo>
                    <a:pt x="2825" y="911"/>
                    <a:pt x="2917" y="948"/>
                    <a:pt x="2988" y="1010"/>
                  </a:cubicBezTo>
                  <a:cubicBezTo>
                    <a:pt x="3074" y="1083"/>
                    <a:pt x="3128" y="1192"/>
                    <a:pt x="3129" y="1312"/>
                  </a:cubicBezTo>
                  <a:cubicBezTo>
                    <a:pt x="3128" y="1433"/>
                    <a:pt x="3074" y="1542"/>
                    <a:pt x="2988" y="1615"/>
                  </a:cubicBezTo>
                  <a:cubicBezTo>
                    <a:pt x="2917" y="1676"/>
                    <a:pt x="2825" y="1714"/>
                    <a:pt x="2724" y="1714"/>
                  </a:cubicBezTo>
                  <a:cubicBezTo>
                    <a:pt x="2623" y="1714"/>
                    <a:pt x="2531" y="1676"/>
                    <a:pt x="2460" y="1615"/>
                  </a:cubicBezTo>
                  <a:cubicBezTo>
                    <a:pt x="2375" y="1541"/>
                    <a:pt x="2320" y="1433"/>
                    <a:pt x="2319" y="1312"/>
                  </a:cubicBezTo>
                  <a:close/>
                  <a:moveTo>
                    <a:pt x="2419" y="1312"/>
                  </a:moveTo>
                  <a:cubicBezTo>
                    <a:pt x="2421" y="1479"/>
                    <a:pt x="2557" y="1614"/>
                    <a:pt x="2724" y="1614"/>
                  </a:cubicBezTo>
                  <a:cubicBezTo>
                    <a:pt x="2891" y="1614"/>
                    <a:pt x="3027" y="1479"/>
                    <a:pt x="3029" y="1312"/>
                  </a:cubicBezTo>
                  <a:cubicBezTo>
                    <a:pt x="3027" y="1146"/>
                    <a:pt x="2891" y="1011"/>
                    <a:pt x="2724" y="1011"/>
                  </a:cubicBezTo>
                  <a:cubicBezTo>
                    <a:pt x="2557" y="1011"/>
                    <a:pt x="2421" y="1146"/>
                    <a:pt x="2419" y="1312"/>
                  </a:cubicBezTo>
                  <a:close/>
                  <a:moveTo>
                    <a:pt x="2728" y="1498"/>
                  </a:moveTo>
                  <a:cubicBezTo>
                    <a:pt x="2708" y="1498"/>
                    <a:pt x="2691" y="1514"/>
                    <a:pt x="2691" y="1534"/>
                  </a:cubicBezTo>
                  <a:cubicBezTo>
                    <a:pt x="2691" y="1555"/>
                    <a:pt x="2708" y="1571"/>
                    <a:pt x="2728" y="1571"/>
                  </a:cubicBezTo>
                  <a:cubicBezTo>
                    <a:pt x="2748" y="1571"/>
                    <a:pt x="2764" y="1555"/>
                    <a:pt x="2764" y="1534"/>
                  </a:cubicBezTo>
                  <a:cubicBezTo>
                    <a:pt x="2764" y="1514"/>
                    <a:pt x="2748" y="1498"/>
                    <a:pt x="2728" y="1498"/>
                  </a:cubicBezTo>
                  <a:close/>
                  <a:moveTo>
                    <a:pt x="1890" y="439"/>
                  </a:moveTo>
                  <a:cubicBezTo>
                    <a:pt x="1777" y="326"/>
                    <a:pt x="1777" y="326"/>
                    <a:pt x="1777" y="326"/>
                  </a:cubicBezTo>
                  <a:cubicBezTo>
                    <a:pt x="1512" y="591"/>
                    <a:pt x="1512" y="591"/>
                    <a:pt x="1512" y="591"/>
                  </a:cubicBezTo>
                  <a:cubicBezTo>
                    <a:pt x="1624" y="704"/>
                    <a:pt x="1624" y="704"/>
                    <a:pt x="1624" y="704"/>
                  </a:cubicBezTo>
                  <a:lnTo>
                    <a:pt x="1890" y="439"/>
                  </a:lnTo>
                  <a:close/>
                  <a:moveTo>
                    <a:pt x="461" y="591"/>
                  </a:moveTo>
                  <a:cubicBezTo>
                    <a:pt x="196" y="326"/>
                    <a:pt x="196" y="326"/>
                    <a:pt x="196" y="326"/>
                  </a:cubicBezTo>
                  <a:cubicBezTo>
                    <a:pt x="83" y="439"/>
                    <a:pt x="83" y="439"/>
                    <a:pt x="83" y="439"/>
                  </a:cubicBezTo>
                  <a:cubicBezTo>
                    <a:pt x="349" y="704"/>
                    <a:pt x="349" y="704"/>
                    <a:pt x="349" y="704"/>
                  </a:cubicBezTo>
                  <a:lnTo>
                    <a:pt x="461" y="591"/>
                  </a:lnTo>
                  <a:close/>
                  <a:moveTo>
                    <a:pt x="1067" y="0"/>
                  </a:moveTo>
                  <a:cubicBezTo>
                    <a:pt x="907" y="0"/>
                    <a:pt x="907" y="0"/>
                    <a:pt x="907" y="0"/>
                  </a:cubicBezTo>
                  <a:cubicBezTo>
                    <a:pt x="907" y="375"/>
                    <a:pt x="907" y="375"/>
                    <a:pt x="907" y="375"/>
                  </a:cubicBezTo>
                  <a:cubicBezTo>
                    <a:pt x="1067" y="375"/>
                    <a:pt x="1067" y="375"/>
                    <a:pt x="1067" y="375"/>
                  </a:cubicBezTo>
                  <a:lnTo>
                    <a:pt x="1067" y="0"/>
                  </a:lnTo>
                  <a:close/>
                  <a:moveTo>
                    <a:pt x="987" y="1082"/>
                  </a:moveTo>
                  <a:cubicBezTo>
                    <a:pt x="1141" y="1082"/>
                    <a:pt x="1265" y="957"/>
                    <a:pt x="1265" y="803"/>
                  </a:cubicBezTo>
                  <a:cubicBezTo>
                    <a:pt x="1265" y="649"/>
                    <a:pt x="1141" y="524"/>
                    <a:pt x="987" y="524"/>
                  </a:cubicBezTo>
                  <a:cubicBezTo>
                    <a:pt x="833" y="524"/>
                    <a:pt x="708" y="649"/>
                    <a:pt x="708" y="803"/>
                  </a:cubicBezTo>
                  <a:cubicBezTo>
                    <a:pt x="708" y="957"/>
                    <a:pt x="833" y="1082"/>
                    <a:pt x="987" y="1082"/>
                  </a:cubicBezTo>
                  <a:close/>
                  <a:moveTo>
                    <a:pt x="1489" y="2108"/>
                  </a:moveTo>
                  <a:cubicBezTo>
                    <a:pt x="1466" y="2129"/>
                    <a:pt x="1438" y="2139"/>
                    <a:pt x="1410" y="2139"/>
                  </a:cubicBezTo>
                  <a:cubicBezTo>
                    <a:pt x="1378" y="2139"/>
                    <a:pt x="1346" y="2126"/>
                    <a:pt x="1323" y="2101"/>
                  </a:cubicBezTo>
                  <a:cubicBezTo>
                    <a:pt x="1321" y="2098"/>
                    <a:pt x="1319" y="2095"/>
                    <a:pt x="1317" y="2093"/>
                  </a:cubicBezTo>
                  <a:cubicBezTo>
                    <a:pt x="1317" y="2248"/>
                    <a:pt x="1317" y="2248"/>
                    <a:pt x="1317" y="2248"/>
                  </a:cubicBezTo>
                  <a:cubicBezTo>
                    <a:pt x="1317" y="2592"/>
                    <a:pt x="1317" y="2592"/>
                    <a:pt x="1317" y="2592"/>
                  </a:cubicBezTo>
                  <a:cubicBezTo>
                    <a:pt x="1317" y="2864"/>
                    <a:pt x="1317" y="3137"/>
                    <a:pt x="1318" y="3409"/>
                  </a:cubicBezTo>
                  <a:cubicBezTo>
                    <a:pt x="1318" y="3496"/>
                    <a:pt x="1293" y="3561"/>
                    <a:pt x="1206" y="3592"/>
                  </a:cubicBezTo>
                  <a:cubicBezTo>
                    <a:pt x="1181" y="3592"/>
                    <a:pt x="1157" y="3592"/>
                    <a:pt x="1132" y="3592"/>
                  </a:cubicBezTo>
                  <a:cubicBezTo>
                    <a:pt x="1045" y="3560"/>
                    <a:pt x="1018" y="3496"/>
                    <a:pt x="1019" y="3407"/>
                  </a:cubicBezTo>
                  <a:cubicBezTo>
                    <a:pt x="1022" y="3058"/>
                    <a:pt x="1020" y="2710"/>
                    <a:pt x="1020" y="2362"/>
                  </a:cubicBezTo>
                  <a:cubicBezTo>
                    <a:pt x="1020" y="2347"/>
                    <a:pt x="1020" y="2333"/>
                    <a:pt x="1020" y="2317"/>
                  </a:cubicBezTo>
                  <a:cubicBezTo>
                    <a:pt x="1002" y="2317"/>
                    <a:pt x="988" y="2317"/>
                    <a:pt x="969" y="2317"/>
                  </a:cubicBezTo>
                  <a:cubicBezTo>
                    <a:pt x="969" y="2334"/>
                    <a:pt x="969" y="2348"/>
                    <a:pt x="969" y="2363"/>
                  </a:cubicBezTo>
                  <a:cubicBezTo>
                    <a:pt x="969" y="2712"/>
                    <a:pt x="968" y="3062"/>
                    <a:pt x="970" y="3411"/>
                  </a:cubicBezTo>
                  <a:cubicBezTo>
                    <a:pt x="971" y="3499"/>
                    <a:pt x="943" y="3562"/>
                    <a:pt x="857" y="3592"/>
                  </a:cubicBezTo>
                  <a:cubicBezTo>
                    <a:pt x="832" y="3592"/>
                    <a:pt x="807" y="3592"/>
                    <a:pt x="782" y="3592"/>
                  </a:cubicBezTo>
                  <a:cubicBezTo>
                    <a:pt x="735" y="3571"/>
                    <a:pt x="693" y="3543"/>
                    <a:pt x="682" y="3488"/>
                  </a:cubicBezTo>
                  <a:cubicBezTo>
                    <a:pt x="676" y="3462"/>
                    <a:pt x="676" y="3434"/>
                    <a:pt x="676" y="3407"/>
                  </a:cubicBezTo>
                  <a:cubicBezTo>
                    <a:pt x="675" y="2969"/>
                    <a:pt x="675" y="2531"/>
                    <a:pt x="675" y="2094"/>
                  </a:cubicBezTo>
                  <a:cubicBezTo>
                    <a:pt x="674" y="2096"/>
                    <a:pt x="672" y="2098"/>
                    <a:pt x="670" y="2101"/>
                  </a:cubicBezTo>
                  <a:cubicBezTo>
                    <a:pt x="647" y="2126"/>
                    <a:pt x="615" y="2139"/>
                    <a:pt x="583" y="2139"/>
                  </a:cubicBezTo>
                  <a:cubicBezTo>
                    <a:pt x="555" y="2139"/>
                    <a:pt x="527" y="2129"/>
                    <a:pt x="504" y="2108"/>
                  </a:cubicBezTo>
                  <a:cubicBezTo>
                    <a:pt x="41" y="1687"/>
                    <a:pt x="41" y="1687"/>
                    <a:pt x="41" y="1687"/>
                  </a:cubicBezTo>
                  <a:cubicBezTo>
                    <a:pt x="14" y="1662"/>
                    <a:pt x="0" y="1627"/>
                    <a:pt x="3" y="1591"/>
                  </a:cubicBezTo>
                  <a:cubicBezTo>
                    <a:pt x="6" y="1555"/>
                    <a:pt x="25" y="1522"/>
                    <a:pt x="55" y="1502"/>
                  </a:cubicBezTo>
                  <a:cubicBezTo>
                    <a:pt x="637" y="1121"/>
                    <a:pt x="637" y="1121"/>
                    <a:pt x="637" y="1121"/>
                  </a:cubicBezTo>
                  <a:cubicBezTo>
                    <a:pt x="663" y="1104"/>
                    <a:pt x="693" y="1099"/>
                    <a:pt x="722" y="1104"/>
                  </a:cubicBezTo>
                  <a:cubicBezTo>
                    <a:pt x="728" y="1104"/>
                    <a:pt x="734" y="1103"/>
                    <a:pt x="741" y="1103"/>
                  </a:cubicBezTo>
                  <a:cubicBezTo>
                    <a:pt x="777" y="1103"/>
                    <a:pt x="1188" y="1102"/>
                    <a:pt x="1290" y="1102"/>
                  </a:cubicBezTo>
                  <a:cubicBezTo>
                    <a:pt x="1290" y="1102"/>
                    <a:pt x="1291" y="1102"/>
                    <a:pt x="1292" y="1102"/>
                  </a:cubicBezTo>
                  <a:cubicBezTo>
                    <a:pt x="1298" y="1102"/>
                    <a:pt x="1303" y="1102"/>
                    <a:pt x="1306" y="1102"/>
                  </a:cubicBezTo>
                  <a:cubicBezTo>
                    <a:pt x="1306" y="1102"/>
                    <a:pt x="1306" y="1102"/>
                    <a:pt x="1306" y="1102"/>
                  </a:cubicBezTo>
                  <a:cubicBezTo>
                    <a:pt x="1307" y="1102"/>
                    <a:pt x="1307" y="1102"/>
                    <a:pt x="1307" y="1102"/>
                  </a:cubicBezTo>
                  <a:cubicBezTo>
                    <a:pt x="1308" y="1102"/>
                    <a:pt x="1309" y="1102"/>
                    <a:pt x="1309" y="1102"/>
                  </a:cubicBezTo>
                  <a:cubicBezTo>
                    <a:pt x="1312" y="1103"/>
                    <a:pt x="1314" y="1103"/>
                    <a:pt x="1317" y="1104"/>
                  </a:cubicBezTo>
                  <a:cubicBezTo>
                    <a:pt x="1317" y="1105"/>
                    <a:pt x="1317" y="1105"/>
                    <a:pt x="1317" y="1105"/>
                  </a:cubicBezTo>
                  <a:cubicBezTo>
                    <a:pt x="1330" y="1108"/>
                    <a:pt x="1344" y="1113"/>
                    <a:pt x="1356" y="1121"/>
                  </a:cubicBezTo>
                  <a:cubicBezTo>
                    <a:pt x="1938" y="1502"/>
                    <a:pt x="1938" y="1502"/>
                    <a:pt x="1938" y="1502"/>
                  </a:cubicBezTo>
                  <a:cubicBezTo>
                    <a:pt x="1968" y="1522"/>
                    <a:pt x="1987" y="1555"/>
                    <a:pt x="1990" y="1591"/>
                  </a:cubicBezTo>
                  <a:cubicBezTo>
                    <a:pt x="1993" y="1627"/>
                    <a:pt x="1979" y="1662"/>
                    <a:pt x="1952" y="1687"/>
                  </a:cubicBezTo>
                  <a:lnTo>
                    <a:pt x="1489" y="2108"/>
                  </a:lnTo>
                  <a:close/>
                  <a:moveTo>
                    <a:pt x="675" y="1950"/>
                  </a:moveTo>
                  <a:cubicBezTo>
                    <a:pt x="675" y="1817"/>
                    <a:pt x="675" y="1684"/>
                    <a:pt x="675" y="1552"/>
                  </a:cubicBezTo>
                  <a:cubicBezTo>
                    <a:pt x="675" y="1536"/>
                    <a:pt x="675" y="1520"/>
                    <a:pt x="675" y="1503"/>
                  </a:cubicBezTo>
                  <a:cubicBezTo>
                    <a:pt x="675" y="1503"/>
                    <a:pt x="675" y="1503"/>
                    <a:pt x="675" y="1503"/>
                  </a:cubicBezTo>
                  <a:cubicBezTo>
                    <a:pt x="675" y="1376"/>
                    <a:pt x="675" y="1376"/>
                    <a:pt x="675" y="1376"/>
                  </a:cubicBezTo>
                  <a:cubicBezTo>
                    <a:pt x="310" y="1615"/>
                    <a:pt x="310" y="1615"/>
                    <a:pt x="310" y="1615"/>
                  </a:cubicBezTo>
                  <a:cubicBezTo>
                    <a:pt x="662" y="1935"/>
                    <a:pt x="662" y="1935"/>
                    <a:pt x="662" y="1935"/>
                  </a:cubicBezTo>
                  <a:cubicBezTo>
                    <a:pt x="667" y="1940"/>
                    <a:pt x="671" y="1944"/>
                    <a:pt x="675" y="1950"/>
                  </a:cubicBezTo>
                  <a:close/>
                  <a:moveTo>
                    <a:pt x="930" y="1133"/>
                  </a:moveTo>
                  <a:cubicBezTo>
                    <a:pt x="969" y="1233"/>
                    <a:pt x="969" y="1233"/>
                    <a:pt x="969" y="1233"/>
                  </a:cubicBezTo>
                  <a:cubicBezTo>
                    <a:pt x="993" y="1233"/>
                    <a:pt x="993" y="1233"/>
                    <a:pt x="993" y="1233"/>
                  </a:cubicBezTo>
                  <a:cubicBezTo>
                    <a:pt x="998" y="1233"/>
                    <a:pt x="998" y="1233"/>
                    <a:pt x="998" y="1233"/>
                  </a:cubicBezTo>
                  <a:cubicBezTo>
                    <a:pt x="1022" y="1233"/>
                    <a:pt x="1022" y="1233"/>
                    <a:pt x="1022" y="1233"/>
                  </a:cubicBezTo>
                  <a:cubicBezTo>
                    <a:pt x="1061" y="1133"/>
                    <a:pt x="1061" y="1133"/>
                    <a:pt x="1061" y="1133"/>
                  </a:cubicBezTo>
                  <a:cubicBezTo>
                    <a:pt x="998" y="1133"/>
                    <a:pt x="998" y="1133"/>
                    <a:pt x="998" y="1133"/>
                  </a:cubicBezTo>
                  <a:cubicBezTo>
                    <a:pt x="993" y="1133"/>
                    <a:pt x="993" y="1133"/>
                    <a:pt x="993" y="1133"/>
                  </a:cubicBezTo>
                  <a:lnTo>
                    <a:pt x="930" y="1133"/>
                  </a:lnTo>
                  <a:close/>
                  <a:moveTo>
                    <a:pt x="1067" y="1733"/>
                  </a:moveTo>
                  <a:cubicBezTo>
                    <a:pt x="1022" y="1278"/>
                    <a:pt x="1022" y="1278"/>
                    <a:pt x="1022" y="1278"/>
                  </a:cubicBezTo>
                  <a:cubicBezTo>
                    <a:pt x="996" y="1278"/>
                    <a:pt x="996" y="1278"/>
                    <a:pt x="996" y="1278"/>
                  </a:cubicBezTo>
                  <a:cubicBezTo>
                    <a:pt x="969" y="1278"/>
                    <a:pt x="969" y="1278"/>
                    <a:pt x="969" y="1278"/>
                  </a:cubicBezTo>
                  <a:cubicBezTo>
                    <a:pt x="924" y="1733"/>
                    <a:pt x="924" y="1733"/>
                    <a:pt x="924" y="1733"/>
                  </a:cubicBezTo>
                  <a:cubicBezTo>
                    <a:pt x="996" y="1792"/>
                    <a:pt x="996" y="1792"/>
                    <a:pt x="996" y="1792"/>
                  </a:cubicBezTo>
                  <a:lnTo>
                    <a:pt x="1067" y="1733"/>
                  </a:lnTo>
                  <a:close/>
                  <a:moveTo>
                    <a:pt x="1683" y="1615"/>
                  </a:moveTo>
                  <a:cubicBezTo>
                    <a:pt x="1317" y="1375"/>
                    <a:pt x="1317" y="1375"/>
                    <a:pt x="1317" y="1375"/>
                  </a:cubicBezTo>
                  <a:cubicBezTo>
                    <a:pt x="1317" y="1496"/>
                    <a:pt x="1317" y="1496"/>
                    <a:pt x="1317" y="1496"/>
                  </a:cubicBezTo>
                  <a:cubicBezTo>
                    <a:pt x="1317" y="1792"/>
                    <a:pt x="1317" y="1792"/>
                    <a:pt x="1317" y="1792"/>
                  </a:cubicBezTo>
                  <a:cubicBezTo>
                    <a:pt x="1317" y="1951"/>
                    <a:pt x="1317" y="1951"/>
                    <a:pt x="1317" y="1951"/>
                  </a:cubicBezTo>
                  <a:cubicBezTo>
                    <a:pt x="1321" y="1945"/>
                    <a:pt x="1326" y="1940"/>
                    <a:pt x="1331" y="1935"/>
                  </a:cubicBezTo>
                  <a:lnTo>
                    <a:pt x="1683" y="1615"/>
                  </a:lnTo>
                  <a:close/>
                  <a:moveTo>
                    <a:pt x="3759" y="2842"/>
                  </a:moveTo>
                  <a:cubicBezTo>
                    <a:pt x="3759" y="2737"/>
                    <a:pt x="3759" y="2737"/>
                    <a:pt x="3759" y="2737"/>
                  </a:cubicBezTo>
                  <a:cubicBezTo>
                    <a:pt x="3548" y="2600"/>
                    <a:pt x="3548" y="2600"/>
                    <a:pt x="3548" y="2600"/>
                  </a:cubicBezTo>
                  <a:cubicBezTo>
                    <a:pt x="3548" y="2601"/>
                    <a:pt x="3548" y="2601"/>
                    <a:pt x="3548" y="2601"/>
                  </a:cubicBezTo>
                  <a:cubicBezTo>
                    <a:pt x="3547" y="2600"/>
                    <a:pt x="3547" y="2600"/>
                    <a:pt x="3547" y="2600"/>
                  </a:cubicBezTo>
                  <a:cubicBezTo>
                    <a:pt x="3547" y="2701"/>
                    <a:pt x="3547" y="2701"/>
                    <a:pt x="3547" y="2701"/>
                  </a:cubicBezTo>
                  <a:cubicBezTo>
                    <a:pt x="3600" y="2737"/>
                    <a:pt x="3600" y="2737"/>
                    <a:pt x="3600" y="2737"/>
                  </a:cubicBezTo>
                  <a:cubicBezTo>
                    <a:pt x="1639" y="2737"/>
                    <a:pt x="1639" y="2737"/>
                    <a:pt x="1639" y="2737"/>
                  </a:cubicBezTo>
                  <a:cubicBezTo>
                    <a:pt x="1692" y="2701"/>
                    <a:pt x="1692" y="2701"/>
                    <a:pt x="1692" y="2701"/>
                  </a:cubicBezTo>
                  <a:cubicBezTo>
                    <a:pt x="1692" y="2600"/>
                    <a:pt x="1692" y="2600"/>
                    <a:pt x="1692" y="2600"/>
                  </a:cubicBezTo>
                  <a:cubicBezTo>
                    <a:pt x="1480" y="2737"/>
                    <a:pt x="1480" y="2737"/>
                    <a:pt x="1480" y="2737"/>
                  </a:cubicBezTo>
                  <a:cubicBezTo>
                    <a:pt x="1480" y="2842"/>
                    <a:pt x="1480" y="2842"/>
                    <a:pt x="1480" y="2842"/>
                  </a:cubicBezTo>
                  <a:cubicBezTo>
                    <a:pt x="1692" y="2842"/>
                    <a:pt x="1692" y="2842"/>
                    <a:pt x="1692" y="2842"/>
                  </a:cubicBezTo>
                  <a:cubicBezTo>
                    <a:pt x="1692" y="3472"/>
                    <a:pt x="1692" y="3472"/>
                    <a:pt x="1692" y="3472"/>
                  </a:cubicBezTo>
                  <a:cubicBezTo>
                    <a:pt x="1561" y="3472"/>
                    <a:pt x="1561" y="3472"/>
                    <a:pt x="1561" y="3472"/>
                  </a:cubicBezTo>
                  <a:cubicBezTo>
                    <a:pt x="1561" y="3534"/>
                    <a:pt x="1561" y="3534"/>
                    <a:pt x="1561" y="3534"/>
                  </a:cubicBezTo>
                  <a:cubicBezTo>
                    <a:pt x="1561" y="3592"/>
                    <a:pt x="1561" y="3592"/>
                    <a:pt x="1561" y="3592"/>
                  </a:cubicBezTo>
                  <a:cubicBezTo>
                    <a:pt x="3679" y="3592"/>
                    <a:pt x="3679" y="3592"/>
                    <a:pt x="3679" y="3592"/>
                  </a:cubicBezTo>
                  <a:cubicBezTo>
                    <a:pt x="3679" y="3534"/>
                    <a:pt x="3679" y="3534"/>
                    <a:pt x="3679" y="3534"/>
                  </a:cubicBezTo>
                  <a:cubicBezTo>
                    <a:pt x="3679" y="3472"/>
                    <a:pt x="3679" y="3472"/>
                    <a:pt x="3679" y="3472"/>
                  </a:cubicBezTo>
                  <a:cubicBezTo>
                    <a:pt x="3548" y="3472"/>
                    <a:pt x="3548" y="3472"/>
                    <a:pt x="3548" y="3472"/>
                  </a:cubicBezTo>
                  <a:cubicBezTo>
                    <a:pt x="3548" y="2842"/>
                    <a:pt x="3548" y="2842"/>
                    <a:pt x="3548" y="2842"/>
                  </a:cubicBezTo>
                  <a:lnTo>
                    <a:pt x="3759" y="2842"/>
                  </a:lnTo>
                  <a:close/>
                  <a:moveTo>
                    <a:pt x="3062" y="2516"/>
                  </a:moveTo>
                  <a:cubicBezTo>
                    <a:pt x="3443" y="2516"/>
                    <a:pt x="3443" y="2516"/>
                    <a:pt x="3443" y="2516"/>
                  </a:cubicBezTo>
                  <a:cubicBezTo>
                    <a:pt x="3443" y="2507"/>
                    <a:pt x="3443" y="2507"/>
                    <a:pt x="3443" y="2507"/>
                  </a:cubicBezTo>
                  <a:cubicBezTo>
                    <a:pt x="3443" y="2501"/>
                    <a:pt x="3443" y="2501"/>
                    <a:pt x="3443" y="2501"/>
                  </a:cubicBezTo>
                  <a:cubicBezTo>
                    <a:pt x="3443" y="2494"/>
                    <a:pt x="3443" y="2494"/>
                    <a:pt x="3443" y="2494"/>
                  </a:cubicBezTo>
                  <a:cubicBezTo>
                    <a:pt x="3115" y="2494"/>
                    <a:pt x="3115" y="2494"/>
                    <a:pt x="3115" y="2494"/>
                  </a:cubicBezTo>
                  <a:cubicBezTo>
                    <a:pt x="3115" y="2494"/>
                    <a:pt x="3115" y="2494"/>
                    <a:pt x="3115" y="2494"/>
                  </a:cubicBezTo>
                  <a:cubicBezTo>
                    <a:pt x="2915" y="2494"/>
                    <a:pt x="2915" y="2494"/>
                    <a:pt x="2915" y="2494"/>
                  </a:cubicBezTo>
                  <a:cubicBezTo>
                    <a:pt x="2915" y="2494"/>
                    <a:pt x="2915" y="2494"/>
                    <a:pt x="2915" y="2494"/>
                  </a:cubicBezTo>
                  <a:cubicBezTo>
                    <a:pt x="2910" y="2496"/>
                    <a:pt x="2887" y="2504"/>
                    <a:pt x="2887" y="2523"/>
                  </a:cubicBezTo>
                  <a:cubicBezTo>
                    <a:pt x="2887" y="2544"/>
                    <a:pt x="2887" y="2611"/>
                    <a:pt x="2887" y="2624"/>
                  </a:cubicBezTo>
                  <a:cubicBezTo>
                    <a:pt x="2887" y="2638"/>
                    <a:pt x="2916" y="2645"/>
                    <a:pt x="2916" y="2645"/>
                  </a:cubicBezTo>
                  <a:cubicBezTo>
                    <a:pt x="3021" y="2659"/>
                    <a:pt x="3021" y="2659"/>
                    <a:pt x="3021" y="2659"/>
                  </a:cubicBezTo>
                  <a:cubicBezTo>
                    <a:pt x="3034" y="2664"/>
                    <a:pt x="3051" y="2664"/>
                    <a:pt x="3060" y="2664"/>
                  </a:cubicBezTo>
                  <a:cubicBezTo>
                    <a:pt x="3061" y="2664"/>
                    <a:pt x="3062" y="2664"/>
                    <a:pt x="3062" y="2664"/>
                  </a:cubicBezTo>
                  <a:cubicBezTo>
                    <a:pt x="3443" y="2664"/>
                    <a:pt x="3443" y="2664"/>
                    <a:pt x="3443" y="2664"/>
                  </a:cubicBezTo>
                  <a:cubicBezTo>
                    <a:pt x="3443" y="2661"/>
                    <a:pt x="3443" y="2661"/>
                    <a:pt x="3443" y="2661"/>
                  </a:cubicBezTo>
                  <a:cubicBezTo>
                    <a:pt x="3443" y="2651"/>
                    <a:pt x="3443" y="2651"/>
                    <a:pt x="3443" y="2651"/>
                  </a:cubicBezTo>
                  <a:cubicBezTo>
                    <a:pt x="3443" y="2645"/>
                    <a:pt x="3443" y="2645"/>
                    <a:pt x="3443" y="2645"/>
                  </a:cubicBezTo>
                  <a:cubicBezTo>
                    <a:pt x="3062" y="2645"/>
                    <a:pt x="3062" y="2645"/>
                    <a:pt x="3062" y="2645"/>
                  </a:cubicBezTo>
                  <a:cubicBezTo>
                    <a:pt x="3053" y="2645"/>
                    <a:pt x="3046" y="2640"/>
                    <a:pt x="3042" y="2633"/>
                  </a:cubicBezTo>
                  <a:cubicBezTo>
                    <a:pt x="3422" y="2633"/>
                    <a:pt x="3422" y="2633"/>
                    <a:pt x="3422" y="2633"/>
                  </a:cubicBezTo>
                  <a:cubicBezTo>
                    <a:pt x="3422" y="2618"/>
                    <a:pt x="3422" y="2618"/>
                    <a:pt x="3422" y="2618"/>
                  </a:cubicBezTo>
                  <a:cubicBezTo>
                    <a:pt x="3039" y="2618"/>
                    <a:pt x="3039" y="2618"/>
                    <a:pt x="3039" y="2618"/>
                  </a:cubicBezTo>
                  <a:cubicBezTo>
                    <a:pt x="3039" y="2604"/>
                    <a:pt x="3039" y="2604"/>
                    <a:pt x="3039" y="2604"/>
                  </a:cubicBezTo>
                  <a:cubicBezTo>
                    <a:pt x="3422" y="2604"/>
                    <a:pt x="3422" y="2604"/>
                    <a:pt x="3422" y="2604"/>
                  </a:cubicBezTo>
                  <a:cubicBezTo>
                    <a:pt x="3422" y="2589"/>
                    <a:pt x="3422" y="2589"/>
                    <a:pt x="3422" y="2589"/>
                  </a:cubicBezTo>
                  <a:cubicBezTo>
                    <a:pt x="3039" y="2589"/>
                    <a:pt x="3039" y="2589"/>
                    <a:pt x="3039" y="2589"/>
                  </a:cubicBezTo>
                  <a:cubicBezTo>
                    <a:pt x="3039" y="2576"/>
                    <a:pt x="3039" y="2576"/>
                    <a:pt x="3039" y="2576"/>
                  </a:cubicBezTo>
                  <a:cubicBezTo>
                    <a:pt x="3422" y="2576"/>
                    <a:pt x="3422" y="2576"/>
                    <a:pt x="3422" y="2576"/>
                  </a:cubicBezTo>
                  <a:cubicBezTo>
                    <a:pt x="3422" y="2561"/>
                    <a:pt x="3422" y="2561"/>
                    <a:pt x="3422" y="2561"/>
                  </a:cubicBezTo>
                  <a:cubicBezTo>
                    <a:pt x="3039" y="2561"/>
                    <a:pt x="3039" y="2561"/>
                    <a:pt x="3039" y="2561"/>
                  </a:cubicBezTo>
                  <a:cubicBezTo>
                    <a:pt x="3039" y="2547"/>
                    <a:pt x="3039" y="2547"/>
                    <a:pt x="3039" y="2547"/>
                  </a:cubicBezTo>
                  <a:cubicBezTo>
                    <a:pt x="3422" y="2547"/>
                    <a:pt x="3422" y="2547"/>
                    <a:pt x="3422" y="2547"/>
                  </a:cubicBezTo>
                  <a:cubicBezTo>
                    <a:pt x="3422" y="2532"/>
                    <a:pt x="3422" y="2532"/>
                    <a:pt x="3422" y="2532"/>
                  </a:cubicBezTo>
                  <a:cubicBezTo>
                    <a:pt x="3040" y="2532"/>
                    <a:pt x="3040" y="2532"/>
                    <a:pt x="3040" y="2532"/>
                  </a:cubicBezTo>
                  <a:cubicBezTo>
                    <a:pt x="3043" y="2523"/>
                    <a:pt x="3052" y="2516"/>
                    <a:pt x="3062" y="2516"/>
                  </a:cubicBezTo>
                  <a:close/>
                  <a:moveTo>
                    <a:pt x="3303" y="2305"/>
                  </a:moveTo>
                  <a:cubicBezTo>
                    <a:pt x="3302" y="2305"/>
                    <a:pt x="3301" y="2305"/>
                    <a:pt x="3301" y="2305"/>
                  </a:cubicBezTo>
                  <a:cubicBezTo>
                    <a:pt x="2920" y="2305"/>
                    <a:pt x="2920" y="2305"/>
                    <a:pt x="2920" y="2305"/>
                  </a:cubicBezTo>
                  <a:cubicBezTo>
                    <a:pt x="2920" y="2308"/>
                    <a:pt x="2920" y="2308"/>
                    <a:pt x="2920" y="2308"/>
                  </a:cubicBezTo>
                  <a:cubicBezTo>
                    <a:pt x="2920" y="2318"/>
                    <a:pt x="2920" y="2318"/>
                    <a:pt x="2920" y="2318"/>
                  </a:cubicBezTo>
                  <a:cubicBezTo>
                    <a:pt x="2920" y="2324"/>
                    <a:pt x="2920" y="2324"/>
                    <a:pt x="2920" y="2324"/>
                  </a:cubicBezTo>
                  <a:cubicBezTo>
                    <a:pt x="3301" y="2324"/>
                    <a:pt x="3301" y="2324"/>
                    <a:pt x="3301" y="2324"/>
                  </a:cubicBezTo>
                  <a:cubicBezTo>
                    <a:pt x="3310" y="2324"/>
                    <a:pt x="3317" y="2329"/>
                    <a:pt x="3321" y="2336"/>
                  </a:cubicBezTo>
                  <a:cubicBezTo>
                    <a:pt x="2942" y="2336"/>
                    <a:pt x="2942" y="2336"/>
                    <a:pt x="2942" y="2336"/>
                  </a:cubicBezTo>
                  <a:cubicBezTo>
                    <a:pt x="2942" y="2351"/>
                    <a:pt x="2942" y="2351"/>
                    <a:pt x="2942" y="2351"/>
                  </a:cubicBezTo>
                  <a:cubicBezTo>
                    <a:pt x="3324" y="2351"/>
                    <a:pt x="3324" y="2351"/>
                    <a:pt x="3324" y="2351"/>
                  </a:cubicBezTo>
                  <a:cubicBezTo>
                    <a:pt x="3324" y="2365"/>
                    <a:pt x="3324" y="2365"/>
                    <a:pt x="3324" y="2365"/>
                  </a:cubicBezTo>
                  <a:cubicBezTo>
                    <a:pt x="2942" y="2365"/>
                    <a:pt x="2942" y="2365"/>
                    <a:pt x="2942" y="2365"/>
                  </a:cubicBezTo>
                  <a:cubicBezTo>
                    <a:pt x="2942" y="2380"/>
                    <a:pt x="2942" y="2380"/>
                    <a:pt x="2942" y="2380"/>
                  </a:cubicBezTo>
                  <a:cubicBezTo>
                    <a:pt x="3324" y="2380"/>
                    <a:pt x="3324" y="2380"/>
                    <a:pt x="3324" y="2380"/>
                  </a:cubicBezTo>
                  <a:cubicBezTo>
                    <a:pt x="3324" y="2393"/>
                    <a:pt x="3324" y="2393"/>
                    <a:pt x="3324" y="2393"/>
                  </a:cubicBezTo>
                  <a:cubicBezTo>
                    <a:pt x="2942" y="2393"/>
                    <a:pt x="2942" y="2393"/>
                    <a:pt x="2942" y="2393"/>
                  </a:cubicBezTo>
                  <a:cubicBezTo>
                    <a:pt x="2942" y="2408"/>
                    <a:pt x="2942" y="2408"/>
                    <a:pt x="2942" y="2408"/>
                  </a:cubicBezTo>
                  <a:cubicBezTo>
                    <a:pt x="3324" y="2408"/>
                    <a:pt x="3324" y="2408"/>
                    <a:pt x="3324" y="2408"/>
                  </a:cubicBezTo>
                  <a:cubicBezTo>
                    <a:pt x="3324" y="2421"/>
                    <a:pt x="3324" y="2421"/>
                    <a:pt x="3324" y="2421"/>
                  </a:cubicBezTo>
                  <a:cubicBezTo>
                    <a:pt x="2942" y="2421"/>
                    <a:pt x="2942" y="2421"/>
                    <a:pt x="2942" y="2421"/>
                  </a:cubicBezTo>
                  <a:cubicBezTo>
                    <a:pt x="2942" y="2437"/>
                    <a:pt x="2942" y="2437"/>
                    <a:pt x="2942" y="2437"/>
                  </a:cubicBezTo>
                  <a:cubicBezTo>
                    <a:pt x="3323" y="2437"/>
                    <a:pt x="3323" y="2437"/>
                    <a:pt x="3323" y="2437"/>
                  </a:cubicBezTo>
                  <a:cubicBezTo>
                    <a:pt x="3320" y="2446"/>
                    <a:pt x="3311" y="2453"/>
                    <a:pt x="3301" y="2453"/>
                  </a:cubicBezTo>
                  <a:cubicBezTo>
                    <a:pt x="2920" y="2453"/>
                    <a:pt x="2920" y="2453"/>
                    <a:pt x="2920" y="2453"/>
                  </a:cubicBezTo>
                  <a:cubicBezTo>
                    <a:pt x="2920" y="2462"/>
                    <a:pt x="2920" y="2462"/>
                    <a:pt x="2920" y="2462"/>
                  </a:cubicBezTo>
                  <a:cubicBezTo>
                    <a:pt x="2920" y="2468"/>
                    <a:pt x="2920" y="2468"/>
                    <a:pt x="2920" y="2468"/>
                  </a:cubicBezTo>
                  <a:cubicBezTo>
                    <a:pt x="2920" y="2475"/>
                    <a:pt x="2920" y="2475"/>
                    <a:pt x="2920" y="2475"/>
                  </a:cubicBezTo>
                  <a:cubicBezTo>
                    <a:pt x="3248" y="2475"/>
                    <a:pt x="3248" y="2475"/>
                    <a:pt x="3248" y="2475"/>
                  </a:cubicBezTo>
                  <a:cubicBezTo>
                    <a:pt x="3248" y="2475"/>
                    <a:pt x="3248" y="2475"/>
                    <a:pt x="3248" y="2475"/>
                  </a:cubicBezTo>
                  <a:cubicBezTo>
                    <a:pt x="3448" y="2475"/>
                    <a:pt x="3448" y="2475"/>
                    <a:pt x="3448" y="2475"/>
                  </a:cubicBezTo>
                  <a:cubicBezTo>
                    <a:pt x="3448" y="2475"/>
                    <a:pt x="3448" y="2475"/>
                    <a:pt x="3448" y="2475"/>
                  </a:cubicBezTo>
                  <a:cubicBezTo>
                    <a:pt x="3453" y="2473"/>
                    <a:pt x="3476" y="2465"/>
                    <a:pt x="3476" y="2446"/>
                  </a:cubicBezTo>
                  <a:cubicBezTo>
                    <a:pt x="3476" y="2425"/>
                    <a:pt x="3476" y="2358"/>
                    <a:pt x="3476" y="2345"/>
                  </a:cubicBezTo>
                  <a:cubicBezTo>
                    <a:pt x="3476" y="2331"/>
                    <a:pt x="3447" y="2324"/>
                    <a:pt x="3447" y="2324"/>
                  </a:cubicBezTo>
                  <a:cubicBezTo>
                    <a:pt x="3342" y="2310"/>
                    <a:pt x="3342" y="2310"/>
                    <a:pt x="3342" y="2310"/>
                  </a:cubicBezTo>
                  <a:cubicBezTo>
                    <a:pt x="3329" y="2305"/>
                    <a:pt x="3312" y="2305"/>
                    <a:pt x="3303" y="2305"/>
                  </a:cubicBezTo>
                  <a:close/>
                  <a:moveTo>
                    <a:pt x="3083" y="2113"/>
                  </a:moveTo>
                  <a:cubicBezTo>
                    <a:pt x="2884" y="2113"/>
                    <a:pt x="2884" y="2113"/>
                    <a:pt x="2884" y="2113"/>
                  </a:cubicBezTo>
                  <a:cubicBezTo>
                    <a:pt x="2884" y="2114"/>
                    <a:pt x="2884" y="2114"/>
                    <a:pt x="2884" y="2114"/>
                  </a:cubicBezTo>
                  <a:cubicBezTo>
                    <a:pt x="2879" y="2116"/>
                    <a:pt x="2856" y="2123"/>
                    <a:pt x="2856" y="2143"/>
                  </a:cubicBezTo>
                  <a:cubicBezTo>
                    <a:pt x="2856" y="2164"/>
                    <a:pt x="2856" y="2231"/>
                    <a:pt x="2856" y="2244"/>
                  </a:cubicBezTo>
                  <a:cubicBezTo>
                    <a:pt x="2856" y="2257"/>
                    <a:pt x="2885" y="2264"/>
                    <a:pt x="2885" y="2264"/>
                  </a:cubicBezTo>
                  <a:cubicBezTo>
                    <a:pt x="2990" y="2279"/>
                    <a:pt x="2990" y="2279"/>
                    <a:pt x="2990" y="2279"/>
                  </a:cubicBezTo>
                  <a:cubicBezTo>
                    <a:pt x="3003" y="2284"/>
                    <a:pt x="3020" y="2283"/>
                    <a:pt x="3029" y="2283"/>
                  </a:cubicBezTo>
                  <a:cubicBezTo>
                    <a:pt x="3030" y="2283"/>
                    <a:pt x="3030" y="2283"/>
                    <a:pt x="3031" y="2283"/>
                  </a:cubicBezTo>
                  <a:cubicBezTo>
                    <a:pt x="3411" y="2283"/>
                    <a:pt x="3411" y="2283"/>
                    <a:pt x="3411" y="2283"/>
                  </a:cubicBezTo>
                  <a:cubicBezTo>
                    <a:pt x="3411" y="2280"/>
                    <a:pt x="3411" y="2280"/>
                    <a:pt x="3411" y="2280"/>
                  </a:cubicBezTo>
                  <a:cubicBezTo>
                    <a:pt x="3411" y="2271"/>
                    <a:pt x="3411" y="2271"/>
                    <a:pt x="3411" y="2271"/>
                  </a:cubicBezTo>
                  <a:cubicBezTo>
                    <a:pt x="3411" y="2265"/>
                    <a:pt x="3411" y="2265"/>
                    <a:pt x="3411" y="2265"/>
                  </a:cubicBezTo>
                  <a:cubicBezTo>
                    <a:pt x="3031" y="2265"/>
                    <a:pt x="3031" y="2265"/>
                    <a:pt x="3031" y="2265"/>
                  </a:cubicBezTo>
                  <a:cubicBezTo>
                    <a:pt x="3022" y="2265"/>
                    <a:pt x="3015" y="2260"/>
                    <a:pt x="3011" y="2253"/>
                  </a:cubicBezTo>
                  <a:cubicBezTo>
                    <a:pt x="3390" y="2253"/>
                    <a:pt x="3390" y="2253"/>
                    <a:pt x="3390" y="2253"/>
                  </a:cubicBezTo>
                  <a:cubicBezTo>
                    <a:pt x="3390" y="2237"/>
                    <a:pt x="3390" y="2237"/>
                    <a:pt x="3390" y="2237"/>
                  </a:cubicBezTo>
                  <a:cubicBezTo>
                    <a:pt x="3008" y="2237"/>
                    <a:pt x="3008" y="2237"/>
                    <a:pt x="3008" y="2237"/>
                  </a:cubicBezTo>
                  <a:cubicBezTo>
                    <a:pt x="3008" y="2224"/>
                    <a:pt x="3008" y="2224"/>
                    <a:pt x="3008" y="2224"/>
                  </a:cubicBezTo>
                  <a:cubicBezTo>
                    <a:pt x="3390" y="2224"/>
                    <a:pt x="3390" y="2224"/>
                    <a:pt x="3390" y="2224"/>
                  </a:cubicBezTo>
                  <a:cubicBezTo>
                    <a:pt x="3390" y="2208"/>
                    <a:pt x="3390" y="2208"/>
                    <a:pt x="3390" y="2208"/>
                  </a:cubicBezTo>
                  <a:cubicBezTo>
                    <a:pt x="3008" y="2208"/>
                    <a:pt x="3008" y="2208"/>
                    <a:pt x="3008" y="2208"/>
                  </a:cubicBezTo>
                  <a:cubicBezTo>
                    <a:pt x="3008" y="2196"/>
                    <a:pt x="3008" y="2196"/>
                    <a:pt x="3008" y="2196"/>
                  </a:cubicBezTo>
                  <a:cubicBezTo>
                    <a:pt x="3390" y="2196"/>
                    <a:pt x="3390" y="2196"/>
                    <a:pt x="3390" y="2196"/>
                  </a:cubicBezTo>
                  <a:cubicBezTo>
                    <a:pt x="3390" y="2180"/>
                    <a:pt x="3390" y="2180"/>
                    <a:pt x="3390" y="2180"/>
                  </a:cubicBezTo>
                  <a:cubicBezTo>
                    <a:pt x="3008" y="2180"/>
                    <a:pt x="3008" y="2180"/>
                    <a:pt x="3008" y="2180"/>
                  </a:cubicBezTo>
                  <a:cubicBezTo>
                    <a:pt x="3008" y="2167"/>
                    <a:pt x="3008" y="2167"/>
                    <a:pt x="3008" y="2167"/>
                  </a:cubicBezTo>
                  <a:cubicBezTo>
                    <a:pt x="3390" y="2167"/>
                    <a:pt x="3390" y="2167"/>
                    <a:pt x="3390" y="2167"/>
                  </a:cubicBezTo>
                  <a:cubicBezTo>
                    <a:pt x="3390" y="2152"/>
                    <a:pt x="3390" y="2152"/>
                    <a:pt x="3390" y="2152"/>
                  </a:cubicBezTo>
                  <a:cubicBezTo>
                    <a:pt x="3009" y="2152"/>
                    <a:pt x="3009" y="2152"/>
                    <a:pt x="3009" y="2152"/>
                  </a:cubicBezTo>
                  <a:cubicBezTo>
                    <a:pt x="3012" y="2142"/>
                    <a:pt x="3021" y="2136"/>
                    <a:pt x="3031" y="2136"/>
                  </a:cubicBezTo>
                  <a:cubicBezTo>
                    <a:pt x="3411" y="2136"/>
                    <a:pt x="3411" y="2136"/>
                    <a:pt x="3411" y="2136"/>
                  </a:cubicBezTo>
                  <a:cubicBezTo>
                    <a:pt x="3411" y="2127"/>
                    <a:pt x="3411" y="2127"/>
                    <a:pt x="3411" y="2127"/>
                  </a:cubicBezTo>
                  <a:cubicBezTo>
                    <a:pt x="3411" y="2120"/>
                    <a:pt x="3411" y="2120"/>
                    <a:pt x="3411" y="2120"/>
                  </a:cubicBezTo>
                  <a:cubicBezTo>
                    <a:pt x="3411" y="2113"/>
                    <a:pt x="3411" y="2113"/>
                    <a:pt x="3411" y="2113"/>
                  </a:cubicBezTo>
                  <a:cubicBezTo>
                    <a:pt x="3083" y="2113"/>
                    <a:pt x="3083" y="2113"/>
                    <a:pt x="3083" y="2113"/>
                  </a:cubicBezTo>
                  <a:close/>
                  <a:moveTo>
                    <a:pt x="2820" y="2072"/>
                  </a:moveTo>
                  <a:cubicBezTo>
                    <a:pt x="2801" y="2063"/>
                    <a:pt x="2740" y="2035"/>
                    <a:pt x="2728" y="2029"/>
                  </a:cubicBezTo>
                  <a:cubicBezTo>
                    <a:pt x="2716" y="2024"/>
                    <a:pt x="2697" y="2049"/>
                    <a:pt x="2697" y="2049"/>
                  </a:cubicBezTo>
                  <a:cubicBezTo>
                    <a:pt x="2637" y="2144"/>
                    <a:pt x="2637" y="2144"/>
                    <a:pt x="2637" y="2144"/>
                  </a:cubicBezTo>
                  <a:cubicBezTo>
                    <a:pt x="2627" y="2154"/>
                    <a:pt x="2620" y="2171"/>
                    <a:pt x="2616" y="2179"/>
                  </a:cubicBezTo>
                  <a:cubicBezTo>
                    <a:pt x="2615" y="2180"/>
                    <a:pt x="2615" y="2181"/>
                    <a:pt x="2615" y="2181"/>
                  </a:cubicBezTo>
                  <a:cubicBezTo>
                    <a:pt x="2447" y="2547"/>
                    <a:pt x="2447" y="2547"/>
                    <a:pt x="2447" y="2547"/>
                  </a:cubicBezTo>
                  <a:cubicBezTo>
                    <a:pt x="2449" y="2549"/>
                    <a:pt x="2449" y="2549"/>
                    <a:pt x="2449" y="2549"/>
                  </a:cubicBezTo>
                  <a:cubicBezTo>
                    <a:pt x="2458" y="2552"/>
                    <a:pt x="2458" y="2552"/>
                    <a:pt x="2458" y="2552"/>
                  </a:cubicBezTo>
                  <a:cubicBezTo>
                    <a:pt x="2463" y="2555"/>
                    <a:pt x="2463" y="2555"/>
                    <a:pt x="2463" y="2555"/>
                  </a:cubicBezTo>
                  <a:cubicBezTo>
                    <a:pt x="2632" y="2189"/>
                    <a:pt x="2632" y="2189"/>
                    <a:pt x="2632" y="2189"/>
                  </a:cubicBezTo>
                  <a:cubicBezTo>
                    <a:pt x="2636" y="2181"/>
                    <a:pt x="2644" y="2175"/>
                    <a:pt x="2652" y="2175"/>
                  </a:cubicBezTo>
                  <a:cubicBezTo>
                    <a:pt x="2484" y="2540"/>
                    <a:pt x="2484" y="2540"/>
                    <a:pt x="2484" y="2540"/>
                  </a:cubicBezTo>
                  <a:cubicBezTo>
                    <a:pt x="2498" y="2546"/>
                    <a:pt x="2498" y="2546"/>
                    <a:pt x="2498" y="2546"/>
                  </a:cubicBezTo>
                  <a:cubicBezTo>
                    <a:pt x="2667" y="2179"/>
                    <a:pt x="2667" y="2179"/>
                    <a:pt x="2667" y="2179"/>
                  </a:cubicBezTo>
                  <a:cubicBezTo>
                    <a:pt x="2679" y="2184"/>
                    <a:pt x="2679" y="2184"/>
                    <a:pt x="2679" y="2184"/>
                  </a:cubicBezTo>
                  <a:cubicBezTo>
                    <a:pt x="2510" y="2552"/>
                    <a:pt x="2510" y="2552"/>
                    <a:pt x="2510" y="2552"/>
                  </a:cubicBezTo>
                  <a:cubicBezTo>
                    <a:pt x="2524" y="2558"/>
                    <a:pt x="2524" y="2558"/>
                    <a:pt x="2524" y="2558"/>
                  </a:cubicBezTo>
                  <a:cubicBezTo>
                    <a:pt x="2693" y="2191"/>
                    <a:pt x="2693" y="2191"/>
                    <a:pt x="2693" y="2191"/>
                  </a:cubicBezTo>
                  <a:cubicBezTo>
                    <a:pt x="2705" y="2196"/>
                    <a:pt x="2705" y="2196"/>
                    <a:pt x="2705" y="2196"/>
                  </a:cubicBezTo>
                  <a:cubicBezTo>
                    <a:pt x="2536" y="2564"/>
                    <a:pt x="2536" y="2564"/>
                    <a:pt x="2536" y="2564"/>
                  </a:cubicBezTo>
                  <a:cubicBezTo>
                    <a:pt x="2550" y="2570"/>
                    <a:pt x="2550" y="2570"/>
                    <a:pt x="2550" y="2570"/>
                  </a:cubicBezTo>
                  <a:cubicBezTo>
                    <a:pt x="2719" y="2202"/>
                    <a:pt x="2719" y="2202"/>
                    <a:pt x="2719" y="2202"/>
                  </a:cubicBezTo>
                  <a:cubicBezTo>
                    <a:pt x="2731" y="2208"/>
                    <a:pt x="2731" y="2208"/>
                    <a:pt x="2731" y="2208"/>
                  </a:cubicBezTo>
                  <a:cubicBezTo>
                    <a:pt x="2562" y="2576"/>
                    <a:pt x="2562" y="2576"/>
                    <a:pt x="2562" y="2576"/>
                  </a:cubicBezTo>
                  <a:cubicBezTo>
                    <a:pt x="2576" y="2582"/>
                    <a:pt x="2576" y="2582"/>
                    <a:pt x="2576" y="2582"/>
                  </a:cubicBezTo>
                  <a:cubicBezTo>
                    <a:pt x="2744" y="2216"/>
                    <a:pt x="2744" y="2216"/>
                    <a:pt x="2744" y="2216"/>
                  </a:cubicBezTo>
                  <a:cubicBezTo>
                    <a:pt x="2751" y="2222"/>
                    <a:pt x="2754" y="2233"/>
                    <a:pt x="2749" y="2243"/>
                  </a:cubicBezTo>
                  <a:cubicBezTo>
                    <a:pt x="2581" y="2609"/>
                    <a:pt x="2581" y="2609"/>
                    <a:pt x="2581" y="2609"/>
                  </a:cubicBezTo>
                  <a:cubicBezTo>
                    <a:pt x="2589" y="2613"/>
                    <a:pt x="2589" y="2613"/>
                    <a:pt x="2589" y="2613"/>
                  </a:cubicBezTo>
                  <a:cubicBezTo>
                    <a:pt x="2595" y="2615"/>
                    <a:pt x="2595" y="2615"/>
                    <a:pt x="2595" y="2615"/>
                  </a:cubicBezTo>
                  <a:cubicBezTo>
                    <a:pt x="2601" y="2618"/>
                    <a:pt x="2601" y="2618"/>
                    <a:pt x="2601" y="2618"/>
                  </a:cubicBezTo>
                  <a:cubicBezTo>
                    <a:pt x="2746" y="2303"/>
                    <a:pt x="2746" y="2303"/>
                    <a:pt x="2746" y="2303"/>
                  </a:cubicBezTo>
                  <a:cubicBezTo>
                    <a:pt x="2835" y="2111"/>
                    <a:pt x="2835" y="2111"/>
                    <a:pt x="2835" y="2111"/>
                  </a:cubicBezTo>
                  <a:cubicBezTo>
                    <a:pt x="2834" y="2111"/>
                    <a:pt x="2834" y="2111"/>
                    <a:pt x="2834" y="2111"/>
                  </a:cubicBezTo>
                  <a:cubicBezTo>
                    <a:pt x="2835" y="2106"/>
                    <a:pt x="2838" y="2080"/>
                    <a:pt x="2820" y="2072"/>
                  </a:cubicBezTo>
                  <a:close/>
                  <a:moveTo>
                    <a:pt x="2002" y="2512"/>
                  </a:moveTo>
                  <a:cubicBezTo>
                    <a:pt x="2382" y="2512"/>
                    <a:pt x="2382" y="2512"/>
                    <a:pt x="2382" y="2512"/>
                  </a:cubicBezTo>
                  <a:cubicBezTo>
                    <a:pt x="2382" y="2503"/>
                    <a:pt x="2382" y="2503"/>
                    <a:pt x="2382" y="2503"/>
                  </a:cubicBezTo>
                  <a:cubicBezTo>
                    <a:pt x="2382" y="2497"/>
                    <a:pt x="2382" y="2497"/>
                    <a:pt x="2382" y="2497"/>
                  </a:cubicBezTo>
                  <a:cubicBezTo>
                    <a:pt x="2382" y="2490"/>
                    <a:pt x="2382" y="2490"/>
                    <a:pt x="2382" y="2490"/>
                  </a:cubicBezTo>
                  <a:cubicBezTo>
                    <a:pt x="2054" y="2490"/>
                    <a:pt x="2054" y="2490"/>
                    <a:pt x="2054" y="2490"/>
                  </a:cubicBezTo>
                  <a:cubicBezTo>
                    <a:pt x="2054" y="2490"/>
                    <a:pt x="2054" y="2490"/>
                    <a:pt x="2054" y="2490"/>
                  </a:cubicBezTo>
                  <a:cubicBezTo>
                    <a:pt x="1854" y="2490"/>
                    <a:pt x="1854" y="2490"/>
                    <a:pt x="1854" y="2490"/>
                  </a:cubicBezTo>
                  <a:cubicBezTo>
                    <a:pt x="1854" y="2490"/>
                    <a:pt x="1854" y="2490"/>
                    <a:pt x="1854" y="2490"/>
                  </a:cubicBezTo>
                  <a:cubicBezTo>
                    <a:pt x="1850" y="2492"/>
                    <a:pt x="1826" y="2500"/>
                    <a:pt x="1826" y="2519"/>
                  </a:cubicBezTo>
                  <a:cubicBezTo>
                    <a:pt x="1826" y="2540"/>
                    <a:pt x="1826" y="2607"/>
                    <a:pt x="1826" y="2620"/>
                  </a:cubicBezTo>
                  <a:cubicBezTo>
                    <a:pt x="1826" y="2634"/>
                    <a:pt x="1855" y="2641"/>
                    <a:pt x="1855" y="2641"/>
                  </a:cubicBezTo>
                  <a:cubicBezTo>
                    <a:pt x="1960" y="2655"/>
                    <a:pt x="1960" y="2655"/>
                    <a:pt x="1960" y="2655"/>
                  </a:cubicBezTo>
                  <a:cubicBezTo>
                    <a:pt x="1973" y="2660"/>
                    <a:pt x="1991" y="2660"/>
                    <a:pt x="2000" y="2660"/>
                  </a:cubicBezTo>
                  <a:cubicBezTo>
                    <a:pt x="2000" y="2660"/>
                    <a:pt x="2001" y="2660"/>
                    <a:pt x="2002" y="2660"/>
                  </a:cubicBezTo>
                  <a:cubicBezTo>
                    <a:pt x="2382" y="2660"/>
                    <a:pt x="2382" y="2660"/>
                    <a:pt x="2382" y="2660"/>
                  </a:cubicBezTo>
                  <a:cubicBezTo>
                    <a:pt x="2382" y="2656"/>
                    <a:pt x="2382" y="2656"/>
                    <a:pt x="2382" y="2656"/>
                  </a:cubicBezTo>
                  <a:cubicBezTo>
                    <a:pt x="2382" y="2647"/>
                    <a:pt x="2382" y="2647"/>
                    <a:pt x="2382" y="2647"/>
                  </a:cubicBezTo>
                  <a:cubicBezTo>
                    <a:pt x="2382" y="2641"/>
                    <a:pt x="2382" y="2641"/>
                    <a:pt x="2382" y="2641"/>
                  </a:cubicBezTo>
                  <a:cubicBezTo>
                    <a:pt x="2002" y="2641"/>
                    <a:pt x="2002" y="2641"/>
                    <a:pt x="2002" y="2641"/>
                  </a:cubicBezTo>
                  <a:cubicBezTo>
                    <a:pt x="1993" y="2641"/>
                    <a:pt x="1985" y="2636"/>
                    <a:pt x="1981" y="2629"/>
                  </a:cubicBezTo>
                  <a:cubicBezTo>
                    <a:pt x="2361" y="2629"/>
                    <a:pt x="2361" y="2629"/>
                    <a:pt x="2361" y="2629"/>
                  </a:cubicBezTo>
                  <a:cubicBezTo>
                    <a:pt x="2361" y="2613"/>
                    <a:pt x="2361" y="2613"/>
                    <a:pt x="2361" y="2613"/>
                  </a:cubicBezTo>
                  <a:cubicBezTo>
                    <a:pt x="1979" y="2613"/>
                    <a:pt x="1979" y="2613"/>
                    <a:pt x="1979" y="2613"/>
                  </a:cubicBezTo>
                  <a:cubicBezTo>
                    <a:pt x="1979" y="2600"/>
                    <a:pt x="1979" y="2600"/>
                    <a:pt x="1979" y="2600"/>
                  </a:cubicBezTo>
                  <a:cubicBezTo>
                    <a:pt x="2361" y="2600"/>
                    <a:pt x="2361" y="2600"/>
                    <a:pt x="2361" y="2600"/>
                  </a:cubicBezTo>
                  <a:cubicBezTo>
                    <a:pt x="2361" y="2585"/>
                    <a:pt x="2361" y="2585"/>
                    <a:pt x="2361" y="2585"/>
                  </a:cubicBezTo>
                  <a:cubicBezTo>
                    <a:pt x="1979" y="2585"/>
                    <a:pt x="1979" y="2585"/>
                    <a:pt x="1979" y="2585"/>
                  </a:cubicBezTo>
                  <a:cubicBezTo>
                    <a:pt x="1979" y="2572"/>
                    <a:pt x="1979" y="2572"/>
                    <a:pt x="1979" y="2572"/>
                  </a:cubicBezTo>
                  <a:cubicBezTo>
                    <a:pt x="2361" y="2572"/>
                    <a:pt x="2361" y="2572"/>
                    <a:pt x="2361" y="2572"/>
                  </a:cubicBezTo>
                  <a:cubicBezTo>
                    <a:pt x="2361" y="2557"/>
                    <a:pt x="2361" y="2557"/>
                    <a:pt x="2361" y="2557"/>
                  </a:cubicBezTo>
                  <a:cubicBezTo>
                    <a:pt x="1979" y="2557"/>
                    <a:pt x="1979" y="2557"/>
                    <a:pt x="1979" y="2557"/>
                  </a:cubicBezTo>
                  <a:cubicBezTo>
                    <a:pt x="1979" y="2543"/>
                    <a:pt x="1979" y="2543"/>
                    <a:pt x="1979" y="2543"/>
                  </a:cubicBezTo>
                  <a:cubicBezTo>
                    <a:pt x="2361" y="2543"/>
                    <a:pt x="2361" y="2543"/>
                    <a:pt x="2361" y="2543"/>
                  </a:cubicBezTo>
                  <a:cubicBezTo>
                    <a:pt x="2361" y="2528"/>
                    <a:pt x="2361" y="2528"/>
                    <a:pt x="2361" y="2528"/>
                  </a:cubicBezTo>
                  <a:cubicBezTo>
                    <a:pt x="1980" y="2528"/>
                    <a:pt x="1980" y="2528"/>
                    <a:pt x="1980" y="2528"/>
                  </a:cubicBezTo>
                  <a:cubicBezTo>
                    <a:pt x="1983" y="2519"/>
                    <a:pt x="1991" y="2512"/>
                    <a:pt x="2002" y="2512"/>
                  </a:cubicBezTo>
                  <a:close/>
                  <a:moveTo>
                    <a:pt x="2388" y="2471"/>
                  </a:moveTo>
                  <a:cubicBezTo>
                    <a:pt x="2392" y="2469"/>
                    <a:pt x="2416" y="2461"/>
                    <a:pt x="2416" y="2442"/>
                  </a:cubicBezTo>
                  <a:cubicBezTo>
                    <a:pt x="2416" y="2421"/>
                    <a:pt x="2416" y="2354"/>
                    <a:pt x="2416" y="2340"/>
                  </a:cubicBezTo>
                  <a:cubicBezTo>
                    <a:pt x="2416" y="2327"/>
                    <a:pt x="2387" y="2320"/>
                    <a:pt x="2387" y="2320"/>
                  </a:cubicBezTo>
                  <a:cubicBezTo>
                    <a:pt x="2281" y="2306"/>
                    <a:pt x="2281" y="2306"/>
                    <a:pt x="2281" y="2306"/>
                  </a:cubicBezTo>
                  <a:cubicBezTo>
                    <a:pt x="2268" y="2301"/>
                    <a:pt x="2251" y="2301"/>
                    <a:pt x="2242" y="2301"/>
                  </a:cubicBezTo>
                  <a:cubicBezTo>
                    <a:pt x="2241" y="2301"/>
                    <a:pt x="2241" y="2301"/>
                    <a:pt x="2240" y="2301"/>
                  </a:cubicBezTo>
                  <a:cubicBezTo>
                    <a:pt x="1860" y="2301"/>
                    <a:pt x="1860" y="2301"/>
                    <a:pt x="1860" y="2301"/>
                  </a:cubicBezTo>
                  <a:cubicBezTo>
                    <a:pt x="1860" y="2304"/>
                    <a:pt x="1860" y="2304"/>
                    <a:pt x="1860" y="2304"/>
                  </a:cubicBezTo>
                  <a:cubicBezTo>
                    <a:pt x="1860" y="2313"/>
                    <a:pt x="1860" y="2313"/>
                    <a:pt x="1860" y="2313"/>
                  </a:cubicBezTo>
                  <a:cubicBezTo>
                    <a:pt x="1860" y="2319"/>
                    <a:pt x="1860" y="2319"/>
                    <a:pt x="1860" y="2319"/>
                  </a:cubicBezTo>
                  <a:cubicBezTo>
                    <a:pt x="2240" y="2319"/>
                    <a:pt x="2240" y="2319"/>
                    <a:pt x="2240" y="2319"/>
                  </a:cubicBezTo>
                  <a:cubicBezTo>
                    <a:pt x="2249" y="2319"/>
                    <a:pt x="2257" y="2325"/>
                    <a:pt x="2260" y="2332"/>
                  </a:cubicBezTo>
                  <a:cubicBezTo>
                    <a:pt x="1881" y="2332"/>
                    <a:pt x="1881" y="2332"/>
                    <a:pt x="1881" y="2332"/>
                  </a:cubicBezTo>
                  <a:cubicBezTo>
                    <a:pt x="1881" y="2347"/>
                    <a:pt x="1881" y="2347"/>
                    <a:pt x="1881" y="2347"/>
                  </a:cubicBezTo>
                  <a:cubicBezTo>
                    <a:pt x="2263" y="2347"/>
                    <a:pt x="2263" y="2347"/>
                    <a:pt x="2263" y="2347"/>
                  </a:cubicBezTo>
                  <a:cubicBezTo>
                    <a:pt x="2263" y="2361"/>
                    <a:pt x="2263" y="2361"/>
                    <a:pt x="2263" y="2361"/>
                  </a:cubicBezTo>
                  <a:cubicBezTo>
                    <a:pt x="1881" y="2361"/>
                    <a:pt x="1881" y="2361"/>
                    <a:pt x="1881" y="2361"/>
                  </a:cubicBezTo>
                  <a:cubicBezTo>
                    <a:pt x="1881" y="2376"/>
                    <a:pt x="1881" y="2376"/>
                    <a:pt x="1881" y="2376"/>
                  </a:cubicBezTo>
                  <a:cubicBezTo>
                    <a:pt x="2263" y="2376"/>
                    <a:pt x="2263" y="2376"/>
                    <a:pt x="2263" y="2376"/>
                  </a:cubicBezTo>
                  <a:cubicBezTo>
                    <a:pt x="2263" y="2389"/>
                    <a:pt x="2263" y="2389"/>
                    <a:pt x="2263" y="2389"/>
                  </a:cubicBezTo>
                  <a:cubicBezTo>
                    <a:pt x="1881" y="2389"/>
                    <a:pt x="1881" y="2389"/>
                    <a:pt x="1881" y="2389"/>
                  </a:cubicBezTo>
                  <a:cubicBezTo>
                    <a:pt x="1881" y="2404"/>
                    <a:pt x="1881" y="2404"/>
                    <a:pt x="1881" y="2404"/>
                  </a:cubicBezTo>
                  <a:cubicBezTo>
                    <a:pt x="2263" y="2404"/>
                    <a:pt x="2263" y="2404"/>
                    <a:pt x="2263" y="2404"/>
                  </a:cubicBezTo>
                  <a:cubicBezTo>
                    <a:pt x="2263" y="2417"/>
                    <a:pt x="2263" y="2417"/>
                    <a:pt x="2263" y="2417"/>
                  </a:cubicBezTo>
                  <a:cubicBezTo>
                    <a:pt x="1881" y="2417"/>
                    <a:pt x="1881" y="2417"/>
                    <a:pt x="1881" y="2417"/>
                  </a:cubicBezTo>
                  <a:cubicBezTo>
                    <a:pt x="1881" y="2433"/>
                    <a:pt x="1881" y="2433"/>
                    <a:pt x="1881" y="2433"/>
                  </a:cubicBezTo>
                  <a:cubicBezTo>
                    <a:pt x="2262" y="2433"/>
                    <a:pt x="2262" y="2433"/>
                    <a:pt x="2262" y="2433"/>
                  </a:cubicBezTo>
                  <a:cubicBezTo>
                    <a:pt x="2259" y="2442"/>
                    <a:pt x="2250" y="2449"/>
                    <a:pt x="2240" y="2449"/>
                  </a:cubicBezTo>
                  <a:cubicBezTo>
                    <a:pt x="1860" y="2449"/>
                    <a:pt x="1860" y="2449"/>
                    <a:pt x="1860" y="2449"/>
                  </a:cubicBezTo>
                  <a:cubicBezTo>
                    <a:pt x="1860" y="2458"/>
                    <a:pt x="1860" y="2458"/>
                    <a:pt x="1860" y="2458"/>
                  </a:cubicBezTo>
                  <a:cubicBezTo>
                    <a:pt x="1860" y="2464"/>
                    <a:pt x="1860" y="2464"/>
                    <a:pt x="1860" y="2464"/>
                  </a:cubicBezTo>
                  <a:cubicBezTo>
                    <a:pt x="1860" y="2471"/>
                    <a:pt x="1860" y="2471"/>
                    <a:pt x="1860" y="2471"/>
                  </a:cubicBezTo>
                  <a:cubicBezTo>
                    <a:pt x="2188" y="2471"/>
                    <a:pt x="2188" y="2471"/>
                    <a:pt x="2188" y="2471"/>
                  </a:cubicBezTo>
                  <a:cubicBezTo>
                    <a:pt x="2188" y="2471"/>
                    <a:pt x="2188" y="2471"/>
                    <a:pt x="2188" y="2471"/>
                  </a:cubicBezTo>
                  <a:cubicBezTo>
                    <a:pt x="2388" y="2471"/>
                    <a:pt x="2388" y="2471"/>
                    <a:pt x="2388" y="2471"/>
                  </a:cubicBezTo>
                  <a:close/>
                  <a:moveTo>
                    <a:pt x="1970" y="2132"/>
                  </a:moveTo>
                  <a:cubicBezTo>
                    <a:pt x="2351" y="2132"/>
                    <a:pt x="2351" y="2132"/>
                    <a:pt x="2351" y="2132"/>
                  </a:cubicBezTo>
                  <a:cubicBezTo>
                    <a:pt x="2351" y="2122"/>
                    <a:pt x="2351" y="2122"/>
                    <a:pt x="2351" y="2122"/>
                  </a:cubicBezTo>
                  <a:cubicBezTo>
                    <a:pt x="2351" y="2116"/>
                    <a:pt x="2351" y="2116"/>
                    <a:pt x="2351" y="2116"/>
                  </a:cubicBezTo>
                  <a:cubicBezTo>
                    <a:pt x="2351" y="2109"/>
                    <a:pt x="2351" y="2109"/>
                    <a:pt x="2351" y="2109"/>
                  </a:cubicBezTo>
                  <a:cubicBezTo>
                    <a:pt x="2023" y="2109"/>
                    <a:pt x="2023" y="2109"/>
                    <a:pt x="2023" y="2109"/>
                  </a:cubicBezTo>
                  <a:cubicBezTo>
                    <a:pt x="2023" y="2109"/>
                    <a:pt x="2023" y="2109"/>
                    <a:pt x="2023" y="2109"/>
                  </a:cubicBezTo>
                  <a:cubicBezTo>
                    <a:pt x="1823" y="2109"/>
                    <a:pt x="1823" y="2109"/>
                    <a:pt x="1823" y="2109"/>
                  </a:cubicBezTo>
                  <a:cubicBezTo>
                    <a:pt x="1823" y="2110"/>
                    <a:pt x="1823" y="2110"/>
                    <a:pt x="1823" y="2110"/>
                  </a:cubicBezTo>
                  <a:cubicBezTo>
                    <a:pt x="1818" y="2111"/>
                    <a:pt x="1795" y="2119"/>
                    <a:pt x="1795" y="2138"/>
                  </a:cubicBezTo>
                  <a:cubicBezTo>
                    <a:pt x="1795" y="2159"/>
                    <a:pt x="1795" y="2226"/>
                    <a:pt x="1795" y="2240"/>
                  </a:cubicBezTo>
                  <a:cubicBezTo>
                    <a:pt x="1795" y="2253"/>
                    <a:pt x="1824" y="2260"/>
                    <a:pt x="1824" y="2260"/>
                  </a:cubicBezTo>
                  <a:cubicBezTo>
                    <a:pt x="1929" y="2275"/>
                    <a:pt x="1929" y="2275"/>
                    <a:pt x="1929" y="2275"/>
                  </a:cubicBezTo>
                  <a:cubicBezTo>
                    <a:pt x="1942" y="2279"/>
                    <a:pt x="1959" y="2279"/>
                    <a:pt x="1968" y="2279"/>
                  </a:cubicBezTo>
                  <a:cubicBezTo>
                    <a:pt x="1969" y="2279"/>
                    <a:pt x="1970" y="2279"/>
                    <a:pt x="1970" y="2279"/>
                  </a:cubicBezTo>
                  <a:cubicBezTo>
                    <a:pt x="2351" y="2279"/>
                    <a:pt x="2351" y="2279"/>
                    <a:pt x="2351" y="2279"/>
                  </a:cubicBezTo>
                  <a:cubicBezTo>
                    <a:pt x="2351" y="2276"/>
                    <a:pt x="2351" y="2276"/>
                    <a:pt x="2351" y="2276"/>
                  </a:cubicBezTo>
                  <a:cubicBezTo>
                    <a:pt x="2351" y="2267"/>
                    <a:pt x="2351" y="2267"/>
                    <a:pt x="2351" y="2267"/>
                  </a:cubicBezTo>
                  <a:cubicBezTo>
                    <a:pt x="2351" y="2261"/>
                    <a:pt x="2351" y="2261"/>
                    <a:pt x="2351" y="2261"/>
                  </a:cubicBezTo>
                  <a:cubicBezTo>
                    <a:pt x="1970" y="2261"/>
                    <a:pt x="1970" y="2261"/>
                    <a:pt x="1970" y="2261"/>
                  </a:cubicBezTo>
                  <a:cubicBezTo>
                    <a:pt x="1961" y="2261"/>
                    <a:pt x="1954" y="2256"/>
                    <a:pt x="1950" y="2248"/>
                  </a:cubicBezTo>
                  <a:cubicBezTo>
                    <a:pt x="2330" y="2248"/>
                    <a:pt x="2330" y="2248"/>
                    <a:pt x="2330" y="2248"/>
                  </a:cubicBezTo>
                  <a:cubicBezTo>
                    <a:pt x="2330" y="2233"/>
                    <a:pt x="2330" y="2233"/>
                    <a:pt x="2330" y="2233"/>
                  </a:cubicBezTo>
                  <a:cubicBezTo>
                    <a:pt x="1947" y="2233"/>
                    <a:pt x="1947" y="2233"/>
                    <a:pt x="1947" y="2233"/>
                  </a:cubicBezTo>
                  <a:cubicBezTo>
                    <a:pt x="1947" y="2220"/>
                    <a:pt x="1947" y="2220"/>
                    <a:pt x="1947" y="2220"/>
                  </a:cubicBezTo>
                  <a:cubicBezTo>
                    <a:pt x="2330" y="2220"/>
                    <a:pt x="2330" y="2220"/>
                    <a:pt x="2330" y="2220"/>
                  </a:cubicBezTo>
                  <a:cubicBezTo>
                    <a:pt x="2330" y="2204"/>
                    <a:pt x="2330" y="2204"/>
                    <a:pt x="2330" y="2204"/>
                  </a:cubicBezTo>
                  <a:cubicBezTo>
                    <a:pt x="1947" y="2204"/>
                    <a:pt x="1947" y="2204"/>
                    <a:pt x="1947" y="2204"/>
                  </a:cubicBezTo>
                  <a:cubicBezTo>
                    <a:pt x="1947" y="2192"/>
                    <a:pt x="1947" y="2192"/>
                    <a:pt x="1947" y="2192"/>
                  </a:cubicBezTo>
                  <a:cubicBezTo>
                    <a:pt x="2330" y="2192"/>
                    <a:pt x="2330" y="2192"/>
                    <a:pt x="2330" y="2192"/>
                  </a:cubicBezTo>
                  <a:cubicBezTo>
                    <a:pt x="2330" y="2176"/>
                    <a:pt x="2330" y="2176"/>
                    <a:pt x="2330" y="2176"/>
                  </a:cubicBezTo>
                  <a:cubicBezTo>
                    <a:pt x="1947" y="2176"/>
                    <a:pt x="1947" y="2176"/>
                    <a:pt x="1947" y="2176"/>
                  </a:cubicBezTo>
                  <a:cubicBezTo>
                    <a:pt x="1947" y="2163"/>
                    <a:pt x="1947" y="2163"/>
                    <a:pt x="1947" y="2163"/>
                  </a:cubicBezTo>
                  <a:cubicBezTo>
                    <a:pt x="2330" y="2163"/>
                    <a:pt x="2330" y="2163"/>
                    <a:pt x="2330" y="2163"/>
                  </a:cubicBezTo>
                  <a:cubicBezTo>
                    <a:pt x="2330" y="2148"/>
                    <a:pt x="2330" y="2148"/>
                    <a:pt x="2330" y="2148"/>
                  </a:cubicBezTo>
                  <a:cubicBezTo>
                    <a:pt x="1948" y="2148"/>
                    <a:pt x="1948" y="2148"/>
                    <a:pt x="1948" y="2148"/>
                  </a:cubicBezTo>
                  <a:cubicBezTo>
                    <a:pt x="1951" y="2138"/>
                    <a:pt x="1960" y="2132"/>
                    <a:pt x="1970" y="2132"/>
                  </a:cubicBezTo>
                  <a:close/>
                  <a:moveTo>
                    <a:pt x="1806" y="1923"/>
                  </a:moveTo>
                  <a:cubicBezTo>
                    <a:pt x="1806" y="1932"/>
                    <a:pt x="1806" y="1932"/>
                    <a:pt x="1806" y="1932"/>
                  </a:cubicBezTo>
                  <a:cubicBezTo>
                    <a:pt x="1806" y="1938"/>
                    <a:pt x="1806" y="1938"/>
                    <a:pt x="1806" y="1938"/>
                  </a:cubicBezTo>
                  <a:cubicBezTo>
                    <a:pt x="2186" y="1938"/>
                    <a:pt x="2186" y="1938"/>
                    <a:pt x="2186" y="1938"/>
                  </a:cubicBezTo>
                  <a:cubicBezTo>
                    <a:pt x="2195" y="1938"/>
                    <a:pt x="2203" y="1943"/>
                    <a:pt x="2207" y="1950"/>
                  </a:cubicBezTo>
                  <a:cubicBezTo>
                    <a:pt x="1827" y="1950"/>
                    <a:pt x="1827" y="1950"/>
                    <a:pt x="1827" y="1950"/>
                  </a:cubicBezTo>
                  <a:cubicBezTo>
                    <a:pt x="1827" y="1966"/>
                    <a:pt x="1827" y="1966"/>
                    <a:pt x="1827" y="1966"/>
                  </a:cubicBezTo>
                  <a:cubicBezTo>
                    <a:pt x="2209" y="1966"/>
                    <a:pt x="2209" y="1966"/>
                    <a:pt x="2209" y="1966"/>
                  </a:cubicBezTo>
                  <a:cubicBezTo>
                    <a:pt x="2209" y="1979"/>
                    <a:pt x="2209" y="1979"/>
                    <a:pt x="2209" y="1979"/>
                  </a:cubicBezTo>
                  <a:cubicBezTo>
                    <a:pt x="1827" y="1979"/>
                    <a:pt x="1827" y="1979"/>
                    <a:pt x="1827" y="1979"/>
                  </a:cubicBezTo>
                  <a:cubicBezTo>
                    <a:pt x="1827" y="1994"/>
                    <a:pt x="1827" y="1994"/>
                    <a:pt x="1827" y="1994"/>
                  </a:cubicBezTo>
                  <a:cubicBezTo>
                    <a:pt x="2209" y="1994"/>
                    <a:pt x="2209" y="1994"/>
                    <a:pt x="2209" y="1994"/>
                  </a:cubicBezTo>
                  <a:cubicBezTo>
                    <a:pt x="2209" y="2007"/>
                    <a:pt x="2209" y="2007"/>
                    <a:pt x="2209" y="2007"/>
                  </a:cubicBezTo>
                  <a:cubicBezTo>
                    <a:pt x="1827" y="2007"/>
                    <a:pt x="1827" y="2007"/>
                    <a:pt x="1827" y="2007"/>
                  </a:cubicBezTo>
                  <a:cubicBezTo>
                    <a:pt x="1827" y="2022"/>
                    <a:pt x="1827" y="2022"/>
                    <a:pt x="1827" y="2022"/>
                  </a:cubicBezTo>
                  <a:cubicBezTo>
                    <a:pt x="2209" y="2022"/>
                    <a:pt x="2209" y="2022"/>
                    <a:pt x="2209" y="2022"/>
                  </a:cubicBezTo>
                  <a:cubicBezTo>
                    <a:pt x="2209" y="2036"/>
                    <a:pt x="2209" y="2036"/>
                    <a:pt x="2209" y="2036"/>
                  </a:cubicBezTo>
                  <a:cubicBezTo>
                    <a:pt x="1827" y="2036"/>
                    <a:pt x="1827" y="2036"/>
                    <a:pt x="1827" y="2036"/>
                  </a:cubicBezTo>
                  <a:cubicBezTo>
                    <a:pt x="1827" y="2051"/>
                    <a:pt x="1827" y="2051"/>
                    <a:pt x="1827" y="2051"/>
                  </a:cubicBezTo>
                  <a:cubicBezTo>
                    <a:pt x="2208" y="2051"/>
                    <a:pt x="2208" y="2051"/>
                    <a:pt x="2208" y="2051"/>
                  </a:cubicBezTo>
                  <a:cubicBezTo>
                    <a:pt x="2205" y="2060"/>
                    <a:pt x="2197" y="2067"/>
                    <a:pt x="2186" y="2067"/>
                  </a:cubicBezTo>
                  <a:cubicBezTo>
                    <a:pt x="1806" y="2067"/>
                    <a:pt x="1806" y="2067"/>
                    <a:pt x="1806" y="2067"/>
                  </a:cubicBezTo>
                  <a:cubicBezTo>
                    <a:pt x="1806" y="2076"/>
                    <a:pt x="1806" y="2076"/>
                    <a:pt x="1806" y="2076"/>
                  </a:cubicBezTo>
                  <a:cubicBezTo>
                    <a:pt x="1806" y="2082"/>
                    <a:pt x="1806" y="2082"/>
                    <a:pt x="1806" y="2082"/>
                  </a:cubicBezTo>
                  <a:cubicBezTo>
                    <a:pt x="1806" y="2089"/>
                    <a:pt x="1806" y="2089"/>
                    <a:pt x="1806" y="2089"/>
                  </a:cubicBezTo>
                  <a:cubicBezTo>
                    <a:pt x="2134" y="2089"/>
                    <a:pt x="2134" y="2089"/>
                    <a:pt x="2134" y="2089"/>
                  </a:cubicBezTo>
                  <a:cubicBezTo>
                    <a:pt x="2134" y="2089"/>
                    <a:pt x="2134" y="2089"/>
                    <a:pt x="2134" y="2089"/>
                  </a:cubicBezTo>
                  <a:cubicBezTo>
                    <a:pt x="2334" y="2089"/>
                    <a:pt x="2334" y="2089"/>
                    <a:pt x="2334" y="2089"/>
                  </a:cubicBezTo>
                  <a:cubicBezTo>
                    <a:pt x="2334" y="2089"/>
                    <a:pt x="2334" y="2089"/>
                    <a:pt x="2334" y="2089"/>
                  </a:cubicBezTo>
                  <a:cubicBezTo>
                    <a:pt x="2338" y="2087"/>
                    <a:pt x="2362" y="2079"/>
                    <a:pt x="2362" y="2060"/>
                  </a:cubicBezTo>
                  <a:cubicBezTo>
                    <a:pt x="2362" y="2039"/>
                    <a:pt x="2362" y="1972"/>
                    <a:pt x="2362" y="1959"/>
                  </a:cubicBezTo>
                  <a:cubicBezTo>
                    <a:pt x="2362" y="1945"/>
                    <a:pt x="2333" y="1938"/>
                    <a:pt x="2333" y="1938"/>
                  </a:cubicBezTo>
                  <a:cubicBezTo>
                    <a:pt x="2228" y="1924"/>
                    <a:pt x="2228" y="1924"/>
                    <a:pt x="2228" y="1924"/>
                  </a:cubicBezTo>
                  <a:cubicBezTo>
                    <a:pt x="2215" y="1919"/>
                    <a:pt x="2197" y="1919"/>
                    <a:pt x="2188" y="1919"/>
                  </a:cubicBezTo>
                  <a:cubicBezTo>
                    <a:pt x="2188" y="1919"/>
                    <a:pt x="2187" y="1919"/>
                    <a:pt x="2186" y="1919"/>
                  </a:cubicBezTo>
                  <a:cubicBezTo>
                    <a:pt x="1806" y="1919"/>
                    <a:pt x="1806" y="1919"/>
                    <a:pt x="1806" y="1919"/>
                  </a:cubicBezTo>
                  <a:lnTo>
                    <a:pt x="1806" y="192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555848" y="1634066"/>
            <a:ext cx="887996" cy="887996"/>
            <a:chOff x="2555848" y="1634066"/>
            <a:chExt cx="887996" cy="887996"/>
          </a:xfrm>
        </p:grpSpPr>
        <p:sp>
          <p:nvSpPr>
            <p:cNvPr id="70" name="Oval 69"/>
            <p:cNvSpPr/>
            <p:nvPr/>
          </p:nvSpPr>
          <p:spPr>
            <a:xfrm>
              <a:off x="2555848" y="1634066"/>
              <a:ext cx="887996" cy="887996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Freeform 132"/>
            <p:cNvSpPr>
              <a:spLocks noEditPoints="1"/>
            </p:cNvSpPr>
            <p:nvPr/>
          </p:nvSpPr>
          <p:spPr bwMode="auto">
            <a:xfrm>
              <a:off x="2786042" y="1775883"/>
              <a:ext cx="427608" cy="604362"/>
            </a:xfrm>
            <a:custGeom>
              <a:avLst/>
              <a:gdLst>
                <a:gd name="T0" fmla="*/ 883 w 3211"/>
                <a:gd name="T1" fmla="*/ 3840 h 4541"/>
                <a:gd name="T2" fmla="*/ 856 w 3211"/>
                <a:gd name="T3" fmla="*/ 3469 h 4541"/>
                <a:gd name="T4" fmla="*/ 761 w 3211"/>
                <a:gd name="T5" fmla="*/ 4541 h 4541"/>
                <a:gd name="T6" fmla="*/ 678 w 3211"/>
                <a:gd name="T7" fmla="*/ 3886 h 4541"/>
                <a:gd name="T8" fmla="*/ 582 w 3211"/>
                <a:gd name="T9" fmla="*/ 4541 h 4541"/>
                <a:gd name="T10" fmla="*/ 527 w 3211"/>
                <a:gd name="T11" fmla="*/ 3468 h 4541"/>
                <a:gd name="T12" fmla="*/ 501 w 3211"/>
                <a:gd name="T13" fmla="*/ 3835 h 4541"/>
                <a:gd name="T14" fmla="*/ 390 w 3211"/>
                <a:gd name="T15" fmla="*/ 3400 h 4541"/>
                <a:gd name="T16" fmla="*/ 670 w 3211"/>
                <a:gd name="T17" fmla="*/ 3319 h 4541"/>
                <a:gd name="T18" fmla="*/ 689 w 3211"/>
                <a:gd name="T19" fmla="*/ 3697 h 4541"/>
                <a:gd name="T20" fmla="*/ 707 w 3211"/>
                <a:gd name="T21" fmla="*/ 3319 h 4541"/>
                <a:gd name="T22" fmla="*/ 994 w 3211"/>
                <a:gd name="T23" fmla="*/ 3439 h 4541"/>
                <a:gd name="T24" fmla="*/ 772 w 3211"/>
                <a:gd name="T25" fmla="*/ 3005 h 4541"/>
                <a:gd name="T26" fmla="*/ 564 w 3211"/>
                <a:gd name="T27" fmla="*/ 3132 h 4541"/>
                <a:gd name="T28" fmla="*/ 1642 w 3211"/>
                <a:gd name="T29" fmla="*/ 3263 h 4541"/>
                <a:gd name="T30" fmla="*/ 1638 w 3211"/>
                <a:gd name="T31" fmla="*/ 3660 h 4541"/>
                <a:gd name="T32" fmla="*/ 1569 w 3211"/>
                <a:gd name="T33" fmla="*/ 3660 h 4541"/>
                <a:gd name="T34" fmla="*/ 1565 w 3211"/>
                <a:gd name="T35" fmla="*/ 3263 h 4541"/>
                <a:gd name="T36" fmla="*/ 1302 w 3211"/>
                <a:gd name="T37" fmla="*/ 3850 h 4541"/>
                <a:gd name="T38" fmla="*/ 1416 w 3211"/>
                <a:gd name="T39" fmla="*/ 3490 h 4541"/>
                <a:gd name="T40" fmla="*/ 1442 w 3211"/>
                <a:gd name="T41" fmla="*/ 4446 h 4541"/>
                <a:gd name="T42" fmla="*/ 1593 w 3211"/>
                <a:gd name="T43" fmla="*/ 4448 h 4541"/>
                <a:gd name="T44" fmla="*/ 1619 w 3211"/>
                <a:gd name="T45" fmla="*/ 3909 h 4541"/>
                <a:gd name="T46" fmla="*/ 1772 w 3211"/>
                <a:gd name="T47" fmla="*/ 4447 h 4541"/>
                <a:gd name="T48" fmla="*/ 1796 w 3211"/>
                <a:gd name="T49" fmla="*/ 3491 h 4541"/>
                <a:gd name="T50" fmla="*/ 1909 w 3211"/>
                <a:gd name="T51" fmla="*/ 3834 h 4541"/>
                <a:gd name="T52" fmla="*/ 1726 w 3211"/>
                <a:gd name="T53" fmla="*/ 3156 h 4541"/>
                <a:gd name="T54" fmla="*/ 1564 w 3211"/>
                <a:gd name="T55" fmla="*/ 2983 h 4541"/>
                <a:gd name="T56" fmla="*/ 2652 w 3211"/>
                <a:gd name="T57" fmla="*/ 3264 h 4541"/>
                <a:gd name="T58" fmla="*/ 2534 w 3211"/>
                <a:gd name="T59" fmla="*/ 3327 h 4541"/>
                <a:gd name="T60" fmla="*/ 2518 w 3211"/>
                <a:gd name="T61" fmla="*/ 3698 h 4541"/>
                <a:gd name="T62" fmla="*/ 2480 w 3211"/>
                <a:gd name="T63" fmla="*/ 3278 h 4541"/>
                <a:gd name="T64" fmla="*/ 2217 w 3211"/>
                <a:gd name="T65" fmla="*/ 3407 h 4541"/>
                <a:gd name="T66" fmla="*/ 2331 w 3211"/>
                <a:gd name="T67" fmla="*/ 3809 h 4541"/>
                <a:gd name="T68" fmla="*/ 2357 w 3211"/>
                <a:gd name="T69" fmla="*/ 3493 h 4541"/>
                <a:gd name="T70" fmla="*/ 2450 w 3211"/>
                <a:gd name="T71" fmla="*/ 4541 h 4541"/>
                <a:gd name="T72" fmla="*/ 2534 w 3211"/>
                <a:gd name="T73" fmla="*/ 3886 h 4541"/>
                <a:gd name="T74" fmla="*/ 2629 w 3211"/>
                <a:gd name="T75" fmla="*/ 4541 h 4541"/>
                <a:gd name="T76" fmla="*/ 2711 w 3211"/>
                <a:gd name="T77" fmla="*/ 3469 h 4541"/>
                <a:gd name="T78" fmla="*/ 2772 w 3211"/>
                <a:gd name="T79" fmla="*/ 3888 h 4541"/>
                <a:gd name="T80" fmla="*/ 2508 w 3211"/>
                <a:gd name="T81" fmla="*/ 3235 h 4541"/>
                <a:gd name="T82" fmla="*/ 2496 w 3211"/>
                <a:gd name="T83" fmla="*/ 2976 h 4541"/>
                <a:gd name="T84" fmla="*/ 1165 w 3211"/>
                <a:gd name="T85" fmla="*/ 1526 h 4541"/>
                <a:gd name="T86" fmla="*/ 1288 w 3211"/>
                <a:gd name="T87" fmla="*/ 825 h 4541"/>
                <a:gd name="T88" fmla="*/ 1337 w 3211"/>
                <a:gd name="T89" fmla="*/ 2533 h 4541"/>
                <a:gd name="T90" fmla="*/ 1584 w 3211"/>
                <a:gd name="T91" fmla="*/ 1565 h 4541"/>
                <a:gd name="T92" fmla="*/ 1627 w 3211"/>
                <a:gd name="T93" fmla="*/ 2463 h 4541"/>
                <a:gd name="T94" fmla="*/ 1883 w 3211"/>
                <a:gd name="T95" fmla="*/ 870 h 4541"/>
                <a:gd name="T96" fmla="*/ 1925 w 3211"/>
                <a:gd name="T97" fmla="*/ 1404 h 4541"/>
                <a:gd name="T98" fmla="*/ 2114 w 3211"/>
                <a:gd name="T99" fmla="*/ 990 h 4541"/>
                <a:gd name="T100" fmla="*/ 1667 w 3211"/>
                <a:gd name="T101" fmla="*/ 506 h 4541"/>
                <a:gd name="T102" fmla="*/ 1603 w 3211"/>
                <a:gd name="T103" fmla="*/ 1210 h 4541"/>
                <a:gd name="T104" fmla="*/ 1577 w 3211"/>
                <a:gd name="T105" fmla="*/ 589 h 4541"/>
                <a:gd name="T106" fmla="*/ 1388 w 3211"/>
                <a:gd name="T107" fmla="*/ 482 h 4541"/>
                <a:gd name="T108" fmla="*/ 1165 w 3211"/>
                <a:gd name="T109" fmla="*/ 1526 h 4541"/>
                <a:gd name="T110" fmla="*/ 1647 w 3211"/>
                <a:gd name="T111" fmla="*/ 0 h 4541"/>
                <a:gd name="T112" fmla="*/ 1584 w 3211"/>
                <a:gd name="T113" fmla="*/ 434 h 4541"/>
                <a:gd name="T114" fmla="*/ 0 w 3211"/>
                <a:gd name="T115" fmla="*/ 3449 h 4541"/>
                <a:gd name="T116" fmla="*/ 3047 w 3211"/>
                <a:gd name="T117" fmla="*/ 2844 h 4541"/>
                <a:gd name="T118" fmla="*/ 3211 w 3211"/>
                <a:gd name="T119" fmla="*/ 2762 h 4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11" h="4541">
                  <a:moveTo>
                    <a:pt x="994" y="3566"/>
                  </a:moveTo>
                  <a:cubicBezTo>
                    <a:pt x="994" y="3655"/>
                    <a:pt x="994" y="3744"/>
                    <a:pt x="994" y="3834"/>
                  </a:cubicBezTo>
                  <a:cubicBezTo>
                    <a:pt x="994" y="3865"/>
                    <a:pt x="973" y="3886"/>
                    <a:pt x="942" y="3888"/>
                  </a:cubicBezTo>
                  <a:cubicBezTo>
                    <a:pt x="910" y="3891"/>
                    <a:pt x="887" y="3873"/>
                    <a:pt x="883" y="3840"/>
                  </a:cubicBezTo>
                  <a:cubicBezTo>
                    <a:pt x="881" y="3832"/>
                    <a:pt x="881" y="3823"/>
                    <a:pt x="881" y="3814"/>
                  </a:cubicBezTo>
                  <a:cubicBezTo>
                    <a:pt x="881" y="3706"/>
                    <a:pt x="881" y="3599"/>
                    <a:pt x="881" y="3491"/>
                  </a:cubicBezTo>
                  <a:cubicBezTo>
                    <a:pt x="881" y="3484"/>
                    <a:pt x="881" y="3477"/>
                    <a:pt x="881" y="3469"/>
                  </a:cubicBezTo>
                  <a:cubicBezTo>
                    <a:pt x="872" y="3469"/>
                    <a:pt x="864" y="3469"/>
                    <a:pt x="856" y="3469"/>
                  </a:cubicBezTo>
                  <a:cubicBezTo>
                    <a:pt x="856" y="3478"/>
                    <a:pt x="856" y="3487"/>
                    <a:pt x="856" y="3495"/>
                  </a:cubicBezTo>
                  <a:cubicBezTo>
                    <a:pt x="856" y="3812"/>
                    <a:pt x="856" y="4129"/>
                    <a:pt x="857" y="4447"/>
                  </a:cubicBezTo>
                  <a:cubicBezTo>
                    <a:pt x="857" y="4491"/>
                    <a:pt x="844" y="4525"/>
                    <a:pt x="799" y="4541"/>
                  </a:cubicBezTo>
                  <a:cubicBezTo>
                    <a:pt x="787" y="4541"/>
                    <a:pt x="774" y="4541"/>
                    <a:pt x="761" y="4541"/>
                  </a:cubicBezTo>
                  <a:cubicBezTo>
                    <a:pt x="717" y="4524"/>
                    <a:pt x="703" y="4491"/>
                    <a:pt x="703" y="4445"/>
                  </a:cubicBezTo>
                  <a:cubicBezTo>
                    <a:pt x="705" y="4267"/>
                    <a:pt x="704" y="4088"/>
                    <a:pt x="704" y="3909"/>
                  </a:cubicBezTo>
                  <a:cubicBezTo>
                    <a:pt x="704" y="3902"/>
                    <a:pt x="704" y="3894"/>
                    <a:pt x="704" y="3886"/>
                  </a:cubicBezTo>
                  <a:cubicBezTo>
                    <a:pt x="695" y="3886"/>
                    <a:pt x="687" y="3886"/>
                    <a:pt x="678" y="3886"/>
                  </a:cubicBezTo>
                  <a:cubicBezTo>
                    <a:pt x="678" y="3895"/>
                    <a:pt x="678" y="3902"/>
                    <a:pt x="678" y="3910"/>
                  </a:cubicBezTo>
                  <a:cubicBezTo>
                    <a:pt x="678" y="4089"/>
                    <a:pt x="677" y="4268"/>
                    <a:pt x="678" y="4448"/>
                  </a:cubicBezTo>
                  <a:cubicBezTo>
                    <a:pt x="679" y="4493"/>
                    <a:pt x="664" y="4525"/>
                    <a:pt x="620" y="4541"/>
                  </a:cubicBezTo>
                  <a:cubicBezTo>
                    <a:pt x="607" y="4541"/>
                    <a:pt x="595" y="4541"/>
                    <a:pt x="582" y="4541"/>
                  </a:cubicBezTo>
                  <a:cubicBezTo>
                    <a:pt x="558" y="4530"/>
                    <a:pt x="536" y="4516"/>
                    <a:pt x="530" y="4487"/>
                  </a:cubicBezTo>
                  <a:cubicBezTo>
                    <a:pt x="528" y="4474"/>
                    <a:pt x="527" y="4460"/>
                    <a:pt x="527" y="4446"/>
                  </a:cubicBezTo>
                  <a:cubicBezTo>
                    <a:pt x="527" y="4128"/>
                    <a:pt x="527" y="3811"/>
                    <a:pt x="527" y="3493"/>
                  </a:cubicBezTo>
                  <a:cubicBezTo>
                    <a:pt x="527" y="3485"/>
                    <a:pt x="527" y="3477"/>
                    <a:pt x="527" y="3468"/>
                  </a:cubicBezTo>
                  <a:cubicBezTo>
                    <a:pt x="517" y="3468"/>
                    <a:pt x="510" y="3468"/>
                    <a:pt x="501" y="3468"/>
                  </a:cubicBezTo>
                  <a:cubicBezTo>
                    <a:pt x="501" y="3476"/>
                    <a:pt x="501" y="3483"/>
                    <a:pt x="501" y="3490"/>
                  </a:cubicBezTo>
                  <a:cubicBezTo>
                    <a:pt x="501" y="3596"/>
                    <a:pt x="501" y="3702"/>
                    <a:pt x="501" y="3809"/>
                  </a:cubicBezTo>
                  <a:cubicBezTo>
                    <a:pt x="501" y="3817"/>
                    <a:pt x="502" y="3826"/>
                    <a:pt x="501" y="3835"/>
                  </a:cubicBezTo>
                  <a:cubicBezTo>
                    <a:pt x="496" y="3874"/>
                    <a:pt x="466" y="3896"/>
                    <a:pt x="427" y="3887"/>
                  </a:cubicBezTo>
                  <a:cubicBezTo>
                    <a:pt x="407" y="3882"/>
                    <a:pt x="397" y="3866"/>
                    <a:pt x="387" y="3850"/>
                  </a:cubicBezTo>
                  <a:cubicBezTo>
                    <a:pt x="387" y="3702"/>
                    <a:pt x="387" y="3555"/>
                    <a:pt x="387" y="3407"/>
                  </a:cubicBezTo>
                  <a:cubicBezTo>
                    <a:pt x="388" y="3405"/>
                    <a:pt x="390" y="3403"/>
                    <a:pt x="390" y="3400"/>
                  </a:cubicBezTo>
                  <a:cubicBezTo>
                    <a:pt x="411" y="3314"/>
                    <a:pt x="472" y="3264"/>
                    <a:pt x="561" y="3263"/>
                  </a:cubicBezTo>
                  <a:cubicBezTo>
                    <a:pt x="590" y="3263"/>
                    <a:pt x="620" y="3263"/>
                    <a:pt x="650" y="3263"/>
                  </a:cubicBezTo>
                  <a:cubicBezTo>
                    <a:pt x="650" y="3278"/>
                    <a:pt x="650" y="3278"/>
                    <a:pt x="650" y="3278"/>
                  </a:cubicBezTo>
                  <a:cubicBezTo>
                    <a:pt x="670" y="3319"/>
                    <a:pt x="670" y="3319"/>
                    <a:pt x="670" y="3319"/>
                  </a:cubicBezTo>
                  <a:cubicBezTo>
                    <a:pt x="673" y="3327"/>
                    <a:pt x="673" y="3327"/>
                    <a:pt x="673" y="3327"/>
                  </a:cubicBezTo>
                  <a:cubicBezTo>
                    <a:pt x="654" y="3660"/>
                    <a:pt x="654" y="3660"/>
                    <a:pt x="654" y="3660"/>
                  </a:cubicBezTo>
                  <a:cubicBezTo>
                    <a:pt x="688" y="3698"/>
                    <a:pt x="688" y="3698"/>
                    <a:pt x="688" y="3698"/>
                  </a:cubicBezTo>
                  <a:cubicBezTo>
                    <a:pt x="689" y="3697"/>
                    <a:pt x="689" y="3697"/>
                    <a:pt x="689" y="3697"/>
                  </a:cubicBezTo>
                  <a:cubicBezTo>
                    <a:pt x="689" y="3698"/>
                    <a:pt x="689" y="3698"/>
                    <a:pt x="689" y="3698"/>
                  </a:cubicBezTo>
                  <a:cubicBezTo>
                    <a:pt x="724" y="3660"/>
                    <a:pt x="724" y="3660"/>
                    <a:pt x="724" y="3660"/>
                  </a:cubicBezTo>
                  <a:cubicBezTo>
                    <a:pt x="704" y="3327"/>
                    <a:pt x="704" y="3327"/>
                    <a:pt x="704" y="3327"/>
                  </a:cubicBezTo>
                  <a:cubicBezTo>
                    <a:pt x="707" y="3319"/>
                    <a:pt x="707" y="3319"/>
                    <a:pt x="707" y="3319"/>
                  </a:cubicBezTo>
                  <a:cubicBezTo>
                    <a:pt x="727" y="3278"/>
                    <a:pt x="727" y="3278"/>
                    <a:pt x="727" y="3278"/>
                  </a:cubicBezTo>
                  <a:cubicBezTo>
                    <a:pt x="727" y="3263"/>
                    <a:pt x="727" y="3263"/>
                    <a:pt x="727" y="3263"/>
                  </a:cubicBezTo>
                  <a:cubicBezTo>
                    <a:pt x="759" y="3263"/>
                    <a:pt x="790" y="3263"/>
                    <a:pt x="822" y="3264"/>
                  </a:cubicBezTo>
                  <a:cubicBezTo>
                    <a:pt x="923" y="3265"/>
                    <a:pt x="993" y="3338"/>
                    <a:pt x="994" y="3439"/>
                  </a:cubicBezTo>
                  <a:cubicBezTo>
                    <a:pt x="994" y="3481"/>
                    <a:pt x="994" y="3524"/>
                    <a:pt x="994" y="3566"/>
                  </a:cubicBezTo>
                  <a:close/>
                  <a:moveTo>
                    <a:pt x="678" y="3235"/>
                  </a:moveTo>
                  <a:cubicBezTo>
                    <a:pt x="735" y="3240"/>
                    <a:pt x="789" y="3208"/>
                    <a:pt x="811" y="3156"/>
                  </a:cubicBezTo>
                  <a:cubicBezTo>
                    <a:pt x="833" y="3102"/>
                    <a:pt x="819" y="3041"/>
                    <a:pt x="772" y="3005"/>
                  </a:cubicBezTo>
                  <a:cubicBezTo>
                    <a:pt x="756" y="2992"/>
                    <a:pt x="734" y="2985"/>
                    <a:pt x="715" y="2976"/>
                  </a:cubicBezTo>
                  <a:cubicBezTo>
                    <a:pt x="699" y="2976"/>
                    <a:pt x="682" y="2976"/>
                    <a:pt x="666" y="2976"/>
                  </a:cubicBezTo>
                  <a:cubicBezTo>
                    <a:pt x="660" y="2978"/>
                    <a:pt x="655" y="2981"/>
                    <a:pt x="649" y="2983"/>
                  </a:cubicBezTo>
                  <a:cubicBezTo>
                    <a:pt x="589" y="3003"/>
                    <a:pt x="550" y="3070"/>
                    <a:pt x="564" y="3132"/>
                  </a:cubicBezTo>
                  <a:cubicBezTo>
                    <a:pt x="576" y="3187"/>
                    <a:pt x="624" y="3230"/>
                    <a:pt x="678" y="3235"/>
                  </a:cubicBezTo>
                  <a:close/>
                  <a:moveTo>
                    <a:pt x="1909" y="3439"/>
                  </a:moveTo>
                  <a:cubicBezTo>
                    <a:pt x="1908" y="3338"/>
                    <a:pt x="1838" y="3265"/>
                    <a:pt x="1737" y="3264"/>
                  </a:cubicBezTo>
                  <a:cubicBezTo>
                    <a:pt x="1705" y="3263"/>
                    <a:pt x="1674" y="3263"/>
                    <a:pt x="1642" y="3263"/>
                  </a:cubicBezTo>
                  <a:cubicBezTo>
                    <a:pt x="1642" y="3278"/>
                    <a:pt x="1642" y="3278"/>
                    <a:pt x="1642" y="3278"/>
                  </a:cubicBezTo>
                  <a:cubicBezTo>
                    <a:pt x="1622" y="3319"/>
                    <a:pt x="1622" y="3319"/>
                    <a:pt x="1622" y="3319"/>
                  </a:cubicBezTo>
                  <a:cubicBezTo>
                    <a:pt x="1619" y="3327"/>
                    <a:pt x="1619" y="3327"/>
                    <a:pt x="1619" y="3327"/>
                  </a:cubicBezTo>
                  <a:cubicBezTo>
                    <a:pt x="1638" y="3660"/>
                    <a:pt x="1638" y="3660"/>
                    <a:pt x="1638" y="3660"/>
                  </a:cubicBezTo>
                  <a:cubicBezTo>
                    <a:pt x="1604" y="3698"/>
                    <a:pt x="1604" y="3698"/>
                    <a:pt x="1604" y="3698"/>
                  </a:cubicBezTo>
                  <a:cubicBezTo>
                    <a:pt x="1604" y="3697"/>
                    <a:pt x="1604" y="3697"/>
                    <a:pt x="1604" y="3697"/>
                  </a:cubicBezTo>
                  <a:cubicBezTo>
                    <a:pt x="1603" y="3698"/>
                    <a:pt x="1603" y="3698"/>
                    <a:pt x="1603" y="3698"/>
                  </a:cubicBezTo>
                  <a:cubicBezTo>
                    <a:pt x="1569" y="3660"/>
                    <a:pt x="1569" y="3660"/>
                    <a:pt x="1569" y="3660"/>
                  </a:cubicBezTo>
                  <a:cubicBezTo>
                    <a:pt x="1588" y="3327"/>
                    <a:pt x="1588" y="3327"/>
                    <a:pt x="1588" y="3327"/>
                  </a:cubicBezTo>
                  <a:cubicBezTo>
                    <a:pt x="1585" y="3319"/>
                    <a:pt x="1585" y="3319"/>
                    <a:pt x="1585" y="3319"/>
                  </a:cubicBezTo>
                  <a:cubicBezTo>
                    <a:pt x="1565" y="3278"/>
                    <a:pt x="1565" y="3278"/>
                    <a:pt x="1565" y="3278"/>
                  </a:cubicBezTo>
                  <a:cubicBezTo>
                    <a:pt x="1565" y="3263"/>
                    <a:pt x="1565" y="3263"/>
                    <a:pt x="1565" y="3263"/>
                  </a:cubicBezTo>
                  <a:cubicBezTo>
                    <a:pt x="1535" y="3263"/>
                    <a:pt x="1505" y="3263"/>
                    <a:pt x="1475" y="3263"/>
                  </a:cubicBezTo>
                  <a:cubicBezTo>
                    <a:pt x="1387" y="3264"/>
                    <a:pt x="1326" y="3314"/>
                    <a:pt x="1305" y="3400"/>
                  </a:cubicBezTo>
                  <a:cubicBezTo>
                    <a:pt x="1305" y="3403"/>
                    <a:pt x="1303" y="3405"/>
                    <a:pt x="1302" y="3407"/>
                  </a:cubicBezTo>
                  <a:cubicBezTo>
                    <a:pt x="1302" y="3555"/>
                    <a:pt x="1302" y="3702"/>
                    <a:pt x="1302" y="3850"/>
                  </a:cubicBezTo>
                  <a:cubicBezTo>
                    <a:pt x="1312" y="3866"/>
                    <a:pt x="1322" y="3882"/>
                    <a:pt x="1342" y="3887"/>
                  </a:cubicBezTo>
                  <a:cubicBezTo>
                    <a:pt x="1381" y="3896"/>
                    <a:pt x="1411" y="3874"/>
                    <a:pt x="1415" y="3835"/>
                  </a:cubicBezTo>
                  <a:cubicBezTo>
                    <a:pt x="1416" y="3826"/>
                    <a:pt x="1416" y="3817"/>
                    <a:pt x="1416" y="3809"/>
                  </a:cubicBezTo>
                  <a:cubicBezTo>
                    <a:pt x="1416" y="3702"/>
                    <a:pt x="1416" y="3596"/>
                    <a:pt x="1416" y="3490"/>
                  </a:cubicBezTo>
                  <a:cubicBezTo>
                    <a:pt x="1416" y="3483"/>
                    <a:pt x="1416" y="3476"/>
                    <a:pt x="1416" y="3468"/>
                  </a:cubicBezTo>
                  <a:cubicBezTo>
                    <a:pt x="1425" y="3468"/>
                    <a:pt x="1432" y="3468"/>
                    <a:pt x="1442" y="3468"/>
                  </a:cubicBezTo>
                  <a:cubicBezTo>
                    <a:pt x="1442" y="3477"/>
                    <a:pt x="1442" y="3485"/>
                    <a:pt x="1442" y="3493"/>
                  </a:cubicBezTo>
                  <a:cubicBezTo>
                    <a:pt x="1442" y="3811"/>
                    <a:pt x="1442" y="4128"/>
                    <a:pt x="1442" y="4446"/>
                  </a:cubicBezTo>
                  <a:cubicBezTo>
                    <a:pt x="1442" y="4460"/>
                    <a:pt x="1442" y="4474"/>
                    <a:pt x="1445" y="4487"/>
                  </a:cubicBezTo>
                  <a:cubicBezTo>
                    <a:pt x="1451" y="4516"/>
                    <a:pt x="1472" y="4530"/>
                    <a:pt x="1497" y="4541"/>
                  </a:cubicBezTo>
                  <a:cubicBezTo>
                    <a:pt x="1509" y="4541"/>
                    <a:pt x="1522" y="4541"/>
                    <a:pt x="1535" y="4541"/>
                  </a:cubicBezTo>
                  <a:cubicBezTo>
                    <a:pt x="1579" y="4525"/>
                    <a:pt x="1594" y="4493"/>
                    <a:pt x="1593" y="4448"/>
                  </a:cubicBezTo>
                  <a:cubicBezTo>
                    <a:pt x="1592" y="4268"/>
                    <a:pt x="1593" y="4089"/>
                    <a:pt x="1593" y="3910"/>
                  </a:cubicBezTo>
                  <a:cubicBezTo>
                    <a:pt x="1593" y="3902"/>
                    <a:pt x="1593" y="3895"/>
                    <a:pt x="1593" y="3886"/>
                  </a:cubicBezTo>
                  <a:cubicBezTo>
                    <a:pt x="1602" y="3886"/>
                    <a:pt x="1610" y="3886"/>
                    <a:pt x="1619" y="3886"/>
                  </a:cubicBezTo>
                  <a:cubicBezTo>
                    <a:pt x="1619" y="3894"/>
                    <a:pt x="1619" y="3902"/>
                    <a:pt x="1619" y="3909"/>
                  </a:cubicBezTo>
                  <a:cubicBezTo>
                    <a:pt x="1619" y="4088"/>
                    <a:pt x="1620" y="4267"/>
                    <a:pt x="1618" y="4445"/>
                  </a:cubicBezTo>
                  <a:cubicBezTo>
                    <a:pt x="1618" y="4491"/>
                    <a:pt x="1631" y="4524"/>
                    <a:pt x="1676" y="4541"/>
                  </a:cubicBezTo>
                  <a:cubicBezTo>
                    <a:pt x="1689" y="4541"/>
                    <a:pt x="1702" y="4541"/>
                    <a:pt x="1714" y="4541"/>
                  </a:cubicBezTo>
                  <a:cubicBezTo>
                    <a:pt x="1759" y="4525"/>
                    <a:pt x="1772" y="4491"/>
                    <a:pt x="1772" y="4447"/>
                  </a:cubicBezTo>
                  <a:cubicBezTo>
                    <a:pt x="1771" y="4129"/>
                    <a:pt x="1771" y="3812"/>
                    <a:pt x="1771" y="3495"/>
                  </a:cubicBezTo>
                  <a:cubicBezTo>
                    <a:pt x="1771" y="3487"/>
                    <a:pt x="1771" y="3478"/>
                    <a:pt x="1771" y="3469"/>
                  </a:cubicBezTo>
                  <a:cubicBezTo>
                    <a:pt x="1779" y="3469"/>
                    <a:pt x="1786" y="3469"/>
                    <a:pt x="1796" y="3469"/>
                  </a:cubicBezTo>
                  <a:cubicBezTo>
                    <a:pt x="1796" y="3477"/>
                    <a:pt x="1796" y="3484"/>
                    <a:pt x="1796" y="3491"/>
                  </a:cubicBezTo>
                  <a:cubicBezTo>
                    <a:pt x="1796" y="3599"/>
                    <a:pt x="1796" y="3706"/>
                    <a:pt x="1796" y="3814"/>
                  </a:cubicBezTo>
                  <a:cubicBezTo>
                    <a:pt x="1796" y="3823"/>
                    <a:pt x="1796" y="3832"/>
                    <a:pt x="1798" y="3840"/>
                  </a:cubicBezTo>
                  <a:cubicBezTo>
                    <a:pt x="1802" y="3873"/>
                    <a:pt x="1825" y="3891"/>
                    <a:pt x="1857" y="3888"/>
                  </a:cubicBezTo>
                  <a:cubicBezTo>
                    <a:pt x="1888" y="3886"/>
                    <a:pt x="1909" y="3865"/>
                    <a:pt x="1909" y="3834"/>
                  </a:cubicBezTo>
                  <a:cubicBezTo>
                    <a:pt x="1909" y="3744"/>
                    <a:pt x="1909" y="3655"/>
                    <a:pt x="1909" y="3566"/>
                  </a:cubicBezTo>
                  <a:cubicBezTo>
                    <a:pt x="1909" y="3524"/>
                    <a:pt x="1909" y="3481"/>
                    <a:pt x="1909" y="3439"/>
                  </a:cubicBezTo>
                  <a:close/>
                  <a:moveTo>
                    <a:pt x="1593" y="3235"/>
                  </a:moveTo>
                  <a:cubicBezTo>
                    <a:pt x="1650" y="3240"/>
                    <a:pt x="1704" y="3208"/>
                    <a:pt x="1726" y="3156"/>
                  </a:cubicBezTo>
                  <a:cubicBezTo>
                    <a:pt x="1748" y="3102"/>
                    <a:pt x="1734" y="3041"/>
                    <a:pt x="1687" y="3005"/>
                  </a:cubicBezTo>
                  <a:cubicBezTo>
                    <a:pt x="1671" y="2992"/>
                    <a:pt x="1649" y="2985"/>
                    <a:pt x="1630" y="2976"/>
                  </a:cubicBezTo>
                  <a:cubicBezTo>
                    <a:pt x="1614" y="2976"/>
                    <a:pt x="1597" y="2976"/>
                    <a:pt x="1581" y="2976"/>
                  </a:cubicBezTo>
                  <a:cubicBezTo>
                    <a:pt x="1575" y="2978"/>
                    <a:pt x="1570" y="2981"/>
                    <a:pt x="1564" y="2983"/>
                  </a:cubicBezTo>
                  <a:cubicBezTo>
                    <a:pt x="1503" y="3003"/>
                    <a:pt x="1465" y="3070"/>
                    <a:pt x="1479" y="3132"/>
                  </a:cubicBezTo>
                  <a:cubicBezTo>
                    <a:pt x="1491" y="3187"/>
                    <a:pt x="1538" y="3230"/>
                    <a:pt x="1593" y="3235"/>
                  </a:cubicBezTo>
                  <a:close/>
                  <a:moveTo>
                    <a:pt x="2824" y="3439"/>
                  </a:moveTo>
                  <a:cubicBezTo>
                    <a:pt x="2823" y="3338"/>
                    <a:pt x="2752" y="3265"/>
                    <a:pt x="2652" y="3264"/>
                  </a:cubicBezTo>
                  <a:cubicBezTo>
                    <a:pt x="2620" y="3263"/>
                    <a:pt x="2589" y="3263"/>
                    <a:pt x="2557" y="3263"/>
                  </a:cubicBezTo>
                  <a:cubicBezTo>
                    <a:pt x="2557" y="3278"/>
                    <a:pt x="2557" y="3278"/>
                    <a:pt x="2557" y="3278"/>
                  </a:cubicBezTo>
                  <a:cubicBezTo>
                    <a:pt x="2537" y="3319"/>
                    <a:pt x="2537" y="3319"/>
                    <a:pt x="2537" y="3319"/>
                  </a:cubicBezTo>
                  <a:cubicBezTo>
                    <a:pt x="2534" y="3327"/>
                    <a:pt x="2534" y="3327"/>
                    <a:pt x="2534" y="3327"/>
                  </a:cubicBezTo>
                  <a:cubicBezTo>
                    <a:pt x="2553" y="3660"/>
                    <a:pt x="2553" y="3660"/>
                    <a:pt x="2553" y="3660"/>
                  </a:cubicBezTo>
                  <a:cubicBezTo>
                    <a:pt x="2519" y="3698"/>
                    <a:pt x="2519" y="3698"/>
                    <a:pt x="2519" y="3698"/>
                  </a:cubicBezTo>
                  <a:cubicBezTo>
                    <a:pt x="2519" y="3697"/>
                    <a:pt x="2519" y="3697"/>
                    <a:pt x="2519" y="3697"/>
                  </a:cubicBezTo>
                  <a:cubicBezTo>
                    <a:pt x="2518" y="3698"/>
                    <a:pt x="2518" y="3698"/>
                    <a:pt x="2518" y="3698"/>
                  </a:cubicBezTo>
                  <a:cubicBezTo>
                    <a:pt x="2484" y="3660"/>
                    <a:pt x="2484" y="3660"/>
                    <a:pt x="2484" y="3660"/>
                  </a:cubicBezTo>
                  <a:cubicBezTo>
                    <a:pt x="2503" y="3327"/>
                    <a:pt x="2503" y="3327"/>
                    <a:pt x="2503" y="3327"/>
                  </a:cubicBezTo>
                  <a:cubicBezTo>
                    <a:pt x="2500" y="3319"/>
                    <a:pt x="2500" y="3319"/>
                    <a:pt x="2500" y="3319"/>
                  </a:cubicBezTo>
                  <a:cubicBezTo>
                    <a:pt x="2480" y="3278"/>
                    <a:pt x="2480" y="3278"/>
                    <a:pt x="2480" y="3278"/>
                  </a:cubicBezTo>
                  <a:cubicBezTo>
                    <a:pt x="2480" y="3263"/>
                    <a:pt x="2480" y="3263"/>
                    <a:pt x="2480" y="3263"/>
                  </a:cubicBezTo>
                  <a:cubicBezTo>
                    <a:pt x="2450" y="3263"/>
                    <a:pt x="2420" y="3263"/>
                    <a:pt x="2390" y="3263"/>
                  </a:cubicBezTo>
                  <a:cubicBezTo>
                    <a:pt x="2302" y="3264"/>
                    <a:pt x="2241" y="3314"/>
                    <a:pt x="2220" y="3400"/>
                  </a:cubicBezTo>
                  <a:cubicBezTo>
                    <a:pt x="2220" y="3403"/>
                    <a:pt x="2218" y="3405"/>
                    <a:pt x="2217" y="3407"/>
                  </a:cubicBezTo>
                  <a:cubicBezTo>
                    <a:pt x="2217" y="3555"/>
                    <a:pt x="2217" y="3702"/>
                    <a:pt x="2217" y="3850"/>
                  </a:cubicBezTo>
                  <a:cubicBezTo>
                    <a:pt x="2227" y="3866"/>
                    <a:pt x="2237" y="3882"/>
                    <a:pt x="2257" y="3887"/>
                  </a:cubicBezTo>
                  <a:cubicBezTo>
                    <a:pt x="2296" y="3896"/>
                    <a:pt x="2326" y="3874"/>
                    <a:pt x="2330" y="3835"/>
                  </a:cubicBezTo>
                  <a:cubicBezTo>
                    <a:pt x="2331" y="3826"/>
                    <a:pt x="2331" y="3817"/>
                    <a:pt x="2331" y="3809"/>
                  </a:cubicBezTo>
                  <a:cubicBezTo>
                    <a:pt x="2331" y="3702"/>
                    <a:pt x="2331" y="3596"/>
                    <a:pt x="2331" y="3490"/>
                  </a:cubicBezTo>
                  <a:cubicBezTo>
                    <a:pt x="2331" y="3483"/>
                    <a:pt x="2331" y="3476"/>
                    <a:pt x="2331" y="3468"/>
                  </a:cubicBezTo>
                  <a:cubicBezTo>
                    <a:pt x="2340" y="3468"/>
                    <a:pt x="2347" y="3468"/>
                    <a:pt x="2357" y="3468"/>
                  </a:cubicBezTo>
                  <a:cubicBezTo>
                    <a:pt x="2357" y="3477"/>
                    <a:pt x="2357" y="3485"/>
                    <a:pt x="2357" y="3493"/>
                  </a:cubicBezTo>
                  <a:cubicBezTo>
                    <a:pt x="2357" y="3811"/>
                    <a:pt x="2357" y="4128"/>
                    <a:pt x="2357" y="4446"/>
                  </a:cubicBezTo>
                  <a:cubicBezTo>
                    <a:pt x="2357" y="4460"/>
                    <a:pt x="2357" y="4474"/>
                    <a:pt x="2360" y="4487"/>
                  </a:cubicBezTo>
                  <a:cubicBezTo>
                    <a:pt x="2366" y="4516"/>
                    <a:pt x="2387" y="4530"/>
                    <a:pt x="2412" y="4541"/>
                  </a:cubicBezTo>
                  <a:cubicBezTo>
                    <a:pt x="2424" y="4541"/>
                    <a:pt x="2437" y="4541"/>
                    <a:pt x="2450" y="4541"/>
                  </a:cubicBezTo>
                  <a:cubicBezTo>
                    <a:pt x="2494" y="4525"/>
                    <a:pt x="2509" y="4493"/>
                    <a:pt x="2508" y="4448"/>
                  </a:cubicBezTo>
                  <a:cubicBezTo>
                    <a:pt x="2507" y="4268"/>
                    <a:pt x="2508" y="4089"/>
                    <a:pt x="2508" y="3910"/>
                  </a:cubicBezTo>
                  <a:cubicBezTo>
                    <a:pt x="2508" y="3902"/>
                    <a:pt x="2508" y="3895"/>
                    <a:pt x="2508" y="3886"/>
                  </a:cubicBezTo>
                  <a:cubicBezTo>
                    <a:pt x="2517" y="3886"/>
                    <a:pt x="2524" y="3886"/>
                    <a:pt x="2534" y="3886"/>
                  </a:cubicBezTo>
                  <a:cubicBezTo>
                    <a:pt x="2534" y="3894"/>
                    <a:pt x="2534" y="3902"/>
                    <a:pt x="2534" y="3909"/>
                  </a:cubicBezTo>
                  <a:cubicBezTo>
                    <a:pt x="2534" y="4088"/>
                    <a:pt x="2535" y="4267"/>
                    <a:pt x="2533" y="4445"/>
                  </a:cubicBezTo>
                  <a:cubicBezTo>
                    <a:pt x="2533" y="4491"/>
                    <a:pt x="2546" y="4524"/>
                    <a:pt x="2591" y="4541"/>
                  </a:cubicBezTo>
                  <a:cubicBezTo>
                    <a:pt x="2604" y="4541"/>
                    <a:pt x="2617" y="4541"/>
                    <a:pt x="2629" y="4541"/>
                  </a:cubicBezTo>
                  <a:cubicBezTo>
                    <a:pt x="2674" y="4525"/>
                    <a:pt x="2687" y="4491"/>
                    <a:pt x="2686" y="4447"/>
                  </a:cubicBezTo>
                  <a:cubicBezTo>
                    <a:pt x="2686" y="4129"/>
                    <a:pt x="2686" y="3812"/>
                    <a:pt x="2686" y="3495"/>
                  </a:cubicBezTo>
                  <a:cubicBezTo>
                    <a:pt x="2686" y="3487"/>
                    <a:pt x="2686" y="3478"/>
                    <a:pt x="2686" y="3469"/>
                  </a:cubicBezTo>
                  <a:cubicBezTo>
                    <a:pt x="2694" y="3469"/>
                    <a:pt x="2701" y="3469"/>
                    <a:pt x="2711" y="3469"/>
                  </a:cubicBezTo>
                  <a:cubicBezTo>
                    <a:pt x="2711" y="3477"/>
                    <a:pt x="2711" y="3484"/>
                    <a:pt x="2711" y="3491"/>
                  </a:cubicBezTo>
                  <a:cubicBezTo>
                    <a:pt x="2711" y="3599"/>
                    <a:pt x="2711" y="3706"/>
                    <a:pt x="2711" y="3814"/>
                  </a:cubicBezTo>
                  <a:cubicBezTo>
                    <a:pt x="2711" y="3823"/>
                    <a:pt x="2711" y="3832"/>
                    <a:pt x="2713" y="3840"/>
                  </a:cubicBezTo>
                  <a:cubicBezTo>
                    <a:pt x="2717" y="3873"/>
                    <a:pt x="2740" y="3891"/>
                    <a:pt x="2772" y="3888"/>
                  </a:cubicBezTo>
                  <a:cubicBezTo>
                    <a:pt x="2803" y="3886"/>
                    <a:pt x="2824" y="3865"/>
                    <a:pt x="2824" y="3834"/>
                  </a:cubicBezTo>
                  <a:cubicBezTo>
                    <a:pt x="2824" y="3744"/>
                    <a:pt x="2824" y="3655"/>
                    <a:pt x="2824" y="3566"/>
                  </a:cubicBezTo>
                  <a:cubicBezTo>
                    <a:pt x="2824" y="3524"/>
                    <a:pt x="2824" y="3481"/>
                    <a:pt x="2824" y="3439"/>
                  </a:cubicBezTo>
                  <a:close/>
                  <a:moveTo>
                    <a:pt x="2508" y="3235"/>
                  </a:moveTo>
                  <a:cubicBezTo>
                    <a:pt x="2565" y="3240"/>
                    <a:pt x="2619" y="3208"/>
                    <a:pt x="2641" y="3156"/>
                  </a:cubicBezTo>
                  <a:cubicBezTo>
                    <a:pt x="2663" y="3102"/>
                    <a:pt x="2649" y="3041"/>
                    <a:pt x="2602" y="3005"/>
                  </a:cubicBezTo>
                  <a:cubicBezTo>
                    <a:pt x="2585" y="2992"/>
                    <a:pt x="2564" y="2985"/>
                    <a:pt x="2545" y="2976"/>
                  </a:cubicBezTo>
                  <a:cubicBezTo>
                    <a:pt x="2529" y="2976"/>
                    <a:pt x="2512" y="2976"/>
                    <a:pt x="2496" y="2976"/>
                  </a:cubicBezTo>
                  <a:cubicBezTo>
                    <a:pt x="2490" y="2978"/>
                    <a:pt x="2485" y="2981"/>
                    <a:pt x="2479" y="2983"/>
                  </a:cubicBezTo>
                  <a:cubicBezTo>
                    <a:pt x="2418" y="3003"/>
                    <a:pt x="2380" y="3070"/>
                    <a:pt x="2394" y="3132"/>
                  </a:cubicBezTo>
                  <a:cubicBezTo>
                    <a:pt x="2406" y="3187"/>
                    <a:pt x="2453" y="3230"/>
                    <a:pt x="2508" y="3235"/>
                  </a:cubicBezTo>
                  <a:close/>
                  <a:moveTo>
                    <a:pt x="1165" y="1526"/>
                  </a:moveTo>
                  <a:cubicBezTo>
                    <a:pt x="1229" y="1542"/>
                    <a:pt x="1280" y="1506"/>
                    <a:pt x="1287" y="1440"/>
                  </a:cubicBezTo>
                  <a:cubicBezTo>
                    <a:pt x="1289" y="1425"/>
                    <a:pt x="1288" y="1410"/>
                    <a:pt x="1288" y="1396"/>
                  </a:cubicBezTo>
                  <a:cubicBezTo>
                    <a:pt x="1288" y="1218"/>
                    <a:pt x="1288" y="1040"/>
                    <a:pt x="1288" y="862"/>
                  </a:cubicBezTo>
                  <a:cubicBezTo>
                    <a:pt x="1288" y="850"/>
                    <a:pt x="1288" y="839"/>
                    <a:pt x="1288" y="825"/>
                  </a:cubicBezTo>
                  <a:cubicBezTo>
                    <a:pt x="1303" y="825"/>
                    <a:pt x="1315" y="825"/>
                    <a:pt x="1331" y="825"/>
                  </a:cubicBezTo>
                  <a:cubicBezTo>
                    <a:pt x="1331" y="840"/>
                    <a:pt x="1331" y="854"/>
                    <a:pt x="1331" y="868"/>
                  </a:cubicBezTo>
                  <a:cubicBezTo>
                    <a:pt x="1331" y="1399"/>
                    <a:pt x="1331" y="1931"/>
                    <a:pt x="1332" y="2463"/>
                  </a:cubicBezTo>
                  <a:cubicBezTo>
                    <a:pt x="1332" y="2486"/>
                    <a:pt x="1332" y="2510"/>
                    <a:pt x="1337" y="2533"/>
                  </a:cubicBezTo>
                  <a:cubicBezTo>
                    <a:pt x="1346" y="2580"/>
                    <a:pt x="1383" y="2604"/>
                    <a:pt x="1423" y="2622"/>
                  </a:cubicBezTo>
                  <a:cubicBezTo>
                    <a:pt x="1445" y="2622"/>
                    <a:pt x="1466" y="2622"/>
                    <a:pt x="1487" y="2622"/>
                  </a:cubicBezTo>
                  <a:cubicBezTo>
                    <a:pt x="1561" y="2596"/>
                    <a:pt x="1586" y="2542"/>
                    <a:pt x="1585" y="2466"/>
                  </a:cubicBezTo>
                  <a:cubicBezTo>
                    <a:pt x="1583" y="2166"/>
                    <a:pt x="1584" y="1866"/>
                    <a:pt x="1584" y="1565"/>
                  </a:cubicBezTo>
                  <a:cubicBezTo>
                    <a:pt x="1584" y="1552"/>
                    <a:pt x="1584" y="1540"/>
                    <a:pt x="1584" y="1526"/>
                  </a:cubicBezTo>
                  <a:cubicBezTo>
                    <a:pt x="1600" y="1526"/>
                    <a:pt x="1612" y="1526"/>
                    <a:pt x="1628" y="1526"/>
                  </a:cubicBezTo>
                  <a:cubicBezTo>
                    <a:pt x="1628" y="1539"/>
                    <a:pt x="1628" y="1552"/>
                    <a:pt x="1628" y="1564"/>
                  </a:cubicBezTo>
                  <a:cubicBezTo>
                    <a:pt x="1628" y="1864"/>
                    <a:pt x="1629" y="2163"/>
                    <a:pt x="1627" y="2463"/>
                  </a:cubicBezTo>
                  <a:cubicBezTo>
                    <a:pt x="1626" y="2540"/>
                    <a:pt x="1649" y="2595"/>
                    <a:pt x="1724" y="2622"/>
                  </a:cubicBezTo>
                  <a:cubicBezTo>
                    <a:pt x="1745" y="2622"/>
                    <a:pt x="1767" y="2622"/>
                    <a:pt x="1788" y="2622"/>
                  </a:cubicBezTo>
                  <a:cubicBezTo>
                    <a:pt x="1862" y="2595"/>
                    <a:pt x="1884" y="2539"/>
                    <a:pt x="1884" y="2465"/>
                  </a:cubicBezTo>
                  <a:cubicBezTo>
                    <a:pt x="1882" y="1933"/>
                    <a:pt x="1883" y="1401"/>
                    <a:pt x="1883" y="870"/>
                  </a:cubicBezTo>
                  <a:cubicBezTo>
                    <a:pt x="1883" y="856"/>
                    <a:pt x="1883" y="842"/>
                    <a:pt x="1883" y="826"/>
                  </a:cubicBezTo>
                  <a:cubicBezTo>
                    <a:pt x="1897" y="826"/>
                    <a:pt x="1909" y="826"/>
                    <a:pt x="1924" y="826"/>
                  </a:cubicBezTo>
                  <a:cubicBezTo>
                    <a:pt x="1924" y="839"/>
                    <a:pt x="1924" y="852"/>
                    <a:pt x="1924" y="864"/>
                  </a:cubicBezTo>
                  <a:cubicBezTo>
                    <a:pt x="1924" y="1044"/>
                    <a:pt x="1924" y="1224"/>
                    <a:pt x="1925" y="1404"/>
                  </a:cubicBezTo>
                  <a:cubicBezTo>
                    <a:pt x="1925" y="1419"/>
                    <a:pt x="1925" y="1434"/>
                    <a:pt x="1927" y="1449"/>
                  </a:cubicBezTo>
                  <a:cubicBezTo>
                    <a:pt x="1935" y="1503"/>
                    <a:pt x="1973" y="1533"/>
                    <a:pt x="2027" y="1530"/>
                  </a:cubicBezTo>
                  <a:cubicBezTo>
                    <a:pt x="2079" y="1526"/>
                    <a:pt x="2113" y="1491"/>
                    <a:pt x="2114" y="1437"/>
                  </a:cubicBezTo>
                  <a:cubicBezTo>
                    <a:pt x="2114" y="1288"/>
                    <a:pt x="2114" y="1139"/>
                    <a:pt x="2114" y="990"/>
                  </a:cubicBezTo>
                  <a:cubicBezTo>
                    <a:pt x="2114" y="919"/>
                    <a:pt x="2114" y="847"/>
                    <a:pt x="2114" y="776"/>
                  </a:cubicBezTo>
                  <a:cubicBezTo>
                    <a:pt x="2113" y="607"/>
                    <a:pt x="1994" y="485"/>
                    <a:pt x="1825" y="482"/>
                  </a:cubicBezTo>
                  <a:cubicBezTo>
                    <a:pt x="1773" y="482"/>
                    <a:pt x="1720" y="481"/>
                    <a:pt x="1667" y="481"/>
                  </a:cubicBezTo>
                  <a:cubicBezTo>
                    <a:pt x="1667" y="506"/>
                    <a:pt x="1667" y="506"/>
                    <a:pt x="1667" y="506"/>
                  </a:cubicBezTo>
                  <a:cubicBezTo>
                    <a:pt x="1633" y="575"/>
                    <a:pt x="1633" y="575"/>
                    <a:pt x="1633" y="575"/>
                  </a:cubicBezTo>
                  <a:cubicBezTo>
                    <a:pt x="1628" y="589"/>
                    <a:pt x="1628" y="589"/>
                    <a:pt x="1628" y="589"/>
                  </a:cubicBezTo>
                  <a:cubicBezTo>
                    <a:pt x="1661" y="1146"/>
                    <a:pt x="1661" y="1146"/>
                    <a:pt x="1661" y="1146"/>
                  </a:cubicBezTo>
                  <a:cubicBezTo>
                    <a:pt x="1603" y="1210"/>
                    <a:pt x="1603" y="1210"/>
                    <a:pt x="1603" y="1210"/>
                  </a:cubicBezTo>
                  <a:cubicBezTo>
                    <a:pt x="1602" y="1209"/>
                    <a:pt x="1602" y="1209"/>
                    <a:pt x="1602" y="1209"/>
                  </a:cubicBezTo>
                  <a:cubicBezTo>
                    <a:pt x="1602" y="1210"/>
                    <a:pt x="1602" y="1210"/>
                    <a:pt x="1602" y="1210"/>
                  </a:cubicBezTo>
                  <a:cubicBezTo>
                    <a:pt x="1544" y="1146"/>
                    <a:pt x="1544" y="1146"/>
                    <a:pt x="1544" y="1146"/>
                  </a:cubicBezTo>
                  <a:cubicBezTo>
                    <a:pt x="1577" y="589"/>
                    <a:pt x="1577" y="589"/>
                    <a:pt x="1577" y="589"/>
                  </a:cubicBezTo>
                  <a:cubicBezTo>
                    <a:pt x="1571" y="575"/>
                    <a:pt x="1571" y="575"/>
                    <a:pt x="1571" y="575"/>
                  </a:cubicBezTo>
                  <a:cubicBezTo>
                    <a:pt x="1538" y="506"/>
                    <a:pt x="1538" y="506"/>
                    <a:pt x="1538" y="506"/>
                  </a:cubicBezTo>
                  <a:cubicBezTo>
                    <a:pt x="1538" y="481"/>
                    <a:pt x="1538" y="481"/>
                    <a:pt x="1538" y="481"/>
                  </a:cubicBezTo>
                  <a:cubicBezTo>
                    <a:pt x="1488" y="481"/>
                    <a:pt x="1438" y="481"/>
                    <a:pt x="1388" y="482"/>
                  </a:cubicBezTo>
                  <a:cubicBezTo>
                    <a:pt x="1239" y="483"/>
                    <a:pt x="1137" y="567"/>
                    <a:pt x="1102" y="711"/>
                  </a:cubicBezTo>
                  <a:cubicBezTo>
                    <a:pt x="1101" y="715"/>
                    <a:pt x="1099" y="719"/>
                    <a:pt x="1097" y="723"/>
                  </a:cubicBezTo>
                  <a:cubicBezTo>
                    <a:pt x="1097" y="970"/>
                    <a:pt x="1097" y="1217"/>
                    <a:pt x="1097" y="1465"/>
                  </a:cubicBezTo>
                  <a:cubicBezTo>
                    <a:pt x="1113" y="1492"/>
                    <a:pt x="1130" y="1518"/>
                    <a:pt x="1165" y="1526"/>
                  </a:cubicBezTo>
                  <a:close/>
                  <a:moveTo>
                    <a:pt x="1584" y="434"/>
                  </a:moveTo>
                  <a:cubicBezTo>
                    <a:pt x="1680" y="443"/>
                    <a:pt x="1770" y="389"/>
                    <a:pt x="1807" y="302"/>
                  </a:cubicBezTo>
                  <a:cubicBezTo>
                    <a:pt x="1845" y="212"/>
                    <a:pt x="1821" y="110"/>
                    <a:pt x="1742" y="49"/>
                  </a:cubicBezTo>
                  <a:cubicBezTo>
                    <a:pt x="1714" y="28"/>
                    <a:pt x="1679" y="16"/>
                    <a:pt x="1647" y="0"/>
                  </a:cubicBezTo>
                  <a:cubicBezTo>
                    <a:pt x="1619" y="0"/>
                    <a:pt x="1592" y="0"/>
                    <a:pt x="1564" y="0"/>
                  </a:cubicBezTo>
                  <a:cubicBezTo>
                    <a:pt x="1555" y="4"/>
                    <a:pt x="1546" y="9"/>
                    <a:pt x="1536" y="12"/>
                  </a:cubicBezTo>
                  <a:cubicBezTo>
                    <a:pt x="1434" y="46"/>
                    <a:pt x="1371" y="158"/>
                    <a:pt x="1393" y="261"/>
                  </a:cubicBezTo>
                  <a:cubicBezTo>
                    <a:pt x="1414" y="354"/>
                    <a:pt x="1493" y="425"/>
                    <a:pt x="1584" y="434"/>
                  </a:cubicBezTo>
                  <a:close/>
                  <a:moveTo>
                    <a:pt x="3129" y="2680"/>
                  </a:moveTo>
                  <a:cubicBezTo>
                    <a:pt x="82" y="2680"/>
                    <a:pt x="82" y="2680"/>
                    <a:pt x="82" y="2680"/>
                  </a:cubicBezTo>
                  <a:cubicBezTo>
                    <a:pt x="37" y="2680"/>
                    <a:pt x="0" y="2716"/>
                    <a:pt x="0" y="2762"/>
                  </a:cubicBezTo>
                  <a:cubicBezTo>
                    <a:pt x="0" y="3449"/>
                    <a:pt x="0" y="3449"/>
                    <a:pt x="0" y="3449"/>
                  </a:cubicBezTo>
                  <a:cubicBezTo>
                    <a:pt x="0" y="3494"/>
                    <a:pt x="37" y="3531"/>
                    <a:pt x="82" y="3531"/>
                  </a:cubicBezTo>
                  <a:cubicBezTo>
                    <a:pt x="127" y="3531"/>
                    <a:pt x="164" y="3494"/>
                    <a:pt x="164" y="3449"/>
                  </a:cubicBezTo>
                  <a:cubicBezTo>
                    <a:pt x="164" y="2844"/>
                    <a:pt x="164" y="2844"/>
                    <a:pt x="164" y="2844"/>
                  </a:cubicBezTo>
                  <a:cubicBezTo>
                    <a:pt x="3047" y="2844"/>
                    <a:pt x="3047" y="2844"/>
                    <a:pt x="3047" y="2844"/>
                  </a:cubicBezTo>
                  <a:cubicBezTo>
                    <a:pt x="3047" y="3449"/>
                    <a:pt x="3047" y="3449"/>
                    <a:pt x="3047" y="3449"/>
                  </a:cubicBezTo>
                  <a:cubicBezTo>
                    <a:pt x="3047" y="3494"/>
                    <a:pt x="3084" y="3531"/>
                    <a:pt x="3129" y="3531"/>
                  </a:cubicBezTo>
                  <a:cubicBezTo>
                    <a:pt x="3175" y="3531"/>
                    <a:pt x="3211" y="3494"/>
                    <a:pt x="3211" y="3449"/>
                  </a:cubicBezTo>
                  <a:cubicBezTo>
                    <a:pt x="3211" y="2762"/>
                    <a:pt x="3211" y="2762"/>
                    <a:pt x="3211" y="2762"/>
                  </a:cubicBezTo>
                  <a:cubicBezTo>
                    <a:pt x="3211" y="2716"/>
                    <a:pt x="3175" y="2680"/>
                    <a:pt x="3129" y="268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cxnSp>
        <p:nvCxnSpPr>
          <p:cNvPr id="74" name="Straight Connector 73"/>
          <p:cNvCxnSpPr/>
          <p:nvPr/>
        </p:nvCxnSpPr>
        <p:spPr>
          <a:xfrm flipV="1">
            <a:off x="1429280" y="2576279"/>
            <a:ext cx="0" cy="30789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flipV="1">
            <a:off x="2999846" y="2576279"/>
            <a:ext cx="0" cy="30789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 flipV="1">
            <a:off x="4570412" y="2576279"/>
            <a:ext cx="0" cy="30789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flipV="1">
            <a:off x="6140978" y="2576279"/>
            <a:ext cx="0" cy="30789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V="1">
            <a:off x="7711546" y="2576279"/>
            <a:ext cx="0" cy="30789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83"/>
          <p:cNvSpPr/>
          <p:nvPr/>
        </p:nvSpPr>
        <p:spPr>
          <a:xfrm>
            <a:off x="1391661" y="2947989"/>
            <a:ext cx="75238" cy="752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/>
          <p:cNvSpPr/>
          <p:nvPr/>
        </p:nvSpPr>
        <p:spPr>
          <a:xfrm>
            <a:off x="2962227" y="2947989"/>
            <a:ext cx="75238" cy="752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/>
          <p:cNvSpPr/>
          <p:nvPr/>
        </p:nvSpPr>
        <p:spPr>
          <a:xfrm>
            <a:off x="4532793" y="2947989"/>
            <a:ext cx="75238" cy="752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Oval 86"/>
          <p:cNvSpPr/>
          <p:nvPr/>
        </p:nvSpPr>
        <p:spPr>
          <a:xfrm>
            <a:off x="6103359" y="2947989"/>
            <a:ext cx="75238" cy="752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Oval 87"/>
          <p:cNvSpPr/>
          <p:nvPr/>
        </p:nvSpPr>
        <p:spPr>
          <a:xfrm>
            <a:off x="7673927" y="2947989"/>
            <a:ext cx="75238" cy="752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162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process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6"/>
          <p:cNvSpPr>
            <a:spLocks/>
          </p:cNvSpPr>
          <p:nvPr/>
        </p:nvSpPr>
        <p:spPr bwMode="auto">
          <a:xfrm rot="10800000">
            <a:off x="659606" y="1717287"/>
            <a:ext cx="1956557" cy="120056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76200" cap="rnd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6"/>
          <p:cNvSpPr>
            <a:spLocks/>
          </p:cNvSpPr>
          <p:nvPr/>
        </p:nvSpPr>
        <p:spPr bwMode="auto">
          <a:xfrm>
            <a:off x="2616163" y="2917849"/>
            <a:ext cx="1956557" cy="120056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76200" cap="rnd">
            <a:solidFill>
              <a:srgbClr val="EC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 rot="10800000">
            <a:off x="4572720" y="1717287"/>
            <a:ext cx="1956557" cy="120056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76200" cap="rnd">
            <a:solidFill>
              <a:schemeClr val="accent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6529277" y="2917849"/>
            <a:ext cx="1956557" cy="120056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76200" cap="rnd">
            <a:solidFill>
              <a:schemeClr val="accent4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9" name="Group 8"/>
          <p:cNvGrpSpPr/>
          <p:nvPr/>
        </p:nvGrpSpPr>
        <p:grpSpPr>
          <a:xfrm>
            <a:off x="992098" y="2809145"/>
            <a:ext cx="1291574" cy="672447"/>
            <a:chOff x="992098" y="2809145"/>
            <a:chExt cx="1291574" cy="672447"/>
          </a:xfrm>
        </p:grpSpPr>
        <p:sp>
          <p:nvSpPr>
            <p:cNvPr id="38" name="TextBox 37"/>
            <p:cNvSpPr txBox="1"/>
            <p:nvPr/>
          </p:nvSpPr>
          <p:spPr>
            <a:xfrm>
              <a:off x="992098" y="3019606"/>
              <a:ext cx="1291574" cy="4619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992098" y="2809145"/>
              <a:ext cx="1291574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esquisa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948654" y="2809145"/>
            <a:ext cx="1291574" cy="690592"/>
            <a:chOff x="2948654" y="2809145"/>
            <a:chExt cx="1291574" cy="690592"/>
          </a:xfrm>
        </p:grpSpPr>
        <p:sp>
          <p:nvSpPr>
            <p:cNvPr id="40" name="TextBox 39"/>
            <p:cNvSpPr txBox="1"/>
            <p:nvPr/>
          </p:nvSpPr>
          <p:spPr>
            <a:xfrm>
              <a:off x="2948654" y="3019606"/>
              <a:ext cx="1291574" cy="4801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948654" y="2809145"/>
              <a:ext cx="1291574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produçã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905211" y="2809145"/>
            <a:ext cx="1291574" cy="672447"/>
            <a:chOff x="4905211" y="2809145"/>
            <a:chExt cx="1291574" cy="672447"/>
          </a:xfrm>
        </p:grpSpPr>
        <p:sp>
          <p:nvSpPr>
            <p:cNvPr id="42" name="TextBox 41"/>
            <p:cNvSpPr txBox="1"/>
            <p:nvPr/>
          </p:nvSpPr>
          <p:spPr>
            <a:xfrm>
              <a:off x="4905211" y="3019606"/>
              <a:ext cx="1291574" cy="4619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905211" y="2809145"/>
              <a:ext cx="1291574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vendas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861768" y="2809145"/>
            <a:ext cx="1291574" cy="672447"/>
            <a:chOff x="6861768" y="2809145"/>
            <a:chExt cx="1291574" cy="672447"/>
          </a:xfrm>
        </p:grpSpPr>
        <p:sp>
          <p:nvSpPr>
            <p:cNvPr id="44" name="TextBox 43"/>
            <p:cNvSpPr txBox="1"/>
            <p:nvPr/>
          </p:nvSpPr>
          <p:spPr>
            <a:xfrm>
              <a:off x="6861768" y="3019606"/>
              <a:ext cx="1291574" cy="4619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861768" y="2809145"/>
              <a:ext cx="1291574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cresciment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cs typeface="Poppins SemiBold" panose="02000000000000000000" pitchFamily="2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439664" y="3962975"/>
            <a:ext cx="309556" cy="309554"/>
            <a:chOff x="3439664" y="3962975"/>
            <a:chExt cx="309556" cy="309554"/>
          </a:xfrm>
        </p:grpSpPr>
        <p:sp>
          <p:nvSpPr>
            <p:cNvPr id="48" name="Oval 47"/>
            <p:cNvSpPr/>
            <p:nvPr/>
          </p:nvSpPr>
          <p:spPr>
            <a:xfrm>
              <a:off x="3439664" y="3962975"/>
              <a:ext cx="309556" cy="30955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E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3495299" y="4028878"/>
              <a:ext cx="198284" cy="1658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cap="all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02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352778" y="3962975"/>
            <a:ext cx="309556" cy="309554"/>
            <a:chOff x="7352778" y="3962975"/>
            <a:chExt cx="309556" cy="309554"/>
          </a:xfrm>
        </p:grpSpPr>
        <p:sp>
          <p:nvSpPr>
            <p:cNvPr id="50" name="Oval 49"/>
            <p:cNvSpPr/>
            <p:nvPr/>
          </p:nvSpPr>
          <p:spPr>
            <a:xfrm>
              <a:off x="7352778" y="3962975"/>
              <a:ext cx="309556" cy="30955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7408413" y="4028878"/>
              <a:ext cx="198284" cy="1658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cap="all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04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483107" y="1559175"/>
            <a:ext cx="309556" cy="309554"/>
            <a:chOff x="1483107" y="1559175"/>
            <a:chExt cx="309556" cy="309554"/>
          </a:xfrm>
        </p:grpSpPr>
        <p:sp>
          <p:nvSpPr>
            <p:cNvPr id="46" name="Oval 45"/>
            <p:cNvSpPr/>
            <p:nvPr/>
          </p:nvSpPr>
          <p:spPr>
            <a:xfrm>
              <a:off x="1483107" y="1559175"/>
              <a:ext cx="309556" cy="30955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538743" y="1625078"/>
              <a:ext cx="198284" cy="1658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cap="all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01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396221" y="1559175"/>
            <a:ext cx="309556" cy="309554"/>
            <a:chOff x="5396221" y="1559175"/>
            <a:chExt cx="309556" cy="309554"/>
          </a:xfrm>
        </p:grpSpPr>
        <p:sp>
          <p:nvSpPr>
            <p:cNvPr id="52" name="Oval 51"/>
            <p:cNvSpPr/>
            <p:nvPr/>
          </p:nvSpPr>
          <p:spPr>
            <a:xfrm>
              <a:off x="5396221" y="1559175"/>
              <a:ext cx="309556" cy="309554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5451856" y="1625078"/>
              <a:ext cx="198284" cy="16581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cap="all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03</a:t>
              </a:r>
            </a:p>
          </p:txBody>
        </p:sp>
      </p:grpSp>
      <p:sp>
        <p:nvSpPr>
          <p:cNvPr id="57" name="Freeform 7"/>
          <p:cNvSpPr>
            <a:spLocks noEditPoints="1"/>
          </p:cNvSpPr>
          <p:nvPr/>
        </p:nvSpPr>
        <p:spPr bwMode="auto">
          <a:xfrm>
            <a:off x="1417567" y="2157218"/>
            <a:ext cx="440636" cy="452757"/>
          </a:xfrm>
          <a:custGeom>
            <a:avLst/>
            <a:gdLst>
              <a:gd name="T0" fmla="*/ 381 w 1170"/>
              <a:gd name="T1" fmla="*/ 493 h 1199"/>
              <a:gd name="T2" fmla="*/ 582 w 1170"/>
              <a:gd name="T3" fmla="*/ 417 h 1199"/>
              <a:gd name="T4" fmla="*/ 343 w 1170"/>
              <a:gd name="T5" fmla="*/ 632 h 1199"/>
              <a:gd name="T6" fmla="*/ 618 w 1170"/>
              <a:gd name="T7" fmla="*/ 356 h 1199"/>
              <a:gd name="T8" fmla="*/ 343 w 1170"/>
              <a:gd name="T9" fmla="*/ 632 h 1199"/>
              <a:gd name="T10" fmla="*/ 595 w 1170"/>
              <a:gd name="T11" fmla="*/ 609 h 1199"/>
              <a:gd name="T12" fmla="*/ 480 w 1170"/>
              <a:gd name="T13" fmla="*/ 331 h 1199"/>
              <a:gd name="T14" fmla="*/ 107 w 1170"/>
              <a:gd name="T15" fmla="*/ 953 h 1199"/>
              <a:gd name="T16" fmla="*/ 22 w 1170"/>
              <a:gd name="T17" fmla="*/ 948 h 1199"/>
              <a:gd name="T18" fmla="*/ 262 w 1170"/>
              <a:gd name="T19" fmla="*/ 591 h 1199"/>
              <a:gd name="T20" fmla="*/ 649 w 1170"/>
              <a:gd name="T21" fmla="*/ 663 h 1199"/>
              <a:gd name="T22" fmla="*/ 361 w 1170"/>
              <a:gd name="T23" fmla="*/ 735 h 1199"/>
              <a:gd name="T24" fmla="*/ 351 w 1170"/>
              <a:gd name="T25" fmla="*/ 695 h 1199"/>
              <a:gd name="T26" fmla="*/ 295 w 1170"/>
              <a:gd name="T27" fmla="*/ 645 h 1199"/>
              <a:gd name="T28" fmla="*/ 263 w 1170"/>
              <a:gd name="T29" fmla="*/ 634 h 1199"/>
              <a:gd name="T30" fmla="*/ 295 w 1170"/>
              <a:gd name="T31" fmla="*/ 587 h 1199"/>
              <a:gd name="T32" fmla="*/ 333 w 1170"/>
              <a:gd name="T33" fmla="*/ 641 h 1199"/>
              <a:gd name="T34" fmla="*/ 627 w 1170"/>
              <a:gd name="T35" fmla="*/ 347 h 1199"/>
              <a:gd name="T36" fmla="*/ 300 w 1170"/>
              <a:gd name="T37" fmla="*/ 715 h 1199"/>
              <a:gd name="T38" fmla="*/ 49 w 1170"/>
              <a:gd name="T39" fmla="*/ 931 h 1199"/>
              <a:gd name="T40" fmla="*/ 1170 w 1170"/>
              <a:gd name="T41" fmla="*/ 1144 h 1199"/>
              <a:gd name="T42" fmla="*/ 382 w 1170"/>
              <a:gd name="T43" fmla="*/ 1123 h 1199"/>
              <a:gd name="T44" fmla="*/ 301 w 1170"/>
              <a:gd name="T45" fmla="*/ 798 h 1199"/>
              <a:gd name="T46" fmla="*/ 398 w 1170"/>
              <a:gd name="T47" fmla="*/ 1091 h 1199"/>
              <a:gd name="T48" fmla="*/ 1061 w 1170"/>
              <a:gd name="T49" fmla="*/ 112 h 1199"/>
              <a:gd name="T50" fmla="*/ 934 w 1170"/>
              <a:gd name="T51" fmla="*/ 131 h 1199"/>
              <a:gd name="T52" fmla="*/ 865 w 1170"/>
              <a:gd name="T53" fmla="*/ 115 h 1199"/>
              <a:gd name="T54" fmla="*/ 781 w 1170"/>
              <a:gd name="T55" fmla="*/ 88 h 1199"/>
              <a:gd name="T56" fmla="*/ 749 w 1170"/>
              <a:gd name="T57" fmla="*/ 88 h 1199"/>
              <a:gd name="T58" fmla="*/ 665 w 1170"/>
              <a:gd name="T59" fmla="*/ 115 h 1199"/>
              <a:gd name="T60" fmla="*/ 596 w 1170"/>
              <a:gd name="T61" fmla="*/ 131 h 1199"/>
              <a:gd name="T62" fmla="*/ 528 w 1170"/>
              <a:gd name="T63" fmla="*/ 115 h 1199"/>
              <a:gd name="T64" fmla="*/ 443 w 1170"/>
              <a:gd name="T65" fmla="*/ 88 h 1199"/>
              <a:gd name="T66" fmla="*/ 412 w 1170"/>
              <a:gd name="T67" fmla="*/ 88 h 1199"/>
              <a:gd name="T68" fmla="*/ 301 w 1170"/>
              <a:gd name="T69" fmla="*/ 287 h 1199"/>
              <a:gd name="T70" fmla="*/ 412 w 1170"/>
              <a:gd name="T71" fmla="*/ 56 h 1199"/>
              <a:gd name="T72" fmla="*/ 443 w 1170"/>
              <a:gd name="T73" fmla="*/ 56 h 1199"/>
              <a:gd name="T74" fmla="*/ 528 w 1170"/>
              <a:gd name="T75" fmla="*/ 16 h 1199"/>
              <a:gd name="T76" fmla="*/ 596 w 1170"/>
              <a:gd name="T77" fmla="*/ 0 h 1199"/>
              <a:gd name="T78" fmla="*/ 665 w 1170"/>
              <a:gd name="T79" fmla="*/ 16 h 1199"/>
              <a:gd name="T80" fmla="*/ 749 w 1170"/>
              <a:gd name="T81" fmla="*/ 56 h 1199"/>
              <a:gd name="T82" fmla="*/ 781 w 1170"/>
              <a:gd name="T83" fmla="*/ 56 h 1199"/>
              <a:gd name="T84" fmla="*/ 865 w 1170"/>
              <a:gd name="T85" fmla="*/ 16 h 1199"/>
              <a:gd name="T86" fmla="*/ 934 w 1170"/>
              <a:gd name="T87" fmla="*/ 0 h 1199"/>
              <a:gd name="T88" fmla="*/ 1093 w 1170"/>
              <a:gd name="T89" fmla="*/ 112 h 1199"/>
              <a:gd name="T90" fmla="*/ 1138 w 1170"/>
              <a:gd name="T91" fmla="*/ 208 h 1199"/>
              <a:gd name="T92" fmla="*/ 1037 w 1170"/>
              <a:gd name="T93" fmla="*/ 1123 h 1199"/>
              <a:gd name="T94" fmla="*/ 1114 w 1170"/>
              <a:gd name="T95" fmla="*/ 1168 h 1199"/>
              <a:gd name="T96" fmla="*/ 852 w 1170"/>
              <a:gd name="T97" fmla="*/ 696 h 1199"/>
              <a:gd name="T98" fmla="*/ 734 w 1170"/>
              <a:gd name="T99" fmla="*/ 1025 h 1199"/>
              <a:gd name="T100" fmla="*/ 820 w 1170"/>
              <a:gd name="T101" fmla="*/ 712 h 1199"/>
              <a:gd name="T102" fmla="*/ 820 w 1170"/>
              <a:gd name="T103" fmla="*/ 712 h 1199"/>
              <a:gd name="T104" fmla="*/ 692 w 1170"/>
              <a:gd name="T105" fmla="*/ 1040 h 1199"/>
              <a:gd name="T106" fmla="*/ 606 w 1170"/>
              <a:gd name="T107" fmla="*/ 779 h 1199"/>
              <a:gd name="T108" fmla="*/ 622 w 1170"/>
              <a:gd name="T109" fmla="*/ 1009 h 1199"/>
              <a:gd name="T110" fmla="*/ 995 w 1170"/>
              <a:gd name="T111" fmla="*/ 617 h 1199"/>
              <a:gd name="T112" fmla="*/ 878 w 1170"/>
              <a:gd name="T113" fmla="*/ 1025 h 1199"/>
              <a:gd name="T114" fmla="*/ 964 w 1170"/>
              <a:gd name="T115" fmla="*/ 633 h 1199"/>
              <a:gd name="T116" fmla="*/ 964 w 1170"/>
              <a:gd name="T117" fmla="*/ 633 h 1199"/>
              <a:gd name="T118" fmla="*/ 919 w 1170"/>
              <a:gd name="T119" fmla="*/ 377 h 1199"/>
              <a:gd name="T120" fmla="*/ 870 w 1170"/>
              <a:gd name="T121" fmla="*/ 458 h 1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170" h="1199">
                <a:moveTo>
                  <a:pt x="441" y="574"/>
                </a:moveTo>
                <a:cubicBezTo>
                  <a:pt x="363" y="519"/>
                  <a:pt x="363" y="519"/>
                  <a:pt x="363" y="519"/>
                </a:cubicBezTo>
                <a:cubicBezTo>
                  <a:pt x="356" y="514"/>
                  <a:pt x="354" y="504"/>
                  <a:pt x="359" y="497"/>
                </a:cubicBezTo>
                <a:cubicBezTo>
                  <a:pt x="364" y="490"/>
                  <a:pt x="374" y="488"/>
                  <a:pt x="381" y="493"/>
                </a:cubicBezTo>
                <a:cubicBezTo>
                  <a:pt x="447" y="540"/>
                  <a:pt x="447" y="540"/>
                  <a:pt x="447" y="540"/>
                </a:cubicBezTo>
                <a:cubicBezTo>
                  <a:pt x="557" y="397"/>
                  <a:pt x="557" y="397"/>
                  <a:pt x="557" y="397"/>
                </a:cubicBezTo>
                <a:cubicBezTo>
                  <a:pt x="562" y="390"/>
                  <a:pt x="572" y="389"/>
                  <a:pt x="579" y="395"/>
                </a:cubicBezTo>
                <a:cubicBezTo>
                  <a:pt x="586" y="400"/>
                  <a:pt x="587" y="410"/>
                  <a:pt x="582" y="417"/>
                </a:cubicBezTo>
                <a:cubicBezTo>
                  <a:pt x="462" y="571"/>
                  <a:pt x="462" y="571"/>
                  <a:pt x="462" y="571"/>
                </a:cubicBezTo>
                <a:cubicBezTo>
                  <a:pt x="459" y="575"/>
                  <a:pt x="455" y="577"/>
                  <a:pt x="450" y="577"/>
                </a:cubicBezTo>
                <a:cubicBezTo>
                  <a:pt x="447" y="577"/>
                  <a:pt x="444" y="576"/>
                  <a:pt x="441" y="574"/>
                </a:cubicBezTo>
                <a:close/>
                <a:moveTo>
                  <a:pt x="343" y="632"/>
                </a:moveTo>
                <a:cubicBezTo>
                  <a:pt x="306" y="595"/>
                  <a:pt x="286" y="546"/>
                  <a:pt x="286" y="494"/>
                </a:cubicBezTo>
                <a:cubicBezTo>
                  <a:pt x="286" y="442"/>
                  <a:pt x="306" y="393"/>
                  <a:pt x="343" y="356"/>
                </a:cubicBezTo>
                <a:cubicBezTo>
                  <a:pt x="379" y="320"/>
                  <a:pt x="428" y="299"/>
                  <a:pt x="480" y="299"/>
                </a:cubicBezTo>
                <a:cubicBezTo>
                  <a:pt x="532" y="299"/>
                  <a:pt x="581" y="320"/>
                  <a:pt x="618" y="356"/>
                </a:cubicBezTo>
                <a:cubicBezTo>
                  <a:pt x="655" y="393"/>
                  <a:pt x="675" y="442"/>
                  <a:pt x="675" y="494"/>
                </a:cubicBezTo>
                <a:cubicBezTo>
                  <a:pt x="675" y="546"/>
                  <a:pt x="655" y="595"/>
                  <a:pt x="618" y="632"/>
                </a:cubicBezTo>
                <a:cubicBezTo>
                  <a:pt x="581" y="668"/>
                  <a:pt x="532" y="689"/>
                  <a:pt x="480" y="689"/>
                </a:cubicBezTo>
                <a:cubicBezTo>
                  <a:pt x="428" y="689"/>
                  <a:pt x="379" y="668"/>
                  <a:pt x="343" y="632"/>
                </a:cubicBezTo>
                <a:close/>
                <a:moveTo>
                  <a:pt x="317" y="494"/>
                </a:moveTo>
                <a:cubicBezTo>
                  <a:pt x="317" y="538"/>
                  <a:pt x="334" y="578"/>
                  <a:pt x="365" y="609"/>
                </a:cubicBezTo>
                <a:cubicBezTo>
                  <a:pt x="396" y="640"/>
                  <a:pt x="437" y="657"/>
                  <a:pt x="480" y="657"/>
                </a:cubicBezTo>
                <a:cubicBezTo>
                  <a:pt x="524" y="657"/>
                  <a:pt x="565" y="640"/>
                  <a:pt x="595" y="609"/>
                </a:cubicBezTo>
                <a:cubicBezTo>
                  <a:pt x="595" y="609"/>
                  <a:pt x="595" y="609"/>
                  <a:pt x="595" y="609"/>
                </a:cubicBezTo>
                <a:cubicBezTo>
                  <a:pt x="626" y="578"/>
                  <a:pt x="643" y="538"/>
                  <a:pt x="643" y="494"/>
                </a:cubicBezTo>
                <a:cubicBezTo>
                  <a:pt x="643" y="450"/>
                  <a:pt x="626" y="410"/>
                  <a:pt x="595" y="379"/>
                </a:cubicBezTo>
                <a:cubicBezTo>
                  <a:pt x="565" y="348"/>
                  <a:pt x="524" y="331"/>
                  <a:pt x="480" y="331"/>
                </a:cubicBezTo>
                <a:cubicBezTo>
                  <a:pt x="437" y="331"/>
                  <a:pt x="396" y="348"/>
                  <a:pt x="365" y="379"/>
                </a:cubicBezTo>
                <a:cubicBezTo>
                  <a:pt x="334" y="410"/>
                  <a:pt x="317" y="450"/>
                  <a:pt x="317" y="494"/>
                </a:cubicBezTo>
                <a:close/>
                <a:moveTo>
                  <a:pt x="322" y="737"/>
                </a:moveTo>
                <a:cubicBezTo>
                  <a:pt x="107" y="953"/>
                  <a:pt x="107" y="953"/>
                  <a:pt x="107" y="953"/>
                </a:cubicBezTo>
                <a:cubicBezTo>
                  <a:pt x="96" y="964"/>
                  <a:pt x="82" y="970"/>
                  <a:pt x="67" y="970"/>
                </a:cubicBezTo>
                <a:cubicBezTo>
                  <a:pt x="52" y="970"/>
                  <a:pt x="38" y="964"/>
                  <a:pt x="27" y="953"/>
                </a:cubicBezTo>
                <a:cubicBezTo>
                  <a:pt x="27" y="953"/>
                  <a:pt x="27" y="953"/>
                  <a:pt x="27" y="953"/>
                </a:cubicBezTo>
                <a:cubicBezTo>
                  <a:pt x="22" y="948"/>
                  <a:pt x="22" y="948"/>
                  <a:pt x="22" y="948"/>
                </a:cubicBezTo>
                <a:cubicBezTo>
                  <a:pt x="0" y="926"/>
                  <a:pt x="0" y="890"/>
                  <a:pt x="22" y="868"/>
                </a:cubicBezTo>
                <a:cubicBezTo>
                  <a:pt x="237" y="652"/>
                  <a:pt x="237" y="652"/>
                  <a:pt x="237" y="652"/>
                </a:cubicBezTo>
                <a:cubicBezTo>
                  <a:pt x="228" y="640"/>
                  <a:pt x="229" y="624"/>
                  <a:pt x="239" y="613"/>
                </a:cubicBezTo>
                <a:cubicBezTo>
                  <a:pt x="262" y="591"/>
                  <a:pt x="262" y="591"/>
                  <a:pt x="262" y="591"/>
                </a:cubicBezTo>
                <a:cubicBezTo>
                  <a:pt x="260" y="588"/>
                  <a:pt x="259" y="585"/>
                  <a:pt x="258" y="582"/>
                </a:cubicBezTo>
                <a:cubicBezTo>
                  <a:pt x="223" y="493"/>
                  <a:pt x="244" y="392"/>
                  <a:pt x="311" y="325"/>
                </a:cubicBezTo>
                <a:cubicBezTo>
                  <a:pt x="404" y="232"/>
                  <a:pt x="556" y="232"/>
                  <a:pt x="649" y="325"/>
                </a:cubicBezTo>
                <a:cubicBezTo>
                  <a:pt x="743" y="418"/>
                  <a:pt x="743" y="570"/>
                  <a:pt x="649" y="663"/>
                </a:cubicBezTo>
                <a:cubicBezTo>
                  <a:pt x="604" y="709"/>
                  <a:pt x="543" y="733"/>
                  <a:pt x="480" y="733"/>
                </a:cubicBezTo>
                <a:cubicBezTo>
                  <a:pt x="451" y="733"/>
                  <a:pt x="421" y="728"/>
                  <a:pt x="392" y="716"/>
                </a:cubicBezTo>
                <a:cubicBezTo>
                  <a:pt x="389" y="715"/>
                  <a:pt x="386" y="714"/>
                  <a:pt x="383" y="712"/>
                </a:cubicBezTo>
                <a:cubicBezTo>
                  <a:pt x="361" y="735"/>
                  <a:pt x="361" y="735"/>
                  <a:pt x="361" y="735"/>
                </a:cubicBezTo>
                <a:cubicBezTo>
                  <a:pt x="355" y="740"/>
                  <a:pt x="348" y="743"/>
                  <a:pt x="340" y="743"/>
                </a:cubicBezTo>
                <a:cubicBezTo>
                  <a:pt x="334" y="743"/>
                  <a:pt x="328" y="741"/>
                  <a:pt x="322" y="737"/>
                </a:cubicBezTo>
                <a:close/>
                <a:moveTo>
                  <a:pt x="354" y="697"/>
                </a:moveTo>
                <a:cubicBezTo>
                  <a:pt x="353" y="696"/>
                  <a:pt x="352" y="696"/>
                  <a:pt x="351" y="695"/>
                </a:cubicBezTo>
                <a:cubicBezTo>
                  <a:pt x="345" y="691"/>
                  <a:pt x="340" y="688"/>
                  <a:pt x="334" y="683"/>
                </a:cubicBezTo>
                <a:cubicBezTo>
                  <a:pt x="333" y="682"/>
                  <a:pt x="331" y="681"/>
                  <a:pt x="329" y="679"/>
                </a:cubicBezTo>
                <a:cubicBezTo>
                  <a:pt x="323" y="674"/>
                  <a:pt x="317" y="669"/>
                  <a:pt x="311" y="663"/>
                </a:cubicBezTo>
                <a:cubicBezTo>
                  <a:pt x="305" y="657"/>
                  <a:pt x="300" y="651"/>
                  <a:pt x="295" y="645"/>
                </a:cubicBezTo>
                <a:cubicBezTo>
                  <a:pt x="293" y="643"/>
                  <a:pt x="292" y="641"/>
                  <a:pt x="291" y="640"/>
                </a:cubicBezTo>
                <a:cubicBezTo>
                  <a:pt x="286" y="634"/>
                  <a:pt x="282" y="628"/>
                  <a:pt x="279" y="623"/>
                </a:cubicBezTo>
                <a:cubicBezTo>
                  <a:pt x="278" y="622"/>
                  <a:pt x="277" y="621"/>
                  <a:pt x="277" y="620"/>
                </a:cubicBezTo>
                <a:cubicBezTo>
                  <a:pt x="263" y="634"/>
                  <a:pt x="263" y="634"/>
                  <a:pt x="263" y="634"/>
                </a:cubicBezTo>
                <a:cubicBezTo>
                  <a:pt x="340" y="711"/>
                  <a:pt x="340" y="711"/>
                  <a:pt x="340" y="711"/>
                </a:cubicBezTo>
                <a:lnTo>
                  <a:pt x="354" y="697"/>
                </a:lnTo>
                <a:close/>
                <a:moveTo>
                  <a:pt x="287" y="570"/>
                </a:moveTo>
                <a:cubicBezTo>
                  <a:pt x="289" y="576"/>
                  <a:pt x="292" y="581"/>
                  <a:pt x="295" y="587"/>
                </a:cubicBezTo>
                <a:cubicBezTo>
                  <a:pt x="295" y="587"/>
                  <a:pt x="295" y="587"/>
                  <a:pt x="295" y="587"/>
                </a:cubicBezTo>
                <a:cubicBezTo>
                  <a:pt x="297" y="592"/>
                  <a:pt x="300" y="597"/>
                  <a:pt x="303" y="602"/>
                </a:cubicBezTo>
                <a:cubicBezTo>
                  <a:pt x="308" y="610"/>
                  <a:pt x="314" y="618"/>
                  <a:pt x="320" y="626"/>
                </a:cubicBezTo>
                <a:cubicBezTo>
                  <a:pt x="324" y="631"/>
                  <a:pt x="329" y="636"/>
                  <a:pt x="333" y="641"/>
                </a:cubicBezTo>
                <a:cubicBezTo>
                  <a:pt x="349" y="656"/>
                  <a:pt x="367" y="669"/>
                  <a:pt x="387" y="679"/>
                </a:cubicBezTo>
                <a:cubicBezTo>
                  <a:pt x="392" y="682"/>
                  <a:pt x="398" y="685"/>
                  <a:pt x="404" y="687"/>
                </a:cubicBezTo>
                <a:cubicBezTo>
                  <a:pt x="481" y="718"/>
                  <a:pt x="568" y="699"/>
                  <a:pt x="627" y="641"/>
                </a:cubicBezTo>
                <a:cubicBezTo>
                  <a:pt x="708" y="560"/>
                  <a:pt x="708" y="428"/>
                  <a:pt x="627" y="347"/>
                </a:cubicBezTo>
                <a:cubicBezTo>
                  <a:pt x="586" y="307"/>
                  <a:pt x="533" y="287"/>
                  <a:pt x="480" y="287"/>
                </a:cubicBezTo>
                <a:cubicBezTo>
                  <a:pt x="427" y="287"/>
                  <a:pt x="374" y="307"/>
                  <a:pt x="333" y="347"/>
                </a:cubicBezTo>
                <a:cubicBezTo>
                  <a:pt x="275" y="406"/>
                  <a:pt x="257" y="493"/>
                  <a:pt x="287" y="570"/>
                </a:cubicBezTo>
                <a:close/>
                <a:moveTo>
                  <a:pt x="300" y="715"/>
                </a:moveTo>
                <a:cubicBezTo>
                  <a:pt x="259" y="674"/>
                  <a:pt x="259" y="674"/>
                  <a:pt x="259" y="674"/>
                </a:cubicBezTo>
                <a:cubicBezTo>
                  <a:pt x="44" y="890"/>
                  <a:pt x="44" y="890"/>
                  <a:pt x="44" y="890"/>
                </a:cubicBezTo>
                <a:cubicBezTo>
                  <a:pt x="34" y="900"/>
                  <a:pt x="34" y="916"/>
                  <a:pt x="44" y="926"/>
                </a:cubicBezTo>
                <a:cubicBezTo>
                  <a:pt x="49" y="931"/>
                  <a:pt x="49" y="931"/>
                  <a:pt x="49" y="931"/>
                </a:cubicBezTo>
                <a:cubicBezTo>
                  <a:pt x="59" y="940"/>
                  <a:pt x="75" y="940"/>
                  <a:pt x="85" y="931"/>
                </a:cubicBezTo>
                <a:lnTo>
                  <a:pt x="300" y="715"/>
                </a:lnTo>
                <a:close/>
                <a:moveTo>
                  <a:pt x="1170" y="208"/>
                </a:moveTo>
                <a:cubicBezTo>
                  <a:pt x="1170" y="1144"/>
                  <a:pt x="1170" y="1144"/>
                  <a:pt x="1170" y="1144"/>
                </a:cubicBezTo>
                <a:cubicBezTo>
                  <a:pt x="1170" y="1175"/>
                  <a:pt x="1145" y="1199"/>
                  <a:pt x="1114" y="1199"/>
                </a:cubicBezTo>
                <a:cubicBezTo>
                  <a:pt x="437" y="1199"/>
                  <a:pt x="437" y="1199"/>
                  <a:pt x="437" y="1199"/>
                </a:cubicBezTo>
                <a:cubicBezTo>
                  <a:pt x="407" y="1199"/>
                  <a:pt x="382" y="1175"/>
                  <a:pt x="382" y="1144"/>
                </a:cubicBezTo>
                <a:cubicBezTo>
                  <a:pt x="382" y="1123"/>
                  <a:pt x="382" y="1123"/>
                  <a:pt x="382" y="1123"/>
                </a:cubicBezTo>
                <a:cubicBezTo>
                  <a:pt x="340" y="1123"/>
                  <a:pt x="340" y="1123"/>
                  <a:pt x="340" y="1123"/>
                </a:cubicBezTo>
                <a:cubicBezTo>
                  <a:pt x="310" y="1123"/>
                  <a:pt x="285" y="1098"/>
                  <a:pt x="285" y="1068"/>
                </a:cubicBezTo>
                <a:cubicBezTo>
                  <a:pt x="285" y="814"/>
                  <a:pt x="285" y="814"/>
                  <a:pt x="285" y="814"/>
                </a:cubicBezTo>
                <a:cubicBezTo>
                  <a:pt x="285" y="805"/>
                  <a:pt x="292" y="798"/>
                  <a:pt x="301" y="798"/>
                </a:cubicBezTo>
                <a:cubicBezTo>
                  <a:pt x="309" y="798"/>
                  <a:pt x="316" y="805"/>
                  <a:pt x="316" y="814"/>
                </a:cubicBezTo>
                <a:cubicBezTo>
                  <a:pt x="316" y="1068"/>
                  <a:pt x="316" y="1068"/>
                  <a:pt x="316" y="1068"/>
                </a:cubicBezTo>
                <a:cubicBezTo>
                  <a:pt x="316" y="1081"/>
                  <a:pt x="327" y="1091"/>
                  <a:pt x="340" y="1091"/>
                </a:cubicBezTo>
                <a:cubicBezTo>
                  <a:pt x="398" y="1091"/>
                  <a:pt x="398" y="1091"/>
                  <a:pt x="398" y="1091"/>
                </a:cubicBezTo>
                <a:cubicBezTo>
                  <a:pt x="1037" y="1091"/>
                  <a:pt x="1037" y="1091"/>
                  <a:pt x="1037" y="1091"/>
                </a:cubicBezTo>
                <a:cubicBezTo>
                  <a:pt x="1051" y="1091"/>
                  <a:pt x="1061" y="1081"/>
                  <a:pt x="1061" y="1068"/>
                </a:cubicBezTo>
                <a:cubicBezTo>
                  <a:pt x="1061" y="168"/>
                  <a:pt x="1061" y="168"/>
                  <a:pt x="1061" y="168"/>
                </a:cubicBezTo>
                <a:cubicBezTo>
                  <a:pt x="1061" y="112"/>
                  <a:pt x="1061" y="112"/>
                  <a:pt x="1061" y="112"/>
                </a:cubicBezTo>
                <a:cubicBezTo>
                  <a:pt x="1061" y="98"/>
                  <a:pt x="1051" y="88"/>
                  <a:pt x="1037" y="88"/>
                </a:cubicBezTo>
                <a:cubicBezTo>
                  <a:pt x="950" y="88"/>
                  <a:pt x="950" y="88"/>
                  <a:pt x="950" y="88"/>
                </a:cubicBezTo>
                <a:cubicBezTo>
                  <a:pt x="950" y="115"/>
                  <a:pt x="950" y="115"/>
                  <a:pt x="950" y="115"/>
                </a:cubicBezTo>
                <a:cubicBezTo>
                  <a:pt x="950" y="124"/>
                  <a:pt x="943" y="131"/>
                  <a:pt x="934" y="131"/>
                </a:cubicBezTo>
                <a:cubicBezTo>
                  <a:pt x="925" y="131"/>
                  <a:pt x="918" y="124"/>
                  <a:pt x="918" y="115"/>
                </a:cubicBezTo>
                <a:cubicBezTo>
                  <a:pt x="918" y="88"/>
                  <a:pt x="918" y="88"/>
                  <a:pt x="918" y="88"/>
                </a:cubicBezTo>
                <a:cubicBezTo>
                  <a:pt x="865" y="88"/>
                  <a:pt x="865" y="88"/>
                  <a:pt x="865" y="88"/>
                </a:cubicBezTo>
                <a:cubicBezTo>
                  <a:pt x="865" y="115"/>
                  <a:pt x="865" y="115"/>
                  <a:pt x="865" y="115"/>
                </a:cubicBezTo>
                <a:cubicBezTo>
                  <a:pt x="865" y="124"/>
                  <a:pt x="858" y="131"/>
                  <a:pt x="849" y="131"/>
                </a:cubicBezTo>
                <a:cubicBezTo>
                  <a:pt x="841" y="131"/>
                  <a:pt x="834" y="124"/>
                  <a:pt x="834" y="115"/>
                </a:cubicBezTo>
                <a:cubicBezTo>
                  <a:pt x="834" y="88"/>
                  <a:pt x="834" y="88"/>
                  <a:pt x="834" y="88"/>
                </a:cubicBezTo>
                <a:cubicBezTo>
                  <a:pt x="781" y="88"/>
                  <a:pt x="781" y="88"/>
                  <a:pt x="781" y="88"/>
                </a:cubicBezTo>
                <a:cubicBezTo>
                  <a:pt x="781" y="115"/>
                  <a:pt x="781" y="115"/>
                  <a:pt x="781" y="115"/>
                </a:cubicBezTo>
                <a:cubicBezTo>
                  <a:pt x="781" y="124"/>
                  <a:pt x="774" y="131"/>
                  <a:pt x="765" y="131"/>
                </a:cubicBezTo>
                <a:cubicBezTo>
                  <a:pt x="756" y="131"/>
                  <a:pt x="749" y="124"/>
                  <a:pt x="749" y="115"/>
                </a:cubicBezTo>
                <a:cubicBezTo>
                  <a:pt x="749" y="88"/>
                  <a:pt x="749" y="88"/>
                  <a:pt x="749" y="88"/>
                </a:cubicBezTo>
                <a:cubicBezTo>
                  <a:pt x="697" y="88"/>
                  <a:pt x="697" y="88"/>
                  <a:pt x="697" y="88"/>
                </a:cubicBezTo>
                <a:cubicBezTo>
                  <a:pt x="697" y="115"/>
                  <a:pt x="697" y="115"/>
                  <a:pt x="697" y="115"/>
                </a:cubicBezTo>
                <a:cubicBezTo>
                  <a:pt x="697" y="124"/>
                  <a:pt x="689" y="131"/>
                  <a:pt x="681" y="131"/>
                </a:cubicBezTo>
                <a:cubicBezTo>
                  <a:pt x="672" y="131"/>
                  <a:pt x="665" y="124"/>
                  <a:pt x="665" y="115"/>
                </a:cubicBezTo>
                <a:cubicBezTo>
                  <a:pt x="665" y="88"/>
                  <a:pt x="665" y="88"/>
                  <a:pt x="665" y="88"/>
                </a:cubicBezTo>
                <a:cubicBezTo>
                  <a:pt x="612" y="88"/>
                  <a:pt x="612" y="88"/>
                  <a:pt x="612" y="88"/>
                </a:cubicBezTo>
                <a:cubicBezTo>
                  <a:pt x="612" y="115"/>
                  <a:pt x="612" y="115"/>
                  <a:pt x="612" y="115"/>
                </a:cubicBezTo>
                <a:cubicBezTo>
                  <a:pt x="612" y="124"/>
                  <a:pt x="605" y="131"/>
                  <a:pt x="596" y="131"/>
                </a:cubicBezTo>
                <a:cubicBezTo>
                  <a:pt x="588" y="131"/>
                  <a:pt x="581" y="124"/>
                  <a:pt x="581" y="115"/>
                </a:cubicBezTo>
                <a:cubicBezTo>
                  <a:pt x="581" y="88"/>
                  <a:pt x="581" y="88"/>
                  <a:pt x="581" y="88"/>
                </a:cubicBezTo>
                <a:cubicBezTo>
                  <a:pt x="528" y="88"/>
                  <a:pt x="528" y="88"/>
                  <a:pt x="528" y="88"/>
                </a:cubicBezTo>
                <a:cubicBezTo>
                  <a:pt x="528" y="115"/>
                  <a:pt x="528" y="115"/>
                  <a:pt x="528" y="115"/>
                </a:cubicBezTo>
                <a:cubicBezTo>
                  <a:pt x="528" y="124"/>
                  <a:pt x="521" y="131"/>
                  <a:pt x="512" y="131"/>
                </a:cubicBezTo>
                <a:cubicBezTo>
                  <a:pt x="503" y="131"/>
                  <a:pt x="496" y="124"/>
                  <a:pt x="496" y="115"/>
                </a:cubicBezTo>
                <a:cubicBezTo>
                  <a:pt x="496" y="88"/>
                  <a:pt x="496" y="88"/>
                  <a:pt x="496" y="88"/>
                </a:cubicBezTo>
                <a:cubicBezTo>
                  <a:pt x="443" y="88"/>
                  <a:pt x="443" y="88"/>
                  <a:pt x="443" y="88"/>
                </a:cubicBezTo>
                <a:cubicBezTo>
                  <a:pt x="443" y="115"/>
                  <a:pt x="443" y="115"/>
                  <a:pt x="443" y="115"/>
                </a:cubicBezTo>
                <a:cubicBezTo>
                  <a:pt x="443" y="124"/>
                  <a:pt x="436" y="131"/>
                  <a:pt x="428" y="131"/>
                </a:cubicBezTo>
                <a:cubicBezTo>
                  <a:pt x="419" y="131"/>
                  <a:pt x="412" y="124"/>
                  <a:pt x="412" y="115"/>
                </a:cubicBezTo>
                <a:cubicBezTo>
                  <a:pt x="412" y="88"/>
                  <a:pt x="412" y="88"/>
                  <a:pt x="412" y="88"/>
                </a:cubicBezTo>
                <a:cubicBezTo>
                  <a:pt x="340" y="88"/>
                  <a:pt x="340" y="88"/>
                  <a:pt x="340" y="88"/>
                </a:cubicBezTo>
                <a:cubicBezTo>
                  <a:pt x="327" y="88"/>
                  <a:pt x="316" y="98"/>
                  <a:pt x="316" y="112"/>
                </a:cubicBezTo>
                <a:cubicBezTo>
                  <a:pt x="316" y="271"/>
                  <a:pt x="316" y="271"/>
                  <a:pt x="316" y="271"/>
                </a:cubicBezTo>
                <a:cubicBezTo>
                  <a:pt x="316" y="280"/>
                  <a:pt x="309" y="287"/>
                  <a:pt x="301" y="287"/>
                </a:cubicBezTo>
                <a:cubicBezTo>
                  <a:pt x="292" y="287"/>
                  <a:pt x="285" y="280"/>
                  <a:pt x="285" y="271"/>
                </a:cubicBezTo>
                <a:cubicBezTo>
                  <a:pt x="285" y="112"/>
                  <a:pt x="285" y="112"/>
                  <a:pt x="285" y="112"/>
                </a:cubicBezTo>
                <a:cubicBezTo>
                  <a:pt x="285" y="81"/>
                  <a:pt x="310" y="56"/>
                  <a:pt x="340" y="56"/>
                </a:cubicBezTo>
                <a:cubicBezTo>
                  <a:pt x="412" y="56"/>
                  <a:pt x="412" y="56"/>
                  <a:pt x="412" y="56"/>
                </a:cubicBezTo>
                <a:cubicBezTo>
                  <a:pt x="412" y="16"/>
                  <a:pt x="412" y="16"/>
                  <a:pt x="412" y="16"/>
                </a:cubicBezTo>
                <a:cubicBezTo>
                  <a:pt x="412" y="8"/>
                  <a:pt x="419" y="0"/>
                  <a:pt x="428" y="0"/>
                </a:cubicBezTo>
                <a:cubicBezTo>
                  <a:pt x="436" y="0"/>
                  <a:pt x="443" y="8"/>
                  <a:pt x="443" y="16"/>
                </a:cubicBezTo>
                <a:cubicBezTo>
                  <a:pt x="443" y="56"/>
                  <a:pt x="443" y="56"/>
                  <a:pt x="443" y="56"/>
                </a:cubicBezTo>
                <a:cubicBezTo>
                  <a:pt x="496" y="56"/>
                  <a:pt x="496" y="56"/>
                  <a:pt x="496" y="56"/>
                </a:cubicBezTo>
                <a:cubicBezTo>
                  <a:pt x="496" y="16"/>
                  <a:pt x="496" y="16"/>
                  <a:pt x="496" y="16"/>
                </a:cubicBezTo>
                <a:cubicBezTo>
                  <a:pt x="496" y="8"/>
                  <a:pt x="503" y="0"/>
                  <a:pt x="512" y="0"/>
                </a:cubicBezTo>
                <a:cubicBezTo>
                  <a:pt x="521" y="0"/>
                  <a:pt x="528" y="8"/>
                  <a:pt x="528" y="16"/>
                </a:cubicBezTo>
                <a:cubicBezTo>
                  <a:pt x="528" y="56"/>
                  <a:pt x="528" y="56"/>
                  <a:pt x="528" y="56"/>
                </a:cubicBezTo>
                <a:cubicBezTo>
                  <a:pt x="581" y="56"/>
                  <a:pt x="581" y="56"/>
                  <a:pt x="581" y="56"/>
                </a:cubicBezTo>
                <a:cubicBezTo>
                  <a:pt x="581" y="16"/>
                  <a:pt x="581" y="16"/>
                  <a:pt x="581" y="16"/>
                </a:cubicBezTo>
                <a:cubicBezTo>
                  <a:pt x="581" y="8"/>
                  <a:pt x="588" y="0"/>
                  <a:pt x="596" y="0"/>
                </a:cubicBezTo>
                <a:cubicBezTo>
                  <a:pt x="605" y="0"/>
                  <a:pt x="612" y="8"/>
                  <a:pt x="612" y="16"/>
                </a:cubicBezTo>
                <a:cubicBezTo>
                  <a:pt x="612" y="56"/>
                  <a:pt x="612" y="56"/>
                  <a:pt x="612" y="56"/>
                </a:cubicBezTo>
                <a:cubicBezTo>
                  <a:pt x="665" y="56"/>
                  <a:pt x="665" y="56"/>
                  <a:pt x="665" y="56"/>
                </a:cubicBezTo>
                <a:cubicBezTo>
                  <a:pt x="665" y="16"/>
                  <a:pt x="665" y="16"/>
                  <a:pt x="665" y="16"/>
                </a:cubicBezTo>
                <a:cubicBezTo>
                  <a:pt x="665" y="8"/>
                  <a:pt x="672" y="0"/>
                  <a:pt x="681" y="0"/>
                </a:cubicBezTo>
                <a:cubicBezTo>
                  <a:pt x="689" y="0"/>
                  <a:pt x="697" y="8"/>
                  <a:pt x="697" y="16"/>
                </a:cubicBezTo>
                <a:cubicBezTo>
                  <a:pt x="697" y="56"/>
                  <a:pt x="697" y="56"/>
                  <a:pt x="697" y="56"/>
                </a:cubicBezTo>
                <a:cubicBezTo>
                  <a:pt x="749" y="56"/>
                  <a:pt x="749" y="56"/>
                  <a:pt x="749" y="56"/>
                </a:cubicBezTo>
                <a:cubicBezTo>
                  <a:pt x="749" y="16"/>
                  <a:pt x="749" y="16"/>
                  <a:pt x="749" y="16"/>
                </a:cubicBezTo>
                <a:cubicBezTo>
                  <a:pt x="749" y="8"/>
                  <a:pt x="756" y="0"/>
                  <a:pt x="765" y="0"/>
                </a:cubicBezTo>
                <a:cubicBezTo>
                  <a:pt x="774" y="0"/>
                  <a:pt x="781" y="8"/>
                  <a:pt x="781" y="16"/>
                </a:cubicBezTo>
                <a:cubicBezTo>
                  <a:pt x="781" y="56"/>
                  <a:pt x="781" y="56"/>
                  <a:pt x="781" y="56"/>
                </a:cubicBezTo>
                <a:cubicBezTo>
                  <a:pt x="834" y="56"/>
                  <a:pt x="834" y="56"/>
                  <a:pt x="834" y="56"/>
                </a:cubicBezTo>
                <a:cubicBezTo>
                  <a:pt x="834" y="16"/>
                  <a:pt x="834" y="16"/>
                  <a:pt x="834" y="16"/>
                </a:cubicBezTo>
                <a:cubicBezTo>
                  <a:pt x="834" y="8"/>
                  <a:pt x="841" y="0"/>
                  <a:pt x="849" y="0"/>
                </a:cubicBezTo>
                <a:cubicBezTo>
                  <a:pt x="858" y="0"/>
                  <a:pt x="865" y="8"/>
                  <a:pt x="865" y="16"/>
                </a:cubicBezTo>
                <a:cubicBezTo>
                  <a:pt x="865" y="56"/>
                  <a:pt x="865" y="56"/>
                  <a:pt x="865" y="56"/>
                </a:cubicBezTo>
                <a:cubicBezTo>
                  <a:pt x="918" y="56"/>
                  <a:pt x="918" y="56"/>
                  <a:pt x="918" y="56"/>
                </a:cubicBezTo>
                <a:cubicBezTo>
                  <a:pt x="918" y="16"/>
                  <a:pt x="918" y="16"/>
                  <a:pt x="918" y="16"/>
                </a:cubicBezTo>
                <a:cubicBezTo>
                  <a:pt x="918" y="8"/>
                  <a:pt x="925" y="0"/>
                  <a:pt x="934" y="0"/>
                </a:cubicBezTo>
                <a:cubicBezTo>
                  <a:pt x="943" y="0"/>
                  <a:pt x="950" y="8"/>
                  <a:pt x="950" y="16"/>
                </a:cubicBezTo>
                <a:cubicBezTo>
                  <a:pt x="950" y="56"/>
                  <a:pt x="950" y="56"/>
                  <a:pt x="950" y="56"/>
                </a:cubicBezTo>
                <a:cubicBezTo>
                  <a:pt x="1037" y="56"/>
                  <a:pt x="1037" y="56"/>
                  <a:pt x="1037" y="56"/>
                </a:cubicBezTo>
                <a:cubicBezTo>
                  <a:pt x="1068" y="56"/>
                  <a:pt x="1093" y="81"/>
                  <a:pt x="1093" y="112"/>
                </a:cubicBezTo>
                <a:cubicBezTo>
                  <a:pt x="1093" y="153"/>
                  <a:pt x="1093" y="153"/>
                  <a:pt x="1093" y="153"/>
                </a:cubicBezTo>
                <a:cubicBezTo>
                  <a:pt x="1114" y="153"/>
                  <a:pt x="1114" y="153"/>
                  <a:pt x="1114" y="153"/>
                </a:cubicBezTo>
                <a:cubicBezTo>
                  <a:pt x="1145" y="153"/>
                  <a:pt x="1170" y="177"/>
                  <a:pt x="1170" y="208"/>
                </a:cubicBezTo>
                <a:close/>
                <a:moveTo>
                  <a:pt x="1138" y="208"/>
                </a:moveTo>
                <a:cubicBezTo>
                  <a:pt x="1138" y="195"/>
                  <a:pt x="1127" y="184"/>
                  <a:pt x="1114" y="184"/>
                </a:cubicBezTo>
                <a:cubicBezTo>
                  <a:pt x="1093" y="184"/>
                  <a:pt x="1093" y="184"/>
                  <a:pt x="1093" y="184"/>
                </a:cubicBezTo>
                <a:cubicBezTo>
                  <a:pt x="1093" y="1068"/>
                  <a:pt x="1093" y="1068"/>
                  <a:pt x="1093" y="1068"/>
                </a:cubicBezTo>
                <a:cubicBezTo>
                  <a:pt x="1093" y="1098"/>
                  <a:pt x="1068" y="1123"/>
                  <a:pt x="1037" y="1123"/>
                </a:cubicBezTo>
                <a:cubicBezTo>
                  <a:pt x="413" y="1123"/>
                  <a:pt x="413" y="1123"/>
                  <a:pt x="413" y="1123"/>
                </a:cubicBezTo>
                <a:cubicBezTo>
                  <a:pt x="413" y="1144"/>
                  <a:pt x="413" y="1144"/>
                  <a:pt x="413" y="1144"/>
                </a:cubicBezTo>
                <a:cubicBezTo>
                  <a:pt x="413" y="1157"/>
                  <a:pt x="424" y="1168"/>
                  <a:pt x="437" y="1168"/>
                </a:cubicBezTo>
                <a:cubicBezTo>
                  <a:pt x="1114" y="1168"/>
                  <a:pt x="1114" y="1168"/>
                  <a:pt x="1114" y="1168"/>
                </a:cubicBezTo>
                <a:cubicBezTo>
                  <a:pt x="1127" y="1168"/>
                  <a:pt x="1138" y="1157"/>
                  <a:pt x="1138" y="1144"/>
                </a:cubicBezTo>
                <a:lnTo>
                  <a:pt x="1138" y="208"/>
                </a:lnTo>
                <a:close/>
                <a:moveTo>
                  <a:pt x="836" y="680"/>
                </a:moveTo>
                <a:cubicBezTo>
                  <a:pt x="845" y="680"/>
                  <a:pt x="852" y="687"/>
                  <a:pt x="852" y="696"/>
                </a:cubicBezTo>
                <a:cubicBezTo>
                  <a:pt x="852" y="1025"/>
                  <a:pt x="852" y="1025"/>
                  <a:pt x="852" y="1025"/>
                </a:cubicBezTo>
                <a:cubicBezTo>
                  <a:pt x="852" y="1033"/>
                  <a:pt x="845" y="1040"/>
                  <a:pt x="836" y="1040"/>
                </a:cubicBezTo>
                <a:cubicBezTo>
                  <a:pt x="750" y="1040"/>
                  <a:pt x="750" y="1040"/>
                  <a:pt x="750" y="1040"/>
                </a:cubicBezTo>
                <a:cubicBezTo>
                  <a:pt x="741" y="1040"/>
                  <a:pt x="734" y="1033"/>
                  <a:pt x="734" y="1025"/>
                </a:cubicBezTo>
                <a:cubicBezTo>
                  <a:pt x="734" y="696"/>
                  <a:pt x="734" y="696"/>
                  <a:pt x="734" y="696"/>
                </a:cubicBezTo>
                <a:cubicBezTo>
                  <a:pt x="734" y="687"/>
                  <a:pt x="741" y="680"/>
                  <a:pt x="750" y="680"/>
                </a:cubicBezTo>
                <a:lnTo>
                  <a:pt x="836" y="680"/>
                </a:lnTo>
                <a:close/>
                <a:moveTo>
                  <a:pt x="820" y="712"/>
                </a:moveTo>
                <a:cubicBezTo>
                  <a:pt x="765" y="712"/>
                  <a:pt x="765" y="712"/>
                  <a:pt x="765" y="712"/>
                </a:cubicBezTo>
                <a:cubicBezTo>
                  <a:pt x="765" y="1009"/>
                  <a:pt x="765" y="1009"/>
                  <a:pt x="765" y="1009"/>
                </a:cubicBezTo>
                <a:cubicBezTo>
                  <a:pt x="820" y="1009"/>
                  <a:pt x="820" y="1009"/>
                  <a:pt x="820" y="1009"/>
                </a:cubicBezTo>
                <a:lnTo>
                  <a:pt x="820" y="712"/>
                </a:lnTo>
                <a:close/>
                <a:moveTo>
                  <a:pt x="692" y="779"/>
                </a:moveTo>
                <a:cubicBezTo>
                  <a:pt x="701" y="779"/>
                  <a:pt x="708" y="786"/>
                  <a:pt x="708" y="795"/>
                </a:cubicBezTo>
                <a:cubicBezTo>
                  <a:pt x="708" y="1025"/>
                  <a:pt x="708" y="1025"/>
                  <a:pt x="708" y="1025"/>
                </a:cubicBezTo>
                <a:cubicBezTo>
                  <a:pt x="708" y="1033"/>
                  <a:pt x="701" y="1040"/>
                  <a:pt x="692" y="1040"/>
                </a:cubicBezTo>
                <a:cubicBezTo>
                  <a:pt x="606" y="1040"/>
                  <a:pt x="606" y="1040"/>
                  <a:pt x="606" y="1040"/>
                </a:cubicBezTo>
                <a:cubicBezTo>
                  <a:pt x="597" y="1040"/>
                  <a:pt x="590" y="1033"/>
                  <a:pt x="590" y="1025"/>
                </a:cubicBezTo>
                <a:cubicBezTo>
                  <a:pt x="590" y="795"/>
                  <a:pt x="590" y="795"/>
                  <a:pt x="590" y="795"/>
                </a:cubicBezTo>
                <a:cubicBezTo>
                  <a:pt x="590" y="786"/>
                  <a:pt x="597" y="779"/>
                  <a:pt x="606" y="779"/>
                </a:cubicBezTo>
                <a:lnTo>
                  <a:pt x="692" y="779"/>
                </a:lnTo>
                <a:close/>
                <a:moveTo>
                  <a:pt x="676" y="811"/>
                </a:moveTo>
                <a:cubicBezTo>
                  <a:pt x="622" y="811"/>
                  <a:pt x="622" y="811"/>
                  <a:pt x="622" y="811"/>
                </a:cubicBezTo>
                <a:cubicBezTo>
                  <a:pt x="622" y="1009"/>
                  <a:pt x="622" y="1009"/>
                  <a:pt x="622" y="1009"/>
                </a:cubicBezTo>
                <a:cubicBezTo>
                  <a:pt x="676" y="1009"/>
                  <a:pt x="676" y="1009"/>
                  <a:pt x="676" y="1009"/>
                </a:cubicBezTo>
                <a:lnTo>
                  <a:pt x="676" y="811"/>
                </a:lnTo>
                <a:close/>
                <a:moveTo>
                  <a:pt x="980" y="601"/>
                </a:moveTo>
                <a:cubicBezTo>
                  <a:pt x="988" y="601"/>
                  <a:pt x="995" y="608"/>
                  <a:pt x="995" y="617"/>
                </a:cubicBezTo>
                <a:cubicBezTo>
                  <a:pt x="995" y="1025"/>
                  <a:pt x="995" y="1025"/>
                  <a:pt x="995" y="1025"/>
                </a:cubicBezTo>
                <a:cubicBezTo>
                  <a:pt x="995" y="1033"/>
                  <a:pt x="988" y="1040"/>
                  <a:pt x="980" y="1040"/>
                </a:cubicBezTo>
                <a:cubicBezTo>
                  <a:pt x="893" y="1040"/>
                  <a:pt x="893" y="1040"/>
                  <a:pt x="893" y="1040"/>
                </a:cubicBezTo>
                <a:cubicBezTo>
                  <a:pt x="885" y="1040"/>
                  <a:pt x="878" y="1033"/>
                  <a:pt x="878" y="1025"/>
                </a:cubicBezTo>
                <a:cubicBezTo>
                  <a:pt x="878" y="617"/>
                  <a:pt x="878" y="617"/>
                  <a:pt x="878" y="617"/>
                </a:cubicBezTo>
                <a:cubicBezTo>
                  <a:pt x="878" y="608"/>
                  <a:pt x="885" y="601"/>
                  <a:pt x="893" y="601"/>
                </a:cubicBezTo>
                <a:lnTo>
                  <a:pt x="980" y="601"/>
                </a:lnTo>
                <a:close/>
                <a:moveTo>
                  <a:pt x="964" y="633"/>
                </a:moveTo>
                <a:cubicBezTo>
                  <a:pt x="909" y="633"/>
                  <a:pt x="909" y="633"/>
                  <a:pt x="909" y="633"/>
                </a:cubicBezTo>
                <a:cubicBezTo>
                  <a:pt x="909" y="1009"/>
                  <a:pt x="909" y="1009"/>
                  <a:pt x="909" y="1009"/>
                </a:cubicBezTo>
                <a:cubicBezTo>
                  <a:pt x="964" y="1009"/>
                  <a:pt x="964" y="1009"/>
                  <a:pt x="964" y="1009"/>
                </a:cubicBezTo>
                <a:lnTo>
                  <a:pt x="964" y="633"/>
                </a:lnTo>
                <a:close/>
                <a:moveTo>
                  <a:pt x="1000" y="458"/>
                </a:moveTo>
                <a:cubicBezTo>
                  <a:pt x="1000" y="502"/>
                  <a:pt x="964" y="539"/>
                  <a:pt x="919" y="539"/>
                </a:cubicBezTo>
                <a:cubicBezTo>
                  <a:pt x="874" y="539"/>
                  <a:pt x="838" y="502"/>
                  <a:pt x="838" y="458"/>
                </a:cubicBezTo>
                <a:cubicBezTo>
                  <a:pt x="838" y="413"/>
                  <a:pt x="874" y="377"/>
                  <a:pt x="919" y="377"/>
                </a:cubicBezTo>
                <a:cubicBezTo>
                  <a:pt x="964" y="377"/>
                  <a:pt x="1000" y="413"/>
                  <a:pt x="1000" y="458"/>
                </a:cubicBezTo>
                <a:close/>
                <a:moveTo>
                  <a:pt x="968" y="458"/>
                </a:moveTo>
                <a:cubicBezTo>
                  <a:pt x="968" y="430"/>
                  <a:pt x="946" y="408"/>
                  <a:pt x="919" y="408"/>
                </a:cubicBezTo>
                <a:cubicBezTo>
                  <a:pt x="892" y="408"/>
                  <a:pt x="870" y="430"/>
                  <a:pt x="870" y="458"/>
                </a:cubicBezTo>
                <a:cubicBezTo>
                  <a:pt x="870" y="485"/>
                  <a:pt x="892" y="507"/>
                  <a:pt x="919" y="507"/>
                </a:cubicBezTo>
                <a:cubicBezTo>
                  <a:pt x="946" y="507"/>
                  <a:pt x="968" y="485"/>
                  <a:pt x="968" y="45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8" name="Freeform 8"/>
          <p:cNvSpPr>
            <a:spLocks noEditPoints="1"/>
          </p:cNvSpPr>
          <p:nvPr/>
        </p:nvSpPr>
        <p:spPr bwMode="auto">
          <a:xfrm>
            <a:off x="3377615" y="2147990"/>
            <a:ext cx="430375" cy="461985"/>
          </a:xfrm>
          <a:custGeom>
            <a:avLst/>
            <a:gdLst>
              <a:gd name="T0" fmla="*/ 752 w 1005"/>
              <a:gd name="T1" fmla="*/ 273 h 1076"/>
              <a:gd name="T2" fmla="*/ 727 w 1005"/>
              <a:gd name="T3" fmla="*/ 704 h 1076"/>
              <a:gd name="T4" fmla="*/ 487 w 1005"/>
              <a:gd name="T5" fmla="*/ 700 h 1076"/>
              <a:gd name="T6" fmla="*/ 253 w 1005"/>
              <a:gd name="T7" fmla="*/ 702 h 1076"/>
              <a:gd name="T8" fmla="*/ 0 w 1005"/>
              <a:gd name="T9" fmla="*/ 1076 h 1076"/>
              <a:gd name="T10" fmla="*/ 132 w 1005"/>
              <a:gd name="T11" fmla="*/ 835 h 1076"/>
              <a:gd name="T12" fmla="*/ 249 w 1005"/>
              <a:gd name="T13" fmla="*/ 1076 h 1076"/>
              <a:gd name="T14" fmla="*/ 744 w 1005"/>
              <a:gd name="T15" fmla="*/ 1076 h 1076"/>
              <a:gd name="T16" fmla="*/ 963 w 1005"/>
              <a:gd name="T17" fmla="*/ 273 h 1076"/>
              <a:gd name="T18" fmla="*/ 933 w 1005"/>
              <a:gd name="T19" fmla="*/ 336 h 1076"/>
              <a:gd name="T20" fmla="*/ 784 w 1005"/>
              <a:gd name="T21" fmla="*/ 307 h 1076"/>
              <a:gd name="T22" fmla="*/ 283 w 1005"/>
              <a:gd name="T23" fmla="*/ 1043 h 1076"/>
              <a:gd name="T24" fmla="*/ 99 w 1005"/>
              <a:gd name="T25" fmla="*/ 801 h 1076"/>
              <a:gd name="T26" fmla="*/ 33 w 1005"/>
              <a:gd name="T27" fmla="*/ 1043 h 1076"/>
              <a:gd name="T28" fmla="*/ 287 w 1005"/>
              <a:gd name="T29" fmla="*/ 770 h 1076"/>
              <a:gd name="T30" fmla="*/ 520 w 1005"/>
              <a:gd name="T31" fmla="*/ 772 h 1076"/>
              <a:gd name="T32" fmla="*/ 725 w 1005"/>
              <a:gd name="T33" fmla="*/ 746 h 1076"/>
              <a:gd name="T34" fmla="*/ 283 w 1005"/>
              <a:gd name="T35" fmla="*/ 1043 h 1076"/>
              <a:gd name="T36" fmla="*/ 759 w 1005"/>
              <a:gd name="T37" fmla="*/ 739 h 1076"/>
              <a:gd name="T38" fmla="*/ 935 w 1005"/>
              <a:gd name="T39" fmla="*/ 370 h 1076"/>
              <a:gd name="T40" fmla="*/ 746 w 1005"/>
              <a:gd name="T41" fmla="*/ 1043 h 1076"/>
              <a:gd name="T42" fmla="*/ 531 w 1005"/>
              <a:gd name="T43" fmla="*/ 803 h 1076"/>
              <a:gd name="T44" fmla="*/ 678 w 1005"/>
              <a:gd name="T45" fmla="*/ 948 h 1076"/>
              <a:gd name="T46" fmla="*/ 531 w 1005"/>
              <a:gd name="T47" fmla="*/ 803 h 1076"/>
              <a:gd name="T48" fmla="*/ 564 w 1005"/>
              <a:gd name="T49" fmla="*/ 915 h 1076"/>
              <a:gd name="T50" fmla="*/ 644 w 1005"/>
              <a:gd name="T51" fmla="*/ 836 h 1076"/>
              <a:gd name="T52" fmla="*/ 333 w 1005"/>
              <a:gd name="T53" fmla="*/ 948 h 1076"/>
              <a:gd name="T54" fmla="*/ 480 w 1005"/>
              <a:gd name="T55" fmla="*/ 803 h 1076"/>
              <a:gd name="T56" fmla="*/ 333 w 1005"/>
              <a:gd name="T57" fmla="*/ 948 h 1076"/>
              <a:gd name="T58" fmla="*/ 447 w 1005"/>
              <a:gd name="T59" fmla="*/ 836 h 1076"/>
              <a:gd name="T60" fmla="*/ 367 w 1005"/>
              <a:gd name="T61" fmla="*/ 915 h 1076"/>
              <a:gd name="T62" fmla="*/ 554 w 1005"/>
              <a:gd name="T63" fmla="*/ 176 h 1076"/>
              <a:gd name="T64" fmla="*/ 633 w 1005"/>
              <a:gd name="T65" fmla="*/ 204 h 1076"/>
              <a:gd name="T66" fmla="*/ 720 w 1005"/>
              <a:gd name="T67" fmla="*/ 233 h 1076"/>
              <a:gd name="T68" fmla="*/ 757 w 1005"/>
              <a:gd name="T69" fmla="*/ 257 h 1076"/>
              <a:gd name="T70" fmla="*/ 941 w 1005"/>
              <a:gd name="T71" fmla="*/ 263 h 1076"/>
              <a:gd name="T72" fmla="*/ 981 w 1005"/>
              <a:gd name="T73" fmla="*/ 169 h 1076"/>
              <a:gd name="T74" fmla="*/ 802 w 1005"/>
              <a:gd name="T75" fmla="*/ 49 h 1076"/>
              <a:gd name="T76" fmla="*/ 690 w 1005"/>
              <a:gd name="T77" fmla="*/ 20 h 1076"/>
              <a:gd name="T78" fmla="*/ 578 w 1005"/>
              <a:gd name="T79" fmla="*/ 39 h 1076"/>
              <a:gd name="T80" fmla="*/ 483 w 1005"/>
              <a:gd name="T81" fmla="*/ 105 h 1076"/>
              <a:gd name="T82" fmla="*/ 554 w 1005"/>
              <a:gd name="T83" fmla="*/ 68 h 1076"/>
              <a:gd name="T84" fmla="*/ 600 w 1005"/>
              <a:gd name="T85" fmla="*/ 95 h 1076"/>
              <a:gd name="T86" fmla="*/ 641 w 1005"/>
              <a:gd name="T87" fmla="*/ 34 h 1076"/>
              <a:gd name="T88" fmla="*/ 688 w 1005"/>
              <a:gd name="T89" fmla="*/ 80 h 1076"/>
              <a:gd name="T90" fmla="*/ 735 w 1005"/>
              <a:gd name="T91" fmla="*/ 37 h 1076"/>
              <a:gd name="T92" fmla="*/ 773 w 1005"/>
              <a:gd name="T93" fmla="*/ 106 h 1076"/>
              <a:gd name="T94" fmla="*/ 851 w 1005"/>
              <a:gd name="T95" fmla="*/ 73 h 1076"/>
              <a:gd name="T96" fmla="*/ 926 w 1005"/>
              <a:gd name="T97" fmla="*/ 229 h 1076"/>
              <a:gd name="T98" fmla="*/ 762 w 1005"/>
              <a:gd name="T99" fmla="*/ 203 h 1076"/>
              <a:gd name="T100" fmla="*/ 738 w 1005"/>
              <a:gd name="T101" fmla="*/ 195 h 1076"/>
              <a:gd name="T102" fmla="*/ 678 w 1005"/>
              <a:gd name="T103" fmla="*/ 144 h 1076"/>
              <a:gd name="T104" fmla="*/ 633 w 1005"/>
              <a:gd name="T105" fmla="*/ 170 h 1076"/>
              <a:gd name="T106" fmla="*/ 591 w 1005"/>
              <a:gd name="T107" fmla="*/ 126 h 1076"/>
              <a:gd name="T108" fmla="*/ 554 w 1005"/>
              <a:gd name="T109" fmla="*/ 143 h 1076"/>
              <a:gd name="T110" fmla="*/ 554 w 1005"/>
              <a:gd name="T111" fmla="*/ 68 h 10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05" h="1076">
                <a:moveTo>
                  <a:pt x="963" y="273"/>
                </a:moveTo>
                <a:cubicBezTo>
                  <a:pt x="752" y="273"/>
                  <a:pt x="752" y="273"/>
                  <a:pt x="752" y="273"/>
                </a:cubicBezTo>
                <a:cubicBezTo>
                  <a:pt x="728" y="687"/>
                  <a:pt x="728" y="687"/>
                  <a:pt x="728" y="687"/>
                </a:cubicBezTo>
                <a:cubicBezTo>
                  <a:pt x="727" y="704"/>
                  <a:pt x="727" y="704"/>
                  <a:pt x="727" y="704"/>
                </a:cubicBezTo>
                <a:cubicBezTo>
                  <a:pt x="487" y="507"/>
                  <a:pt x="487" y="507"/>
                  <a:pt x="487" y="507"/>
                </a:cubicBezTo>
                <a:cubicBezTo>
                  <a:pt x="487" y="700"/>
                  <a:pt x="487" y="700"/>
                  <a:pt x="487" y="700"/>
                </a:cubicBezTo>
                <a:cubicBezTo>
                  <a:pt x="253" y="506"/>
                  <a:pt x="253" y="506"/>
                  <a:pt x="253" y="506"/>
                </a:cubicBezTo>
                <a:cubicBezTo>
                  <a:pt x="253" y="702"/>
                  <a:pt x="253" y="702"/>
                  <a:pt x="253" y="702"/>
                </a:cubicBezTo>
                <a:cubicBezTo>
                  <a:pt x="0" y="508"/>
                  <a:pt x="0" y="508"/>
                  <a:pt x="0" y="508"/>
                </a:cubicBezTo>
                <a:cubicBezTo>
                  <a:pt x="0" y="1076"/>
                  <a:pt x="0" y="1076"/>
                  <a:pt x="0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835"/>
                  <a:pt x="132" y="835"/>
                  <a:pt x="132" y="835"/>
                </a:cubicBezTo>
                <a:cubicBezTo>
                  <a:pt x="249" y="835"/>
                  <a:pt x="249" y="835"/>
                  <a:pt x="249" y="835"/>
                </a:cubicBezTo>
                <a:cubicBezTo>
                  <a:pt x="249" y="1076"/>
                  <a:pt x="249" y="1076"/>
                  <a:pt x="249" y="1076"/>
                </a:cubicBezTo>
                <a:cubicBezTo>
                  <a:pt x="711" y="1076"/>
                  <a:pt x="711" y="1076"/>
                  <a:pt x="711" y="1076"/>
                </a:cubicBezTo>
                <a:cubicBezTo>
                  <a:pt x="744" y="1076"/>
                  <a:pt x="744" y="1076"/>
                  <a:pt x="744" y="1076"/>
                </a:cubicBezTo>
                <a:cubicBezTo>
                  <a:pt x="1005" y="1076"/>
                  <a:pt x="1005" y="1076"/>
                  <a:pt x="1005" y="1076"/>
                </a:cubicBezTo>
                <a:lnTo>
                  <a:pt x="963" y="273"/>
                </a:lnTo>
                <a:close/>
                <a:moveTo>
                  <a:pt x="931" y="307"/>
                </a:moveTo>
                <a:cubicBezTo>
                  <a:pt x="933" y="336"/>
                  <a:pt x="933" y="336"/>
                  <a:pt x="933" y="336"/>
                </a:cubicBezTo>
                <a:cubicBezTo>
                  <a:pt x="782" y="336"/>
                  <a:pt x="782" y="336"/>
                  <a:pt x="782" y="336"/>
                </a:cubicBezTo>
                <a:cubicBezTo>
                  <a:pt x="784" y="307"/>
                  <a:pt x="784" y="307"/>
                  <a:pt x="784" y="307"/>
                </a:cubicBezTo>
                <a:lnTo>
                  <a:pt x="931" y="307"/>
                </a:lnTo>
                <a:close/>
                <a:moveTo>
                  <a:pt x="283" y="1043"/>
                </a:moveTo>
                <a:cubicBezTo>
                  <a:pt x="283" y="801"/>
                  <a:pt x="283" y="801"/>
                  <a:pt x="283" y="801"/>
                </a:cubicBezTo>
                <a:cubicBezTo>
                  <a:pt x="99" y="801"/>
                  <a:pt x="99" y="801"/>
                  <a:pt x="99" y="801"/>
                </a:cubicBezTo>
                <a:cubicBezTo>
                  <a:pt x="99" y="1043"/>
                  <a:pt x="99" y="1043"/>
                  <a:pt x="99" y="1043"/>
                </a:cubicBezTo>
                <a:cubicBezTo>
                  <a:pt x="33" y="1043"/>
                  <a:pt x="33" y="1043"/>
                  <a:pt x="33" y="1043"/>
                </a:cubicBezTo>
                <a:cubicBezTo>
                  <a:pt x="33" y="576"/>
                  <a:pt x="33" y="576"/>
                  <a:pt x="33" y="576"/>
                </a:cubicBezTo>
                <a:cubicBezTo>
                  <a:pt x="287" y="770"/>
                  <a:pt x="287" y="770"/>
                  <a:pt x="287" y="770"/>
                </a:cubicBezTo>
                <a:cubicBezTo>
                  <a:pt x="287" y="578"/>
                  <a:pt x="287" y="578"/>
                  <a:pt x="287" y="578"/>
                </a:cubicBezTo>
                <a:cubicBezTo>
                  <a:pt x="520" y="772"/>
                  <a:pt x="520" y="772"/>
                  <a:pt x="520" y="772"/>
                </a:cubicBezTo>
                <a:cubicBezTo>
                  <a:pt x="520" y="578"/>
                  <a:pt x="520" y="578"/>
                  <a:pt x="520" y="578"/>
                </a:cubicBezTo>
                <a:cubicBezTo>
                  <a:pt x="725" y="746"/>
                  <a:pt x="725" y="746"/>
                  <a:pt x="725" y="746"/>
                </a:cubicBezTo>
                <a:cubicBezTo>
                  <a:pt x="712" y="1043"/>
                  <a:pt x="712" y="1043"/>
                  <a:pt x="712" y="1043"/>
                </a:cubicBezTo>
                <a:lnTo>
                  <a:pt x="283" y="1043"/>
                </a:lnTo>
                <a:close/>
                <a:moveTo>
                  <a:pt x="757" y="785"/>
                </a:moveTo>
                <a:cubicBezTo>
                  <a:pt x="759" y="739"/>
                  <a:pt x="759" y="739"/>
                  <a:pt x="759" y="739"/>
                </a:cubicBezTo>
                <a:cubicBezTo>
                  <a:pt x="780" y="370"/>
                  <a:pt x="780" y="370"/>
                  <a:pt x="780" y="370"/>
                </a:cubicBezTo>
                <a:cubicBezTo>
                  <a:pt x="935" y="370"/>
                  <a:pt x="935" y="370"/>
                  <a:pt x="935" y="370"/>
                </a:cubicBezTo>
                <a:cubicBezTo>
                  <a:pt x="969" y="1043"/>
                  <a:pt x="969" y="1043"/>
                  <a:pt x="969" y="1043"/>
                </a:cubicBezTo>
                <a:cubicBezTo>
                  <a:pt x="746" y="1043"/>
                  <a:pt x="746" y="1043"/>
                  <a:pt x="746" y="1043"/>
                </a:cubicBezTo>
                <a:lnTo>
                  <a:pt x="757" y="785"/>
                </a:lnTo>
                <a:close/>
                <a:moveTo>
                  <a:pt x="531" y="803"/>
                </a:moveTo>
                <a:cubicBezTo>
                  <a:pt x="531" y="948"/>
                  <a:pt x="531" y="948"/>
                  <a:pt x="531" y="948"/>
                </a:cubicBezTo>
                <a:cubicBezTo>
                  <a:pt x="678" y="948"/>
                  <a:pt x="678" y="948"/>
                  <a:pt x="678" y="948"/>
                </a:cubicBezTo>
                <a:cubicBezTo>
                  <a:pt x="678" y="803"/>
                  <a:pt x="678" y="803"/>
                  <a:pt x="678" y="803"/>
                </a:cubicBezTo>
                <a:lnTo>
                  <a:pt x="531" y="803"/>
                </a:lnTo>
                <a:close/>
                <a:moveTo>
                  <a:pt x="644" y="915"/>
                </a:moveTo>
                <a:cubicBezTo>
                  <a:pt x="564" y="915"/>
                  <a:pt x="564" y="915"/>
                  <a:pt x="564" y="915"/>
                </a:cubicBezTo>
                <a:cubicBezTo>
                  <a:pt x="564" y="836"/>
                  <a:pt x="564" y="836"/>
                  <a:pt x="564" y="836"/>
                </a:cubicBezTo>
                <a:cubicBezTo>
                  <a:pt x="644" y="836"/>
                  <a:pt x="644" y="836"/>
                  <a:pt x="644" y="836"/>
                </a:cubicBezTo>
                <a:lnTo>
                  <a:pt x="644" y="915"/>
                </a:lnTo>
                <a:close/>
                <a:moveTo>
                  <a:pt x="333" y="948"/>
                </a:moveTo>
                <a:cubicBezTo>
                  <a:pt x="480" y="948"/>
                  <a:pt x="480" y="948"/>
                  <a:pt x="480" y="948"/>
                </a:cubicBezTo>
                <a:cubicBezTo>
                  <a:pt x="480" y="803"/>
                  <a:pt x="480" y="803"/>
                  <a:pt x="480" y="803"/>
                </a:cubicBezTo>
                <a:cubicBezTo>
                  <a:pt x="333" y="803"/>
                  <a:pt x="333" y="803"/>
                  <a:pt x="333" y="803"/>
                </a:cubicBezTo>
                <a:lnTo>
                  <a:pt x="333" y="948"/>
                </a:lnTo>
                <a:close/>
                <a:moveTo>
                  <a:pt x="367" y="836"/>
                </a:moveTo>
                <a:cubicBezTo>
                  <a:pt x="447" y="836"/>
                  <a:pt x="447" y="836"/>
                  <a:pt x="447" y="836"/>
                </a:cubicBezTo>
                <a:cubicBezTo>
                  <a:pt x="447" y="915"/>
                  <a:pt x="447" y="915"/>
                  <a:pt x="447" y="915"/>
                </a:cubicBezTo>
                <a:cubicBezTo>
                  <a:pt x="367" y="915"/>
                  <a:pt x="367" y="915"/>
                  <a:pt x="367" y="915"/>
                </a:cubicBezTo>
                <a:lnTo>
                  <a:pt x="367" y="836"/>
                </a:lnTo>
                <a:close/>
                <a:moveTo>
                  <a:pt x="554" y="176"/>
                </a:moveTo>
                <a:cubicBezTo>
                  <a:pt x="561" y="176"/>
                  <a:pt x="568" y="175"/>
                  <a:pt x="575" y="173"/>
                </a:cubicBezTo>
                <a:cubicBezTo>
                  <a:pt x="588" y="192"/>
                  <a:pt x="610" y="204"/>
                  <a:pt x="633" y="204"/>
                </a:cubicBezTo>
                <a:cubicBezTo>
                  <a:pt x="642" y="204"/>
                  <a:pt x="651" y="202"/>
                  <a:pt x="659" y="199"/>
                </a:cubicBezTo>
                <a:cubicBezTo>
                  <a:pt x="672" y="220"/>
                  <a:pt x="694" y="233"/>
                  <a:pt x="720" y="233"/>
                </a:cubicBezTo>
                <a:cubicBezTo>
                  <a:pt x="726" y="233"/>
                  <a:pt x="732" y="232"/>
                  <a:pt x="738" y="231"/>
                </a:cubicBezTo>
                <a:cubicBezTo>
                  <a:pt x="743" y="240"/>
                  <a:pt x="750" y="249"/>
                  <a:pt x="757" y="257"/>
                </a:cubicBezTo>
                <a:cubicBezTo>
                  <a:pt x="762" y="263"/>
                  <a:pt x="762" y="263"/>
                  <a:pt x="762" y="263"/>
                </a:cubicBezTo>
                <a:cubicBezTo>
                  <a:pt x="941" y="263"/>
                  <a:pt x="941" y="263"/>
                  <a:pt x="941" y="263"/>
                </a:cubicBezTo>
                <a:cubicBezTo>
                  <a:pt x="946" y="257"/>
                  <a:pt x="946" y="257"/>
                  <a:pt x="946" y="257"/>
                </a:cubicBezTo>
                <a:cubicBezTo>
                  <a:pt x="969" y="233"/>
                  <a:pt x="981" y="202"/>
                  <a:pt x="981" y="169"/>
                </a:cubicBezTo>
                <a:cubicBezTo>
                  <a:pt x="981" y="97"/>
                  <a:pt x="923" y="39"/>
                  <a:pt x="851" y="39"/>
                </a:cubicBezTo>
                <a:cubicBezTo>
                  <a:pt x="834" y="39"/>
                  <a:pt x="817" y="43"/>
                  <a:pt x="802" y="49"/>
                </a:cubicBezTo>
                <a:cubicBezTo>
                  <a:pt x="791" y="23"/>
                  <a:pt x="765" y="4"/>
                  <a:pt x="735" y="4"/>
                </a:cubicBezTo>
                <a:cubicBezTo>
                  <a:pt x="718" y="4"/>
                  <a:pt x="703" y="9"/>
                  <a:pt x="690" y="20"/>
                </a:cubicBezTo>
                <a:cubicBezTo>
                  <a:pt x="677" y="7"/>
                  <a:pt x="660" y="0"/>
                  <a:pt x="641" y="0"/>
                </a:cubicBezTo>
                <a:cubicBezTo>
                  <a:pt x="614" y="0"/>
                  <a:pt x="590" y="16"/>
                  <a:pt x="578" y="39"/>
                </a:cubicBezTo>
                <a:cubicBezTo>
                  <a:pt x="571" y="36"/>
                  <a:pt x="563" y="34"/>
                  <a:pt x="554" y="34"/>
                </a:cubicBezTo>
                <a:cubicBezTo>
                  <a:pt x="515" y="34"/>
                  <a:pt x="483" y="66"/>
                  <a:pt x="483" y="105"/>
                </a:cubicBezTo>
                <a:cubicBezTo>
                  <a:pt x="483" y="145"/>
                  <a:pt x="515" y="176"/>
                  <a:pt x="554" y="176"/>
                </a:cubicBezTo>
                <a:close/>
                <a:moveTo>
                  <a:pt x="554" y="68"/>
                </a:moveTo>
                <a:cubicBezTo>
                  <a:pt x="565" y="68"/>
                  <a:pt x="573" y="73"/>
                  <a:pt x="577" y="76"/>
                </a:cubicBezTo>
                <a:cubicBezTo>
                  <a:pt x="600" y="95"/>
                  <a:pt x="600" y="95"/>
                  <a:pt x="600" y="95"/>
                </a:cubicBezTo>
                <a:cubicBezTo>
                  <a:pt x="605" y="66"/>
                  <a:pt x="605" y="66"/>
                  <a:pt x="605" y="66"/>
                </a:cubicBezTo>
                <a:cubicBezTo>
                  <a:pt x="607" y="47"/>
                  <a:pt x="623" y="34"/>
                  <a:pt x="641" y="34"/>
                </a:cubicBezTo>
                <a:cubicBezTo>
                  <a:pt x="655" y="34"/>
                  <a:pt x="668" y="42"/>
                  <a:pt x="674" y="54"/>
                </a:cubicBezTo>
                <a:cubicBezTo>
                  <a:pt x="688" y="80"/>
                  <a:pt x="688" y="80"/>
                  <a:pt x="688" y="80"/>
                </a:cubicBezTo>
                <a:cubicBezTo>
                  <a:pt x="704" y="55"/>
                  <a:pt x="704" y="55"/>
                  <a:pt x="704" y="55"/>
                </a:cubicBezTo>
                <a:cubicBezTo>
                  <a:pt x="710" y="44"/>
                  <a:pt x="722" y="37"/>
                  <a:pt x="735" y="37"/>
                </a:cubicBezTo>
                <a:cubicBezTo>
                  <a:pt x="755" y="37"/>
                  <a:pt x="772" y="53"/>
                  <a:pt x="773" y="73"/>
                </a:cubicBezTo>
                <a:cubicBezTo>
                  <a:pt x="773" y="106"/>
                  <a:pt x="773" y="106"/>
                  <a:pt x="773" y="106"/>
                </a:cubicBezTo>
                <a:cubicBezTo>
                  <a:pt x="799" y="89"/>
                  <a:pt x="799" y="89"/>
                  <a:pt x="799" y="89"/>
                </a:cubicBezTo>
                <a:cubicBezTo>
                  <a:pt x="814" y="78"/>
                  <a:pt x="833" y="73"/>
                  <a:pt x="851" y="73"/>
                </a:cubicBezTo>
                <a:cubicBezTo>
                  <a:pt x="904" y="73"/>
                  <a:pt x="947" y="116"/>
                  <a:pt x="947" y="169"/>
                </a:cubicBezTo>
                <a:cubicBezTo>
                  <a:pt x="947" y="191"/>
                  <a:pt x="940" y="212"/>
                  <a:pt x="926" y="229"/>
                </a:cubicBezTo>
                <a:cubicBezTo>
                  <a:pt x="777" y="229"/>
                  <a:pt x="777" y="229"/>
                  <a:pt x="777" y="229"/>
                </a:cubicBezTo>
                <a:cubicBezTo>
                  <a:pt x="771" y="221"/>
                  <a:pt x="765" y="212"/>
                  <a:pt x="762" y="203"/>
                </a:cubicBezTo>
                <a:cubicBezTo>
                  <a:pt x="755" y="185"/>
                  <a:pt x="755" y="185"/>
                  <a:pt x="755" y="185"/>
                </a:cubicBezTo>
                <a:cubicBezTo>
                  <a:pt x="738" y="195"/>
                  <a:pt x="738" y="195"/>
                  <a:pt x="738" y="195"/>
                </a:cubicBezTo>
                <a:cubicBezTo>
                  <a:pt x="716" y="207"/>
                  <a:pt x="689" y="194"/>
                  <a:pt x="684" y="171"/>
                </a:cubicBezTo>
                <a:cubicBezTo>
                  <a:pt x="678" y="144"/>
                  <a:pt x="678" y="144"/>
                  <a:pt x="678" y="144"/>
                </a:cubicBezTo>
                <a:cubicBezTo>
                  <a:pt x="657" y="161"/>
                  <a:pt x="657" y="161"/>
                  <a:pt x="657" y="161"/>
                </a:cubicBezTo>
                <a:cubicBezTo>
                  <a:pt x="652" y="165"/>
                  <a:pt x="644" y="170"/>
                  <a:pt x="633" y="170"/>
                </a:cubicBezTo>
                <a:cubicBezTo>
                  <a:pt x="618" y="170"/>
                  <a:pt x="604" y="160"/>
                  <a:pt x="598" y="146"/>
                </a:cubicBezTo>
                <a:cubicBezTo>
                  <a:pt x="591" y="126"/>
                  <a:pt x="591" y="126"/>
                  <a:pt x="591" y="126"/>
                </a:cubicBezTo>
                <a:cubicBezTo>
                  <a:pt x="574" y="137"/>
                  <a:pt x="574" y="137"/>
                  <a:pt x="574" y="137"/>
                </a:cubicBezTo>
                <a:cubicBezTo>
                  <a:pt x="568" y="141"/>
                  <a:pt x="561" y="143"/>
                  <a:pt x="554" y="143"/>
                </a:cubicBezTo>
                <a:cubicBezTo>
                  <a:pt x="534" y="143"/>
                  <a:pt x="517" y="126"/>
                  <a:pt x="517" y="105"/>
                </a:cubicBezTo>
                <a:cubicBezTo>
                  <a:pt x="517" y="85"/>
                  <a:pt x="534" y="68"/>
                  <a:pt x="554" y="68"/>
                </a:cubicBez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9" name="Freeform 6"/>
          <p:cNvSpPr>
            <a:spLocks noEditPoints="1"/>
          </p:cNvSpPr>
          <p:nvPr/>
        </p:nvSpPr>
        <p:spPr bwMode="auto">
          <a:xfrm>
            <a:off x="5299090" y="2226969"/>
            <a:ext cx="457013" cy="383006"/>
          </a:xfrm>
          <a:custGeom>
            <a:avLst/>
            <a:gdLst>
              <a:gd name="T0" fmla="*/ 1072 w 1134"/>
              <a:gd name="T1" fmla="*/ 132 h 948"/>
              <a:gd name="T2" fmla="*/ 306 w 1134"/>
              <a:gd name="T3" fmla="*/ 138 h 948"/>
              <a:gd name="T4" fmla="*/ 102 w 1134"/>
              <a:gd name="T5" fmla="*/ 0 h 948"/>
              <a:gd name="T6" fmla="*/ 0 w 1134"/>
              <a:gd name="T7" fmla="*/ 20 h 948"/>
              <a:gd name="T8" fmla="*/ 102 w 1134"/>
              <a:gd name="T9" fmla="*/ 39 h 948"/>
              <a:gd name="T10" fmla="*/ 279 w 1134"/>
              <a:gd name="T11" fmla="*/ 166 h 948"/>
              <a:gd name="T12" fmla="*/ 384 w 1134"/>
              <a:gd name="T13" fmla="*/ 644 h 948"/>
              <a:gd name="T14" fmla="*/ 334 w 1134"/>
              <a:gd name="T15" fmla="*/ 780 h 948"/>
              <a:gd name="T16" fmla="*/ 346 w 1134"/>
              <a:gd name="T17" fmla="*/ 948 h 948"/>
              <a:gd name="T18" fmla="*/ 782 w 1134"/>
              <a:gd name="T19" fmla="*/ 883 h 948"/>
              <a:gd name="T20" fmla="*/ 948 w 1134"/>
              <a:gd name="T21" fmla="*/ 863 h 948"/>
              <a:gd name="T22" fmla="*/ 782 w 1134"/>
              <a:gd name="T23" fmla="*/ 844 h 948"/>
              <a:gd name="T24" fmla="*/ 376 w 1134"/>
              <a:gd name="T25" fmla="*/ 785 h 948"/>
              <a:gd name="T26" fmla="*/ 442 w 1134"/>
              <a:gd name="T27" fmla="*/ 689 h 948"/>
              <a:gd name="T28" fmla="*/ 1020 w 1134"/>
              <a:gd name="T29" fmla="*/ 644 h 948"/>
              <a:gd name="T30" fmla="*/ 1119 w 1134"/>
              <a:gd name="T31" fmla="*/ 155 h 948"/>
              <a:gd name="T32" fmla="*/ 909 w 1134"/>
              <a:gd name="T33" fmla="*/ 863 h 948"/>
              <a:gd name="T34" fmla="*/ 819 w 1134"/>
              <a:gd name="T35" fmla="*/ 863 h 948"/>
              <a:gd name="T36" fmla="*/ 1072 w 1134"/>
              <a:gd name="T37" fmla="*/ 172 h 948"/>
              <a:gd name="T38" fmla="*/ 1091 w 1134"/>
              <a:gd name="T39" fmla="*/ 196 h 948"/>
              <a:gd name="T40" fmla="*/ 329 w 1134"/>
              <a:gd name="T41" fmla="*/ 261 h 948"/>
              <a:gd name="T42" fmla="*/ 317 w 1134"/>
              <a:gd name="T43" fmla="*/ 179 h 948"/>
              <a:gd name="T44" fmla="*/ 1072 w 1134"/>
              <a:gd name="T45" fmla="*/ 172 h 948"/>
              <a:gd name="T46" fmla="*/ 362 w 1134"/>
              <a:gd name="T47" fmla="*/ 391 h 948"/>
              <a:gd name="T48" fmla="*/ 1065 w 1134"/>
              <a:gd name="T49" fmla="*/ 301 h 948"/>
              <a:gd name="T50" fmla="*/ 1010 w 1134"/>
              <a:gd name="T51" fmla="*/ 520 h 948"/>
              <a:gd name="T52" fmla="*/ 372 w 1134"/>
              <a:gd name="T53" fmla="*/ 430 h 948"/>
              <a:gd name="T54" fmla="*/ 1010 w 1134"/>
              <a:gd name="T55" fmla="*/ 520 h 948"/>
              <a:gd name="T56" fmla="*/ 346 w 1134"/>
              <a:gd name="T57" fmla="*/ 908 h 948"/>
              <a:gd name="T58" fmla="*/ 346 w 1134"/>
              <a:gd name="T59" fmla="*/ 818 h 948"/>
              <a:gd name="T60" fmla="*/ 962 w 1134"/>
              <a:gd name="T61" fmla="*/ 650 h 948"/>
              <a:gd name="T62" fmla="*/ 423 w 1134"/>
              <a:gd name="T63" fmla="*/ 635 h 948"/>
              <a:gd name="T64" fmla="*/ 1000 w 1134"/>
              <a:gd name="T65" fmla="*/ 560 h 948"/>
              <a:gd name="T66" fmla="*/ 962 w 1134"/>
              <a:gd name="T67" fmla="*/ 65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34" h="948">
                <a:moveTo>
                  <a:pt x="1119" y="155"/>
                </a:moveTo>
                <a:cubicBezTo>
                  <a:pt x="1107" y="140"/>
                  <a:pt x="1090" y="132"/>
                  <a:pt x="1072" y="132"/>
                </a:cubicBezTo>
                <a:cubicBezTo>
                  <a:pt x="332" y="132"/>
                  <a:pt x="332" y="132"/>
                  <a:pt x="332" y="132"/>
                </a:cubicBezTo>
                <a:cubicBezTo>
                  <a:pt x="323" y="132"/>
                  <a:pt x="314" y="134"/>
                  <a:pt x="306" y="138"/>
                </a:cubicBezTo>
                <a:cubicBezTo>
                  <a:pt x="197" y="37"/>
                  <a:pt x="197" y="37"/>
                  <a:pt x="197" y="37"/>
                </a:cubicBezTo>
                <a:cubicBezTo>
                  <a:pt x="171" y="13"/>
                  <a:pt x="137" y="0"/>
                  <a:pt x="102" y="0"/>
                </a:cubicBez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31"/>
                  <a:pt x="9" y="39"/>
                  <a:pt x="20" y="39"/>
                </a:cubicBezTo>
                <a:cubicBezTo>
                  <a:pt x="102" y="39"/>
                  <a:pt x="102" y="39"/>
                  <a:pt x="102" y="39"/>
                </a:cubicBezTo>
                <a:cubicBezTo>
                  <a:pt x="128" y="39"/>
                  <a:pt x="152" y="49"/>
                  <a:pt x="170" y="66"/>
                </a:cubicBezTo>
                <a:cubicBezTo>
                  <a:pt x="279" y="166"/>
                  <a:pt x="279" y="166"/>
                  <a:pt x="279" y="166"/>
                </a:cubicBezTo>
                <a:cubicBezTo>
                  <a:pt x="273" y="178"/>
                  <a:pt x="271" y="192"/>
                  <a:pt x="275" y="206"/>
                </a:cubicBezTo>
                <a:cubicBezTo>
                  <a:pt x="384" y="644"/>
                  <a:pt x="384" y="644"/>
                  <a:pt x="384" y="644"/>
                </a:cubicBezTo>
                <a:cubicBezTo>
                  <a:pt x="386" y="652"/>
                  <a:pt x="390" y="659"/>
                  <a:pt x="395" y="665"/>
                </a:cubicBezTo>
                <a:cubicBezTo>
                  <a:pt x="334" y="780"/>
                  <a:pt x="334" y="780"/>
                  <a:pt x="334" y="780"/>
                </a:cubicBezTo>
                <a:cubicBezTo>
                  <a:pt x="293" y="786"/>
                  <a:pt x="262" y="821"/>
                  <a:pt x="262" y="863"/>
                </a:cubicBezTo>
                <a:cubicBezTo>
                  <a:pt x="262" y="910"/>
                  <a:pt x="300" y="948"/>
                  <a:pt x="346" y="948"/>
                </a:cubicBezTo>
                <a:cubicBezTo>
                  <a:pt x="386" y="948"/>
                  <a:pt x="419" y="920"/>
                  <a:pt x="428" y="883"/>
                </a:cubicBezTo>
                <a:cubicBezTo>
                  <a:pt x="782" y="883"/>
                  <a:pt x="782" y="883"/>
                  <a:pt x="782" y="883"/>
                </a:cubicBezTo>
                <a:cubicBezTo>
                  <a:pt x="791" y="920"/>
                  <a:pt x="824" y="948"/>
                  <a:pt x="864" y="948"/>
                </a:cubicBezTo>
                <a:cubicBezTo>
                  <a:pt x="910" y="948"/>
                  <a:pt x="948" y="910"/>
                  <a:pt x="948" y="863"/>
                </a:cubicBezTo>
                <a:cubicBezTo>
                  <a:pt x="948" y="817"/>
                  <a:pt x="910" y="779"/>
                  <a:pt x="864" y="779"/>
                </a:cubicBezTo>
                <a:cubicBezTo>
                  <a:pt x="824" y="779"/>
                  <a:pt x="791" y="807"/>
                  <a:pt x="782" y="844"/>
                </a:cubicBezTo>
                <a:cubicBezTo>
                  <a:pt x="428" y="844"/>
                  <a:pt x="428" y="844"/>
                  <a:pt x="428" y="844"/>
                </a:cubicBezTo>
                <a:cubicBezTo>
                  <a:pt x="422" y="816"/>
                  <a:pt x="402" y="794"/>
                  <a:pt x="376" y="785"/>
                </a:cubicBezTo>
                <a:cubicBezTo>
                  <a:pt x="428" y="687"/>
                  <a:pt x="428" y="687"/>
                  <a:pt x="428" y="687"/>
                </a:cubicBezTo>
                <a:cubicBezTo>
                  <a:pt x="432" y="688"/>
                  <a:pt x="437" y="689"/>
                  <a:pt x="442" y="689"/>
                </a:cubicBezTo>
                <a:cubicBezTo>
                  <a:pt x="962" y="689"/>
                  <a:pt x="962" y="689"/>
                  <a:pt x="962" y="689"/>
                </a:cubicBezTo>
                <a:cubicBezTo>
                  <a:pt x="990" y="689"/>
                  <a:pt x="1013" y="671"/>
                  <a:pt x="1020" y="644"/>
                </a:cubicBezTo>
                <a:cubicBezTo>
                  <a:pt x="1129" y="206"/>
                  <a:pt x="1129" y="206"/>
                  <a:pt x="1129" y="206"/>
                </a:cubicBezTo>
                <a:cubicBezTo>
                  <a:pt x="1134" y="188"/>
                  <a:pt x="1130" y="169"/>
                  <a:pt x="1119" y="155"/>
                </a:cubicBezTo>
                <a:close/>
                <a:moveTo>
                  <a:pt x="864" y="818"/>
                </a:moveTo>
                <a:cubicBezTo>
                  <a:pt x="889" y="818"/>
                  <a:pt x="909" y="839"/>
                  <a:pt x="909" y="863"/>
                </a:cubicBezTo>
                <a:cubicBezTo>
                  <a:pt x="909" y="888"/>
                  <a:pt x="889" y="908"/>
                  <a:pt x="864" y="908"/>
                </a:cubicBezTo>
                <a:cubicBezTo>
                  <a:pt x="839" y="908"/>
                  <a:pt x="819" y="888"/>
                  <a:pt x="819" y="863"/>
                </a:cubicBezTo>
                <a:cubicBezTo>
                  <a:pt x="819" y="839"/>
                  <a:pt x="839" y="818"/>
                  <a:pt x="864" y="818"/>
                </a:cubicBezTo>
                <a:close/>
                <a:moveTo>
                  <a:pt x="1072" y="172"/>
                </a:moveTo>
                <a:cubicBezTo>
                  <a:pt x="1078" y="172"/>
                  <a:pt x="1084" y="174"/>
                  <a:pt x="1087" y="179"/>
                </a:cubicBezTo>
                <a:cubicBezTo>
                  <a:pt x="1091" y="184"/>
                  <a:pt x="1093" y="190"/>
                  <a:pt x="1091" y="196"/>
                </a:cubicBezTo>
                <a:cubicBezTo>
                  <a:pt x="1075" y="261"/>
                  <a:pt x="1075" y="261"/>
                  <a:pt x="1075" y="261"/>
                </a:cubicBezTo>
                <a:cubicBezTo>
                  <a:pt x="329" y="261"/>
                  <a:pt x="329" y="261"/>
                  <a:pt x="329" y="261"/>
                </a:cubicBezTo>
                <a:cubicBezTo>
                  <a:pt x="313" y="196"/>
                  <a:pt x="313" y="196"/>
                  <a:pt x="313" y="196"/>
                </a:cubicBezTo>
                <a:cubicBezTo>
                  <a:pt x="312" y="190"/>
                  <a:pt x="313" y="184"/>
                  <a:pt x="317" y="179"/>
                </a:cubicBezTo>
                <a:cubicBezTo>
                  <a:pt x="320" y="174"/>
                  <a:pt x="326" y="172"/>
                  <a:pt x="332" y="172"/>
                </a:cubicBezTo>
                <a:lnTo>
                  <a:pt x="1072" y="172"/>
                </a:lnTo>
                <a:close/>
                <a:moveTo>
                  <a:pt x="1042" y="391"/>
                </a:moveTo>
                <a:cubicBezTo>
                  <a:pt x="362" y="391"/>
                  <a:pt x="362" y="391"/>
                  <a:pt x="362" y="391"/>
                </a:cubicBezTo>
                <a:cubicBezTo>
                  <a:pt x="339" y="301"/>
                  <a:pt x="339" y="301"/>
                  <a:pt x="339" y="301"/>
                </a:cubicBezTo>
                <a:cubicBezTo>
                  <a:pt x="1065" y="301"/>
                  <a:pt x="1065" y="301"/>
                  <a:pt x="1065" y="301"/>
                </a:cubicBezTo>
                <a:lnTo>
                  <a:pt x="1042" y="391"/>
                </a:lnTo>
                <a:close/>
                <a:moveTo>
                  <a:pt x="1010" y="520"/>
                </a:moveTo>
                <a:cubicBezTo>
                  <a:pt x="394" y="520"/>
                  <a:pt x="394" y="520"/>
                  <a:pt x="394" y="520"/>
                </a:cubicBezTo>
                <a:cubicBezTo>
                  <a:pt x="372" y="430"/>
                  <a:pt x="372" y="430"/>
                  <a:pt x="372" y="430"/>
                </a:cubicBezTo>
                <a:cubicBezTo>
                  <a:pt x="1033" y="430"/>
                  <a:pt x="1033" y="430"/>
                  <a:pt x="1033" y="430"/>
                </a:cubicBezTo>
                <a:lnTo>
                  <a:pt x="1010" y="520"/>
                </a:lnTo>
                <a:close/>
                <a:moveTo>
                  <a:pt x="391" y="863"/>
                </a:moveTo>
                <a:cubicBezTo>
                  <a:pt x="391" y="888"/>
                  <a:pt x="371" y="908"/>
                  <a:pt x="346" y="908"/>
                </a:cubicBezTo>
                <a:cubicBezTo>
                  <a:pt x="322" y="908"/>
                  <a:pt x="301" y="888"/>
                  <a:pt x="301" y="863"/>
                </a:cubicBezTo>
                <a:cubicBezTo>
                  <a:pt x="301" y="839"/>
                  <a:pt x="322" y="818"/>
                  <a:pt x="346" y="818"/>
                </a:cubicBezTo>
                <a:cubicBezTo>
                  <a:pt x="371" y="818"/>
                  <a:pt x="391" y="839"/>
                  <a:pt x="391" y="863"/>
                </a:cubicBezTo>
                <a:close/>
                <a:moveTo>
                  <a:pt x="962" y="650"/>
                </a:moveTo>
                <a:cubicBezTo>
                  <a:pt x="442" y="650"/>
                  <a:pt x="442" y="650"/>
                  <a:pt x="442" y="650"/>
                </a:cubicBezTo>
                <a:cubicBezTo>
                  <a:pt x="433" y="650"/>
                  <a:pt x="425" y="643"/>
                  <a:pt x="423" y="635"/>
                </a:cubicBezTo>
                <a:cubicBezTo>
                  <a:pt x="404" y="560"/>
                  <a:pt x="404" y="560"/>
                  <a:pt x="404" y="560"/>
                </a:cubicBezTo>
                <a:cubicBezTo>
                  <a:pt x="1000" y="560"/>
                  <a:pt x="1000" y="560"/>
                  <a:pt x="1000" y="560"/>
                </a:cubicBezTo>
                <a:cubicBezTo>
                  <a:pt x="981" y="635"/>
                  <a:pt x="981" y="635"/>
                  <a:pt x="981" y="635"/>
                </a:cubicBezTo>
                <a:cubicBezTo>
                  <a:pt x="979" y="643"/>
                  <a:pt x="971" y="650"/>
                  <a:pt x="962" y="65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0" name="Freeform 5"/>
          <p:cNvSpPr>
            <a:spLocks noEditPoints="1"/>
          </p:cNvSpPr>
          <p:nvPr/>
        </p:nvSpPr>
        <p:spPr bwMode="auto">
          <a:xfrm>
            <a:off x="7289616" y="2154987"/>
            <a:ext cx="428491" cy="454988"/>
          </a:xfrm>
          <a:custGeom>
            <a:avLst/>
            <a:gdLst>
              <a:gd name="T0" fmla="*/ 1053 w 1071"/>
              <a:gd name="T1" fmla="*/ 1135 h 1135"/>
              <a:gd name="T2" fmla="*/ 0 w 1071"/>
              <a:gd name="T3" fmla="*/ 1117 h 1135"/>
              <a:gd name="T4" fmla="*/ 18 w 1071"/>
              <a:gd name="T5" fmla="*/ 65 h 1135"/>
              <a:gd name="T6" fmla="*/ 36 w 1071"/>
              <a:gd name="T7" fmla="*/ 1100 h 1135"/>
              <a:gd name="T8" fmla="*/ 1071 w 1071"/>
              <a:gd name="T9" fmla="*/ 1117 h 1135"/>
              <a:gd name="T10" fmla="*/ 968 w 1071"/>
              <a:gd name="T11" fmla="*/ 323 h 1135"/>
              <a:gd name="T12" fmla="*/ 1006 w 1071"/>
              <a:gd name="T13" fmla="*/ 968 h 1135"/>
              <a:gd name="T14" fmla="*/ 814 w 1071"/>
              <a:gd name="T15" fmla="*/ 1006 h 1135"/>
              <a:gd name="T16" fmla="*/ 776 w 1071"/>
              <a:gd name="T17" fmla="*/ 361 h 1135"/>
              <a:gd name="T18" fmla="*/ 968 w 1071"/>
              <a:gd name="T19" fmla="*/ 359 h 1135"/>
              <a:gd name="T20" fmla="*/ 812 w 1071"/>
              <a:gd name="T21" fmla="*/ 361 h 1135"/>
              <a:gd name="T22" fmla="*/ 814 w 1071"/>
              <a:gd name="T23" fmla="*/ 970 h 1135"/>
              <a:gd name="T24" fmla="*/ 970 w 1071"/>
              <a:gd name="T25" fmla="*/ 968 h 1135"/>
              <a:gd name="T26" fmla="*/ 968 w 1071"/>
              <a:gd name="T27" fmla="*/ 359 h 1135"/>
              <a:gd name="T28" fmla="*/ 683 w 1071"/>
              <a:gd name="T29" fmla="*/ 555 h 1135"/>
              <a:gd name="T30" fmla="*/ 645 w 1071"/>
              <a:gd name="T31" fmla="*/ 1006 h 1135"/>
              <a:gd name="T32" fmla="*/ 453 w 1071"/>
              <a:gd name="T33" fmla="*/ 968 h 1135"/>
              <a:gd name="T34" fmla="*/ 490 w 1071"/>
              <a:gd name="T35" fmla="*/ 517 h 1135"/>
              <a:gd name="T36" fmla="*/ 645 w 1071"/>
              <a:gd name="T37" fmla="*/ 553 h 1135"/>
              <a:gd name="T38" fmla="*/ 488 w 1071"/>
              <a:gd name="T39" fmla="*/ 555 h 1135"/>
              <a:gd name="T40" fmla="*/ 490 w 1071"/>
              <a:gd name="T41" fmla="*/ 970 h 1135"/>
              <a:gd name="T42" fmla="*/ 647 w 1071"/>
              <a:gd name="T43" fmla="*/ 968 h 1135"/>
              <a:gd name="T44" fmla="*/ 645 w 1071"/>
              <a:gd name="T45" fmla="*/ 553 h 1135"/>
              <a:gd name="T46" fmla="*/ 129 w 1071"/>
              <a:gd name="T47" fmla="*/ 684 h 1135"/>
              <a:gd name="T48" fmla="*/ 322 w 1071"/>
              <a:gd name="T49" fmla="*/ 647 h 1135"/>
              <a:gd name="T50" fmla="*/ 359 w 1071"/>
              <a:gd name="T51" fmla="*/ 968 h 1135"/>
              <a:gd name="T52" fmla="*/ 167 w 1071"/>
              <a:gd name="T53" fmla="*/ 1006 h 1135"/>
              <a:gd name="T54" fmla="*/ 165 w 1071"/>
              <a:gd name="T55" fmla="*/ 968 h 1135"/>
              <a:gd name="T56" fmla="*/ 322 w 1071"/>
              <a:gd name="T57" fmla="*/ 970 h 1135"/>
              <a:gd name="T58" fmla="*/ 324 w 1071"/>
              <a:gd name="T59" fmla="*/ 684 h 1135"/>
              <a:gd name="T60" fmla="*/ 167 w 1071"/>
              <a:gd name="T61" fmla="*/ 682 h 1135"/>
              <a:gd name="T62" fmla="*/ 165 w 1071"/>
              <a:gd name="T63" fmla="*/ 968 h 1135"/>
              <a:gd name="T64" fmla="*/ 244 w 1071"/>
              <a:gd name="T65" fmla="*/ 542 h 1135"/>
              <a:gd name="T66" fmla="*/ 659 w 1071"/>
              <a:gd name="T67" fmla="*/ 37 h 1135"/>
              <a:gd name="T68" fmla="*/ 674 w 1071"/>
              <a:gd name="T69" fmla="*/ 0 h 1135"/>
              <a:gd name="T70" fmla="*/ 877 w 1071"/>
              <a:gd name="T71" fmla="*/ 22 h 1135"/>
              <a:gd name="T72" fmla="*/ 863 w 1071"/>
              <a:gd name="T73" fmla="*/ 222 h 1135"/>
              <a:gd name="T74" fmla="*/ 793 w 1071"/>
              <a:gd name="T75" fmla="*/ 171 h 1135"/>
              <a:gd name="T76" fmla="*/ 260 w 1071"/>
              <a:gd name="T77" fmla="*/ 580 h 1135"/>
              <a:gd name="T78" fmla="*/ 427 w 1071"/>
              <a:gd name="T79" fmla="*/ 410 h 1135"/>
              <a:gd name="T80" fmla="*/ 807 w 1071"/>
              <a:gd name="T81" fmla="*/ 135 h 1135"/>
              <a:gd name="T82" fmla="*/ 841 w 1071"/>
              <a:gd name="T83" fmla="*/ 36 h 1135"/>
              <a:gd name="T84" fmla="*/ 742 w 1071"/>
              <a:gd name="T85" fmla="*/ 70 h 1135"/>
              <a:gd name="T86" fmla="*/ 427 w 1071"/>
              <a:gd name="T87" fmla="*/ 410 h 1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1135">
                <a:moveTo>
                  <a:pt x="1071" y="1117"/>
                </a:moveTo>
                <a:cubicBezTo>
                  <a:pt x="1071" y="1127"/>
                  <a:pt x="1063" y="1135"/>
                  <a:pt x="1053" y="1135"/>
                </a:cubicBezTo>
                <a:cubicBezTo>
                  <a:pt x="18" y="1135"/>
                  <a:pt x="18" y="1135"/>
                  <a:pt x="18" y="1135"/>
                </a:cubicBezTo>
                <a:cubicBezTo>
                  <a:pt x="8" y="1135"/>
                  <a:pt x="0" y="1127"/>
                  <a:pt x="0" y="1117"/>
                </a:cubicBezTo>
                <a:cubicBezTo>
                  <a:pt x="0" y="82"/>
                  <a:pt x="0" y="82"/>
                  <a:pt x="0" y="82"/>
                </a:cubicBezTo>
                <a:cubicBezTo>
                  <a:pt x="0" y="73"/>
                  <a:pt x="8" y="65"/>
                  <a:pt x="18" y="65"/>
                </a:cubicBezTo>
                <a:cubicBezTo>
                  <a:pt x="28" y="65"/>
                  <a:pt x="36" y="73"/>
                  <a:pt x="36" y="82"/>
                </a:cubicBezTo>
                <a:cubicBezTo>
                  <a:pt x="36" y="1100"/>
                  <a:pt x="36" y="1100"/>
                  <a:pt x="36" y="1100"/>
                </a:cubicBezTo>
                <a:cubicBezTo>
                  <a:pt x="1053" y="1100"/>
                  <a:pt x="1053" y="1100"/>
                  <a:pt x="1053" y="1100"/>
                </a:cubicBezTo>
                <a:cubicBezTo>
                  <a:pt x="1063" y="1100"/>
                  <a:pt x="1071" y="1108"/>
                  <a:pt x="1071" y="1117"/>
                </a:cubicBezTo>
                <a:close/>
                <a:moveTo>
                  <a:pt x="814" y="323"/>
                </a:moveTo>
                <a:cubicBezTo>
                  <a:pt x="968" y="323"/>
                  <a:pt x="968" y="323"/>
                  <a:pt x="968" y="323"/>
                </a:cubicBezTo>
                <a:cubicBezTo>
                  <a:pt x="989" y="323"/>
                  <a:pt x="1006" y="340"/>
                  <a:pt x="1006" y="361"/>
                </a:cubicBezTo>
                <a:cubicBezTo>
                  <a:pt x="1006" y="968"/>
                  <a:pt x="1006" y="968"/>
                  <a:pt x="1006" y="968"/>
                </a:cubicBezTo>
                <a:cubicBezTo>
                  <a:pt x="1006" y="989"/>
                  <a:pt x="989" y="1006"/>
                  <a:pt x="968" y="1006"/>
                </a:cubicBezTo>
                <a:cubicBezTo>
                  <a:pt x="814" y="1006"/>
                  <a:pt x="814" y="1006"/>
                  <a:pt x="814" y="1006"/>
                </a:cubicBezTo>
                <a:cubicBezTo>
                  <a:pt x="793" y="1006"/>
                  <a:pt x="776" y="989"/>
                  <a:pt x="776" y="968"/>
                </a:cubicBezTo>
                <a:cubicBezTo>
                  <a:pt x="776" y="361"/>
                  <a:pt x="776" y="361"/>
                  <a:pt x="776" y="361"/>
                </a:cubicBezTo>
                <a:cubicBezTo>
                  <a:pt x="776" y="340"/>
                  <a:pt x="793" y="323"/>
                  <a:pt x="814" y="323"/>
                </a:cubicBezTo>
                <a:close/>
                <a:moveTo>
                  <a:pt x="968" y="359"/>
                </a:moveTo>
                <a:cubicBezTo>
                  <a:pt x="814" y="359"/>
                  <a:pt x="814" y="359"/>
                  <a:pt x="814" y="359"/>
                </a:cubicBezTo>
                <a:cubicBezTo>
                  <a:pt x="813" y="359"/>
                  <a:pt x="812" y="360"/>
                  <a:pt x="812" y="361"/>
                </a:cubicBezTo>
                <a:cubicBezTo>
                  <a:pt x="812" y="968"/>
                  <a:pt x="812" y="968"/>
                  <a:pt x="812" y="968"/>
                </a:cubicBezTo>
                <a:cubicBezTo>
                  <a:pt x="812" y="969"/>
                  <a:pt x="813" y="970"/>
                  <a:pt x="814" y="970"/>
                </a:cubicBezTo>
                <a:cubicBezTo>
                  <a:pt x="968" y="970"/>
                  <a:pt x="968" y="970"/>
                  <a:pt x="968" y="970"/>
                </a:cubicBezTo>
                <a:cubicBezTo>
                  <a:pt x="969" y="970"/>
                  <a:pt x="970" y="969"/>
                  <a:pt x="970" y="968"/>
                </a:cubicBezTo>
                <a:cubicBezTo>
                  <a:pt x="970" y="361"/>
                  <a:pt x="970" y="361"/>
                  <a:pt x="970" y="361"/>
                </a:cubicBezTo>
                <a:cubicBezTo>
                  <a:pt x="970" y="360"/>
                  <a:pt x="969" y="359"/>
                  <a:pt x="968" y="359"/>
                </a:cubicBezTo>
                <a:close/>
                <a:moveTo>
                  <a:pt x="645" y="517"/>
                </a:moveTo>
                <a:cubicBezTo>
                  <a:pt x="666" y="517"/>
                  <a:pt x="683" y="534"/>
                  <a:pt x="683" y="555"/>
                </a:cubicBezTo>
                <a:cubicBezTo>
                  <a:pt x="683" y="968"/>
                  <a:pt x="683" y="968"/>
                  <a:pt x="683" y="968"/>
                </a:cubicBezTo>
                <a:cubicBezTo>
                  <a:pt x="683" y="989"/>
                  <a:pt x="666" y="1006"/>
                  <a:pt x="645" y="1006"/>
                </a:cubicBezTo>
                <a:cubicBezTo>
                  <a:pt x="490" y="1006"/>
                  <a:pt x="490" y="1006"/>
                  <a:pt x="490" y="1006"/>
                </a:cubicBezTo>
                <a:cubicBezTo>
                  <a:pt x="470" y="1006"/>
                  <a:pt x="453" y="989"/>
                  <a:pt x="453" y="968"/>
                </a:cubicBezTo>
                <a:cubicBezTo>
                  <a:pt x="453" y="555"/>
                  <a:pt x="453" y="555"/>
                  <a:pt x="453" y="555"/>
                </a:cubicBezTo>
                <a:cubicBezTo>
                  <a:pt x="453" y="534"/>
                  <a:pt x="470" y="517"/>
                  <a:pt x="490" y="517"/>
                </a:cubicBezTo>
                <a:lnTo>
                  <a:pt x="645" y="517"/>
                </a:lnTo>
                <a:close/>
                <a:moveTo>
                  <a:pt x="645" y="553"/>
                </a:moveTo>
                <a:cubicBezTo>
                  <a:pt x="490" y="553"/>
                  <a:pt x="490" y="553"/>
                  <a:pt x="490" y="553"/>
                </a:cubicBezTo>
                <a:cubicBezTo>
                  <a:pt x="489" y="553"/>
                  <a:pt x="488" y="554"/>
                  <a:pt x="488" y="555"/>
                </a:cubicBezTo>
                <a:cubicBezTo>
                  <a:pt x="488" y="968"/>
                  <a:pt x="488" y="968"/>
                  <a:pt x="488" y="968"/>
                </a:cubicBezTo>
                <a:cubicBezTo>
                  <a:pt x="488" y="969"/>
                  <a:pt x="489" y="970"/>
                  <a:pt x="490" y="970"/>
                </a:cubicBezTo>
                <a:cubicBezTo>
                  <a:pt x="645" y="970"/>
                  <a:pt x="645" y="970"/>
                  <a:pt x="645" y="970"/>
                </a:cubicBezTo>
                <a:cubicBezTo>
                  <a:pt x="646" y="970"/>
                  <a:pt x="647" y="969"/>
                  <a:pt x="647" y="968"/>
                </a:cubicBezTo>
                <a:cubicBezTo>
                  <a:pt x="647" y="555"/>
                  <a:pt x="647" y="555"/>
                  <a:pt x="647" y="555"/>
                </a:cubicBezTo>
                <a:cubicBezTo>
                  <a:pt x="647" y="554"/>
                  <a:pt x="646" y="553"/>
                  <a:pt x="645" y="553"/>
                </a:cubicBezTo>
                <a:close/>
                <a:moveTo>
                  <a:pt x="129" y="968"/>
                </a:moveTo>
                <a:cubicBezTo>
                  <a:pt x="129" y="684"/>
                  <a:pt x="129" y="684"/>
                  <a:pt x="129" y="684"/>
                </a:cubicBezTo>
                <a:cubicBezTo>
                  <a:pt x="129" y="664"/>
                  <a:pt x="146" y="647"/>
                  <a:pt x="167" y="647"/>
                </a:cubicBezTo>
                <a:cubicBezTo>
                  <a:pt x="322" y="647"/>
                  <a:pt x="322" y="647"/>
                  <a:pt x="322" y="647"/>
                </a:cubicBezTo>
                <a:cubicBezTo>
                  <a:pt x="342" y="647"/>
                  <a:pt x="359" y="664"/>
                  <a:pt x="359" y="684"/>
                </a:cubicBezTo>
                <a:cubicBezTo>
                  <a:pt x="359" y="968"/>
                  <a:pt x="359" y="968"/>
                  <a:pt x="359" y="968"/>
                </a:cubicBezTo>
                <a:cubicBezTo>
                  <a:pt x="359" y="989"/>
                  <a:pt x="342" y="1006"/>
                  <a:pt x="322" y="1006"/>
                </a:cubicBezTo>
                <a:cubicBezTo>
                  <a:pt x="167" y="1006"/>
                  <a:pt x="167" y="1006"/>
                  <a:pt x="167" y="1006"/>
                </a:cubicBezTo>
                <a:cubicBezTo>
                  <a:pt x="146" y="1006"/>
                  <a:pt x="129" y="989"/>
                  <a:pt x="129" y="968"/>
                </a:cubicBezTo>
                <a:close/>
                <a:moveTo>
                  <a:pt x="165" y="968"/>
                </a:moveTo>
                <a:cubicBezTo>
                  <a:pt x="165" y="969"/>
                  <a:pt x="166" y="970"/>
                  <a:pt x="167" y="970"/>
                </a:cubicBezTo>
                <a:cubicBezTo>
                  <a:pt x="322" y="970"/>
                  <a:pt x="322" y="970"/>
                  <a:pt x="322" y="970"/>
                </a:cubicBezTo>
                <a:cubicBezTo>
                  <a:pt x="323" y="970"/>
                  <a:pt x="324" y="969"/>
                  <a:pt x="324" y="968"/>
                </a:cubicBezTo>
                <a:cubicBezTo>
                  <a:pt x="324" y="684"/>
                  <a:pt x="324" y="684"/>
                  <a:pt x="324" y="684"/>
                </a:cubicBezTo>
                <a:cubicBezTo>
                  <a:pt x="324" y="683"/>
                  <a:pt x="323" y="682"/>
                  <a:pt x="322" y="682"/>
                </a:cubicBezTo>
                <a:cubicBezTo>
                  <a:pt x="167" y="682"/>
                  <a:pt x="167" y="682"/>
                  <a:pt x="167" y="682"/>
                </a:cubicBezTo>
                <a:cubicBezTo>
                  <a:pt x="166" y="682"/>
                  <a:pt x="165" y="683"/>
                  <a:pt x="165" y="684"/>
                </a:cubicBezTo>
                <a:lnTo>
                  <a:pt x="165" y="968"/>
                </a:lnTo>
                <a:close/>
                <a:moveTo>
                  <a:pt x="243" y="572"/>
                </a:moveTo>
                <a:cubicBezTo>
                  <a:pt x="236" y="563"/>
                  <a:pt x="236" y="551"/>
                  <a:pt x="244" y="542"/>
                </a:cubicBezTo>
                <a:cubicBezTo>
                  <a:pt x="704" y="82"/>
                  <a:pt x="704" y="82"/>
                  <a:pt x="704" y="82"/>
                </a:cubicBezTo>
                <a:cubicBezTo>
                  <a:pt x="659" y="37"/>
                  <a:pt x="659" y="37"/>
                  <a:pt x="659" y="37"/>
                </a:cubicBezTo>
                <a:cubicBezTo>
                  <a:pt x="653" y="31"/>
                  <a:pt x="651" y="22"/>
                  <a:pt x="654" y="13"/>
                </a:cubicBezTo>
                <a:cubicBezTo>
                  <a:pt x="658" y="5"/>
                  <a:pt x="665" y="0"/>
                  <a:pt x="674" y="0"/>
                </a:cubicBezTo>
                <a:cubicBezTo>
                  <a:pt x="855" y="0"/>
                  <a:pt x="855" y="0"/>
                  <a:pt x="855" y="0"/>
                </a:cubicBezTo>
                <a:cubicBezTo>
                  <a:pt x="867" y="0"/>
                  <a:pt x="877" y="10"/>
                  <a:pt x="877" y="22"/>
                </a:cubicBezTo>
                <a:cubicBezTo>
                  <a:pt x="877" y="202"/>
                  <a:pt x="877" y="202"/>
                  <a:pt x="877" y="202"/>
                </a:cubicBezTo>
                <a:cubicBezTo>
                  <a:pt x="877" y="211"/>
                  <a:pt x="871" y="219"/>
                  <a:pt x="863" y="222"/>
                </a:cubicBezTo>
                <a:cubicBezTo>
                  <a:pt x="855" y="226"/>
                  <a:pt x="846" y="224"/>
                  <a:pt x="839" y="218"/>
                </a:cubicBezTo>
                <a:cubicBezTo>
                  <a:pt x="793" y="171"/>
                  <a:pt x="793" y="171"/>
                  <a:pt x="793" y="171"/>
                </a:cubicBezTo>
                <a:cubicBezTo>
                  <a:pt x="273" y="575"/>
                  <a:pt x="273" y="575"/>
                  <a:pt x="273" y="575"/>
                </a:cubicBezTo>
                <a:cubicBezTo>
                  <a:pt x="269" y="578"/>
                  <a:pt x="264" y="580"/>
                  <a:pt x="260" y="580"/>
                </a:cubicBezTo>
                <a:cubicBezTo>
                  <a:pt x="254" y="580"/>
                  <a:pt x="248" y="577"/>
                  <a:pt x="243" y="572"/>
                </a:cubicBezTo>
                <a:close/>
                <a:moveTo>
                  <a:pt x="427" y="410"/>
                </a:moveTo>
                <a:cubicBezTo>
                  <a:pt x="783" y="133"/>
                  <a:pt x="783" y="133"/>
                  <a:pt x="783" y="133"/>
                </a:cubicBezTo>
                <a:cubicBezTo>
                  <a:pt x="790" y="128"/>
                  <a:pt x="800" y="128"/>
                  <a:pt x="807" y="135"/>
                </a:cubicBezTo>
                <a:cubicBezTo>
                  <a:pt x="841" y="169"/>
                  <a:pt x="841" y="169"/>
                  <a:pt x="841" y="169"/>
                </a:cubicBezTo>
                <a:cubicBezTo>
                  <a:pt x="841" y="36"/>
                  <a:pt x="841" y="36"/>
                  <a:pt x="841" y="36"/>
                </a:cubicBezTo>
                <a:cubicBezTo>
                  <a:pt x="708" y="36"/>
                  <a:pt x="708" y="36"/>
                  <a:pt x="708" y="36"/>
                </a:cubicBezTo>
                <a:cubicBezTo>
                  <a:pt x="742" y="70"/>
                  <a:pt x="742" y="70"/>
                  <a:pt x="742" y="70"/>
                </a:cubicBezTo>
                <a:cubicBezTo>
                  <a:pt x="749" y="77"/>
                  <a:pt x="749" y="88"/>
                  <a:pt x="742" y="95"/>
                </a:cubicBezTo>
                <a:lnTo>
                  <a:pt x="427" y="41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</p:spTree>
    <p:extLst>
      <p:ext uri="{BB962C8B-B14F-4D97-AF65-F5344CB8AC3E}">
        <p14:creationId xmlns:p14="http://schemas.microsoft.com/office/powerpoint/2010/main" val="382041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>
            <a:extLst>
              <a:ext uri="{FF2B5EF4-FFF2-40B4-BE49-F238E27FC236}">
                <a16:creationId xmlns:a16="http://schemas.microsoft.com/office/drawing/2014/main" id="{BDDF9286-48A8-4B50-AB1F-76FE645BF3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D8A45717-2FD9-406E-BB47-24381B9CA6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666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rocess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produçã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4" name="Straight Connector 3"/>
          <p:cNvCxnSpPr>
            <a:stCxn id="18" idx="7"/>
            <a:endCxn id="14" idx="3"/>
          </p:cNvCxnSpPr>
          <p:nvPr/>
        </p:nvCxnSpPr>
        <p:spPr>
          <a:xfrm flipV="1">
            <a:off x="1591749" y="2873083"/>
            <a:ext cx="821677" cy="702772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>
            <a:stCxn id="14" idx="5"/>
            <a:endCxn id="30" idx="1"/>
          </p:cNvCxnSpPr>
          <p:nvPr/>
        </p:nvCxnSpPr>
        <p:spPr>
          <a:xfrm>
            <a:off x="2844198" y="2873083"/>
            <a:ext cx="821676" cy="324924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>
            <a:stCxn id="30" idx="7"/>
            <a:endCxn id="27" idx="3"/>
          </p:cNvCxnSpPr>
          <p:nvPr/>
        </p:nvCxnSpPr>
        <p:spPr>
          <a:xfrm flipV="1">
            <a:off x="4096646" y="2495235"/>
            <a:ext cx="821677" cy="702772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>
            <a:stCxn id="27" idx="5"/>
            <a:endCxn id="24" idx="1"/>
          </p:cNvCxnSpPr>
          <p:nvPr/>
        </p:nvCxnSpPr>
        <p:spPr>
          <a:xfrm>
            <a:off x="5349095" y="2495235"/>
            <a:ext cx="821676" cy="324924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24" idx="7"/>
            <a:endCxn id="21" idx="3"/>
          </p:cNvCxnSpPr>
          <p:nvPr/>
        </p:nvCxnSpPr>
        <p:spPr>
          <a:xfrm flipV="1">
            <a:off x="6601543" y="2117388"/>
            <a:ext cx="821677" cy="702771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H="1">
            <a:off x="861647" y="3976278"/>
            <a:ext cx="274320" cy="235116"/>
          </a:xfrm>
          <a:prstGeom prst="line">
            <a:avLst/>
          </a:prstGeom>
          <a:ln w="952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2269859" y="2298745"/>
            <a:ext cx="717906" cy="717904"/>
            <a:chOff x="2269859" y="2298745"/>
            <a:chExt cx="717906" cy="717904"/>
          </a:xfrm>
        </p:grpSpPr>
        <p:sp>
          <p:nvSpPr>
            <p:cNvPr id="49" name="Oval 48"/>
            <p:cNvSpPr/>
            <p:nvPr/>
          </p:nvSpPr>
          <p:spPr>
            <a:xfrm>
              <a:off x="2269859" y="2298745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4" name="Oval 13"/>
            <p:cNvSpPr/>
            <p:nvPr/>
          </p:nvSpPr>
          <p:spPr>
            <a:xfrm>
              <a:off x="2324210" y="2353095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2464561" y="2492940"/>
              <a:ext cx="328503" cy="329513"/>
            </a:xfrm>
            <a:custGeom>
              <a:avLst/>
              <a:gdLst>
                <a:gd name="T0" fmla="*/ 469 w 721"/>
                <a:gd name="T1" fmla="*/ 48 h 721"/>
                <a:gd name="T2" fmla="*/ 324 w 721"/>
                <a:gd name="T3" fmla="*/ 397 h 721"/>
                <a:gd name="T4" fmla="*/ 613 w 721"/>
                <a:gd name="T5" fmla="*/ 397 h 721"/>
                <a:gd name="T6" fmla="*/ 596 w 721"/>
                <a:gd name="T7" fmla="*/ 379 h 721"/>
                <a:gd name="T8" fmla="*/ 342 w 721"/>
                <a:gd name="T9" fmla="*/ 379 h 721"/>
                <a:gd name="T10" fmla="*/ 342 w 721"/>
                <a:gd name="T11" fmla="*/ 126 h 721"/>
                <a:gd name="T12" fmla="*/ 596 w 721"/>
                <a:gd name="T13" fmla="*/ 126 h 721"/>
                <a:gd name="T14" fmla="*/ 596 w 721"/>
                <a:gd name="T15" fmla="*/ 379 h 721"/>
                <a:gd name="T16" fmla="*/ 469 w 721"/>
                <a:gd name="T17" fmla="*/ 0 h 721"/>
                <a:gd name="T18" fmla="*/ 290 w 721"/>
                <a:gd name="T19" fmla="*/ 74 h 721"/>
                <a:gd name="T20" fmla="*/ 240 w 721"/>
                <a:gd name="T21" fmla="*/ 357 h 721"/>
                <a:gd name="T22" fmla="*/ 205 w 721"/>
                <a:gd name="T23" fmla="*/ 402 h 721"/>
                <a:gd name="T24" fmla="*/ 214 w 721"/>
                <a:gd name="T25" fmla="*/ 422 h 721"/>
                <a:gd name="T26" fmla="*/ 0 w 721"/>
                <a:gd name="T27" fmla="*/ 659 h 721"/>
                <a:gd name="T28" fmla="*/ 22 w 721"/>
                <a:gd name="T29" fmla="*/ 705 h 721"/>
                <a:gd name="T30" fmla="*/ 102 w 721"/>
                <a:gd name="T31" fmla="*/ 705 h 721"/>
                <a:gd name="T32" fmla="*/ 318 w 721"/>
                <a:gd name="T33" fmla="*/ 515 h 721"/>
                <a:gd name="T34" fmla="*/ 363 w 721"/>
                <a:gd name="T35" fmla="*/ 481 h 721"/>
                <a:gd name="T36" fmla="*/ 469 w 721"/>
                <a:gd name="T37" fmla="*/ 505 h 721"/>
                <a:gd name="T38" fmla="*/ 721 w 721"/>
                <a:gd name="T39" fmla="*/ 252 h 721"/>
                <a:gd name="T40" fmla="*/ 84 w 721"/>
                <a:gd name="T41" fmla="*/ 687 h 721"/>
                <a:gd name="T42" fmla="*/ 34 w 721"/>
                <a:gd name="T43" fmla="*/ 682 h 721"/>
                <a:gd name="T44" fmla="*/ 34 w 721"/>
                <a:gd name="T45" fmla="*/ 637 h 721"/>
                <a:gd name="T46" fmla="*/ 281 w 721"/>
                <a:gd name="T47" fmla="*/ 490 h 721"/>
                <a:gd name="T48" fmla="*/ 320 w 721"/>
                <a:gd name="T49" fmla="*/ 490 h 721"/>
                <a:gd name="T50" fmla="*/ 317 w 721"/>
                <a:gd name="T51" fmla="*/ 490 h 721"/>
                <a:gd name="T52" fmla="*/ 231 w 721"/>
                <a:gd name="T53" fmla="*/ 404 h 721"/>
                <a:gd name="T54" fmla="*/ 231 w 721"/>
                <a:gd name="T55" fmla="*/ 401 h 721"/>
                <a:gd name="T56" fmla="*/ 252 w 721"/>
                <a:gd name="T57" fmla="*/ 382 h 721"/>
                <a:gd name="T58" fmla="*/ 262 w 721"/>
                <a:gd name="T59" fmla="*/ 397 h 721"/>
                <a:gd name="T60" fmla="*/ 274 w 721"/>
                <a:gd name="T61" fmla="*/ 413 h 721"/>
                <a:gd name="T62" fmla="*/ 290 w 721"/>
                <a:gd name="T63" fmla="*/ 431 h 721"/>
                <a:gd name="T64" fmla="*/ 308 w 721"/>
                <a:gd name="T65" fmla="*/ 447 h 721"/>
                <a:gd name="T66" fmla="*/ 323 w 721"/>
                <a:gd name="T67" fmla="*/ 458 h 721"/>
                <a:gd name="T68" fmla="*/ 339 w 721"/>
                <a:gd name="T69" fmla="*/ 469 h 721"/>
                <a:gd name="T70" fmla="*/ 320 w 721"/>
                <a:gd name="T71" fmla="*/ 490 h 721"/>
                <a:gd name="T72" fmla="*/ 385 w 721"/>
                <a:gd name="T73" fmla="*/ 464 h 721"/>
                <a:gd name="T74" fmla="*/ 308 w 721"/>
                <a:gd name="T75" fmla="*/ 413 h 721"/>
                <a:gd name="T76" fmla="*/ 266 w 721"/>
                <a:gd name="T77" fmla="*/ 354 h 721"/>
                <a:gd name="T78" fmla="*/ 257 w 721"/>
                <a:gd name="T79" fmla="*/ 336 h 721"/>
                <a:gd name="T80" fmla="*/ 469 w 721"/>
                <a:gd name="T81" fmla="*/ 25 h 721"/>
                <a:gd name="T82" fmla="*/ 629 w 721"/>
                <a:gd name="T83" fmla="*/ 92 h 721"/>
                <a:gd name="T84" fmla="*/ 629 w 721"/>
                <a:gd name="T85" fmla="*/ 413 h 721"/>
                <a:gd name="T86" fmla="*/ 489 w 721"/>
                <a:gd name="T87" fmla="*/ 136 h 721"/>
                <a:gd name="T88" fmla="*/ 352 w 721"/>
                <a:gd name="T89" fmla="*/ 236 h 721"/>
                <a:gd name="T90" fmla="*/ 327 w 721"/>
                <a:gd name="T91" fmla="*/ 236 h 721"/>
                <a:gd name="T92" fmla="*/ 497 w 721"/>
                <a:gd name="T93" fmla="*/ 113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21" h="721">
                  <a:moveTo>
                    <a:pt x="613" y="108"/>
                  </a:moveTo>
                  <a:cubicBezTo>
                    <a:pt x="575" y="69"/>
                    <a:pt x="523" y="48"/>
                    <a:pt x="469" y="48"/>
                  </a:cubicBezTo>
                  <a:cubicBezTo>
                    <a:pt x="414" y="48"/>
                    <a:pt x="363" y="69"/>
                    <a:pt x="324" y="108"/>
                  </a:cubicBezTo>
                  <a:cubicBezTo>
                    <a:pt x="245" y="188"/>
                    <a:pt x="245" y="317"/>
                    <a:pt x="324" y="397"/>
                  </a:cubicBezTo>
                  <a:cubicBezTo>
                    <a:pt x="364" y="437"/>
                    <a:pt x="416" y="457"/>
                    <a:pt x="469" y="457"/>
                  </a:cubicBezTo>
                  <a:cubicBezTo>
                    <a:pt x="521" y="457"/>
                    <a:pt x="573" y="437"/>
                    <a:pt x="613" y="397"/>
                  </a:cubicBezTo>
                  <a:cubicBezTo>
                    <a:pt x="693" y="317"/>
                    <a:pt x="693" y="188"/>
                    <a:pt x="613" y="108"/>
                  </a:cubicBezTo>
                  <a:close/>
                  <a:moveTo>
                    <a:pt x="596" y="379"/>
                  </a:moveTo>
                  <a:cubicBezTo>
                    <a:pt x="562" y="413"/>
                    <a:pt x="517" y="432"/>
                    <a:pt x="469" y="432"/>
                  </a:cubicBezTo>
                  <a:cubicBezTo>
                    <a:pt x="421" y="432"/>
                    <a:pt x="376" y="413"/>
                    <a:pt x="342" y="379"/>
                  </a:cubicBezTo>
                  <a:cubicBezTo>
                    <a:pt x="308" y="345"/>
                    <a:pt x="289" y="300"/>
                    <a:pt x="289" y="252"/>
                  </a:cubicBezTo>
                  <a:cubicBezTo>
                    <a:pt x="289" y="204"/>
                    <a:pt x="308" y="159"/>
                    <a:pt x="342" y="126"/>
                  </a:cubicBezTo>
                  <a:cubicBezTo>
                    <a:pt x="376" y="92"/>
                    <a:pt x="421" y="73"/>
                    <a:pt x="469" y="73"/>
                  </a:cubicBezTo>
                  <a:cubicBezTo>
                    <a:pt x="517" y="73"/>
                    <a:pt x="562" y="92"/>
                    <a:pt x="596" y="126"/>
                  </a:cubicBezTo>
                  <a:cubicBezTo>
                    <a:pt x="629" y="159"/>
                    <a:pt x="648" y="204"/>
                    <a:pt x="648" y="252"/>
                  </a:cubicBezTo>
                  <a:cubicBezTo>
                    <a:pt x="648" y="300"/>
                    <a:pt x="629" y="345"/>
                    <a:pt x="596" y="379"/>
                  </a:cubicBezTo>
                  <a:close/>
                  <a:moveTo>
                    <a:pt x="647" y="74"/>
                  </a:moveTo>
                  <a:cubicBezTo>
                    <a:pt x="599" y="26"/>
                    <a:pt x="536" y="0"/>
                    <a:pt x="469" y="0"/>
                  </a:cubicBezTo>
                  <a:cubicBezTo>
                    <a:pt x="469" y="0"/>
                    <a:pt x="469" y="0"/>
                    <a:pt x="469" y="0"/>
                  </a:cubicBezTo>
                  <a:cubicBezTo>
                    <a:pt x="401" y="0"/>
                    <a:pt x="338" y="26"/>
                    <a:pt x="290" y="74"/>
                  </a:cubicBezTo>
                  <a:cubicBezTo>
                    <a:pt x="219" y="145"/>
                    <a:pt x="197" y="252"/>
                    <a:pt x="234" y="345"/>
                  </a:cubicBezTo>
                  <a:cubicBezTo>
                    <a:pt x="236" y="349"/>
                    <a:pt x="238" y="353"/>
                    <a:pt x="240" y="357"/>
                  </a:cubicBezTo>
                  <a:cubicBezTo>
                    <a:pt x="213" y="383"/>
                    <a:pt x="213" y="383"/>
                    <a:pt x="213" y="383"/>
                  </a:cubicBezTo>
                  <a:cubicBezTo>
                    <a:pt x="208" y="388"/>
                    <a:pt x="205" y="395"/>
                    <a:pt x="205" y="402"/>
                  </a:cubicBezTo>
                  <a:cubicBezTo>
                    <a:pt x="205" y="410"/>
                    <a:pt x="208" y="416"/>
                    <a:pt x="213" y="422"/>
                  </a:cubicBezTo>
                  <a:cubicBezTo>
                    <a:pt x="214" y="422"/>
                    <a:pt x="214" y="422"/>
                    <a:pt x="214" y="422"/>
                  </a:cubicBezTo>
                  <a:cubicBezTo>
                    <a:pt x="16" y="619"/>
                    <a:pt x="16" y="619"/>
                    <a:pt x="16" y="619"/>
                  </a:cubicBezTo>
                  <a:cubicBezTo>
                    <a:pt x="6" y="630"/>
                    <a:pt x="0" y="644"/>
                    <a:pt x="0" y="659"/>
                  </a:cubicBezTo>
                  <a:cubicBezTo>
                    <a:pt x="0" y="674"/>
                    <a:pt x="6" y="689"/>
                    <a:pt x="16" y="699"/>
                  </a:cubicBezTo>
                  <a:cubicBezTo>
                    <a:pt x="22" y="705"/>
                    <a:pt x="22" y="705"/>
                    <a:pt x="22" y="705"/>
                  </a:cubicBezTo>
                  <a:cubicBezTo>
                    <a:pt x="33" y="716"/>
                    <a:pt x="47" y="721"/>
                    <a:pt x="62" y="721"/>
                  </a:cubicBezTo>
                  <a:cubicBezTo>
                    <a:pt x="77" y="721"/>
                    <a:pt x="91" y="716"/>
                    <a:pt x="102" y="705"/>
                  </a:cubicBezTo>
                  <a:cubicBezTo>
                    <a:pt x="299" y="507"/>
                    <a:pt x="299" y="507"/>
                    <a:pt x="299" y="507"/>
                  </a:cubicBezTo>
                  <a:cubicBezTo>
                    <a:pt x="304" y="513"/>
                    <a:pt x="311" y="515"/>
                    <a:pt x="318" y="515"/>
                  </a:cubicBezTo>
                  <a:cubicBezTo>
                    <a:pt x="325" y="515"/>
                    <a:pt x="332" y="512"/>
                    <a:pt x="337" y="507"/>
                  </a:cubicBezTo>
                  <a:cubicBezTo>
                    <a:pt x="363" y="481"/>
                    <a:pt x="363" y="481"/>
                    <a:pt x="363" y="481"/>
                  </a:cubicBezTo>
                  <a:cubicBezTo>
                    <a:pt x="368" y="483"/>
                    <a:pt x="372" y="485"/>
                    <a:pt x="376" y="487"/>
                  </a:cubicBezTo>
                  <a:cubicBezTo>
                    <a:pt x="406" y="499"/>
                    <a:pt x="438" y="505"/>
                    <a:pt x="469" y="505"/>
                  </a:cubicBezTo>
                  <a:cubicBezTo>
                    <a:pt x="534" y="505"/>
                    <a:pt x="599" y="479"/>
                    <a:pt x="647" y="431"/>
                  </a:cubicBezTo>
                  <a:cubicBezTo>
                    <a:pt x="695" y="383"/>
                    <a:pt x="721" y="320"/>
                    <a:pt x="721" y="252"/>
                  </a:cubicBezTo>
                  <a:cubicBezTo>
                    <a:pt x="721" y="185"/>
                    <a:pt x="695" y="122"/>
                    <a:pt x="647" y="74"/>
                  </a:cubicBezTo>
                  <a:close/>
                  <a:moveTo>
                    <a:pt x="84" y="687"/>
                  </a:moveTo>
                  <a:cubicBezTo>
                    <a:pt x="72" y="699"/>
                    <a:pt x="51" y="699"/>
                    <a:pt x="39" y="687"/>
                  </a:cubicBezTo>
                  <a:cubicBezTo>
                    <a:pt x="34" y="682"/>
                    <a:pt x="34" y="682"/>
                    <a:pt x="34" y="682"/>
                  </a:cubicBezTo>
                  <a:cubicBezTo>
                    <a:pt x="28" y="676"/>
                    <a:pt x="25" y="668"/>
                    <a:pt x="25" y="659"/>
                  </a:cubicBezTo>
                  <a:cubicBezTo>
                    <a:pt x="25" y="651"/>
                    <a:pt x="28" y="643"/>
                    <a:pt x="34" y="637"/>
                  </a:cubicBezTo>
                  <a:cubicBezTo>
                    <a:pt x="231" y="440"/>
                    <a:pt x="231" y="440"/>
                    <a:pt x="231" y="440"/>
                  </a:cubicBezTo>
                  <a:cubicBezTo>
                    <a:pt x="281" y="490"/>
                    <a:pt x="281" y="490"/>
                    <a:pt x="281" y="490"/>
                  </a:cubicBezTo>
                  <a:lnTo>
                    <a:pt x="84" y="687"/>
                  </a:lnTo>
                  <a:close/>
                  <a:moveTo>
                    <a:pt x="320" y="490"/>
                  </a:moveTo>
                  <a:cubicBezTo>
                    <a:pt x="319" y="490"/>
                    <a:pt x="317" y="490"/>
                    <a:pt x="317" y="490"/>
                  </a:cubicBezTo>
                  <a:cubicBezTo>
                    <a:pt x="317" y="490"/>
                    <a:pt x="317" y="490"/>
                    <a:pt x="317" y="490"/>
                  </a:cubicBezTo>
                  <a:cubicBezTo>
                    <a:pt x="231" y="404"/>
                    <a:pt x="231" y="404"/>
                    <a:pt x="231" y="404"/>
                  </a:cubicBezTo>
                  <a:cubicBezTo>
                    <a:pt x="231" y="404"/>
                    <a:pt x="231" y="404"/>
                    <a:pt x="231" y="404"/>
                  </a:cubicBezTo>
                  <a:cubicBezTo>
                    <a:pt x="231" y="404"/>
                    <a:pt x="231" y="404"/>
                    <a:pt x="231" y="404"/>
                  </a:cubicBezTo>
                  <a:cubicBezTo>
                    <a:pt x="230" y="403"/>
                    <a:pt x="230" y="402"/>
                    <a:pt x="231" y="401"/>
                  </a:cubicBezTo>
                  <a:cubicBezTo>
                    <a:pt x="251" y="380"/>
                    <a:pt x="251" y="380"/>
                    <a:pt x="251" y="380"/>
                  </a:cubicBezTo>
                  <a:cubicBezTo>
                    <a:pt x="252" y="381"/>
                    <a:pt x="252" y="381"/>
                    <a:pt x="252" y="382"/>
                  </a:cubicBezTo>
                  <a:cubicBezTo>
                    <a:pt x="253" y="383"/>
                    <a:pt x="254" y="385"/>
                    <a:pt x="255" y="386"/>
                  </a:cubicBezTo>
                  <a:cubicBezTo>
                    <a:pt x="257" y="390"/>
                    <a:pt x="260" y="394"/>
                    <a:pt x="262" y="397"/>
                  </a:cubicBezTo>
                  <a:cubicBezTo>
                    <a:pt x="264" y="399"/>
                    <a:pt x="265" y="401"/>
                    <a:pt x="266" y="402"/>
                  </a:cubicBezTo>
                  <a:cubicBezTo>
                    <a:pt x="269" y="406"/>
                    <a:pt x="271" y="409"/>
                    <a:pt x="274" y="413"/>
                  </a:cubicBezTo>
                  <a:cubicBezTo>
                    <a:pt x="275" y="414"/>
                    <a:pt x="276" y="416"/>
                    <a:pt x="278" y="417"/>
                  </a:cubicBezTo>
                  <a:cubicBezTo>
                    <a:pt x="282" y="422"/>
                    <a:pt x="286" y="426"/>
                    <a:pt x="290" y="431"/>
                  </a:cubicBezTo>
                  <a:cubicBezTo>
                    <a:pt x="295" y="435"/>
                    <a:pt x="299" y="439"/>
                    <a:pt x="304" y="443"/>
                  </a:cubicBezTo>
                  <a:cubicBezTo>
                    <a:pt x="305" y="444"/>
                    <a:pt x="307" y="446"/>
                    <a:pt x="308" y="447"/>
                  </a:cubicBezTo>
                  <a:cubicBezTo>
                    <a:pt x="311" y="449"/>
                    <a:pt x="315" y="452"/>
                    <a:pt x="318" y="455"/>
                  </a:cubicBezTo>
                  <a:cubicBezTo>
                    <a:pt x="320" y="456"/>
                    <a:pt x="322" y="457"/>
                    <a:pt x="323" y="458"/>
                  </a:cubicBezTo>
                  <a:cubicBezTo>
                    <a:pt x="327" y="461"/>
                    <a:pt x="330" y="463"/>
                    <a:pt x="334" y="466"/>
                  </a:cubicBezTo>
                  <a:cubicBezTo>
                    <a:pt x="336" y="467"/>
                    <a:pt x="337" y="468"/>
                    <a:pt x="339" y="469"/>
                  </a:cubicBezTo>
                  <a:cubicBezTo>
                    <a:pt x="339" y="469"/>
                    <a:pt x="340" y="469"/>
                    <a:pt x="340" y="469"/>
                  </a:cubicBezTo>
                  <a:lnTo>
                    <a:pt x="320" y="490"/>
                  </a:lnTo>
                  <a:close/>
                  <a:moveTo>
                    <a:pt x="629" y="413"/>
                  </a:moveTo>
                  <a:cubicBezTo>
                    <a:pt x="565" y="477"/>
                    <a:pt x="469" y="497"/>
                    <a:pt x="385" y="464"/>
                  </a:cubicBezTo>
                  <a:cubicBezTo>
                    <a:pt x="379" y="461"/>
                    <a:pt x="372" y="458"/>
                    <a:pt x="366" y="455"/>
                  </a:cubicBezTo>
                  <a:cubicBezTo>
                    <a:pt x="345" y="444"/>
                    <a:pt x="325" y="430"/>
                    <a:pt x="308" y="413"/>
                  </a:cubicBezTo>
                  <a:cubicBezTo>
                    <a:pt x="295" y="400"/>
                    <a:pt x="284" y="386"/>
                    <a:pt x="274" y="370"/>
                  </a:cubicBezTo>
                  <a:cubicBezTo>
                    <a:pt x="271" y="365"/>
                    <a:pt x="268" y="360"/>
                    <a:pt x="266" y="354"/>
                  </a:cubicBezTo>
                  <a:cubicBezTo>
                    <a:pt x="265" y="354"/>
                    <a:pt x="265" y="354"/>
                    <a:pt x="265" y="354"/>
                  </a:cubicBezTo>
                  <a:cubicBezTo>
                    <a:pt x="263" y="348"/>
                    <a:pt x="260" y="342"/>
                    <a:pt x="257" y="336"/>
                  </a:cubicBezTo>
                  <a:cubicBezTo>
                    <a:pt x="224" y="252"/>
                    <a:pt x="244" y="156"/>
                    <a:pt x="308" y="92"/>
                  </a:cubicBezTo>
                  <a:cubicBezTo>
                    <a:pt x="351" y="49"/>
                    <a:pt x="408" y="25"/>
                    <a:pt x="469" y="25"/>
                  </a:cubicBezTo>
                  <a:cubicBezTo>
                    <a:pt x="469" y="25"/>
                    <a:pt x="469" y="25"/>
                    <a:pt x="469" y="25"/>
                  </a:cubicBezTo>
                  <a:cubicBezTo>
                    <a:pt x="529" y="25"/>
                    <a:pt x="586" y="49"/>
                    <a:pt x="629" y="92"/>
                  </a:cubicBezTo>
                  <a:cubicBezTo>
                    <a:pt x="672" y="135"/>
                    <a:pt x="696" y="192"/>
                    <a:pt x="696" y="252"/>
                  </a:cubicBezTo>
                  <a:cubicBezTo>
                    <a:pt x="696" y="313"/>
                    <a:pt x="672" y="370"/>
                    <a:pt x="629" y="413"/>
                  </a:cubicBezTo>
                  <a:close/>
                  <a:moveTo>
                    <a:pt x="505" y="128"/>
                  </a:moveTo>
                  <a:cubicBezTo>
                    <a:pt x="503" y="135"/>
                    <a:pt x="496" y="139"/>
                    <a:pt x="489" y="136"/>
                  </a:cubicBezTo>
                  <a:cubicBezTo>
                    <a:pt x="479" y="133"/>
                    <a:pt x="468" y="131"/>
                    <a:pt x="457" y="131"/>
                  </a:cubicBezTo>
                  <a:cubicBezTo>
                    <a:pt x="399" y="131"/>
                    <a:pt x="352" y="178"/>
                    <a:pt x="352" y="236"/>
                  </a:cubicBezTo>
                  <a:cubicBezTo>
                    <a:pt x="352" y="242"/>
                    <a:pt x="347" y="248"/>
                    <a:pt x="340" y="248"/>
                  </a:cubicBezTo>
                  <a:cubicBezTo>
                    <a:pt x="333" y="248"/>
                    <a:pt x="327" y="242"/>
                    <a:pt x="327" y="236"/>
                  </a:cubicBezTo>
                  <a:cubicBezTo>
                    <a:pt x="327" y="164"/>
                    <a:pt x="385" y="106"/>
                    <a:pt x="457" y="106"/>
                  </a:cubicBezTo>
                  <a:cubicBezTo>
                    <a:pt x="470" y="106"/>
                    <a:pt x="484" y="108"/>
                    <a:pt x="497" y="113"/>
                  </a:cubicBezTo>
                  <a:cubicBezTo>
                    <a:pt x="503" y="115"/>
                    <a:pt x="507" y="122"/>
                    <a:pt x="505" y="12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017410" y="3432289"/>
            <a:ext cx="717906" cy="717904"/>
            <a:chOff x="1017410" y="3432289"/>
            <a:chExt cx="717906" cy="717904"/>
          </a:xfrm>
        </p:grpSpPr>
        <p:sp>
          <p:nvSpPr>
            <p:cNvPr id="50" name="Oval 49"/>
            <p:cNvSpPr/>
            <p:nvPr/>
          </p:nvSpPr>
          <p:spPr>
            <a:xfrm>
              <a:off x="1017410" y="3432289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8" name="Oval 17"/>
            <p:cNvSpPr/>
            <p:nvPr/>
          </p:nvSpPr>
          <p:spPr>
            <a:xfrm>
              <a:off x="1071761" y="3486639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9" name="Freeform 6"/>
            <p:cNvSpPr>
              <a:spLocks noEditPoints="1"/>
            </p:cNvSpPr>
            <p:nvPr/>
          </p:nvSpPr>
          <p:spPr bwMode="auto">
            <a:xfrm>
              <a:off x="1252825" y="3606205"/>
              <a:ext cx="247076" cy="370073"/>
            </a:xfrm>
            <a:custGeom>
              <a:avLst/>
              <a:gdLst>
                <a:gd name="T0" fmla="*/ 268 w 505"/>
                <a:gd name="T1" fmla="*/ 4 h 756"/>
                <a:gd name="T2" fmla="*/ 0 w 505"/>
                <a:gd name="T3" fmla="*/ 253 h 756"/>
                <a:gd name="T4" fmla="*/ 21 w 505"/>
                <a:gd name="T5" fmla="*/ 354 h 756"/>
                <a:gd name="T6" fmla="*/ 47 w 505"/>
                <a:gd name="T7" fmla="*/ 398 h 756"/>
                <a:gd name="T8" fmla="*/ 128 w 505"/>
                <a:gd name="T9" fmla="*/ 575 h 756"/>
                <a:gd name="T10" fmla="*/ 141 w 505"/>
                <a:gd name="T11" fmla="*/ 616 h 756"/>
                <a:gd name="T12" fmla="*/ 141 w 505"/>
                <a:gd name="T13" fmla="*/ 654 h 756"/>
                <a:gd name="T14" fmla="*/ 141 w 505"/>
                <a:gd name="T15" fmla="*/ 682 h 756"/>
                <a:gd name="T16" fmla="*/ 209 w 505"/>
                <a:gd name="T17" fmla="*/ 756 h 756"/>
                <a:gd name="T18" fmla="*/ 338 w 505"/>
                <a:gd name="T19" fmla="*/ 714 h 756"/>
                <a:gd name="T20" fmla="*/ 358 w 505"/>
                <a:gd name="T21" fmla="*/ 679 h 756"/>
                <a:gd name="T22" fmla="*/ 358 w 505"/>
                <a:gd name="T23" fmla="*/ 641 h 756"/>
                <a:gd name="T24" fmla="*/ 358 w 505"/>
                <a:gd name="T25" fmla="*/ 594 h 756"/>
                <a:gd name="T26" fmla="*/ 400 w 505"/>
                <a:gd name="T27" fmla="*/ 498 h 756"/>
                <a:gd name="T28" fmla="*/ 454 w 505"/>
                <a:gd name="T29" fmla="*/ 406 h 756"/>
                <a:gd name="T30" fmla="*/ 477 w 505"/>
                <a:gd name="T31" fmla="*/ 355 h 756"/>
                <a:gd name="T32" fmla="*/ 481 w 505"/>
                <a:gd name="T33" fmla="*/ 351 h 756"/>
                <a:gd name="T34" fmla="*/ 492 w 505"/>
                <a:gd name="T35" fmla="*/ 194 h 756"/>
                <a:gd name="T36" fmla="*/ 209 w 505"/>
                <a:gd name="T37" fmla="*/ 731 h 756"/>
                <a:gd name="T38" fmla="*/ 312 w 505"/>
                <a:gd name="T39" fmla="*/ 718 h 756"/>
                <a:gd name="T40" fmla="*/ 333 w 505"/>
                <a:gd name="T41" fmla="*/ 682 h 756"/>
                <a:gd name="T42" fmla="*/ 177 w 505"/>
                <a:gd name="T43" fmla="*/ 693 h 756"/>
                <a:gd name="T44" fmla="*/ 166 w 505"/>
                <a:gd name="T45" fmla="*/ 679 h 756"/>
                <a:gd name="T46" fmla="*/ 333 w 505"/>
                <a:gd name="T47" fmla="*/ 682 h 756"/>
                <a:gd name="T48" fmla="*/ 166 w 505"/>
                <a:gd name="T49" fmla="*/ 654 h 756"/>
                <a:gd name="T50" fmla="*/ 333 w 505"/>
                <a:gd name="T51" fmla="*/ 641 h 756"/>
                <a:gd name="T52" fmla="*/ 166 w 505"/>
                <a:gd name="T53" fmla="*/ 616 h 756"/>
                <a:gd name="T54" fmla="*/ 213 w 505"/>
                <a:gd name="T55" fmla="*/ 602 h 756"/>
                <a:gd name="T56" fmla="*/ 333 w 505"/>
                <a:gd name="T57" fmla="*/ 602 h 756"/>
                <a:gd name="T58" fmla="*/ 166 w 505"/>
                <a:gd name="T59" fmla="*/ 616 h 756"/>
                <a:gd name="T60" fmla="*/ 207 w 505"/>
                <a:gd name="T61" fmla="*/ 381 h 756"/>
                <a:gd name="T62" fmla="*/ 257 w 505"/>
                <a:gd name="T63" fmla="*/ 404 h 756"/>
                <a:gd name="T64" fmla="*/ 275 w 505"/>
                <a:gd name="T65" fmla="*/ 413 h 756"/>
                <a:gd name="T66" fmla="*/ 274 w 505"/>
                <a:gd name="T67" fmla="*/ 577 h 756"/>
                <a:gd name="T68" fmla="*/ 226 w 505"/>
                <a:gd name="T69" fmla="*/ 419 h 756"/>
                <a:gd name="T70" fmla="*/ 457 w 505"/>
                <a:gd name="T71" fmla="*/ 340 h 756"/>
                <a:gd name="T72" fmla="*/ 434 w 505"/>
                <a:gd name="T73" fmla="*/ 381 h 756"/>
                <a:gd name="T74" fmla="*/ 377 w 505"/>
                <a:gd name="T75" fmla="*/ 488 h 756"/>
                <a:gd name="T76" fmla="*/ 334 w 505"/>
                <a:gd name="T77" fmla="*/ 577 h 756"/>
                <a:gd name="T78" fmla="*/ 299 w 505"/>
                <a:gd name="T79" fmla="*/ 422 h 756"/>
                <a:gd name="T80" fmla="*/ 334 w 505"/>
                <a:gd name="T81" fmla="*/ 336 h 756"/>
                <a:gd name="T82" fmla="*/ 250 w 505"/>
                <a:gd name="T83" fmla="*/ 379 h 756"/>
                <a:gd name="T84" fmla="*/ 165 w 505"/>
                <a:gd name="T85" fmla="*/ 336 h 756"/>
                <a:gd name="T86" fmla="*/ 201 w 505"/>
                <a:gd name="T87" fmla="*/ 422 h 756"/>
                <a:gd name="T88" fmla="*/ 166 w 505"/>
                <a:gd name="T89" fmla="*/ 577 h 756"/>
                <a:gd name="T90" fmla="*/ 123 w 505"/>
                <a:gd name="T91" fmla="*/ 488 h 756"/>
                <a:gd name="T92" fmla="*/ 44 w 505"/>
                <a:gd name="T93" fmla="*/ 342 h 756"/>
                <a:gd name="T94" fmla="*/ 25 w 505"/>
                <a:gd name="T95" fmla="*/ 253 h 756"/>
                <a:gd name="T96" fmla="*/ 266 w 505"/>
                <a:gd name="T97" fmla="*/ 29 h 756"/>
                <a:gd name="T98" fmla="*/ 457 w 505"/>
                <a:gd name="T99" fmla="*/ 340 h 756"/>
                <a:gd name="T100" fmla="*/ 311 w 505"/>
                <a:gd name="T101" fmla="*/ 111 h 756"/>
                <a:gd name="T102" fmla="*/ 90 w 505"/>
                <a:gd name="T103" fmla="*/ 271 h 756"/>
                <a:gd name="T104" fmla="*/ 65 w 505"/>
                <a:gd name="T105" fmla="*/ 271 h 756"/>
                <a:gd name="T106" fmla="*/ 319 w 505"/>
                <a:gd name="T107" fmla="*/ 87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05" h="756">
                  <a:moveTo>
                    <a:pt x="492" y="194"/>
                  </a:moveTo>
                  <a:cubicBezTo>
                    <a:pt x="468" y="90"/>
                    <a:pt x="375" y="12"/>
                    <a:pt x="268" y="4"/>
                  </a:cubicBezTo>
                  <a:cubicBezTo>
                    <a:pt x="198" y="0"/>
                    <a:pt x="131" y="23"/>
                    <a:pt x="80" y="71"/>
                  </a:cubicBezTo>
                  <a:cubicBezTo>
                    <a:pt x="29" y="118"/>
                    <a:pt x="0" y="184"/>
                    <a:pt x="0" y="253"/>
                  </a:cubicBezTo>
                  <a:cubicBezTo>
                    <a:pt x="0" y="287"/>
                    <a:pt x="7" y="320"/>
                    <a:pt x="21" y="352"/>
                  </a:cubicBezTo>
                  <a:cubicBezTo>
                    <a:pt x="21" y="354"/>
                    <a:pt x="21" y="354"/>
                    <a:pt x="21" y="354"/>
                  </a:cubicBezTo>
                  <a:cubicBezTo>
                    <a:pt x="22" y="354"/>
                    <a:pt x="22" y="354"/>
                    <a:pt x="22" y="354"/>
                  </a:cubicBezTo>
                  <a:cubicBezTo>
                    <a:pt x="26" y="360"/>
                    <a:pt x="35" y="377"/>
                    <a:pt x="47" y="398"/>
                  </a:cubicBezTo>
                  <a:cubicBezTo>
                    <a:pt x="74" y="447"/>
                    <a:pt x="93" y="481"/>
                    <a:pt x="100" y="498"/>
                  </a:cubicBezTo>
                  <a:cubicBezTo>
                    <a:pt x="106" y="510"/>
                    <a:pt x="115" y="537"/>
                    <a:pt x="128" y="575"/>
                  </a:cubicBezTo>
                  <a:cubicBezTo>
                    <a:pt x="130" y="583"/>
                    <a:pt x="135" y="589"/>
                    <a:pt x="141" y="594"/>
                  </a:cubicBezTo>
                  <a:cubicBezTo>
                    <a:pt x="141" y="616"/>
                    <a:pt x="141" y="616"/>
                    <a:pt x="141" y="616"/>
                  </a:cubicBezTo>
                  <a:cubicBezTo>
                    <a:pt x="141" y="641"/>
                    <a:pt x="141" y="641"/>
                    <a:pt x="141" y="641"/>
                  </a:cubicBezTo>
                  <a:cubicBezTo>
                    <a:pt x="141" y="654"/>
                    <a:pt x="141" y="654"/>
                    <a:pt x="141" y="654"/>
                  </a:cubicBezTo>
                  <a:cubicBezTo>
                    <a:pt x="141" y="679"/>
                    <a:pt x="141" y="679"/>
                    <a:pt x="141" y="679"/>
                  </a:cubicBezTo>
                  <a:cubicBezTo>
                    <a:pt x="141" y="682"/>
                    <a:pt x="141" y="682"/>
                    <a:pt x="141" y="682"/>
                  </a:cubicBezTo>
                  <a:cubicBezTo>
                    <a:pt x="141" y="696"/>
                    <a:pt x="150" y="708"/>
                    <a:pt x="162" y="714"/>
                  </a:cubicBezTo>
                  <a:cubicBezTo>
                    <a:pt x="165" y="738"/>
                    <a:pt x="185" y="756"/>
                    <a:pt x="209" y="756"/>
                  </a:cubicBezTo>
                  <a:cubicBezTo>
                    <a:pt x="291" y="756"/>
                    <a:pt x="291" y="756"/>
                    <a:pt x="291" y="756"/>
                  </a:cubicBezTo>
                  <a:cubicBezTo>
                    <a:pt x="315" y="756"/>
                    <a:pt x="335" y="738"/>
                    <a:pt x="338" y="714"/>
                  </a:cubicBezTo>
                  <a:cubicBezTo>
                    <a:pt x="350" y="708"/>
                    <a:pt x="358" y="696"/>
                    <a:pt x="358" y="682"/>
                  </a:cubicBezTo>
                  <a:cubicBezTo>
                    <a:pt x="358" y="679"/>
                    <a:pt x="358" y="679"/>
                    <a:pt x="358" y="679"/>
                  </a:cubicBezTo>
                  <a:cubicBezTo>
                    <a:pt x="358" y="654"/>
                    <a:pt x="358" y="654"/>
                    <a:pt x="358" y="654"/>
                  </a:cubicBezTo>
                  <a:cubicBezTo>
                    <a:pt x="358" y="641"/>
                    <a:pt x="358" y="641"/>
                    <a:pt x="358" y="641"/>
                  </a:cubicBezTo>
                  <a:cubicBezTo>
                    <a:pt x="358" y="616"/>
                    <a:pt x="358" y="616"/>
                    <a:pt x="358" y="616"/>
                  </a:cubicBezTo>
                  <a:cubicBezTo>
                    <a:pt x="358" y="594"/>
                    <a:pt x="358" y="594"/>
                    <a:pt x="358" y="594"/>
                  </a:cubicBezTo>
                  <a:cubicBezTo>
                    <a:pt x="365" y="589"/>
                    <a:pt x="369" y="583"/>
                    <a:pt x="372" y="575"/>
                  </a:cubicBezTo>
                  <a:cubicBezTo>
                    <a:pt x="385" y="537"/>
                    <a:pt x="394" y="510"/>
                    <a:pt x="400" y="498"/>
                  </a:cubicBezTo>
                  <a:cubicBezTo>
                    <a:pt x="409" y="477"/>
                    <a:pt x="433" y="433"/>
                    <a:pt x="448" y="406"/>
                  </a:cubicBezTo>
                  <a:cubicBezTo>
                    <a:pt x="454" y="406"/>
                    <a:pt x="454" y="406"/>
                    <a:pt x="454" y="406"/>
                  </a:cubicBezTo>
                  <a:cubicBezTo>
                    <a:pt x="454" y="396"/>
                    <a:pt x="454" y="396"/>
                    <a:pt x="454" y="396"/>
                  </a:cubicBezTo>
                  <a:cubicBezTo>
                    <a:pt x="465" y="376"/>
                    <a:pt x="474" y="360"/>
                    <a:pt x="477" y="355"/>
                  </a:cubicBezTo>
                  <a:cubicBezTo>
                    <a:pt x="478" y="354"/>
                    <a:pt x="478" y="354"/>
                    <a:pt x="478" y="353"/>
                  </a:cubicBezTo>
                  <a:cubicBezTo>
                    <a:pt x="481" y="351"/>
                    <a:pt x="481" y="351"/>
                    <a:pt x="481" y="351"/>
                  </a:cubicBezTo>
                  <a:cubicBezTo>
                    <a:pt x="481" y="348"/>
                    <a:pt x="481" y="348"/>
                    <a:pt x="481" y="348"/>
                  </a:cubicBezTo>
                  <a:cubicBezTo>
                    <a:pt x="501" y="299"/>
                    <a:pt x="505" y="246"/>
                    <a:pt x="492" y="194"/>
                  </a:cubicBezTo>
                  <a:close/>
                  <a:moveTo>
                    <a:pt x="291" y="731"/>
                  </a:moveTo>
                  <a:cubicBezTo>
                    <a:pt x="209" y="731"/>
                    <a:pt x="209" y="731"/>
                    <a:pt x="209" y="731"/>
                  </a:cubicBezTo>
                  <a:cubicBezTo>
                    <a:pt x="200" y="731"/>
                    <a:pt x="192" y="725"/>
                    <a:pt x="188" y="718"/>
                  </a:cubicBezTo>
                  <a:cubicBezTo>
                    <a:pt x="312" y="718"/>
                    <a:pt x="312" y="718"/>
                    <a:pt x="312" y="718"/>
                  </a:cubicBezTo>
                  <a:cubicBezTo>
                    <a:pt x="308" y="725"/>
                    <a:pt x="300" y="731"/>
                    <a:pt x="291" y="731"/>
                  </a:cubicBezTo>
                  <a:close/>
                  <a:moveTo>
                    <a:pt x="333" y="682"/>
                  </a:moveTo>
                  <a:cubicBezTo>
                    <a:pt x="333" y="688"/>
                    <a:pt x="329" y="693"/>
                    <a:pt x="322" y="693"/>
                  </a:cubicBezTo>
                  <a:cubicBezTo>
                    <a:pt x="177" y="693"/>
                    <a:pt x="177" y="693"/>
                    <a:pt x="177" y="693"/>
                  </a:cubicBezTo>
                  <a:cubicBezTo>
                    <a:pt x="171" y="693"/>
                    <a:pt x="166" y="688"/>
                    <a:pt x="166" y="682"/>
                  </a:cubicBezTo>
                  <a:cubicBezTo>
                    <a:pt x="166" y="679"/>
                    <a:pt x="166" y="679"/>
                    <a:pt x="166" y="679"/>
                  </a:cubicBezTo>
                  <a:cubicBezTo>
                    <a:pt x="333" y="679"/>
                    <a:pt x="333" y="679"/>
                    <a:pt x="333" y="679"/>
                  </a:cubicBezTo>
                  <a:lnTo>
                    <a:pt x="333" y="682"/>
                  </a:lnTo>
                  <a:close/>
                  <a:moveTo>
                    <a:pt x="333" y="654"/>
                  </a:moveTo>
                  <a:cubicBezTo>
                    <a:pt x="166" y="654"/>
                    <a:pt x="166" y="654"/>
                    <a:pt x="166" y="654"/>
                  </a:cubicBezTo>
                  <a:cubicBezTo>
                    <a:pt x="166" y="641"/>
                    <a:pt x="166" y="641"/>
                    <a:pt x="166" y="641"/>
                  </a:cubicBezTo>
                  <a:cubicBezTo>
                    <a:pt x="333" y="641"/>
                    <a:pt x="333" y="641"/>
                    <a:pt x="333" y="641"/>
                  </a:cubicBezTo>
                  <a:lnTo>
                    <a:pt x="333" y="654"/>
                  </a:lnTo>
                  <a:close/>
                  <a:moveTo>
                    <a:pt x="166" y="616"/>
                  </a:moveTo>
                  <a:cubicBezTo>
                    <a:pt x="166" y="602"/>
                    <a:pt x="166" y="602"/>
                    <a:pt x="166" y="602"/>
                  </a:cubicBezTo>
                  <a:cubicBezTo>
                    <a:pt x="213" y="602"/>
                    <a:pt x="213" y="602"/>
                    <a:pt x="213" y="602"/>
                  </a:cubicBezTo>
                  <a:cubicBezTo>
                    <a:pt x="286" y="602"/>
                    <a:pt x="286" y="602"/>
                    <a:pt x="286" y="602"/>
                  </a:cubicBezTo>
                  <a:cubicBezTo>
                    <a:pt x="333" y="602"/>
                    <a:pt x="333" y="602"/>
                    <a:pt x="333" y="602"/>
                  </a:cubicBezTo>
                  <a:cubicBezTo>
                    <a:pt x="333" y="616"/>
                    <a:pt x="333" y="616"/>
                    <a:pt x="333" y="616"/>
                  </a:cubicBezTo>
                  <a:lnTo>
                    <a:pt x="166" y="616"/>
                  </a:lnTo>
                  <a:close/>
                  <a:moveTo>
                    <a:pt x="224" y="413"/>
                  </a:moveTo>
                  <a:cubicBezTo>
                    <a:pt x="207" y="381"/>
                    <a:pt x="207" y="381"/>
                    <a:pt x="207" y="381"/>
                  </a:cubicBezTo>
                  <a:cubicBezTo>
                    <a:pt x="243" y="404"/>
                    <a:pt x="243" y="404"/>
                    <a:pt x="243" y="404"/>
                  </a:cubicBezTo>
                  <a:cubicBezTo>
                    <a:pt x="247" y="407"/>
                    <a:pt x="253" y="407"/>
                    <a:pt x="257" y="404"/>
                  </a:cubicBezTo>
                  <a:cubicBezTo>
                    <a:pt x="292" y="381"/>
                    <a:pt x="292" y="381"/>
                    <a:pt x="292" y="381"/>
                  </a:cubicBezTo>
                  <a:cubicBezTo>
                    <a:pt x="275" y="413"/>
                    <a:pt x="275" y="413"/>
                    <a:pt x="275" y="413"/>
                  </a:cubicBezTo>
                  <a:cubicBezTo>
                    <a:pt x="274" y="415"/>
                    <a:pt x="274" y="417"/>
                    <a:pt x="274" y="419"/>
                  </a:cubicBezTo>
                  <a:cubicBezTo>
                    <a:pt x="274" y="577"/>
                    <a:pt x="274" y="577"/>
                    <a:pt x="274" y="577"/>
                  </a:cubicBezTo>
                  <a:cubicBezTo>
                    <a:pt x="226" y="577"/>
                    <a:pt x="226" y="577"/>
                    <a:pt x="226" y="577"/>
                  </a:cubicBezTo>
                  <a:cubicBezTo>
                    <a:pt x="226" y="419"/>
                    <a:pt x="226" y="419"/>
                    <a:pt x="226" y="419"/>
                  </a:cubicBezTo>
                  <a:cubicBezTo>
                    <a:pt x="226" y="417"/>
                    <a:pt x="225" y="415"/>
                    <a:pt x="224" y="413"/>
                  </a:cubicBezTo>
                  <a:close/>
                  <a:moveTo>
                    <a:pt x="457" y="340"/>
                  </a:moveTo>
                  <a:cubicBezTo>
                    <a:pt x="456" y="342"/>
                    <a:pt x="456" y="342"/>
                    <a:pt x="456" y="342"/>
                  </a:cubicBezTo>
                  <a:cubicBezTo>
                    <a:pt x="453" y="348"/>
                    <a:pt x="444" y="362"/>
                    <a:pt x="434" y="381"/>
                  </a:cubicBezTo>
                  <a:cubicBezTo>
                    <a:pt x="430" y="387"/>
                    <a:pt x="430" y="387"/>
                    <a:pt x="430" y="387"/>
                  </a:cubicBezTo>
                  <a:cubicBezTo>
                    <a:pt x="415" y="415"/>
                    <a:pt x="387" y="464"/>
                    <a:pt x="377" y="488"/>
                  </a:cubicBezTo>
                  <a:cubicBezTo>
                    <a:pt x="370" y="504"/>
                    <a:pt x="357" y="540"/>
                    <a:pt x="348" y="567"/>
                  </a:cubicBezTo>
                  <a:cubicBezTo>
                    <a:pt x="346" y="573"/>
                    <a:pt x="340" y="577"/>
                    <a:pt x="334" y="577"/>
                  </a:cubicBezTo>
                  <a:cubicBezTo>
                    <a:pt x="299" y="577"/>
                    <a:pt x="299" y="577"/>
                    <a:pt x="299" y="577"/>
                  </a:cubicBezTo>
                  <a:cubicBezTo>
                    <a:pt x="299" y="422"/>
                    <a:pt x="299" y="422"/>
                    <a:pt x="299" y="422"/>
                  </a:cubicBezTo>
                  <a:cubicBezTo>
                    <a:pt x="337" y="351"/>
                    <a:pt x="337" y="351"/>
                    <a:pt x="337" y="351"/>
                  </a:cubicBezTo>
                  <a:cubicBezTo>
                    <a:pt x="340" y="346"/>
                    <a:pt x="339" y="340"/>
                    <a:pt x="334" y="336"/>
                  </a:cubicBezTo>
                  <a:cubicBezTo>
                    <a:pt x="330" y="332"/>
                    <a:pt x="324" y="331"/>
                    <a:pt x="319" y="334"/>
                  </a:cubicBezTo>
                  <a:cubicBezTo>
                    <a:pt x="250" y="379"/>
                    <a:pt x="250" y="379"/>
                    <a:pt x="250" y="379"/>
                  </a:cubicBezTo>
                  <a:cubicBezTo>
                    <a:pt x="181" y="334"/>
                    <a:pt x="181" y="334"/>
                    <a:pt x="181" y="334"/>
                  </a:cubicBezTo>
                  <a:cubicBezTo>
                    <a:pt x="176" y="331"/>
                    <a:pt x="170" y="332"/>
                    <a:pt x="165" y="336"/>
                  </a:cubicBezTo>
                  <a:cubicBezTo>
                    <a:pt x="161" y="340"/>
                    <a:pt x="160" y="346"/>
                    <a:pt x="163" y="351"/>
                  </a:cubicBezTo>
                  <a:cubicBezTo>
                    <a:pt x="201" y="422"/>
                    <a:pt x="201" y="422"/>
                    <a:pt x="201" y="422"/>
                  </a:cubicBezTo>
                  <a:cubicBezTo>
                    <a:pt x="201" y="577"/>
                    <a:pt x="201" y="577"/>
                    <a:pt x="201" y="577"/>
                  </a:cubicBezTo>
                  <a:cubicBezTo>
                    <a:pt x="166" y="577"/>
                    <a:pt x="166" y="577"/>
                    <a:pt x="166" y="577"/>
                  </a:cubicBezTo>
                  <a:cubicBezTo>
                    <a:pt x="159" y="577"/>
                    <a:pt x="153" y="573"/>
                    <a:pt x="151" y="567"/>
                  </a:cubicBezTo>
                  <a:cubicBezTo>
                    <a:pt x="142" y="540"/>
                    <a:pt x="130" y="504"/>
                    <a:pt x="123" y="488"/>
                  </a:cubicBezTo>
                  <a:cubicBezTo>
                    <a:pt x="113" y="466"/>
                    <a:pt x="88" y="420"/>
                    <a:pt x="69" y="386"/>
                  </a:cubicBezTo>
                  <a:cubicBezTo>
                    <a:pt x="57" y="364"/>
                    <a:pt x="47" y="347"/>
                    <a:pt x="44" y="342"/>
                  </a:cubicBezTo>
                  <a:cubicBezTo>
                    <a:pt x="43" y="341"/>
                    <a:pt x="43" y="341"/>
                    <a:pt x="43" y="341"/>
                  </a:cubicBezTo>
                  <a:cubicBezTo>
                    <a:pt x="31" y="313"/>
                    <a:pt x="25" y="284"/>
                    <a:pt x="25" y="253"/>
                  </a:cubicBezTo>
                  <a:cubicBezTo>
                    <a:pt x="25" y="191"/>
                    <a:pt x="51" y="131"/>
                    <a:pt x="97" y="89"/>
                  </a:cubicBezTo>
                  <a:cubicBezTo>
                    <a:pt x="143" y="46"/>
                    <a:pt x="203" y="25"/>
                    <a:pt x="266" y="29"/>
                  </a:cubicBezTo>
                  <a:cubicBezTo>
                    <a:pt x="363" y="36"/>
                    <a:pt x="446" y="106"/>
                    <a:pt x="468" y="200"/>
                  </a:cubicBezTo>
                  <a:cubicBezTo>
                    <a:pt x="479" y="247"/>
                    <a:pt x="476" y="296"/>
                    <a:pt x="457" y="340"/>
                  </a:cubicBezTo>
                  <a:close/>
                  <a:moveTo>
                    <a:pt x="327" y="103"/>
                  </a:moveTo>
                  <a:cubicBezTo>
                    <a:pt x="325" y="110"/>
                    <a:pt x="318" y="113"/>
                    <a:pt x="311" y="111"/>
                  </a:cubicBezTo>
                  <a:cubicBezTo>
                    <a:pt x="294" y="106"/>
                    <a:pt x="277" y="103"/>
                    <a:pt x="259" y="103"/>
                  </a:cubicBezTo>
                  <a:cubicBezTo>
                    <a:pt x="166" y="103"/>
                    <a:pt x="90" y="178"/>
                    <a:pt x="90" y="271"/>
                  </a:cubicBezTo>
                  <a:cubicBezTo>
                    <a:pt x="90" y="278"/>
                    <a:pt x="85" y="284"/>
                    <a:pt x="78" y="284"/>
                  </a:cubicBezTo>
                  <a:cubicBezTo>
                    <a:pt x="71" y="284"/>
                    <a:pt x="65" y="278"/>
                    <a:pt x="65" y="271"/>
                  </a:cubicBezTo>
                  <a:cubicBezTo>
                    <a:pt x="65" y="165"/>
                    <a:pt x="152" y="78"/>
                    <a:pt x="259" y="78"/>
                  </a:cubicBezTo>
                  <a:cubicBezTo>
                    <a:pt x="279" y="78"/>
                    <a:pt x="300" y="81"/>
                    <a:pt x="319" y="87"/>
                  </a:cubicBezTo>
                  <a:cubicBezTo>
                    <a:pt x="326" y="90"/>
                    <a:pt x="329" y="97"/>
                    <a:pt x="327" y="10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7279653" y="1543050"/>
            <a:ext cx="717906" cy="717904"/>
            <a:chOff x="7279653" y="1543050"/>
            <a:chExt cx="717906" cy="717904"/>
          </a:xfrm>
        </p:grpSpPr>
        <p:sp>
          <p:nvSpPr>
            <p:cNvPr id="51" name="Oval 50"/>
            <p:cNvSpPr/>
            <p:nvPr/>
          </p:nvSpPr>
          <p:spPr>
            <a:xfrm>
              <a:off x="7279653" y="1543050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1" name="Oval 20"/>
            <p:cNvSpPr/>
            <p:nvPr/>
          </p:nvSpPr>
          <p:spPr>
            <a:xfrm>
              <a:off x="7334004" y="1597400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7439081" y="1797051"/>
              <a:ext cx="382728" cy="204977"/>
            </a:xfrm>
            <a:custGeom>
              <a:avLst/>
              <a:gdLst>
                <a:gd name="T0" fmla="*/ 825 w 826"/>
                <a:gd name="T1" fmla="*/ 162 h 442"/>
                <a:gd name="T2" fmla="*/ 609 w 826"/>
                <a:gd name="T3" fmla="*/ 13 h 442"/>
                <a:gd name="T4" fmla="*/ 178 w 826"/>
                <a:gd name="T5" fmla="*/ 57 h 442"/>
                <a:gd name="T6" fmla="*/ 280 w 826"/>
                <a:gd name="T7" fmla="*/ 390 h 442"/>
                <a:gd name="T8" fmla="*/ 595 w 826"/>
                <a:gd name="T9" fmla="*/ 390 h 442"/>
                <a:gd name="T10" fmla="*/ 773 w 826"/>
                <a:gd name="T11" fmla="*/ 390 h 442"/>
                <a:gd name="T12" fmla="*/ 825 w 826"/>
                <a:gd name="T13" fmla="*/ 215 h 442"/>
                <a:gd name="T14" fmla="*/ 799 w 826"/>
                <a:gd name="T15" fmla="*/ 198 h 442"/>
                <a:gd name="T16" fmla="*/ 739 w 826"/>
                <a:gd name="T17" fmla="*/ 102 h 442"/>
                <a:gd name="T18" fmla="*/ 622 w 826"/>
                <a:gd name="T19" fmla="*/ 198 h 442"/>
                <a:gd name="T20" fmla="*/ 622 w 826"/>
                <a:gd name="T21" fmla="*/ 102 h 442"/>
                <a:gd name="T22" fmla="*/ 582 w 826"/>
                <a:gd name="T23" fmla="*/ 26 h 442"/>
                <a:gd name="T24" fmla="*/ 421 w 826"/>
                <a:gd name="T25" fmla="*/ 363 h 442"/>
                <a:gd name="T26" fmla="*/ 417 w 826"/>
                <a:gd name="T27" fmla="*/ 346 h 442"/>
                <a:gd name="T28" fmla="*/ 408 w 826"/>
                <a:gd name="T29" fmla="*/ 328 h 442"/>
                <a:gd name="T30" fmla="*/ 393 w 826"/>
                <a:gd name="T31" fmla="*/ 313 h 442"/>
                <a:gd name="T32" fmla="*/ 376 w 826"/>
                <a:gd name="T33" fmla="*/ 303 h 442"/>
                <a:gd name="T34" fmla="*/ 349 w 826"/>
                <a:gd name="T35" fmla="*/ 298 h 442"/>
                <a:gd name="T36" fmla="*/ 322 w 826"/>
                <a:gd name="T37" fmla="*/ 303 h 442"/>
                <a:gd name="T38" fmla="*/ 305 w 826"/>
                <a:gd name="T39" fmla="*/ 313 h 442"/>
                <a:gd name="T40" fmla="*/ 290 w 826"/>
                <a:gd name="T41" fmla="*/ 328 h 442"/>
                <a:gd name="T42" fmla="*/ 281 w 826"/>
                <a:gd name="T43" fmla="*/ 346 h 442"/>
                <a:gd name="T44" fmla="*/ 277 w 826"/>
                <a:gd name="T45" fmla="*/ 363 h 442"/>
                <a:gd name="T46" fmla="*/ 349 w 826"/>
                <a:gd name="T47" fmla="*/ 416 h 442"/>
                <a:gd name="T48" fmla="*/ 349 w 826"/>
                <a:gd name="T49" fmla="*/ 324 h 442"/>
                <a:gd name="T50" fmla="*/ 349 w 826"/>
                <a:gd name="T51" fmla="*/ 416 h 442"/>
                <a:gd name="T52" fmla="*/ 658 w 826"/>
                <a:gd name="T53" fmla="*/ 370 h 442"/>
                <a:gd name="T54" fmla="*/ 750 w 826"/>
                <a:gd name="T55" fmla="*/ 375 h 442"/>
                <a:gd name="T56" fmla="*/ 775 w 826"/>
                <a:gd name="T57" fmla="*/ 359 h 442"/>
                <a:gd name="T58" fmla="*/ 769 w 826"/>
                <a:gd name="T59" fmla="*/ 340 h 442"/>
                <a:gd name="T60" fmla="*/ 758 w 826"/>
                <a:gd name="T61" fmla="*/ 322 h 442"/>
                <a:gd name="T62" fmla="*/ 743 w 826"/>
                <a:gd name="T63" fmla="*/ 310 h 442"/>
                <a:gd name="T64" fmla="*/ 723 w 826"/>
                <a:gd name="T65" fmla="*/ 301 h 442"/>
                <a:gd name="T66" fmla="*/ 690 w 826"/>
                <a:gd name="T67" fmla="*/ 299 h 442"/>
                <a:gd name="T68" fmla="*/ 672 w 826"/>
                <a:gd name="T69" fmla="*/ 306 h 442"/>
                <a:gd name="T70" fmla="*/ 654 w 826"/>
                <a:gd name="T71" fmla="*/ 318 h 442"/>
                <a:gd name="T72" fmla="*/ 642 w 826"/>
                <a:gd name="T73" fmla="*/ 333 h 442"/>
                <a:gd name="T74" fmla="*/ 634 w 826"/>
                <a:gd name="T75" fmla="*/ 353 h 442"/>
                <a:gd name="T76" fmla="*/ 609 w 826"/>
                <a:gd name="T77" fmla="*/ 363 h 442"/>
                <a:gd name="T78" fmla="*/ 635 w 826"/>
                <a:gd name="T79" fmla="*/ 225 h 442"/>
                <a:gd name="T80" fmla="*/ 799 w 826"/>
                <a:gd name="T81" fmla="*/ 363 h 442"/>
                <a:gd name="T82" fmla="*/ 145 w 826"/>
                <a:gd name="T83" fmla="*/ 205 h 442"/>
                <a:gd name="T84" fmla="*/ 13 w 826"/>
                <a:gd name="T85" fmla="*/ 178 h 442"/>
                <a:gd name="T86" fmla="*/ 158 w 826"/>
                <a:gd name="T87" fmla="*/ 125 h 442"/>
                <a:gd name="T88" fmla="*/ 64 w 826"/>
                <a:gd name="T89" fmla="*/ 125 h 442"/>
                <a:gd name="T90" fmla="*/ 158 w 826"/>
                <a:gd name="T91" fmla="*/ 125 h 442"/>
                <a:gd name="T92" fmla="*/ 77 w 826"/>
                <a:gd name="T93" fmla="*/ 271 h 442"/>
                <a:gd name="T94" fmla="*/ 145 w 826"/>
                <a:gd name="T95" fmla="*/ 24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826" h="442">
                  <a:moveTo>
                    <a:pt x="826" y="211"/>
                  </a:moveTo>
                  <a:cubicBezTo>
                    <a:pt x="826" y="209"/>
                    <a:pt x="825" y="208"/>
                    <a:pt x="825" y="207"/>
                  </a:cubicBezTo>
                  <a:cubicBezTo>
                    <a:pt x="825" y="162"/>
                    <a:pt x="825" y="162"/>
                    <a:pt x="825" y="162"/>
                  </a:cubicBezTo>
                  <a:cubicBezTo>
                    <a:pt x="825" y="114"/>
                    <a:pt x="786" y="76"/>
                    <a:pt x="739" y="76"/>
                  </a:cubicBezTo>
                  <a:cubicBezTo>
                    <a:pt x="609" y="76"/>
                    <a:pt x="609" y="76"/>
                    <a:pt x="609" y="76"/>
                  </a:cubicBezTo>
                  <a:cubicBezTo>
                    <a:pt x="609" y="13"/>
                    <a:pt x="609" y="13"/>
                    <a:pt x="609" y="13"/>
                  </a:cubicBezTo>
                  <a:cubicBezTo>
                    <a:pt x="609" y="6"/>
                    <a:pt x="603" y="0"/>
                    <a:pt x="59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04" y="0"/>
                    <a:pt x="178" y="26"/>
                    <a:pt x="178" y="57"/>
                  </a:cubicBezTo>
                  <a:cubicBezTo>
                    <a:pt x="178" y="377"/>
                    <a:pt x="178" y="377"/>
                    <a:pt x="178" y="377"/>
                  </a:cubicBezTo>
                  <a:cubicBezTo>
                    <a:pt x="178" y="384"/>
                    <a:pt x="184" y="390"/>
                    <a:pt x="191" y="390"/>
                  </a:cubicBezTo>
                  <a:cubicBezTo>
                    <a:pt x="280" y="390"/>
                    <a:pt x="280" y="390"/>
                    <a:pt x="280" y="390"/>
                  </a:cubicBezTo>
                  <a:cubicBezTo>
                    <a:pt x="288" y="420"/>
                    <a:pt x="316" y="442"/>
                    <a:pt x="349" y="442"/>
                  </a:cubicBezTo>
                  <a:cubicBezTo>
                    <a:pt x="382" y="442"/>
                    <a:pt x="410" y="421"/>
                    <a:pt x="418" y="390"/>
                  </a:cubicBezTo>
                  <a:cubicBezTo>
                    <a:pt x="595" y="390"/>
                    <a:pt x="595" y="390"/>
                    <a:pt x="595" y="390"/>
                  </a:cubicBezTo>
                  <a:cubicBezTo>
                    <a:pt x="634" y="390"/>
                    <a:pt x="634" y="390"/>
                    <a:pt x="634" y="390"/>
                  </a:cubicBezTo>
                  <a:cubicBezTo>
                    <a:pt x="643" y="420"/>
                    <a:pt x="671" y="442"/>
                    <a:pt x="704" y="442"/>
                  </a:cubicBezTo>
                  <a:cubicBezTo>
                    <a:pt x="737" y="442"/>
                    <a:pt x="765" y="421"/>
                    <a:pt x="773" y="390"/>
                  </a:cubicBezTo>
                  <a:cubicBezTo>
                    <a:pt x="812" y="390"/>
                    <a:pt x="812" y="390"/>
                    <a:pt x="812" y="390"/>
                  </a:cubicBezTo>
                  <a:cubicBezTo>
                    <a:pt x="819" y="390"/>
                    <a:pt x="825" y="384"/>
                    <a:pt x="825" y="377"/>
                  </a:cubicBezTo>
                  <a:cubicBezTo>
                    <a:pt x="825" y="215"/>
                    <a:pt x="825" y="215"/>
                    <a:pt x="825" y="215"/>
                  </a:cubicBezTo>
                  <a:cubicBezTo>
                    <a:pt x="825" y="214"/>
                    <a:pt x="826" y="212"/>
                    <a:pt x="826" y="211"/>
                  </a:cubicBezTo>
                  <a:close/>
                  <a:moveTo>
                    <a:pt x="799" y="162"/>
                  </a:moveTo>
                  <a:cubicBezTo>
                    <a:pt x="799" y="198"/>
                    <a:pt x="799" y="198"/>
                    <a:pt x="799" y="198"/>
                  </a:cubicBezTo>
                  <a:cubicBezTo>
                    <a:pt x="648" y="198"/>
                    <a:pt x="648" y="198"/>
                    <a:pt x="648" y="198"/>
                  </a:cubicBezTo>
                  <a:cubicBezTo>
                    <a:pt x="648" y="102"/>
                    <a:pt x="648" y="102"/>
                    <a:pt x="648" y="102"/>
                  </a:cubicBezTo>
                  <a:cubicBezTo>
                    <a:pt x="739" y="102"/>
                    <a:pt x="739" y="102"/>
                    <a:pt x="739" y="102"/>
                  </a:cubicBezTo>
                  <a:cubicBezTo>
                    <a:pt x="772" y="102"/>
                    <a:pt x="799" y="129"/>
                    <a:pt x="799" y="162"/>
                  </a:cubicBezTo>
                  <a:close/>
                  <a:moveTo>
                    <a:pt x="622" y="102"/>
                  </a:moveTo>
                  <a:cubicBezTo>
                    <a:pt x="622" y="198"/>
                    <a:pt x="622" y="198"/>
                    <a:pt x="622" y="198"/>
                  </a:cubicBezTo>
                  <a:cubicBezTo>
                    <a:pt x="609" y="198"/>
                    <a:pt x="609" y="198"/>
                    <a:pt x="609" y="198"/>
                  </a:cubicBezTo>
                  <a:cubicBezTo>
                    <a:pt x="609" y="102"/>
                    <a:pt x="609" y="102"/>
                    <a:pt x="609" y="102"/>
                  </a:cubicBezTo>
                  <a:lnTo>
                    <a:pt x="622" y="102"/>
                  </a:lnTo>
                  <a:close/>
                  <a:moveTo>
                    <a:pt x="205" y="57"/>
                  </a:moveTo>
                  <a:cubicBezTo>
                    <a:pt x="205" y="40"/>
                    <a:pt x="218" y="26"/>
                    <a:pt x="235" y="26"/>
                  </a:cubicBezTo>
                  <a:cubicBezTo>
                    <a:pt x="582" y="26"/>
                    <a:pt x="582" y="26"/>
                    <a:pt x="582" y="26"/>
                  </a:cubicBezTo>
                  <a:cubicBezTo>
                    <a:pt x="582" y="89"/>
                    <a:pt x="582" y="89"/>
                    <a:pt x="582" y="89"/>
                  </a:cubicBezTo>
                  <a:cubicBezTo>
                    <a:pt x="582" y="363"/>
                    <a:pt x="582" y="363"/>
                    <a:pt x="582" y="363"/>
                  </a:cubicBezTo>
                  <a:cubicBezTo>
                    <a:pt x="421" y="363"/>
                    <a:pt x="421" y="363"/>
                    <a:pt x="421" y="363"/>
                  </a:cubicBezTo>
                  <a:cubicBezTo>
                    <a:pt x="421" y="362"/>
                    <a:pt x="420" y="361"/>
                    <a:pt x="420" y="359"/>
                  </a:cubicBezTo>
                  <a:cubicBezTo>
                    <a:pt x="420" y="357"/>
                    <a:pt x="419" y="355"/>
                    <a:pt x="419" y="353"/>
                  </a:cubicBezTo>
                  <a:cubicBezTo>
                    <a:pt x="418" y="350"/>
                    <a:pt x="418" y="348"/>
                    <a:pt x="417" y="346"/>
                  </a:cubicBezTo>
                  <a:cubicBezTo>
                    <a:pt x="416" y="344"/>
                    <a:pt x="415" y="342"/>
                    <a:pt x="414" y="340"/>
                  </a:cubicBezTo>
                  <a:cubicBezTo>
                    <a:pt x="413" y="338"/>
                    <a:pt x="412" y="335"/>
                    <a:pt x="411" y="333"/>
                  </a:cubicBezTo>
                  <a:cubicBezTo>
                    <a:pt x="410" y="332"/>
                    <a:pt x="409" y="330"/>
                    <a:pt x="408" y="328"/>
                  </a:cubicBezTo>
                  <a:cubicBezTo>
                    <a:pt x="406" y="326"/>
                    <a:pt x="405" y="324"/>
                    <a:pt x="403" y="322"/>
                  </a:cubicBezTo>
                  <a:cubicBezTo>
                    <a:pt x="402" y="321"/>
                    <a:pt x="400" y="319"/>
                    <a:pt x="399" y="318"/>
                  </a:cubicBezTo>
                  <a:cubicBezTo>
                    <a:pt x="397" y="316"/>
                    <a:pt x="395" y="315"/>
                    <a:pt x="393" y="313"/>
                  </a:cubicBezTo>
                  <a:cubicBezTo>
                    <a:pt x="391" y="312"/>
                    <a:pt x="390" y="311"/>
                    <a:pt x="388" y="310"/>
                  </a:cubicBezTo>
                  <a:cubicBezTo>
                    <a:pt x="386" y="308"/>
                    <a:pt x="384" y="307"/>
                    <a:pt x="381" y="306"/>
                  </a:cubicBezTo>
                  <a:cubicBezTo>
                    <a:pt x="380" y="305"/>
                    <a:pt x="378" y="304"/>
                    <a:pt x="376" y="303"/>
                  </a:cubicBezTo>
                  <a:cubicBezTo>
                    <a:pt x="374" y="302"/>
                    <a:pt x="371" y="301"/>
                    <a:pt x="368" y="301"/>
                  </a:cubicBezTo>
                  <a:cubicBezTo>
                    <a:pt x="366" y="300"/>
                    <a:pt x="365" y="300"/>
                    <a:pt x="363" y="299"/>
                  </a:cubicBezTo>
                  <a:cubicBezTo>
                    <a:pt x="359" y="298"/>
                    <a:pt x="354" y="298"/>
                    <a:pt x="349" y="298"/>
                  </a:cubicBezTo>
                  <a:cubicBezTo>
                    <a:pt x="344" y="298"/>
                    <a:pt x="339" y="298"/>
                    <a:pt x="335" y="299"/>
                  </a:cubicBezTo>
                  <a:cubicBezTo>
                    <a:pt x="333" y="300"/>
                    <a:pt x="332" y="300"/>
                    <a:pt x="330" y="301"/>
                  </a:cubicBezTo>
                  <a:cubicBezTo>
                    <a:pt x="327" y="301"/>
                    <a:pt x="324" y="302"/>
                    <a:pt x="322" y="303"/>
                  </a:cubicBezTo>
                  <a:cubicBezTo>
                    <a:pt x="320" y="304"/>
                    <a:pt x="318" y="305"/>
                    <a:pt x="317" y="306"/>
                  </a:cubicBezTo>
                  <a:cubicBezTo>
                    <a:pt x="314" y="307"/>
                    <a:pt x="312" y="308"/>
                    <a:pt x="310" y="310"/>
                  </a:cubicBezTo>
                  <a:cubicBezTo>
                    <a:pt x="308" y="311"/>
                    <a:pt x="307" y="312"/>
                    <a:pt x="305" y="313"/>
                  </a:cubicBezTo>
                  <a:cubicBezTo>
                    <a:pt x="303" y="315"/>
                    <a:pt x="301" y="316"/>
                    <a:pt x="299" y="318"/>
                  </a:cubicBezTo>
                  <a:cubicBezTo>
                    <a:pt x="298" y="319"/>
                    <a:pt x="296" y="321"/>
                    <a:pt x="295" y="322"/>
                  </a:cubicBezTo>
                  <a:cubicBezTo>
                    <a:pt x="293" y="324"/>
                    <a:pt x="292" y="326"/>
                    <a:pt x="290" y="328"/>
                  </a:cubicBezTo>
                  <a:cubicBezTo>
                    <a:pt x="289" y="330"/>
                    <a:pt x="288" y="332"/>
                    <a:pt x="287" y="333"/>
                  </a:cubicBezTo>
                  <a:cubicBezTo>
                    <a:pt x="286" y="335"/>
                    <a:pt x="285" y="338"/>
                    <a:pt x="284" y="340"/>
                  </a:cubicBezTo>
                  <a:cubicBezTo>
                    <a:pt x="283" y="342"/>
                    <a:pt x="282" y="344"/>
                    <a:pt x="281" y="346"/>
                  </a:cubicBezTo>
                  <a:cubicBezTo>
                    <a:pt x="280" y="348"/>
                    <a:pt x="280" y="350"/>
                    <a:pt x="279" y="353"/>
                  </a:cubicBezTo>
                  <a:cubicBezTo>
                    <a:pt x="279" y="355"/>
                    <a:pt x="278" y="357"/>
                    <a:pt x="278" y="359"/>
                  </a:cubicBezTo>
                  <a:cubicBezTo>
                    <a:pt x="278" y="361"/>
                    <a:pt x="277" y="362"/>
                    <a:pt x="277" y="363"/>
                  </a:cubicBezTo>
                  <a:cubicBezTo>
                    <a:pt x="205" y="363"/>
                    <a:pt x="205" y="363"/>
                    <a:pt x="205" y="363"/>
                  </a:cubicBezTo>
                  <a:lnTo>
                    <a:pt x="205" y="57"/>
                  </a:lnTo>
                  <a:close/>
                  <a:moveTo>
                    <a:pt x="349" y="416"/>
                  </a:moveTo>
                  <a:cubicBezTo>
                    <a:pt x="326" y="416"/>
                    <a:pt x="306" y="398"/>
                    <a:pt x="303" y="376"/>
                  </a:cubicBezTo>
                  <a:cubicBezTo>
                    <a:pt x="303" y="374"/>
                    <a:pt x="303" y="372"/>
                    <a:pt x="303" y="370"/>
                  </a:cubicBezTo>
                  <a:cubicBezTo>
                    <a:pt x="303" y="345"/>
                    <a:pt x="324" y="324"/>
                    <a:pt x="349" y="324"/>
                  </a:cubicBezTo>
                  <a:cubicBezTo>
                    <a:pt x="374" y="324"/>
                    <a:pt x="395" y="345"/>
                    <a:pt x="395" y="370"/>
                  </a:cubicBezTo>
                  <a:cubicBezTo>
                    <a:pt x="395" y="372"/>
                    <a:pt x="395" y="374"/>
                    <a:pt x="395" y="375"/>
                  </a:cubicBezTo>
                  <a:cubicBezTo>
                    <a:pt x="392" y="398"/>
                    <a:pt x="372" y="416"/>
                    <a:pt x="349" y="416"/>
                  </a:cubicBezTo>
                  <a:close/>
                  <a:moveTo>
                    <a:pt x="704" y="416"/>
                  </a:moveTo>
                  <a:cubicBezTo>
                    <a:pt x="680" y="416"/>
                    <a:pt x="661" y="398"/>
                    <a:pt x="658" y="376"/>
                  </a:cubicBezTo>
                  <a:cubicBezTo>
                    <a:pt x="658" y="374"/>
                    <a:pt x="658" y="372"/>
                    <a:pt x="658" y="370"/>
                  </a:cubicBezTo>
                  <a:cubicBezTo>
                    <a:pt x="658" y="345"/>
                    <a:pt x="679" y="324"/>
                    <a:pt x="704" y="324"/>
                  </a:cubicBezTo>
                  <a:cubicBezTo>
                    <a:pt x="729" y="324"/>
                    <a:pt x="750" y="345"/>
                    <a:pt x="750" y="370"/>
                  </a:cubicBezTo>
                  <a:cubicBezTo>
                    <a:pt x="750" y="372"/>
                    <a:pt x="750" y="374"/>
                    <a:pt x="750" y="375"/>
                  </a:cubicBezTo>
                  <a:cubicBezTo>
                    <a:pt x="747" y="398"/>
                    <a:pt x="727" y="416"/>
                    <a:pt x="704" y="416"/>
                  </a:cubicBezTo>
                  <a:close/>
                  <a:moveTo>
                    <a:pt x="776" y="363"/>
                  </a:moveTo>
                  <a:cubicBezTo>
                    <a:pt x="776" y="362"/>
                    <a:pt x="775" y="361"/>
                    <a:pt x="775" y="359"/>
                  </a:cubicBezTo>
                  <a:cubicBezTo>
                    <a:pt x="775" y="357"/>
                    <a:pt x="774" y="355"/>
                    <a:pt x="774" y="353"/>
                  </a:cubicBezTo>
                  <a:cubicBezTo>
                    <a:pt x="773" y="350"/>
                    <a:pt x="772" y="348"/>
                    <a:pt x="772" y="346"/>
                  </a:cubicBezTo>
                  <a:cubicBezTo>
                    <a:pt x="771" y="344"/>
                    <a:pt x="770" y="342"/>
                    <a:pt x="769" y="340"/>
                  </a:cubicBezTo>
                  <a:cubicBezTo>
                    <a:pt x="768" y="338"/>
                    <a:pt x="767" y="335"/>
                    <a:pt x="766" y="333"/>
                  </a:cubicBezTo>
                  <a:cubicBezTo>
                    <a:pt x="765" y="332"/>
                    <a:pt x="764" y="330"/>
                    <a:pt x="763" y="328"/>
                  </a:cubicBezTo>
                  <a:cubicBezTo>
                    <a:pt x="761" y="326"/>
                    <a:pt x="759" y="324"/>
                    <a:pt x="758" y="322"/>
                  </a:cubicBezTo>
                  <a:cubicBezTo>
                    <a:pt x="756" y="321"/>
                    <a:pt x="755" y="319"/>
                    <a:pt x="754" y="318"/>
                  </a:cubicBezTo>
                  <a:cubicBezTo>
                    <a:pt x="752" y="316"/>
                    <a:pt x="750" y="315"/>
                    <a:pt x="748" y="313"/>
                  </a:cubicBezTo>
                  <a:cubicBezTo>
                    <a:pt x="746" y="312"/>
                    <a:pt x="745" y="311"/>
                    <a:pt x="743" y="310"/>
                  </a:cubicBezTo>
                  <a:cubicBezTo>
                    <a:pt x="741" y="308"/>
                    <a:pt x="739" y="307"/>
                    <a:pt x="736" y="306"/>
                  </a:cubicBezTo>
                  <a:cubicBezTo>
                    <a:pt x="734" y="305"/>
                    <a:pt x="733" y="304"/>
                    <a:pt x="731" y="303"/>
                  </a:cubicBezTo>
                  <a:cubicBezTo>
                    <a:pt x="728" y="302"/>
                    <a:pt x="726" y="301"/>
                    <a:pt x="723" y="301"/>
                  </a:cubicBezTo>
                  <a:cubicBezTo>
                    <a:pt x="721" y="300"/>
                    <a:pt x="720" y="300"/>
                    <a:pt x="718" y="299"/>
                  </a:cubicBezTo>
                  <a:cubicBezTo>
                    <a:pt x="714" y="298"/>
                    <a:pt x="709" y="298"/>
                    <a:pt x="704" y="298"/>
                  </a:cubicBezTo>
                  <a:cubicBezTo>
                    <a:pt x="699" y="298"/>
                    <a:pt x="694" y="298"/>
                    <a:pt x="690" y="299"/>
                  </a:cubicBezTo>
                  <a:cubicBezTo>
                    <a:pt x="688" y="300"/>
                    <a:pt x="687" y="300"/>
                    <a:pt x="685" y="301"/>
                  </a:cubicBezTo>
                  <a:cubicBezTo>
                    <a:pt x="682" y="301"/>
                    <a:pt x="679" y="302"/>
                    <a:pt x="677" y="303"/>
                  </a:cubicBezTo>
                  <a:cubicBezTo>
                    <a:pt x="675" y="304"/>
                    <a:pt x="673" y="305"/>
                    <a:pt x="672" y="306"/>
                  </a:cubicBezTo>
                  <a:cubicBezTo>
                    <a:pt x="669" y="307"/>
                    <a:pt x="667" y="308"/>
                    <a:pt x="665" y="310"/>
                  </a:cubicBezTo>
                  <a:cubicBezTo>
                    <a:pt x="663" y="311"/>
                    <a:pt x="662" y="312"/>
                    <a:pt x="660" y="313"/>
                  </a:cubicBezTo>
                  <a:cubicBezTo>
                    <a:pt x="658" y="315"/>
                    <a:pt x="656" y="316"/>
                    <a:pt x="654" y="318"/>
                  </a:cubicBezTo>
                  <a:cubicBezTo>
                    <a:pt x="653" y="319"/>
                    <a:pt x="651" y="321"/>
                    <a:pt x="650" y="322"/>
                  </a:cubicBezTo>
                  <a:cubicBezTo>
                    <a:pt x="648" y="324"/>
                    <a:pt x="647" y="326"/>
                    <a:pt x="645" y="328"/>
                  </a:cubicBezTo>
                  <a:cubicBezTo>
                    <a:pt x="644" y="330"/>
                    <a:pt x="643" y="332"/>
                    <a:pt x="642" y="333"/>
                  </a:cubicBezTo>
                  <a:cubicBezTo>
                    <a:pt x="641" y="335"/>
                    <a:pt x="640" y="338"/>
                    <a:pt x="638" y="340"/>
                  </a:cubicBezTo>
                  <a:cubicBezTo>
                    <a:pt x="638" y="342"/>
                    <a:pt x="637" y="344"/>
                    <a:pt x="636" y="346"/>
                  </a:cubicBezTo>
                  <a:cubicBezTo>
                    <a:pt x="635" y="348"/>
                    <a:pt x="635" y="350"/>
                    <a:pt x="634" y="353"/>
                  </a:cubicBezTo>
                  <a:cubicBezTo>
                    <a:pt x="633" y="355"/>
                    <a:pt x="633" y="357"/>
                    <a:pt x="633" y="359"/>
                  </a:cubicBezTo>
                  <a:cubicBezTo>
                    <a:pt x="633" y="361"/>
                    <a:pt x="632" y="362"/>
                    <a:pt x="632" y="363"/>
                  </a:cubicBezTo>
                  <a:cubicBezTo>
                    <a:pt x="609" y="363"/>
                    <a:pt x="609" y="363"/>
                    <a:pt x="609" y="363"/>
                  </a:cubicBezTo>
                  <a:cubicBezTo>
                    <a:pt x="609" y="224"/>
                    <a:pt x="609" y="224"/>
                    <a:pt x="609" y="224"/>
                  </a:cubicBezTo>
                  <a:cubicBezTo>
                    <a:pt x="633" y="224"/>
                    <a:pt x="633" y="224"/>
                    <a:pt x="633" y="224"/>
                  </a:cubicBezTo>
                  <a:cubicBezTo>
                    <a:pt x="633" y="224"/>
                    <a:pt x="634" y="225"/>
                    <a:pt x="635" y="225"/>
                  </a:cubicBezTo>
                  <a:cubicBezTo>
                    <a:pt x="636" y="225"/>
                    <a:pt x="637" y="224"/>
                    <a:pt x="638" y="224"/>
                  </a:cubicBezTo>
                  <a:cubicBezTo>
                    <a:pt x="799" y="224"/>
                    <a:pt x="799" y="224"/>
                    <a:pt x="799" y="224"/>
                  </a:cubicBezTo>
                  <a:cubicBezTo>
                    <a:pt x="799" y="363"/>
                    <a:pt x="799" y="363"/>
                    <a:pt x="799" y="363"/>
                  </a:cubicBezTo>
                  <a:lnTo>
                    <a:pt x="776" y="363"/>
                  </a:lnTo>
                  <a:close/>
                  <a:moveTo>
                    <a:pt x="158" y="191"/>
                  </a:moveTo>
                  <a:cubicBezTo>
                    <a:pt x="158" y="199"/>
                    <a:pt x="152" y="205"/>
                    <a:pt x="145" y="205"/>
                  </a:cubicBezTo>
                  <a:cubicBezTo>
                    <a:pt x="13" y="205"/>
                    <a:pt x="13" y="205"/>
                    <a:pt x="13" y="205"/>
                  </a:cubicBezTo>
                  <a:cubicBezTo>
                    <a:pt x="6" y="205"/>
                    <a:pt x="0" y="199"/>
                    <a:pt x="0" y="191"/>
                  </a:cubicBezTo>
                  <a:cubicBezTo>
                    <a:pt x="0" y="184"/>
                    <a:pt x="6" y="178"/>
                    <a:pt x="13" y="178"/>
                  </a:cubicBezTo>
                  <a:cubicBezTo>
                    <a:pt x="145" y="178"/>
                    <a:pt x="145" y="178"/>
                    <a:pt x="145" y="178"/>
                  </a:cubicBezTo>
                  <a:cubicBezTo>
                    <a:pt x="152" y="178"/>
                    <a:pt x="158" y="184"/>
                    <a:pt x="158" y="191"/>
                  </a:cubicBezTo>
                  <a:close/>
                  <a:moveTo>
                    <a:pt x="158" y="125"/>
                  </a:moveTo>
                  <a:cubicBezTo>
                    <a:pt x="158" y="132"/>
                    <a:pt x="152" y="138"/>
                    <a:pt x="145" y="138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0" y="138"/>
                    <a:pt x="64" y="132"/>
                    <a:pt x="64" y="125"/>
                  </a:cubicBezTo>
                  <a:cubicBezTo>
                    <a:pt x="64" y="118"/>
                    <a:pt x="70" y="112"/>
                    <a:pt x="77" y="112"/>
                  </a:cubicBezTo>
                  <a:cubicBezTo>
                    <a:pt x="145" y="112"/>
                    <a:pt x="145" y="112"/>
                    <a:pt x="145" y="112"/>
                  </a:cubicBezTo>
                  <a:cubicBezTo>
                    <a:pt x="152" y="112"/>
                    <a:pt x="158" y="118"/>
                    <a:pt x="158" y="125"/>
                  </a:cubicBezTo>
                  <a:close/>
                  <a:moveTo>
                    <a:pt x="158" y="258"/>
                  </a:moveTo>
                  <a:cubicBezTo>
                    <a:pt x="158" y="265"/>
                    <a:pt x="152" y="271"/>
                    <a:pt x="145" y="271"/>
                  </a:cubicBezTo>
                  <a:cubicBezTo>
                    <a:pt x="77" y="271"/>
                    <a:pt x="77" y="271"/>
                    <a:pt x="77" y="271"/>
                  </a:cubicBezTo>
                  <a:cubicBezTo>
                    <a:pt x="70" y="271"/>
                    <a:pt x="64" y="265"/>
                    <a:pt x="64" y="258"/>
                  </a:cubicBezTo>
                  <a:cubicBezTo>
                    <a:pt x="64" y="251"/>
                    <a:pt x="70" y="245"/>
                    <a:pt x="77" y="245"/>
                  </a:cubicBezTo>
                  <a:cubicBezTo>
                    <a:pt x="145" y="245"/>
                    <a:pt x="145" y="245"/>
                    <a:pt x="145" y="245"/>
                  </a:cubicBezTo>
                  <a:cubicBezTo>
                    <a:pt x="152" y="245"/>
                    <a:pt x="158" y="251"/>
                    <a:pt x="158" y="2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027204" y="2676593"/>
            <a:ext cx="717906" cy="717904"/>
            <a:chOff x="6027204" y="2676593"/>
            <a:chExt cx="717906" cy="717904"/>
          </a:xfrm>
        </p:grpSpPr>
        <p:sp>
          <p:nvSpPr>
            <p:cNvPr id="52" name="Oval 51"/>
            <p:cNvSpPr/>
            <p:nvPr/>
          </p:nvSpPr>
          <p:spPr>
            <a:xfrm>
              <a:off x="6027204" y="2676593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4" name="Oval 23"/>
            <p:cNvSpPr/>
            <p:nvPr/>
          </p:nvSpPr>
          <p:spPr>
            <a:xfrm>
              <a:off x="6081555" y="2730943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5" name="Freeform 8"/>
            <p:cNvSpPr>
              <a:spLocks noEditPoints="1"/>
            </p:cNvSpPr>
            <p:nvPr/>
          </p:nvSpPr>
          <p:spPr bwMode="auto">
            <a:xfrm>
              <a:off x="6214360" y="2898942"/>
              <a:ext cx="343595" cy="273206"/>
            </a:xfrm>
            <a:custGeom>
              <a:avLst/>
              <a:gdLst>
                <a:gd name="T0" fmla="*/ 638 w 638"/>
                <a:gd name="T1" fmla="*/ 151 h 507"/>
                <a:gd name="T2" fmla="*/ 441 w 638"/>
                <a:gd name="T3" fmla="*/ 61 h 507"/>
                <a:gd name="T4" fmla="*/ 554 w 638"/>
                <a:gd name="T5" fmla="*/ 43 h 507"/>
                <a:gd name="T6" fmla="*/ 347 w 638"/>
                <a:gd name="T7" fmla="*/ 164 h 507"/>
                <a:gd name="T8" fmla="*/ 296 w 638"/>
                <a:gd name="T9" fmla="*/ 69 h 507"/>
                <a:gd name="T10" fmla="*/ 296 w 638"/>
                <a:gd name="T11" fmla="*/ 191 h 507"/>
                <a:gd name="T12" fmla="*/ 234 w 638"/>
                <a:gd name="T13" fmla="*/ 361 h 507"/>
                <a:gd name="T14" fmla="*/ 153 w 638"/>
                <a:gd name="T15" fmla="*/ 223 h 507"/>
                <a:gd name="T16" fmla="*/ 31 w 638"/>
                <a:gd name="T17" fmla="*/ 223 h 507"/>
                <a:gd name="T18" fmla="*/ 94 w 638"/>
                <a:gd name="T19" fmla="*/ 284 h 507"/>
                <a:gd name="T20" fmla="*/ 9 w 638"/>
                <a:gd name="T21" fmla="*/ 506 h 507"/>
                <a:gd name="T22" fmla="*/ 27 w 638"/>
                <a:gd name="T23" fmla="*/ 499 h 507"/>
                <a:gd name="T24" fmla="*/ 218 w 638"/>
                <a:gd name="T25" fmla="*/ 383 h 507"/>
                <a:gd name="T26" fmla="*/ 261 w 638"/>
                <a:gd name="T27" fmla="*/ 487 h 507"/>
                <a:gd name="T28" fmla="*/ 261 w 638"/>
                <a:gd name="T29" fmla="*/ 364 h 507"/>
                <a:gd name="T30" fmla="*/ 334 w 638"/>
                <a:gd name="T31" fmla="*/ 187 h 507"/>
                <a:gd name="T32" fmla="*/ 433 w 638"/>
                <a:gd name="T33" fmla="*/ 304 h 507"/>
                <a:gd name="T34" fmla="*/ 555 w 638"/>
                <a:gd name="T35" fmla="*/ 304 h 507"/>
                <a:gd name="T36" fmla="*/ 491 w 638"/>
                <a:gd name="T37" fmla="*/ 243 h 507"/>
                <a:gd name="T38" fmla="*/ 613 w 638"/>
                <a:gd name="T39" fmla="*/ 159 h 507"/>
                <a:gd name="T40" fmla="*/ 296 w 638"/>
                <a:gd name="T41" fmla="*/ 95 h 507"/>
                <a:gd name="T42" fmla="*/ 296 w 638"/>
                <a:gd name="T43" fmla="*/ 165 h 507"/>
                <a:gd name="T44" fmla="*/ 57 w 638"/>
                <a:gd name="T45" fmla="*/ 223 h 507"/>
                <a:gd name="T46" fmla="*/ 127 w 638"/>
                <a:gd name="T47" fmla="*/ 223 h 507"/>
                <a:gd name="T48" fmla="*/ 109 w 638"/>
                <a:gd name="T49" fmla="*/ 253 h 507"/>
                <a:gd name="T50" fmla="*/ 57 w 638"/>
                <a:gd name="T51" fmla="*/ 223 h 507"/>
                <a:gd name="T52" fmla="*/ 261 w 638"/>
                <a:gd name="T53" fmla="*/ 460 h 507"/>
                <a:gd name="T54" fmla="*/ 245 w 638"/>
                <a:gd name="T55" fmla="*/ 395 h 507"/>
                <a:gd name="T56" fmla="*/ 261 w 638"/>
                <a:gd name="T57" fmla="*/ 391 h 507"/>
                <a:gd name="T58" fmla="*/ 528 w 638"/>
                <a:gd name="T59" fmla="*/ 304 h 507"/>
                <a:gd name="T60" fmla="*/ 459 w 638"/>
                <a:gd name="T61" fmla="*/ 304 h 507"/>
                <a:gd name="T62" fmla="*/ 476 w 638"/>
                <a:gd name="T63" fmla="*/ 274 h 507"/>
                <a:gd name="T64" fmla="*/ 528 w 638"/>
                <a:gd name="T65" fmla="*/ 304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8" h="507">
                  <a:moveTo>
                    <a:pt x="613" y="159"/>
                  </a:moveTo>
                  <a:cubicBezTo>
                    <a:pt x="638" y="151"/>
                    <a:pt x="638" y="151"/>
                    <a:pt x="638" y="151"/>
                  </a:cubicBezTo>
                  <a:cubicBezTo>
                    <a:pt x="588" y="0"/>
                    <a:pt x="588" y="0"/>
                    <a:pt x="588" y="0"/>
                  </a:cubicBezTo>
                  <a:cubicBezTo>
                    <a:pt x="441" y="61"/>
                    <a:pt x="441" y="61"/>
                    <a:pt x="441" y="61"/>
                  </a:cubicBezTo>
                  <a:cubicBezTo>
                    <a:pt x="452" y="85"/>
                    <a:pt x="452" y="85"/>
                    <a:pt x="452" y="85"/>
                  </a:cubicBezTo>
                  <a:cubicBezTo>
                    <a:pt x="554" y="43"/>
                    <a:pt x="554" y="43"/>
                    <a:pt x="554" y="43"/>
                  </a:cubicBezTo>
                  <a:cubicBezTo>
                    <a:pt x="461" y="246"/>
                    <a:pt x="461" y="246"/>
                    <a:pt x="461" y="246"/>
                  </a:cubicBezTo>
                  <a:cubicBezTo>
                    <a:pt x="347" y="164"/>
                    <a:pt x="347" y="164"/>
                    <a:pt x="347" y="164"/>
                  </a:cubicBezTo>
                  <a:cubicBezTo>
                    <a:pt x="354" y="155"/>
                    <a:pt x="357" y="143"/>
                    <a:pt x="357" y="130"/>
                  </a:cubicBezTo>
                  <a:cubicBezTo>
                    <a:pt x="357" y="96"/>
                    <a:pt x="330" y="69"/>
                    <a:pt x="296" y="69"/>
                  </a:cubicBezTo>
                  <a:cubicBezTo>
                    <a:pt x="263" y="69"/>
                    <a:pt x="235" y="96"/>
                    <a:pt x="235" y="130"/>
                  </a:cubicBezTo>
                  <a:cubicBezTo>
                    <a:pt x="235" y="164"/>
                    <a:pt x="263" y="191"/>
                    <a:pt x="296" y="191"/>
                  </a:cubicBezTo>
                  <a:cubicBezTo>
                    <a:pt x="299" y="191"/>
                    <a:pt x="301" y="191"/>
                    <a:pt x="304" y="191"/>
                  </a:cubicBezTo>
                  <a:cubicBezTo>
                    <a:pt x="234" y="361"/>
                    <a:pt x="234" y="361"/>
                    <a:pt x="234" y="361"/>
                  </a:cubicBezTo>
                  <a:cubicBezTo>
                    <a:pt x="137" y="264"/>
                    <a:pt x="137" y="264"/>
                    <a:pt x="137" y="264"/>
                  </a:cubicBezTo>
                  <a:cubicBezTo>
                    <a:pt x="147" y="253"/>
                    <a:pt x="153" y="239"/>
                    <a:pt x="153" y="223"/>
                  </a:cubicBezTo>
                  <a:cubicBezTo>
                    <a:pt x="153" y="189"/>
                    <a:pt x="126" y="162"/>
                    <a:pt x="92" y="162"/>
                  </a:cubicBezTo>
                  <a:cubicBezTo>
                    <a:pt x="58" y="162"/>
                    <a:pt x="31" y="189"/>
                    <a:pt x="31" y="223"/>
                  </a:cubicBezTo>
                  <a:cubicBezTo>
                    <a:pt x="31" y="257"/>
                    <a:pt x="58" y="284"/>
                    <a:pt x="92" y="284"/>
                  </a:cubicBezTo>
                  <a:cubicBezTo>
                    <a:pt x="93" y="284"/>
                    <a:pt x="93" y="284"/>
                    <a:pt x="94" y="284"/>
                  </a:cubicBezTo>
                  <a:cubicBezTo>
                    <a:pt x="3" y="489"/>
                    <a:pt x="3" y="489"/>
                    <a:pt x="3" y="489"/>
                  </a:cubicBezTo>
                  <a:cubicBezTo>
                    <a:pt x="0" y="495"/>
                    <a:pt x="3" y="503"/>
                    <a:pt x="9" y="506"/>
                  </a:cubicBezTo>
                  <a:cubicBezTo>
                    <a:pt x="11" y="507"/>
                    <a:pt x="13" y="507"/>
                    <a:pt x="15" y="507"/>
                  </a:cubicBezTo>
                  <a:cubicBezTo>
                    <a:pt x="20" y="507"/>
                    <a:pt x="25" y="504"/>
                    <a:pt x="27" y="499"/>
                  </a:cubicBezTo>
                  <a:cubicBezTo>
                    <a:pt x="122" y="286"/>
                    <a:pt x="122" y="286"/>
                    <a:pt x="122" y="286"/>
                  </a:cubicBezTo>
                  <a:cubicBezTo>
                    <a:pt x="218" y="383"/>
                    <a:pt x="218" y="383"/>
                    <a:pt x="218" y="383"/>
                  </a:cubicBezTo>
                  <a:cubicBezTo>
                    <a:pt x="207" y="394"/>
                    <a:pt x="200" y="409"/>
                    <a:pt x="200" y="426"/>
                  </a:cubicBezTo>
                  <a:cubicBezTo>
                    <a:pt x="200" y="459"/>
                    <a:pt x="228" y="487"/>
                    <a:pt x="261" y="487"/>
                  </a:cubicBezTo>
                  <a:cubicBezTo>
                    <a:pt x="295" y="487"/>
                    <a:pt x="322" y="459"/>
                    <a:pt x="322" y="426"/>
                  </a:cubicBezTo>
                  <a:cubicBezTo>
                    <a:pt x="322" y="392"/>
                    <a:pt x="295" y="364"/>
                    <a:pt x="261" y="364"/>
                  </a:cubicBezTo>
                  <a:cubicBezTo>
                    <a:pt x="261" y="364"/>
                    <a:pt x="261" y="365"/>
                    <a:pt x="260" y="365"/>
                  </a:cubicBezTo>
                  <a:cubicBezTo>
                    <a:pt x="334" y="187"/>
                    <a:pt x="334" y="187"/>
                    <a:pt x="334" y="187"/>
                  </a:cubicBezTo>
                  <a:cubicBezTo>
                    <a:pt x="446" y="267"/>
                    <a:pt x="446" y="267"/>
                    <a:pt x="446" y="267"/>
                  </a:cubicBezTo>
                  <a:cubicBezTo>
                    <a:pt x="438" y="277"/>
                    <a:pt x="433" y="290"/>
                    <a:pt x="433" y="304"/>
                  </a:cubicBezTo>
                  <a:cubicBezTo>
                    <a:pt x="433" y="338"/>
                    <a:pt x="460" y="365"/>
                    <a:pt x="494" y="365"/>
                  </a:cubicBezTo>
                  <a:cubicBezTo>
                    <a:pt x="527" y="365"/>
                    <a:pt x="555" y="338"/>
                    <a:pt x="555" y="304"/>
                  </a:cubicBezTo>
                  <a:cubicBezTo>
                    <a:pt x="555" y="271"/>
                    <a:pt x="527" y="243"/>
                    <a:pt x="494" y="243"/>
                  </a:cubicBezTo>
                  <a:cubicBezTo>
                    <a:pt x="493" y="243"/>
                    <a:pt x="492" y="243"/>
                    <a:pt x="491" y="243"/>
                  </a:cubicBezTo>
                  <a:cubicBezTo>
                    <a:pt x="578" y="54"/>
                    <a:pt x="578" y="54"/>
                    <a:pt x="578" y="54"/>
                  </a:cubicBezTo>
                  <a:lnTo>
                    <a:pt x="613" y="159"/>
                  </a:lnTo>
                  <a:close/>
                  <a:moveTo>
                    <a:pt x="262" y="130"/>
                  </a:moveTo>
                  <a:cubicBezTo>
                    <a:pt x="262" y="111"/>
                    <a:pt x="277" y="95"/>
                    <a:pt x="296" y="95"/>
                  </a:cubicBezTo>
                  <a:cubicBezTo>
                    <a:pt x="315" y="95"/>
                    <a:pt x="331" y="111"/>
                    <a:pt x="331" y="130"/>
                  </a:cubicBezTo>
                  <a:cubicBezTo>
                    <a:pt x="331" y="149"/>
                    <a:pt x="315" y="165"/>
                    <a:pt x="296" y="165"/>
                  </a:cubicBezTo>
                  <a:cubicBezTo>
                    <a:pt x="277" y="165"/>
                    <a:pt x="262" y="149"/>
                    <a:pt x="262" y="130"/>
                  </a:cubicBezTo>
                  <a:close/>
                  <a:moveTo>
                    <a:pt x="57" y="223"/>
                  </a:moveTo>
                  <a:cubicBezTo>
                    <a:pt x="57" y="204"/>
                    <a:pt x="73" y="188"/>
                    <a:pt x="92" y="188"/>
                  </a:cubicBezTo>
                  <a:cubicBezTo>
                    <a:pt x="111" y="188"/>
                    <a:pt x="127" y="204"/>
                    <a:pt x="127" y="223"/>
                  </a:cubicBezTo>
                  <a:cubicBezTo>
                    <a:pt x="127" y="235"/>
                    <a:pt x="121" y="245"/>
                    <a:pt x="112" y="251"/>
                  </a:cubicBezTo>
                  <a:cubicBezTo>
                    <a:pt x="111" y="252"/>
                    <a:pt x="110" y="252"/>
                    <a:pt x="109" y="253"/>
                  </a:cubicBezTo>
                  <a:cubicBezTo>
                    <a:pt x="104" y="256"/>
                    <a:pt x="98" y="258"/>
                    <a:pt x="92" y="258"/>
                  </a:cubicBezTo>
                  <a:cubicBezTo>
                    <a:pt x="73" y="258"/>
                    <a:pt x="57" y="242"/>
                    <a:pt x="57" y="223"/>
                  </a:cubicBezTo>
                  <a:close/>
                  <a:moveTo>
                    <a:pt x="296" y="426"/>
                  </a:moveTo>
                  <a:cubicBezTo>
                    <a:pt x="296" y="445"/>
                    <a:pt x="280" y="460"/>
                    <a:pt x="261" y="460"/>
                  </a:cubicBezTo>
                  <a:cubicBezTo>
                    <a:pt x="242" y="460"/>
                    <a:pt x="227" y="445"/>
                    <a:pt x="227" y="426"/>
                  </a:cubicBezTo>
                  <a:cubicBezTo>
                    <a:pt x="227" y="412"/>
                    <a:pt x="234" y="401"/>
                    <a:pt x="245" y="395"/>
                  </a:cubicBezTo>
                  <a:cubicBezTo>
                    <a:pt x="246" y="395"/>
                    <a:pt x="246" y="395"/>
                    <a:pt x="247" y="394"/>
                  </a:cubicBezTo>
                  <a:cubicBezTo>
                    <a:pt x="251" y="392"/>
                    <a:pt x="256" y="391"/>
                    <a:pt x="261" y="391"/>
                  </a:cubicBezTo>
                  <a:cubicBezTo>
                    <a:pt x="280" y="391"/>
                    <a:pt x="296" y="406"/>
                    <a:pt x="296" y="426"/>
                  </a:cubicBezTo>
                  <a:close/>
                  <a:moveTo>
                    <a:pt x="528" y="304"/>
                  </a:moveTo>
                  <a:cubicBezTo>
                    <a:pt x="528" y="323"/>
                    <a:pt x="513" y="339"/>
                    <a:pt x="494" y="339"/>
                  </a:cubicBezTo>
                  <a:cubicBezTo>
                    <a:pt x="475" y="339"/>
                    <a:pt x="459" y="323"/>
                    <a:pt x="459" y="304"/>
                  </a:cubicBezTo>
                  <a:cubicBezTo>
                    <a:pt x="459" y="293"/>
                    <a:pt x="464" y="284"/>
                    <a:pt x="472" y="277"/>
                  </a:cubicBezTo>
                  <a:cubicBezTo>
                    <a:pt x="474" y="277"/>
                    <a:pt x="475" y="276"/>
                    <a:pt x="476" y="274"/>
                  </a:cubicBezTo>
                  <a:cubicBezTo>
                    <a:pt x="481" y="271"/>
                    <a:pt x="487" y="269"/>
                    <a:pt x="494" y="269"/>
                  </a:cubicBezTo>
                  <a:cubicBezTo>
                    <a:pt x="513" y="269"/>
                    <a:pt x="528" y="285"/>
                    <a:pt x="528" y="30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774756" y="1920897"/>
            <a:ext cx="717906" cy="717904"/>
            <a:chOff x="4774756" y="1920897"/>
            <a:chExt cx="717906" cy="717904"/>
          </a:xfrm>
        </p:grpSpPr>
        <p:sp>
          <p:nvSpPr>
            <p:cNvPr id="53" name="Oval 52"/>
            <p:cNvSpPr/>
            <p:nvPr/>
          </p:nvSpPr>
          <p:spPr>
            <a:xfrm>
              <a:off x="4774756" y="1920897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7" name="Oval 26"/>
            <p:cNvSpPr/>
            <p:nvPr/>
          </p:nvSpPr>
          <p:spPr>
            <a:xfrm>
              <a:off x="4829107" y="1975247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4979928" y="2085814"/>
              <a:ext cx="307562" cy="329595"/>
            </a:xfrm>
            <a:custGeom>
              <a:avLst/>
              <a:gdLst>
                <a:gd name="T0" fmla="*/ 557 w 742"/>
                <a:gd name="T1" fmla="*/ 202 h 795"/>
                <a:gd name="T2" fmla="*/ 539 w 742"/>
                <a:gd name="T3" fmla="*/ 523 h 795"/>
                <a:gd name="T4" fmla="*/ 361 w 742"/>
                <a:gd name="T5" fmla="*/ 520 h 795"/>
                <a:gd name="T6" fmla="*/ 188 w 742"/>
                <a:gd name="T7" fmla="*/ 522 h 795"/>
                <a:gd name="T8" fmla="*/ 0 w 742"/>
                <a:gd name="T9" fmla="*/ 795 h 795"/>
                <a:gd name="T10" fmla="*/ 95 w 742"/>
                <a:gd name="T11" fmla="*/ 616 h 795"/>
                <a:gd name="T12" fmla="*/ 185 w 742"/>
                <a:gd name="T13" fmla="*/ 795 h 795"/>
                <a:gd name="T14" fmla="*/ 549 w 742"/>
                <a:gd name="T15" fmla="*/ 795 h 795"/>
                <a:gd name="T16" fmla="*/ 711 w 742"/>
                <a:gd name="T17" fmla="*/ 202 h 795"/>
                <a:gd name="T18" fmla="*/ 692 w 742"/>
                <a:gd name="T19" fmla="*/ 249 h 795"/>
                <a:gd name="T20" fmla="*/ 578 w 742"/>
                <a:gd name="T21" fmla="*/ 224 h 795"/>
                <a:gd name="T22" fmla="*/ 206 w 742"/>
                <a:gd name="T23" fmla="*/ 773 h 795"/>
                <a:gd name="T24" fmla="*/ 73 w 742"/>
                <a:gd name="T25" fmla="*/ 594 h 795"/>
                <a:gd name="T26" fmla="*/ 22 w 742"/>
                <a:gd name="T27" fmla="*/ 773 h 795"/>
                <a:gd name="T28" fmla="*/ 210 w 742"/>
                <a:gd name="T29" fmla="*/ 566 h 795"/>
                <a:gd name="T30" fmla="*/ 383 w 742"/>
                <a:gd name="T31" fmla="*/ 567 h 795"/>
                <a:gd name="T32" fmla="*/ 537 w 742"/>
                <a:gd name="T33" fmla="*/ 551 h 795"/>
                <a:gd name="T34" fmla="*/ 206 w 742"/>
                <a:gd name="T35" fmla="*/ 773 h 795"/>
                <a:gd name="T36" fmla="*/ 575 w 742"/>
                <a:gd name="T37" fmla="*/ 271 h 795"/>
                <a:gd name="T38" fmla="*/ 719 w 742"/>
                <a:gd name="T39" fmla="*/ 773 h 795"/>
                <a:gd name="T40" fmla="*/ 560 w 742"/>
                <a:gd name="T41" fmla="*/ 546 h 795"/>
                <a:gd name="T42" fmla="*/ 393 w 742"/>
                <a:gd name="T43" fmla="*/ 700 h 795"/>
                <a:gd name="T44" fmla="*/ 500 w 742"/>
                <a:gd name="T45" fmla="*/ 595 h 795"/>
                <a:gd name="T46" fmla="*/ 478 w 742"/>
                <a:gd name="T47" fmla="*/ 678 h 795"/>
                <a:gd name="T48" fmla="*/ 415 w 742"/>
                <a:gd name="T49" fmla="*/ 617 h 795"/>
                <a:gd name="T50" fmla="*/ 478 w 742"/>
                <a:gd name="T51" fmla="*/ 678 h 795"/>
                <a:gd name="T52" fmla="*/ 353 w 742"/>
                <a:gd name="T53" fmla="*/ 700 h 795"/>
                <a:gd name="T54" fmla="*/ 247 w 742"/>
                <a:gd name="T55" fmla="*/ 595 h 795"/>
                <a:gd name="T56" fmla="*/ 269 w 742"/>
                <a:gd name="T57" fmla="*/ 617 h 795"/>
                <a:gd name="T58" fmla="*/ 331 w 742"/>
                <a:gd name="T59" fmla="*/ 678 h 795"/>
                <a:gd name="T60" fmla="*/ 269 w 742"/>
                <a:gd name="T61" fmla="*/ 617 h 795"/>
                <a:gd name="T62" fmla="*/ 425 w 742"/>
                <a:gd name="T63" fmla="*/ 125 h 795"/>
                <a:gd name="T64" fmla="*/ 488 w 742"/>
                <a:gd name="T65" fmla="*/ 144 h 795"/>
                <a:gd name="T66" fmla="*/ 546 w 742"/>
                <a:gd name="T67" fmla="*/ 168 h 795"/>
                <a:gd name="T68" fmla="*/ 564 w 742"/>
                <a:gd name="T69" fmla="*/ 191 h 795"/>
                <a:gd name="T70" fmla="*/ 699 w 742"/>
                <a:gd name="T71" fmla="*/ 188 h 795"/>
                <a:gd name="T72" fmla="*/ 630 w 742"/>
                <a:gd name="T73" fmla="*/ 29 h 795"/>
                <a:gd name="T74" fmla="*/ 544 w 742"/>
                <a:gd name="T75" fmla="*/ 2 h 795"/>
                <a:gd name="T76" fmla="*/ 474 w 742"/>
                <a:gd name="T77" fmla="*/ 0 h 795"/>
                <a:gd name="T78" fmla="*/ 409 w 742"/>
                <a:gd name="T79" fmla="*/ 25 h 795"/>
                <a:gd name="T80" fmla="*/ 409 w 742"/>
                <a:gd name="T81" fmla="*/ 127 h 795"/>
                <a:gd name="T82" fmla="*/ 427 w 742"/>
                <a:gd name="T83" fmla="*/ 54 h 795"/>
                <a:gd name="T84" fmla="*/ 445 w 742"/>
                <a:gd name="T85" fmla="*/ 47 h 795"/>
                <a:gd name="T86" fmla="*/ 500 w 742"/>
                <a:gd name="T87" fmla="*/ 37 h 795"/>
                <a:gd name="T88" fmla="*/ 519 w 742"/>
                <a:gd name="T89" fmla="*/ 38 h 795"/>
                <a:gd name="T90" fmla="*/ 573 w 742"/>
                <a:gd name="T91" fmla="*/ 53 h 795"/>
                <a:gd name="T92" fmla="*/ 590 w 742"/>
                <a:gd name="T93" fmla="*/ 63 h 795"/>
                <a:gd name="T94" fmla="*/ 702 w 742"/>
                <a:gd name="T95" fmla="*/ 123 h 795"/>
                <a:gd name="T96" fmla="*/ 574 w 742"/>
                <a:gd name="T97" fmla="*/ 169 h 795"/>
                <a:gd name="T98" fmla="*/ 557 w 742"/>
                <a:gd name="T99" fmla="*/ 138 h 795"/>
                <a:gd name="T100" fmla="*/ 504 w 742"/>
                <a:gd name="T101" fmla="*/ 125 h 795"/>
                <a:gd name="T102" fmla="*/ 486 w 742"/>
                <a:gd name="T103" fmla="*/ 119 h 795"/>
                <a:gd name="T104" fmla="*/ 441 w 742"/>
                <a:gd name="T105" fmla="*/ 107 h 795"/>
                <a:gd name="T106" fmla="*/ 424 w 742"/>
                <a:gd name="T107" fmla="*/ 101 h 795"/>
                <a:gd name="T108" fmla="*/ 380 w 742"/>
                <a:gd name="T109" fmla="*/ 76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42" h="795">
                  <a:moveTo>
                    <a:pt x="711" y="202"/>
                  </a:moveTo>
                  <a:cubicBezTo>
                    <a:pt x="557" y="202"/>
                    <a:pt x="557" y="202"/>
                    <a:pt x="557" y="202"/>
                  </a:cubicBezTo>
                  <a:cubicBezTo>
                    <a:pt x="539" y="508"/>
                    <a:pt x="539" y="508"/>
                    <a:pt x="539" y="508"/>
                  </a:cubicBezTo>
                  <a:cubicBezTo>
                    <a:pt x="539" y="523"/>
                    <a:pt x="539" y="523"/>
                    <a:pt x="539" y="523"/>
                  </a:cubicBezTo>
                  <a:cubicBezTo>
                    <a:pt x="361" y="377"/>
                    <a:pt x="361" y="377"/>
                    <a:pt x="361" y="377"/>
                  </a:cubicBezTo>
                  <a:cubicBezTo>
                    <a:pt x="361" y="520"/>
                    <a:pt x="361" y="520"/>
                    <a:pt x="361" y="520"/>
                  </a:cubicBezTo>
                  <a:cubicBezTo>
                    <a:pt x="188" y="377"/>
                    <a:pt x="188" y="377"/>
                    <a:pt x="188" y="377"/>
                  </a:cubicBezTo>
                  <a:cubicBezTo>
                    <a:pt x="188" y="522"/>
                    <a:pt x="188" y="522"/>
                    <a:pt x="188" y="522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795"/>
                    <a:pt x="0" y="795"/>
                    <a:pt x="0" y="795"/>
                  </a:cubicBezTo>
                  <a:cubicBezTo>
                    <a:pt x="95" y="795"/>
                    <a:pt x="95" y="795"/>
                    <a:pt x="95" y="795"/>
                  </a:cubicBezTo>
                  <a:cubicBezTo>
                    <a:pt x="95" y="616"/>
                    <a:pt x="95" y="616"/>
                    <a:pt x="95" y="616"/>
                  </a:cubicBezTo>
                  <a:cubicBezTo>
                    <a:pt x="185" y="616"/>
                    <a:pt x="185" y="616"/>
                    <a:pt x="185" y="616"/>
                  </a:cubicBezTo>
                  <a:cubicBezTo>
                    <a:pt x="185" y="795"/>
                    <a:pt x="185" y="795"/>
                    <a:pt x="185" y="795"/>
                  </a:cubicBezTo>
                  <a:cubicBezTo>
                    <a:pt x="527" y="795"/>
                    <a:pt x="527" y="795"/>
                    <a:pt x="527" y="795"/>
                  </a:cubicBezTo>
                  <a:cubicBezTo>
                    <a:pt x="549" y="795"/>
                    <a:pt x="549" y="795"/>
                    <a:pt x="549" y="795"/>
                  </a:cubicBezTo>
                  <a:cubicBezTo>
                    <a:pt x="742" y="795"/>
                    <a:pt x="742" y="795"/>
                    <a:pt x="742" y="795"/>
                  </a:cubicBezTo>
                  <a:lnTo>
                    <a:pt x="711" y="202"/>
                  </a:lnTo>
                  <a:close/>
                  <a:moveTo>
                    <a:pt x="690" y="224"/>
                  </a:moveTo>
                  <a:cubicBezTo>
                    <a:pt x="692" y="249"/>
                    <a:pt x="692" y="249"/>
                    <a:pt x="692" y="249"/>
                  </a:cubicBezTo>
                  <a:cubicBezTo>
                    <a:pt x="577" y="249"/>
                    <a:pt x="577" y="249"/>
                    <a:pt x="577" y="249"/>
                  </a:cubicBezTo>
                  <a:cubicBezTo>
                    <a:pt x="578" y="224"/>
                    <a:pt x="578" y="224"/>
                    <a:pt x="578" y="224"/>
                  </a:cubicBezTo>
                  <a:lnTo>
                    <a:pt x="690" y="224"/>
                  </a:lnTo>
                  <a:close/>
                  <a:moveTo>
                    <a:pt x="206" y="773"/>
                  </a:moveTo>
                  <a:cubicBezTo>
                    <a:pt x="206" y="594"/>
                    <a:pt x="206" y="594"/>
                    <a:pt x="206" y="594"/>
                  </a:cubicBezTo>
                  <a:cubicBezTo>
                    <a:pt x="73" y="594"/>
                    <a:pt x="73" y="594"/>
                    <a:pt x="73" y="594"/>
                  </a:cubicBezTo>
                  <a:cubicBezTo>
                    <a:pt x="73" y="773"/>
                    <a:pt x="73" y="773"/>
                    <a:pt x="73" y="773"/>
                  </a:cubicBezTo>
                  <a:cubicBezTo>
                    <a:pt x="22" y="773"/>
                    <a:pt x="22" y="773"/>
                    <a:pt x="22" y="773"/>
                  </a:cubicBezTo>
                  <a:cubicBezTo>
                    <a:pt x="22" y="422"/>
                    <a:pt x="22" y="422"/>
                    <a:pt x="22" y="422"/>
                  </a:cubicBezTo>
                  <a:cubicBezTo>
                    <a:pt x="210" y="566"/>
                    <a:pt x="210" y="566"/>
                    <a:pt x="210" y="566"/>
                  </a:cubicBezTo>
                  <a:cubicBezTo>
                    <a:pt x="210" y="423"/>
                    <a:pt x="210" y="423"/>
                    <a:pt x="210" y="423"/>
                  </a:cubicBezTo>
                  <a:cubicBezTo>
                    <a:pt x="383" y="567"/>
                    <a:pt x="383" y="567"/>
                    <a:pt x="383" y="567"/>
                  </a:cubicBezTo>
                  <a:cubicBezTo>
                    <a:pt x="383" y="423"/>
                    <a:pt x="383" y="423"/>
                    <a:pt x="383" y="423"/>
                  </a:cubicBezTo>
                  <a:cubicBezTo>
                    <a:pt x="537" y="551"/>
                    <a:pt x="537" y="551"/>
                    <a:pt x="537" y="551"/>
                  </a:cubicBezTo>
                  <a:cubicBezTo>
                    <a:pt x="528" y="773"/>
                    <a:pt x="528" y="773"/>
                    <a:pt x="528" y="773"/>
                  </a:cubicBezTo>
                  <a:lnTo>
                    <a:pt x="206" y="773"/>
                  </a:lnTo>
                  <a:close/>
                  <a:moveTo>
                    <a:pt x="560" y="546"/>
                  </a:moveTo>
                  <a:cubicBezTo>
                    <a:pt x="575" y="271"/>
                    <a:pt x="575" y="271"/>
                    <a:pt x="575" y="271"/>
                  </a:cubicBezTo>
                  <a:cubicBezTo>
                    <a:pt x="693" y="271"/>
                    <a:pt x="693" y="271"/>
                    <a:pt x="693" y="271"/>
                  </a:cubicBezTo>
                  <a:cubicBezTo>
                    <a:pt x="719" y="773"/>
                    <a:pt x="719" y="773"/>
                    <a:pt x="719" y="773"/>
                  </a:cubicBezTo>
                  <a:cubicBezTo>
                    <a:pt x="550" y="773"/>
                    <a:pt x="550" y="773"/>
                    <a:pt x="550" y="773"/>
                  </a:cubicBezTo>
                  <a:lnTo>
                    <a:pt x="560" y="546"/>
                  </a:lnTo>
                  <a:close/>
                  <a:moveTo>
                    <a:pt x="393" y="595"/>
                  </a:moveTo>
                  <a:cubicBezTo>
                    <a:pt x="393" y="700"/>
                    <a:pt x="393" y="700"/>
                    <a:pt x="393" y="700"/>
                  </a:cubicBezTo>
                  <a:cubicBezTo>
                    <a:pt x="500" y="700"/>
                    <a:pt x="500" y="700"/>
                    <a:pt x="500" y="700"/>
                  </a:cubicBezTo>
                  <a:cubicBezTo>
                    <a:pt x="500" y="595"/>
                    <a:pt x="500" y="595"/>
                    <a:pt x="500" y="595"/>
                  </a:cubicBezTo>
                  <a:lnTo>
                    <a:pt x="393" y="595"/>
                  </a:lnTo>
                  <a:close/>
                  <a:moveTo>
                    <a:pt x="478" y="678"/>
                  </a:moveTo>
                  <a:cubicBezTo>
                    <a:pt x="415" y="678"/>
                    <a:pt x="415" y="678"/>
                    <a:pt x="415" y="678"/>
                  </a:cubicBezTo>
                  <a:cubicBezTo>
                    <a:pt x="415" y="617"/>
                    <a:pt x="415" y="617"/>
                    <a:pt x="415" y="617"/>
                  </a:cubicBezTo>
                  <a:cubicBezTo>
                    <a:pt x="478" y="617"/>
                    <a:pt x="478" y="617"/>
                    <a:pt x="478" y="617"/>
                  </a:cubicBezTo>
                  <a:lnTo>
                    <a:pt x="478" y="678"/>
                  </a:lnTo>
                  <a:close/>
                  <a:moveTo>
                    <a:pt x="247" y="700"/>
                  </a:moveTo>
                  <a:cubicBezTo>
                    <a:pt x="353" y="700"/>
                    <a:pt x="353" y="700"/>
                    <a:pt x="353" y="700"/>
                  </a:cubicBezTo>
                  <a:cubicBezTo>
                    <a:pt x="353" y="595"/>
                    <a:pt x="353" y="595"/>
                    <a:pt x="353" y="595"/>
                  </a:cubicBezTo>
                  <a:cubicBezTo>
                    <a:pt x="247" y="595"/>
                    <a:pt x="247" y="595"/>
                    <a:pt x="247" y="595"/>
                  </a:cubicBezTo>
                  <a:lnTo>
                    <a:pt x="247" y="700"/>
                  </a:lnTo>
                  <a:close/>
                  <a:moveTo>
                    <a:pt x="269" y="617"/>
                  </a:moveTo>
                  <a:cubicBezTo>
                    <a:pt x="331" y="617"/>
                    <a:pt x="331" y="617"/>
                    <a:pt x="331" y="617"/>
                  </a:cubicBezTo>
                  <a:cubicBezTo>
                    <a:pt x="331" y="678"/>
                    <a:pt x="331" y="678"/>
                    <a:pt x="331" y="678"/>
                  </a:cubicBezTo>
                  <a:cubicBezTo>
                    <a:pt x="269" y="678"/>
                    <a:pt x="269" y="678"/>
                    <a:pt x="269" y="678"/>
                  </a:cubicBezTo>
                  <a:lnTo>
                    <a:pt x="269" y="617"/>
                  </a:lnTo>
                  <a:close/>
                  <a:moveTo>
                    <a:pt x="409" y="127"/>
                  </a:moveTo>
                  <a:cubicBezTo>
                    <a:pt x="415" y="127"/>
                    <a:pt x="420" y="126"/>
                    <a:pt x="425" y="125"/>
                  </a:cubicBezTo>
                  <a:cubicBezTo>
                    <a:pt x="435" y="139"/>
                    <a:pt x="451" y="148"/>
                    <a:pt x="468" y="148"/>
                  </a:cubicBezTo>
                  <a:cubicBezTo>
                    <a:pt x="475" y="148"/>
                    <a:pt x="482" y="146"/>
                    <a:pt x="488" y="144"/>
                  </a:cubicBezTo>
                  <a:cubicBezTo>
                    <a:pt x="497" y="159"/>
                    <a:pt x="513" y="170"/>
                    <a:pt x="532" y="170"/>
                  </a:cubicBezTo>
                  <a:cubicBezTo>
                    <a:pt x="537" y="170"/>
                    <a:pt x="542" y="169"/>
                    <a:pt x="546" y="168"/>
                  </a:cubicBezTo>
                  <a:cubicBezTo>
                    <a:pt x="550" y="175"/>
                    <a:pt x="555" y="181"/>
                    <a:pt x="561" y="188"/>
                  </a:cubicBezTo>
                  <a:cubicBezTo>
                    <a:pt x="564" y="191"/>
                    <a:pt x="564" y="191"/>
                    <a:pt x="564" y="191"/>
                  </a:cubicBezTo>
                  <a:cubicBezTo>
                    <a:pt x="695" y="191"/>
                    <a:pt x="695" y="191"/>
                    <a:pt x="695" y="191"/>
                  </a:cubicBezTo>
                  <a:cubicBezTo>
                    <a:pt x="699" y="188"/>
                    <a:pt x="699" y="188"/>
                    <a:pt x="699" y="188"/>
                  </a:cubicBezTo>
                  <a:cubicBezTo>
                    <a:pt x="715" y="170"/>
                    <a:pt x="724" y="147"/>
                    <a:pt x="724" y="123"/>
                  </a:cubicBezTo>
                  <a:cubicBezTo>
                    <a:pt x="724" y="71"/>
                    <a:pt x="682" y="29"/>
                    <a:pt x="630" y="29"/>
                  </a:cubicBezTo>
                  <a:cubicBezTo>
                    <a:pt x="617" y="29"/>
                    <a:pt x="604" y="31"/>
                    <a:pt x="592" y="37"/>
                  </a:cubicBezTo>
                  <a:cubicBezTo>
                    <a:pt x="585" y="17"/>
                    <a:pt x="566" y="2"/>
                    <a:pt x="544" y="2"/>
                  </a:cubicBezTo>
                  <a:cubicBezTo>
                    <a:pt x="531" y="2"/>
                    <a:pt x="519" y="7"/>
                    <a:pt x="510" y="15"/>
                  </a:cubicBezTo>
                  <a:cubicBezTo>
                    <a:pt x="501" y="5"/>
                    <a:pt x="488" y="0"/>
                    <a:pt x="474" y="0"/>
                  </a:cubicBezTo>
                  <a:cubicBezTo>
                    <a:pt x="454" y="0"/>
                    <a:pt x="436" y="11"/>
                    <a:pt x="428" y="29"/>
                  </a:cubicBezTo>
                  <a:cubicBezTo>
                    <a:pt x="422" y="26"/>
                    <a:pt x="416" y="25"/>
                    <a:pt x="409" y="25"/>
                  </a:cubicBezTo>
                  <a:cubicBezTo>
                    <a:pt x="381" y="25"/>
                    <a:pt x="358" y="48"/>
                    <a:pt x="358" y="76"/>
                  </a:cubicBezTo>
                  <a:cubicBezTo>
                    <a:pt x="358" y="104"/>
                    <a:pt x="381" y="127"/>
                    <a:pt x="409" y="127"/>
                  </a:cubicBezTo>
                  <a:close/>
                  <a:moveTo>
                    <a:pt x="409" y="47"/>
                  </a:moveTo>
                  <a:cubicBezTo>
                    <a:pt x="418" y="47"/>
                    <a:pt x="424" y="51"/>
                    <a:pt x="427" y="54"/>
                  </a:cubicBezTo>
                  <a:cubicBezTo>
                    <a:pt x="442" y="66"/>
                    <a:pt x="442" y="66"/>
                    <a:pt x="442" y="66"/>
                  </a:cubicBezTo>
                  <a:cubicBezTo>
                    <a:pt x="445" y="47"/>
                    <a:pt x="445" y="47"/>
                    <a:pt x="445" y="47"/>
                  </a:cubicBezTo>
                  <a:cubicBezTo>
                    <a:pt x="447" y="32"/>
                    <a:pt x="460" y="22"/>
                    <a:pt x="474" y="22"/>
                  </a:cubicBezTo>
                  <a:cubicBezTo>
                    <a:pt x="485" y="22"/>
                    <a:pt x="495" y="28"/>
                    <a:pt x="500" y="37"/>
                  </a:cubicBezTo>
                  <a:cubicBezTo>
                    <a:pt x="509" y="55"/>
                    <a:pt x="509" y="55"/>
                    <a:pt x="509" y="55"/>
                  </a:cubicBezTo>
                  <a:cubicBezTo>
                    <a:pt x="519" y="38"/>
                    <a:pt x="519" y="38"/>
                    <a:pt x="519" y="38"/>
                  </a:cubicBezTo>
                  <a:cubicBezTo>
                    <a:pt x="524" y="29"/>
                    <a:pt x="533" y="24"/>
                    <a:pt x="544" y="24"/>
                  </a:cubicBezTo>
                  <a:cubicBezTo>
                    <a:pt x="560" y="24"/>
                    <a:pt x="573" y="37"/>
                    <a:pt x="573" y="53"/>
                  </a:cubicBezTo>
                  <a:cubicBezTo>
                    <a:pt x="573" y="74"/>
                    <a:pt x="573" y="74"/>
                    <a:pt x="573" y="74"/>
                  </a:cubicBezTo>
                  <a:cubicBezTo>
                    <a:pt x="590" y="63"/>
                    <a:pt x="590" y="63"/>
                    <a:pt x="590" y="63"/>
                  </a:cubicBezTo>
                  <a:cubicBezTo>
                    <a:pt x="602" y="55"/>
                    <a:pt x="615" y="51"/>
                    <a:pt x="630" y="51"/>
                  </a:cubicBezTo>
                  <a:cubicBezTo>
                    <a:pt x="670" y="51"/>
                    <a:pt x="702" y="83"/>
                    <a:pt x="702" y="123"/>
                  </a:cubicBezTo>
                  <a:cubicBezTo>
                    <a:pt x="702" y="140"/>
                    <a:pt x="696" y="156"/>
                    <a:pt x="686" y="169"/>
                  </a:cubicBezTo>
                  <a:cubicBezTo>
                    <a:pt x="574" y="169"/>
                    <a:pt x="574" y="169"/>
                    <a:pt x="574" y="169"/>
                  </a:cubicBezTo>
                  <a:cubicBezTo>
                    <a:pt x="569" y="163"/>
                    <a:pt x="565" y="156"/>
                    <a:pt x="562" y="149"/>
                  </a:cubicBezTo>
                  <a:cubicBezTo>
                    <a:pt x="557" y="138"/>
                    <a:pt x="557" y="138"/>
                    <a:pt x="557" y="138"/>
                  </a:cubicBezTo>
                  <a:cubicBezTo>
                    <a:pt x="546" y="144"/>
                    <a:pt x="546" y="144"/>
                    <a:pt x="546" y="144"/>
                  </a:cubicBezTo>
                  <a:cubicBezTo>
                    <a:pt x="529" y="154"/>
                    <a:pt x="508" y="143"/>
                    <a:pt x="504" y="125"/>
                  </a:cubicBezTo>
                  <a:cubicBezTo>
                    <a:pt x="500" y="107"/>
                    <a:pt x="500" y="107"/>
                    <a:pt x="500" y="107"/>
                  </a:cubicBezTo>
                  <a:cubicBezTo>
                    <a:pt x="486" y="119"/>
                    <a:pt x="486" y="119"/>
                    <a:pt x="486" y="119"/>
                  </a:cubicBezTo>
                  <a:cubicBezTo>
                    <a:pt x="482" y="122"/>
                    <a:pt x="476" y="126"/>
                    <a:pt x="468" y="126"/>
                  </a:cubicBezTo>
                  <a:cubicBezTo>
                    <a:pt x="456" y="126"/>
                    <a:pt x="445" y="118"/>
                    <a:pt x="441" y="107"/>
                  </a:cubicBezTo>
                  <a:cubicBezTo>
                    <a:pt x="436" y="94"/>
                    <a:pt x="436" y="94"/>
                    <a:pt x="436" y="94"/>
                  </a:cubicBezTo>
                  <a:cubicBezTo>
                    <a:pt x="424" y="101"/>
                    <a:pt x="424" y="101"/>
                    <a:pt x="424" y="101"/>
                  </a:cubicBezTo>
                  <a:cubicBezTo>
                    <a:pt x="420" y="104"/>
                    <a:pt x="415" y="105"/>
                    <a:pt x="409" y="105"/>
                  </a:cubicBezTo>
                  <a:cubicBezTo>
                    <a:pt x="393" y="105"/>
                    <a:pt x="380" y="92"/>
                    <a:pt x="380" y="76"/>
                  </a:cubicBezTo>
                  <a:cubicBezTo>
                    <a:pt x="380" y="60"/>
                    <a:pt x="393" y="47"/>
                    <a:pt x="409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522307" y="3054441"/>
            <a:ext cx="717906" cy="717904"/>
            <a:chOff x="3522307" y="3054441"/>
            <a:chExt cx="717906" cy="717904"/>
          </a:xfrm>
        </p:grpSpPr>
        <p:sp>
          <p:nvSpPr>
            <p:cNvPr id="54" name="Oval 53"/>
            <p:cNvSpPr/>
            <p:nvPr/>
          </p:nvSpPr>
          <p:spPr>
            <a:xfrm>
              <a:off x="3522307" y="3054441"/>
              <a:ext cx="717906" cy="71790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0" name="Oval 29"/>
            <p:cNvSpPr/>
            <p:nvPr/>
          </p:nvSpPr>
          <p:spPr>
            <a:xfrm>
              <a:off x="3576658" y="3108791"/>
              <a:ext cx="609204" cy="60920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31" name="Freeform 10"/>
            <p:cNvSpPr>
              <a:spLocks noEditPoints="1"/>
            </p:cNvSpPr>
            <p:nvPr/>
          </p:nvSpPr>
          <p:spPr bwMode="auto">
            <a:xfrm>
              <a:off x="3784343" y="3242351"/>
              <a:ext cx="193833" cy="342083"/>
            </a:xfrm>
            <a:custGeom>
              <a:avLst/>
              <a:gdLst>
                <a:gd name="T0" fmla="*/ 71 w 504"/>
                <a:gd name="T1" fmla="*/ 0 h 888"/>
                <a:gd name="T2" fmla="*/ 0 w 504"/>
                <a:gd name="T3" fmla="*/ 204 h 888"/>
                <a:gd name="T4" fmla="*/ 1 w 504"/>
                <a:gd name="T5" fmla="*/ 689 h 888"/>
                <a:gd name="T6" fmla="*/ 97 w 504"/>
                <a:gd name="T7" fmla="*/ 881 h 888"/>
                <a:gd name="T8" fmla="*/ 119 w 504"/>
                <a:gd name="T9" fmla="*/ 881 h 888"/>
                <a:gd name="T10" fmla="*/ 163 w 504"/>
                <a:gd name="T11" fmla="*/ 794 h 888"/>
                <a:gd name="T12" fmla="*/ 215 w 504"/>
                <a:gd name="T13" fmla="*/ 689 h 888"/>
                <a:gd name="T14" fmla="*/ 217 w 504"/>
                <a:gd name="T15" fmla="*/ 204 h 888"/>
                <a:gd name="T16" fmla="*/ 146 w 504"/>
                <a:gd name="T17" fmla="*/ 0 h 888"/>
                <a:gd name="T18" fmla="*/ 80 w 504"/>
                <a:gd name="T19" fmla="*/ 217 h 888"/>
                <a:gd name="T20" fmla="*/ 136 w 504"/>
                <a:gd name="T21" fmla="*/ 671 h 888"/>
                <a:gd name="T22" fmla="*/ 25 w 504"/>
                <a:gd name="T23" fmla="*/ 671 h 888"/>
                <a:gd name="T24" fmla="*/ 55 w 504"/>
                <a:gd name="T25" fmla="*/ 217 h 888"/>
                <a:gd name="T26" fmla="*/ 25 w 504"/>
                <a:gd name="T27" fmla="*/ 671 h 888"/>
                <a:gd name="T28" fmla="*/ 25 w 504"/>
                <a:gd name="T29" fmla="*/ 150 h 888"/>
                <a:gd name="T30" fmla="*/ 192 w 504"/>
                <a:gd name="T31" fmla="*/ 192 h 888"/>
                <a:gd name="T32" fmla="*/ 161 w 504"/>
                <a:gd name="T33" fmla="*/ 217 h 888"/>
                <a:gd name="T34" fmla="*/ 192 w 504"/>
                <a:gd name="T35" fmla="*/ 671 h 888"/>
                <a:gd name="T36" fmla="*/ 161 w 504"/>
                <a:gd name="T37" fmla="*/ 217 h 888"/>
                <a:gd name="T38" fmla="*/ 146 w 504"/>
                <a:gd name="T39" fmla="*/ 25 h 888"/>
                <a:gd name="T40" fmla="*/ 192 w 504"/>
                <a:gd name="T41" fmla="*/ 125 h 888"/>
                <a:gd name="T42" fmla="*/ 25 w 504"/>
                <a:gd name="T43" fmla="*/ 71 h 888"/>
                <a:gd name="T44" fmla="*/ 108 w 504"/>
                <a:gd name="T45" fmla="*/ 848 h 888"/>
                <a:gd name="T46" fmla="*/ 131 w 504"/>
                <a:gd name="T47" fmla="*/ 802 h 888"/>
                <a:gd name="T48" fmla="*/ 144 w 504"/>
                <a:gd name="T49" fmla="*/ 777 h 888"/>
                <a:gd name="T50" fmla="*/ 32 w 504"/>
                <a:gd name="T51" fmla="*/ 696 h 888"/>
                <a:gd name="T52" fmla="*/ 144 w 504"/>
                <a:gd name="T53" fmla="*/ 777 h 888"/>
                <a:gd name="T54" fmla="*/ 288 w 504"/>
                <a:gd name="T55" fmla="*/ 888 h 888"/>
                <a:gd name="T56" fmla="*/ 504 w 504"/>
                <a:gd name="T57" fmla="*/ 0 h 888"/>
                <a:gd name="T58" fmla="*/ 479 w 504"/>
                <a:gd name="T59" fmla="*/ 863 h 888"/>
                <a:gd name="T60" fmla="*/ 313 w 504"/>
                <a:gd name="T61" fmla="*/ 840 h 888"/>
                <a:gd name="T62" fmla="*/ 396 w 504"/>
                <a:gd name="T63" fmla="*/ 815 h 888"/>
                <a:gd name="T64" fmla="*/ 313 w 504"/>
                <a:gd name="T65" fmla="*/ 750 h 888"/>
                <a:gd name="T66" fmla="*/ 367 w 504"/>
                <a:gd name="T67" fmla="*/ 725 h 888"/>
                <a:gd name="T68" fmla="*/ 313 w 504"/>
                <a:gd name="T69" fmla="*/ 660 h 888"/>
                <a:gd name="T70" fmla="*/ 396 w 504"/>
                <a:gd name="T71" fmla="*/ 635 h 888"/>
                <a:gd name="T72" fmla="*/ 313 w 504"/>
                <a:gd name="T73" fmla="*/ 570 h 888"/>
                <a:gd name="T74" fmla="*/ 367 w 504"/>
                <a:gd name="T75" fmla="*/ 545 h 888"/>
                <a:gd name="T76" fmla="*/ 313 w 504"/>
                <a:gd name="T77" fmla="*/ 480 h 888"/>
                <a:gd name="T78" fmla="*/ 396 w 504"/>
                <a:gd name="T79" fmla="*/ 456 h 888"/>
                <a:gd name="T80" fmla="*/ 313 w 504"/>
                <a:gd name="T81" fmla="*/ 391 h 888"/>
                <a:gd name="T82" fmla="*/ 367 w 504"/>
                <a:gd name="T83" fmla="*/ 366 h 888"/>
                <a:gd name="T84" fmla="*/ 313 w 504"/>
                <a:gd name="T85" fmla="*/ 301 h 888"/>
                <a:gd name="T86" fmla="*/ 396 w 504"/>
                <a:gd name="T87" fmla="*/ 276 h 888"/>
                <a:gd name="T88" fmla="*/ 313 w 504"/>
                <a:gd name="T89" fmla="*/ 211 h 888"/>
                <a:gd name="T90" fmla="*/ 367 w 504"/>
                <a:gd name="T91" fmla="*/ 186 h 888"/>
                <a:gd name="T92" fmla="*/ 313 w 504"/>
                <a:gd name="T93" fmla="*/ 121 h 888"/>
                <a:gd name="T94" fmla="*/ 396 w 504"/>
                <a:gd name="T95" fmla="*/ 96 h 888"/>
                <a:gd name="T96" fmla="*/ 313 w 504"/>
                <a:gd name="T97" fmla="*/ 25 h 888"/>
                <a:gd name="T98" fmla="*/ 479 w 504"/>
                <a:gd name="T99" fmla="*/ 863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4" h="888">
                  <a:moveTo>
                    <a:pt x="146" y="0"/>
                  </a:moveTo>
                  <a:cubicBezTo>
                    <a:pt x="71" y="0"/>
                    <a:pt x="71" y="0"/>
                    <a:pt x="71" y="0"/>
                  </a:cubicBezTo>
                  <a:cubicBezTo>
                    <a:pt x="32" y="0"/>
                    <a:pt x="0" y="32"/>
                    <a:pt x="0" y="71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684"/>
                    <a:pt x="0" y="684"/>
                    <a:pt x="0" y="684"/>
                  </a:cubicBezTo>
                  <a:cubicBezTo>
                    <a:pt x="0" y="686"/>
                    <a:pt x="0" y="687"/>
                    <a:pt x="1" y="689"/>
                  </a:cubicBezTo>
                  <a:cubicBezTo>
                    <a:pt x="1" y="689"/>
                    <a:pt x="1" y="689"/>
                    <a:pt x="1" y="689"/>
                  </a:cubicBezTo>
                  <a:cubicBezTo>
                    <a:pt x="97" y="881"/>
                    <a:pt x="97" y="881"/>
                    <a:pt x="97" y="881"/>
                  </a:cubicBezTo>
                  <a:cubicBezTo>
                    <a:pt x="99" y="885"/>
                    <a:pt x="104" y="888"/>
                    <a:pt x="108" y="888"/>
                  </a:cubicBezTo>
                  <a:cubicBezTo>
                    <a:pt x="113" y="888"/>
                    <a:pt x="117" y="885"/>
                    <a:pt x="119" y="881"/>
                  </a:cubicBezTo>
                  <a:cubicBezTo>
                    <a:pt x="163" y="795"/>
                    <a:pt x="163" y="795"/>
                    <a:pt x="163" y="795"/>
                  </a:cubicBezTo>
                  <a:cubicBezTo>
                    <a:pt x="163" y="794"/>
                    <a:pt x="163" y="794"/>
                    <a:pt x="163" y="794"/>
                  </a:cubicBezTo>
                  <a:cubicBezTo>
                    <a:pt x="215" y="689"/>
                    <a:pt x="215" y="689"/>
                    <a:pt x="215" y="689"/>
                  </a:cubicBezTo>
                  <a:cubicBezTo>
                    <a:pt x="215" y="689"/>
                    <a:pt x="215" y="689"/>
                    <a:pt x="215" y="689"/>
                  </a:cubicBezTo>
                  <a:cubicBezTo>
                    <a:pt x="216" y="687"/>
                    <a:pt x="217" y="686"/>
                    <a:pt x="217" y="684"/>
                  </a:cubicBezTo>
                  <a:cubicBezTo>
                    <a:pt x="217" y="204"/>
                    <a:pt x="217" y="204"/>
                    <a:pt x="217" y="204"/>
                  </a:cubicBezTo>
                  <a:cubicBezTo>
                    <a:pt x="217" y="71"/>
                    <a:pt x="217" y="71"/>
                    <a:pt x="217" y="71"/>
                  </a:cubicBezTo>
                  <a:cubicBezTo>
                    <a:pt x="217" y="32"/>
                    <a:pt x="185" y="0"/>
                    <a:pt x="146" y="0"/>
                  </a:cubicBezTo>
                  <a:close/>
                  <a:moveTo>
                    <a:pt x="80" y="671"/>
                  </a:moveTo>
                  <a:cubicBezTo>
                    <a:pt x="80" y="217"/>
                    <a:pt x="80" y="217"/>
                    <a:pt x="80" y="217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671"/>
                    <a:pt x="136" y="671"/>
                    <a:pt x="136" y="671"/>
                  </a:cubicBezTo>
                  <a:lnTo>
                    <a:pt x="80" y="671"/>
                  </a:lnTo>
                  <a:close/>
                  <a:moveTo>
                    <a:pt x="25" y="671"/>
                  </a:moveTo>
                  <a:cubicBezTo>
                    <a:pt x="25" y="217"/>
                    <a:pt x="25" y="217"/>
                    <a:pt x="25" y="217"/>
                  </a:cubicBezTo>
                  <a:cubicBezTo>
                    <a:pt x="55" y="217"/>
                    <a:pt x="55" y="217"/>
                    <a:pt x="55" y="217"/>
                  </a:cubicBezTo>
                  <a:cubicBezTo>
                    <a:pt x="55" y="671"/>
                    <a:pt x="55" y="671"/>
                    <a:pt x="55" y="671"/>
                  </a:cubicBezTo>
                  <a:lnTo>
                    <a:pt x="25" y="671"/>
                  </a:lnTo>
                  <a:close/>
                  <a:moveTo>
                    <a:pt x="25" y="192"/>
                  </a:moveTo>
                  <a:cubicBezTo>
                    <a:pt x="25" y="150"/>
                    <a:pt x="25" y="150"/>
                    <a:pt x="25" y="150"/>
                  </a:cubicBezTo>
                  <a:cubicBezTo>
                    <a:pt x="192" y="150"/>
                    <a:pt x="192" y="150"/>
                    <a:pt x="192" y="150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25" y="192"/>
                  </a:lnTo>
                  <a:close/>
                  <a:moveTo>
                    <a:pt x="161" y="217"/>
                  </a:moveTo>
                  <a:cubicBezTo>
                    <a:pt x="192" y="217"/>
                    <a:pt x="192" y="217"/>
                    <a:pt x="192" y="217"/>
                  </a:cubicBezTo>
                  <a:cubicBezTo>
                    <a:pt x="192" y="671"/>
                    <a:pt x="192" y="671"/>
                    <a:pt x="192" y="671"/>
                  </a:cubicBezTo>
                  <a:cubicBezTo>
                    <a:pt x="161" y="671"/>
                    <a:pt x="161" y="671"/>
                    <a:pt x="161" y="671"/>
                  </a:cubicBezTo>
                  <a:lnTo>
                    <a:pt x="161" y="217"/>
                  </a:lnTo>
                  <a:close/>
                  <a:moveTo>
                    <a:pt x="71" y="25"/>
                  </a:moveTo>
                  <a:cubicBezTo>
                    <a:pt x="146" y="25"/>
                    <a:pt x="146" y="25"/>
                    <a:pt x="146" y="25"/>
                  </a:cubicBezTo>
                  <a:cubicBezTo>
                    <a:pt x="171" y="25"/>
                    <a:pt x="192" y="46"/>
                    <a:pt x="192" y="71"/>
                  </a:cubicBezTo>
                  <a:cubicBezTo>
                    <a:pt x="192" y="125"/>
                    <a:pt x="192" y="125"/>
                    <a:pt x="192" y="125"/>
                  </a:cubicBezTo>
                  <a:cubicBezTo>
                    <a:pt x="25" y="125"/>
                    <a:pt x="25" y="125"/>
                    <a:pt x="25" y="125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46"/>
                    <a:pt x="45" y="25"/>
                    <a:pt x="71" y="25"/>
                  </a:cubicBezTo>
                  <a:close/>
                  <a:moveTo>
                    <a:pt x="108" y="848"/>
                  </a:moveTo>
                  <a:cubicBezTo>
                    <a:pt x="85" y="802"/>
                    <a:pt x="85" y="802"/>
                    <a:pt x="85" y="802"/>
                  </a:cubicBezTo>
                  <a:cubicBezTo>
                    <a:pt x="131" y="802"/>
                    <a:pt x="131" y="802"/>
                    <a:pt x="131" y="802"/>
                  </a:cubicBezTo>
                  <a:lnTo>
                    <a:pt x="108" y="848"/>
                  </a:lnTo>
                  <a:close/>
                  <a:moveTo>
                    <a:pt x="144" y="777"/>
                  </a:moveTo>
                  <a:cubicBezTo>
                    <a:pt x="73" y="777"/>
                    <a:pt x="73" y="777"/>
                    <a:pt x="73" y="777"/>
                  </a:cubicBezTo>
                  <a:cubicBezTo>
                    <a:pt x="32" y="696"/>
                    <a:pt x="32" y="696"/>
                    <a:pt x="32" y="696"/>
                  </a:cubicBezTo>
                  <a:cubicBezTo>
                    <a:pt x="184" y="696"/>
                    <a:pt x="184" y="696"/>
                    <a:pt x="184" y="696"/>
                  </a:cubicBezTo>
                  <a:lnTo>
                    <a:pt x="144" y="777"/>
                  </a:lnTo>
                  <a:close/>
                  <a:moveTo>
                    <a:pt x="288" y="0"/>
                  </a:moveTo>
                  <a:cubicBezTo>
                    <a:pt x="288" y="888"/>
                    <a:pt x="288" y="888"/>
                    <a:pt x="288" y="888"/>
                  </a:cubicBezTo>
                  <a:cubicBezTo>
                    <a:pt x="504" y="888"/>
                    <a:pt x="504" y="888"/>
                    <a:pt x="504" y="888"/>
                  </a:cubicBezTo>
                  <a:cubicBezTo>
                    <a:pt x="504" y="0"/>
                    <a:pt x="504" y="0"/>
                    <a:pt x="504" y="0"/>
                  </a:cubicBezTo>
                  <a:lnTo>
                    <a:pt x="288" y="0"/>
                  </a:lnTo>
                  <a:close/>
                  <a:moveTo>
                    <a:pt x="479" y="863"/>
                  </a:moveTo>
                  <a:cubicBezTo>
                    <a:pt x="313" y="863"/>
                    <a:pt x="313" y="863"/>
                    <a:pt x="313" y="863"/>
                  </a:cubicBezTo>
                  <a:cubicBezTo>
                    <a:pt x="313" y="840"/>
                    <a:pt x="313" y="840"/>
                    <a:pt x="313" y="840"/>
                  </a:cubicBezTo>
                  <a:cubicBezTo>
                    <a:pt x="396" y="840"/>
                    <a:pt x="396" y="840"/>
                    <a:pt x="396" y="840"/>
                  </a:cubicBezTo>
                  <a:cubicBezTo>
                    <a:pt x="396" y="815"/>
                    <a:pt x="396" y="815"/>
                    <a:pt x="396" y="815"/>
                  </a:cubicBezTo>
                  <a:cubicBezTo>
                    <a:pt x="313" y="815"/>
                    <a:pt x="313" y="815"/>
                    <a:pt x="313" y="815"/>
                  </a:cubicBezTo>
                  <a:cubicBezTo>
                    <a:pt x="313" y="750"/>
                    <a:pt x="313" y="750"/>
                    <a:pt x="313" y="750"/>
                  </a:cubicBezTo>
                  <a:cubicBezTo>
                    <a:pt x="367" y="750"/>
                    <a:pt x="367" y="750"/>
                    <a:pt x="367" y="750"/>
                  </a:cubicBezTo>
                  <a:cubicBezTo>
                    <a:pt x="367" y="725"/>
                    <a:pt x="367" y="725"/>
                    <a:pt x="367" y="725"/>
                  </a:cubicBezTo>
                  <a:cubicBezTo>
                    <a:pt x="313" y="725"/>
                    <a:pt x="313" y="725"/>
                    <a:pt x="313" y="725"/>
                  </a:cubicBezTo>
                  <a:cubicBezTo>
                    <a:pt x="313" y="660"/>
                    <a:pt x="313" y="660"/>
                    <a:pt x="313" y="660"/>
                  </a:cubicBezTo>
                  <a:cubicBezTo>
                    <a:pt x="396" y="660"/>
                    <a:pt x="396" y="660"/>
                    <a:pt x="396" y="660"/>
                  </a:cubicBezTo>
                  <a:cubicBezTo>
                    <a:pt x="396" y="635"/>
                    <a:pt x="396" y="635"/>
                    <a:pt x="396" y="635"/>
                  </a:cubicBezTo>
                  <a:cubicBezTo>
                    <a:pt x="313" y="635"/>
                    <a:pt x="313" y="635"/>
                    <a:pt x="313" y="635"/>
                  </a:cubicBezTo>
                  <a:cubicBezTo>
                    <a:pt x="313" y="570"/>
                    <a:pt x="313" y="570"/>
                    <a:pt x="313" y="570"/>
                  </a:cubicBezTo>
                  <a:cubicBezTo>
                    <a:pt x="367" y="570"/>
                    <a:pt x="367" y="570"/>
                    <a:pt x="367" y="570"/>
                  </a:cubicBezTo>
                  <a:cubicBezTo>
                    <a:pt x="367" y="545"/>
                    <a:pt x="367" y="545"/>
                    <a:pt x="367" y="545"/>
                  </a:cubicBezTo>
                  <a:cubicBezTo>
                    <a:pt x="313" y="545"/>
                    <a:pt x="313" y="545"/>
                    <a:pt x="313" y="545"/>
                  </a:cubicBezTo>
                  <a:cubicBezTo>
                    <a:pt x="313" y="480"/>
                    <a:pt x="313" y="480"/>
                    <a:pt x="313" y="480"/>
                  </a:cubicBezTo>
                  <a:cubicBezTo>
                    <a:pt x="396" y="480"/>
                    <a:pt x="396" y="480"/>
                    <a:pt x="396" y="480"/>
                  </a:cubicBezTo>
                  <a:cubicBezTo>
                    <a:pt x="396" y="456"/>
                    <a:pt x="396" y="456"/>
                    <a:pt x="396" y="456"/>
                  </a:cubicBezTo>
                  <a:cubicBezTo>
                    <a:pt x="313" y="456"/>
                    <a:pt x="313" y="456"/>
                    <a:pt x="313" y="456"/>
                  </a:cubicBezTo>
                  <a:cubicBezTo>
                    <a:pt x="313" y="391"/>
                    <a:pt x="313" y="391"/>
                    <a:pt x="313" y="391"/>
                  </a:cubicBezTo>
                  <a:cubicBezTo>
                    <a:pt x="367" y="391"/>
                    <a:pt x="367" y="391"/>
                    <a:pt x="367" y="391"/>
                  </a:cubicBezTo>
                  <a:cubicBezTo>
                    <a:pt x="367" y="366"/>
                    <a:pt x="367" y="366"/>
                    <a:pt x="367" y="366"/>
                  </a:cubicBezTo>
                  <a:cubicBezTo>
                    <a:pt x="313" y="366"/>
                    <a:pt x="313" y="366"/>
                    <a:pt x="313" y="366"/>
                  </a:cubicBezTo>
                  <a:cubicBezTo>
                    <a:pt x="313" y="301"/>
                    <a:pt x="313" y="301"/>
                    <a:pt x="313" y="301"/>
                  </a:cubicBezTo>
                  <a:cubicBezTo>
                    <a:pt x="396" y="301"/>
                    <a:pt x="396" y="301"/>
                    <a:pt x="396" y="301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13" y="276"/>
                    <a:pt x="313" y="276"/>
                    <a:pt x="313" y="276"/>
                  </a:cubicBezTo>
                  <a:cubicBezTo>
                    <a:pt x="313" y="211"/>
                    <a:pt x="313" y="211"/>
                    <a:pt x="313" y="211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186"/>
                    <a:pt x="367" y="186"/>
                    <a:pt x="367" y="186"/>
                  </a:cubicBezTo>
                  <a:cubicBezTo>
                    <a:pt x="313" y="186"/>
                    <a:pt x="313" y="186"/>
                    <a:pt x="313" y="186"/>
                  </a:cubicBezTo>
                  <a:cubicBezTo>
                    <a:pt x="313" y="121"/>
                    <a:pt x="313" y="121"/>
                    <a:pt x="313" y="121"/>
                  </a:cubicBezTo>
                  <a:cubicBezTo>
                    <a:pt x="396" y="121"/>
                    <a:pt x="396" y="121"/>
                    <a:pt x="396" y="121"/>
                  </a:cubicBezTo>
                  <a:cubicBezTo>
                    <a:pt x="396" y="96"/>
                    <a:pt x="396" y="96"/>
                    <a:pt x="396" y="96"/>
                  </a:cubicBezTo>
                  <a:cubicBezTo>
                    <a:pt x="313" y="96"/>
                    <a:pt x="313" y="96"/>
                    <a:pt x="313" y="96"/>
                  </a:cubicBezTo>
                  <a:cubicBezTo>
                    <a:pt x="313" y="25"/>
                    <a:pt x="313" y="25"/>
                    <a:pt x="313" y="25"/>
                  </a:cubicBezTo>
                  <a:cubicBezTo>
                    <a:pt x="479" y="25"/>
                    <a:pt x="479" y="25"/>
                    <a:pt x="479" y="25"/>
                  </a:cubicBezTo>
                  <a:lnTo>
                    <a:pt x="479" y="86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736343" y="2593622"/>
            <a:ext cx="1280040" cy="459881"/>
            <a:chOff x="720210" y="2593622"/>
            <a:chExt cx="1280040" cy="459881"/>
          </a:xfrm>
        </p:grpSpPr>
        <p:sp>
          <p:nvSpPr>
            <p:cNvPr id="57" name="TextBox 56"/>
            <p:cNvSpPr txBox="1"/>
            <p:nvPr/>
          </p:nvSpPr>
          <p:spPr>
            <a:xfrm>
              <a:off x="720215" y="2593622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720210" y="2788109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988791" y="3367479"/>
            <a:ext cx="1280040" cy="459881"/>
            <a:chOff x="2020417" y="3334026"/>
            <a:chExt cx="1280040" cy="459881"/>
          </a:xfrm>
        </p:grpSpPr>
        <p:sp>
          <p:nvSpPr>
            <p:cNvPr id="59" name="TextBox 58"/>
            <p:cNvSpPr txBox="1"/>
            <p:nvPr/>
          </p:nvSpPr>
          <p:spPr>
            <a:xfrm>
              <a:off x="2020422" y="3334026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2020417" y="3528513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4495488" y="2972211"/>
            <a:ext cx="1280040" cy="459881"/>
            <a:chOff x="2020417" y="3334026"/>
            <a:chExt cx="1280040" cy="459881"/>
          </a:xfrm>
        </p:grpSpPr>
        <p:sp>
          <p:nvSpPr>
            <p:cNvPr id="63" name="TextBox 62"/>
            <p:cNvSpPr txBox="1"/>
            <p:nvPr/>
          </p:nvSpPr>
          <p:spPr>
            <a:xfrm>
              <a:off x="2020422" y="3334026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020417" y="3528513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3244150" y="2213951"/>
            <a:ext cx="1280040" cy="459881"/>
            <a:chOff x="720210" y="2593622"/>
            <a:chExt cx="1280040" cy="459881"/>
          </a:xfrm>
        </p:grpSpPr>
        <p:sp>
          <p:nvSpPr>
            <p:cNvPr id="68" name="TextBox 67"/>
            <p:cNvSpPr txBox="1"/>
            <p:nvPr/>
          </p:nvSpPr>
          <p:spPr>
            <a:xfrm>
              <a:off x="720215" y="2593622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20210" y="2788109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6992734" y="2603729"/>
            <a:ext cx="1280040" cy="459881"/>
            <a:chOff x="2020417" y="3334026"/>
            <a:chExt cx="1280040" cy="459881"/>
          </a:xfrm>
        </p:grpSpPr>
        <p:sp>
          <p:nvSpPr>
            <p:cNvPr id="71" name="TextBox 70"/>
            <p:cNvSpPr txBox="1"/>
            <p:nvPr/>
          </p:nvSpPr>
          <p:spPr>
            <a:xfrm>
              <a:off x="2020422" y="3334026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6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020417" y="3528513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5743228" y="1830073"/>
            <a:ext cx="1280040" cy="459881"/>
            <a:chOff x="2020417" y="3334026"/>
            <a:chExt cx="1280040" cy="459881"/>
          </a:xfrm>
        </p:grpSpPr>
        <p:sp>
          <p:nvSpPr>
            <p:cNvPr id="74" name="TextBox 73"/>
            <p:cNvSpPr txBox="1"/>
            <p:nvPr/>
          </p:nvSpPr>
          <p:spPr>
            <a:xfrm>
              <a:off x="2020422" y="3334026"/>
              <a:ext cx="127998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5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020417" y="3528513"/>
              <a:ext cx="1280040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Duis et lacinia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quam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. Maecenas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cxnSp>
        <p:nvCxnSpPr>
          <p:cNvPr id="77" name="Straight Connector 76"/>
          <p:cNvCxnSpPr/>
          <p:nvPr/>
        </p:nvCxnSpPr>
        <p:spPr>
          <a:xfrm flipV="1">
            <a:off x="1376363" y="3188837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 flipV="1">
            <a:off x="2624027" y="3054441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 flipV="1">
            <a:off x="3881259" y="2815160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 flipV="1">
            <a:off x="5130355" y="2674894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 flipV="1">
            <a:off x="6391052" y="2415409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V="1">
            <a:off x="7638606" y="2305400"/>
            <a:ext cx="0" cy="204674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3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rocesso</a:t>
            </a:r>
            <a:r>
              <a:rPr lang="en-US" dirty="0"/>
              <a:t> de </a:t>
            </a:r>
            <a:r>
              <a:rPr lang="en-US" dirty="0">
                <a:solidFill>
                  <a:srgbClr val="EC0000"/>
                </a:solidFill>
              </a:rPr>
              <a:t>marke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Freeform 14"/>
          <p:cNvSpPr>
            <a:spLocks/>
          </p:cNvSpPr>
          <p:nvPr/>
        </p:nvSpPr>
        <p:spPr bwMode="auto">
          <a:xfrm>
            <a:off x="646509" y="1543050"/>
            <a:ext cx="2152650" cy="1079897"/>
          </a:xfrm>
          <a:custGeom>
            <a:avLst/>
            <a:gdLst>
              <a:gd name="T0" fmla="*/ 214 w 1814"/>
              <a:gd name="T1" fmla="*/ 907 h 907"/>
              <a:gd name="T2" fmla="*/ 214 w 1814"/>
              <a:gd name="T3" fmla="*/ 907 h 907"/>
              <a:gd name="T4" fmla="*/ 907 w 1814"/>
              <a:gd name="T5" fmla="*/ 214 h 907"/>
              <a:gd name="T6" fmla="*/ 1600 w 1814"/>
              <a:gd name="T7" fmla="*/ 907 h 907"/>
              <a:gd name="T8" fmla="*/ 1600 w 1814"/>
              <a:gd name="T9" fmla="*/ 907 h 907"/>
              <a:gd name="T10" fmla="*/ 1814 w 1814"/>
              <a:gd name="T11" fmla="*/ 907 h 907"/>
              <a:gd name="T12" fmla="*/ 1814 w 1814"/>
              <a:gd name="T13" fmla="*/ 907 h 907"/>
              <a:gd name="T14" fmla="*/ 907 w 1814"/>
              <a:gd name="T15" fmla="*/ 0 h 907"/>
              <a:gd name="T16" fmla="*/ 0 w 1814"/>
              <a:gd name="T17" fmla="*/ 907 h 907"/>
              <a:gd name="T18" fmla="*/ 0 w 1814"/>
              <a:gd name="T19" fmla="*/ 907 h 907"/>
              <a:gd name="T20" fmla="*/ 214 w 1814"/>
              <a:gd name="T21" fmla="*/ 907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14" h="907">
                <a:moveTo>
                  <a:pt x="214" y="907"/>
                </a:moveTo>
                <a:cubicBezTo>
                  <a:pt x="214" y="907"/>
                  <a:pt x="214" y="907"/>
                  <a:pt x="214" y="907"/>
                </a:cubicBezTo>
                <a:cubicBezTo>
                  <a:pt x="214" y="525"/>
                  <a:pt x="525" y="214"/>
                  <a:pt x="907" y="214"/>
                </a:cubicBezTo>
                <a:cubicBezTo>
                  <a:pt x="1290" y="214"/>
                  <a:pt x="1600" y="525"/>
                  <a:pt x="1600" y="907"/>
                </a:cubicBezTo>
                <a:cubicBezTo>
                  <a:pt x="1600" y="907"/>
                  <a:pt x="1600" y="907"/>
                  <a:pt x="1600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406"/>
                  <a:pt x="1408" y="0"/>
                  <a:pt x="907" y="0"/>
                </a:cubicBezTo>
                <a:cubicBezTo>
                  <a:pt x="406" y="0"/>
                  <a:pt x="0" y="406"/>
                  <a:pt x="0" y="907"/>
                </a:cubicBezTo>
                <a:cubicBezTo>
                  <a:pt x="0" y="907"/>
                  <a:pt x="0" y="907"/>
                  <a:pt x="0" y="907"/>
                </a:cubicBezTo>
                <a:lnTo>
                  <a:pt x="214" y="907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15"/>
          <p:cNvSpPr>
            <a:spLocks/>
          </p:cNvSpPr>
          <p:nvPr/>
        </p:nvSpPr>
        <p:spPr bwMode="auto">
          <a:xfrm>
            <a:off x="2546747" y="1543050"/>
            <a:ext cx="2152650" cy="1079897"/>
          </a:xfrm>
          <a:custGeom>
            <a:avLst/>
            <a:gdLst>
              <a:gd name="T0" fmla="*/ 214 w 1814"/>
              <a:gd name="T1" fmla="*/ 907 h 907"/>
              <a:gd name="T2" fmla="*/ 214 w 1814"/>
              <a:gd name="T3" fmla="*/ 907 h 907"/>
              <a:gd name="T4" fmla="*/ 907 w 1814"/>
              <a:gd name="T5" fmla="*/ 214 h 907"/>
              <a:gd name="T6" fmla="*/ 1600 w 1814"/>
              <a:gd name="T7" fmla="*/ 907 h 907"/>
              <a:gd name="T8" fmla="*/ 1600 w 1814"/>
              <a:gd name="T9" fmla="*/ 907 h 907"/>
              <a:gd name="T10" fmla="*/ 1814 w 1814"/>
              <a:gd name="T11" fmla="*/ 907 h 907"/>
              <a:gd name="T12" fmla="*/ 1814 w 1814"/>
              <a:gd name="T13" fmla="*/ 907 h 907"/>
              <a:gd name="T14" fmla="*/ 907 w 1814"/>
              <a:gd name="T15" fmla="*/ 0 h 907"/>
              <a:gd name="T16" fmla="*/ 0 w 1814"/>
              <a:gd name="T17" fmla="*/ 907 h 907"/>
              <a:gd name="T18" fmla="*/ 0 w 1814"/>
              <a:gd name="T19" fmla="*/ 907 h 907"/>
              <a:gd name="T20" fmla="*/ 214 w 1814"/>
              <a:gd name="T21" fmla="*/ 907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14" h="907">
                <a:moveTo>
                  <a:pt x="214" y="907"/>
                </a:moveTo>
                <a:cubicBezTo>
                  <a:pt x="214" y="907"/>
                  <a:pt x="214" y="907"/>
                  <a:pt x="214" y="907"/>
                </a:cubicBezTo>
                <a:cubicBezTo>
                  <a:pt x="214" y="525"/>
                  <a:pt x="524" y="214"/>
                  <a:pt x="907" y="214"/>
                </a:cubicBezTo>
                <a:cubicBezTo>
                  <a:pt x="1290" y="214"/>
                  <a:pt x="1600" y="525"/>
                  <a:pt x="1600" y="907"/>
                </a:cubicBezTo>
                <a:cubicBezTo>
                  <a:pt x="1600" y="907"/>
                  <a:pt x="1600" y="907"/>
                  <a:pt x="1600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406"/>
                  <a:pt x="1408" y="0"/>
                  <a:pt x="907" y="0"/>
                </a:cubicBezTo>
                <a:cubicBezTo>
                  <a:pt x="406" y="0"/>
                  <a:pt x="0" y="406"/>
                  <a:pt x="0" y="907"/>
                </a:cubicBezTo>
                <a:cubicBezTo>
                  <a:pt x="0" y="907"/>
                  <a:pt x="0" y="907"/>
                  <a:pt x="0" y="907"/>
                </a:cubicBezTo>
                <a:lnTo>
                  <a:pt x="214" y="907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6" name="Freeform 16"/>
          <p:cNvSpPr>
            <a:spLocks/>
          </p:cNvSpPr>
          <p:nvPr/>
        </p:nvSpPr>
        <p:spPr bwMode="auto">
          <a:xfrm>
            <a:off x="4445794" y="1543050"/>
            <a:ext cx="2152650" cy="1079897"/>
          </a:xfrm>
          <a:custGeom>
            <a:avLst/>
            <a:gdLst>
              <a:gd name="T0" fmla="*/ 214 w 1814"/>
              <a:gd name="T1" fmla="*/ 907 h 907"/>
              <a:gd name="T2" fmla="*/ 214 w 1814"/>
              <a:gd name="T3" fmla="*/ 907 h 907"/>
              <a:gd name="T4" fmla="*/ 907 w 1814"/>
              <a:gd name="T5" fmla="*/ 214 h 907"/>
              <a:gd name="T6" fmla="*/ 1600 w 1814"/>
              <a:gd name="T7" fmla="*/ 907 h 907"/>
              <a:gd name="T8" fmla="*/ 1600 w 1814"/>
              <a:gd name="T9" fmla="*/ 907 h 907"/>
              <a:gd name="T10" fmla="*/ 1814 w 1814"/>
              <a:gd name="T11" fmla="*/ 907 h 907"/>
              <a:gd name="T12" fmla="*/ 1814 w 1814"/>
              <a:gd name="T13" fmla="*/ 907 h 907"/>
              <a:gd name="T14" fmla="*/ 907 w 1814"/>
              <a:gd name="T15" fmla="*/ 0 h 907"/>
              <a:gd name="T16" fmla="*/ 0 w 1814"/>
              <a:gd name="T17" fmla="*/ 907 h 907"/>
              <a:gd name="T18" fmla="*/ 0 w 1814"/>
              <a:gd name="T19" fmla="*/ 907 h 907"/>
              <a:gd name="T20" fmla="*/ 214 w 1814"/>
              <a:gd name="T21" fmla="*/ 907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14" h="907">
                <a:moveTo>
                  <a:pt x="214" y="907"/>
                </a:moveTo>
                <a:cubicBezTo>
                  <a:pt x="214" y="907"/>
                  <a:pt x="214" y="907"/>
                  <a:pt x="214" y="907"/>
                </a:cubicBezTo>
                <a:cubicBezTo>
                  <a:pt x="214" y="525"/>
                  <a:pt x="525" y="214"/>
                  <a:pt x="907" y="214"/>
                </a:cubicBezTo>
                <a:cubicBezTo>
                  <a:pt x="1290" y="214"/>
                  <a:pt x="1600" y="525"/>
                  <a:pt x="1600" y="907"/>
                </a:cubicBezTo>
                <a:cubicBezTo>
                  <a:pt x="1600" y="907"/>
                  <a:pt x="1600" y="907"/>
                  <a:pt x="1600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406"/>
                  <a:pt x="1408" y="0"/>
                  <a:pt x="907" y="0"/>
                </a:cubicBezTo>
                <a:cubicBezTo>
                  <a:pt x="406" y="0"/>
                  <a:pt x="0" y="406"/>
                  <a:pt x="0" y="907"/>
                </a:cubicBezTo>
                <a:cubicBezTo>
                  <a:pt x="0" y="907"/>
                  <a:pt x="0" y="907"/>
                  <a:pt x="0" y="907"/>
                </a:cubicBezTo>
                <a:lnTo>
                  <a:pt x="214" y="907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17"/>
          <p:cNvSpPr>
            <a:spLocks/>
          </p:cNvSpPr>
          <p:nvPr/>
        </p:nvSpPr>
        <p:spPr bwMode="auto">
          <a:xfrm>
            <a:off x="6346031" y="1543050"/>
            <a:ext cx="2152650" cy="1079897"/>
          </a:xfrm>
          <a:custGeom>
            <a:avLst/>
            <a:gdLst>
              <a:gd name="T0" fmla="*/ 214 w 1814"/>
              <a:gd name="T1" fmla="*/ 907 h 907"/>
              <a:gd name="T2" fmla="*/ 214 w 1814"/>
              <a:gd name="T3" fmla="*/ 907 h 907"/>
              <a:gd name="T4" fmla="*/ 907 w 1814"/>
              <a:gd name="T5" fmla="*/ 214 h 907"/>
              <a:gd name="T6" fmla="*/ 1600 w 1814"/>
              <a:gd name="T7" fmla="*/ 907 h 907"/>
              <a:gd name="T8" fmla="*/ 1600 w 1814"/>
              <a:gd name="T9" fmla="*/ 907 h 907"/>
              <a:gd name="T10" fmla="*/ 1814 w 1814"/>
              <a:gd name="T11" fmla="*/ 907 h 907"/>
              <a:gd name="T12" fmla="*/ 1814 w 1814"/>
              <a:gd name="T13" fmla="*/ 907 h 907"/>
              <a:gd name="T14" fmla="*/ 907 w 1814"/>
              <a:gd name="T15" fmla="*/ 0 h 907"/>
              <a:gd name="T16" fmla="*/ 0 w 1814"/>
              <a:gd name="T17" fmla="*/ 907 h 907"/>
              <a:gd name="T18" fmla="*/ 0 w 1814"/>
              <a:gd name="T19" fmla="*/ 907 h 907"/>
              <a:gd name="T20" fmla="*/ 214 w 1814"/>
              <a:gd name="T21" fmla="*/ 907 h 9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14" h="907">
                <a:moveTo>
                  <a:pt x="214" y="907"/>
                </a:moveTo>
                <a:cubicBezTo>
                  <a:pt x="214" y="907"/>
                  <a:pt x="214" y="907"/>
                  <a:pt x="214" y="907"/>
                </a:cubicBezTo>
                <a:cubicBezTo>
                  <a:pt x="214" y="525"/>
                  <a:pt x="524" y="214"/>
                  <a:pt x="907" y="214"/>
                </a:cubicBezTo>
                <a:cubicBezTo>
                  <a:pt x="1289" y="214"/>
                  <a:pt x="1600" y="525"/>
                  <a:pt x="1600" y="907"/>
                </a:cubicBezTo>
                <a:cubicBezTo>
                  <a:pt x="1600" y="907"/>
                  <a:pt x="1600" y="907"/>
                  <a:pt x="1600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907"/>
                  <a:pt x="1814" y="907"/>
                  <a:pt x="1814" y="907"/>
                </a:cubicBezTo>
                <a:cubicBezTo>
                  <a:pt x="1814" y="406"/>
                  <a:pt x="1408" y="0"/>
                  <a:pt x="907" y="0"/>
                </a:cubicBezTo>
                <a:cubicBezTo>
                  <a:pt x="406" y="0"/>
                  <a:pt x="0" y="406"/>
                  <a:pt x="0" y="907"/>
                </a:cubicBezTo>
                <a:cubicBezTo>
                  <a:pt x="0" y="907"/>
                  <a:pt x="0" y="907"/>
                  <a:pt x="0" y="907"/>
                </a:cubicBezTo>
                <a:lnTo>
                  <a:pt x="214" y="907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 w="12700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20" name="Oval 19"/>
          <p:cNvSpPr/>
          <p:nvPr/>
        </p:nvSpPr>
        <p:spPr>
          <a:xfrm>
            <a:off x="646326" y="2490329"/>
            <a:ext cx="254382" cy="25438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1" name="Oval 20"/>
          <p:cNvSpPr/>
          <p:nvPr/>
        </p:nvSpPr>
        <p:spPr>
          <a:xfrm>
            <a:off x="8244299" y="2490329"/>
            <a:ext cx="254382" cy="25438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cxnSp>
        <p:nvCxnSpPr>
          <p:cNvPr id="22" name="Straight Connector 21"/>
          <p:cNvCxnSpPr>
            <a:stCxn id="21" idx="4"/>
            <a:endCxn id="25" idx="0"/>
          </p:cNvCxnSpPr>
          <p:nvPr/>
        </p:nvCxnSpPr>
        <p:spPr>
          <a:xfrm>
            <a:off x="8371490" y="2744711"/>
            <a:ext cx="1" cy="1243856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20" idx="4"/>
            <a:endCxn id="26" idx="2"/>
          </p:cNvCxnSpPr>
          <p:nvPr/>
        </p:nvCxnSpPr>
        <p:spPr>
          <a:xfrm>
            <a:off x="773517" y="2744711"/>
            <a:ext cx="0" cy="1243856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stCxn id="26" idx="0"/>
          </p:cNvCxnSpPr>
          <p:nvPr/>
        </p:nvCxnSpPr>
        <p:spPr>
          <a:xfrm>
            <a:off x="1071200" y="4286250"/>
            <a:ext cx="7002609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Arc 24"/>
          <p:cNvSpPr/>
          <p:nvPr/>
        </p:nvSpPr>
        <p:spPr>
          <a:xfrm rot="5400000">
            <a:off x="7776126" y="3690885"/>
            <a:ext cx="595365" cy="595365"/>
          </a:xfrm>
          <a:prstGeom prst="arc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26" name="Arc 25"/>
          <p:cNvSpPr/>
          <p:nvPr/>
        </p:nvSpPr>
        <p:spPr>
          <a:xfrm rot="10800000">
            <a:off x="773517" y="3690885"/>
            <a:ext cx="595365" cy="595365"/>
          </a:xfrm>
          <a:prstGeom prst="arc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13" name="Group 12"/>
          <p:cNvGrpSpPr/>
          <p:nvPr/>
        </p:nvGrpSpPr>
        <p:grpSpPr>
          <a:xfrm>
            <a:off x="1053835" y="3207443"/>
            <a:ext cx="1337998" cy="683345"/>
            <a:chOff x="1053835" y="3207443"/>
            <a:chExt cx="1337998" cy="683345"/>
          </a:xfrm>
        </p:grpSpPr>
        <p:sp>
          <p:nvSpPr>
            <p:cNvPr id="28" name="TextBox 27"/>
            <p:cNvSpPr txBox="1"/>
            <p:nvPr/>
          </p:nvSpPr>
          <p:spPr>
            <a:xfrm>
              <a:off x="1053835" y="3207443"/>
              <a:ext cx="13379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ratégia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053835" y="3428802"/>
              <a:ext cx="1337998" cy="46198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954073" y="3207443"/>
            <a:ext cx="1337998" cy="701490"/>
            <a:chOff x="2954073" y="3207443"/>
            <a:chExt cx="1337998" cy="701490"/>
          </a:xfrm>
        </p:grpSpPr>
        <p:sp>
          <p:nvSpPr>
            <p:cNvPr id="31" name="TextBox 30"/>
            <p:cNvSpPr txBox="1"/>
            <p:nvPr/>
          </p:nvSpPr>
          <p:spPr>
            <a:xfrm>
              <a:off x="2954073" y="3207443"/>
              <a:ext cx="13379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esquisa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954073" y="3428802"/>
              <a:ext cx="133799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852524" y="3207443"/>
            <a:ext cx="1337998" cy="701490"/>
            <a:chOff x="4852524" y="3207443"/>
            <a:chExt cx="1337998" cy="701490"/>
          </a:xfrm>
        </p:grpSpPr>
        <p:sp>
          <p:nvSpPr>
            <p:cNvPr id="34" name="TextBox 33"/>
            <p:cNvSpPr txBox="1"/>
            <p:nvPr/>
          </p:nvSpPr>
          <p:spPr>
            <a:xfrm>
              <a:off x="4852524" y="3207443"/>
              <a:ext cx="13379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promoção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852524" y="3428802"/>
              <a:ext cx="133799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753174" y="3207443"/>
            <a:ext cx="1337998" cy="701490"/>
            <a:chOff x="6753174" y="3207443"/>
            <a:chExt cx="1337998" cy="701490"/>
          </a:xfrm>
        </p:grpSpPr>
        <p:sp>
          <p:nvSpPr>
            <p:cNvPr id="37" name="TextBox 36"/>
            <p:cNvSpPr txBox="1"/>
            <p:nvPr/>
          </p:nvSpPr>
          <p:spPr>
            <a:xfrm>
              <a:off x="6753174" y="3207443"/>
              <a:ext cx="133799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análise</a:t>
              </a:r>
              <a:endParaRPr lang="en-US" sz="1000" b="1" cap="all" spc="20" dirty="0">
                <a:solidFill>
                  <a:schemeClr val="accent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753174" y="3428802"/>
              <a:ext cx="1337998" cy="4801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Dui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di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mi. 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283849" y="2180167"/>
            <a:ext cx="879162" cy="879162"/>
            <a:chOff x="1245749" y="2142067"/>
            <a:chExt cx="955362" cy="955362"/>
          </a:xfrm>
        </p:grpSpPr>
        <p:sp>
          <p:nvSpPr>
            <p:cNvPr id="47" name="Oval 46"/>
            <p:cNvSpPr/>
            <p:nvPr/>
          </p:nvSpPr>
          <p:spPr>
            <a:xfrm>
              <a:off x="1245749" y="2142067"/>
              <a:ext cx="955362" cy="955362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" name="Oval 7"/>
            <p:cNvSpPr/>
            <p:nvPr/>
          </p:nvSpPr>
          <p:spPr>
            <a:xfrm>
              <a:off x="1333094" y="2232610"/>
              <a:ext cx="780672" cy="78067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9" name="Freeform 24"/>
            <p:cNvSpPr>
              <a:spLocks noEditPoints="1"/>
            </p:cNvSpPr>
            <p:nvPr/>
          </p:nvSpPr>
          <p:spPr bwMode="auto">
            <a:xfrm>
              <a:off x="1535730" y="2351420"/>
              <a:ext cx="372599" cy="490369"/>
            </a:xfrm>
            <a:custGeom>
              <a:avLst/>
              <a:gdLst>
                <a:gd name="T0" fmla="*/ 992 w 1081"/>
                <a:gd name="T1" fmla="*/ 878 h 1423"/>
                <a:gd name="T2" fmla="*/ 930 w 1081"/>
                <a:gd name="T3" fmla="*/ 728 h 1423"/>
                <a:gd name="T4" fmla="*/ 450 w 1081"/>
                <a:gd name="T5" fmla="*/ 667 h 1423"/>
                <a:gd name="T6" fmla="*/ 274 w 1081"/>
                <a:gd name="T7" fmla="*/ 357 h 1423"/>
                <a:gd name="T8" fmla="*/ 176 w 1081"/>
                <a:gd name="T9" fmla="*/ 654 h 1423"/>
                <a:gd name="T10" fmla="*/ 176 w 1081"/>
                <a:gd name="T11" fmla="*/ 1423 h 1423"/>
                <a:gd name="T12" fmla="*/ 905 w 1081"/>
                <a:gd name="T13" fmla="*/ 1349 h 1423"/>
                <a:gd name="T14" fmla="*/ 979 w 1081"/>
                <a:gd name="T15" fmla="*/ 1201 h 1423"/>
                <a:gd name="T16" fmla="*/ 1025 w 1081"/>
                <a:gd name="T17" fmla="*/ 1039 h 1423"/>
                <a:gd name="T18" fmla="*/ 27 w 1081"/>
                <a:gd name="T19" fmla="*/ 1396 h 1423"/>
                <a:gd name="T20" fmla="*/ 148 w 1081"/>
                <a:gd name="T21" fmla="*/ 1396 h 1423"/>
                <a:gd name="T22" fmla="*/ 991 w 1081"/>
                <a:gd name="T23" fmla="*/ 816 h 1423"/>
                <a:gd name="T24" fmla="*/ 639 w 1081"/>
                <a:gd name="T25" fmla="*/ 859 h 1423"/>
                <a:gd name="T26" fmla="*/ 930 w 1081"/>
                <a:gd name="T27" fmla="*/ 755 h 1423"/>
                <a:gd name="T28" fmla="*/ 301 w 1081"/>
                <a:gd name="T29" fmla="*/ 755 h 1423"/>
                <a:gd name="T30" fmla="*/ 423 w 1081"/>
                <a:gd name="T31" fmla="*/ 445 h 1423"/>
                <a:gd name="T32" fmla="*/ 423 w 1081"/>
                <a:gd name="T33" fmla="*/ 948 h 1423"/>
                <a:gd name="T34" fmla="*/ 618 w 1081"/>
                <a:gd name="T35" fmla="*/ 755 h 1423"/>
                <a:gd name="T36" fmla="*/ 604 w 1081"/>
                <a:gd name="T37" fmla="*/ 776 h 1423"/>
                <a:gd name="T38" fmla="*/ 596 w 1081"/>
                <a:gd name="T39" fmla="*/ 798 h 1423"/>
                <a:gd name="T40" fmla="*/ 597 w 1081"/>
                <a:gd name="T41" fmla="*/ 838 h 1423"/>
                <a:gd name="T42" fmla="*/ 608 w 1081"/>
                <a:gd name="T43" fmla="*/ 864 h 1423"/>
                <a:gd name="T44" fmla="*/ 608 w 1081"/>
                <a:gd name="T45" fmla="*/ 876 h 1423"/>
                <a:gd name="T46" fmla="*/ 560 w 1081"/>
                <a:gd name="T47" fmla="*/ 1038 h 1423"/>
                <a:gd name="T48" fmla="*/ 557 w 1081"/>
                <a:gd name="T49" fmla="*/ 1041 h 1423"/>
                <a:gd name="T50" fmla="*/ 535 w 1081"/>
                <a:gd name="T51" fmla="*/ 1063 h 1423"/>
                <a:gd name="T52" fmla="*/ 526 w 1081"/>
                <a:gd name="T53" fmla="*/ 1079 h 1423"/>
                <a:gd name="T54" fmla="*/ 520 w 1081"/>
                <a:gd name="T55" fmla="*/ 1113 h 1423"/>
                <a:gd name="T56" fmla="*/ 618 w 1081"/>
                <a:gd name="T57" fmla="*/ 1201 h 1423"/>
                <a:gd name="T58" fmla="*/ 604 w 1081"/>
                <a:gd name="T59" fmla="*/ 1222 h 1423"/>
                <a:gd name="T60" fmla="*/ 596 w 1081"/>
                <a:gd name="T61" fmla="*/ 1244 h 1423"/>
                <a:gd name="T62" fmla="*/ 597 w 1081"/>
                <a:gd name="T63" fmla="*/ 1283 h 1423"/>
                <a:gd name="T64" fmla="*/ 608 w 1081"/>
                <a:gd name="T65" fmla="*/ 1309 h 1423"/>
                <a:gd name="T66" fmla="*/ 176 w 1081"/>
                <a:gd name="T67" fmla="*/ 1322 h 1423"/>
                <a:gd name="T68" fmla="*/ 905 w 1081"/>
                <a:gd name="T69" fmla="*/ 1322 h 1423"/>
                <a:gd name="T70" fmla="*/ 621 w 1081"/>
                <a:gd name="T71" fmla="*/ 1261 h 1423"/>
                <a:gd name="T72" fmla="*/ 947 w 1081"/>
                <a:gd name="T73" fmla="*/ 1218 h 1423"/>
                <a:gd name="T74" fmla="*/ 979 w 1081"/>
                <a:gd name="T75" fmla="*/ 1173 h 1423"/>
                <a:gd name="T76" fmla="*/ 608 w 1081"/>
                <a:gd name="T77" fmla="*/ 1173 h 1423"/>
                <a:gd name="T78" fmla="*/ 608 w 1081"/>
                <a:gd name="T79" fmla="*/ 1052 h 1423"/>
                <a:gd name="T80" fmla="*/ 979 w 1081"/>
                <a:gd name="T81" fmla="*/ 1025 h 1423"/>
                <a:gd name="T82" fmla="*/ 547 w 1081"/>
                <a:gd name="T83" fmla="*/ 964 h 1423"/>
                <a:gd name="T84" fmla="*/ 930 w 1081"/>
                <a:gd name="T85" fmla="*/ 904 h 1423"/>
                <a:gd name="T86" fmla="*/ 1039 w 1081"/>
                <a:gd name="T87" fmla="*/ 964 h 1423"/>
                <a:gd name="T88" fmla="*/ 671 w 1081"/>
                <a:gd name="T89" fmla="*/ 507 h 1423"/>
                <a:gd name="T90" fmla="*/ 793 w 1081"/>
                <a:gd name="T91" fmla="*/ 0 h 1423"/>
                <a:gd name="T92" fmla="*/ 515 w 1081"/>
                <a:gd name="T93" fmla="*/ 620 h 1423"/>
                <a:gd name="T94" fmla="*/ 1053 w 1081"/>
                <a:gd name="T95" fmla="*/ 266 h 1423"/>
                <a:gd name="T96" fmla="*/ 667 w 1081"/>
                <a:gd name="T97" fmla="*/ 476 h 1423"/>
                <a:gd name="T98" fmla="*/ 586 w 1081"/>
                <a:gd name="T99" fmla="*/ 411 h 1423"/>
                <a:gd name="T100" fmla="*/ 677 w 1081"/>
                <a:gd name="T101" fmla="*/ 197 h 1423"/>
                <a:gd name="T102" fmla="*/ 935 w 1081"/>
                <a:gd name="T103" fmla="*/ 197 h 1423"/>
                <a:gd name="T104" fmla="*/ 677 w 1081"/>
                <a:gd name="T105" fmla="*/ 249 h 1423"/>
                <a:gd name="T106" fmla="*/ 935 w 1081"/>
                <a:gd name="T107" fmla="*/ 356 h 1423"/>
                <a:gd name="T108" fmla="*/ 935 w 1081"/>
                <a:gd name="T109" fmla="*/ 329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1" h="1423">
                  <a:moveTo>
                    <a:pt x="1067" y="964"/>
                  </a:moveTo>
                  <a:cubicBezTo>
                    <a:pt x="1067" y="941"/>
                    <a:pt x="1057" y="919"/>
                    <a:pt x="1041" y="902"/>
                  </a:cubicBezTo>
                  <a:cubicBezTo>
                    <a:pt x="1028" y="889"/>
                    <a:pt x="1011" y="881"/>
                    <a:pt x="992" y="878"/>
                  </a:cubicBezTo>
                  <a:cubicBezTo>
                    <a:pt x="1008" y="862"/>
                    <a:pt x="1018" y="840"/>
                    <a:pt x="1018" y="816"/>
                  </a:cubicBezTo>
                  <a:cubicBezTo>
                    <a:pt x="1018" y="792"/>
                    <a:pt x="1009" y="770"/>
                    <a:pt x="992" y="754"/>
                  </a:cubicBezTo>
                  <a:cubicBezTo>
                    <a:pt x="976" y="737"/>
                    <a:pt x="954" y="728"/>
                    <a:pt x="930" y="728"/>
                  </a:cubicBezTo>
                  <a:cubicBezTo>
                    <a:pt x="682" y="728"/>
                    <a:pt x="682" y="728"/>
                    <a:pt x="682" y="728"/>
                  </a:cubicBezTo>
                  <a:cubicBezTo>
                    <a:pt x="450" y="728"/>
                    <a:pt x="450" y="728"/>
                    <a:pt x="450" y="728"/>
                  </a:cubicBezTo>
                  <a:cubicBezTo>
                    <a:pt x="450" y="667"/>
                    <a:pt x="450" y="667"/>
                    <a:pt x="450" y="667"/>
                  </a:cubicBezTo>
                  <a:cubicBezTo>
                    <a:pt x="450" y="445"/>
                    <a:pt x="450" y="445"/>
                    <a:pt x="450" y="445"/>
                  </a:cubicBezTo>
                  <a:cubicBezTo>
                    <a:pt x="450" y="396"/>
                    <a:pt x="411" y="357"/>
                    <a:pt x="362" y="357"/>
                  </a:cubicBezTo>
                  <a:cubicBezTo>
                    <a:pt x="274" y="357"/>
                    <a:pt x="274" y="357"/>
                    <a:pt x="274" y="357"/>
                  </a:cubicBezTo>
                  <a:cubicBezTo>
                    <a:pt x="274" y="728"/>
                    <a:pt x="274" y="728"/>
                    <a:pt x="274" y="728"/>
                  </a:cubicBezTo>
                  <a:cubicBezTo>
                    <a:pt x="176" y="728"/>
                    <a:pt x="176" y="728"/>
                    <a:pt x="176" y="728"/>
                  </a:cubicBezTo>
                  <a:cubicBezTo>
                    <a:pt x="176" y="654"/>
                    <a:pt x="176" y="654"/>
                    <a:pt x="176" y="654"/>
                  </a:cubicBezTo>
                  <a:cubicBezTo>
                    <a:pt x="0" y="654"/>
                    <a:pt x="0" y="654"/>
                    <a:pt x="0" y="654"/>
                  </a:cubicBezTo>
                  <a:cubicBezTo>
                    <a:pt x="0" y="1423"/>
                    <a:pt x="0" y="1423"/>
                    <a:pt x="0" y="1423"/>
                  </a:cubicBezTo>
                  <a:cubicBezTo>
                    <a:pt x="176" y="1423"/>
                    <a:pt x="176" y="1423"/>
                    <a:pt x="176" y="1423"/>
                  </a:cubicBezTo>
                  <a:cubicBezTo>
                    <a:pt x="176" y="1349"/>
                    <a:pt x="176" y="1349"/>
                    <a:pt x="176" y="1349"/>
                  </a:cubicBezTo>
                  <a:cubicBezTo>
                    <a:pt x="682" y="1349"/>
                    <a:pt x="682" y="1349"/>
                    <a:pt x="682" y="1349"/>
                  </a:cubicBezTo>
                  <a:cubicBezTo>
                    <a:pt x="905" y="1349"/>
                    <a:pt x="905" y="1349"/>
                    <a:pt x="905" y="1349"/>
                  </a:cubicBezTo>
                  <a:cubicBezTo>
                    <a:pt x="953" y="1349"/>
                    <a:pt x="992" y="1310"/>
                    <a:pt x="992" y="1261"/>
                  </a:cubicBezTo>
                  <a:cubicBezTo>
                    <a:pt x="992" y="1238"/>
                    <a:pt x="984" y="1217"/>
                    <a:pt x="968" y="1201"/>
                  </a:cubicBezTo>
                  <a:cubicBezTo>
                    <a:pt x="979" y="1201"/>
                    <a:pt x="979" y="1201"/>
                    <a:pt x="979" y="1201"/>
                  </a:cubicBezTo>
                  <a:cubicBezTo>
                    <a:pt x="1027" y="1201"/>
                    <a:pt x="1067" y="1161"/>
                    <a:pt x="1067" y="1113"/>
                  </a:cubicBezTo>
                  <a:cubicBezTo>
                    <a:pt x="1067" y="1089"/>
                    <a:pt x="1057" y="1067"/>
                    <a:pt x="1041" y="1051"/>
                  </a:cubicBezTo>
                  <a:cubicBezTo>
                    <a:pt x="1036" y="1046"/>
                    <a:pt x="1031" y="1042"/>
                    <a:pt x="1025" y="1039"/>
                  </a:cubicBezTo>
                  <a:cubicBezTo>
                    <a:pt x="1050" y="1023"/>
                    <a:pt x="1067" y="996"/>
                    <a:pt x="1067" y="964"/>
                  </a:cubicBezTo>
                  <a:close/>
                  <a:moveTo>
                    <a:pt x="148" y="1396"/>
                  </a:moveTo>
                  <a:cubicBezTo>
                    <a:pt x="27" y="1396"/>
                    <a:pt x="27" y="1396"/>
                    <a:pt x="27" y="1396"/>
                  </a:cubicBezTo>
                  <a:cubicBezTo>
                    <a:pt x="27" y="681"/>
                    <a:pt x="27" y="681"/>
                    <a:pt x="27" y="681"/>
                  </a:cubicBezTo>
                  <a:cubicBezTo>
                    <a:pt x="148" y="681"/>
                    <a:pt x="148" y="681"/>
                    <a:pt x="148" y="681"/>
                  </a:cubicBezTo>
                  <a:lnTo>
                    <a:pt x="148" y="1396"/>
                  </a:lnTo>
                  <a:close/>
                  <a:moveTo>
                    <a:pt x="930" y="755"/>
                  </a:moveTo>
                  <a:cubicBezTo>
                    <a:pt x="946" y="755"/>
                    <a:pt x="962" y="761"/>
                    <a:pt x="973" y="773"/>
                  </a:cubicBezTo>
                  <a:cubicBezTo>
                    <a:pt x="984" y="784"/>
                    <a:pt x="991" y="800"/>
                    <a:pt x="991" y="816"/>
                  </a:cubicBezTo>
                  <a:cubicBezTo>
                    <a:pt x="991" y="849"/>
                    <a:pt x="964" y="876"/>
                    <a:pt x="930" y="876"/>
                  </a:cubicBezTo>
                  <a:cubicBezTo>
                    <a:pt x="682" y="876"/>
                    <a:pt x="682" y="876"/>
                    <a:pt x="682" y="876"/>
                  </a:cubicBezTo>
                  <a:cubicBezTo>
                    <a:pt x="666" y="876"/>
                    <a:pt x="651" y="870"/>
                    <a:pt x="639" y="859"/>
                  </a:cubicBezTo>
                  <a:cubicBezTo>
                    <a:pt x="628" y="847"/>
                    <a:pt x="621" y="832"/>
                    <a:pt x="621" y="816"/>
                  </a:cubicBezTo>
                  <a:cubicBezTo>
                    <a:pt x="621" y="782"/>
                    <a:pt x="648" y="755"/>
                    <a:pt x="682" y="755"/>
                  </a:cubicBezTo>
                  <a:lnTo>
                    <a:pt x="930" y="755"/>
                  </a:lnTo>
                  <a:close/>
                  <a:moveTo>
                    <a:pt x="176" y="1322"/>
                  </a:moveTo>
                  <a:cubicBezTo>
                    <a:pt x="176" y="755"/>
                    <a:pt x="176" y="755"/>
                    <a:pt x="176" y="755"/>
                  </a:cubicBezTo>
                  <a:cubicBezTo>
                    <a:pt x="301" y="755"/>
                    <a:pt x="301" y="755"/>
                    <a:pt x="301" y="755"/>
                  </a:cubicBezTo>
                  <a:cubicBezTo>
                    <a:pt x="301" y="384"/>
                    <a:pt x="301" y="384"/>
                    <a:pt x="301" y="384"/>
                  </a:cubicBezTo>
                  <a:cubicBezTo>
                    <a:pt x="362" y="384"/>
                    <a:pt x="362" y="384"/>
                    <a:pt x="362" y="384"/>
                  </a:cubicBezTo>
                  <a:cubicBezTo>
                    <a:pt x="396" y="384"/>
                    <a:pt x="423" y="411"/>
                    <a:pt x="423" y="445"/>
                  </a:cubicBezTo>
                  <a:cubicBezTo>
                    <a:pt x="423" y="667"/>
                    <a:pt x="423" y="667"/>
                    <a:pt x="423" y="667"/>
                  </a:cubicBezTo>
                  <a:cubicBezTo>
                    <a:pt x="423" y="755"/>
                    <a:pt x="423" y="755"/>
                    <a:pt x="423" y="755"/>
                  </a:cubicBezTo>
                  <a:cubicBezTo>
                    <a:pt x="423" y="948"/>
                    <a:pt x="423" y="948"/>
                    <a:pt x="423" y="948"/>
                  </a:cubicBezTo>
                  <a:cubicBezTo>
                    <a:pt x="450" y="948"/>
                    <a:pt x="450" y="948"/>
                    <a:pt x="450" y="948"/>
                  </a:cubicBezTo>
                  <a:cubicBezTo>
                    <a:pt x="450" y="755"/>
                    <a:pt x="450" y="755"/>
                    <a:pt x="450" y="755"/>
                  </a:cubicBezTo>
                  <a:cubicBezTo>
                    <a:pt x="618" y="755"/>
                    <a:pt x="618" y="755"/>
                    <a:pt x="618" y="755"/>
                  </a:cubicBezTo>
                  <a:cubicBezTo>
                    <a:pt x="616" y="757"/>
                    <a:pt x="615" y="759"/>
                    <a:pt x="613" y="762"/>
                  </a:cubicBezTo>
                  <a:cubicBezTo>
                    <a:pt x="612" y="763"/>
                    <a:pt x="610" y="765"/>
                    <a:pt x="609" y="767"/>
                  </a:cubicBezTo>
                  <a:cubicBezTo>
                    <a:pt x="607" y="770"/>
                    <a:pt x="605" y="773"/>
                    <a:pt x="604" y="776"/>
                  </a:cubicBezTo>
                  <a:cubicBezTo>
                    <a:pt x="603" y="778"/>
                    <a:pt x="602" y="780"/>
                    <a:pt x="601" y="782"/>
                  </a:cubicBezTo>
                  <a:cubicBezTo>
                    <a:pt x="599" y="785"/>
                    <a:pt x="598" y="789"/>
                    <a:pt x="597" y="793"/>
                  </a:cubicBezTo>
                  <a:cubicBezTo>
                    <a:pt x="597" y="795"/>
                    <a:pt x="596" y="796"/>
                    <a:pt x="596" y="798"/>
                  </a:cubicBezTo>
                  <a:cubicBezTo>
                    <a:pt x="595" y="804"/>
                    <a:pt x="594" y="810"/>
                    <a:pt x="594" y="816"/>
                  </a:cubicBezTo>
                  <a:cubicBezTo>
                    <a:pt x="594" y="822"/>
                    <a:pt x="595" y="827"/>
                    <a:pt x="596" y="833"/>
                  </a:cubicBezTo>
                  <a:cubicBezTo>
                    <a:pt x="596" y="835"/>
                    <a:pt x="597" y="836"/>
                    <a:pt x="597" y="838"/>
                  </a:cubicBezTo>
                  <a:cubicBezTo>
                    <a:pt x="598" y="842"/>
                    <a:pt x="599" y="845"/>
                    <a:pt x="601" y="849"/>
                  </a:cubicBezTo>
                  <a:cubicBezTo>
                    <a:pt x="601" y="851"/>
                    <a:pt x="603" y="853"/>
                    <a:pt x="604" y="855"/>
                  </a:cubicBezTo>
                  <a:cubicBezTo>
                    <a:pt x="605" y="858"/>
                    <a:pt x="607" y="861"/>
                    <a:pt x="608" y="864"/>
                  </a:cubicBezTo>
                  <a:cubicBezTo>
                    <a:pt x="610" y="866"/>
                    <a:pt x="611" y="868"/>
                    <a:pt x="613" y="869"/>
                  </a:cubicBezTo>
                  <a:cubicBezTo>
                    <a:pt x="615" y="872"/>
                    <a:pt x="616" y="874"/>
                    <a:pt x="618" y="876"/>
                  </a:cubicBezTo>
                  <a:cubicBezTo>
                    <a:pt x="608" y="876"/>
                    <a:pt x="608" y="876"/>
                    <a:pt x="608" y="876"/>
                  </a:cubicBezTo>
                  <a:cubicBezTo>
                    <a:pt x="559" y="876"/>
                    <a:pt x="520" y="916"/>
                    <a:pt x="520" y="964"/>
                  </a:cubicBezTo>
                  <a:cubicBezTo>
                    <a:pt x="520" y="988"/>
                    <a:pt x="529" y="1010"/>
                    <a:pt x="545" y="1026"/>
                  </a:cubicBezTo>
                  <a:cubicBezTo>
                    <a:pt x="550" y="1031"/>
                    <a:pt x="555" y="1034"/>
                    <a:pt x="560" y="1038"/>
                  </a:cubicBezTo>
                  <a:cubicBezTo>
                    <a:pt x="560" y="1038"/>
                    <a:pt x="560" y="1038"/>
                    <a:pt x="561" y="1039"/>
                  </a:cubicBezTo>
                  <a:cubicBezTo>
                    <a:pt x="560" y="1039"/>
                    <a:pt x="560" y="1039"/>
                    <a:pt x="559" y="1040"/>
                  </a:cubicBezTo>
                  <a:cubicBezTo>
                    <a:pt x="558" y="1040"/>
                    <a:pt x="558" y="1041"/>
                    <a:pt x="557" y="1041"/>
                  </a:cubicBezTo>
                  <a:cubicBezTo>
                    <a:pt x="553" y="1044"/>
                    <a:pt x="550" y="1047"/>
                    <a:pt x="547" y="1050"/>
                  </a:cubicBezTo>
                  <a:cubicBezTo>
                    <a:pt x="546" y="1050"/>
                    <a:pt x="545" y="1051"/>
                    <a:pt x="545" y="1051"/>
                  </a:cubicBezTo>
                  <a:cubicBezTo>
                    <a:pt x="541" y="1055"/>
                    <a:pt x="538" y="1059"/>
                    <a:pt x="535" y="1063"/>
                  </a:cubicBezTo>
                  <a:cubicBezTo>
                    <a:pt x="535" y="1064"/>
                    <a:pt x="534" y="1065"/>
                    <a:pt x="534" y="1065"/>
                  </a:cubicBezTo>
                  <a:cubicBezTo>
                    <a:pt x="531" y="1069"/>
                    <a:pt x="529" y="1073"/>
                    <a:pt x="527" y="1077"/>
                  </a:cubicBezTo>
                  <a:cubicBezTo>
                    <a:pt x="527" y="1078"/>
                    <a:pt x="527" y="1078"/>
                    <a:pt x="526" y="1079"/>
                  </a:cubicBezTo>
                  <a:cubicBezTo>
                    <a:pt x="524" y="1084"/>
                    <a:pt x="523" y="1088"/>
                    <a:pt x="522" y="1093"/>
                  </a:cubicBezTo>
                  <a:cubicBezTo>
                    <a:pt x="522" y="1095"/>
                    <a:pt x="521" y="1096"/>
                    <a:pt x="521" y="1097"/>
                  </a:cubicBezTo>
                  <a:cubicBezTo>
                    <a:pt x="520" y="1102"/>
                    <a:pt x="520" y="1107"/>
                    <a:pt x="520" y="1113"/>
                  </a:cubicBezTo>
                  <a:cubicBezTo>
                    <a:pt x="520" y="1136"/>
                    <a:pt x="529" y="1158"/>
                    <a:pt x="546" y="1175"/>
                  </a:cubicBezTo>
                  <a:cubicBezTo>
                    <a:pt x="562" y="1191"/>
                    <a:pt x="584" y="1201"/>
                    <a:pt x="608" y="1201"/>
                  </a:cubicBezTo>
                  <a:cubicBezTo>
                    <a:pt x="618" y="1201"/>
                    <a:pt x="618" y="1201"/>
                    <a:pt x="618" y="1201"/>
                  </a:cubicBezTo>
                  <a:cubicBezTo>
                    <a:pt x="616" y="1203"/>
                    <a:pt x="615" y="1205"/>
                    <a:pt x="613" y="1207"/>
                  </a:cubicBezTo>
                  <a:cubicBezTo>
                    <a:pt x="612" y="1209"/>
                    <a:pt x="610" y="1211"/>
                    <a:pt x="609" y="1213"/>
                  </a:cubicBezTo>
                  <a:cubicBezTo>
                    <a:pt x="607" y="1216"/>
                    <a:pt x="605" y="1219"/>
                    <a:pt x="604" y="1222"/>
                  </a:cubicBezTo>
                  <a:cubicBezTo>
                    <a:pt x="603" y="1224"/>
                    <a:pt x="602" y="1225"/>
                    <a:pt x="601" y="1228"/>
                  </a:cubicBezTo>
                  <a:cubicBezTo>
                    <a:pt x="599" y="1231"/>
                    <a:pt x="598" y="1235"/>
                    <a:pt x="597" y="1238"/>
                  </a:cubicBezTo>
                  <a:cubicBezTo>
                    <a:pt x="597" y="1240"/>
                    <a:pt x="596" y="1242"/>
                    <a:pt x="596" y="1244"/>
                  </a:cubicBezTo>
                  <a:cubicBezTo>
                    <a:pt x="595" y="1249"/>
                    <a:pt x="594" y="1255"/>
                    <a:pt x="594" y="1261"/>
                  </a:cubicBezTo>
                  <a:cubicBezTo>
                    <a:pt x="594" y="1267"/>
                    <a:pt x="595" y="1273"/>
                    <a:pt x="596" y="1278"/>
                  </a:cubicBezTo>
                  <a:cubicBezTo>
                    <a:pt x="596" y="1280"/>
                    <a:pt x="597" y="1282"/>
                    <a:pt x="597" y="1283"/>
                  </a:cubicBezTo>
                  <a:cubicBezTo>
                    <a:pt x="598" y="1287"/>
                    <a:pt x="599" y="1291"/>
                    <a:pt x="601" y="1294"/>
                  </a:cubicBezTo>
                  <a:cubicBezTo>
                    <a:pt x="601" y="1296"/>
                    <a:pt x="603" y="1298"/>
                    <a:pt x="604" y="1300"/>
                  </a:cubicBezTo>
                  <a:cubicBezTo>
                    <a:pt x="605" y="1303"/>
                    <a:pt x="606" y="1306"/>
                    <a:pt x="608" y="1309"/>
                  </a:cubicBezTo>
                  <a:cubicBezTo>
                    <a:pt x="610" y="1311"/>
                    <a:pt x="611" y="1313"/>
                    <a:pt x="613" y="1315"/>
                  </a:cubicBezTo>
                  <a:cubicBezTo>
                    <a:pt x="615" y="1317"/>
                    <a:pt x="616" y="1320"/>
                    <a:pt x="618" y="1322"/>
                  </a:cubicBezTo>
                  <a:lnTo>
                    <a:pt x="176" y="1322"/>
                  </a:lnTo>
                  <a:close/>
                  <a:moveTo>
                    <a:pt x="947" y="1218"/>
                  </a:moveTo>
                  <a:cubicBezTo>
                    <a:pt x="959" y="1230"/>
                    <a:pt x="965" y="1245"/>
                    <a:pt x="965" y="1261"/>
                  </a:cubicBezTo>
                  <a:cubicBezTo>
                    <a:pt x="965" y="1295"/>
                    <a:pt x="938" y="1322"/>
                    <a:pt x="905" y="1322"/>
                  </a:cubicBezTo>
                  <a:cubicBezTo>
                    <a:pt x="682" y="1322"/>
                    <a:pt x="682" y="1322"/>
                    <a:pt x="682" y="1322"/>
                  </a:cubicBezTo>
                  <a:cubicBezTo>
                    <a:pt x="666" y="1322"/>
                    <a:pt x="651" y="1316"/>
                    <a:pt x="639" y="1304"/>
                  </a:cubicBezTo>
                  <a:cubicBezTo>
                    <a:pt x="628" y="1293"/>
                    <a:pt x="621" y="1277"/>
                    <a:pt x="621" y="1261"/>
                  </a:cubicBezTo>
                  <a:cubicBezTo>
                    <a:pt x="621" y="1228"/>
                    <a:pt x="648" y="1201"/>
                    <a:pt x="682" y="1201"/>
                  </a:cubicBezTo>
                  <a:cubicBezTo>
                    <a:pt x="905" y="1201"/>
                    <a:pt x="905" y="1201"/>
                    <a:pt x="905" y="1201"/>
                  </a:cubicBezTo>
                  <a:cubicBezTo>
                    <a:pt x="921" y="1201"/>
                    <a:pt x="936" y="1207"/>
                    <a:pt x="947" y="1218"/>
                  </a:cubicBezTo>
                  <a:close/>
                  <a:moveTo>
                    <a:pt x="1022" y="1070"/>
                  </a:moveTo>
                  <a:cubicBezTo>
                    <a:pt x="1033" y="1081"/>
                    <a:pt x="1039" y="1097"/>
                    <a:pt x="1039" y="1113"/>
                  </a:cubicBezTo>
                  <a:cubicBezTo>
                    <a:pt x="1039" y="1146"/>
                    <a:pt x="1012" y="1173"/>
                    <a:pt x="979" y="1173"/>
                  </a:cubicBezTo>
                  <a:cubicBezTo>
                    <a:pt x="905" y="1173"/>
                    <a:pt x="905" y="1173"/>
                    <a:pt x="905" y="1173"/>
                  </a:cubicBezTo>
                  <a:cubicBezTo>
                    <a:pt x="682" y="1173"/>
                    <a:pt x="682" y="1173"/>
                    <a:pt x="682" y="1173"/>
                  </a:cubicBezTo>
                  <a:cubicBezTo>
                    <a:pt x="608" y="1173"/>
                    <a:pt x="608" y="1173"/>
                    <a:pt x="608" y="1173"/>
                  </a:cubicBezTo>
                  <a:cubicBezTo>
                    <a:pt x="591" y="1173"/>
                    <a:pt x="576" y="1167"/>
                    <a:pt x="565" y="1155"/>
                  </a:cubicBezTo>
                  <a:cubicBezTo>
                    <a:pt x="553" y="1144"/>
                    <a:pt x="547" y="1129"/>
                    <a:pt x="547" y="1113"/>
                  </a:cubicBezTo>
                  <a:cubicBezTo>
                    <a:pt x="547" y="1079"/>
                    <a:pt x="574" y="1052"/>
                    <a:pt x="608" y="1052"/>
                  </a:cubicBezTo>
                  <a:cubicBezTo>
                    <a:pt x="979" y="1052"/>
                    <a:pt x="979" y="1052"/>
                    <a:pt x="979" y="1052"/>
                  </a:cubicBezTo>
                  <a:cubicBezTo>
                    <a:pt x="995" y="1052"/>
                    <a:pt x="1010" y="1059"/>
                    <a:pt x="1022" y="1070"/>
                  </a:cubicBezTo>
                  <a:close/>
                  <a:moveTo>
                    <a:pt x="979" y="1025"/>
                  </a:moveTo>
                  <a:cubicBezTo>
                    <a:pt x="608" y="1025"/>
                    <a:pt x="608" y="1025"/>
                    <a:pt x="608" y="1025"/>
                  </a:cubicBezTo>
                  <a:cubicBezTo>
                    <a:pt x="591" y="1025"/>
                    <a:pt x="576" y="1019"/>
                    <a:pt x="565" y="1007"/>
                  </a:cubicBezTo>
                  <a:cubicBezTo>
                    <a:pt x="553" y="995"/>
                    <a:pt x="547" y="980"/>
                    <a:pt x="547" y="964"/>
                  </a:cubicBezTo>
                  <a:cubicBezTo>
                    <a:pt x="547" y="931"/>
                    <a:pt x="574" y="904"/>
                    <a:pt x="608" y="904"/>
                  </a:cubicBezTo>
                  <a:cubicBezTo>
                    <a:pt x="682" y="904"/>
                    <a:pt x="682" y="904"/>
                    <a:pt x="682" y="904"/>
                  </a:cubicBezTo>
                  <a:cubicBezTo>
                    <a:pt x="930" y="904"/>
                    <a:pt x="930" y="904"/>
                    <a:pt x="930" y="904"/>
                  </a:cubicBezTo>
                  <a:cubicBezTo>
                    <a:pt x="979" y="904"/>
                    <a:pt x="979" y="904"/>
                    <a:pt x="979" y="904"/>
                  </a:cubicBezTo>
                  <a:cubicBezTo>
                    <a:pt x="995" y="904"/>
                    <a:pt x="1010" y="910"/>
                    <a:pt x="1022" y="921"/>
                  </a:cubicBezTo>
                  <a:cubicBezTo>
                    <a:pt x="1033" y="933"/>
                    <a:pt x="1039" y="948"/>
                    <a:pt x="1039" y="964"/>
                  </a:cubicBezTo>
                  <a:cubicBezTo>
                    <a:pt x="1039" y="998"/>
                    <a:pt x="1012" y="1025"/>
                    <a:pt x="979" y="1025"/>
                  </a:cubicBezTo>
                  <a:close/>
                  <a:moveTo>
                    <a:pt x="515" y="620"/>
                  </a:moveTo>
                  <a:cubicBezTo>
                    <a:pt x="671" y="507"/>
                    <a:pt x="671" y="507"/>
                    <a:pt x="671" y="507"/>
                  </a:cubicBezTo>
                  <a:cubicBezTo>
                    <a:pt x="709" y="524"/>
                    <a:pt x="750" y="533"/>
                    <a:pt x="793" y="533"/>
                  </a:cubicBezTo>
                  <a:cubicBezTo>
                    <a:pt x="952" y="533"/>
                    <a:pt x="1081" y="413"/>
                    <a:pt x="1081" y="266"/>
                  </a:cubicBezTo>
                  <a:cubicBezTo>
                    <a:pt x="1081" y="120"/>
                    <a:pt x="952" y="0"/>
                    <a:pt x="793" y="0"/>
                  </a:cubicBezTo>
                  <a:cubicBezTo>
                    <a:pt x="635" y="0"/>
                    <a:pt x="506" y="120"/>
                    <a:pt x="506" y="266"/>
                  </a:cubicBezTo>
                  <a:cubicBezTo>
                    <a:pt x="506" y="323"/>
                    <a:pt x="525" y="377"/>
                    <a:pt x="561" y="423"/>
                  </a:cubicBezTo>
                  <a:lnTo>
                    <a:pt x="515" y="620"/>
                  </a:lnTo>
                  <a:close/>
                  <a:moveTo>
                    <a:pt x="533" y="266"/>
                  </a:moveTo>
                  <a:cubicBezTo>
                    <a:pt x="533" y="135"/>
                    <a:pt x="650" y="27"/>
                    <a:pt x="793" y="27"/>
                  </a:cubicBezTo>
                  <a:cubicBezTo>
                    <a:pt x="937" y="27"/>
                    <a:pt x="1053" y="135"/>
                    <a:pt x="1053" y="266"/>
                  </a:cubicBezTo>
                  <a:cubicBezTo>
                    <a:pt x="1053" y="398"/>
                    <a:pt x="937" y="505"/>
                    <a:pt x="793" y="505"/>
                  </a:cubicBezTo>
                  <a:cubicBezTo>
                    <a:pt x="752" y="505"/>
                    <a:pt x="712" y="497"/>
                    <a:pt x="675" y="479"/>
                  </a:cubicBezTo>
                  <a:cubicBezTo>
                    <a:pt x="667" y="476"/>
                    <a:pt x="667" y="476"/>
                    <a:pt x="667" y="476"/>
                  </a:cubicBezTo>
                  <a:cubicBezTo>
                    <a:pt x="558" y="555"/>
                    <a:pt x="558" y="555"/>
                    <a:pt x="558" y="555"/>
                  </a:cubicBezTo>
                  <a:cubicBezTo>
                    <a:pt x="591" y="416"/>
                    <a:pt x="591" y="416"/>
                    <a:pt x="591" y="416"/>
                  </a:cubicBezTo>
                  <a:cubicBezTo>
                    <a:pt x="586" y="411"/>
                    <a:pt x="586" y="411"/>
                    <a:pt x="586" y="411"/>
                  </a:cubicBezTo>
                  <a:cubicBezTo>
                    <a:pt x="551" y="369"/>
                    <a:pt x="533" y="319"/>
                    <a:pt x="533" y="266"/>
                  </a:cubicBezTo>
                  <a:close/>
                  <a:moveTo>
                    <a:pt x="935" y="197"/>
                  </a:moveTo>
                  <a:cubicBezTo>
                    <a:pt x="677" y="197"/>
                    <a:pt x="677" y="197"/>
                    <a:pt x="677" y="197"/>
                  </a:cubicBezTo>
                  <a:cubicBezTo>
                    <a:pt x="677" y="170"/>
                    <a:pt x="677" y="170"/>
                    <a:pt x="677" y="170"/>
                  </a:cubicBezTo>
                  <a:cubicBezTo>
                    <a:pt x="935" y="170"/>
                    <a:pt x="935" y="170"/>
                    <a:pt x="935" y="170"/>
                  </a:cubicBezTo>
                  <a:lnTo>
                    <a:pt x="935" y="197"/>
                  </a:lnTo>
                  <a:close/>
                  <a:moveTo>
                    <a:pt x="935" y="276"/>
                  </a:moveTo>
                  <a:cubicBezTo>
                    <a:pt x="677" y="276"/>
                    <a:pt x="677" y="276"/>
                    <a:pt x="677" y="276"/>
                  </a:cubicBezTo>
                  <a:cubicBezTo>
                    <a:pt x="677" y="249"/>
                    <a:pt x="677" y="249"/>
                    <a:pt x="677" y="249"/>
                  </a:cubicBezTo>
                  <a:cubicBezTo>
                    <a:pt x="935" y="249"/>
                    <a:pt x="935" y="249"/>
                    <a:pt x="935" y="249"/>
                  </a:cubicBezTo>
                  <a:lnTo>
                    <a:pt x="935" y="276"/>
                  </a:lnTo>
                  <a:close/>
                  <a:moveTo>
                    <a:pt x="935" y="356"/>
                  </a:moveTo>
                  <a:cubicBezTo>
                    <a:pt x="677" y="356"/>
                    <a:pt x="677" y="356"/>
                    <a:pt x="677" y="356"/>
                  </a:cubicBezTo>
                  <a:cubicBezTo>
                    <a:pt x="677" y="329"/>
                    <a:pt x="677" y="329"/>
                    <a:pt x="677" y="329"/>
                  </a:cubicBezTo>
                  <a:cubicBezTo>
                    <a:pt x="935" y="329"/>
                    <a:pt x="935" y="329"/>
                    <a:pt x="935" y="329"/>
                  </a:cubicBezTo>
                  <a:lnTo>
                    <a:pt x="935" y="3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3184086" y="2180167"/>
            <a:ext cx="879162" cy="879162"/>
            <a:chOff x="3145986" y="2142067"/>
            <a:chExt cx="955362" cy="955362"/>
          </a:xfrm>
        </p:grpSpPr>
        <p:sp>
          <p:nvSpPr>
            <p:cNvPr id="48" name="Oval 47"/>
            <p:cNvSpPr/>
            <p:nvPr/>
          </p:nvSpPr>
          <p:spPr>
            <a:xfrm>
              <a:off x="3145986" y="2142067"/>
              <a:ext cx="955362" cy="955362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9" name="Oval 8"/>
            <p:cNvSpPr/>
            <p:nvPr/>
          </p:nvSpPr>
          <p:spPr>
            <a:xfrm>
              <a:off x="3233331" y="2232610"/>
              <a:ext cx="780672" cy="78067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0" name="Freeform 5"/>
            <p:cNvSpPr>
              <a:spLocks noEditPoints="1"/>
            </p:cNvSpPr>
            <p:nvPr/>
          </p:nvSpPr>
          <p:spPr bwMode="auto">
            <a:xfrm>
              <a:off x="3410546" y="2426219"/>
              <a:ext cx="404217" cy="401241"/>
            </a:xfrm>
            <a:custGeom>
              <a:avLst/>
              <a:gdLst>
                <a:gd name="T0" fmla="*/ 968 w 2191"/>
                <a:gd name="T1" fmla="*/ 386 h 2176"/>
                <a:gd name="T2" fmla="*/ 1387 w 2191"/>
                <a:gd name="T3" fmla="*/ 1395 h 2176"/>
                <a:gd name="T4" fmla="*/ 1805 w 2191"/>
                <a:gd name="T5" fmla="*/ 386 h 2176"/>
                <a:gd name="T6" fmla="*/ 1387 w 2191"/>
                <a:gd name="T7" fmla="*/ 1343 h 2176"/>
                <a:gd name="T8" fmla="*/ 847 w 2191"/>
                <a:gd name="T9" fmla="*/ 804 h 2176"/>
                <a:gd name="T10" fmla="*/ 1387 w 2191"/>
                <a:gd name="T11" fmla="*/ 264 h 2176"/>
                <a:gd name="T12" fmla="*/ 1926 w 2191"/>
                <a:gd name="T13" fmla="*/ 804 h 2176"/>
                <a:gd name="T14" fmla="*/ 1905 w 2191"/>
                <a:gd name="T15" fmla="*/ 286 h 2176"/>
                <a:gd name="T16" fmla="*/ 705 w 2191"/>
                <a:gd name="T17" fmla="*/ 1073 h 2176"/>
                <a:gd name="T18" fmla="*/ 641 w 2191"/>
                <a:gd name="T19" fmla="*/ 1197 h 2176"/>
                <a:gd name="T20" fmla="*/ 650 w 2191"/>
                <a:gd name="T21" fmla="*/ 1304 h 2176"/>
                <a:gd name="T22" fmla="*/ 60 w 2191"/>
                <a:gd name="T23" fmla="*/ 2113 h 2176"/>
                <a:gd name="T24" fmla="*/ 187 w 2191"/>
                <a:gd name="T25" fmla="*/ 2176 h 2176"/>
                <a:gd name="T26" fmla="*/ 887 w 2191"/>
                <a:gd name="T27" fmla="*/ 1540 h 2176"/>
                <a:gd name="T28" fmla="*/ 943 w 2191"/>
                <a:gd name="T29" fmla="*/ 1568 h 2176"/>
                <a:gd name="T30" fmla="*/ 1074 w 2191"/>
                <a:gd name="T31" fmla="*/ 1466 h 2176"/>
                <a:gd name="T32" fmla="*/ 1387 w 2191"/>
                <a:gd name="T33" fmla="*/ 1537 h 2176"/>
                <a:gd name="T34" fmla="*/ 1905 w 2191"/>
                <a:gd name="T35" fmla="*/ 286 h 2176"/>
                <a:gd name="T36" fmla="*/ 114 w 2191"/>
                <a:gd name="T37" fmla="*/ 2093 h 2176"/>
                <a:gd name="T38" fmla="*/ 97 w 2191"/>
                <a:gd name="T39" fmla="*/ 1930 h 2176"/>
                <a:gd name="T40" fmla="*/ 850 w 2191"/>
                <a:gd name="T41" fmla="*/ 1504 h 2176"/>
                <a:gd name="T42" fmla="*/ 955 w 2191"/>
                <a:gd name="T43" fmla="*/ 1511 h 2176"/>
                <a:gd name="T44" fmla="*/ 923 w 2191"/>
                <a:gd name="T45" fmla="*/ 1504 h 2176"/>
                <a:gd name="T46" fmla="*/ 687 w 2191"/>
                <a:gd name="T47" fmla="*/ 1267 h 2176"/>
                <a:gd name="T48" fmla="*/ 678 w 2191"/>
                <a:gd name="T49" fmla="*/ 1258 h 2176"/>
                <a:gd name="T50" fmla="*/ 748 w 2191"/>
                <a:gd name="T51" fmla="*/ 1163 h 2176"/>
                <a:gd name="T52" fmla="*/ 766 w 2191"/>
                <a:gd name="T53" fmla="*/ 1193 h 2176"/>
                <a:gd name="T54" fmla="*/ 797 w 2191"/>
                <a:gd name="T55" fmla="*/ 1238 h 2176"/>
                <a:gd name="T56" fmla="*/ 831 w 2191"/>
                <a:gd name="T57" fmla="*/ 1281 h 2176"/>
                <a:gd name="T58" fmla="*/ 908 w 2191"/>
                <a:gd name="T59" fmla="*/ 1359 h 2176"/>
                <a:gd name="T60" fmla="*/ 951 w 2191"/>
                <a:gd name="T61" fmla="*/ 1392 h 2176"/>
                <a:gd name="T62" fmla="*/ 996 w 2191"/>
                <a:gd name="T63" fmla="*/ 1423 h 2176"/>
                <a:gd name="T64" fmla="*/ 1025 w 2191"/>
                <a:gd name="T65" fmla="*/ 1441 h 2176"/>
                <a:gd name="T66" fmla="*/ 1868 w 2191"/>
                <a:gd name="T67" fmla="*/ 1285 h 2176"/>
                <a:gd name="T68" fmla="*/ 1080 w 2191"/>
                <a:gd name="T69" fmla="*/ 1412 h 2176"/>
                <a:gd name="T70" fmla="*/ 868 w 2191"/>
                <a:gd name="T71" fmla="*/ 1245 h 2176"/>
                <a:gd name="T72" fmla="*/ 778 w 2191"/>
                <a:gd name="T73" fmla="*/ 1109 h 2176"/>
                <a:gd name="T74" fmla="*/ 905 w 2191"/>
                <a:gd name="T75" fmla="*/ 322 h 2176"/>
                <a:gd name="T76" fmla="*/ 1868 w 2191"/>
                <a:gd name="T77" fmla="*/ 322 h 2176"/>
                <a:gd name="T78" fmla="*/ 1483 w 2191"/>
                <a:gd name="T79" fmla="*/ 435 h 2176"/>
                <a:gd name="T80" fmla="*/ 1351 w 2191"/>
                <a:gd name="T81" fmla="*/ 436 h 2176"/>
                <a:gd name="T82" fmla="*/ 1007 w 2191"/>
                <a:gd name="T83" fmla="*/ 780 h 2176"/>
                <a:gd name="T84" fmla="*/ 1351 w 2191"/>
                <a:gd name="T85" fmla="*/ 384 h 2176"/>
                <a:gd name="T86" fmla="*/ 1483 w 2191"/>
                <a:gd name="T87" fmla="*/ 435 h 2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91" h="2176">
                  <a:moveTo>
                    <a:pt x="1805" y="386"/>
                  </a:moveTo>
                  <a:cubicBezTo>
                    <a:pt x="1574" y="155"/>
                    <a:pt x="1199" y="155"/>
                    <a:pt x="968" y="386"/>
                  </a:cubicBezTo>
                  <a:cubicBezTo>
                    <a:pt x="738" y="616"/>
                    <a:pt x="738" y="991"/>
                    <a:pt x="968" y="1222"/>
                  </a:cubicBezTo>
                  <a:cubicBezTo>
                    <a:pt x="1084" y="1337"/>
                    <a:pt x="1235" y="1395"/>
                    <a:pt x="1387" y="1395"/>
                  </a:cubicBezTo>
                  <a:cubicBezTo>
                    <a:pt x="1538" y="1395"/>
                    <a:pt x="1690" y="1337"/>
                    <a:pt x="1805" y="1222"/>
                  </a:cubicBezTo>
                  <a:cubicBezTo>
                    <a:pt x="2036" y="991"/>
                    <a:pt x="2036" y="616"/>
                    <a:pt x="1805" y="386"/>
                  </a:cubicBezTo>
                  <a:close/>
                  <a:moveTo>
                    <a:pt x="1768" y="1185"/>
                  </a:moveTo>
                  <a:cubicBezTo>
                    <a:pt x="1666" y="1287"/>
                    <a:pt x="1531" y="1343"/>
                    <a:pt x="1387" y="1343"/>
                  </a:cubicBezTo>
                  <a:cubicBezTo>
                    <a:pt x="1243" y="1343"/>
                    <a:pt x="1107" y="1287"/>
                    <a:pt x="1005" y="1185"/>
                  </a:cubicBezTo>
                  <a:cubicBezTo>
                    <a:pt x="903" y="1083"/>
                    <a:pt x="847" y="948"/>
                    <a:pt x="847" y="804"/>
                  </a:cubicBezTo>
                  <a:cubicBezTo>
                    <a:pt x="847" y="660"/>
                    <a:pt x="903" y="524"/>
                    <a:pt x="1005" y="422"/>
                  </a:cubicBezTo>
                  <a:cubicBezTo>
                    <a:pt x="1107" y="320"/>
                    <a:pt x="1243" y="264"/>
                    <a:pt x="1387" y="264"/>
                  </a:cubicBezTo>
                  <a:cubicBezTo>
                    <a:pt x="1531" y="264"/>
                    <a:pt x="1666" y="320"/>
                    <a:pt x="1768" y="422"/>
                  </a:cubicBezTo>
                  <a:cubicBezTo>
                    <a:pt x="1870" y="524"/>
                    <a:pt x="1926" y="660"/>
                    <a:pt x="1926" y="804"/>
                  </a:cubicBezTo>
                  <a:cubicBezTo>
                    <a:pt x="1926" y="948"/>
                    <a:pt x="1870" y="1083"/>
                    <a:pt x="1768" y="1185"/>
                  </a:cubicBezTo>
                  <a:close/>
                  <a:moveTo>
                    <a:pt x="1905" y="286"/>
                  </a:moveTo>
                  <a:cubicBezTo>
                    <a:pt x="1619" y="0"/>
                    <a:pt x="1154" y="0"/>
                    <a:pt x="868" y="286"/>
                  </a:cubicBezTo>
                  <a:cubicBezTo>
                    <a:pt x="662" y="492"/>
                    <a:pt x="598" y="801"/>
                    <a:pt x="705" y="1073"/>
                  </a:cubicBezTo>
                  <a:cubicBezTo>
                    <a:pt x="711" y="1087"/>
                    <a:pt x="718" y="1101"/>
                    <a:pt x="724" y="1115"/>
                  </a:cubicBezTo>
                  <a:cubicBezTo>
                    <a:pt x="641" y="1197"/>
                    <a:pt x="641" y="1197"/>
                    <a:pt x="641" y="1197"/>
                  </a:cubicBezTo>
                  <a:cubicBezTo>
                    <a:pt x="614" y="1224"/>
                    <a:pt x="614" y="1268"/>
                    <a:pt x="641" y="1295"/>
                  </a:cubicBezTo>
                  <a:cubicBezTo>
                    <a:pt x="650" y="1304"/>
                    <a:pt x="650" y="1304"/>
                    <a:pt x="650" y="1304"/>
                  </a:cubicBezTo>
                  <a:cubicBezTo>
                    <a:pt x="60" y="1894"/>
                    <a:pt x="60" y="1894"/>
                    <a:pt x="60" y="1894"/>
                  </a:cubicBezTo>
                  <a:cubicBezTo>
                    <a:pt x="0" y="1954"/>
                    <a:pt x="0" y="2053"/>
                    <a:pt x="60" y="2113"/>
                  </a:cubicBezTo>
                  <a:cubicBezTo>
                    <a:pt x="77" y="2130"/>
                    <a:pt x="77" y="2130"/>
                    <a:pt x="77" y="2130"/>
                  </a:cubicBezTo>
                  <a:cubicBezTo>
                    <a:pt x="106" y="2160"/>
                    <a:pt x="145" y="2176"/>
                    <a:pt x="187" y="2176"/>
                  </a:cubicBezTo>
                  <a:cubicBezTo>
                    <a:pt x="229" y="2176"/>
                    <a:pt x="268" y="2160"/>
                    <a:pt x="297" y="2130"/>
                  </a:cubicBezTo>
                  <a:cubicBezTo>
                    <a:pt x="887" y="1540"/>
                    <a:pt x="887" y="1540"/>
                    <a:pt x="887" y="1540"/>
                  </a:cubicBezTo>
                  <a:cubicBezTo>
                    <a:pt x="894" y="1548"/>
                    <a:pt x="894" y="1548"/>
                    <a:pt x="894" y="1548"/>
                  </a:cubicBezTo>
                  <a:cubicBezTo>
                    <a:pt x="907" y="1561"/>
                    <a:pt x="925" y="1568"/>
                    <a:pt x="943" y="1568"/>
                  </a:cubicBezTo>
                  <a:cubicBezTo>
                    <a:pt x="961" y="1568"/>
                    <a:pt x="979" y="1561"/>
                    <a:pt x="992" y="1548"/>
                  </a:cubicBezTo>
                  <a:cubicBezTo>
                    <a:pt x="1074" y="1466"/>
                    <a:pt x="1074" y="1466"/>
                    <a:pt x="1074" y="1466"/>
                  </a:cubicBezTo>
                  <a:cubicBezTo>
                    <a:pt x="1088" y="1473"/>
                    <a:pt x="1103" y="1480"/>
                    <a:pt x="1117" y="1485"/>
                  </a:cubicBezTo>
                  <a:cubicBezTo>
                    <a:pt x="1205" y="1520"/>
                    <a:pt x="1296" y="1537"/>
                    <a:pt x="1387" y="1537"/>
                  </a:cubicBezTo>
                  <a:cubicBezTo>
                    <a:pt x="1578" y="1537"/>
                    <a:pt x="1765" y="1462"/>
                    <a:pt x="1905" y="1322"/>
                  </a:cubicBezTo>
                  <a:cubicBezTo>
                    <a:pt x="2191" y="1036"/>
                    <a:pt x="2191" y="571"/>
                    <a:pt x="1905" y="286"/>
                  </a:cubicBezTo>
                  <a:close/>
                  <a:moveTo>
                    <a:pt x="260" y="2093"/>
                  </a:moveTo>
                  <a:cubicBezTo>
                    <a:pt x="221" y="2133"/>
                    <a:pt x="153" y="2133"/>
                    <a:pt x="114" y="2093"/>
                  </a:cubicBezTo>
                  <a:cubicBezTo>
                    <a:pt x="97" y="2077"/>
                    <a:pt x="97" y="2077"/>
                    <a:pt x="97" y="2077"/>
                  </a:cubicBezTo>
                  <a:cubicBezTo>
                    <a:pt x="57" y="2036"/>
                    <a:pt x="57" y="1971"/>
                    <a:pt x="97" y="1930"/>
                  </a:cubicBezTo>
                  <a:cubicBezTo>
                    <a:pt x="687" y="1340"/>
                    <a:pt x="687" y="1340"/>
                    <a:pt x="687" y="1340"/>
                  </a:cubicBezTo>
                  <a:cubicBezTo>
                    <a:pt x="850" y="1504"/>
                    <a:pt x="850" y="1504"/>
                    <a:pt x="850" y="1504"/>
                  </a:cubicBezTo>
                  <a:lnTo>
                    <a:pt x="260" y="2093"/>
                  </a:lnTo>
                  <a:close/>
                  <a:moveTo>
                    <a:pt x="955" y="1511"/>
                  </a:moveTo>
                  <a:cubicBezTo>
                    <a:pt x="948" y="1518"/>
                    <a:pt x="938" y="1518"/>
                    <a:pt x="931" y="1511"/>
                  </a:cubicBezTo>
                  <a:cubicBezTo>
                    <a:pt x="923" y="1504"/>
                    <a:pt x="923" y="1504"/>
                    <a:pt x="923" y="1504"/>
                  </a:cubicBezTo>
                  <a:cubicBezTo>
                    <a:pt x="923" y="1504"/>
                    <a:pt x="923" y="1504"/>
                    <a:pt x="923" y="1504"/>
                  </a:cubicBezTo>
                  <a:cubicBezTo>
                    <a:pt x="687" y="1267"/>
                    <a:pt x="687" y="1267"/>
                    <a:pt x="687" y="1267"/>
                  </a:cubicBezTo>
                  <a:cubicBezTo>
                    <a:pt x="687" y="1267"/>
                    <a:pt x="687" y="1267"/>
                    <a:pt x="687" y="1267"/>
                  </a:cubicBezTo>
                  <a:cubicBezTo>
                    <a:pt x="678" y="1258"/>
                    <a:pt x="678" y="1258"/>
                    <a:pt x="678" y="1258"/>
                  </a:cubicBezTo>
                  <a:cubicBezTo>
                    <a:pt x="671" y="1252"/>
                    <a:pt x="671" y="1241"/>
                    <a:pt x="678" y="1234"/>
                  </a:cubicBezTo>
                  <a:cubicBezTo>
                    <a:pt x="748" y="1163"/>
                    <a:pt x="748" y="1163"/>
                    <a:pt x="748" y="1163"/>
                  </a:cubicBezTo>
                  <a:cubicBezTo>
                    <a:pt x="750" y="1167"/>
                    <a:pt x="753" y="1171"/>
                    <a:pt x="755" y="1174"/>
                  </a:cubicBezTo>
                  <a:cubicBezTo>
                    <a:pt x="759" y="1181"/>
                    <a:pt x="762" y="1187"/>
                    <a:pt x="766" y="1193"/>
                  </a:cubicBezTo>
                  <a:cubicBezTo>
                    <a:pt x="772" y="1202"/>
                    <a:pt x="778" y="1212"/>
                    <a:pt x="785" y="1221"/>
                  </a:cubicBezTo>
                  <a:cubicBezTo>
                    <a:pt x="789" y="1227"/>
                    <a:pt x="793" y="1233"/>
                    <a:pt x="797" y="1238"/>
                  </a:cubicBezTo>
                  <a:cubicBezTo>
                    <a:pt x="804" y="1248"/>
                    <a:pt x="812" y="1258"/>
                    <a:pt x="820" y="1267"/>
                  </a:cubicBezTo>
                  <a:cubicBezTo>
                    <a:pt x="824" y="1272"/>
                    <a:pt x="827" y="1277"/>
                    <a:pt x="831" y="1281"/>
                  </a:cubicBezTo>
                  <a:cubicBezTo>
                    <a:pt x="843" y="1295"/>
                    <a:pt x="855" y="1309"/>
                    <a:pt x="868" y="1322"/>
                  </a:cubicBezTo>
                  <a:cubicBezTo>
                    <a:pt x="881" y="1335"/>
                    <a:pt x="895" y="1347"/>
                    <a:pt x="908" y="1359"/>
                  </a:cubicBezTo>
                  <a:cubicBezTo>
                    <a:pt x="913" y="1363"/>
                    <a:pt x="918" y="1366"/>
                    <a:pt x="923" y="1370"/>
                  </a:cubicBezTo>
                  <a:cubicBezTo>
                    <a:pt x="932" y="1378"/>
                    <a:pt x="941" y="1385"/>
                    <a:pt x="951" y="1392"/>
                  </a:cubicBezTo>
                  <a:cubicBezTo>
                    <a:pt x="956" y="1397"/>
                    <a:pt x="962" y="1401"/>
                    <a:pt x="968" y="1405"/>
                  </a:cubicBezTo>
                  <a:cubicBezTo>
                    <a:pt x="977" y="1411"/>
                    <a:pt x="986" y="1417"/>
                    <a:pt x="996" y="1423"/>
                  </a:cubicBezTo>
                  <a:cubicBezTo>
                    <a:pt x="1002" y="1427"/>
                    <a:pt x="1008" y="1431"/>
                    <a:pt x="1014" y="1435"/>
                  </a:cubicBezTo>
                  <a:cubicBezTo>
                    <a:pt x="1018" y="1437"/>
                    <a:pt x="1022" y="1439"/>
                    <a:pt x="1025" y="1441"/>
                  </a:cubicBezTo>
                  <a:lnTo>
                    <a:pt x="955" y="1511"/>
                  </a:lnTo>
                  <a:close/>
                  <a:moveTo>
                    <a:pt x="1868" y="1285"/>
                  </a:moveTo>
                  <a:cubicBezTo>
                    <a:pt x="1676" y="1478"/>
                    <a:pt x="1389" y="1537"/>
                    <a:pt x="1136" y="1437"/>
                  </a:cubicBezTo>
                  <a:cubicBezTo>
                    <a:pt x="1117" y="1430"/>
                    <a:pt x="1098" y="1421"/>
                    <a:pt x="1080" y="1412"/>
                  </a:cubicBezTo>
                  <a:cubicBezTo>
                    <a:pt x="1015" y="1379"/>
                    <a:pt x="956" y="1337"/>
                    <a:pt x="905" y="1285"/>
                  </a:cubicBezTo>
                  <a:cubicBezTo>
                    <a:pt x="892" y="1272"/>
                    <a:pt x="880" y="1259"/>
                    <a:pt x="868" y="1245"/>
                  </a:cubicBezTo>
                  <a:cubicBezTo>
                    <a:pt x="832" y="1203"/>
                    <a:pt x="802" y="1157"/>
                    <a:pt x="778" y="1109"/>
                  </a:cubicBezTo>
                  <a:cubicBezTo>
                    <a:pt x="778" y="1109"/>
                    <a:pt x="778" y="1109"/>
                    <a:pt x="778" y="1109"/>
                  </a:cubicBezTo>
                  <a:cubicBezTo>
                    <a:pt x="769" y="1091"/>
                    <a:pt x="761" y="1073"/>
                    <a:pt x="754" y="1054"/>
                  </a:cubicBezTo>
                  <a:cubicBezTo>
                    <a:pt x="654" y="802"/>
                    <a:pt x="713" y="514"/>
                    <a:pt x="905" y="322"/>
                  </a:cubicBezTo>
                  <a:cubicBezTo>
                    <a:pt x="1038" y="190"/>
                    <a:pt x="1212" y="123"/>
                    <a:pt x="1387" y="123"/>
                  </a:cubicBezTo>
                  <a:cubicBezTo>
                    <a:pt x="1561" y="123"/>
                    <a:pt x="1735" y="190"/>
                    <a:pt x="1868" y="322"/>
                  </a:cubicBezTo>
                  <a:cubicBezTo>
                    <a:pt x="2134" y="588"/>
                    <a:pt x="2134" y="1020"/>
                    <a:pt x="1868" y="1285"/>
                  </a:cubicBezTo>
                  <a:close/>
                  <a:moveTo>
                    <a:pt x="1483" y="435"/>
                  </a:moveTo>
                  <a:cubicBezTo>
                    <a:pt x="1479" y="449"/>
                    <a:pt x="1464" y="456"/>
                    <a:pt x="1450" y="452"/>
                  </a:cubicBezTo>
                  <a:cubicBezTo>
                    <a:pt x="1418" y="441"/>
                    <a:pt x="1385" y="436"/>
                    <a:pt x="1351" y="436"/>
                  </a:cubicBezTo>
                  <a:cubicBezTo>
                    <a:pt x="1176" y="436"/>
                    <a:pt x="1033" y="579"/>
                    <a:pt x="1033" y="754"/>
                  </a:cubicBezTo>
                  <a:cubicBezTo>
                    <a:pt x="1033" y="768"/>
                    <a:pt x="1021" y="780"/>
                    <a:pt x="1007" y="780"/>
                  </a:cubicBezTo>
                  <a:cubicBezTo>
                    <a:pt x="993" y="780"/>
                    <a:pt x="981" y="768"/>
                    <a:pt x="981" y="754"/>
                  </a:cubicBezTo>
                  <a:cubicBezTo>
                    <a:pt x="981" y="550"/>
                    <a:pt x="1147" y="384"/>
                    <a:pt x="1351" y="384"/>
                  </a:cubicBezTo>
                  <a:cubicBezTo>
                    <a:pt x="1390" y="384"/>
                    <a:pt x="1429" y="390"/>
                    <a:pt x="1466" y="402"/>
                  </a:cubicBezTo>
                  <a:cubicBezTo>
                    <a:pt x="1480" y="407"/>
                    <a:pt x="1487" y="421"/>
                    <a:pt x="1483" y="4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5081942" y="2180167"/>
            <a:ext cx="879162" cy="879162"/>
            <a:chOff x="5043842" y="2142067"/>
            <a:chExt cx="955362" cy="955362"/>
          </a:xfrm>
        </p:grpSpPr>
        <p:sp>
          <p:nvSpPr>
            <p:cNvPr id="49" name="Oval 48"/>
            <p:cNvSpPr/>
            <p:nvPr/>
          </p:nvSpPr>
          <p:spPr>
            <a:xfrm>
              <a:off x="5043842" y="2142067"/>
              <a:ext cx="955362" cy="955362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0" name="Oval 9"/>
            <p:cNvSpPr/>
            <p:nvPr/>
          </p:nvSpPr>
          <p:spPr>
            <a:xfrm>
              <a:off x="5131187" y="2232610"/>
              <a:ext cx="780672" cy="78067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1" name="Freeform 112"/>
            <p:cNvSpPr>
              <a:spLocks noEditPoints="1"/>
            </p:cNvSpPr>
            <p:nvPr/>
          </p:nvSpPr>
          <p:spPr bwMode="auto">
            <a:xfrm>
              <a:off x="5289672" y="2441756"/>
              <a:ext cx="447236" cy="391102"/>
            </a:xfrm>
            <a:custGeom>
              <a:avLst/>
              <a:gdLst>
                <a:gd name="T0" fmla="*/ 596 w 1591"/>
                <a:gd name="T1" fmla="*/ 323 h 1390"/>
                <a:gd name="T2" fmla="*/ 586 w 1591"/>
                <a:gd name="T3" fmla="*/ 846 h 1390"/>
                <a:gd name="T4" fmla="*/ 1180 w 1591"/>
                <a:gd name="T5" fmla="*/ 1183 h 1390"/>
                <a:gd name="T6" fmla="*/ 1199 w 1591"/>
                <a:gd name="T7" fmla="*/ 1182 h 1390"/>
                <a:gd name="T8" fmla="*/ 1208 w 1591"/>
                <a:gd name="T9" fmla="*/ 20 h 1390"/>
                <a:gd name="T10" fmla="*/ 1180 w 1591"/>
                <a:gd name="T11" fmla="*/ 3 h 1390"/>
                <a:gd name="T12" fmla="*/ 624 w 1591"/>
                <a:gd name="T13" fmla="*/ 835 h 1390"/>
                <a:gd name="T14" fmla="*/ 1171 w 1591"/>
                <a:gd name="T15" fmla="*/ 52 h 1390"/>
                <a:gd name="T16" fmla="*/ 195 w 1591"/>
                <a:gd name="T17" fmla="*/ 428 h 1390"/>
                <a:gd name="T18" fmla="*/ 544 w 1591"/>
                <a:gd name="T19" fmla="*/ 372 h 1390"/>
                <a:gd name="T20" fmla="*/ 544 w 1591"/>
                <a:gd name="T21" fmla="*/ 334 h 1390"/>
                <a:gd name="T22" fmla="*/ 168 w 1591"/>
                <a:gd name="T23" fmla="*/ 401 h 1390"/>
                <a:gd name="T24" fmla="*/ 111 w 1591"/>
                <a:gd name="T25" fmla="*/ 492 h 1390"/>
                <a:gd name="T26" fmla="*/ 0 w 1591"/>
                <a:gd name="T27" fmla="*/ 574 h 1390"/>
                <a:gd name="T28" fmla="*/ 82 w 1591"/>
                <a:gd name="T29" fmla="*/ 694 h 1390"/>
                <a:gd name="T30" fmla="*/ 112 w 1591"/>
                <a:gd name="T31" fmla="*/ 694 h 1390"/>
                <a:gd name="T32" fmla="*/ 328 w 1591"/>
                <a:gd name="T33" fmla="*/ 851 h 1390"/>
                <a:gd name="T34" fmla="*/ 563 w 1591"/>
                <a:gd name="T35" fmla="*/ 832 h 1390"/>
                <a:gd name="T36" fmla="*/ 328 w 1591"/>
                <a:gd name="T37" fmla="*/ 813 h 1390"/>
                <a:gd name="T38" fmla="*/ 139 w 1591"/>
                <a:gd name="T39" fmla="*/ 624 h 1390"/>
                <a:gd name="T40" fmla="*/ 195 w 1591"/>
                <a:gd name="T41" fmla="*/ 428 h 1390"/>
                <a:gd name="T42" fmla="*/ 38 w 1591"/>
                <a:gd name="T43" fmla="*/ 612 h 1390"/>
                <a:gd name="T44" fmla="*/ 82 w 1591"/>
                <a:gd name="T45" fmla="*/ 530 h 1390"/>
                <a:gd name="T46" fmla="*/ 101 w 1591"/>
                <a:gd name="T47" fmla="*/ 562 h 1390"/>
                <a:gd name="T48" fmla="*/ 104 w 1591"/>
                <a:gd name="T49" fmla="*/ 656 h 1390"/>
                <a:gd name="T50" fmla="*/ 1591 w 1591"/>
                <a:gd name="T51" fmla="*/ 593 h 1390"/>
                <a:gd name="T52" fmla="*/ 1498 w 1591"/>
                <a:gd name="T53" fmla="*/ 936 h 1390"/>
                <a:gd name="T54" fmla="*/ 1481 w 1591"/>
                <a:gd name="T55" fmla="*/ 909 h 1390"/>
                <a:gd name="T56" fmla="*/ 1481 w 1591"/>
                <a:gd name="T57" fmla="*/ 277 h 1390"/>
                <a:gd name="T58" fmla="*/ 1515 w 1591"/>
                <a:gd name="T59" fmla="*/ 261 h 1390"/>
                <a:gd name="T60" fmla="*/ 1406 w 1591"/>
                <a:gd name="T61" fmla="*/ 371 h 1390"/>
                <a:gd name="T62" fmla="*/ 1406 w 1591"/>
                <a:gd name="T63" fmla="*/ 815 h 1390"/>
                <a:gd name="T64" fmla="*/ 1382 w 1591"/>
                <a:gd name="T65" fmla="*/ 826 h 1390"/>
                <a:gd name="T66" fmla="*/ 1410 w 1591"/>
                <a:gd name="T67" fmla="*/ 593 h 1390"/>
                <a:gd name="T68" fmla="*/ 1382 w 1591"/>
                <a:gd name="T69" fmla="*/ 360 h 1390"/>
                <a:gd name="T70" fmla="*/ 1292 w 1591"/>
                <a:gd name="T71" fmla="*/ 489 h 1390"/>
                <a:gd name="T72" fmla="*/ 1292 w 1591"/>
                <a:gd name="T73" fmla="*/ 697 h 1390"/>
                <a:gd name="T74" fmla="*/ 1269 w 1591"/>
                <a:gd name="T75" fmla="*/ 712 h 1390"/>
                <a:gd name="T76" fmla="*/ 1266 w 1591"/>
                <a:gd name="T77" fmla="*/ 593 h 1390"/>
                <a:gd name="T78" fmla="*/ 1269 w 1591"/>
                <a:gd name="T79" fmla="*/ 474 h 1390"/>
                <a:gd name="T80" fmla="*/ 499 w 1591"/>
                <a:gd name="T81" fmla="*/ 890 h 1390"/>
                <a:gd name="T82" fmla="*/ 417 w 1591"/>
                <a:gd name="T83" fmla="*/ 1390 h 1390"/>
                <a:gd name="T84" fmla="*/ 297 w 1591"/>
                <a:gd name="T85" fmla="*/ 1307 h 1390"/>
                <a:gd name="T86" fmla="*/ 316 w 1591"/>
                <a:gd name="T87" fmla="*/ 871 h 1390"/>
                <a:gd name="T88" fmla="*/ 335 w 1591"/>
                <a:gd name="T89" fmla="*/ 1307 h 1390"/>
                <a:gd name="T90" fmla="*/ 417 w 1591"/>
                <a:gd name="T91" fmla="*/ 1352 h 1390"/>
                <a:gd name="T92" fmla="*/ 462 w 1591"/>
                <a:gd name="T93" fmla="*/ 890 h 1390"/>
                <a:gd name="T94" fmla="*/ 499 w 1591"/>
                <a:gd name="T95" fmla="*/ 8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91" h="1390">
                  <a:moveTo>
                    <a:pt x="1180" y="3"/>
                  </a:moveTo>
                  <a:cubicBezTo>
                    <a:pt x="596" y="323"/>
                    <a:pt x="596" y="323"/>
                    <a:pt x="596" y="323"/>
                  </a:cubicBezTo>
                  <a:cubicBezTo>
                    <a:pt x="590" y="326"/>
                    <a:pt x="586" y="333"/>
                    <a:pt x="586" y="340"/>
                  </a:cubicBezTo>
                  <a:cubicBezTo>
                    <a:pt x="586" y="846"/>
                    <a:pt x="586" y="846"/>
                    <a:pt x="586" y="846"/>
                  </a:cubicBezTo>
                  <a:cubicBezTo>
                    <a:pt x="586" y="853"/>
                    <a:pt x="590" y="860"/>
                    <a:pt x="596" y="863"/>
                  </a:cubicBezTo>
                  <a:cubicBezTo>
                    <a:pt x="1180" y="1183"/>
                    <a:pt x="1180" y="1183"/>
                    <a:pt x="1180" y="1183"/>
                  </a:cubicBezTo>
                  <a:cubicBezTo>
                    <a:pt x="1183" y="1184"/>
                    <a:pt x="1186" y="1185"/>
                    <a:pt x="1189" y="1185"/>
                  </a:cubicBezTo>
                  <a:cubicBezTo>
                    <a:pt x="1193" y="1185"/>
                    <a:pt x="1196" y="1184"/>
                    <a:pt x="1199" y="1182"/>
                  </a:cubicBezTo>
                  <a:cubicBezTo>
                    <a:pt x="1205" y="1179"/>
                    <a:pt x="1208" y="1173"/>
                    <a:pt x="1208" y="1166"/>
                  </a:cubicBezTo>
                  <a:cubicBezTo>
                    <a:pt x="1208" y="20"/>
                    <a:pt x="1208" y="20"/>
                    <a:pt x="1208" y="20"/>
                  </a:cubicBezTo>
                  <a:cubicBezTo>
                    <a:pt x="1208" y="13"/>
                    <a:pt x="1205" y="7"/>
                    <a:pt x="1199" y="3"/>
                  </a:cubicBezTo>
                  <a:cubicBezTo>
                    <a:pt x="1193" y="0"/>
                    <a:pt x="1186" y="0"/>
                    <a:pt x="1180" y="3"/>
                  </a:cubicBezTo>
                  <a:close/>
                  <a:moveTo>
                    <a:pt x="1171" y="1134"/>
                  </a:moveTo>
                  <a:cubicBezTo>
                    <a:pt x="624" y="835"/>
                    <a:pt x="624" y="835"/>
                    <a:pt x="624" y="835"/>
                  </a:cubicBezTo>
                  <a:cubicBezTo>
                    <a:pt x="624" y="351"/>
                    <a:pt x="624" y="351"/>
                    <a:pt x="624" y="351"/>
                  </a:cubicBezTo>
                  <a:cubicBezTo>
                    <a:pt x="1171" y="52"/>
                    <a:pt x="1171" y="52"/>
                    <a:pt x="1171" y="52"/>
                  </a:cubicBezTo>
                  <a:lnTo>
                    <a:pt x="1171" y="1134"/>
                  </a:lnTo>
                  <a:close/>
                  <a:moveTo>
                    <a:pt x="195" y="428"/>
                  </a:moveTo>
                  <a:cubicBezTo>
                    <a:pt x="230" y="392"/>
                    <a:pt x="278" y="372"/>
                    <a:pt x="328" y="372"/>
                  </a:cubicBezTo>
                  <a:cubicBezTo>
                    <a:pt x="544" y="372"/>
                    <a:pt x="544" y="372"/>
                    <a:pt x="544" y="372"/>
                  </a:cubicBezTo>
                  <a:cubicBezTo>
                    <a:pt x="555" y="372"/>
                    <a:pt x="563" y="364"/>
                    <a:pt x="563" y="353"/>
                  </a:cubicBezTo>
                  <a:cubicBezTo>
                    <a:pt x="563" y="343"/>
                    <a:pt x="555" y="334"/>
                    <a:pt x="544" y="334"/>
                  </a:cubicBezTo>
                  <a:cubicBezTo>
                    <a:pt x="328" y="334"/>
                    <a:pt x="328" y="334"/>
                    <a:pt x="328" y="334"/>
                  </a:cubicBezTo>
                  <a:cubicBezTo>
                    <a:pt x="268" y="334"/>
                    <a:pt x="211" y="358"/>
                    <a:pt x="168" y="401"/>
                  </a:cubicBezTo>
                  <a:cubicBezTo>
                    <a:pt x="142" y="427"/>
                    <a:pt x="123" y="458"/>
                    <a:pt x="112" y="492"/>
                  </a:cubicBezTo>
                  <a:cubicBezTo>
                    <a:pt x="112" y="492"/>
                    <a:pt x="111" y="492"/>
                    <a:pt x="111" y="492"/>
                  </a:cubicBezTo>
                  <a:cubicBezTo>
                    <a:pt x="82" y="492"/>
                    <a:pt x="82" y="492"/>
                    <a:pt x="82" y="492"/>
                  </a:cubicBezTo>
                  <a:cubicBezTo>
                    <a:pt x="36" y="492"/>
                    <a:pt x="0" y="529"/>
                    <a:pt x="0" y="574"/>
                  </a:cubicBezTo>
                  <a:cubicBezTo>
                    <a:pt x="0" y="612"/>
                    <a:pt x="0" y="612"/>
                    <a:pt x="0" y="612"/>
                  </a:cubicBezTo>
                  <a:cubicBezTo>
                    <a:pt x="0" y="657"/>
                    <a:pt x="36" y="694"/>
                    <a:pt x="82" y="694"/>
                  </a:cubicBezTo>
                  <a:cubicBezTo>
                    <a:pt x="111" y="694"/>
                    <a:pt x="111" y="694"/>
                    <a:pt x="111" y="694"/>
                  </a:cubicBezTo>
                  <a:cubicBezTo>
                    <a:pt x="111" y="694"/>
                    <a:pt x="112" y="694"/>
                    <a:pt x="112" y="694"/>
                  </a:cubicBezTo>
                  <a:cubicBezTo>
                    <a:pt x="123" y="728"/>
                    <a:pt x="142" y="759"/>
                    <a:pt x="168" y="785"/>
                  </a:cubicBezTo>
                  <a:cubicBezTo>
                    <a:pt x="211" y="828"/>
                    <a:pt x="268" y="851"/>
                    <a:pt x="328" y="851"/>
                  </a:cubicBezTo>
                  <a:cubicBezTo>
                    <a:pt x="544" y="851"/>
                    <a:pt x="544" y="851"/>
                    <a:pt x="544" y="851"/>
                  </a:cubicBezTo>
                  <a:cubicBezTo>
                    <a:pt x="555" y="851"/>
                    <a:pt x="563" y="843"/>
                    <a:pt x="563" y="832"/>
                  </a:cubicBezTo>
                  <a:cubicBezTo>
                    <a:pt x="563" y="822"/>
                    <a:pt x="555" y="813"/>
                    <a:pt x="544" y="813"/>
                  </a:cubicBezTo>
                  <a:cubicBezTo>
                    <a:pt x="328" y="813"/>
                    <a:pt x="328" y="813"/>
                    <a:pt x="328" y="813"/>
                  </a:cubicBezTo>
                  <a:cubicBezTo>
                    <a:pt x="278" y="813"/>
                    <a:pt x="230" y="794"/>
                    <a:pt x="194" y="758"/>
                  </a:cubicBezTo>
                  <a:cubicBezTo>
                    <a:pt x="159" y="722"/>
                    <a:pt x="139" y="675"/>
                    <a:pt x="139" y="624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9" y="511"/>
                    <a:pt x="159" y="464"/>
                    <a:pt x="195" y="428"/>
                  </a:cubicBezTo>
                  <a:close/>
                  <a:moveTo>
                    <a:pt x="82" y="656"/>
                  </a:moveTo>
                  <a:cubicBezTo>
                    <a:pt x="57" y="656"/>
                    <a:pt x="38" y="636"/>
                    <a:pt x="38" y="612"/>
                  </a:cubicBezTo>
                  <a:cubicBezTo>
                    <a:pt x="38" y="574"/>
                    <a:pt x="38" y="574"/>
                    <a:pt x="38" y="574"/>
                  </a:cubicBezTo>
                  <a:cubicBezTo>
                    <a:pt x="38" y="550"/>
                    <a:pt x="57" y="530"/>
                    <a:pt x="82" y="530"/>
                  </a:cubicBezTo>
                  <a:cubicBezTo>
                    <a:pt x="104" y="530"/>
                    <a:pt x="104" y="530"/>
                    <a:pt x="104" y="530"/>
                  </a:cubicBezTo>
                  <a:cubicBezTo>
                    <a:pt x="102" y="540"/>
                    <a:pt x="101" y="551"/>
                    <a:pt x="101" y="562"/>
                  </a:cubicBezTo>
                  <a:cubicBezTo>
                    <a:pt x="101" y="624"/>
                    <a:pt x="101" y="624"/>
                    <a:pt x="101" y="624"/>
                  </a:cubicBezTo>
                  <a:cubicBezTo>
                    <a:pt x="101" y="635"/>
                    <a:pt x="102" y="646"/>
                    <a:pt x="104" y="656"/>
                  </a:cubicBezTo>
                  <a:lnTo>
                    <a:pt x="82" y="656"/>
                  </a:lnTo>
                  <a:close/>
                  <a:moveTo>
                    <a:pt x="1591" y="593"/>
                  </a:moveTo>
                  <a:cubicBezTo>
                    <a:pt x="1591" y="709"/>
                    <a:pt x="1565" y="821"/>
                    <a:pt x="1515" y="925"/>
                  </a:cubicBezTo>
                  <a:cubicBezTo>
                    <a:pt x="1511" y="932"/>
                    <a:pt x="1505" y="936"/>
                    <a:pt x="1498" y="936"/>
                  </a:cubicBezTo>
                  <a:cubicBezTo>
                    <a:pt x="1495" y="936"/>
                    <a:pt x="1492" y="935"/>
                    <a:pt x="1489" y="934"/>
                  </a:cubicBezTo>
                  <a:cubicBezTo>
                    <a:pt x="1480" y="930"/>
                    <a:pt x="1476" y="918"/>
                    <a:pt x="1481" y="909"/>
                  </a:cubicBezTo>
                  <a:cubicBezTo>
                    <a:pt x="1529" y="810"/>
                    <a:pt x="1553" y="704"/>
                    <a:pt x="1553" y="593"/>
                  </a:cubicBezTo>
                  <a:cubicBezTo>
                    <a:pt x="1553" y="482"/>
                    <a:pt x="1529" y="376"/>
                    <a:pt x="1481" y="277"/>
                  </a:cubicBezTo>
                  <a:cubicBezTo>
                    <a:pt x="1476" y="268"/>
                    <a:pt x="1480" y="256"/>
                    <a:pt x="1489" y="252"/>
                  </a:cubicBezTo>
                  <a:cubicBezTo>
                    <a:pt x="1499" y="247"/>
                    <a:pt x="1510" y="251"/>
                    <a:pt x="1515" y="261"/>
                  </a:cubicBezTo>
                  <a:cubicBezTo>
                    <a:pt x="1565" y="365"/>
                    <a:pt x="1591" y="476"/>
                    <a:pt x="1591" y="593"/>
                  </a:cubicBezTo>
                  <a:close/>
                  <a:moveTo>
                    <a:pt x="1406" y="371"/>
                  </a:moveTo>
                  <a:cubicBezTo>
                    <a:pt x="1434" y="442"/>
                    <a:pt x="1447" y="517"/>
                    <a:pt x="1447" y="593"/>
                  </a:cubicBezTo>
                  <a:cubicBezTo>
                    <a:pt x="1447" y="669"/>
                    <a:pt x="1434" y="744"/>
                    <a:pt x="1406" y="815"/>
                  </a:cubicBezTo>
                  <a:cubicBezTo>
                    <a:pt x="1403" y="822"/>
                    <a:pt x="1396" y="827"/>
                    <a:pt x="1388" y="827"/>
                  </a:cubicBezTo>
                  <a:cubicBezTo>
                    <a:pt x="1386" y="827"/>
                    <a:pt x="1384" y="826"/>
                    <a:pt x="1382" y="826"/>
                  </a:cubicBezTo>
                  <a:cubicBezTo>
                    <a:pt x="1372" y="822"/>
                    <a:pt x="1367" y="811"/>
                    <a:pt x="1371" y="801"/>
                  </a:cubicBezTo>
                  <a:cubicBezTo>
                    <a:pt x="1396" y="735"/>
                    <a:pt x="1410" y="665"/>
                    <a:pt x="1410" y="593"/>
                  </a:cubicBezTo>
                  <a:cubicBezTo>
                    <a:pt x="1410" y="521"/>
                    <a:pt x="1396" y="451"/>
                    <a:pt x="1371" y="385"/>
                  </a:cubicBezTo>
                  <a:cubicBezTo>
                    <a:pt x="1367" y="375"/>
                    <a:pt x="1372" y="364"/>
                    <a:pt x="1382" y="360"/>
                  </a:cubicBezTo>
                  <a:cubicBezTo>
                    <a:pt x="1391" y="357"/>
                    <a:pt x="1402" y="361"/>
                    <a:pt x="1406" y="371"/>
                  </a:cubicBezTo>
                  <a:close/>
                  <a:moveTo>
                    <a:pt x="1292" y="489"/>
                  </a:moveTo>
                  <a:cubicBezTo>
                    <a:pt x="1300" y="523"/>
                    <a:pt x="1304" y="558"/>
                    <a:pt x="1304" y="593"/>
                  </a:cubicBezTo>
                  <a:cubicBezTo>
                    <a:pt x="1304" y="628"/>
                    <a:pt x="1300" y="663"/>
                    <a:pt x="1292" y="697"/>
                  </a:cubicBezTo>
                  <a:cubicBezTo>
                    <a:pt x="1290" y="706"/>
                    <a:pt x="1282" y="712"/>
                    <a:pt x="1274" y="712"/>
                  </a:cubicBezTo>
                  <a:cubicBezTo>
                    <a:pt x="1272" y="712"/>
                    <a:pt x="1271" y="712"/>
                    <a:pt x="1269" y="712"/>
                  </a:cubicBezTo>
                  <a:cubicBezTo>
                    <a:pt x="1259" y="709"/>
                    <a:pt x="1253" y="699"/>
                    <a:pt x="1255" y="689"/>
                  </a:cubicBezTo>
                  <a:cubicBezTo>
                    <a:pt x="1262" y="658"/>
                    <a:pt x="1266" y="625"/>
                    <a:pt x="1266" y="593"/>
                  </a:cubicBezTo>
                  <a:cubicBezTo>
                    <a:pt x="1266" y="561"/>
                    <a:pt x="1262" y="528"/>
                    <a:pt x="1255" y="497"/>
                  </a:cubicBezTo>
                  <a:cubicBezTo>
                    <a:pt x="1253" y="487"/>
                    <a:pt x="1259" y="477"/>
                    <a:pt x="1269" y="474"/>
                  </a:cubicBezTo>
                  <a:cubicBezTo>
                    <a:pt x="1279" y="472"/>
                    <a:pt x="1290" y="478"/>
                    <a:pt x="1292" y="489"/>
                  </a:cubicBezTo>
                  <a:close/>
                  <a:moveTo>
                    <a:pt x="499" y="890"/>
                  </a:moveTo>
                  <a:cubicBezTo>
                    <a:pt x="499" y="1307"/>
                    <a:pt x="499" y="1307"/>
                    <a:pt x="499" y="1307"/>
                  </a:cubicBezTo>
                  <a:cubicBezTo>
                    <a:pt x="499" y="1353"/>
                    <a:pt x="463" y="1390"/>
                    <a:pt x="417" y="1390"/>
                  </a:cubicBezTo>
                  <a:cubicBezTo>
                    <a:pt x="379" y="1390"/>
                    <a:pt x="379" y="1390"/>
                    <a:pt x="379" y="1390"/>
                  </a:cubicBezTo>
                  <a:cubicBezTo>
                    <a:pt x="334" y="1390"/>
                    <a:pt x="297" y="1353"/>
                    <a:pt x="297" y="1307"/>
                  </a:cubicBezTo>
                  <a:cubicBezTo>
                    <a:pt x="297" y="890"/>
                    <a:pt x="297" y="890"/>
                    <a:pt x="297" y="890"/>
                  </a:cubicBezTo>
                  <a:cubicBezTo>
                    <a:pt x="297" y="880"/>
                    <a:pt x="306" y="871"/>
                    <a:pt x="316" y="871"/>
                  </a:cubicBezTo>
                  <a:cubicBezTo>
                    <a:pt x="326" y="871"/>
                    <a:pt x="335" y="880"/>
                    <a:pt x="335" y="890"/>
                  </a:cubicBezTo>
                  <a:cubicBezTo>
                    <a:pt x="335" y="1307"/>
                    <a:pt x="335" y="1307"/>
                    <a:pt x="335" y="1307"/>
                  </a:cubicBezTo>
                  <a:cubicBezTo>
                    <a:pt x="335" y="1332"/>
                    <a:pt x="355" y="1352"/>
                    <a:pt x="379" y="1352"/>
                  </a:cubicBezTo>
                  <a:cubicBezTo>
                    <a:pt x="417" y="1352"/>
                    <a:pt x="417" y="1352"/>
                    <a:pt x="417" y="1352"/>
                  </a:cubicBezTo>
                  <a:cubicBezTo>
                    <a:pt x="442" y="1352"/>
                    <a:pt x="462" y="1332"/>
                    <a:pt x="462" y="1307"/>
                  </a:cubicBezTo>
                  <a:cubicBezTo>
                    <a:pt x="462" y="890"/>
                    <a:pt x="462" y="890"/>
                    <a:pt x="462" y="890"/>
                  </a:cubicBezTo>
                  <a:cubicBezTo>
                    <a:pt x="462" y="880"/>
                    <a:pt x="470" y="871"/>
                    <a:pt x="480" y="871"/>
                  </a:cubicBezTo>
                  <a:cubicBezTo>
                    <a:pt x="491" y="871"/>
                    <a:pt x="499" y="880"/>
                    <a:pt x="499" y="89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983371" y="2180167"/>
            <a:ext cx="879162" cy="879162"/>
            <a:chOff x="6945271" y="2142067"/>
            <a:chExt cx="955362" cy="955362"/>
          </a:xfrm>
        </p:grpSpPr>
        <p:sp>
          <p:nvSpPr>
            <p:cNvPr id="50" name="Oval 49"/>
            <p:cNvSpPr/>
            <p:nvPr/>
          </p:nvSpPr>
          <p:spPr>
            <a:xfrm>
              <a:off x="6945271" y="2142067"/>
              <a:ext cx="955362" cy="955362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11" name="Oval 10"/>
            <p:cNvSpPr/>
            <p:nvPr/>
          </p:nvSpPr>
          <p:spPr>
            <a:xfrm>
              <a:off x="7032616" y="2232610"/>
              <a:ext cx="780672" cy="780672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2" name="Freeform 13"/>
            <p:cNvSpPr>
              <a:spLocks noEditPoints="1"/>
            </p:cNvSpPr>
            <p:nvPr/>
          </p:nvSpPr>
          <p:spPr bwMode="auto">
            <a:xfrm>
              <a:off x="7235961" y="2419372"/>
              <a:ext cx="416124" cy="414933"/>
            </a:xfrm>
            <a:custGeom>
              <a:avLst/>
              <a:gdLst>
                <a:gd name="T0" fmla="*/ 500 w 932"/>
                <a:gd name="T1" fmla="*/ 442 h 930"/>
                <a:gd name="T2" fmla="*/ 923 w 932"/>
                <a:gd name="T3" fmla="*/ 442 h 930"/>
                <a:gd name="T4" fmla="*/ 932 w 932"/>
                <a:gd name="T5" fmla="*/ 433 h 930"/>
                <a:gd name="T6" fmla="*/ 500 w 932"/>
                <a:gd name="T7" fmla="*/ 0 h 930"/>
                <a:gd name="T8" fmla="*/ 491 w 932"/>
                <a:gd name="T9" fmla="*/ 9 h 930"/>
                <a:gd name="T10" fmla="*/ 491 w 932"/>
                <a:gd name="T11" fmla="*/ 433 h 930"/>
                <a:gd name="T12" fmla="*/ 500 w 932"/>
                <a:gd name="T13" fmla="*/ 442 h 930"/>
                <a:gd name="T14" fmla="*/ 509 w 932"/>
                <a:gd name="T15" fmla="*/ 18 h 930"/>
                <a:gd name="T16" fmla="*/ 914 w 932"/>
                <a:gd name="T17" fmla="*/ 424 h 930"/>
                <a:gd name="T18" fmla="*/ 509 w 932"/>
                <a:gd name="T19" fmla="*/ 424 h 930"/>
                <a:gd name="T20" fmla="*/ 509 w 932"/>
                <a:gd name="T21" fmla="*/ 18 h 930"/>
                <a:gd name="T22" fmla="*/ 442 w 932"/>
                <a:gd name="T23" fmla="*/ 494 h 930"/>
                <a:gd name="T24" fmla="*/ 442 w 932"/>
                <a:gd name="T25" fmla="*/ 74 h 930"/>
                <a:gd name="T26" fmla="*/ 433 w 932"/>
                <a:gd name="T27" fmla="*/ 65 h 930"/>
                <a:gd name="T28" fmla="*/ 0 w 932"/>
                <a:gd name="T29" fmla="*/ 498 h 930"/>
                <a:gd name="T30" fmla="*/ 433 w 932"/>
                <a:gd name="T31" fmla="*/ 930 h 930"/>
                <a:gd name="T32" fmla="*/ 750 w 932"/>
                <a:gd name="T33" fmla="*/ 792 h 930"/>
                <a:gd name="T34" fmla="*/ 752 w 932"/>
                <a:gd name="T35" fmla="*/ 786 h 930"/>
                <a:gd name="T36" fmla="*/ 749 w 932"/>
                <a:gd name="T37" fmla="*/ 779 h 930"/>
                <a:gd name="T38" fmla="*/ 442 w 932"/>
                <a:gd name="T39" fmla="*/ 494 h 930"/>
                <a:gd name="T40" fmla="*/ 433 w 932"/>
                <a:gd name="T41" fmla="*/ 912 h 930"/>
                <a:gd name="T42" fmla="*/ 18 w 932"/>
                <a:gd name="T43" fmla="*/ 498 h 930"/>
                <a:gd name="T44" fmla="*/ 424 w 932"/>
                <a:gd name="T45" fmla="*/ 83 h 930"/>
                <a:gd name="T46" fmla="*/ 424 w 932"/>
                <a:gd name="T47" fmla="*/ 498 h 930"/>
                <a:gd name="T48" fmla="*/ 427 w 932"/>
                <a:gd name="T49" fmla="*/ 504 h 930"/>
                <a:gd name="T50" fmla="*/ 731 w 932"/>
                <a:gd name="T51" fmla="*/ 786 h 930"/>
                <a:gd name="T52" fmla="*/ 433 w 932"/>
                <a:gd name="T53" fmla="*/ 912 h 930"/>
                <a:gd name="T54" fmla="*/ 923 w 932"/>
                <a:gd name="T55" fmla="*/ 489 h 930"/>
                <a:gd name="T56" fmla="*/ 500 w 932"/>
                <a:gd name="T57" fmla="*/ 489 h 930"/>
                <a:gd name="T58" fmla="*/ 491 w 932"/>
                <a:gd name="T59" fmla="*/ 494 h 930"/>
                <a:gd name="T60" fmla="*/ 494 w 932"/>
                <a:gd name="T61" fmla="*/ 504 h 930"/>
                <a:gd name="T62" fmla="*/ 517 w 932"/>
                <a:gd name="T63" fmla="*/ 526 h 930"/>
                <a:gd name="T64" fmla="*/ 821 w 932"/>
                <a:gd name="T65" fmla="*/ 774 h 930"/>
                <a:gd name="T66" fmla="*/ 827 w 932"/>
                <a:gd name="T67" fmla="*/ 776 h 930"/>
                <a:gd name="T68" fmla="*/ 833 w 932"/>
                <a:gd name="T69" fmla="*/ 773 h 930"/>
                <a:gd name="T70" fmla="*/ 932 w 932"/>
                <a:gd name="T71" fmla="*/ 498 h 930"/>
                <a:gd name="T72" fmla="*/ 923 w 932"/>
                <a:gd name="T73" fmla="*/ 489 h 930"/>
                <a:gd name="T74" fmla="*/ 825 w 932"/>
                <a:gd name="T75" fmla="*/ 754 h 930"/>
                <a:gd name="T76" fmla="*/ 529 w 932"/>
                <a:gd name="T77" fmla="*/ 513 h 930"/>
                <a:gd name="T78" fmla="*/ 522 w 932"/>
                <a:gd name="T79" fmla="*/ 507 h 930"/>
                <a:gd name="T80" fmla="*/ 914 w 932"/>
                <a:gd name="T81" fmla="*/ 507 h 930"/>
                <a:gd name="T82" fmla="*/ 825 w 932"/>
                <a:gd name="T83" fmla="*/ 754 h 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32" h="930">
                  <a:moveTo>
                    <a:pt x="500" y="442"/>
                  </a:moveTo>
                  <a:cubicBezTo>
                    <a:pt x="923" y="442"/>
                    <a:pt x="923" y="442"/>
                    <a:pt x="923" y="442"/>
                  </a:cubicBezTo>
                  <a:cubicBezTo>
                    <a:pt x="928" y="442"/>
                    <a:pt x="932" y="438"/>
                    <a:pt x="932" y="433"/>
                  </a:cubicBezTo>
                  <a:cubicBezTo>
                    <a:pt x="932" y="194"/>
                    <a:pt x="738" y="0"/>
                    <a:pt x="500" y="0"/>
                  </a:cubicBezTo>
                  <a:cubicBezTo>
                    <a:pt x="495" y="0"/>
                    <a:pt x="491" y="4"/>
                    <a:pt x="491" y="9"/>
                  </a:cubicBezTo>
                  <a:cubicBezTo>
                    <a:pt x="491" y="433"/>
                    <a:pt x="491" y="433"/>
                    <a:pt x="491" y="433"/>
                  </a:cubicBezTo>
                  <a:cubicBezTo>
                    <a:pt x="491" y="438"/>
                    <a:pt x="495" y="442"/>
                    <a:pt x="500" y="442"/>
                  </a:cubicBezTo>
                  <a:close/>
                  <a:moveTo>
                    <a:pt x="509" y="18"/>
                  </a:moveTo>
                  <a:cubicBezTo>
                    <a:pt x="730" y="23"/>
                    <a:pt x="910" y="202"/>
                    <a:pt x="914" y="424"/>
                  </a:cubicBezTo>
                  <a:cubicBezTo>
                    <a:pt x="509" y="424"/>
                    <a:pt x="509" y="424"/>
                    <a:pt x="509" y="424"/>
                  </a:cubicBezTo>
                  <a:lnTo>
                    <a:pt x="509" y="18"/>
                  </a:lnTo>
                  <a:close/>
                  <a:moveTo>
                    <a:pt x="442" y="494"/>
                  </a:moveTo>
                  <a:cubicBezTo>
                    <a:pt x="442" y="74"/>
                    <a:pt x="442" y="74"/>
                    <a:pt x="442" y="74"/>
                  </a:cubicBezTo>
                  <a:cubicBezTo>
                    <a:pt x="442" y="69"/>
                    <a:pt x="438" y="65"/>
                    <a:pt x="433" y="65"/>
                  </a:cubicBezTo>
                  <a:cubicBezTo>
                    <a:pt x="194" y="65"/>
                    <a:pt x="0" y="259"/>
                    <a:pt x="0" y="498"/>
                  </a:cubicBezTo>
                  <a:cubicBezTo>
                    <a:pt x="0" y="736"/>
                    <a:pt x="194" y="930"/>
                    <a:pt x="433" y="930"/>
                  </a:cubicBezTo>
                  <a:cubicBezTo>
                    <a:pt x="553" y="930"/>
                    <a:pt x="668" y="880"/>
                    <a:pt x="750" y="792"/>
                  </a:cubicBezTo>
                  <a:cubicBezTo>
                    <a:pt x="751" y="790"/>
                    <a:pt x="752" y="788"/>
                    <a:pt x="752" y="786"/>
                  </a:cubicBezTo>
                  <a:cubicBezTo>
                    <a:pt x="752" y="783"/>
                    <a:pt x="751" y="781"/>
                    <a:pt x="749" y="779"/>
                  </a:cubicBezTo>
                  <a:lnTo>
                    <a:pt x="442" y="494"/>
                  </a:lnTo>
                  <a:close/>
                  <a:moveTo>
                    <a:pt x="433" y="912"/>
                  </a:moveTo>
                  <a:cubicBezTo>
                    <a:pt x="204" y="912"/>
                    <a:pt x="18" y="726"/>
                    <a:pt x="18" y="498"/>
                  </a:cubicBezTo>
                  <a:cubicBezTo>
                    <a:pt x="18" y="272"/>
                    <a:pt x="199" y="88"/>
                    <a:pt x="424" y="83"/>
                  </a:cubicBezTo>
                  <a:cubicBezTo>
                    <a:pt x="424" y="498"/>
                    <a:pt x="424" y="498"/>
                    <a:pt x="424" y="498"/>
                  </a:cubicBezTo>
                  <a:cubicBezTo>
                    <a:pt x="424" y="500"/>
                    <a:pt x="425" y="503"/>
                    <a:pt x="427" y="504"/>
                  </a:cubicBezTo>
                  <a:cubicBezTo>
                    <a:pt x="731" y="786"/>
                    <a:pt x="731" y="786"/>
                    <a:pt x="731" y="786"/>
                  </a:cubicBezTo>
                  <a:cubicBezTo>
                    <a:pt x="653" y="867"/>
                    <a:pt x="545" y="912"/>
                    <a:pt x="433" y="912"/>
                  </a:cubicBezTo>
                  <a:close/>
                  <a:moveTo>
                    <a:pt x="923" y="489"/>
                  </a:moveTo>
                  <a:cubicBezTo>
                    <a:pt x="500" y="489"/>
                    <a:pt x="500" y="489"/>
                    <a:pt x="500" y="489"/>
                  </a:cubicBezTo>
                  <a:cubicBezTo>
                    <a:pt x="496" y="489"/>
                    <a:pt x="493" y="491"/>
                    <a:pt x="491" y="494"/>
                  </a:cubicBezTo>
                  <a:cubicBezTo>
                    <a:pt x="490" y="498"/>
                    <a:pt x="491" y="502"/>
                    <a:pt x="494" y="504"/>
                  </a:cubicBezTo>
                  <a:cubicBezTo>
                    <a:pt x="517" y="526"/>
                    <a:pt x="517" y="526"/>
                    <a:pt x="517" y="526"/>
                  </a:cubicBezTo>
                  <a:cubicBezTo>
                    <a:pt x="821" y="774"/>
                    <a:pt x="821" y="774"/>
                    <a:pt x="821" y="774"/>
                  </a:cubicBezTo>
                  <a:cubicBezTo>
                    <a:pt x="823" y="775"/>
                    <a:pt x="825" y="776"/>
                    <a:pt x="827" y="776"/>
                  </a:cubicBezTo>
                  <a:cubicBezTo>
                    <a:pt x="829" y="776"/>
                    <a:pt x="832" y="775"/>
                    <a:pt x="833" y="773"/>
                  </a:cubicBezTo>
                  <a:cubicBezTo>
                    <a:pt x="897" y="695"/>
                    <a:pt x="932" y="598"/>
                    <a:pt x="932" y="498"/>
                  </a:cubicBezTo>
                  <a:cubicBezTo>
                    <a:pt x="932" y="493"/>
                    <a:pt x="928" y="489"/>
                    <a:pt x="923" y="489"/>
                  </a:cubicBezTo>
                  <a:close/>
                  <a:moveTo>
                    <a:pt x="825" y="754"/>
                  </a:moveTo>
                  <a:cubicBezTo>
                    <a:pt x="529" y="513"/>
                    <a:pt x="529" y="513"/>
                    <a:pt x="529" y="513"/>
                  </a:cubicBezTo>
                  <a:cubicBezTo>
                    <a:pt x="522" y="507"/>
                    <a:pt x="522" y="507"/>
                    <a:pt x="522" y="507"/>
                  </a:cubicBezTo>
                  <a:cubicBezTo>
                    <a:pt x="914" y="507"/>
                    <a:pt x="914" y="507"/>
                    <a:pt x="914" y="507"/>
                  </a:cubicBezTo>
                  <a:cubicBezTo>
                    <a:pt x="912" y="596"/>
                    <a:pt x="881" y="684"/>
                    <a:pt x="825" y="7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43" name="Right Arrow 42"/>
          <p:cNvSpPr/>
          <p:nvPr/>
        </p:nvSpPr>
        <p:spPr>
          <a:xfrm rot="10800000">
            <a:off x="4628566" y="4190710"/>
            <a:ext cx="385763" cy="191079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8" name="TextBox 57"/>
          <p:cNvSpPr txBox="1"/>
          <p:nvPr/>
        </p:nvSpPr>
        <p:spPr>
          <a:xfrm>
            <a:off x="1412215" y="1625131"/>
            <a:ext cx="62243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1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3312453" y="1625131"/>
            <a:ext cx="62243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2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210307" y="1625131"/>
            <a:ext cx="62243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3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131127" y="1625131"/>
            <a:ext cx="62243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700" cap="all" spc="20" dirty="0" err="1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sso</a:t>
            </a:r>
            <a:r>
              <a:rPr lang="en-US" sz="700" cap="all" spc="20" dirty="0">
                <a:solidFill>
                  <a:schemeClr val="accent4"/>
                </a:solidFill>
                <a:latin typeface="Lato Black" panose="020F0A02020204030203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04</a:t>
            </a:r>
          </a:p>
        </p:txBody>
      </p:sp>
    </p:spTree>
    <p:extLst>
      <p:ext uri="{BB962C8B-B14F-4D97-AF65-F5344CB8AC3E}">
        <p14:creationId xmlns:p14="http://schemas.microsoft.com/office/powerpoint/2010/main" val="107718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gerenciamento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026569" y="1543050"/>
            <a:ext cx="3090863" cy="2582865"/>
            <a:chOff x="3026569" y="1543050"/>
            <a:chExt cx="3090863" cy="2582865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4906566" y="1915716"/>
              <a:ext cx="310753" cy="102989"/>
            </a:xfrm>
            <a:custGeom>
              <a:avLst/>
              <a:gdLst>
                <a:gd name="T0" fmla="*/ 409 w 427"/>
                <a:gd name="T1" fmla="*/ 113 h 141"/>
                <a:gd name="T2" fmla="*/ 399 w 427"/>
                <a:gd name="T3" fmla="*/ 113 h 141"/>
                <a:gd name="T4" fmla="*/ 399 w 427"/>
                <a:gd name="T5" fmla="*/ 57 h 141"/>
                <a:gd name="T6" fmla="*/ 342 w 427"/>
                <a:gd name="T7" fmla="*/ 0 h 141"/>
                <a:gd name="T8" fmla="*/ 85 w 427"/>
                <a:gd name="T9" fmla="*/ 0 h 141"/>
                <a:gd name="T10" fmla="*/ 28 w 427"/>
                <a:gd name="T11" fmla="*/ 57 h 141"/>
                <a:gd name="T12" fmla="*/ 28 w 427"/>
                <a:gd name="T13" fmla="*/ 113 h 141"/>
                <a:gd name="T14" fmla="*/ 19 w 427"/>
                <a:gd name="T15" fmla="*/ 113 h 141"/>
                <a:gd name="T16" fmla="*/ 0 w 427"/>
                <a:gd name="T17" fmla="*/ 132 h 141"/>
                <a:gd name="T18" fmla="*/ 0 w 427"/>
                <a:gd name="T19" fmla="*/ 141 h 141"/>
                <a:gd name="T20" fmla="*/ 117 w 427"/>
                <a:gd name="T21" fmla="*/ 141 h 141"/>
                <a:gd name="T22" fmla="*/ 117 w 427"/>
                <a:gd name="T23" fmla="*/ 132 h 141"/>
                <a:gd name="T24" fmla="*/ 98 w 427"/>
                <a:gd name="T25" fmla="*/ 113 h 141"/>
                <a:gd name="T26" fmla="*/ 87 w 427"/>
                <a:gd name="T27" fmla="*/ 113 h 141"/>
                <a:gd name="T28" fmla="*/ 87 w 427"/>
                <a:gd name="T29" fmla="*/ 67 h 141"/>
                <a:gd name="T30" fmla="*/ 106 w 427"/>
                <a:gd name="T31" fmla="*/ 48 h 141"/>
                <a:gd name="T32" fmla="*/ 320 w 427"/>
                <a:gd name="T33" fmla="*/ 48 h 141"/>
                <a:gd name="T34" fmla="*/ 339 w 427"/>
                <a:gd name="T35" fmla="*/ 67 h 141"/>
                <a:gd name="T36" fmla="*/ 339 w 427"/>
                <a:gd name="T37" fmla="*/ 113 h 141"/>
                <a:gd name="T38" fmla="*/ 329 w 427"/>
                <a:gd name="T39" fmla="*/ 113 h 141"/>
                <a:gd name="T40" fmla="*/ 311 w 427"/>
                <a:gd name="T41" fmla="*/ 132 h 141"/>
                <a:gd name="T42" fmla="*/ 311 w 427"/>
                <a:gd name="T43" fmla="*/ 141 h 141"/>
                <a:gd name="T44" fmla="*/ 427 w 427"/>
                <a:gd name="T45" fmla="*/ 141 h 141"/>
                <a:gd name="T46" fmla="*/ 427 w 427"/>
                <a:gd name="T47" fmla="*/ 132 h 141"/>
                <a:gd name="T48" fmla="*/ 409 w 427"/>
                <a:gd name="T49" fmla="*/ 11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7" h="141">
                  <a:moveTo>
                    <a:pt x="409" y="113"/>
                  </a:moveTo>
                  <a:cubicBezTo>
                    <a:pt x="399" y="113"/>
                    <a:pt x="399" y="113"/>
                    <a:pt x="399" y="113"/>
                  </a:cubicBezTo>
                  <a:cubicBezTo>
                    <a:pt x="399" y="57"/>
                    <a:pt x="399" y="57"/>
                    <a:pt x="399" y="57"/>
                  </a:cubicBezTo>
                  <a:cubicBezTo>
                    <a:pt x="399" y="26"/>
                    <a:pt x="373" y="0"/>
                    <a:pt x="34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53" y="0"/>
                    <a:pt x="28" y="26"/>
                    <a:pt x="28" y="57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9" y="113"/>
                    <a:pt x="0" y="122"/>
                    <a:pt x="0" y="132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22"/>
                    <a:pt x="109" y="113"/>
                    <a:pt x="98" y="113"/>
                  </a:cubicBezTo>
                  <a:cubicBezTo>
                    <a:pt x="87" y="113"/>
                    <a:pt x="87" y="113"/>
                    <a:pt x="87" y="113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57"/>
                    <a:pt x="96" y="48"/>
                    <a:pt x="106" y="48"/>
                  </a:cubicBezTo>
                  <a:cubicBezTo>
                    <a:pt x="320" y="48"/>
                    <a:pt x="320" y="48"/>
                    <a:pt x="320" y="48"/>
                  </a:cubicBezTo>
                  <a:cubicBezTo>
                    <a:pt x="331" y="48"/>
                    <a:pt x="339" y="57"/>
                    <a:pt x="339" y="67"/>
                  </a:cubicBezTo>
                  <a:cubicBezTo>
                    <a:pt x="339" y="113"/>
                    <a:pt x="339" y="113"/>
                    <a:pt x="339" y="113"/>
                  </a:cubicBezTo>
                  <a:cubicBezTo>
                    <a:pt x="329" y="113"/>
                    <a:pt x="329" y="113"/>
                    <a:pt x="329" y="113"/>
                  </a:cubicBezTo>
                  <a:cubicBezTo>
                    <a:pt x="319" y="113"/>
                    <a:pt x="311" y="122"/>
                    <a:pt x="311" y="132"/>
                  </a:cubicBezTo>
                  <a:cubicBezTo>
                    <a:pt x="311" y="141"/>
                    <a:pt x="311" y="141"/>
                    <a:pt x="311" y="141"/>
                  </a:cubicBezTo>
                  <a:cubicBezTo>
                    <a:pt x="427" y="141"/>
                    <a:pt x="427" y="141"/>
                    <a:pt x="427" y="141"/>
                  </a:cubicBezTo>
                  <a:cubicBezTo>
                    <a:pt x="427" y="132"/>
                    <a:pt x="427" y="132"/>
                    <a:pt x="427" y="132"/>
                  </a:cubicBezTo>
                  <a:cubicBezTo>
                    <a:pt x="427" y="122"/>
                    <a:pt x="419" y="113"/>
                    <a:pt x="409" y="1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3929658" y="1915716"/>
              <a:ext cx="310753" cy="102989"/>
            </a:xfrm>
            <a:custGeom>
              <a:avLst/>
              <a:gdLst>
                <a:gd name="T0" fmla="*/ 408 w 427"/>
                <a:gd name="T1" fmla="*/ 113 h 141"/>
                <a:gd name="T2" fmla="*/ 399 w 427"/>
                <a:gd name="T3" fmla="*/ 113 h 141"/>
                <a:gd name="T4" fmla="*/ 399 w 427"/>
                <a:gd name="T5" fmla="*/ 57 h 141"/>
                <a:gd name="T6" fmla="*/ 342 w 427"/>
                <a:gd name="T7" fmla="*/ 0 h 141"/>
                <a:gd name="T8" fmla="*/ 84 w 427"/>
                <a:gd name="T9" fmla="*/ 0 h 141"/>
                <a:gd name="T10" fmla="*/ 28 w 427"/>
                <a:gd name="T11" fmla="*/ 57 h 141"/>
                <a:gd name="T12" fmla="*/ 28 w 427"/>
                <a:gd name="T13" fmla="*/ 113 h 141"/>
                <a:gd name="T14" fmla="*/ 19 w 427"/>
                <a:gd name="T15" fmla="*/ 113 h 141"/>
                <a:gd name="T16" fmla="*/ 0 w 427"/>
                <a:gd name="T17" fmla="*/ 132 h 141"/>
                <a:gd name="T18" fmla="*/ 0 w 427"/>
                <a:gd name="T19" fmla="*/ 141 h 141"/>
                <a:gd name="T20" fmla="*/ 117 w 427"/>
                <a:gd name="T21" fmla="*/ 141 h 141"/>
                <a:gd name="T22" fmla="*/ 117 w 427"/>
                <a:gd name="T23" fmla="*/ 132 h 141"/>
                <a:gd name="T24" fmla="*/ 98 w 427"/>
                <a:gd name="T25" fmla="*/ 113 h 141"/>
                <a:gd name="T26" fmla="*/ 87 w 427"/>
                <a:gd name="T27" fmla="*/ 113 h 141"/>
                <a:gd name="T28" fmla="*/ 87 w 427"/>
                <a:gd name="T29" fmla="*/ 67 h 141"/>
                <a:gd name="T30" fmla="*/ 106 w 427"/>
                <a:gd name="T31" fmla="*/ 48 h 141"/>
                <a:gd name="T32" fmla="*/ 320 w 427"/>
                <a:gd name="T33" fmla="*/ 48 h 141"/>
                <a:gd name="T34" fmla="*/ 339 w 427"/>
                <a:gd name="T35" fmla="*/ 67 h 141"/>
                <a:gd name="T36" fmla="*/ 339 w 427"/>
                <a:gd name="T37" fmla="*/ 113 h 141"/>
                <a:gd name="T38" fmla="*/ 329 w 427"/>
                <a:gd name="T39" fmla="*/ 113 h 141"/>
                <a:gd name="T40" fmla="*/ 310 w 427"/>
                <a:gd name="T41" fmla="*/ 132 h 141"/>
                <a:gd name="T42" fmla="*/ 310 w 427"/>
                <a:gd name="T43" fmla="*/ 141 h 141"/>
                <a:gd name="T44" fmla="*/ 427 w 427"/>
                <a:gd name="T45" fmla="*/ 141 h 141"/>
                <a:gd name="T46" fmla="*/ 427 w 427"/>
                <a:gd name="T47" fmla="*/ 132 h 141"/>
                <a:gd name="T48" fmla="*/ 408 w 427"/>
                <a:gd name="T49" fmla="*/ 11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27" h="141">
                  <a:moveTo>
                    <a:pt x="408" y="113"/>
                  </a:moveTo>
                  <a:cubicBezTo>
                    <a:pt x="399" y="113"/>
                    <a:pt x="399" y="113"/>
                    <a:pt x="399" y="113"/>
                  </a:cubicBezTo>
                  <a:cubicBezTo>
                    <a:pt x="399" y="57"/>
                    <a:pt x="399" y="57"/>
                    <a:pt x="399" y="57"/>
                  </a:cubicBezTo>
                  <a:cubicBezTo>
                    <a:pt x="399" y="26"/>
                    <a:pt x="373" y="0"/>
                    <a:pt x="34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53" y="0"/>
                    <a:pt x="28" y="26"/>
                    <a:pt x="28" y="57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9" y="113"/>
                    <a:pt x="0" y="122"/>
                    <a:pt x="0" y="132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17" y="141"/>
                    <a:pt x="117" y="141"/>
                    <a:pt x="117" y="141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22"/>
                    <a:pt x="109" y="113"/>
                    <a:pt x="98" y="113"/>
                  </a:cubicBezTo>
                  <a:cubicBezTo>
                    <a:pt x="87" y="113"/>
                    <a:pt x="87" y="113"/>
                    <a:pt x="87" y="113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57"/>
                    <a:pt x="96" y="48"/>
                    <a:pt x="106" y="48"/>
                  </a:cubicBezTo>
                  <a:cubicBezTo>
                    <a:pt x="320" y="48"/>
                    <a:pt x="320" y="48"/>
                    <a:pt x="320" y="48"/>
                  </a:cubicBezTo>
                  <a:cubicBezTo>
                    <a:pt x="331" y="48"/>
                    <a:pt x="339" y="57"/>
                    <a:pt x="339" y="67"/>
                  </a:cubicBezTo>
                  <a:cubicBezTo>
                    <a:pt x="339" y="113"/>
                    <a:pt x="339" y="113"/>
                    <a:pt x="339" y="113"/>
                  </a:cubicBezTo>
                  <a:cubicBezTo>
                    <a:pt x="329" y="113"/>
                    <a:pt x="329" y="113"/>
                    <a:pt x="329" y="113"/>
                  </a:cubicBezTo>
                  <a:cubicBezTo>
                    <a:pt x="319" y="113"/>
                    <a:pt x="310" y="122"/>
                    <a:pt x="310" y="132"/>
                  </a:cubicBezTo>
                  <a:cubicBezTo>
                    <a:pt x="310" y="141"/>
                    <a:pt x="310" y="141"/>
                    <a:pt x="310" y="141"/>
                  </a:cubicBezTo>
                  <a:cubicBezTo>
                    <a:pt x="427" y="141"/>
                    <a:pt x="427" y="141"/>
                    <a:pt x="427" y="141"/>
                  </a:cubicBezTo>
                  <a:cubicBezTo>
                    <a:pt x="427" y="132"/>
                    <a:pt x="427" y="132"/>
                    <a:pt x="427" y="132"/>
                  </a:cubicBezTo>
                  <a:cubicBezTo>
                    <a:pt x="427" y="122"/>
                    <a:pt x="419" y="113"/>
                    <a:pt x="408" y="1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4021336" y="1543050"/>
              <a:ext cx="1101328" cy="421481"/>
            </a:xfrm>
            <a:custGeom>
              <a:avLst/>
              <a:gdLst>
                <a:gd name="T0" fmla="*/ 172 w 1513"/>
                <a:gd name="T1" fmla="*/ 579 h 579"/>
                <a:gd name="T2" fmla="*/ 756 w 1513"/>
                <a:gd name="T3" fmla="*/ 159 h 579"/>
                <a:gd name="T4" fmla="*/ 1341 w 1513"/>
                <a:gd name="T5" fmla="*/ 579 h 579"/>
                <a:gd name="T6" fmla="*/ 1513 w 1513"/>
                <a:gd name="T7" fmla="*/ 579 h 579"/>
                <a:gd name="T8" fmla="*/ 756 w 1513"/>
                <a:gd name="T9" fmla="*/ 0 h 579"/>
                <a:gd name="T10" fmla="*/ 0 w 1513"/>
                <a:gd name="T11" fmla="*/ 579 h 579"/>
                <a:gd name="T12" fmla="*/ 172 w 1513"/>
                <a:gd name="T13" fmla="*/ 579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3" h="579">
                  <a:moveTo>
                    <a:pt x="172" y="579"/>
                  </a:moveTo>
                  <a:cubicBezTo>
                    <a:pt x="179" y="357"/>
                    <a:pt x="438" y="159"/>
                    <a:pt x="756" y="159"/>
                  </a:cubicBezTo>
                  <a:cubicBezTo>
                    <a:pt x="1075" y="159"/>
                    <a:pt x="1334" y="357"/>
                    <a:pt x="1341" y="579"/>
                  </a:cubicBezTo>
                  <a:cubicBezTo>
                    <a:pt x="1513" y="579"/>
                    <a:pt x="1513" y="579"/>
                    <a:pt x="1513" y="579"/>
                  </a:cubicBezTo>
                  <a:cubicBezTo>
                    <a:pt x="1506" y="247"/>
                    <a:pt x="1170" y="0"/>
                    <a:pt x="756" y="0"/>
                  </a:cubicBezTo>
                  <a:cubicBezTo>
                    <a:pt x="343" y="0"/>
                    <a:pt x="7" y="247"/>
                    <a:pt x="0" y="579"/>
                  </a:cubicBezTo>
                  <a:lnTo>
                    <a:pt x="172" y="5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4571405" y="2879926"/>
              <a:ext cx="1463278" cy="1245989"/>
            </a:xfrm>
            <a:custGeom>
              <a:avLst/>
              <a:gdLst>
                <a:gd name="T0" fmla="*/ 2008 w 2009"/>
                <a:gd name="T1" fmla="*/ 0 h 1710"/>
                <a:gd name="T2" fmla="*/ 706 w 2009"/>
                <a:gd name="T3" fmla="*/ 337 h 1710"/>
                <a:gd name="T4" fmla="*/ 177 w 2009"/>
                <a:gd name="T5" fmla="*/ 366 h 1710"/>
                <a:gd name="T6" fmla="*/ 177 w 2009"/>
                <a:gd name="T7" fmla="*/ 595 h 1710"/>
                <a:gd name="T8" fmla="*/ 177 w 2009"/>
                <a:gd name="T9" fmla="*/ 596 h 1710"/>
                <a:gd name="T10" fmla="*/ 76 w 2009"/>
                <a:gd name="T11" fmla="*/ 698 h 1710"/>
                <a:gd name="T12" fmla="*/ 0 w 2009"/>
                <a:gd name="T13" fmla="*/ 698 h 1710"/>
                <a:gd name="T14" fmla="*/ 0 w 2009"/>
                <a:gd name="T15" fmla="*/ 1710 h 1710"/>
                <a:gd name="T16" fmla="*/ 706 w 2009"/>
                <a:gd name="T17" fmla="*/ 1710 h 1710"/>
                <a:gd name="T18" fmla="*/ 1756 w 2009"/>
                <a:gd name="T19" fmla="*/ 1710 h 1710"/>
                <a:gd name="T20" fmla="*/ 2009 w 2009"/>
                <a:gd name="T21" fmla="*/ 1457 h 1710"/>
                <a:gd name="T22" fmla="*/ 2009 w 2009"/>
                <a:gd name="T23" fmla="*/ 1 h 1710"/>
                <a:gd name="T24" fmla="*/ 2008 w 2009"/>
                <a:gd name="T25" fmla="*/ 0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9" h="1710">
                  <a:moveTo>
                    <a:pt x="2008" y="0"/>
                  </a:moveTo>
                  <a:cubicBezTo>
                    <a:pt x="1803" y="157"/>
                    <a:pt x="1320" y="282"/>
                    <a:pt x="706" y="337"/>
                  </a:cubicBezTo>
                  <a:cubicBezTo>
                    <a:pt x="539" y="352"/>
                    <a:pt x="361" y="362"/>
                    <a:pt x="177" y="366"/>
                  </a:cubicBezTo>
                  <a:cubicBezTo>
                    <a:pt x="177" y="595"/>
                    <a:pt x="177" y="595"/>
                    <a:pt x="177" y="595"/>
                  </a:cubicBezTo>
                  <a:cubicBezTo>
                    <a:pt x="177" y="596"/>
                    <a:pt x="177" y="596"/>
                    <a:pt x="177" y="596"/>
                  </a:cubicBezTo>
                  <a:cubicBezTo>
                    <a:pt x="177" y="652"/>
                    <a:pt x="131" y="698"/>
                    <a:pt x="76" y="698"/>
                  </a:cubicBezTo>
                  <a:cubicBezTo>
                    <a:pt x="0" y="698"/>
                    <a:pt x="0" y="698"/>
                    <a:pt x="0" y="698"/>
                  </a:cubicBezTo>
                  <a:cubicBezTo>
                    <a:pt x="0" y="1710"/>
                    <a:pt x="0" y="1710"/>
                    <a:pt x="0" y="1710"/>
                  </a:cubicBezTo>
                  <a:cubicBezTo>
                    <a:pt x="706" y="1710"/>
                    <a:pt x="706" y="1710"/>
                    <a:pt x="706" y="1710"/>
                  </a:cubicBezTo>
                  <a:cubicBezTo>
                    <a:pt x="1756" y="1710"/>
                    <a:pt x="1756" y="1710"/>
                    <a:pt x="1756" y="1710"/>
                  </a:cubicBezTo>
                  <a:cubicBezTo>
                    <a:pt x="1895" y="1710"/>
                    <a:pt x="2009" y="1596"/>
                    <a:pt x="2009" y="1457"/>
                  </a:cubicBezTo>
                  <a:cubicBezTo>
                    <a:pt x="2009" y="1003"/>
                    <a:pt x="2009" y="44"/>
                    <a:pt x="2009" y="1"/>
                  </a:cubicBezTo>
                  <a:cubicBezTo>
                    <a:pt x="2008" y="1"/>
                    <a:pt x="2009" y="1"/>
                    <a:pt x="2008" y="0"/>
                  </a:cubicBezTo>
                  <a:close/>
                </a:path>
              </a:pathLst>
            </a:custGeom>
            <a:solidFill>
              <a:schemeClr val="accent4"/>
            </a:solidFill>
            <a:ln w="28575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3109318" y="2879926"/>
              <a:ext cx="1462088" cy="1245989"/>
            </a:xfrm>
            <a:custGeom>
              <a:avLst/>
              <a:gdLst>
                <a:gd name="T0" fmla="*/ 1836 w 2008"/>
                <a:gd name="T1" fmla="*/ 596 h 1710"/>
                <a:gd name="T2" fmla="*/ 1836 w 2008"/>
                <a:gd name="T3" fmla="*/ 595 h 1710"/>
                <a:gd name="T4" fmla="*/ 1836 w 2008"/>
                <a:gd name="T5" fmla="*/ 366 h 1710"/>
                <a:gd name="T6" fmla="*/ 1303 w 2008"/>
                <a:gd name="T7" fmla="*/ 337 h 1710"/>
                <a:gd name="T8" fmla="*/ 1 w 2008"/>
                <a:gd name="T9" fmla="*/ 0 h 1710"/>
                <a:gd name="T10" fmla="*/ 0 w 2008"/>
                <a:gd name="T11" fmla="*/ 1 h 1710"/>
                <a:gd name="T12" fmla="*/ 0 w 2008"/>
                <a:gd name="T13" fmla="*/ 1457 h 1710"/>
                <a:gd name="T14" fmla="*/ 253 w 2008"/>
                <a:gd name="T15" fmla="*/ 1710 h 1710"/>
                <a:gd name="T16" fmla="*/ 1303 w 2008"/>
                <a:gd name="T17" fmla="*/ 1710 h 1710"/>
                <a:gd name="T18" fmla="*/ 2008 w 2008"/>
                <a:gd name="T19" fmla="*/ 1710 h 1710"/>
                <a:gd name="T20" fmla="*/ 2008 w 2008"/>
                <a:gd name="T21" fmla="*/ 698 h 1710"/>
                <a:gd name="T22" fmla="*/ 1938 w 2008"/>
                <a:gd name="T23" fmla="*/ 698 h 1710"/>
                <a:gd name="T24" fmla="*/ 1836 w 2008"/>
                <a:gd name="T25" fmla="*/ 596 h 1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08" h="1710">
                  <a:moveTo>
                    <a:pt x="1836" y="596"/>
                  </a:moveTo>
                  <a:cubicBezTo>
                    <a:pt x="1836" y="595"/>
                    <a:pt x="1836" y="595"/>
                    <a:pt x="1836" y="595"/>
                  </a:cubicBezTo>
                  <a:cubicBezTo>
                    <a:pt x="1836" y="366"/>
                    <a:pt x="1836" y="366"/>
                    <a:pt x="1836" y="366"/>
                  </a:cubicBezTo>
                  <a:cubicBezTo>
                    <a:pt x="1651" y="362"/>
                    <a:pt x="1472" y="352"/>
                    <a:pt x="1303" y="337"/>
                  </a:cubicBezTo>
                  <a:cubicBezTo>
                    <a:pt x="689" y="282"/>
                    <a:pt x="206" y="157"/>
                    <a:pt x="1" y="0"/>
                  </a:cubicBezTo>
                  <a:cubicBezTo>
                    <a:pt x="0" y="1"/>
                    <a:pt x="1" y="1"/>
                    <a:pt x="0" y="1"/>
                  </a:cubicBezTo>
                  <a:cubicBezTo>
                    <a:pt x="0" y="44"/>
                    <a:pt x="0" y="1003"/>
                    <a:pt x="0" y="1457"/>
                  </a:cubicBezTo>
                  <a:cubicBezTo>
                    <a:pt x="0" y="1596"/>
                    <a:pt x="114" y="1710"/>
                    <a:pt x="253" y="1710"/>
                  </a:cubicBezTo>
                  <a:cubicBezTo>
                    <a:pt x="1303" y="1710"/>
                    <a:pt x="1303" y="1710"/>
                    <a:pt x="1303" y="1710"/>
                  </a:cubicBezTo>
                  <a:cubicBezTo>
                    <a:pt x="2008" y="1710"/>
                    <a:pt x="2008" y="1710"/>
                    <a:pt x="2008" y="1710"/>
                  </a:cubicBezTo>
                  <a:cubicBezTo>
                    <a:pt x="2008" y="698"/>
                    <a:pt x="2008" y="698"/>
                    <a:pt x="2008" y="698"/>
                  </a:cubicBezTo>
                  <a:cubicBezTo>
                    <a:pt x="1938" y="698"/>
                    <a:pt x="1938" y="698"/>
                    <a:pt x="1938" y="698"/>
                  </a:cubicBezTo>
                  <a:cubicBezTo>
                    <a:pt x="1882" y="698"/>
                    <a:pt x="1836" y="652"/>
                    <a:pt x="1836" y="596"/>
                  </a:cubicBezTo>
                  <a:close/>
                </a:path>
              </a:pathLst>
            </a:custGeom>
            <a:solidFill>
              <a:schemeClr val="accent5"/>
            </a:solidFill>
            <a:ln w="28575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4571405" y="2018705"/>
              <a:ext cx="1546027" cy="1131689"/>
            </a:xfrm>
            <a:custGeom>
              <a:avLst/>
              <a:gdLst>
                <a:gd name="T0" fmla="*/ 1870 w 2123"/>
                <a:gd name="T1" fmla="*/ 0 h 1554"/>
                <a:gd name="T2" fmla="*/ 706 w 2123"/>
                <a:gd name="T3" fmla="*/ 0 h 1554"/>
                <a:gd name="T4" fmla="*/ 0 w 2123"/>
                <a:gd name="T5" fmla="*/ 0 h 1554"/>
                <a:gd name="T6" fmla="*/ 0 w 2123"/>
                <a:gd name="T7" fmla="*/ 1260 h 1554"/>
                <a:gd name="T8" fmla="*/ 76 w 2123"/>
                <a:gd name="T9" fmla="*/ 1260 h 1554"/>
                <a:gd name="T10" fmla="*/ 177 w 2123"/>
                <a:gd name="T11" fmla="*/ 1362 h 1554"/>
                <a:gd name="T12" fmla="*/ 177 w 2123"/>
                <a:gd name="T13" fmla="*/ 1399 h 1554"/>
                <a:gd name="T14" fmla="*/ 177 w 2123"/>
                <a:gd name="T15" fmla="*/ 1554 h 1554"/>
                <a:gd name="T16" fmla="*/ 706 w 2123"/>
                <a:gd name="T17" fmla="*/ 1525 h 1554"/>
                <a:gd name="T18" fmla="*/ 2002 w 2123"/>
                <a:gd name="T19" fmla="*/ 1193 h 1554"/>
                <a:gd name="T20" fmla="*/ 2093 w 2123"/>
                <a:gd name="T21" fmla="*/ 1097 h 1554"/>
                <a:gd name="T22" fmla="*/ 2104 w 2123"/>
                <a:gd name="T23" fmla="*/ 1072 h 1554"/>
                <a:gd name="T24" fmla="*/ 2123 w 2123"/>
                <a:gd name="T25" fmla="*/ 977 h 1554"/>
                <a:gd name="T26" fmla="*/ 2123 w 2123"/>
                <a:gd name="T27" fmla="*/ 254 h 1554"/>
                <a:gd name="T28" fmla="*/ 1870 w 2123"/>
                <a:gd name="T29" fmla="*/ 0 h 1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23" h="1554">
                  <a:moveTo>
                    <a:pt x="1870" y="0"/>
                  </a:moveTo>
                  <a:cubicBezTo>
                    <a:pt x="706" y="0"/>
                    <a:pt x="706" y="0"/>
                    <a:pt x="70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60"/>
                    <a:pt x="0" y="1260"/>
                    <a:pt x="0" y="1260"/>
                  </a:cubicBezTo>
                  <a:cubicBezTo>
                    <a:pt x="76" y="1260"/>
                    <a:pt x="76" y="1260"/>
                    <a:pt x="76" y="1260"/>
                  </a:cubicBezTo>
                  <a:cubicBezTo>
                    <a:pt x="131" y="1260"/>
                    <a:pt x="177" y="1306"/>
                    <a:pt x="177" y="1362"/>
                  </a:cubicBezTo>
                  <a:cubicBezTo>
                    <a:pt x="177" y="1399"/>
                    <a:pt x="177" y="1399"/>
                    <a:pt x="177" y="1399"/>
                  </a:cubicBezTo>
                  <a:cubicBezTo>
                    <a:pt x="177" y="1554"/>
                    <a:pt x="177" y="1554"/>
                    <a:pt x="177" y="1554"/>
                  </a:cubicBezTo>
                  <a:cubicBezTo>
                    <a:pt x="361" y="1550"/>
                    <a:pt x="539" y="1540"/>
                    <a:pt x="706" y="1525"/>
                  </a:cubicBezTo>
                  <a:cubicBezTo>
                    <a:pt x="1314" y="1471"/>
                    <a:pt x="1794" y="1348"/>
                    <a:pt x="2002" y="1193"/>
                  </a:cubicBezTo>
                  <a:cubicBezTo>
                    <a:pt x="2040" y="1169"/>
                    <a:pt x="2071" y="1136"/>
                    <a:pt x="2093" y="1097"/>
                  </a:cubicBezTo>
                  <a:cubicBezTo>
                    <a:pt x="2097" y="1089"/>
                    <a:pt x="2101" y="1080"/>
                    <a:pt x="2104" y="1072"/>
                  </a:cubicBezTo>
                  <a:cubicBezTo>
                    <a:pt x="2116" y="1043"/>
                    <a:pt x="2123" y="1011"/>
                    <a:pt x="2123" y="977"/>
                  </a:cubicBezTo>
                  <a:cubicBezTo>
                    <a:pt x="2123" y="254"/>
                    <a:pt x="2123" y="254"/>
                    <a:pt x="2123" y="254"/>
                  </a:cubicBezTo>
                  <a:cubicBezTo>
                    <a:pt x="2123" y="114"/>
                    <a:pt x="2009" y="0"/>
                    <a:pt x="1870" y="0"/>
                  </a:cubicBezTo>
                  <a:close/>
                </a:path>
              </a:pathLst>
            </a:custGeom>
            <a:solidFill>
              <a:schemeClr val="accent3"/>
            </a:solidFill>
            <a:ln w="28575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3026569" y="2018705"/>
              <a:ext cx="1544836" cy="1131689"/>
            </a:xfrm>
            <a:custGeom>
              <a:avLst/>
              <a:gdLst>
                <a:gd name="T0" fmla="*/ 1950 w 2122"/>
                <a:gd name="T1" fmla="*/ 1399 h 1554"/>
                <a:gd name="T2" fmla="*/ 1950 w 2122"/>
                <a:gd name="T3" fmla="*/ 1362 h 1554"/>
                <a:gd name="T4" fmla="*/ 2052 w 2122"/>
                <a:gd name="T5" fmla="*/ 1260 h 1554"/>
                <a:gd name="T6" fmla="*/ 2122 w 2122"/>
                <a:gd name="T7" fmla="*/ 1260 h 1554"/>
                <a:gd name="T8" fmla="*/ 2122 w 2122"/>
                <a:gd name="T9" fmla="*/ 0 h 1554"/>
                <a:gd name="T10" fmla="*/ 1417 w 2122"/>
                <a:gd name="T11" fmla="*/ 0 h 1554"/>
                <a:gd name="T12" fmla="*/ 253 w 2122"/>
                <a:gd name="T13" fmla="*/ 0 h 1554"/>
                <a:gd name="T14" fmla="*/ 0 w 2122"/>
                <a:gd name="T15" fmla="*/ 254 h 1554"/>
                <a:gd name="T16" fmla="*/ 0 w 2122"/>
                <a:gd name="T17" fmla="*/ 977 h 1554"/>
                <a:gd name="T18" fmla="*/ 19 w 2122"/>
                <a:gd name="T19" fmla="*/ 1072 h 1554"/>
                <a:gd name="T20" fmla="*/ 30 w 2122"/>
                <a:gd name="T21" fmla="*/ 1097 h 1554"/>
                <a:gd name="T22" fmla="*/ 121 w 2122"/>
                <a:gd name="T23" fmla="*/ 1193 h 1554"/>
                <a:gd name="T24" fmla="*/ 1417 w 2122"/>
                <a:gd name="T25" fmla="*/ 1525 h 1554"/>
                <a:gd name="T26" fmla="*/ 1950 w 2122"/>
                <a:gd name="T27" fmla="*/ 1554 h 1554"/>
                <a:gd name="T28" fmla="*/ 1950 w 2122"/>
                <a:gd name="T29" fmla="*/ 1399 h 1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22" h="1554">
                  <a:moveTo>
                    <a:pt x="1950" y="1399"/>
                  </a:moveTo>
                  <a:cubicBezTo>
                    <a:pt x="1950" y="1362"/>
                    <a:pt x="1950" y="1362"/>
                    <a:pt x="1950" y="1362"/>
                  </a:cubicBezTo>
                  <a:cubicBezTo>
                    <a:pt x="1950" y="1306"/>
                    <a:pt x="1996" y="1260"/>
                    <a:pt x="2052" y="1260"/>
                  </a:cubicBezTo>
                  <a:cubicBezTo>
                    <a:pt x="2122" y="1260"/>
                    <a:pt x="2122" y="1260"/>
                    <a:pt x="2122" y="1260"/>
                  </a:cubicBezTo>
                  <a:cubicBezTo>
                    <a:pt x="2122" y="0"/>
                    <a:pt x="2122" y="0"/>
                    <a:pt x="2122" y="0"/>
                  </a:cubicBezTo>
                  <a:cubicBezTo>
                    <a:pt x="1417" y="0"/>
                    <a:pt x="1417" y="0"/>
                    <a:pt x="1417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977"/>
                    <a:pt x="0" y="977"/>
                    <a:pt x="0" y="977"/>
                  </a:cubicBezTo>
                  <a:cubicBezTo>
                    <a:pt x="0" y="1011"/>
                    <a:pt x="7" y="1043"/>
                    <a:pt x="19" y="1072"/>
                  </a:cubicBezTo>
                  <a:cubicBezTo>
                    <a:pt x="22" y="1080"/>
                    <a:pt x="26" y="1089"/>
                    <a:pt x="30" y="1097"/>
                  </a:cubicBezTo>
                  <a:cubicBezTo>
                    <a:pt x="52" y="1136"/>
                    <a:pt x="83" y="1169"/>
                    <a:pt x="121" y="1193"/>
                  </a:cubicBezTo>
                  <a:cubicBezTo>
                    <a:pt x="329" y="1348"/>
                    <a:pt x="809" y="1471"/>
                    <a:pt x="1417" y="1525"/>
                  </a:cubicBezTo>
                  <a:cubicBezTo>
                    <a:pt x="1586" y="1540"/>
                    <a:pt x="1765" y="1550"/>
                    <a:pt x="1950" y="1554"/>
                  </a:cubicBezTo>
                  <a:lnTo>
                    <a:pt x="1950" y="1399"/>
                  </a:lnTo>
                  <a:close/>
                </a:path>
              </a:pathLst>
            </a:custGeom>
            <a:solidFill>
              <a:srgbClr val="EC0000"/>
            </a:solidFill>
            <a:ln w="28575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4446390" y="2936677"/>
              <a:ext cx="254199" cy="454819"/>
            </a:xfrm>
            <a:custGeom>
              <a:avLst/>
              <a:gdLst>
                <a:gd name="T0" fmla="*/ 349 w 349"/>
                <a:gd name="T1" fmla="*/ 523 h 625"/>
                <a:gd name="T2" fmla="*/ 248 w 349"/>
                <a:gd name="T3" fmla="*/ 625 h 625"/>
                <a:gd name="T4" fmla="*/ 102 w 349"/>
                <a:gd name="T5" fmla="*/ 625 h 625"/>
                <a:gd name="T6" fmla="*/ 0 w 349"/>
                <a:gd name="T7" fmla="*/ 523 h 625"/>
                <a:gd name="T8" fmla="*/ 0 w 349"/>
                <a:gd name="T9" fmla="*/ 102 h 625"/>
                <a:gd name="T10" fmla="*/ 102 w 349"/>
                <a:gd name="T11" fmla="*/ 0 h 625"/>
                <a:gd name="T12" fmla="*/ 248 w 349"/>
                <a:gd name="T13" fmla="*/ 0 h 625"/>
                <a:gd name="T14" fmla="*/ 349 w 349"/>
                <a:gd name="T15" fmla="*/ 102 h 625"/>
                <a:gd name="T16" fmla="*/ 349 w 349"/>
                <a:gd name="T17" fmla="*/ 523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9" h="625">
                  <a:moveTo>
                    <a:pt x="349" y="523"/>
                  </a:moveTo>
                  <a:cubicBezTo>
                    <a:pt x="349" y="579"/>
                    <a:pt x="303" y="625"/>
                    <a:pt x="248" y="625"/>
                  </a:cubicBezTo>
                  <a:cubicBezTo>
                    <a:pt x="102" y="625"/>
                    <a:pt x="102" y="625"/>
                    <a:pt x="102" y="625"/>
                  </a:cubicBezTo>
                  <a:cubicBezTo>
                    <a:pt x="46" y="625"/>
                    <a:pt x="0" y="579"/>
                    <a:pt x="0" y="523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46"/>
                    <a:pt x="46" y="0"/>
                    <a:pt x="102" y="0"/>
                  </a:cubicBezTo>
                  <a:cubicBezTo>
                    <a:pt x="248" y="0"/>
                    <a:pt x="248" y="0"/>
                    <a:pt x="248" y="0"/>
                  </a:cubicBezTo>
                  <a:cubicBezTo>
                    <a:pt x="303" y="0"/>
                    <a:pt x="349" y="46"/>
                    <a:pt x="349" y="102"/>
                  </a:cubicBezTo>
                  <a:lnTo>
                    <a:pt x="349" y="523"/>
                  </a:lnTo>
                  <a:close/>
                </a:path>
              </a:pathLst>
            </a:custGeom>
            <a:solidFill>
              <a:schemeClr val="accent6"/>
            </a:solidFill>
            <a:ln w="1905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>
                <a:latin typeface="Lato" panose="020F0502020204030203" pitchFamily="34" charset="0"/>
              </a:endParaRPr>
            </a:p>
          </p:txBody>
        </p:sp>
      </p:grp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5064925" y="2317679"/>
            <a:ext cx="444084" cy="488570"/>
          </a:xfrm>
          <a:custGeom>
            <a:avLst/>
            <a:gdLst>
              <a:gd name="T0" fmla="*/ 1087 w 1571"/>
              <a:gd name="T1" fmla="*/ 81 h 1728"/>
              <a:gd name="T2" fmla="*/ 922 w 1571"/>
              <a:gd name="T3" fmla="*/ 14 h 1728"/>
              <a:gd name="T4" fmla="*/ 814 w 1571"/>
              <a:gd name="T5" fmla="*/ 0 h 1728"/>
              <a:gd name="T6" fmla="*/ 705 w 1571"/>
              <a:gd name="T7" fmla="*/ 14 h 1728"/>
              <a:gd name="T8" fmla="*/ 582 w 1571"/>
              <a:gd name="T9" fmla="*/ 81 h 1728"/>
              <a:gd name="T10" fmla="*/ 554 w 1571"/>
              <a:gd name="T11" fmla="*/ 81 h 1728"/>
              <a:gd name="T12" fmla="*/ 431 w 1571"/>
              <a:gd name="T13" fmla="*/ 14 h 1728"/>
              <a:gd name="T14" fmla="*/ 322 w 1571"/>
              <a:gd name="T15" fmla="*/ 0 h 1728"/>
              <a:gd name="T16" fmla="*/ 214 w 1571"/>
              <a:gd name="T17" fmla="*/ 14 h 1728"/>
              <a:gd name="T18" fmla="*/ 72 w 1571"/>
              <a:gd name="T19" fmla="*/ 81 h 1728"/>
              <a:gd name="T20" fmla="*/ 141 w 1571"/>
              <a:gd name="T21" fmla="*/ 1617 h 1728"/>
              <a:gd name="T22" fmla="*/ 1271 w 1571"/>
              <a:gd name="T23" fmla="*/ 1656 h 1728"/>
              <a:gd name="T24" fmla="*/ 29 w 1571"/>
              <a:gd name="T25" fmla="*/ 153 h 1728"/>
              <a:gd name="T26" fmla="*/ 199 w 1571"/>
              <a:gd name="T27" fmla="*/ 173 h 1728"/>
              <a:gd name="T28" fmla="*/ 308 w 1571"/>
              <a:gd name="T29" fmla="*/ 158 h 1728"/>
              <a:gd name="T30" fmla="*/ 431 w 1571"/>
              <a:gd name="T31" fmla="*/ 110 h 1728"/>
              <a:gd name="T32" fmla="*/ 460 w 1571"/>
              <a:gd name="T33" fmla="*/ 110 h 1728"/>
              <a:gd name="T34" fmla="*/ 582 w 1571"/>
              <a:gd name="T35" fmla="*/ 158 h 1728"/>
              <a:gd name="T36" fmla="*/ 691 w 1571"/>
              <a:gd name="T37" fmla="*/ 173 h 1728"/>
              <a:gd name="T38" fmla="*/ 799 w 1571"/>
              <a:gd name="T39" fmla="*/ 158 h 1728"/>
              <a:gd name="T40" fmla="*/ 922 w 1571"/>
              <a:gd name="T41" fmla="*/ 110 h 1728"/>
              <a:gd name="T42" fmla="*/ 951 w 1571"/>
              <a:gd name="T43" fmla="*/ 110 h 1728"/>
              <a:gd name="T44" fmla="*/ 1130 w 1571"/>
              <a:gd name="T45" fmla="*/ 1545 h 1728"/>
              <a:gd name="T46" fmla="*/ 29 w 1571"/>
              <a:gd name="T47" fmla="*/ 1545 h 1728"/>
              <a:gd name="T48" fmla="*/ 170 w 1571"/>
              <a:gd name="T49" fmla="*/ 1656 h 1728"/>
              <a:gd name="T50" fmla="*/ 1159 w 1571"/>
              <a:gd name="T51" fmla="*/ 250 h 1728"/>
              <a:gd name="T52" fmla="*/ 222 w 1571"/>
              <a:gd name="T53" fmla="*/ 745 h 1728"/>
              <a:gd name="T54" fmla="*/ 242 w 1571"/>
              <a:gd name="T55" fmla="*/ 556 h 1728"/>
              <a:gd name="T56" fmla="*/ 430 w 1571"/>
              <a:gd name="T57" fmla="*/ 577 h 1728"/>
              <a:gd name="T58" fmla="*/ 420 w 1571"/>
              <a:gd name="T59" fmla="*/ 769 h 1728"/>
              <a:gd name="T60" fmla="*/ 232 w 1571"/>
              <a:gd name="T61" fmla="*/ 769 h 1728"/>
              <a:gd name="T62" fmla="*/ 854 w 1571"/>
              <a:gd name="T63" fmla="*/ 1132 h 1728"/>
              <a:gd name="T64" fmla="*/ 917 w 1571"/>
              <a:gd name="T65" fmla="*/ 1236 h 1728"/>
              <a:gd name="T66" fmla="*/ 729 w 1571"/>
              <a:gd name="T67" fmla="*/ 1236 h 1728"/>
              <a:gd name="T68" fmla="*/ 729 w 1571"/>
              <a:gd name="T69" fmla="*/ 1027 h 1728"/>
              <a:gd name="T70" fmla="*/ 938 w 1571"/>
              <a:gd name="T71" fmla="*/ 1027 h 1728"/>
              <a:gd name="T72" fmla="*/ 297 w 1571"/>
              <a:gd name="T73" fmla="*/ 1183 h 1728"/>
              <a:gd name="T74" fmla="*/ 377 w 1571"/>
              <a:gd name="T75" fmla="*/ 1291 h 1728"/>
              <a:gd name="T76" fmla="*/ 862 w 1571"/>
              <a:gd name="T77" fmla="*/ 552 h 1728"/>
              <a:gd name="T78" fmla="*/ 862 w 1571"/>
              <a:gd name="T79" fmla="*/ 552 h 1728"/>
              <a:gd name="T80" fmla="*/ 782 w 1571"/>
              <a:gd name="T81" fmla="*/ 444 h 1728"/>
              <a:gd name="T82" fmla="*/ 1398 w 1571"/>
              <a:gd name="T83" fmla="*/ 199 h 1728"/>
              <a:gd name="T84" fmla="*/ 1399 w 1571"/>
              <a:gd name="T85" fmla="*/ 1527 h 1728"/>
              <a:gd name="T86" fmla="*/ 1570 w 1571"/>
              <a:gd name="T87" fmla="*/ 1527 h 1728"/>
              <a:gd name="T88" fmla="*/ 1571 w 1571"/>
              <a:gd name="T89" fmla="*/ 199 h 1728"/>
              <a:gd name="T90" fmla="*/ 1542 w 1571"/>
              <a:gd name="T91" fmla="*/ 1508 h 1728"/>
              <a:gd name="T92" fmla="*/ 1542 w 1571"/>
              <a:gd name="T93" fmla="*/ 214 h 1728"/>
              <a:gd name="T94" fmla="*/ 1485 w 1571"/>
              <a:gd name="T95" fmla="*/ 1664 h 1728"/>
              <a:gd name="T96" fmla="*/ 481 w 1571"/>
              <a:gd name="T97" fmla="*/ 898 h 1728"/>
              <a:gd name="T98" fmla="*/ 765 w 1571"/>
              <a:gd name="T99" fmla="*/ 749 h 1728"/>
              <a:gd name="T100" fmla="*/ 958 w 1571"/>
              <a:gd name="T101" fmla="*/ 750 h 1728"/>
              <a:gd name="T102" fmla="*/ 485 w 1571"/>
              <a:gd name="T103" fmla="*/ 927 h 1728"/>
              <a:gd name="T104" fmla="*/ 481 w 1571"/>
              <a:gd name="T105" fmla="*/ 898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71" h="1728">
                <a:moveTo>
                  <a:pt x="1199" y="221"/>
                </a:moveTo>
                <a:cubicBezTo>
                  <a:pt x="1159" y="221"/>
                  <a:pt x="1159" y="221"/>
                  <a:pt x="1159" y="221"/>
                </a:cubicBezTo>
                <a:cubicBezTo>
                  <a:pt x="1159" y="153"/>
                  <a:pt x="1159" y="153"/>
                  <a:pt x="1159" y="153"/>
                </a:cubicBezTo>
                <a:cubicBezTo>
                  <a:pt x="1159" y="114"/>
                  <a:pt x="1127" y="81"/>
                  <a:pt x="1087" y="81"/>
                </a:cubicBezTo>
                <a:cubicBezTo>
                  <a:pt x="951" y="81"/>
                  <a:pt x="951" y="81"/>
                  <a:pt x="951" y="81"/>
                </a:cubicBezTo>
                <a:cubicBezTo>
                  <a:pt x="951" y="14"/>
                  <a:pt x="951" y="14"/>
                  <a:pt x="951" y="14"/>
                </a:cubicBezTo>
                <a:cubicBezTo>
                  <a:pt x="951" y="6"/>
                  <a:pt x="944" y="0"/>
                  <a:pt x="936" y="0"/>
                </a:cubicBezTo>
                <a:cubicBezTo>
                  <a:pt x="929" y="0"/>
                  <a:pt x="922" y="6"/>
                  <a:pt x="922" y="14"/>
                </a:cubicBezTo>
                <a:cubicBezTo>
                  <a:pt x="922" y="81"/>
                  <a:pt x="922" y="81"/>
                  <a:pt x="922" y="81"/>
                </a:cubicBezTo>
                <a:cubicBezTo>
                  <a:pt x="828" y="81"/>
                  <a:pt x="828" y="81"/>
                  <a:pt x="828" y="81"/>
                </a:cubicBezTo>
                <a:cubicBezTo>
                  <a:pt x="828" y="14"/>
                  <a:pt x="828" y="14"/>
                  <a:pt x="828" y="14"/>
                </a:cubicBezTo>
                <a:cubicBezTo>
                  <a:pt x="828" y="6"/>
                  <a:pt x="822" y="0"/>
                  <a:pt x="814" y="0"/>
                </a:cubicBezTo>
                <a:cubicBezTo>
                  <a:pt x="806" y="0"/>
                  <a:pt x="799" y="6"/>
                  <a:pt x="799" y="14"/>
                </a:cubicBezTo>
                <a:cubicBezTo>
                  <a:pt x="799" y="81"/>
                  <a:pt x="799" y="81"/>
                  <a:pt x="799" y="81"/>
                </a:cubicBezTo>
                <a:cubicBezTo>
                  <a:pt x="705" y="81"/>
                  <a:pt x="705" y="81"/>
                  <a:pt x="705" y="81"/>
                </a:cubicBezTo>
                <a:cubicBezTo>
                  <a:pt x="705" y="14"/>
                  <a:pt x="705" y="14"/>
                  <a:pt x="705" y="14"/>
                </a:cubicBezTo>
                <a:cubicBezTo>
                  <a:pt x="705" y="6"/>
                  <a:pt x="699" y="0"/>
                  <a:pt x="691" y="0"/>
                </a:cubicBezTo>
                <a:cubicBezTo>
                  <a:pt x="683" y="0"/>
                  <a:pt x="676" y="6"/>
                  <a:pt x="676" y="14"/>
                </a:cubicBezTo>
                <a:cubicBezTo>
                  <a:pt x="676" y="81"/>
                  <a:pt x="676" y="81"/>
                  <a:pt x="676" y="81"/>
                </a:cubicBezTo>
                <a:cubicBezTo>
                  <a:pt x="582" y="81"/>
                  <a:pt x="582" y="81"/>
                  <a:pt x="582" y="81"/>
                </a:cubicBezTo>
                <a:cubicBezTo>
                  <a:pt x="582" y="14"/>
                  <a:pt x="582" y="14"/>
                  <a:pt x="582" y="14"/>
                </a:cubicBezTo>
                <a:cubicBezTo>
                  <a:pt x="582" y="6"/>
                  <a:pt x="576" y="0"/>
                  <a:pt x="568" y="0"/>
                </a:cubicBezTo>
                <a:cubicBezTo>
                  <a:pt x="560" y="0"/>
                  <a:pt x="554" y="6"/>
                  <a:pt x="554" y="14"/>
                </a:cubicBezTo>
                <a:cubicBezTo>
                  <a:pt x="554" y="81"/>
                  <a:pt x="554" y="81"/>
                  <a:pt x="554" y="81"/>
                </a:cubicBezTo>
                <a:cubicBezTo>
                  <a:pt x="460" y="81"/>
                  <a:pt x="460" y="81"/>
                  <a:pt x="460" y="81"/>
                </a:cubicBezTo>
                <a:cubicBezTo>
                  <a:pt x="460" y="14"/>
                  <a:pt x="460" y="14"/>
                  <a:pt x="460" y="14"/>
                </a:cubicBezTo>
                <a:cubicBezTo>
                  <a:pt x="460" y="6"/>
                  <a:pt x="453" y="0"/>
                  <a:pt x="445" y="0"/>
                </a:cubicBezTo>
                <a:cubicBezTo>
                  <a:pt x="437" y="0"/>
                  <a:pt x="431" y="6"/>
                  <a:pt x="431" y="14"/>
                </a:cubicBezTo>
                <a:cubicBezTo>
                  <a:pt x="431" y="81"/>
                  <a:pt x="431" y="81"/>
                  <a:pt x="431" y="81"/>
                </a:cubicBezTo>
                <a:cubicBezTo>
                  <a:pt x="337" y="81"/>
                  <a:pt x="337" y="81"/>
                  <a:pt x="337" y="81"/>
                </a:cubicBezTo>
                <a:cubicBezTo>
                  <a:pt x="337" y="14"/>
                  <a:pt x="337" y="14"/>
                  <a:pt x="337" y="14"/>
                </a:cubicBezTo>
                <a:cubicBezTo>
                  <a:pt x="337" y="6"/>
                  <a:pt x="330" y="0"/>
                  <a:pt x="322" y="0"/>
                </a:cubicBezTo>
                <a:cubicBezTo>
                  <a:pt x="314" y="0"/>
                  <a:pt x="308" y="6"/>
                  <a:pt x="308" y="14"/>
                </a:cubicBezTo>
                <a:cubicBezTo>
                  <a:pt x="308" y="81"/>
                  <a:pt x="308" y="81"/>
                  <a:pt x="308" y="81"/>
                </a:cubicBezTo>
                <a:cubicBezTo>
                  <a:pt x="214" y="81"/>
                  <a:pt x="214" y="81"/>
                  <a:pt x="214" y="81"/>
                </a:cubicBezTo>
                <a:cubicBezTo>
                  <a:pt x="214" y="14"/>
                  <a:pt x="214" y="14"/>
                  <a:pt x="214" y="14"/>
                </a:cubicBezTo>
                <a:cubicBezTo>
                  <a:pt x="214" y="6"/>
                  <a:pt x="207" y="0"/>
                  <a:pt x="199" y="0"/>
                </a:cubicBezTo>
                <a:cubicBezTo>
                  <a:pt x="192" y="0"/>
                  <a:pt x="185" y="6"/>
                  <a:pt x="185" y="14"/>
                </a:cubicBezTo>
                <a:cubicBezTo>
                  <a:pt x="185" y="81"/>
                  <a:pt x="185" y="81"/>
                  <a:pt x="185" y="81"/>
                </a:cubicBezTo>
                <a:cubicBezTo>
                  <a:pt x="72" y="81"/>
                  <a:pt x="72" y="81"/>
                  <a:pt x="72" y="81"/>
                </a:cubicBezTo>
                <a:cubicBezTo>
                  <a:pt x="33" y="81"/>
                  <a:pt x="0" y="114"/>
                  <a:pt x="0" y="153"/>
                </a:cubicBezTo>
                <a:cubicBezTo>
                  <a:pt x="0" y="1545"/>
                  <a:pt x="0" y="1545"/>
                  <a:pt x="0" y="1545"/>
                </a:cubicBezTo>
                <a:cubicBezTo>
                  <a:pt x="0" y="1585"/>
                  <a:pt x="33" y="1617"/>
                  <a:pt x="72" y="1617"/>
                </a:cubicBezTo>
                <a:cubicBezTo>
                  <a:pt x="141" y="1617"/>
                  <a:pt x="141" y="1617"/>
                  <a:pt x="141" y="1617"/>
                </a:cubicBezTo>
                <a:cubicBezTo>
                  <a:pt x="141" y="1656"/>
                  <a:pt x="141" y="1656"/>
                  <a:pt x="141" y="1656"/>
                </a:cubicBezTo>
                <a:cubicBezTo>
                  <a:pt x="141" y="1696"/>
                  <a:pt x="174" y="1728"/>
                  <a:pt x="213" y="1728"/>
                </a:cubicBezTo>
                <a:cubicBezTo>
                  <a:pt x="1199" y="1728"/>
                  <a:pt x="1199" y="1728"/>
                  <a:pt x="1199" y="1728"/>
                </a:cubicBezTo>
                <a:cubicBezTo>
                  <a:pt x="1239" y="1728"/>
                  <a:pt x="1271" y="1696"/>
                  <a:pt x="1271" y="1656"/>
                </a:cubicBezTo>
                <a:cubicBezTo>
                  <a:pt x="1271" y="293"/>
                  <a:pt x="1271" y="293"/>
                  <a:pt x="1271" y="293"/>
                </a:cubicBezTo>
                <a:cubicBezTo>
                  <a:pt x="1271" y="254"/>
                  <a:pt x="1239" y="221"/>
                  <a:pt x="1199" y="221"/>
                </a:cubicBezTo>
                <a:close/>
                <a:moveTo>
                  <a:pt x="29" y="1545"/>
                </a:moveTo>
                <a:cubicBezTo>
                  <a:pt x="29" y="153"/>
                  <a:pt x="29" y="153"/>
                  <a:pt x="29" y="153"/>
                </a:cubicBezTo>
                <a:cubicBezTo>
                  <a:pt x="29" y="130"/>
                  <a:pt x="48" y="110"/>
                  <a:pt x="72" y="110"/>
                </a:cubicBezTo>
                <a:cubicBezTo>
                  <a:pt x="185" y="110"/>
                  <a:pt x="185" y="110"/>
                  <a:pt x="185" y="110"/>
                </a:cubicBezTo>
                <a:cubicBezTo>
                  <a:pt x="185" y="158"/>
                  <a:pt x="185" y="158"/>
                  <a:pt x="185" y="158"/>
                </a:cubicBezTo>
                <a:cubicBezTo>
                  <a:pt x="185" y="166"/>
                  <a:pt x="192" y="173"/>
                  <a:pt x="199" y="173"/>
                </a:cubicBezTo>
                <a:cubicBezTo>
                  <a:pt x="207" y="173"/>
                  <a:pt x="214" y="166"/>
                  <a:pt x="214" y="158"/>
                </a:cubicBezTo>
                <a:cubicBezTo>
                  <a:pt x="214" y="110"/>
                  <a:pt x="214" y="110"/>
                  <a:pt x="214" y="110"/>
                </a:cubicBezTo>
                <a:cubicBezTo>
                  <a:pt x="308" y="110"/>
                  <a:pt x="308" y="110"/>
                  <a:pt x="308" y="110"/>
                </a:cubicBezTo>
                <a:cubicBezTo>
                  <a:pt x="308" y="158"/>
                  <a:pt x="308" y="158"/>
                  <a:pt x="308" y="158"/>
                </a:cubicBezTo>
                <a:cubicBezTo>
                  <a:pt x="308" y="166"/>
                  <a:pt x="314" y="173"/>
                  <a:pt x="322" y="173"/>
                </a:cubicBezTo>
                <a:cubicBezTo>
                  <a:pt x="330" y="173"/>
                  <a:pt x="337" y="166"/>
                  <a:pt x="337" y="158"/>
                </a:cubicBezTo>
                <a:cubicBezTo>
                  <a:pt x="337" y="110"/>
                  <a:pt x="337" y="110"/>
                  <a:pt x="337" y="110"/>
                </a:cubicBezTo>
                <a:cubicBezTo>
                  <a:pt x="431" y="110"/>
                  <a:pt x="431" y="110"/>
                  <a:pt x="431" y="110"/>
                </a:cubicBezTo>
                <a:cubicBezTo>
                  <a:pt x="431" y="158"/>
                  <a:pt x="431" y="158"/>
                  <a:pt x="431" y="158"/>
                </a:cubicBezTo>
                <a:cubicBezTo>
                  <a:pt x="431" y="166"/>
                  <a:pt x="437" y="173"/>
                  <a:pt x="445" y="173"/>
                </a:cubicBezTo>
                <a:cubicBezTo>
                  <a:pt x="453" y="173"/>
                  <a:pt x="460" y="166"/>
                  <a:pt x="460" y="158"/>
                </a:cubicBezTo>
                <a:cubicBezTo>
                  <a:pt x="460" y="110"/>
                  <a:pt x="460" y="110"/>
                  <a:pt x="460" y="110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58"/>
                  <a:pt x="554" y="158"/>
                  <a:pt x="554" y="158"/>
                </a:cubicBezTo>
                <a:cubicBezTo>
                  <a:pt x="554" y="166"/>
                  <a:pt x="560" y="173"/>
                  <a:pt x="568" y="173"/>
                </a:cubicBezTo>
                <a:cubicBezTo>
                  <a:pt x="576" y="173"/>
                  <a:pt x="582" y="166"/>
                  <a:pt x="582" y="158"/>
                </a:cubicBezTo>
                <a:cubicBezTo>
                  <a:pt x="582" y="110"/>
                  <a:pt x="582" y="110"/>
                  <a:pt x="582" y="110"/>
                </a:cubicBezTo>
                <a:cubicBezTo>
                  <a:pt x="676" y="110"/>
                  <a:pt x="676" y="110"/>
                  <a:pt x="676" y="110"/>
                </a:cubicBezTo>
                <a:cubicBezTo>
                  <a:pt x="676" y="158"/>
                  <a:pt x="676" y="158"/>
                  <a:pt x="676" y="158"/>
                </a:cubicBezTo>
                <a:cubicBezTo>
                  <a:pt x="676" y="166"/>
                  <a:pt x="683" y="173"/>
                  <a:pt x="691" y="173"/>
                </a:cubicBezTo>
                <a:cubicBezTo>
                  <a:pt x="699" y="173"/>
                  <a:pt x="705" y="166"/>
                  <a:pt x="705" y="158"/>
                </a:cubicBezTo>
                <a:cubicBezTo>
                  <a:pt x="705" y="110"/>
                  <a:pt x="705" y="110"/>
                  <a:pt x="705" y="110"/>
                </a:cubicBezTo>
                <a:cubicBezTo>
                  <a:pt x="799" y="110"/>
                  <a:pt x="799" y="110"/>
                  <a:pt x="799" y="110"/>
                </a:cubicBezTo>
                <a:cubicBezTo>
                  <a:pt x="799" y="158"/>
                  <a:pt x="799" y="158"/>
                  <a:pt x="799" y="158"/>
                </a:cubicBezTo>
                <a:cubicBezTo>
                  <a:pt x="799" y="166"/>
                  <a:pt x="806" y="173"/>
                  <a:pt x="814" y="173"/>
                </a:cubicBezTo>
                <a:cubicBezTo>
                  <a:pt x="822" y="173"/>
                  <a:pt x="828" y="166"/>
                  <a:pt x="828" y="158"/>
                </a:cubicBezTo>
                <a:cubicBezTo>
                  <a:pt x="828" y="110"/>
                  <a:pt x="828" y="110"/>
                  <a:pt x="828" y="110"/>
                </a:cubicBezTo>
                <a:cubicBezTo>
                  <a:pt x="922" y="110"/>
                  <a:pt x="922" y="110"/>
                  <a:pt x="922" y="110"/>
                </a:cubicBezTo>
                <a:cubicBezTo>
                  <a:pt x="922" y="158"/>
                  <a:pt x="922" y="158"/>
                  <a:pt x="922" y="158"/>
                </a:cubicBezTo>
                <a:cubicBezTo>
                  <a:pt x="922" y="166"/>
                  <a:pt x="929" y="173"/>
                  <a:pt x="936" y="173"/>
                </a:cubicBezTo>
                <a:cubicBezTo>
                  <a:pt x="944" y="173"/>
                  <a:pt x="951" y="166"/>
                  <a:pt x="951" y="158"/>
                </a:cubicBezTo>
                <a:cubicBezTo>
                  <a:pt x="951" y="110"/>
                  <a:pt x="951" y="110"/>
                  <a:pt x="951" y="110"/>
                </a:cubicBezTo>
                <a:cubicBezTo>
                  <a:pt x="1087" y="110"/>
                  <a:pt x="1087" y="110"/>
                  <a:pt x="1087" y="110"/>
                </a:cubicBezTo>
                <a:cubicBezTo>
                  <a:pt x="1111" y="110"/>
                  <a:pt x="1130" y="130"/>
                  <a:pt x="1130" y="153"/>
                </a:cubicBezTo>
                <a:cubicBezTo>
                  <a:pt x="1130" y="236"/>
                  <a:pt x="1130" y="236"/>
                  <a:pt x="1130" y="236"/>
                </a:cubicBezTo>
                <a:cubicBezTo>
                  <a:pt x="1130" y="1545"/>
                  <a:pt x="1130" y="1545"/>
                  <a:pt x="1130" y="1545"/>
                </a:cubicBezTo>
                <a:cubicBezTo>
                  <a:pt x="1130" y="1569"/>
                  <a:pt x="1111" y="1588"/>
                  <a:pt x="1087" y="1588"/>
                </a:cubicBezTo>
                <a:cubicBezTo>
                  <a:pt x="156" y="1588"/>
                  <a:pt x="156" y="1588"/>
                  <a:pt x="156" y="1588"/>
                </a:cubicBezTo>
                <a:cubicBezTo>
                  <a:pt x="72" y="1588"/>
                  <a:pt x="72" y="1588"/>
                  <a:pt x="72" y="1588"/>
                </a:cubicBezTo>
                <a:cubicBezTo>
                  <a:pt x="48" y="1588"/>
                  <a:pt x="29" y="1569"/>
                  <a:pt x="29" y="1545"/>
                </a:cubicBezTo>
                <a:close/>
                <a:moveTo>
                  <a:pt x="1242" y="1656"/>
                </a:moveTo>
                <a:cubicBezTo>
                  <a:pt x="1242" y="1680"/>
                  <a:pt x="1223" y="1699"/>
                  <a:pt x="1199" y="1699"/>
                </a:cubicBezTo>
                <a:cubicBezTo>
                  <a:pt x="213" y="1699"/>
                  <a:pt x="213" y="1699"/>
                  <a:pt x="213" y="1699"/>
                </a:cubicBezTo>
                <a:cubicBezTo>
                  <a:pt x="189" y="1699"/>
                  <a:pt x="170" y="1680"/>
                  <a:pt x="170" y="1656"/>
                </a:cubicBezTo>
                <a:cubicBezTo>
                  <a:pt x="170" y="1617"/>
                  <a:pt x="170" y="1617"/>
                  <a:pt x="170" y="1617"/>
                </a:cubicBezTo>
                <a:cubicBezTo>
                  <a:pt x="1087" y="1617"/>
                  <a:pt x="1087" y="1617"/>
                  <a:pt x="1087" y="1617"/>
                </a:cubicBezTo>
                <a:cubicBezTo>
                  <a:pt x="1127" y="1617"/>
                  <a:pt x="1159" y="1585"/>
                  <a:pt x="1159" y="1545"/>
                </a:cubicBezTo>
                <a:cubicBezTo>
                  <a:pt x="1159" y="250"/>
                  <a:pt x="1159" y="250"/>
                  <a:pt x="1159" y="250"/>
                </a:cubicBezTo>
                <a:cubicBezTo>
                  <a:pt x="1199" y="250"/>
                  <a:pt x="1199" y="250"/>
                  <a:pt x="1199" y="250"/>
                </a:cubicBezTo>
                <a:cubicBezTo>
                  <a:pt x="1223" y="250"/>
                  <a:pt x="1242" y="269"/>
                  <a:pt x="1242" y="293"/>
                </a:cubicBezTo>
                <a:lnTo>
                  <a:pt x="1242" y="1656"/>
                </a:lnTo>
                <a:close/>
                <a:moveTo>
                  <a:pt x="222" y="745"/>
                </a:moveTo>
                <a:cubicBezTo>
                  <a:pt x="306" y="661"/>
                  <a:pt x="306" y="661"/>
                  <a:pt x="306" y="661"/>
                </a:cubicBezTo>
                <a:cubicBezTo>
                  <a:pt x="222" y="577"/>
                  <a:pt x="222" y="577"/>
                  <a:pt x="222" y="577"/>
                </a:cubicBezTo>
                <a:cubicBezTo>
                  <a:pt x="216" y="571"/>
                  <a:pt x="216" y="562"/>
                  <a:pt x="222" y="556"/>
                </a:cubicBezTo>
                <a:cubicBezTo>
                  <a:pt x="227" y="551"/>
                  <a:pt x="236" y="551"/>
                  <a:pt x="242" y="556"/>
                </a:cubicBezTo>
                <a:cubicBezTo>
                  <a:pt x="326" y="640"/>
                  <a:pt x="326" y="640"/>
                  <a:pt x="326" y="640"/>
                </a:cubicBezTo>
                <a:cubicBezTo>
                  <a:pt x="410" y="556"/>
                  <a:pt x="410" y="556"/>
                  <a:pt x="410" y="556"/>
                </a:cubicBezTo>
                <a:cubicBezTo>
                  <a:pt x="416" y="551"/>
                  <a:pt x="425" y="551"/>
                  <a:pt x="430" y="556"/>
                </a:cubicBezTo>
                <a:cubicBezTo>
                  <a:pt x="436" y="562"/>
                  <a:pt x="436" y="571"/>
                  <a:pt x="430" y="577"/>
                </a:cubicBezTo>
                <a:cubicBezTo>
                  <a:pt x="346" y="661"/>
                  <a:pt x="346" y="661"/>
                  <a:pt x="346" y="661"/>
                </a:cubicBezTo>
                <a:cubicBezTo>
                  <a:pt x="430" y="745"/>
                  <a:pt x="430" y="745"/>
                  <a:pt x="430" y="745"/>
                </a:cubicBezTo>
                <a:cubicBezTo>
                  <a:pt x="436" y="750"/>
                  <a:pt x="436" y="760"/>
                  <a:pt x="430" y="765"/>
                </a:cubicBezTo>
                <a:cubicBezTo>
                  <a:pt x="427" y="768"/>
                  <a:pt x="424" y="769"/>
                  <a:pt x="420" y="769"/>
                </a:cubicBezTo>
                <a:cubicBezTo>
                  <a:pt x="416" y="769"/>
                  <a:pt x="413" y="768"/>
                  <a:pt x="410" y="765"/>
                </a:cubicBezTo>
                <a:cubicBezTo>
                  <a:pt x="326" y="681"/>
                  <a:pt x="326" y="681"/>
                  <a:pt x="326" y="681"/>
                </a:cubicBezTo>
                <a:cubicBezTo>
                  <a:pt x="242" y="765"/>
                  <a:pt x="242" y="765"/>
                  <a:pt x="242" y="765"/>
                </a:cubicBezTo>
                <a:cubicBezTo>
                  <a:pt x="239" y="768"/>
                  <a:pt x="235" y="769"/>
                  <a:pt x="232" y="769"/>
                </a:cubicBezTo>
                <a:cubicBezTo>
                  <a:pt x="228" y="769"/>
                  <a:pt x="224" y="768"/>
                  <a:pt x="222" y="765"/>
                </a:cubicBezTo>
                <a:cubicBezTo>
                  <a:pt x="216" y="760"/>
                  <a:pt x="216" y="750"/>
                  <a:pt x="222" y="745"/>
                </a:cubicBezTo>
                <a:close/>
                <a:moveTo>
                  <a:pt x="938" y="1048"/>
                </a:moveTo>
                <a:cubicBezTo>
                  <a:pt x="854" y="1132"/>
                  <a:pt x="854" y="1132"/>
                  <a:pt x="854" y="1132"/>
                </a:cubicBezTo>
                <a:cubicBezTo>
                  <a:pt x="938" y="1216"/>
                  <a:pt x="938" y="1216"/>
                  <a:pt x="938" y="1216"/>
                </a:cubicBezTo>
                <a:cubicBezTo>
                  <a:pt x="943" y="1221"/>
                  <a:pt x="943" y="1230"/>
                  <a:pt x="938" y="1236"/>
                </a:cubicBezTo>
                <a:cubicBezTo>
                  <a:pt x="935" y="1239"/>
                  <a:pt x="931" y="1240"/>
                  <a:pt x="928" y="1240"/>
                </a:cubicBezTo>
                <a:cubicBezTo>
                  <a:pt x="924" y="1240"/>
                  <a:pt x="920" y="1239"/>
                  <a:pt x="917" y="1236"/>
                </a:cubicBezTo>
                <a:cubicBezTo>
                  <a:pt x="833" y="1152"/>
                  <a:pt x="833" y="1152"/>
                  <a:pt x="833" y="1152"/>
                </a:cubicBezTo>
                <a:cubicBezTo>
                  <a:pt x="749" y="1236"/>
                  <a:pt x="749" y="1236"/>
                  <a:pt x="749" y="1236"/>
                </a:cubicBezTo>
                <a:cubicBezTo>
                  <a:pt x="747" y="1239"/>
                  <a:pt x="743" y="1240"/>
                  <a:pt x="739" y="1240"/>
                </a:cubicBezTo>
                <a:cubicBezTo>
                  <a:pt x="736" y="1240"/>
                  <a:pt x="732" y="1239"/>
                  <a:pt x="729" y="1236"/>
                </a:cubicBezTo>
                <a:cubicBezTo>
                  <a:pt x="723" y="1230"/>
                  <a:pt x="723" y="1221"/>
                  <a:pt x="729" y="1216"/>
                </a:cubicBezTo>
                <a:cubicBezTo>
                  <a:pt x="813" y="1132"/>
                  <a:pt x="813" y="1132"/>
                  <a:pt x="813" y="1132"/>
                </a:cubicBezTo>
                <a:cubicBezTo>
                  <a:pt x="729" y="1048"/>
                  <a:pt x="729" y="1048"/>
                  <a:pt x="729" y="1048"/>
                </a:cubicBezTo>
                <a:cubicBezTo>
                  <a:pt x="723" y="1042"/>
                  <a:pt x="723" y="1033"/>
                  <a:pt x="729" y="1027"/>
                </a:cubicBezTo>
                <a:cubicBezTo>
                  <a:pt x="735" y="1022"/>
                  <a:pt x="744" y="1022"/>
                  <a:pt x="749" y="1027"/>
                </a:cubicBezTo>
                <a:cubicBezTo>
                  <a:pt x="833" y="1111"/>
                  <a:pt x="833" y="1111"/>
                  <a:pt x="833" y="1111"/>
                </a:cubicBezTo>
                <a:cubicBezTo>
                  <a:pt x="917" y="1027"/>
                  <a:pt x="917" y="1027"/>
                  <a:pt x="917" y="1027"/>
                </a:cubicBezTo>
                <a:cubicBezTo>
                  <a:pt x="923" y="1022"/>
                  <a:pt x="932" y="1022"/>
                  <a:pt x="938" y="1027"/>
                </a:cubicBezTo>
                <a:cubicBezTo>
                  <a:pt x="943" y="1033"/>
                  <a:pt x="943" y="1042"/>
                  <a:pt x="938" y="1048"/>
                </a:cubicBezTo>
                <a:close/>
                <a:moveTo>
                  <a:pt x="297" y="1400"/>
                </a:moveTo>
                <a:cubicBezTo>
                  <a:pt x="357" y="1400"/>
                  <a:pt x="406" y="1351"/>
                  <a:pt x="406" y="1291"/>
                </a:cubicBezTo>
                <a:cubicBezTo>
                  <a:pt x="406" y="1231"/>
                  <a:pt x="357" y="1183"/>
                  <a:pt x="297" y="1183"/>
                </a:cubicBezTo>
                <a:cubicBezTo>
                  <a:pt x="237" y="1183"/>
                  <a:pt x="189" y="1231"/>
                  <a:pt x="189" y="1291"/>
                </a:cubicBezTo>
                <a:cubicBezTo>
                  <a:pt x="189" y="1351"/>
                  <a:pt x="237" y="1400"/>
                  <a:pt x="297" y="1400"/>
                </a:cubicBezTo>
                <a:close/>
                <a:moveTo>
                  <a:pt x="297" y="1211"/>
                </a:moveTo>
                <a:cubicBezTo>
                  <a:pt x="341" y="1211"/>
                  <a:pt x="377" y="1247"/>
                  <a:pt x="377" y="1291"/>
                </a:cubicBezTo>
                <a:cubicBezTo>
                  <a:pt x="377" y="1335"/>
                  <a:pt x="341" y="1371"/>
                  <a:pt x="297" y="1371"/>
                </a:cubicBezTo>
                <a:cubicBezTo>
                  <a:pt x="253" y="1371"/>
                  <a:pt x="217" y="1335"/>
                  <a:pt x="217" y="1291"/>
                </a:cubicBezTo>
                <a:cubicBezTo>
                  <a:pt x="217" y="1247"/>
                  <a:pt x="253" y="1211"/>
                  <a:pt x="297" y="1211"/>
                </a:cubicBezTo>
                <a:close/>
                <a:moveTo>
                  <a:pt x="862" y="552"/>
                </a:moveTo>
                <a:cubicBezTo>
                  <a:pt x="922" y="552"/>
                  <a:pt x="971" y="504"/>
                  <a:pt x="971" y="444"/>
                </a:cubicBezTo>
                <a:cubicBezTo>
                  <a:pt x="971" y="384"/>
                  <a:pt x="922" y="335"/>
                  <a:pt x="862" y="335"/>
                </a:cubicBezTo>
                <a:cubicBezTo>
                  <a:pt x="802" y="335"/>
                  <a:pt x="754" y="384"/>
                  <a:pt x="754" y="444"/>
                </a:cubicBezTo>
                <a:cubicBezTo>
                  <a:pt x="754" y="504"/>
                  <a:pt x="802" y="552"/>
                  <a:pt x="862" y="552"/>
                </a:cubicBezTo>
                <a:close/>
                <a:moveTo>
                  <a:pt x="862" y="364"/>
                </a:moveTo>
                <a:cubicBezTo>
                  <a:pt x="906" y="364"/>
                  <a:pt x="942" y="400"/>
                  <a:pt x="942" y="444"/>
                </a:cubicBezTo>
                <a:cubicBezTo>
                  <a:pt x="942" y="488"/>
                  <a:pt x="906" y="523"/>
                  <a:pt x="862" y="523"/>
                </a:cubicBezTo>
                <a:cubicBezTo>
                  <a:pt x="818" y="523"/>
                  <a:pt x="782" y="488"/>
                  <a:pt x="782" y="444"/>
                </a:cubicBezTo>
                <a:cubicBezTo>
                  <a:pt x="782" y="400"/>
                  <a:pt x="818" y="364"/>
                  <a:pt x="862" y="364"/>
                </a:cubicBezTo>
                <a:close/>
                <a:moveTo>
                  <a:pt x="1557" y="185"/>
                </a:moveTo>
                <a:cubicBezTo>
                  <a:pt x="1412" y="185"/>
                  <a:pt x="1412" y="185"/>
                  <a:pt x="1412" y="185"/>
                </a:cubicBezTo>
                <a:cubicBezTo>
                  <a:pt x="1405" y="185"/>
                  <a:pt x="1398" y="191"/>
                  <a:pt x="1398" y="199"/>
                </a:cubicBezTo>
                <a:cubicBezTo>
                  <a:pt x="1398" y="317"/>
                  <a:pt x="1398" y="317"/>
                  <a:pt x="1398" y="317"/>
                </a:cubicBezTo>
                <a:cubicBezTo>
                  <a:pt x="1398" y="1522"/>
                  <a:pt x="1398" y="1522"/>
                  <a:pt x="1398" y="1522"/>
                </a:cubicBezTo>
                <a:cubicBezTo>
                  <a:pt x="1398" y="1523"/>
                  <a:pt x="1399" y="1525"/>
                  <a:pt x="1399" y="1526"/>
                </a:cubicBezTo>
                <a:cubicBezTo>
                  <a:pt x="1399" y="1527"/>
                  <a:pt x="1399" y="1527"/>
                  <a:pt x="1399" y="1527"/>
                </a:cubicBezTo>
                <a:cubicBezTo>
                  <a:pt x="1471" y="1708"/>
                  <a:pt x="1471" y="1708"/>
                  <a:pt x="1471" y="1708"/>
                </a:cubicBezTo>
                <a:cubicBezTo>
                  <a:pt x="1473" y="1714"/>
                  <a:pt x="1479" y="1717"/>
                  <a:pt x="1485" y="1717"/>
                </a:cubicBezTo>
                <a:cubicBezTo>
                  <a:pt x="1490" y="1717"/>
                  <a:pt x="1496" y="1714"/>
                  <a:pt x="1498" y="1708"/>
                </a:cubicBezTo>
                <a:cubicBezTo>
                  <a:pt x="1570" y="1527"/>
                  <a:pt x="1570" y="1527"/>
                  <a:pt x="1570" y="1527"/>
                </a:cubicBezTo>
                <a:cubicBezTo>
                  <a:pt x="1570" y="1527"/>
                  <a:pt x="1570" y="1527"/>
                  <a:pt x="1570" y="1526"/>
                </a:cubicBezTo>
                <a:cubicBezTo>
                  <a:pt x="1571" y="1525"/>
                  <a:pt x="1571" y="1523"/>
                  <a:pt x="1571" y="1522"/>
                </a:cubicBezTo>
                <a:cubicBezTo>
                  <a:pt x="1571" y="317"/>
                  <a:pt x="1571" y="317"/>
                  <a:pt x="1571" y="317"/>
                </a:cubicBezTo>
                <a:cubicBezTo>
                  <a:pt x="1571" y="199"/>
                  <a:pt x="1571" y="199"/>
                  <a:pt x="1571" y="199"/>
                </a:cubicBezTo>
                <a:cubicBezTo>
                  <a:pt x="1571" y="191"/>
                  <a:pt x="1565" y="185"/>
                  <a:pt x="1557" y="185"/>
                </a:cubicBezTo>
                <a:close/>
                <a:moveTo>
                  <a:pt x="1427" y="331"/>
                </a:moveTo>
                <a:cubicBezTo>
                  <a:pt x="1542" y="331"/>
                  <a:pt x="1542" y="331"/>
                  <a:pt x="1542" y="331"/>
                </a:cubicBezTo>
                <a:cubicBezTo>
                  <a:pt x="1542" y="1508"/>
                  <a:pt x="1542" y="1508"/>
                  <a:pt x="1542" y="1508"/>
                </a:cubicBezTo>
                <a:cubicBezTo>
                  <a:pt x="1427" y="1508"/>
                  <a:pt x="1427" y="1508"/>
                  <a:pt x="1427" y="1508"/>
                </a:cubicBezTo>
                <a:lnTo>
                  <a:pt x="1427" y="331"/>
                </a:lnTo>
                <a:close/>
                <a:moveTo>
                  <a:pt x="1427" y="214"/>
                </a:moveTo>
                <a:cubicBezTo>
                  <a:pt x="1542" y="214"/>
                  <a:pt x="1542" y="214"/>
                  <a:pt x="1542" y="214"/>
                </a:cubicBezTo>
                <a:cubicBezTo>
                  <a:pt x="1542" y="303"/>
                  <a:pt x="1542" y="303"/>
                  <a:pt x="1542" y="303"/>
                </a:cubicBezTo>
                <a:cubicBezTo>
                  <a:pt x="1427" y="303"/>
                  <a:pt x="1427" y="303"/>
                  <a:pt x="1427" y="303"/>
                </a:cubicBezTo>
                <a:lnTo>
                  <a:pt x="1427" y="214"/>
                </a:lnTo>
                <a:close/>
                <a:moveTo>
                  <a:pt x="1485" y="1664"/>
                </a:moveTo>
                <a:cubicBezTo>
                  <a:pt x="1434" y="1536"/>
                  <a:pt x="1434" y="1536"/>
                  <a:pt x="1434" y="1536"/>
                </a:cubicBezTo>
                <a:cubicBezTo>
                  <a:pt x="1535" y="1536"/>
                  <a:pt x="1535" y="1536"/>
                  <a:pt x="1535" y="1536"/>
                </a:cubicBezTo>
                <a:lnTo>
                  <a:pt x="1485" y="1664"/>
                </a:lnTo>
                <a:close/>
                <a:moveTo>
                  <a:pt x="481" y="898"/>
                </a:moveTo>
                <a:cubicBezTo>
                  <a:pt x="717" y="859"/>
                  <a:pt x="717" y="859"/>
                  <a:pt x="717" y="859"/>
                </a:cubicBezTo>
                <a:cubicBezTo>
                  <a:pt x="789" y="847"/>
                  <a:pt x="848" y="778"/>
                  <a:pt x="848" y="705"/>
                </a:cubicBezTo>
                <a:cubicBezTo>
                  <a:pt x="848" y="661"/>
                  <a:pt x="848" y="661"/>
                  <a:pt x="848" y="661"/>
                </a:cubicBezTo>
                <a:cubicBezTo>
                  <a:pt x="765" y="749"/>
                  <a:pt x="765" y="749"/>
                  <a:pt x="765" y="749"/>
                </a:cubicBezTo>
                <a:cubicBezTo>
                  <a:pt x="744" y="729"/>
                  <a:pt x="744" y="729"/>
                  <a:pt x="744" y="729"/>
                </a:cubicBezTo>
                <a:cubicBezTo>
                  <a:pt x="862" y="603"/>
                  <a:pt x="862" y="603"/>
                  <a:pt x="862" y="603"/>
                </a:cubicBezTo>
                <a:cubicBezTo>
                  <a:pt x="979" y="730"/>
                  <a:pt x="979" y="730"/>
                  <a:pt x="979" y="730"/>
                </a:cubicBezTo>
                <a:cubicBezTo>
                  <a:pt x="958" y="750"/>
                  <a:pt x="958" y="750"/>
                  <a:pt x="958" y="750"/>
                </a:cubicBezTo>
                <a:cubicBezTo>
                  <a:pt x="877" y="661"/>
                  <a:pt x="877" y="661"/>
                  <a:pt x="877" y="661"/>
                </a:cubicBezTo>
                <a:cubicBezTo>
                  <a:pt x="877" y="705"/>
                  <a:pt x="877" y="705"/>
                  <a:pt x="877" y="705"/>
                </a:cubicBezTo>
                <a:cubicBezTo>
                  <a:pt x="877" y="791"/>
                  <a:pt x="807" y="873"/>
                  <a:pt x="722" y="887"/>
                </a:cubicBezTo>
                <a:cubicBezTo>
                  <a:pt x="485" y="927"/>
                  <a:pt x="485" y="927"/>
                  <a:pt x="485" y="927"/>
                </a:cubicBezTo>
                <a:cubicBezTo>
                  <a:pt x="385" y="943"/>
                  <a:pt x="312" y="1030"/>
                  <a:pt x="312" y="1132"/>
                </a:cubicBezTo>
                <a:cubicBezTo>
                  <a:pt x="312" y="1140"/>
                  <a:pt x="305" y="1146"/>
                  <a:pt x="297" y="1146"/>
                </a:cubicBezTo>
                <a:cubicBezTo>
                  <a:pt x="289" y="1146"/>
                  <a:pt x="283" y="1140"/>
                  <a:pt x="283" y="1132"/>
                </a:cubicBezTo>
                <a:cubicBezTo>
                  <a:pt x="283" y="1015"/>
                  <a:pt x="366" y="917"/>
                  <a:pt x="481" y="8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latin typeface="Lato" panose="020F0502020204030203" pitchFamily="34" charset="0"/>
            </a:endParaRPr>
          </a:p>
        </p:txBody>
      </p:sp>
      <p:sp>
        <p:nvSpPr>
          <p:cNvPr id="22" name="Freeform 9"/>
          <p:cNvSpPr>
            <a:spLocks noEditPoints="1"/>
          </p:cNvSpPr>
          <p:nvPr/>
        </p:nvSpPr>
        <p:spPr bwMode="auto">
          <a:xfrm>
            <a:off x="3542698" y="2319708"/>
            <a:ext cx="500507" cy="484511"/>
          </a:xfrm>
          <a:custGeom>
            <a:avLst/>
            <a:gdLst>
              <a:gd name="T0" fmla="*/ 1342 w 2126"/>
              <a:gd name="T1" fmla="*/ 1292 h 2058"/>
              <a:gd name="T2" fmla="*/ 964 w 2126"/>
              <a:gd name="T3" fmla="*/ 1093 h 2058"/>
              <a:gd name="T4" fmla="*/ 1720 w 2126"/>
              <a:gd name="T5" fmla="*/ 1093 h 2058"/>
              <a:gd name="T6" fmla="*/ 836 w 2126"/>
              <a:gd name="T7" fmla="*/ 210 h 2058"/>
              <a:gd name="T8" fmla="*/ 613 w 2126"/>
              <a:gd name="T9" fmla="*/ 1195 h 2058"/>
              <a:gd name="T10" fmla="*/ 43 w 2126"/>
              <a:gd name="T11" fmla="*/ 1998 h 2058"/>
              <a:gd name="T12" fmla="*/ 851 w 2126"/>
              <a:gd name="T13" fmla="*/ 1432 h 2058"/>
              <a:gd name="T14" fmla="*/ 1034 w 2126"/>
              <a:gd name="T15" fmla="*/ 1360 h 2058"/>
              <a:gd name="T16" fmla="*/ 1847 w 2126"/>
              <a:gd name="T17" fmla="*/ 210 h 2058"/>
              <a:gd name="T18" fmla="*/ 42 w 2126"/>
              <a:gd name="T19" fmla="*/ 1893 h 2058"/>
              <a:gd name="T20" fmla="*/ 239 w 2126"/>
              <a:gd name="T21" fmla="*/ 1984 h 2058"/>
              <a:gd name="T22" fmla="*/ 881 w 2126"/>
              <a:gd name="T23" fmla="*/ 1402 h 2058"/>
              <a:gd name="T24" fmla="*/ 643 w 2126"/>
              <a:gd name="T25" fmla="*/ 1135 h 2058"/>
              <a:gd name="T26" fmla="*/ 754 w 2126"/>
              <a:gd name="T27" fmla="*/ 1122 h 2058"/>
              <a:gd name="T28" fmla="*/ 836 w 2126"/>
              <a:gd name="T29" fmla="*/ 1221 h 2058"/>
              <a:gd name="T30" fmla="*/ 935 w 2126"/>
              <a:gd name="T31" fmla="*/ 1303 h 2058"/>
              <a:gd name="T32" fmla="*/ 922 w 2126"/>
              <a:gd name="T33" fmla="*/ 1413 h 2058"/>
              <a:gd name="T34" fmla="*/ 866 w 2126"/>
              <a:gd name="T35" fmla="*/ 1191 h 2058"/>
              <a:gd name="T36" fmla="*/ 741 w 2126"/>
              <a:gd name="T37" fmla="*/ 1016 h 2058"/>
              <a:gd name="T38" fmla="*/ 1342 w 2126"/>
              <a:gd name="T39" fmla="*/ 43 h 2058"/>
              <a:gd name="T40" fmla="*/ 1512 w 2126"/>
              <a:gd name="T41" fmla="*/ 620 h 2058"/>
              <a:gd name="T42" fmla="*/ 1247 w 2126"/>
              <a:gd name="T43" fmla="*/ 545 h 2058"/>
              <a:gd name="T44" fmla="*/ 1155 w 2126"/>
              <a:gd name="T45" fmla="*/ 768 h 2058"/>
              <a:gd name="T46" fmla="*/ 1342 w 2126"/>
              <a:gd name="T47" fmla="*/ 910 h 2058"/>
              <a:gd name="T48" fmla="*/ 1529 w 2126"/>
              <a:gd name="T49" fmla="*/ 769 h 2058"/>
              <a:gd name="T50" fmla="*/ 1488 w 2126"/>
              <a:gd name="T51" fmla="*/ 757 h 2058"/>
              <a:gd name="T52" fmla="*/ 1300 w 2126"/>
              <a:gd name="T53" fmla="*/ 862 h 2058"/>
              <a:gd name="T54" fmla="*/ 1190 w 2126"/>
              <a:gd name="T55" fmla="*/ 715 h 2058"/>
              <a:gd name="T56" fmla="*/ 1301 w 2126"/>
              <a:gd name="T57" fmla="*/ 569 h 2058"/>
              <a:gd name="T58" fmla="*/ 1475 w 2126"/>
              <a:gd name="T59" fmla="*/ 641 h 2058"/>
              <a:gd name="T60" fmla="*/ 1662 w 2126"/>
              <a:gd name="T61" fmla="*/ 629 h 2058"/>
              <a:gd name="T62" fmla="*/ 1644 w 2126"/>
              <a:gd name="T63" fmla="*/ 516 h 2058"/>
              <a:gd name="T64" fmla="*/ 1486 w 2126"/>
              <a:gd name="T65" fmla="*/ 449 h 2058"/>
              <a:gd name="T66" fmla="*/ 1304 w 2126"/>
              <a:gd name="T67" fmla="*/ 347 h 2058"/>
              <a:gd name="T68" fmla="*/ 1176 w 2126"/>
              <a:gd name="T69" fmla="*/ 428 h 2058"/>
              <a:gd name="T70" fmla="*/ 1055 w 2126"/>
              <a:gd name="T71" fmla="*/ 550 h 2058"/>
              <a:gd name="T72" fmla="*/ 974 w 2126"/>
              <a:gd name="T73" fmla="*/ 677 h 2058"/>
              <a:gd name="T74" fmla="*/ 1076 w 2126"/>
              <a:gd name="T75" fmla="*/ 860 h 2058"/>
              <a:gd name="T76" fmla="*/ 1109 w 2126"/>
              <a:gd name="T77" fmla="*/ 1003 h 2058"/>
              <a:gd name="T78" fmla="*/ 1256 w 2126"/>
              <a:gd name="T79" fmla="*/ 1036 h 2058"/>
              <a:gd name="T80" fmla="*/ 1428 w 2126"/>
              <a:gd name="T81" fmla="*/ 1006 h 2058"/>
              <a:gd name="T82" fmla="*/ 1630 w 2126"/>
              <a:gd name="T83" fmla="*/ 949 h 2058"/>
              <a:gd name="T84" fmla="*/ 1632 w 2126"/>
              <a:gd name="T85" fmla="*/ 802 h 2058"/>
              <a:gd name="T86" fmla="*/ 1662 w 2126"/>
              <a:gd name="T87" fmla="*/ 629 h 2058"/>
              <a:gd name="T88" fmla="*/ 1599 w 2126"/>
              <a:gd name="T89" fmla="*/ 762 h 2058"/>
              <a:gd name="T90" fmla="*/ 1600 w 2126"/>
              <a:gd name="T91" fmla="*/ 911 h 2058"/>
              <a:gd name="T92" fmla="*/ 1505 w 2126"/>
              <a:gd name="T93" fmla="*/ 940 h 2058"/>
              <a:gd name="T94" fmla="*/ 1386 w 2126"/>
              <a:gd name="T95" fmla="*/ 973 h 2058"/>
              <a:gd name="T96" fmla="*/ 1298 w 2126"/>
              <a:gd name="T97" fmla="*/ 1036 h 2058"/>
              <a:gd name="T98" fmla="*/ 1215 w 2126"/>
              <a:gd name="T99" fmla="*/ 943 h 2058"/>
              <a:gd name="T100" fmla="*/ 1085 w 2126"/>
              <a:gd name="T101" fmla="*/ 919 h 2058"/>
              <a:gd name="T102" fmla="*/ 1128 w 2126"/>
              <a:gd name="T103" fmla="*/ 864 h 2058"/>
              <a:gd name="T104" fmla="*/ 1022 w 2126"/>
              <a:gd name="T105" fmla="*/ 759 h 2058"/>
              <a:gd name="T106" fmla="*/ 1068 w 2126"/>
              <a:gd name="T107" fmla="*/ 672 h 2058"/>
              <a:gd name="T108" fmla="*/ 1129 w 2126"/>
              <a:gd name="T109" fmla="*/ 565 h 2058"/>
              <a:gd name="T110" fmla="*/ 1139 w 2126"/>
              <a:gd name="T111" fmla="*/ 458 h 2058"/>
              <a:gd name="T112" fmla="*/ 1215 w 2126"/>
              <a:gd name="T113" fmla="*/ 488 h 2058"/>
              <a:gd name="T114" fmla="*/ 1304 w 2126"/>
              <a:gd name="T115" fmla="*/ 390 h 2058"/>
              <a:gd name="T116" fmla="*/ 1388 w 2126"/>
              <a:gd name="T117" fmla="*/ 459 h 2058"/>
              <a:gd name="T118" fmla="*/ 1537 w 2126"/>
              <a:gd name="T119" fmla="*/ 458 h 2058"/>
              <a:gd name="T120" fmla="*/ 1600 w 2126"/>
              <a:gd name="T121" fmla="*/ 520 h 2058"/>
              <a:gd name="T122" fmla="*/ 1593 w 2126"/>
              <a:gd name="T123" fmla="*/ 644 h 2058"/>
              <a:gd name="T124" fmla="*/ 1668 w 2126"/>
              <a:gd name="T125" fmla="*/ 754 h 20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26" h="2058">
                <a:moveTo>
                  <a:pt x="1750" y="308"/>
                </a:moveTo>
                <a:cubicBezTo>
                  <a:pt x="1525" y="83"/>
                  <a:pt x="1159" y="83"/>
                  <a:pt x="934" y="308"/>
                </a:cubicBezTo>
                <a:cubicBezTo>
                  <a:pt x="710" y="533"/>
                  <a:pt x="710" y="898"/>
                  <a:pt x="934" y="1123"/>
                </a:cubicBezTo>
                <a:cubicBezTo>
                  <a:pt x="1047" y="1235"/>
                  <a:pt x="1194" y="1292"/>
                  <a:pt x="1342" y="1292"/>
                </a:cubicBezTo>
                <a:cubicBezTo>
                  <a:pt x="1490" y="1292"/>
                  <a:pt x="1637" y="1235"/>
                  <a:pt x="1750" y="1123"/>
                </a:cubicBezTo>
                <a:cubicBezTo>
                  <a:pt x="1974" y="898"/>
                  <a:pt x="1974" y="533"/>
                  <a:pt x="1750" y="308"/>
                </a:cubicBezTo>
                <a:close/>
                <a:moveTo>
                  <a:pt x="1720" y="1093"/>
                </a:moveTo>
                <a:cubicBezTo>
                  <a:pt x="1511" y="1301"/>
                  <a:pt x="1173" y="1301"/>
                  <a:pt x="964" y="1093"/>
                </a:cubicBezTo>
                <a:cubicBezTo>
                  <a:pt x="756" y="885"/>
                  <a:pt x="756" y="546"/>
                  <a:pt x="964" y="338"/>
                </a:cubicBezTo>
                <a:cubicBezTo>
                  <a:pt x="1069" y="234"/>
                  <a:pt x="1205" y="182"/>
                  <a:pt x="1342" y="182"/>
                </a:cubicBezTo>
                <a:cubicBezTo>
                  <a:pt x="1479" y="182"/>
                  <a:pt x="1615" y="234"/>
                  <a:pt x="1720" y="338"/>
                </a:cubicBezTo>
                <a:cubicBezTo>
                  <a:pt x="1928" y="546"/>
                  <a:pt x="1928" y="885"/>
                  <a:pt x="1720" y="1093"/>
                </a:cubicBezTo>
                <a:close/>
                <a:moveTo>
                  <a:pt x="1847" y="210"/>
                </a:moveTo>
                <a:cubicBezTo>
                  <a:pt x="1712" y="75"/>
                  <a:pt x="1533" y="0"/>
                  <a:pt x="1342" y="0"/>
                </a:cubicBezTo>
                <a:cubicBezTo>
                  <a:pt x="1342" y="0"/>
                  <a:pt x="1342" y="0"/>
                  <a:pt x="1342" y="0"/>
                </a:cubicBezTo>
                <a:cubicBezTo>
                  <a:pt x="1151" y="0"/>
                  <a:pt x="971" y="75"/>
                  <a:pt x="836" y="210"/>
                </a:cubicBezTo>
                <a:cubicBezTo>
                  <a:pt x="635" y="411"/>
                  <a:pt x="572" y="713"/>
                  <a:pt x="677" y="978"/>
                </a:cubicBezTo>
                <a:cubicBezTo>
                  <a:pt x="683" y="993"/>
                  <a:pt x="690" y="1007"/>
                  <a:pt x="696" y="1021"/>
                </a:cubicBezTo>
                <a:cubicBezTo>
                  <a:pt x="613" y="1105"/>
                  <a:pt x="613" y="1105"/>
                  <a:pt x="613" y="1105"/>
                </a:cubicBezTo>
                <a:cubicBezTo>
                  <a:pt x="588" y="1129"/>
                  <a:pt x="588" y="1170"/>
                  <a:pt x="613" y="1195"/>
                </a:cubicBezTo>
                <a:cubicBezTo>
                  <a:pt x="625" y="1206"/>
                  <a:pt x="625" y="1206"/>
                  <a:pt x="625" y="1206"/>
                </a:cubicBezTo>
                <a:cubicBezTo>
                  <a:pt x="43" y="1788"/>
                  <a:pt x="43" y="1788"/>
                  <a:pt x="43" y="1788"/>
                </a:cubicBezTo>
                <a:cubicBezTo>
                  <a:pt x="15" y="1816"/>
                  <a:pt x="0" y="1853"/>
                  <a:pt x="0" y="1893"/>
                </a:cubicBezTo>
                <a:cubicBezTo>
                  <a:pt x="0" y="1933"/>
                  <a:pt x="15" y="1970"/>
                  <a:pt x="43" y="1998"/>
                </a:cubicBezTo>
                <a:cubicBezTo>
                  <a:pt x="59" y="2014"/>
                  <a:pt x="59" y="2014"/>
                  <a:pt x="59" y="2014"/>
                </a:cubicBezTo>
                <a:cubicBezTo>
                  <a:pt x="88" y="2043"/>
                  <a:pt x="126" y="2058"/>
                  <a:pt x="164" y="2058"/>
                </a:cubicBezTo>
                <a:cubicBezTo>
                  <a:pt x="202" y="2058"/>
                  <a:pt x="240" y="2043"/>
                  <a:pt x="269" y="2014"/>
                </a:cubicBezTo>
                <a:cubicBezTo>
                  <a:pt x="851" y="1432"/>
                  <a:pt x="851" y="1432"/>
                  <a:pt x="851" y="1432"/>
                </a:cubicBezTo>
                <a:cubicBezTo>
                  <a:pt x="862" y="1443"/>
                  <a:pt x="862" y="1443"/>
                  <a:pt x="862" y="1443"/>
                </a:cubicBezTo>
                <a:cubicBezTo>
                  <a:pt x="874" y="1455"/>
                  <a:pt x="890" y="1461"/>
                  <a:pt x="907" y="1461"/>
                </a:cubicBezTo>
                <a:cubicBezTo>
                  <a:pt x="923" y="1461"/>
                  <a:pt x="939" y="1455"/>
                  <a:pt x="952" y="1443"/>
                </a:cubicBezTo>
                <a:cubicBezTo>
                  <a:pt x="1034" y="1360"/>
                  <a:pt x="1034" y="1360"/>
                  <a:pt x="1034" y="1360"/>
                </a:cubicBezTo>
                <a:cubicBezTo>
                  <a:pt x="1049" y="1367"/>
                  <a:pt x="1064" y="1374"/>
                  <a:pt x="1079" y="1380"/>
                </a:cubicBezTo>
                <a:cubicBezTo>
                  <a:pt x="1165" y="1414"/>
                  <a:pt x="1254" y="1431"/>
                  <a:pt x="1342" y="1431"/>
                </a:cubicBezTo>
                <a:cubicBezTo>
                  <a:pt x="1528" y="1431"/>
                  <a:pt x="1711" y="1358"/>
                  <a:pt x="1848" y="1221"/>
                </a:cubicBezTo>
                <a:cubicBezTo>
                  <a:pt x="2126" y="942"/>
                  <a:pt x="2126" y="489"/>
                  <a:pt x="1847" y="210"/>
                </a:cubicBezTo>
                <a:close/>
                <a:moveTo>
                  <a:pt x="239" y="1984"/>
                </a:moveTo>
                <a:cubicBezTo>
                  <a:pt x="198" y="2026"/>
                  <a:pt x="131" y="2026"/>
                  <a:pt x="89" y="1984"/>
                </a:cubicBezTo>
                <a:cubicBezTo>
                  <a:pt x="73" y="1968"/>
                  <a:pt x="73" y="1968"/>
                  <a:pt x="73" y="1968"/>
                </a:cubicBezTo>
                <a:cubicBezTo>
                  <a:pt x="53" y="1948"/>
                  <a:pt x="42" y="1921"/>
                  <a:pt x="42" y="1893"/>
                </a:cubicBezTo>
                <a:cubicBezTo>
                  <a:pt x="42" y="1865"/>
                  <a:pt x="53" y="1838"/>
                  <a:pt x="73" y="1818"/>
                </a:cubicBezTo>
                <a:cubicBezTo>
                  <a:pt x="655" y="1236"/>
                  <a:pt x="655" y="1236"/>
                  <a:pt x="655" y="1236"/>
                </a:cubicBezTo>
                <a:cubicBezTo>
                  <a:pt x="821" y="1403"/>
                  <a:pt x="821" y="1403"/>
                  <a:pt x="821" y="1403"/>
                </a:cubicBezTo>
                <a:lnTo>
                  <a:pt x="239" y="1984"/>
                </a:lnTo>
                <a:close/>
                <a:moveTo>
                  <a:pt x="922" y="1413"/>
                </a:moveTo>
                <a:cubicBezTo>
                  <a:pt x="913" y="1421"/>
                  <a:pt x="900" y="1421"/>
                  <a:pt x="892" y="1413"/>
                </a:cubicBezTo>
                <a:cubicBezTo>
                  <a:pt x="881" y="1403"/>
                  <a:pt x="881" y="1403"/>
                  <a:pt x="881" y="1403"/>
                </a:cubicBezTo>
                <a:cubicBezTo>
                  <a:pt x="881" y="1402"/>
                  <a:pt x="881" y="1402"/>
                  <a:pt x="881" y="1402"/>
                </a:cubicBezTo>
                <a:cubicBezTo>
                  <a:pt x="655" y="1176"/>
                  <a:pt x="655" y="1176"/>
                  <a:pt x="655" y="1176"/>
                </a:cubicBezTo>
                <a:cubicBezTo>
                  <a:pt x="655" y="1176"/>
                  <a:pt x="655" y="1176"/>
                  <a:pt x="655" y="1176"/>
                </a:cubicBezTo>
                <a:cubicBezTo>
                  <a:pt x="643" y="1165"/>
                  <a:pt x="643" y="1165"/>
                  <a:pt x="643" y="1165"/>
                </a:cubicBezTo>
                <a:cubicBezTo>
                  <a:pt x="635" y="1156"/>
                  <a:pt x="635" y="1143"/>
                  <a:pt x="643" y="1135"/>
                </a:cubicBezTo>
                <a:cubicBezTo>
                  <a:pt x="716" y="1061"/>
                  <a:pt x="716" y="1061"/>
                  <a:pt x="716" y="1061"/>
                </a:cubicBezTo>
                <a:cubicBezTo>
                  <a:pt x="719" y="1066"/>
                  <a:pt x="722" y="1070"/>
                  <a:pt x="724" y="1075"/>
                </a:cubicBezTo>
                <a:cubicBezTo>
                  <a:pt x="728" y="1081"/>
                  <a:pt x="732" y="1088"/>
                  <a:pt x="736" y="1094"/>
                </a:cubicBezTo>
                <a:cubicBezTo>
                  <a:pt x="742" y="1103"/>
                  <a:pt x="748" y="1112"/>
                  <a:pt x="754" y="1122"/>
                </a:cubicBezTo>
                <a:cubicBezTo>
                  <a:pt x="758" y="1127"/>
                  <a:pt x="762" y="1133"/>
                  <a:pt x="766" y="1139"/>
                </a:cubicBezTo>
                <a:cubicBezTo>
                  <a:pt x="773" y="1148"/>
                  <a:pt x="781" y="1158"/>
                  <a:pt x="788" y="1167"/>
                </a:cubicBezTo>
                <a:cubicBezTo>
                  <a:pt x="792" y="1172"/>
                  <a:pt x="796" y="1177"/>
                  <a:pt x="799" y="1181"/>
                </a:cubicBezTo>
                <a:cubicBezTo>
                  <a:pt x="811" y="1195"/>
                  <a:pt x="823" y="1208"/>
                  <a:pt x="836" y="1221"/>
                </a:cubicBezTo>
                <a:cubicBezTo>
                  <a:pt x="849" y="1234"/>
                  <a:pt x="862" y="1246"/>
                  <a:pt x="876" y="1257"/>
                </a:cubicBezTo>
                <a:cubicBezTo>
                  <a:pt x="880" y="1261"/>
                  <a:pt x="885" y="1265"/>
                  <a:pt x="890" y="1269"/>
                </a:cubicBezTo>
                <a:cubicBezTo>
                  <a:pt x="899" y="1276"/>
                  <a:pt x="908" y="1284"/>
                  <a:pt x="918" y="1291"/>
                </a:cubicBezTo>
                <a:cubicBezTo>
                  <a:pt x="923" y="1295"/>
                  <a:pt x="929" y="1299"/>
                  <a:pt x="935" y="1303"/>
                </a:cubicBezTo>
                <a:cubicBezTo>
                  <a:pt x="944" y="1309"/>
                  <a:pt x="953" y="1315"/>
                  <a:pt x="962" y="1321"/>
                </a:cubicBezTo>
                <a:cubicBezTo>
                  <a:pt x="968" y="1325"/>
                  <a:pt x="974" y="1328"/>
                  <a:pt x="981" y="1332"/>
                </a:cubicBezTo>
                <a:cubicBezTo>
                  <a:pt x="985" y="1335"/>
                  <a:pt x="990" y="1338"/>
                  <a:pt x="994" y="1340"/>
                </a:cubicBezTo>
                <a:lnTo>
                  <a:pt x="922" y="1413"/>
                </a:lnTo>
                <a:close/>
                <a:moveTo>
                  <a:pt x="1818" y="1191"/>
                </a:moveTo>
                <a:cubicBezTo>
                  <a:pt x="1628" y="1381"/>
                  <a:pt x="1344" y="1440"/>
                  <a:pt x="1095" y="1341"/>
                </a:cubicBezTo>
                <a:cubicBezTo>
                  <a:pt x="1076" y="1334"/>
                  <a:pt x="1057" y="1325"/>
                  <a:pt x="1039" y="1316"/>
                </a:cubicBezTo>
                <a:cubicBezTo>
                  <a:pt x="975" y="1284"/>
                  <a:pt x="917" y="1242"/>
                  <a:pt x="866" y="1191"/>
                </a:cubicBezTo>
                <a:cubicBezTo>
                  <a:pt x="853" y="1178"/>
                  <a:pt x="841" y="1165"/>
                  <a:pt x="829" y="1151"/>
                </a:cubicBezTo>
                <a:cubicBezTo>
                  <a:pt x="818" y="1137"/>
                  <a:pt x="807" y="1123"/>
                  <a:pt x="796" y="1109"/>
                </a:cubicBezTo>
                <a:cubicBezTo>
                  <a:pt x="775" y="1079"/>
                  <a:pt x="757" y="1049"/>
                  <a:pt x="741" y="1017"/>
                </a:cubicBezTo>
                <a:cubicBezTo>
                  <a:pt x="741" y="1016"/>
                  <a:pt x="741" y="1016"/>
                  <a:pt x="741" y="1016"/>
                </a:cubicBezTo>
                <a:cubicBezTo>
                  <a:pt x="732" y="999"/>
                  <a:pt x="724" y="981"/>
                  <a:pt x="717" y="963"/>
                </a:cubicBezTo>
                <a:cubicBezTo>
                  <a:pt x="618" y="713"/>
                  <a:pt x="677" y="430"/>
                  <a:pt x="866" y="240"/>
                </a:cubicBezTo>
                <a:cubicBezTo>
                  <a:pt x="993" y="113"/>
                  <a:pt x="1162" y="43"/>
                  <a:pt x="1342" y="43"/>
                </a:cubicBezTo>
                <a:cubicBezTo>
                  <a:pt x="1342" y="43"/>
                  <a:pt x="1342" y="43"/>
                  <a:pt x="1342" y="43"/>
                </a:cubicBezTo>
                <a:cubicBezTo>
                  <a:pt x="1522" y="43"/>
                  <a:pt x="1690" y="113"/>
                  <a:pt x="1817" y="240"/>
                </a:cubicBezTo>
                <a:cubicBezTo>
                  <a:pt x="1945" y="367"/>
                  <a:pt x="2015" y="536"/>
                  <a:pt x="2015" y="716"/>
                </a:cubicBezTo>
                <a:cubicBezTo>
                  <a:pt x="2015" y="895"/>
                  <a:pt x="1945" y="1064"/>
                  <a:pt x="1818" y="1191"/>
                </a:cubicBezTo>
                <a:close/>
                <a:moveTo>
                  <a:pt x="1512" y="620"/>
                </a:moveTo>
                <a:cubicBezTo>
                  <a:pt x="1494" y="589"/>
                  <a:pt x="1468" y="563"/>
                  <a:pt x="1437" y="545"/>
                </a:cubicBezTo>
                <a:cubicBezTo>
                  <a:pt x="1423" y="538"/>
                  <a:pt x="1409" y="532"/>
                  <a:pt x="1395" y="528"/>
                </a:cubicBezTo>
                <a:cubicBezTo>
                  <a:pt x="1361" y="518"/>
                  <a:pt x="1323" y="518"/>
                  <a:pt x="1289" y="528"/>
                </a:cubicBezTo>
                <a:cubicBezTo>
                  <a:pt x="1275" y="532"/>
                  <a:pt x="1261" y="538"/>
                  <a:pt x="1247" y="545"/>
                </a:cubicBezTo>
                <a:cubicBezTo>
                  <a:pt x="1216" y="563"/>
                  <a:pt x="1190" y="589"/>
                  <a:pt x="1172" y="621"/>
                </a:cubicBezTo>
                <a:cubicBezTo>
                  <a:pt x="1164" y="634"/>
                  <a:pt x="1159" y="648"/>
                  <a:pt x="1155" y="662"/>
                </a:cubicBezTo>
                <a:cubicBezTo>
                  <a:pt x="1150" y="679"/>
                  <a:pt x="1147" y="697"/>
                  <a:pt x="1147" y="715"/>
                </a:cubicBezTo>
                <a:cubicBezTo>
                  <a:pt x="1147" y="733"/>
                  <a:pt x="1150" y="751"/>
                  <a:pt x="1155" y="768"/>
                </a:cubicBezTo>
                <a:cubicBezTo>
                  <a:pt x="1159" y="783"/>
                  <a:pt x="1164" y="797"/>
                  <a:pt x="1172" y="810"/>
                </a:cubicBezTo>
                <a:cubicBezTo>
                  <a:pt x="1190" y="842"/>
                  <a:pt x="1216" y="868"/>
                  <a:pt x="1247" y="885"/>
                </a:cubicBezTo>
                <a:cubicBezTo>
                  <a:pt x="1261" y="893"/>
                  <a:pt x="1275" y="899"/>
                  <a:pt x="1289" y="903"/>
                </a:cubicBezTo>
                <a:cubicBezTo>
                  <a:pt x="1306" y="908"/>
                  <a:pt x="1324" y="910"/>
                  <a:pt x="1342" y="910"/>
                </a:cubicBezTo>
                <a:cubicBezTo>
                  <a:pt x="1360" y="910"/>
                  <a:pt x="1378" y="908"/>
                  <a:pt x="1395" y="903"/>
                </a:cubicBezTo>
                <a:cubicBezTo>
                  <a:pt x="1409" y="899"/>
                  <a:pt x="1423" y="893"/>
                  <a:pt x="1437" y="885"/>
                </a:cubicBezTo>
                <a:cubicBezTo>
                  <a:pt x="1468" y="868"/>
                  <a:pt x="1494" y="842"/>
                  <a:pt x="1512" y="810"/>
                </a:cubicBezTo>
                <a:cubicBezTo>
                  <a:pt x="1520" y="797"/>
                  <a:pt x="1525" y="783"/>
                  <a:pt x="1529" y="769"/>
                </a:cubicBezTo>
                <a:cubicBezTo>
                  <a:pt x="1534" y="751"/>
                  <a:pt x="1537" y="734"/>
                  <a:pt x="1537" y="715"/>
                </a:cubicBezTo>
                <a:cubicBezTo>
                  <a:pt x="1537" y="697"/>
                  <a:pt x="1534" y="679"/>
                  <a:pt x="1529" y="662"/>
                </a:cubicBezTo>
                <a:cubicBezTo>
                  <a:pt x="1525" y="648"/>
                  <a:pt x="1519" y="634"/>
                  <a:pt x="1512" y="620"/>
                </a:cubicBezTo>
                <a:close/>
                <a:moveTo>
                  <a:pt x="1488" y="757"/>
                </a:moveTo>
                <a:cubicBezTo>
                  <a:pt x="1485" y="768"/>
                  <a:pt x="1481" y="779"/>
                  <a:pt x="1475" y="790"/>
                </a:cubicBezTo>
                <a:cubicBezTo>
                  <a:pt x="1461" y="814"/>
                  <a:pt x="1441" y="835"/>
                  <a:pt x="1416" y="848"/>
                </a:cubicBezTo>
                <a:cubicBezTo>
                  <a:pt x="1406" y="854"/>
                  <a:pt x="1395" y="859"/>
                  <a:pt x="1383" y="862"/>
                </a:cubicBezTo>
                <a:cubicBezTo>
                  <a:pt x="1357" y="870"/>
                  <a:pt x="1328" y="870"/>
                  <a:pt x="1300" y="862"/>
                </a:cubicBezTo>
                <a:cubicBezTo>
                  <a:pt x="1289" y="859"/>
                  <a:pt x="1278" y="854"/>
                  <a:pt x="1268" y="848"/>
                </a:cubicBezTo>
                <a:cubicBezTo>
                  <a:pt x="1243" y="835"/>
                  <a:pt x="1223" y="814"/>
                  <a:pt x="1209" y="790"/>
                </a:cubicBezTo>
                <a:cubicBezTo>
                  <a:pt x="1203" y="779"/>
                  <a:pt x="1199" y="768"/>
                  <a:pt x="1196" y="757"/>
                </a:cubicBezTo>
                <a:cubicBezTo>
                  <a:pt x="1192" y="743"/>
                  <a:pt x="1190" y="730"/>
                  <a:pt x="1190" y="715"/>
                </a:cubicBezTo>
                <a:cubicBezTo>
                  <a:pt x="1190" y="701"/>
                  <a:pt x="1192" y="687"/>
                  <a:pt x="1196" y="674"/>
                </a:cubicBezTo>
                <a:cubicBezTo>
                  <a:pt x="1199" y="663"/>
                  <a:pt x="1203" y="652"/>
                  <a:pt x="1209" y="641"/>
                </a:cubicBezTo>
                <a:cubicBezTo>
                  <a:pt x="1223" y="617"/>
                  <a:pt x="1243" y="596"/>
                  <a:pt x="1268" y="583"/>
                </a:cubicBezTo>
                <a:cubicBezTo>
                  <a:pt x="1278" y="577"/>
                  <a:pt x="1289" y="572"/>
                  <a:pt x="1301" y="569"/>
                </a:cubicBezTo>
                <a:cubicBezTo>
                  <a:pt x="1314" y="565"/>
                  <a:pt x="1328" y="563"/>
                  <a:pt x="1342" y="563"/>
                </a:cubicBezTo>
                <a:cubicBezTo>
                  <a:pt x="1356" y="563"/>
                  <a:pt x="1370" y="565"/>
                  <a:pt x="1384" y="569"/>
                </a:cubicBezTo>
                <a:cubicBezTo>
                  <a:pt x="1395" y="572"/>
                  <a:pt x="1406" y="577"/>
                  <a:pt x="1416" y="582"/>
                </a:cubicBezTo>
                <a:cubicBezTo>
                  <a:pt x="1441" y="596"/>
                  <a:pt x="1461" y="616"/>
                  <a:pt x="1475" y="641"/>
                </a:cubicBezTo>
                <a:cubicBezTo>
                  <a:pt x="1481" y="652"/>
                  <a:pt x="1485" y="663"/>
                  <a:pt x="1488" y="674"/>
                </a:cubicBezTo>
                <a:cubicBezTo>
                  <a:pt x="1492" y="687"/>
                  <a:pt x="1494" y="701"/>
                  <a:pt x="1494" y="715"/>
                </a:cubicBezTo>
                <a:cubicBezTo>
                  <a:pt x="1494" y="730"/>
                  <a:pt x="1492" y="744"/>
                  <a:pt x="1488" y="757"/>
                </a:cubicBezTo>
                <a:close/>
                <a:moveTo>
                  <a:pt x="1662" y="629"/>
                </a:moveTo>
                <a:cubicBezTo>
                  <a:pt x="1632" y="629"/>
                  <a:pt x="1632" y="629"/>
                  <a:pt x="1632" y="629"/>
                </a:cubicBezTo>
                <a:cubicBezTo>
                  <a:pt x="1627" y="609"/>
                  <a:pt x="1619" y="590"/>
                  <a:pt x="1609" y="571"/>
                </a:cubicBezTo>
                <a:cubicBezTo>
                  <a:pt x="1630" y="550"/>
                  <a:pt x="1630" y="550"/>
                  <a:pt x="1630" y="550"/>
                </a:cubicBezTo>
                <a:cubicBezTo>
                  <a:pt x="1639" y="541"/>
                  <a:pt x="1644" y="529"/>
                  <a:pt x="1644" y="516"/>
                </a:cubicBezTo>
                <a:cubicBezTo>
                  <a:pt x="1644" y="503"/>
                  <a:pt x="1639" y="491"/>
                  <a:pt x="1630" y="482"/>
                </a:cubicBezTo>
                <a:cubicBezTo>
                  <a:pt x="1575" y="428"/>
                  <a:pt x="1575" y="428"/>
                  <a:pt x="1575" y="428"/>
                </a:cubicBezTo>
                <a:cubicBezTo>
                  <a:pt x="1557" y="409"/>
                  <a:pt x="1526" y="409"/>
                  <a:pt x="1508" y="428"/>
                </a:cubicBezTo>
                <a:cubicBezTo>
                  <a:pt x="1486" y="449"/>
                  <a:pt x="1486" y="449"/>
                  <a:pt x="1486" y="449"/>
                </a:cubicBezTo>
                <a:cubicBezTo>
                  <a:pt x="1467" y="439"/>
                  <a:pt x="1448" y="431"/>
                  <a:pt x="1428" y="425"/>
                </a:cubicBezTo>
                <a:cubicBezTo>
                  <a:pt x="1428" y="395"/>
                  <a:pt x="1428" y="395"/>
                  <a:pt x="1428" y="395"/>
                </a:cubicBezTo>
                <a:cubicBezTo>
                  <a:pt x="1428" y="369"/>
                  <a:pt x="1407" y="347"/>
                  <a:pt x="1381" y="347"/>
                </a:cubicBezTo>
                <a:cubicBezTo>
                  <a:pt x="1304" y="347"/>
                  <a:pt x="1304" y="347"/>
                  <a:pt x="1304" y="347"/>
                </a:cubicBezTo>
                <a:cubicBezTo>
                  <a:pt x="1277" y="347"/>
                  <a:pt x="1256" y="369"/>
                  <a:pt x="1256" y="395"/>
                </a:cubicBezTo>
                <a:cubicBezTo>
                  <a:pt x="1256" y="425"/>
                  <a:pt x="1256" y="425"/>
                  <a:pt x="1256" y="425"/>
                </a:cubicBezTo>
                <a:cubicBezTo>
                  <a:pt x="1236" y="431"/>
                  <a:pt x="1216" y="439"/>
                  <a:pt x="1198" y="449"/>
                </a:cubicBezTo>
                <a:cubicBezTo>
                  <a:pt x="1176" y="428"/>
                  <a:pt x="1176" y="428"/>
                  <a:pt x="1176" y="428"/>
                </a:cubicBezTo>
                <a:cubicBezTo>
                  <a:pt x="1158" y="409"/>
                  <a:pt x="1128" y="409"/>
                  <a:pt x="1109" y="428"/>
                </a:cubicBezTo>
                <a:cubicBezTo>
                  <a:pt x="1055" y="482"/>
                  <a:pt x="1055" y="482"/>
                  <a:pt x="1055" y="482"/>
                </a:cubicBezTo>
                <a:cubicBezTo>
                  <a:pt x="1046" y="491"/>
                  <a:pt x="1040" y="503"/>
                  <a:pt x="1040" y="516"/>
                </a:cubicBezTo>
                <a:cubicBezTo>
                  <a:pt x="1040" y="529"/>
                  <a:pt x="1046" y="541"/>
                  <a:pt x="1055" y="550"/>
                </a:cubicBezTo>
                <a:cubicBezTo>
                  <a:pt x="1076" y="571"/>
                  <a:pt x="1076" y="571"/>
                  <a:pt x="1076" y="571"/>
                </a:cubicBezTo>
                <a:cubicBezTo>
                  <a:pt x="1065" y="590"/>
                  <a:pt x="1057" y="610"/>
                  <a:pt x="1052" y="629"/>
                </a:cubicBezTo>
                <a:cubicBezTo>
                  <a:pt x="1022" y="629"/>
                  <a:pt x="1022" y="629"/>
                  <a:pt x="1022" y="629"/>
                </a:cubicBezTo>
                <a:cubicBezTo>
                  <a:pt x="995" y="629"/>
                  <a:pt x="974" y="651"/>
                  <a:pt x="974" y="677"/>
                </a:cubicBezTo>
                <a:cubicBezTo>
                  <a:pt x="974" y="754"/>
                  <a:pt x="974" y="754"/>
                  <a:pt x="974" y="754"/>
                </a:cubicBezTo>
                <a:cubicBezTo>
                  <a:pt x="974" y="780"/>
                  <a:pt x="995" y="802"/>
                  <a:pt x="1022" y="802"/>
                </a:cubicBezTo>
                <a:cubicBezTo>
                  <a:pt x="1052" y="802"/>
                  <a:pt x="1052" y="802"/>
                  <a:pt x="1052" y="802"/>
                </a:cubicBezTo>
                <a:cubicBezTo>
                  <a:pt x="1057" y="821"/>
                  <a:pt x="1065" y="841"/>
                  <a:pt x="1076" y="860"/>
                </a:cubicBezTo>
                <a:cubicBezTo>
                  <a:pt x="1055" y="881"/>
                  <a:pt x="1055" y="881"/>
                  <a:pt x="1055" y="881"/>
                </a:cubicBezTo>
                <a:cubicBezTo>
                  <a:pt x="1045" y="890"/>
                  <a:pt x="1040" y="902"/>
                  <a:pt x="1040" y="915"/>
                </a:cubicBezTo>
                <a:cubicBezTo>
                  <a:pt x="1040" y="928"/>
                  <a:pt x="1046" y="940"/>
                  <a:pt x="1055" y="949"/>
                </a:cubicBezTo>
                <a:cubicBezTo>
                  <a:pt x="1109" y="1003"/>
                  <a:pt x="1109" y="1003"/>
                  <a:pt x="1109" y="1003"/>
                </a:cubicBezTo>
                <a:cubicBezTo>
                  <a:pt x="1127" y="1021"/>
                  <a:pt x="1158" y="1021"/>
                  <a:pt x="1176" y="1003"/>
                </a:cubicBezTo>
                <a:cubicBezTo>
                  <a:pt x="1198" y="982"/>
                  <a:pt x="1198" y="982"/>
                  <a:pt x="1198" y="982"/>
                </a:cubicBezTo>
                <a:cubicBezTo>
                  <a:pt x="1216" y="992"/>
                  <a:pt x="1236" y="1000"/>
                  <a:pt x="1256" y="1006"/>
                </a:cubicBezTo>
                <a:cubicBezTo>
                  <a:pt x="1256" y="1036"/>
                  <a:pt x="1256" y="1036"/>
                  <a:pt x="1256" y="1036"/>
                </a:cubicBezTo>
                <a:cubicBezTo>
                  <a:pt x="1256" y="1062"/>
                  <a:pt x="1277" y="1084"/>
                  <a:pt x="1304" y="1084"/>
                </a:cubicBezTo>
                <a:cubicBezTo>
                  <a:pt x="1381" y="1084"/>
                  <a:pt x="1381" y="1084"/>
                  <a:pt x="1381" y="1084"/>
                </a:cubicBezTo>
                <a:cubicBezTo>
                  <a:pt x="1407" y="1084"/>
                  <a:pt x="1428" y="1062"/>
                  <a:pt x="1428" y="1036"/>
                </a:cubicBezTo>
                <a:cubicBezTo>
                  <a:pt x="1428" y="1006"/>
                  <a:pt x="1428" y="1006"/>
                  <a:pt x="1428" y="1006"/>
                </a:cubicBezTo>
                <a:cubicBezTo>
                  <a:pt x="1448" y="1000"/>
                  <a:pt x="1468" y="992"/>
                  <a:pt x="1486" y="982"/>
                </a:cubicBezTo>
                <a:cubicBezTo>
                  <a:pt x="1508" y="1003"/>
                  <a:pt x="1508" y="1003"/>
                  <a:pt x="1508" y="1003"/>
                </a:cubicBezTo>
                <a:cubicBezTo>
                  <a:pt x="1526" y="1022"/>
                  <a:pt x="1557" y="1021"/>
                  <a:pt x="1575" y="1003"/>
                </a:cubicBezTo>
                <a:cubicBezTo>
                  <a:pt x="1630" y="949"/>
                  <a:pt x="1630" y="949"/>
                  <a:pt x="1630" y="949"/>
                </a:cubicBezTo>
                <a:cubicBezTo>
                  <a:pt x="1639" y="940"/>
                  <a:pt x="1644" y="928"/>
                  <a:pt x="1644" y="915"/>
                </a:cubicBezTo>
                <a:cubicBezTo>
                  <a:pt x="1644" y="902"/>
                  <a:pt x="1639" y="890"/>
                  <a:pt x="1630" y="881"/>
                </a:cubicBezTo>
                <a:cubicBezTo>
                  <a:pt x="1609" y="860"/>
                  <a:pt x="1609" y="860"/>
                  <a:pt x="1609" y="860"/>
                </a:cubicBezTo>
                <a:cubicBezTo>
                  <a:pt x="1619" y="841"/>
                  <a:pt x="1627" y="821"/>
                  <a:pt x="1632" y="802"/>
                </a:cubicBezTo>
                <a:cubicBezTo>
                  <a:pt x="1662" y="802"/>
                  <a:pt x="1662" y="802"/>
                  <a:pt x="1662" y="802"/>
                </a:cubicBezTo>
                <a:cubicBezTo>
                  <a:pt x="1689" y="802"/>
                  <a:pt x="1710" y="780"/>
                  <a:pt x="1710" y="754"/>
                </a:cubicBezTo>
                <a:cubicBezTo>
                  <a:pt x="1710" y="677"/>
                  <a:pt x="1710" y="677"/>
                  <a:pt x="1710" y="677"/>
                </a:cubicBezTo>
                <a:cubicBezTo>
                  <a:pt x="1710" y="651"/>
                  <a:pt x="1689" y="629"/>
                  <a:pt x="1662" y="629"/>
                </a:cubicBezTo>
                <a:close/>
                <a:moveTo>
                  <a:pt x="1668" y="754"/>
                </a:moveTo>
                <a:cubicBezTo>
                  <a:pt x="1668" y="757"/>
                  <a:pt x="1665" y="759"/>
                  <a:pt x="1662" y="759"/>
                </a:cubicBezTo>
                <a:cubicBezTo>
                  <a:pt x="1616" y="759"/>
                  <a:pt x="1616" y="759"/>
                  <a:pt x="1616" y="759"/>
                </a:cubicBezTo>
                <a:cubicBezTo>
                  <a:pt x="1599" y="762"/>
                  <a:pt x="1599" y="762"/>
                  <a:pt x="1599" y="762"/>
                </a:cubicBezTo>
                <a:cubicBezTo>
                  <a:pt x="1593" y="787"/>
                  <a:pt x="1593" y="787"/>
                  <a:pt x="1593" y="787"/>
                </a:cubicBezTo>
                <a:cubicBezTo>
                  <a:pt x="1587" y="806"/>
                  <a:pt x="1580" y="825"/>
                  <a:pt x="1570" y="843"/>
                </a:cubicBezTo>
                <a:cubicBezTo>
                  <a:pt x="1555" y="866"/>
                  <a:pt x="1555" y="866"/>
                  <a:pt x="1555" y="866"/>
                </a:cubicBezTo>
                <a:cubicBezTo>
                  <a:pt x="1600" y="911"/>
                  <a:pt x="1600" y="911"/>
                  <a:pt x="1600" y="911"/>
                </a:cubicBezTo>
                <a:cubicBezTo>
                  <a:pt x="1600" y="919"/>
                  <a:pt x="1600" y="919"/>
                  <a:pt x="1600" y="919"/>
                </a:cubicBezTo>
                <a:cubicBezTo>
                  <a:pt x="1545" y="973"/>
                  <a:pt x="1545" y="973"/>
                  <a:pt x="1545" y="973"/>
                </a:cubicBezTo>
                <a:cubicBezTo>
                  <a:pt x="1543" y="975"/>
                  <a:pt x="1540" y="975"/>
                  <a:pt x="1538" y="973"/>
                </a:cubicBezTo>
                <a:cubicBezTo>
                  <a:pt x="1505" y="940"/>
                  <a:pt x="1505" y="940"/>
                  <a:pt x="1505" y="940"/>
                </a:cubicBezTo>
                <a:cubicBezTo>
                  <a:pt x="1491" y="930"/>
                  <a:pt x="1491" y="930"/>
                  <a:pt x="1491" y="930"/>
                </a:cubicBezTo>
                <a:cubicBezTo>
                  <a:pt x="1469" y="943"/>
                  <a:pt x="1469" y="943"/>
                  <a:pt x="1469" y="943"/>
                </a:cubicBezTo>
                <a:cubicBezTo>
                  <a:pt x="1451" y="953"/>
                  <a:pt x="1432" y="961"/>
                  <a:pt x="1413" y="966"/>
                </a:cubicBezTo>
                <a:cubicBezTo>
                  <a:pt x="1386" y="973"/>
                  <a:pt x="1386" y="973"/>
                  <a:pt x="1386" y="973"/>
                </a:cubicBezTo>
                <a:cubicBezTo>
                  <a:pt x="1386" y="1036"/>
                  <a:pt x="1386" y="1036"/>
                  <a:pt x="1386" y="1036"/>
                </a:cubicBezTo>
                <a:cubicBezTo>
                  <a:pt x="1386" y="1039"/>
                  <a:pt x="1384" y="1041"/>
                  <a:pt x="1381" y="1041"/>
                </a:cubicBezTo>
                <a:cubicBezTo>
                  <a:pt x="1304" y="1041"/>
                  <a:pt x="1304" y="1041"/>
                  <a:pt x="1304" y="1041"/>
                </a:cubicBezTo>
                <a:cubicBezTo>
                  <a:pt x="1301" y="1041"/>
                  <a:pt x="1298" y="1039"/>
                  <a:pt x="1298" y="1036"/>
                </a:cubicBezTo>
                <a:cubicBezTo>
                  <a:pt x="1298" y="989"/>
                  <a:pt x="1298" y="989"/>
                  <a:pt x="1298" y="989"/>
                </a:cubicBezTo>
                <a:cubicBezTo>
                  <a:pt x="1296" y="972"/>
                  <a:pt x="1296" y="972"/>
                  <a:pt x="1296" y="972"/>
                </a:cubicBezTo>
                <a:cubicBezTo>
                  <a:pt x="1271" y="966"/>
                  <a:pt x="1271" y="966"/>
                  <a:pt x="1271" y="966"/>
                </a:cubicBezTo>
                <a:cubicBezTo>
                  <a:pt x="1252" y="961"/>
                  <a:pt x="1233" y="953"/>
                  <a:pt x="1215" y="943"/>
                </a:cubicBezTo>
                <a:cubicBezTo>
                  <a:pt x="1191" y="928"/>
                  <a:pt x="1191" y="928"/>
                  <a:pt x="1191" y="928"/>
                </a:cubicBezTo>
                <a:cubicBezTo>
                  <a:pt x="1146" y="973"/>
                  <a:pt x="1146" y="973"/>
                  <a:pt x="1146" y="973"/>
                </a:cubicBezTo>
                <a:cubicBezTo>
                  <a:pt x="1139" y="973"/>
                  <a:pt x="1139" y="973"/>
                  <a:pt x="1139" y="973"/>
                </a:cubicBezTo>
                <a:cubicBezTo>
                  <a:pt x="1085" y="919"/>
                  <a:pt x="1085" y="919"/>
                  <a:pt x="1085" y="919"/>
                </a:cubicBezTo>
                <a:cubicBezTo>
                  <a:pt x="1085" y="911"/>
                  <a:pt x="1085" y="911"/>
                  <a:pt x="1085" y="911"/>
                </a:cubicBezTo>
                <a:cubicBezTo>
                  <a:pt x="1085" y="911"/>
                  <a:pt x="1085" y="911"/>
                  <a:pt x="1085" y="911"/>
                </a:cubicBezTo>
                <a:cubicBezTo>
                  <a:pt x="1117" y="878"/>
                  <a:pt x="1117" y="878"/>
                  <a:pt x="1117" y="878"/>
                </a:cubicBezTo>
                <a:cubicBezTo>
                  <a:pt x="1128" y="864"/>
                  <a:pt x="1128" y="864"/>
                  <a:pt x="1128" y="864"/>
                </a:cubicBezTo>
                <a:cubicBezTo>
                  <a:pt x="1114" y="842"/>
                  <a:pt x="1114" y="842"/>
                  <a:pt x="1114" y="842"/>
                </a:cubicBezTo>
                <a:cubicBezTo>
                  <a:pt x="1104" y="824"/>
                  <a:pt x="1097" y="806"/>
                  <a:pt x="1091" y="786"/>
                </a:cubicBezTo>
                <a:cubicBezTo>
                  <a:pt x="1085" y="759"/>
                  <a:pt x="1085" y="759"/>
                  <a:pt x="1085" y="759"/>
                </a:cubicBezTo>
                <a:cubicBezTo>
                  <a:pt x="1022" y="759"/>
                  <a:pt x="1022" y="759"/>
                  <a:pt x="1022" y="759"/>
                </a:cubicBezTo>
                <a:cubicBezTo>
                  <a:pt x="1019" y="759"/>
                  <a:pt x="1016" y="757"/>
                  <a:pt x="1016" y="754"/>
                </a:cubicBezTo>
                <a:cubicBezTo>
                  <a:pt x="1016" y="677"/>
                  <a:pt x="1016" y="677"/>
                  <a:pt x="1016" y="677"/>
                </a:cubicBezTo>
                <a:cubicBezTo>
                  <a:pt x="1016" y="674"/>
                  <a:pt x="1019" y="672"/>
                  <a:pt x="1022" y="672"/>
                </a:cubicBezTo>
                <a:cubicBezTo>
                  <a:pt x="1068" y="672"/>
                  <a:pt x="1068" y="672"/>
                  <a:pt x="1068" y="672"/>
                </a:cubicBezTo>
                <a:cubicBezTo>
                  <a:pt x="1085" y="669"/>
                  <a:pt x="1085" y="669"/>
                  <a:pt x="1085" y="669"/>
                </a:cubicBezTo>
                <a:cubicBezTo>
                  <a:pt x="1092" y="644"/>
                  <a:pt x="1092" y="644"/>
                  <a:pt x="1092" y="644"/>
                </a:cubicBezTo>
                <a:cubicBezTo>
                  <a:pt x="1097" y="625"/>
                  <a:pt x="1104" y="607"/>
                  <a:pt x="1114" y="588"/>
                </a:cubicBezTo>
                <a:cubicBezTo>
                  <a:pt x="1129" y="565"/>
                  <a:pt x="1129" y="565"/>
                  <a:pt x="1129" y="565"/>
                </a:cubicBezTo>
                <a:cubicBezTo>
                  <a:pt x="1085" y="520"/>
                  <a:pt x="1085" y="520"/>
                  <a:pt x="1085" y="520"/>
                </a:cubicBezTo>
                <a:cubicBezTo>
                  <a:pt x="1085" y="512"/>
                  <a:pt x="1085" y="512"/>
                  <a:pt x="1085" y="512"/>
                </a:cubicBezTo>
                <a:cubicBezTo>
                  <a:pt x="1085" y="512"/>
                  <a:pt x="1085" y="512"/>
                  <a:pt x="1085" y="512"/>
                </a:cubicBezTo>
                <a:cubicBezTo>
                  <a:pt x="1139" y="458"/>
                  <a:pt x="1139" y="458"/>
                  <a:pt x="1139" y="458"/>
                </a:cubicBezTo>
                <a:cubicBezTo>
                  <a:pt x="1141" y="456"/>
                  <a:pt x="1145" y="456"/>
                  <a:pt x="1146" y="458"/>
                </a:cubicBezTo>
                <a:cubicBezTo>
                  <a:pt x="1179" y="491"/>
                  <a:pt x="1179" y="491"/>
                  <a:pt x="1179" y="491"/>
                </a:cubicBezTo>
                <a:cubicBezTo>
                  <a:pt x="1193" y="501"/>
                  <a:pt x="1193" y="501"/>
                  <a:pt x="1193" y="501"/>
                </a:cubicBezTo>
                <a:cubicBezTo>
                  <a:pt x="1215" y="488"/>
                  <a:pt x="1215" y="488"/>
                  <a:pt x="1215" y="488"/>
                </a:cubicBezTo>
                <a:cubicBezTo>
                  <a:pt x="1233" y="478"/>
                  <a:pt x="1252" y="470"/>
                  <a:pt x="1271" y="465"/>
                </a:cubicBezTo>
                <a:cubicBezTo>
                  <a:pt x="1298" y="458"/>
                  <a:pt x="1298" y="458"/>
                  <a:pt x="1298" y="458"/>
                </a:cubicBezTo>
                <a:cubicBezTo>
                  <a:pt x="1298" y="395"/>
                  <a:pt x="1298" y="395"/>
                  <a:pt x="1298" y="395"/>
                </a:cubicBezTo>
                <a:cubicBezTo>
                  <a:pt x="1298" y="392"/>
                  <a:pt x="1301" y="390"/>
                  <a:pt x="1304" y="390"/>
                </a:cubicBezTo>
                <a:cubicBezTo>
                  <a:pt x="1381" y="390"/>
                  <a:pt x="1381" y="390"/>
                  <a:pt x="1381" y="390"/>
                </a:cubicBezTo>
                <a:cubicBezTo>
                  <a:pt x="1384" y="390"/>
                  <a:pt x="1386" y="392"/>
                  <a:pt x="1386" y="395"/>
                </a:cubicBezTo>
                <a:cubicBezTo>
                  <a:pt x="1386" y="441"/>
                  <a:pt x="1386" y="441"/>
                  <a:pt x="1386" y="441"/>
                </a:cubicBezTo>
                <a:cubicBezTo>
                  <a:pt x="1388" y="459"/>
                  <a:pt x="1388" y="459"/>
                  <a:pt x="1388" y="459"/>
                </a:cubicBezTo>
                <a:cubicBezTo>
                  <a:pt x="1413" y="465"/>
                  <a:pt x="1413" y="465"/>
                  <a:pt x="1413" y="465"/>
                </a:cubicBezTo>
                <a:cubicBezTo>
                  <a:pt x="1432" y="470"/>
                  <a:pt x="1451" y="478"/>
                  <a:pt x="1469" y="488"/>
                </a:cubicBezTo>
                <a:cubicBezTo>
                  <a:pt x="1493" y="502"/>
                  <a:pt x="1493" y="502"/>
                  <a:pt x="1493" y="502"/>
                </a:cubicBezTo>
                <a:cubicBezTo>
                  <a:pt x="1537" y="458"/>
                  <a:pt x="1537" y="458"/>
                  <a:pt x="1537" y="458"/>
                </a:cubicBezTo>
                <a:cubicBezTo>
                  <a:pt x="1540" y="456"/>
                  <a:pt x="1543" y="456"/>
                  <a:pt x="1545" y="458"/>
                </a:cubicBezTo>
                <a:cubicBezTo>
                  <a:pt x="1600" y="512"/>
                  <a:pt x="1600" y="512"/>
                  <a:pt x="1600" y="512"/>
                </a:cubicBezTo>
                <a:cubicBezTo>
                  <a:pt x="1615" y="497"/>
                  <a:pt x="1615" y="497"/>
                  <a:pt x="1615" y="497"/>
                </a:cubicBezTo>
                <a:cubicBezTo>
                  <a:pt x="1600" y="520"/>
                  <a:pt x="1600" y="520"/>
                  <a:pt x="1600" y="520"/>
                </a:cubicBezTo>
                <a:cubicBezTo>
                  <a:pt x="1567" y="553"/>
                  <a:pt x="1567" y="553"/>
                  <a:pt x="1567" y="553"/>
                </a:cubicBezTo>
                <a:cubicBezTo>
                  <a:pt x="1557" y="567"/>
                  <a:pt x="1557" y="567"/>
                  <a:pt x="1557" y="567"/>
                </a:cubicBezTo>
                <a:cubicBezTo>
                  <a:pt x="1570" y="588"/>
                  <a:pt x="1570" y="588"/>
                  <a:pt x="1570" y="588"/>
                </a:cubicBezTo>
                <a:cubicBezTo>
                  <a:pt x="1580" y="606"/>
                  <a:pt x="1587" y="625"/>
                  <a:pt x="1593" y="644"/>
                </a:cubicBezTo>
                <a:cubicBezTo>
                  <a:pt x="1599" y="672"/>
                  <a:pt x="1599" y="672"/>
                  <a:pt x="1599" y="672"/>
                </a:cubicBezTo>
                <a:cubicBezTo>
                  <a:pt x="1662" y="672"/>
                  <a:pt x="1662" y="672"/>
                  <a:pt x="1662" y="672"/>
                </a:cubicBezTo>
                <a:cubicBezTo>
                  <a:pt x="1665" y="672"/>
                  <a:pt x="1668" y="674"/>
                  <a:pt x="1668" y="677"/>
                </a:cubicBezTo>
                <a:lnTo>
                  <a:pt x="1668" y="7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latin typeface="Lato" panose="020F0502020204030203" pitchFamily="34" charset="0"/>
            </a:endParaRPr>
          </a:p>
        </p:txBody>
      </p:sp>
      <p:sp>
        <p:nvSpPr>
          <p:cNvPr id="23" name="Freeform 13"/>
          <p:cNvSpPr>
            <a:spLocks noEditPoints="1"/>
          </p:cNvSpPr>
          <p:nvPr/>
        </p:nvSpPr>
        <p:spPr bwMode="auto">
          <a:xfrm>
            <a:off x="3532471" y="3456915"/>
            <a:ext cx="741162" cy="366247"/>
          </a:xfrm>
          <a:custGeom>
            <a:avLst/>
            <a:gdLst>
              <a:gd name="T0" fmla="*/ 1650 w 2133"/>
              <a:gd name="T1" fmla="*/ 471 h 1052"/>
              <a:gd name="T2" fmla="*/ 2115 w 2133"/>
              <a:gd name="T3" fmla="*/ 435 h 1052"/>
              <a:gd name="T4" fmla="*/ 1922 w 2133"/>
              <a:gd name="T5" fmla="*/ 309 h 1052"/>
              <a:gd name="T6" fmla="*/ 1650 w 2133"/>
              <a:gd name="T7" fmla="*/ 273 h 1052"/>
              <a:gd name="T8" fmla="*/ 1922 w 2133"/>
              <a:gd name="T9" fmla="*/ 598 h 1052"/>
              <a:gd name="T10" fmla="*/ 1650 w 2133"/>
              <a:gd name="T11" fmla="*/ 634 h 1052"/>
              <a:gd name="T12" fmla="*/ 1922 w 2133"/>
              <a:gd name="T13" fmla="*/ 598 h 1052"/>
              <a:gd name="T14" fmla="*/ 1536 w 2133"/>
              <a:gd name="T15" fmla="*/ 924 h 1052"/>
              <a:gd name="T16" fmla="*/ 993 w 2133"/>
              <a:gd name="T17" fmla="*/ 924 h 1052"/>
              <a:gd name="T18" fmla="*/ 284 w 2133"/>
              <a:gd name="T19" fmla="*/ 1052 h 1052"/>
              <a:gd name="T20" fmla="*/ 2 w 2133"/>
              <a:gd name="T21" fmla="*/ 906 h 1052"/>
              <a:gd name="T22" fmla="*/ 2 w 2133"/>
              <a:gd name="T23" fmla="*/ 493 h 1052"/>
              <a:gd name="T24" fmla="*/ 531 w 2133"/>
              <a:gd name="T25" fmla="*/ 185 h 1052"/>
              <a:gd name="T26" fmla="*/ 1428 w 2133"/>
              <a:gd name="T27" fmla="*/ 0 h 1052"/>
              <a:gd name="T28" fmla="*/ 470 w 2133"/>
              <a:gd name="T29" fmla="*/ 221 h 1052"/>
              <a:gd name="T30" fmla="*/ 531 w 2133"/>
              <a:gd name="T31" fmla="*/ 221 h 1052"/>
              <a:gd name="T32" fmla="*/ 434 w 2133"/>
              <a:gd name="T33" fmla="*/ 483 h 1052"/>
              <a:gd name="T34" fmla="*/ 38 w 2133"/>
              <a:gd name="T35" fmla="*/ 382 h 1052"/>
              <a:gd name="T36" fmla="*/ 284 w 2133"/>
              <a:gd name="T37" fmla="*/ 764 h 1052"/>
              <a:gd name="T38" fmla="*/ 284 w 2133"/>
              <a:gd name="T39" fmla="*/ 1016 h 1052"/>
              <a:gd name="T40" fmla="*/ 531 w 2133"/>
              <a:gd name="T41" fmla="*/ 888 h 1052"/>
              <a:gd name="T42" fmla="*/ 452 w 2133"/>
              <a:gd name="T43" fmla="*/ 520 h 1052"/>
              <a:gd name="T44" fmla="*/ 38 w 2133"/>
              <a:gd name="T45" fmla="*/ 888 h 1052"/>
              <a:gd name="T46" fmla="*/ 125 w 2133"/>
              <a:gd name="T47" fmla="*/ 856 h 1052"/>
              <a:gd name="T48" fmla="*/ 142 w 2133"/>
              <a:gd name="T49" fmla="*/ 812 h 1052"/>
              <a:gd name="T50" fmla="*/ 169 w 2133"/>
              <a:gd name="T51" fmla="*/ 775 h 1052"/>
              <a:gd name="T52" fmla="*/ 209 w 2133"/>
              <a:gd name="T53" fmla="*/ 747 h 1052"/>
              <a:gd name="T54" fmla="*/ 251 w 2133"/>
              <a:gd name="T55" fmla="*/ 731 h 1052"/>
              <a:gd name="T56" fmla="*/ 326 w 2133"/>
              <a:gd name="T57" fmla="*/ 734 h 1052"/>
              <a:gd name="T58" fmla="*/ 374 w 2133"/>
              <a:gd name="T59" fmla="*/ 755 h 1052"/>
              <a:gd name="T60" fmla="*/ 406 w 2133"/>
              <a:gd name="T61" fmla="*/ 785 h 1052"/>
              <a:gd name="T62" fmla="*/ 433 w 2133"/>
              <a:gd name="T63" fmla="*/ 826 h 1052"/>
              <a:gd name="T64" fmla="*/ 444 w 2133"/>
              <a:gd name="T65" fmla="*/ 871 h 1052"/>
              <a:gd name="T66" fmla="*/ 1277 w 2133"/>
              <a:gd name="T67" fmla="*/ 890 h 1052"/>
              <a:gd name="T68" fmla="*/ 1025 w 2133"/>
              <a:gd name="T69" fmla="*/ 904 h 1052"/>
              <a:gd name="T70" fmla="*/ 1518 w 2133"/>
              <a:gd name="T71" fmla="*/ 125 h 1052"/>
              <a:gd name="T72" fmla="*/ 567 w 2133"/>
              <a:gd name="T73" fmla="*/ 203 h 1052"/>
              <a:gd name="T74" fmla="*/ 991 w 2133"/>
              <a:gd name="T75" fmla="*/ 871 h 1052"/>
              <a:gd name="T76" fmla="*/ 1002 w 2133"/>
              <a:gd name="T77" fmla="*/ 826 h 1052"/>
              <a:gd name="T78" fmla="*/ 1027 w 2133"/>
              <a:gd name="T79" fmla="*/ 786 h 1052"/>
              <a:gd name="T80" fmla="*/ 1061 w 2133"/>
              <a:gd name="T81" fmla="*/ 755 h 1052"/>
              <a:gd name="T82" fmla="*/ 1108 w 2133"/>
              <a:gd name="T83" fmla="*/ 734 h 1052"/>
              <a:gd name="T84" fmla="*/ 1183 w 2133"/>
              <a:gd name="T85" fmla="*/ 731 h 1052"/>
              <a:gd name="T86" fmla="*/ 1226 w 2133"/>
              <a:gd name="T87" fmla="*/ 747 h 1052"/>
              <a:gd name="T88" fmla="*/ 1265 w 2133"/>
              <a:gd name="T89" fmla="*/ 775 h 1052"/>
              <a:gd name="T90" fmla="*/ 1292 w 2133"/>
              <a:gd name="T91" fmla="*/ 812 h 1052"/>
              <a:gd name="T92" fmla="*/ 1310 w 2133"/>
              <a:gd name="T93" fmla="*/ 856 h 1052"/>
              <a:gd name="T94" fmla="*/ 1518 w 2133"/>
              <a:gd name="T95" fmla="*/ 888 h 1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133" h="1052">
                <a:moveTo>
                  <a:pt x="2133" y="453"/>
                </a:moveTo>
                <a:cubicBezTo>
                  <a:pt x="2133" y="463"/>
                  <a:pt x="2125" y="471"/>
                  <a:pt x="2115" y="471"/>
                </a:cubicBezTo>
                <a:cubicBezTo>
                  <a:pt x="1650" y="471"/>
                  <a:pt x="1650" y="471"/>
                  <a:pt x="1650" y="471"/>
                </a:cubicBezTo>
                <a:cubicBezTo>
                  <a:pt x="1640" y="471"/>
                  <a:pt x="1632" y="463"/>
                  <a:pt x="1632" y="453"/>
                </a:cubicBezTo>
                <a:cubicBezTo>
                  <a:pt x="1632" y="443"/>
                  <a:pt x="1640" y="435"/>
                  <a:pt x="1650" y="435"/>
                </a:cubicBezTo>
                <a:cubicBezTo>
                  <a:pt x="2115" y="435"/>
                  <a:pt x="2115" y="435"/>
                  <a:pt x="2115" y="435"/>
                </a:cubicBezTo>
                <a:cubicBezTo>
                  <a:pt x="2125" y="435"/>
                  <a:pt x="2133" y="443"/>
                  <a:pt x="2133" y="453"/>
                </a:cubicBezTo>
                <a:close/>
                <a:moveTo>
                  <a:pt x="1650" y="309"/>
                </a:moveTo>
                <a:cubicBezTo>
                  <a:pt x="1922" y="309"/>
                  <a:pt x="1922" y="309"/>
                  <a:pt x="1922" y="309"/>
                </a:cubicBezTo>
                <a:cubicBezTo>
                  <a:pt x="1932" y="309"/>
                  <a:pt x="1940" y="301"/>
                  <a:pt x="1940" y="291"/>
                </a:cubicBezTo>
                <a:cubicBezTo>
                  <a:pt x="1940" y="281"/>
                  <a:pt x="1932" y="273"/>
                  <a:pt x="1922" y="273"/>
                </a:cubicBezTo>
                <a:cubicBezTo>
                  <a:pt x="1650" y="273"/>
                  <a:pt x="1650" y="273"/>
                  <a:pt x="1650" y="273"/>
                </a:cubicBezTo>
                <a:cubicBezTo>
                  <a:pt x="1640" y="273"/>
                  <a:pt x="1632" y="281"/>
                  <a:pt x="1632" y="291"/>
                </a:cubicBezTo>
                <a:cubicBezTo>
                  <a:pt x="1632" y="301"/>
                  <a:pt x="1640" y="309"/>
                  <a:pt x="1650" y="309"/>
                </a:cubicBezTo>
                <a:close/>
                <a:moveTo>
                  <a:pt x="1922" y="598"/>
                </a:moveTo>
                <a:cubicBezTo>
                  <a:pt x="1650" y="598"/>
                  <a:pt x="1650" y="598"/>
                  <a:pt x="1650" y="598"/>
                </a:cubicBezTo>
                <a:cubicBezTo>
                  <a:pt x="1640" y="598"/>
                  <a:pt x="1632" y="606"/>
                  <a:pt x="1632" y="616"/>
                </a:cubicBezTo>
                <a:cubicBezTo>
                  <a:pt x="1632" y="626"/>
                  <a:pt x="1640" y="634"/>
                  <a:pt x="1650" y="634"/>
                </a:cubicBezTo>
                <a:cubicBezTo>
                  <a:pt x="1922" y="634"/>
                  <a:pt x="1922" y="634"/>
                  <a:pt x="1922" y="634"/>
                </a:cubicBezTo>
                <a:cubicBezTo>
                  <a:pt x="1932" y="634"/>
                  <a:pt x="1940" y="626"/>
                  <a:pt x="1940" y="616"/>
                </a:cubicBezTo>
                <a:cubicBezTo>
                  <a:pt x="1940" y="606"/>
                  <a:pt x="1932" y="598"/>
                  <a:pt x="1922" y="598"/>
                </a:cubicBezTo>
                <a:close/>
                <a:moveTo>
                  <a:pt x="1554" y="125"/>
                </a:moveTo>
                <a:cubicBezTo>
                  <a:pt x="1554" y="906"/>
                  <a:pt x="1554" y="906"/>
                  <a:pt x="1554" y="906"/>
                </a:cubicBezTo>
                <a:cubicBezTo>
                  <a:pt x="1554" y="916"/>
                  <a:pt x="1546" y="924"/>
                  <a:pt x="1536" y="924"/>
                </a:cubicBezTo>
                <a:cubicBezTo>
                  <a:pt x="1309" y="924"/>
                  <a:pt x="1309" y="924"/>
                  <a:pt x="1309" y="924"/>
                </a:cubicBezTo>
                <a:cubicBezTo>
                  <a:pt x="1293" y="998"/>
                  <a:pt x="1228" y="1052"/>
                  <a:pt x="1151" y="1052"/>
                </a:cubicBezTo>
                <a:cubicBezTo>
                  <a:pt x="1073" y="1052"/>
                  <a:pt x="1009" y="998"/>
                  <a:pt x="993" y="924"/>
                </a:cubicBezTo>
                <a:cubicBezTo>
                  <a:pt x="549" y="924"/>
                  <a:pt x="549" y="924"/>
                  <a:pt x="549" y="924"/>
                </a:cubicBezTo>
                <a:cubicBezTo>
                  <a:pt x="442" y="924"/>
                  <a:pt x="442" y="924"/>
                  <a:pt x="442" y="924"/>
                </a:cubicBezTo>
                <a:cubicBezTo>
                  <a:pt x="426" y="998"/>
                  <a:pt x="361" y="1052"/>
                  <a:pt x="284" y="1052"/>
                </a:cubicBezTo>
                <a:cubicBezTo>
                  <a:pt x="206" y="1052"/>
                  <a:pt x="141" y="998"/>
                  <a:pt x="125" y="924"/>
                </a:cubicBezTo>
                <a:cubicBezTo>
                  <a:pt x="20" y="924"/>
                  <a:pt x="20" y="924"/>
                  <a:pt x="20" y="924"/>
                </a:cubicBezTo>
                <a:cubicBezTo>
                  <a:pt x="10" y="924"/>
                  <a:pt x="2" y="916"/>
                  <a:pt x="2" y="906"/>
                </a:cubicBezTo>
                <a:cubicBezTo>
                  <a:pt x="2" y="509"/>
                  <a:pt x="2" y="509"/>
                  <a:pt x="2" y="509"/>
                </a:cubicBezTo>
                <a:cubicBezTo>
                  <a:pt x="1" y="507"/>
                  <a:pt x="0" y="504"/>
                  <a:pt x="0" y="501"/>
                </a:cubicBezTo>
                <a:cubicBezTo>
                  <a:pt x="0" y="498"/>
                  <a:pt x="1" y="496"/>
                  <a:pt x="2" y="493"/>
                </a:cubicBezTo>
                <a:cubicBezTo>
                  <a:pt x="2" y="382"/>
                  <a:pt x="2" y="382"/>
                  <a:pt x="2" y="382"/>
                </a:cubicBezTo>
                <a:cubicBezTo>
                  <a:pt x="2" y="273"/>
                  <a:pt x="91" y="185"/>
                  <a:pt x="199" y="185"/>
                </a:cubicBezTo>
                <a:cubicBezTo>
                  <a:pt x="531" y="185"/>
                  <a:pt x="531" y="185"/>
                  <a:pt x="531" y="185"/>
                </a:cubicBezTo>
                <a:cubicBezTo>
                  <a:pt x="531" y="18"/>
                  <a:pt x="531" y="18"/>
                  <a:pt x="531" y="18"/>
                </a:cubicBezTo>
                <a:cubicBezTo>
                  <a:pt x="531" y="8"/>
                  <a:pt x="539" y="0"/>
                  <a:pt x="549" y="0"/>
                </a:cubicBezTo>
                <a:cubicBezTo>
                  <a:pt x="1428" y="0"/>
                  <a:pt x="1428" y="0"/>
                  <a:pt x="1428" y="0"/>
                </a:cubicBezTo>
                <a:cubicBezTo>
                  <a:pt x="1498" y="0"/>
                  <a:pt x="1554" y="56"/>
                  <a:pt x="1554" y="125"/>
                </a:cubicBezTo>
                <a:close/>
                <a:moveTo>
                  <a:pt x="531" y="221"/>
                </a:moveTo>
                <a:cubicBezTo>
                  <a:pt x="470" y="221"/>
                  <a:pt x="470" y="221"/>
                  <a:pt x="470" y="221"/>
                </a:cubicBezTo>
                <a:cubicBezTo>
                  <a:pt x="470" y="483"/>
                  <a:pt x="470" y="483"/>
                  <a:pt x="470" y="483"/>
                </a:cubicBezTo>
                <a:cubicBezTo>
                  <a:pt x="531" y="483"/>
                  <a:pt x="531" y="483"/>
                  <a:pt x="531" y="483"/>
                </a:cubicBezTo>
                <a:lnTo>
                  <a:pt x="531" y="221"/>
                </a:lnTo>
                <a:close/>
                <a:moveTo>
                  <a:pt x="38" y="382"/>
                </a:moveTo>
                <a:cubicBezTo>
                  <a:pt x="38" y="483"/>
                  <a:pt x="38" y="483"/>
                  <a:pt x="38" y="483"/>
                </a:cubicBezTo>
                <a:cubicBezTo>
                  <a:pt x="434" y="483"/>
                  <a:pt x="434" y="483"/>
                  <a:pt x="434" y="483"/>
                </a:cubicBezTo>
                <a:cubicBezTo>
                  <a:pt x="434" y="221"/>
                  <a:pt x="434" y="221"/>
                  <a:pt x="434" y="221"/>
                </a:cubicBezTo>
                <a:cubicBezTo>
                  <a:pt x="199" y="221"/>
                  <a:pt x="199" y="221"/>
                  <a:pt x="199" y="221"/>
                </a:cubicBezTo>
                <a:cubicBezTo>
                  <a:pt x="110" y="221"/>
                  <a:pt x="38" y="293"/>
                  <a:pt x="38" y="382"/>
                </a:cubicBezTo>
                <a:close/>
                <a:moveTo>
                  <a:pt x="409" y="904"/>
                </a:moveTo>
                <a:cubicBezTo>
                  <a:pt x="410" y="900"/>
                  <a:pt x="410" y="895"/>
                  <a:pt x="410" y="890"/>
                </a:cubicBezTo>
                <a:cubicBezTo>
                  <a:pt x="410" y="820"/>
                  <a:pt x="353" y="764"/>
                  <a:pt x="284" y="764"/>
                </a:cubicBezTo>
                <a:cubicBezTo>
                  <a:pt x="214" y="764"/>
                  <a:pt x="157" y="820"/>
                  <a:pt x="157" y="890"/>
                </a:cubicBezTo>
                <a:cubicBezTo>
                  <a:pt x="157" y="895"/>
                  <a:pt x="158" y="900"/>
                  <a:pt x="158" y="904"/>
                </a:cubicBezTo>
                <a:cubicBezTo>
                  <a:pt x="165" y="968"/>
                  <a:pt x="219" y="1016"/>
                  <a:pt x="284" y="1016"/>
                </a:cubicBezTo>
                <a:cubicBezTo>
                  <a:pt x="348" y="1016"/>
                  <a:pt x="402" y="968"/>
                  <a:pt x="409" y="904"/>
                </a:cubicBezTo>
                <a:close/>
                <a:moveTo>
                  <a:pt x="446" y="888"/>
                </a:moveTo>
                <a:cubicBezTo>
                  <a:pt x="531" y="888"/>
                  <a:pt x="531" y="888"/>
                  <a:pt x="531" y="888"/>
                </a:cubicBezTo>
                <a:cubicBezTo>
                  <a:pt x="531" y="519"/>
                  <a:pt x="531" y="519"/>
                  <a:pt x="531" y="519"/>
                </a:cubicBezTo>
                <a:cubicBezTo>
                  <a:pt x="458" y="519"/>
                  <a:pt x="458" y="519"/>
                  <a:pt x="458" y="519"/>
                </a:cubicBezTo>
                <a:cubicBezTo>
                  <a:pt x="456" y="520"/>
                  <a:pt x="454" y="520"/>
                  <a:pt x="452" y="520"/>
                </a:cubicBezTo>
                <a:cubicBezTo>
                  <a:pt x="450" y="520"/>
                  <a:pt x="448" y="520"/>
                  <a:pt x="446" y="519"/>
                </a:cubicBezTo>
                <a:cubicBezTo>
                  <a:pt x="38" y="519"/>
                  <a:pt x="38" y="519"/>
                  <a:pt x="38" y="519"/>
                </a:cubicBezTo>
                <a:cubicBezTo>
                  <a:pt x="38" y="888"/>
                  <a:pt x="38" y="888"/>
                  <a:pt x="38" y="888"/>
                </a:cubicBezTo>
                <a:cubicBezTo>
                  <a:pt x="121" y="888"/>
                  <a:pt x="121" y="888"/>
                  <a:pt x="121" y="888"/>
                </a:cubicBezTo>
                <a:cubicBezTo>
                  <a:pt x="121" y="882"/>
                  <a:pt x="123" y="876"/>
                  <a:pt x="123" y="871"/>
                </a:cubicBezTo>
                <a:cubicBezTo>
                  <a:pt x="124" y="866"/>
                  <a:pt x="124" y="861"/>
                  <a:pt x="125" y="856"/>
                </a:cubicBezTo>
                <a:cubicBezTo>
                  <a:pt x="126" y="851"/>
                  <a:pt x="128" y="845"/>
                  <a:pt x="130" y="840"/>
                </a:cubicBezTo>
                <a:cubicBezTo>
                  <a:pt x="132" y="835"/>
                  <a:pt x="133" y="831"/>
                  <a:pt x="135" y="826"/>
                </a:cubicBezTo>
                <a:cubicBezTo>
                  <a:pt x="137" y="821"/>
                  <a:pt x="140" y="816"/>
                  <a:pt x="142" y="812"/>
                </a:cubicBezTo>
                <a:cubicBezTo>
                  <a:pt x="145" y="807"/>
                  <a:pt x="147" y="803"/>
                  <a:pt x="150" y="799"/>
                </a:cubicBezTo>
                <a:cubicBezTo>
                  <a:pt x="153" y="794"/>
                  <a:pt x="156" y="790"/>
                  <a:pt x="160" y="786"/>
                </a:cubicBezTo>
                <a:cubicBezTo>
                  <a:pt x="163" y="782"/>
                  <a:pt x="166" y="778"/>
                  <a:pt x="169" y="775"/>
                </a:cubicBezTo>
                <a:cubicBezTo>
                  <a:pt x="173" y="771"/>
                  <a:pt x="178" y="768"/>
                  <a:pt x="182" y="764"/>
                </a:cubicBezTo>
                <a:cubicBezTo>
                  <a:pt x="186" y="761"/>
                  <a:pt x="189" y="758"/>
                  <a:pt x="193" y="755"/>
                </a:cubicBezTo>
                <a:cubicBezTo>
                  <a:pt x="198" y="752"/>
                  <a:pt x="204" y="750"/>
                  <a:pt x="209" y="747"/>
                </a:cubicBezTo>
                <a:cubicBezTo>
                  <a:pt x="213" y="745"/>
                  <a:pt x="217" y="742"/>
                  <a:pt x="221" y="740"/>
                </a:cubicBezTo>
                <a:cubicBezTo>
                  <a:pt x="227" y="738"/>
                  <a:pt x="234" y="736"/>
                  <a:pt x="240" y="734"/>
                </a:cubicBezTo>
                <a:cubicBezTo>
                  <a:pt x="244" y="733"/>
                  <a:pt x="247" y="732"/>
                  <a:pt x="251" y="731"/>
                </a:cubicBezTo>
                <a:cubicBezTo>
                  <a:pt x="262" y="729"/>
                  <a:pt x="273" y="728"/>
                  <a:pt x="284" y="728"/>
                </a:cubicBezTo>
                <a:cubicBezTo>
                  <a:pt x="295" y="728"/>
                  <a:pt x="306" y="729"/>
                  <a:pt x="316" y="731"/>
                </a:cubicBezTo>
                <a:cubicBezTo>
                  <a:pt x="319" y="732"/>
                  <a:pt x="322" y="733"/>
                  <a:pt x="326" y="734"/>
                </a:cubicBezTo>
                <a:cubicBezTo>
                  <a:pt x="333" y="736"/>
                  <a:pt x="340" y="738"/>
                  <a:pt x="346" y="740"/>
                </a:cubicBezTo>
                <a:cubicBezTo>
                  <a:pt x="350" y="742"/>
                  <a:pt x="353" y="744"/>
                  <a:pt x="357" y="746"/>
                </a:cubicBezTo>
                <a:cubicBezTo>
                  <a:pt x="363" y="749"/>
                  <a:pt x="369" y="752"/>
                  <a:pt x="374" y="755"/>
                </a:cubicBezTo>
                <a:cubicBezTo>
                  <a:pt x="377" y="758"/>
                  <a:pt x="380" y="761"/>
                  <a:pt x="384" y="763"/>
                </a:cubicBezTo>
                <a:cubicBezTo>
                  <a:pt x="389" y="767"/>
                  <a:pt x="394" y="771"/>
                  <a:pt x="398" y="775"/>
                </a:cubicBezTo>
                <a:cubicBezTo>
                  <a:pt x="401" y="778"/>
                  <a:pt x="404" y="782"/>
                  <a:pt x="406" y="785"/>
                </a:cubicBezTo>
                <a:cubicBezTo>
                  <a:pt x="410" y="790"/>
                  <a:pt x="414" y="794"/>
                  <a:pt x="418" y="799"/>
                </a:cubicBezTo>
                <a:cubicBezTo>
                  <a:pt x="420" y="803"/>
                  <a:pt x="422" y="807"/>
                  <a:pt x="424" y="811"/>
                </a:cubicBezTo>
                <a:cubicBezTo>
                  <a:pt x="427" y="816"/>
                  <a:pt x="430" y="821"/>
                  <a:pt x="433" y="826"/>
                </a:cubicBezTo>
                <a:cubicBezTo>
                  <a:pt x="435" y="830"/>
                  <a:pt x="436" y="835"/>
                  <a:pt x="437" y="840"/>
                </a:cubicBezTo>
                <a:cubicBezTo>
                  <a:pt x="439" y="845"/>
                  <a:pt x="441" y="851"/>
                  <a:pt x="442" y="856"/>
                </a:cubicBezTo>
                <a:cubicBezTo>
                  <a:pt x="443" y="861"/>
                  <a:pt x="443" y="866"/>
                  <a:pt x="444" y="871"/>
                </a:cubicBezTo>
                <a:cubicBezTo>
                  <a:pt x="445" y="876"/>
                  <a:pt x="446" y="882"/>
                  <a:pt x="446" y="888"/>
                </a:cubicBezTo>
                <a:close/>
                <a:moveTo>
                  <a:pt x="1277" y="904"/>
                </a:moveTo>
                <a:cubicBezTo>
                  <a:pt x="1277" y="899"/>
                  <a:pt x="1277" y="895"/>
                  <a:pt x="1277" y="890"/>
                </a:cubicBezTo>
                <a:cubicBezTo>
                  <a:pt x="1277" y="820"/>
                  <a:pt x="1221" y="764"/>
                  <a:pt x="1151" y="764"/>
                </a:cubicBezTo>
                <a:cubicBezTo>
                  <a:pt x="1081" y="764"/>
                  <a:pt x="1025" y="820"/>
                  <a:pt x="1025" y="890"/>
                </a:cubicBezTo>
                <a:cubicBezTo>
                  <a:pt x="1025" y="895"/>
                  <a:pt x="1025" y="900"/>
                  <a:pt x="1025" y="904"/>
                </a:cubicBezTo>
                <a:cubicBezTo>
                  <a:pt x="1032" y="968"/>
                  <a:pt x="1086" y="1016"/>
                  <a:pt x="1151" y="1016"/>
                </a:cubicBezTo>
                <a:cubicBezTo>
                  <a:pt x="1216" y="1016"/>
                  <a:pt x="1270" y="968"/>
                  <a:pt x="1277" y="904"/>
                </a:cubicBezTo>
                <a:close/>
                <a:moveTo>
                  <a:pt x="1518" y="125"/>
                </a:moveTo>
                <a:cubicBezTo>
                  <a:pt x="1518" y="76"/>
                  <a:pt x="1478" y="36"/>
                  <a:pt x="1428" y="36"/>
                </a:cubicBezTo>
                <a:cubicBezTo>
                  <a:pt x="567" y="36"/>
                  <a:pt x="567" y="36"/>
                  <a:pt x="567" y="36"/>
                </a:cubicBezTo>
                <a:cubicBezTo>
                  <a:pt x="567" y="203"/>
                  <a:pt x="567" y="203"/>
                  <a:pt x="567" y="203"/>
                </a:cubicBezTo>
                <a:cubicBezTo>
                  <a:pt x="567" y="888"/>
                  <a:pt x="567" y="888"/>
                  <a:pt x="567" y="888"/>
                </a:cubicBezTo>
                <a:cubicBezTo>
                  <a:pt x="989" y="888"/>
                  <a:pt x="989" y="888"/>
                  <a:pt x="989" y="888"/>
                </a:cubicBezTo>
                <a:cubicBezTo>
                  <a:pt x="989" y="882"/>
                  <a:pt x="990" y="876"/>
                  <a:pt x="991" y="871"/>
                </a:cubicBezTo>
                <a:cubicBezTo>
                  <a:pt x="991" y="866"/>
                  <a:pt x="991" y="861"/>
                  <a:pt x="992" y="856"/>
                </a:cubicBezTo>
                <a:cubicBezTo>
                  <a:pt x="994" y="851"/>
                  <a:pt x="996" y="845"/>
                  <a:pt x="997" y="840"/>
                </a:cubicBezTo>
                <a:cubicBezTo>
                  <a:pt x="999" y="835"/>
                  <a:pt x="1000" y="831"/>
                  <a:pt x="1002" y="826"/>
                </a:cubicBezTo>
                <a:cubicBezTo>
                  <a:pt x="1004" y="821"/>
                  <a:pt x="1007" y="816"/>
                  <a:pt x="1010" y="812"/>
                </a:cubicBezTo>
                <a:cubicBezTo>
                  <a:pt x="1012" y="807"/>
                  <a:pt x="1014" y="803"/>
                  <a:pt x="1017" y="799"/>
                </a:cubicBezTo>
                <a:cubicBezTo>
                  <a:pt x="1020" y="794"/>
                  <a:pt x="1024" y="790"/>
                  <a:pt x="1027" y="786"/>
                </a:cubicBezTo>
                <a:cubicBezTo>
                  <a:pt x="1030" y="782"/>
                  <a:pt x="1033" y="778"/>
                  <a:pt x="1037" y="775"/>
                </a:cubicBezTo>
                <a:cubicBezTo>
                  <a:pt x="1041" y="771"/>
                  <a:pt x="1045" y="768"/>
                  <a:pt x="1050" y="764"/>
                </a:cubicBezTo>
                <a:cubicBezTo>
                  <a:pt x="1053" y="761"/>
                  <a:pt x="1057" y="758"/>
                  <a:pt x="1061" y="755"/>
                </a:cubicBezTo>
                <a:cubicBezTo>
                  <a:pt x="1066" y="752"/>
                  <a:pt x="1071" y="750"/>
                  <a:pt x="1076" y="747"/>
                </a:cubicBezTo>
                <a:cubicBezTo>
                  <a:pt x="1080" y="745"/>
                  <a:pt x="1084" y="742"/>
                  <a:pt x="1088" y="740"/>
                </a:cubicBezTo>
                <a:cubicBezTo>
                  <a:pt x="1094" y="738"/>
                  <a:pt x="1101" y="736"/>
                  <a:pt x="1108" y="734"/>
                </a:cubicBezTo>
                <a:cubicBezTo>
                  <a:pt x="1111" y="733"/>
                  <a:pt x="1115" y="732"/>
                  <a:pt x="1118" y="731"/>
                </a:cubicBezTo>
                <a:cubicBezTo>
                  <a:pt x="1129" y="729"/>
                  <a:pt x="1140" y="728"/>
                  <a:pt x="1151" y="728"/>
                </a:cubicBezTo>
                <a:cubicBezTo>
                  <a:pt x="1162" y="728"/>
                  <a:pt x="1173" y="729"/>
                  <a:pt x="1183" y="731"/>
                </a:cubicBezTo>
                <a:cubicBezTo>
                  <a:pt x="1187" y="732"/>
                  <a:pt x="1191" y="733"/>
                  <a:pt x="1194" y="734"/>
                </a:cubicBezTo>
                <a:cubicBezTo>
                  <a:pt x="1201" y="736"/>
                  <a:pt x="1208" y="738"/>
                  <a:pt x="1214" y="740"/>
                </a:cubicBezTo>
                <a:cubicBezTo>
                  <a:pt x="1218" y="742"/>
                  <a:pt x="1222" y="745"/>
                  <a:pt x="1226" y="747"/>
                </a:cubicBezTo>
                <a:cubicBezTo>
                  <a:pt x="1231" y="750"/>
                  <a:pt x="1236" y="752"/>
                  <a:pt x="1241" y="755"/>
                </a:cubicBezTo>
                <a:cubicBezTo>
                  <a:pt x="1245" y="758"/>
                  <a:pt x="1249" y="761"/>
                  <a:pt x="1252" y="764"/>
                </a:cubicBezTo>
                <a:cubicBezTo>
                  <a:pt x="1257" y="768"/>
                  <a:pt x="1261" y="771"/>
                  <a:pt x="1265" y="775"/>
                </a:cubicBezTo>
                <a:cubicBezTo>
                  <a:pt x="1269" y="778"/>
                  <a:pt x="1271" y="782"/>
                  <a:pt x="1275" y="786"/>
                </a:cubicBezTo>
                <a:cubicBezTo>
                  <a:pt x="1278" y="790"/>
                  <a:pt x="1282" y="794"/>
                  <a:pt x="1285" y="799"/>
                </a:cubicBezTo>
                <a:cubicBezTo>
                  <a:pt x="1288" y="803"/>
                  <a:pt x="1290" y="807"/>
                  <a:pt x="1292" y="812"/>
                </a:cubicBezTo>
                <a:cubicBezTo>
                  <a:pt x="1295" y="816"/>
                  <a:pt x="1298" y="821"/>
                  <a:pt x="1300" y="826"/>
                </a:cubicBezTo>
                <a:cubicBezTo>
                  <a:pt x="1302" y="831"/>
                  <a:pt x="1303" y="835"/>
                  <a:pt x="1304" y="840"/>
                </a:cubicBezTo>
                <a:cubicBezTo>
                  <a:pt x="1306" y="845"/>
                  <a:pt x="1308" y="851"/>
                  <a:pt x="1310" y="856"/>
                </a:cubicBezTo>
                <a:cubicBezTo>
                  <a:pt x="1311" y="861"/>
                  <a:pt x="1311" y="866"/>
                  <a:pt x="1311" y="871"/>
                </a:cubicBezTo>
                <a:cubicBezTo>
                  <a:pt x="1312" y="876"/>
                  <a:pt x="1313" y="882"/>
                  <a:pt x="1313" y="888"/>
                </a:cubicBezTo>
                <a:cubicBezTo>
                  <a:pt x="1518" y="888"/>
                  <a:pt x="1518" y="888"/>
                  <a:pt x="1518" y="888"/>
                </a:cubicBezTo>
                <a:lnTo>
                  <a:pt x="1518" y="1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latin typeface="Lato" panose="020F0502020204030203" pitchFamily="34" charset="0"/>
            </a:endParaRPr>
          </a:p>
        </p:txBody>
      </p:sp>
      <p:sp>
        <p:nvSpPr>
          <p:cNvPr id="24" name="Freeform 17"/>
          <p:cNvSpPr>
            <a:spLocks noEditPoints="1"/>
          </p:cNvSpPr>
          <p:nvPr/>
        </p:nvSpPr>
        <p:spPr bwMode="auto">
          <a:xfrm>
            <a:off x="4989013" y="3389278"/>
            <a:ext cx="595908" cy="466130"/>
          </a:xfrm>
          <a:custGeom>
            <a:avLst/>
            <a:gdLst>
              <a:gd name="T0" fmla="*/ 377 w 3026"/>
              <a:gd name="T1" fmla="*/ 1614 h 2367"/>
              <a:gd name="T2" fmla="*/ 377 w 3026"/>
              <a:gd name="T3" fmla="*/ 2367 h 2367"/>
              <a:gd name="T4" fmla="*/ 3026 w 3026"/>
              <a:gd name="T5" fmla="*/ 1991 h 2367"/>
              <a:gd name="T6" fmla="*/ 2650 w 3026"/>
              <a:gd name="T7" fmla="*/ 2314 h 2367"/>
              <a:gd name="T8" fmla="*/ 54 w 3026"/>
              <a:gd name="T9" fmla="*/ 1991 h 2367"/>
              <a:gd name="T10" fmla="*/ 2650 w 3026"/>
              <a:gd name="T11" fmla="*/ 1668 h 2367"/>
              <a:gd name="T12" fmla="*/ 2650 w 3026"/>
              <a:gd name="T13" fmla="*/ 2314 h 2367"/>
              <a:gd name="T14" fmla="*/ 263 w 3026"/>
              <a:gd name="T15" fmla="*/ 1991 h 2367"/>
              <a:gd name="T16" fmla="*/ 666 w 3026"/>
              <a:gd name="T17" fmla="*/ 1991 h 2367"/>
              <a:gd name="T18" fmla="*/ 464 w 3026"/>
              <a:gd name="T19" fmla="*/ 2139 h 2367"/>
              <a:gd name="T20" fmla="*/ 464 w 3026"/>
              <a:gd name="T21" fmla="*/ 1843 h 2367"/>
              <a:gd name="T22" fmla="*/ 464 w 3026"/>
              <a:gd name="T23" fmla="*/ 2139 h 2367"/>
              <a:gd name="T24" fmla="*/ 787 w 3026"/>
              <a:gd name="T25" fmla="*/ 1991 h 2367"/>
              <a:gd name="T26" fmla="*/ 1190 w 3026"/>
              <a:gd name="T27" fmla="*/ 1991 h 2367"/>
              <a:gd name="T28" fmla="*/ 989 w 3026"/>
              <a:gd name="T29" fmla="*/ 2139 h 2367"/>
              <a:gd name="T30" fmla="*/ 989 w 3026"/>
              <a:gd name="T31" fmla="*/ 1843 h 2367"/>
              <a:gd name="T32" fmla="*/ 989 w 3026"/>
              <a:gd name="T33" fmla="*/ 2139 h 2367"/>
              <a:gd name="T34" fmla="*/ 1312 w 3026"/>
              <a:gd name="T35" fmla="*/ 1991 h 2367"/>
              <a:gd name="T36" fmla="*/ 1715 w 3026"/>
              <a:gd name="T37" fmla="*/ 1991 h 2367"/>
              <a:gd name="T38" fmla="*/ 1513 w 3026"/>
              <a:gd name="T39" fmla="*/ 2139 h 2367"/>
              <a:gd name="T40" fmla="*/ 1513 w 3026"/>
              <a:gd name="T41" fmla="*/ 1843 h 2367"/>
              <a:gd name="T42" fmla="*/ 1513 w 3026"/>
              <a:gd name="T43" fmla="*/ 2139 h 2367"/>
              <a:gd name="T44" fmla="*/ 1836 w 3026"/>
              <a:gd name="T45" fmla="*/ 1991 h 2367"/>
              <a:gd name="T46" fmla="*/ 2239 w 3026"/>
              <a:gd name="T47" fmla="*/ 1991 h 2367"/>
              <a:gd name="T48" fmla="*/ 2038 w 3026"/>
              <a:gd name="T49" fmla="*/ 2139 h 2367"/>
              <a:gd name="T50" fmla="*/ 2038 w 3026"/>
              <a:gd name="T51" fmla="*/ 1843 h 2367"/>
              <a:gd name="T52" fmla="*/ 2038 w 3026"/>
              <a:gd name="T53" fmla="*/ 2139 h 2367"/>
              <a:gd name="T54" fmla="*/ 2361 w 3026"/>
              <a:gd name="T55" fmla="*/ 1991 h 2367"/>
              <a:gd name="T56" fmla="*/ 2764 w 3026"/>
              <a:gd name="T57" fmla="*/ 1991 h 2367"/>
              <a:gd name="T58" fmla="*/ 2562 w 3026"/>
              <a:gd name="T59" fmla="*/ 2139 h 2367"/>
              <a:gd name="T60" fmla="*/ 2562 w 3026"/>
              <a:gd name="T61" fmla="*/ 1843 h 2367"/>
              <a:gd name="T62" fmla="*/ 2562 w 3026"/>
              <a:gd name="T63" fmla="*/ 2139 h 2367"/>
              <a:gd name="T64" fmla="*/ 2369 w 3026"/>
              <a:gd name="T65" fmla="*/ 1454 h 2367"/>
              <a:gd name="T66" fmla="*/ 2396 w 3026"/>
              <a:gd name="T67" fmla="*/ 27 h 2367"/>
              <a:gd name="T68" fmla="*/ 1747 w 3026"/>
              <a:gd name="T69" fmla="*/ 0 h 2367"/>
              <a:gd name="T70" fmla="*/ 657 w 3026"/>
              <a:gd name="T71" fmla="*/ 0 h 2367"/>
              <a:gd name="T72" fmla="*/ 631 w 3026"/>
              <a:gd name="T73" fmla="*/ 1427 h 2367"/>
              <a:gd name="T74" fmla="*/ 1720 w 3026"/>
              <a:gd name="T75" fmla="*/ 54 h 2367"/>
              <a:gd name="T76" fmla="*/ 1527 w 3026"/>
              <a:gd name="T77" fmla="*/ 237 h 2367"/>
              <a:gd name="T78" fmla="*/ 1508 w 3026"/>
              <a:gd name="T79" fmla="*/ 229 h 2367"/>
              <a:gd name="T80" fmla="*/ 1307 w 3026"/>
              <a:gd name="T81" fmla="*/ 427 h 2367"/>
              <a:gd name="T82" fmla="*/ 1720 w 3026"/>
              <a:gd name="T83" fmla="*/ 54 h 2367"/>
              <a:gd name="T84" fmla="*/ 1253 w 3026"/>
              <a:gd name="T85" fmla="*/ 54 h 2367"/>
              <a:gd name="T86" fmla="*/ 1270 w 3026"/>
              <a:gd name="T87" fmla="*/ 519 h 2367"/>
              <a:gd name="T88" fmla="*/ 1299 w 3026"/>
              <a:gd name="T89" fmla="*/ 512 h 2367"/>
              <a:gd name="T90" fmla="*/ 1728 w 3026"/>
              <a:gd name="T91" fmla="*/ 513 h 2367"/>
              <a:gd name="T92" fmla="*/ 1773 w 3026"/>
              <a:gd name="T93" fmla="*/ 494 h 2367"/>
              <a:gd name="T94" fmla="*/ 2342 w 3026"/>
              <a:gd name="T95" fmla="*/ 54 h 2367"/>
              <a:gd name="T96" fmla="*/ 684 w 3026"/>
              <a:gd name="T97" fmla="*/ 1401 h 2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026" h="2367">
                <a:moveTo>
                  <a:pt x="2650" y="1614"/>
                </a:moveTo>
                <a:cubicBezTo>
                  <a:pt x="377" y="1614"/>
                  <a:pt x="377" y="1614"/>
                  <a:pt x="377" y="1614"/>
                </a:cubicBezTo>
                <a:cubicBezTo>
                  <a:pt x="169" y="1614"/>
                  <a:pt x="0" y="1783"/>
                  <a:pt x="0" y="1991"/>
                </a:cubicBezTo>
                <a:cubicBezTo>
                  <a:pt x="0" y="2198"/>
                  <a:pt x="169" y="2367"/>
                  <a:pt x="377" y="2367"/>
                </a:cubicBezTo>
                <a:cubicBezTo>
                  <a:pt x="2650" y="2367"/>
                  <a:pt x="2650" y="2367"/>
                  <a:pt x="2650" y="2367"/>
                </a:cubicBezTo>
                <a:cubicBezTo>
                  <a:pt x="2857" y="2367"/>
                  <a:pt x="3026" y="2198"/>
                  <a:pt x="3026" y="1991"/>
                </a:cubicBezTo>
                <a:cubicBezTo>
                  <a:pt x="3026" y="1783"/>
                  <a:pt x="2857" y="1614"/>
                  <a:pt x="2650" y="1614"/>
                </a:cubicBezTo>
                <a:close/>
                <a:moveTo>
                  <a:pt x="2650" y="2314"/>
                </a:moveTo>
                <a:cubicBezTo>
                  <a:pt x="377" y="2314"/>
                  <a:pt x="377" y="2314"/>
                  <a:pt x="377" y="2314"/>
                </a:cubicBezTo>
                <a:cubicBezTo>
                  <a:pt x="199" y="2314"/>
                  <a:pt x="54" y="2169"/>
                  <a:pt x="54" y="1991"/>
                </a:cubicBezTo>
                <a:cubicBezTo>
                  <a:pt x="54" y="1813"/>
                  <a:pt x="199" y="1668"/>
                  <a:pt x="377" y="1668"/>
                </a:cubicBezTo>
                <a:cubicBezTo>
                  <a:pt x="2650" y="1668"/>
                  <a:pt x="2650" y="1668"/>
                  <a:pt x="2650" y="1668"/>
                </a:cubicBezTo>
                <a:cubicBezTo>
                  <a:pt x="2828" y="1668"/>
                  <a:pt x="2973" y="1813"/>
                  <a:pt x="2973" y="1991"/>
                </a:cubicBezTo>
                <a:cubicBezTo>
                  <a:pt x="2973" y="2169"/>
                  <a:pt x="2828" y="2314"/>
                  <a:pt x="2650" y="2314"/>
                </a:cubicBezTo>
                <a:close/>
                <a:moveTo>
                  <a:pt x="464" y="1789"/>
                </a:moveTo>
                <a:cubicBezTo>
                  <a:pt x="353" y="1789"/>
                  <a:pt x="263" y="1880"/>
                  <a:pt x="263" y="1991"/>
                </a:cubicBezTo>
                <a:cubicBezTo>
                  <a:pt x="263" y="2102"/>
                  <a:pt x="353" y="2192"/>
                  <a:pt x="464" y="2192"/>
                </a:cubicBezTo>
                <a:cubicBezTo>
                  <a:pt x="575" y="2192"/>
                  <a:pt x="666" y="2102"/>
                  <a:pt x="666" y="1991"/>
                </a:cubicBezTo>
                <a:cubicBezTo>
                  <a:pt x="666" y="1880"/>
                  <a:pt x="575" y="1789"/>
                  <a:pt x="464" y="1789"/>
                </a:cubicBezTo>
                <a:close/>
                <a:moveTo>
                  <a:pt x="464" y="2139"/>
                </a:moveTo>
                <a:cubicBezTo>
                  <a:pt x="382" y="2139"/>
                  <a:pt x="316" y="2073"/>
                  <a:pt x="316" y="1991"/>
                </a:cubicBezTo>
                <a:cubicBezTo>
                  <a:pt x="316" y="1909"/>
                  <a:pt x="382" y="1843"/>
                  <a:pt x="464" y="1843"/>
                </a:cubicBezTo>
                <a:cubicBezTo>
                  <a:pt x="546" y="1843"/>
                  <a:pt x="612" y="1909"/>
                  <a:pt x="612" y="1991"/>
                </a:cubicBezTo>
                <a:cubicBezTo>
                  <a:pt x="612" y="2073"/>
                  <a:pt x="546" y="2139"/>
                  <a:pt x="464" y="2139"/>
                </a:cubicBezTo>
                <a:close/>
                <a:moveTo>
                  <a:pt x="989" y="1789"/>
                </a:moveTo>
                <a:cubicBezTo>
                  <a:pt x="878" y="1789"/>
                  <a:pt x="787" y="1880"/>
                  <a:pt x="787" y="1991"/>
                </a:cubicBezTo>
                <a:cubicBezTo>
                  <a:pt x="787" y="2102"/>
                  <a:pt x="878" y="2192"/>
                  <a:pt x="989" y="2192"/>
                </a:cubicBezTo>
                <a:cubicBezTo>
                  <a:pt x="1100" y="2192"/>
                  <a:pt x="1190" y="2102"/>
                  <a:pt x="1190" y="1991"/>
                </a:cubicBezTo>
                <a:cubicBezTo>
                  <a:pt x="1190" y="1880"/>
                  <a:pt x="1100" y="1789"/>
                  <a:pt x="989" y="1789"/>
                </a:cubicBezTo>
                <a:close/>
                <a:moveTo>
                  <a:pt x="989" y="2139"/>
                </a:moveTo>
                <a:cubicBezTo>
                  <a:pt x="907" y="2139"/>
                  <a:pt x="841" y="2073"/>
                  <a:pt x="841" y="1991"/>
                </a:cubicBezTo>
                <a:cubicBezTo>
                  <a:pt x="841" y="1909"/>
                  <a:pt x="907" y="1843"/>
                  <a:pt x="989" y="1843"/>
                </a:cubicBezTo>
                <a:cubicBezTo>
                  <a:pt x="1070" y="1843"/>
                  <a:pt x="1137" y="1909"/>
                  <a:pt x="1137" y="1991"/>
                </a:cubicBezTo>
                <a:cubicBezTo>
                  <a:pt x="1137" y="2073"/>
                  <a:pt x="1070" y="2139"/>
                  <a:pt x="989" y="2139"/>
                </a:cubicBezTo>
                <a:close/>
                <a:moveTo>
                  <a:pt x="1513" y="1789"/>
                </a:moveTo>
                <a:cubicBezTo>
                  <a:pt x="1402" y="1789"/>
                  <a:pt x="1312" y="1880"/>
                  <a:pt x="1312" y="1991"/>
                </a:cubicBezTo>
                <a:cubicBezTo>
                  <a:pt x="1312" y="2102"/>
                  <a:pt x="1402" y="2192"/>
                  <a:pt x="1513" y="2192"/>
                </a:cubicBezTo>
                <a:cubicBezTo>
                  <a:pt x="1624" y="2192"/>
                  <a:pt x="1715" y="2102"/>
                  <a:pt x="1715" y="1991"/>
                </a:cubicBezTo>
                <a:cubicBezTo>
                  <a:pt x="1715" y="1880"/>
                  <a:pt x="1624" y="1789"/>
                  <a:pt x="1513" y="1789"/>
                </a:cubicBezTo>
                <a:close/>
                <a:moveTo>
                  <a:pt x="1513" y="2139"/>
                </a:moveTo>
                <a:cubicBezTo>
                  <a:pt x="1432" y="2139"/>
                  <a:pt x="1365" y="2073"/>
                  <a:pt x="1365" y="1991"/>
                </a:cubicBezTo>
                <a:cubicBezTo>
                  <a:pt x="1365" y="1909"/>
                  <a:pt x="1432" y="1843"/>
                  <a:pt x="1513" y="1843"/>
                </a:cubicBezTo>
                <a:cubicBezTo>
                  <a:pt x="1595" y="1843"/>
                  <a:pt x="1661" y="1909"/>
                  <a:pt x="1661" y="1991"/>
                </a:cubicBezTo>
                <a:cubicBezTo>
                  <a:pt x="1661" y="2073"/>
                  <a:pt x="1595" y="2139"/>
                  <a:pt x="1513" y="2139"/>
                </a:cubicBezTo>
                <a:close/>
                <a:moveTo>
                  <a:pt x="2038" y="1789"/>
                </a:moveTo>
                <a:cubicBezTo>
                  <a:pt x="1927" y="1789"/>
                  <a:pt x="1836" y="1880"/>
                  <a:pt x="1836" y="1991"/>
                </a:cubicBezTo>
                <a:cubicBezTo>
                  <a:pt x="1836" y="2102"/>
                  <a:pt x="1927" y="2192"/>
                  <a:pt x="2038" y="2192"/>
                </a:cubicBezTo>
                <a:cubicBezTo>
                  <a:pt x="2149" y="2192"/>
                  <a:pt x="2239" y="2102"/>
                  <a:pt x="2239" y="1991"/>
                </a:cubicBezTo>
                <a:cubicBezTo>
                  <a:pt x="2239" y="1880"/>
                  <a:pt x="2149" y="1789"/>
                  <a:pt x="2038" y="1789"/>
                </a:cubicBezTo>
                <a:close/>
                <a:moveTo>
                  <a:pt x="2038" y="2139"/>
                </a:moveTo>
                <a:cubicBezTo>
                  <a:pt x="1956" y="2139"/>
                  <a:pt x="1890" y="2073"/>
                  <a:pt x="1890" y="1991"/>
                </a:cubicBezTo>
                <a:cubicBezTo>
                  <a:pt x="1890" y="1909"/>
                  <a:pt x="1956" y="1843"/>
                  <a:pt x="2038" y="1843"/>
                </a:cubicBezTo>
                <a:cubicBezTo>
                  <a:pt x="2120" y="1843"/>
                  <a:pt x="2186" y="1909"/>
                  <a:pt x="2186" y="1991"/>
                </a:cubicBezTo>
                <a:cubicBezTo>
                  <a:pt x="2186" y="2073"/>
                  <a:pt x="2120" y="2139"/>
                  <a:pt x="2038" y="2139"/>
                </a:cubicBezTo>
                <a:close/>
                <a:moveTo>
                  <a:pt x="2562" y="1789"/>
                </a:moveTo>
                <a:cubicBezTo>
                  <a:pt x="2451" y="1789"/>
                  <a:pt x="2361" y="1880"/>
                  <a:pt x="2361" y="1991"/>
                </a:cubicBezTo>
                <a:cubicBezTo>
                  <a:pt x="2361" y="2102"/>
                  <a:pt x="2451" y="2192"/>
                  <a:pt x="2562" y="2192"/>
                </a:cubicBezTo>
                <a:cubicBezTo>
                  <a:pt x="2674" y="2192"/>
                  <a:pt x="2764" y="2102"/>
                  <a:pt x="2764" y="1991"/>
                </a:cubicBezTo>
                <a:cubicBezTo>
                  <a:pt x="2764" y="1880"/>
                  <a:pt x="2674" y="1789"/>
                  <a:pt x="2562" y="1789"/>
                </a:cubicBezTo>
                <a:close/>
                <a:moveTo>
                  <a:pt x="2562" y="2139"/>
                </a:moveTo>
                <a:cubicBezTo>
                  <a:pt x="2481" y="2139"/>
                  <a:pt x="2414" y="2073"/>
                  <a:pt x="2414" y="1991"/>
                </a:cubicBezTo>
                <a:cubicBezTo>
                  <a:pt x="2414" y="1909"/>
                  <a:pt x="2481" y="1843"/>
                  <a:pt x="2562" y="1843"/>
                </a:cubicBezTo>
                <a:cubicBezTo>
                  <a:pt x="2644" y="1843"/>
                  <a:pt x="2711" y="1909"/>
                  <a:pt x="2711" y="1991"/>
                </a:cubicBezTo>
                <a:cubicBezTo>
                  <a:pt x="2711" y="2073"/>
                  <a:pt x="2644" y="2139"/>
                  <a:pt x="2562" y="2139"/>
                </a:cubicBezTo>
                <a:close/>
                <a:moveTo>
                  <a:pt x="657" y="1454"/>
                </a:moveTo>
                <a:cubicBezTo>
                  <a:pt x="2369" y="1454"/>
                  <a:pt x="2369" y="1454"/>
                  <a:pt x="2369" y="1454"/>
                </a:cubicBezTo>
                <a:cubicBezTo>
                  <a:pt x="2384" y="1454"/>
                  <a:pt x="2396" y="1442"/>
                  <a:pt x="2396" y="1427"/>
                </a:cubicBezTo>
                <a:cubicBezTo>
                  <a:pt x="2396" y="27"/>
                  <a:pt x="2396" y="27"/>
                  <a:pt x="2396" y="27"/>
                </a:cubicBezTo>
                <a:cubicBezTo>
                  <a:pt x="2396" y="12"/>
                  <a:pt x="2384" y="0"/>
                  <a:pt x="2369" y="0"/>
                </a:cubicBezTo>
                <a:cubicBezTo>
                  <a:pt x="1747" y="0"/>
                  <a:pt x="1747" y="0"/>
                  <a:pt x="1747" y="0"/>
                </a:cubicBezTo>
                <a:cubicBezTo>
                  <a:pt x="1280" y="0"/>
                  <a:pt x="1280" y="0"/>
                  <a:pt x="1280" y="0"/>
                </a:cubicBezTo>
                <a:cubicBezTo>
                  <a:pt x="657" y="0"/>
                  <a:pt x="657" y="0"/>
                  <a:pt x="657" y="0"/>
                </a:cubicBezTo>
                <a:cubicBezTo>
                  <a:pt x="643" y="0"/>
                  <a:pt x="631" y="12"/>
                  <a:pt x="631" y="27"/>
                </a:cubicBezTo>
                <a:cubicBezTo>
                  <a:pt x="631" y="1427"/>
                  <a:pt x="631" y="1427"/>
                  <a:pt x="631" y="1427"/>
                </a:cubicBezTo>
                <a:cubicBezTo>
                  <a:pt x="631" y="1442"/>
                  <a:pt x="643" y="1454"/>
                  <a:pt x="657" y="1454"/>
                </a:cubicBezTo>
                <a:close/>
                <a:moveTo>
                  <a:pt x="1720" y="54"/>
                </a:moveTo>
                <a:cubicBezTo>
                  <a:pt x="1720" y="430"/>
                  <a:pt x="1720" y="430"/>
                  <a:pt x="1720" y="430"/>
                </a:cubicBezTo>
                <a:cubicBezTo>
                  <a:pt x="1527" y="237"/>
                  <a:pt x="1527" y="237"/>
                  <a:pt x="1527" y="237"/>
                </a:cubicBezTo>
                <a:cubicBezTo>
                  <a:pt x="1522" y="232"/>
                  <a:pt x="1515" y="229"/>
                  <a:pt x="1508" y="229"/>
                </a:cubicBezTo>
                <a:cubicBezTo>
                  <a:pt x="1508" y="229"/>
                  <a:pt x="1508" y="229"/>
                  <a:pt x="1508" y="229"/>
                </a:cubicBezTo>
                <a:cubicBezTo>
                  <a:pt x="1500" y="229"/>
                  <a:pt x="1494" y="232"/>
                  <a:pt x="1489" y="238"/>
                </a:cubicBezTo>
                <a:cubicBezTo>
                  <a:pt x="1307" y="427"/>
                  <a:pt x="1307" y="427"/>
                  <a:pt x="1307" y="427"/>
                </a:cubicBezTo>
                <a:cubicBezTo>
                  <a:pt x="1307" y="54"/>
                  <a:pt x="1307" y="54"/>
                  <a:pt x="1307" y="54"/>
                </a:cubicBezTo>
                <a:lnTo>
                  <a:pt x="1720" y="54"/>
                </a:lnTo>
                <a:close/>
                <a:moveTo>
                  <a:pt x="684" y="54"/>
                </a:moveTo>
                <a:cubicBezTo>
                  <a:pt x="1253" y="54"/>
                  <a:pt x="1253" y="54"/>
                  <a:pt x="1253" y="54"/>
                </a:cubicBezTo>
                <a:cubicBezTo>
                  <a:pt x="1253" y="494"/>
                  <a:pt x="1253" y="494"/>
                  <a:pt x="1253" y="494"/>
                </a:cubicBezTo>
                <a:cubicBezTo>
                  <a:pt x="1253" y="505"/>
                  <a:pt x="1260" y="515"/>
                  <a:pt x="1270" y="519"/>
                </a:cubicBezTo>
                <a:cubicBezTo>
                  <a:pt x="1273" y="520"/>
                  <a:pt x="1277" y="521"/>
                  <a:pt x="1280" y="521"/>
                </a:cubicBezTo>
                <a:cubicBezTo>
                  <a:pt x="1287" y="521"/>
                  <a:pt x="1294" y="518"/>
                  <a:pt x="1299" y="512"/>
                </a:cubicBezTo>
                <a:cubicBezTo>
                  <a:pt x="1508" y="294"/>
                  <a:pt x="1508" y="294"/>
                  <a:pt x="1508" y="294"/>
                </a:cubicBezTo>
                <a:cubicBezTo>
                  <a:pt x="1728" y="513"/>
                  <a:pt x="1728" y="513"/>
                  <a:pt x="1728" y="513"/>
                </a:cubicBezTo>
                <a:cubicBezTo>
                  <a:pt x="1736" y="520"/>
                  <a:pt x="1747" y="523"/>
                  <a:pt x="1757" y="519"/>
                </a:cubicBezTo>
                <a:cubicBezTo>
                  <a:pt x="1767" y="514"/>
                  <a:pt x="1773" y="505"/>
                  <a:pt x="1773" y="494"/>
                </a:cubicBezTo>
                <a:cubicBezTo>
                  <a:pt x="1773" y="54"/>
                  <a:pt x="1773" y="54"/>
                  <a:pt x="1773" y="54"/>
                </a:cubicBezTo>
                <a:cubicBezTo>
                  <a:pt x="2342" y="54"/>
                  <a:pt x="2342" y="54"/>
                  <a:pt x="2342" y="54"/>
                </a:cubicBezTo>
                <a:cubicBezTo>
                  <a:pt x="2342" y="1401"/>
                  <a:pt x="2342" y="1401"/>
                  <a:pt x="2342" y="1401"/>
                </a:cubicBezTo>
                <a:cubicBezTo>
                  <a:pt x="684" y="1401"/>
                  <a:pt x="684" y="1401"/>
                  <a:pt x="684" y="1401"/>
                </a:cubicBezTo>
                <a:lnTo>
                  <a:pt x="684" y="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>
              <a:latin typeface="Lato" panose="020F050202020403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055973" y="2186877"/>
            <a:ext cx="1491126" cy="518423"/>
            <a:chOff x="7055973" y="2186877"/>
            <a:chExt cx="1491126" cy="518423"/>
          </a:xfrm>
        </p:grpSpPr>
        <p:sp>
          <p:nvSpPr>
            <p:cNvPr id="25" name="TextBox 24"/>
            <p:cNvSpPr txBox="1"/>
            <p:nvPr/>
          </p:nvSpPr>
          <p:spPr>
            <a:xfrm>
              <a:off x="7055987" y="2186877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laneja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055973" y="2401947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055973" y="3262149"/>
            <a:ext cx="1491126" cy="518423"/>
            <a:chOff x="7055973" y="3262149"/>
            <a:chExt cx="1491126" cy="518423"/>
          </a:xfrm>
        </p:grpSpPr>
        <p:sp>
          <p:nvSpPr>
            <p:cNvPr id="38" name="TextBox 37"/>
            <p:cNvSpPr txBox="1"/>
            <p:nvPr/>
          </p:nvSpPr>
          <p:spPr>
            <a:xfrm>
              <a:off x="7055987" y="3262149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roduç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055973" y="3477219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6364818" y="2210445"/>
            <a:ext cx="385276" cy="385274"/>
            <a:chOff x="6364818" y="2210445"/>
            <a:chExt cx="385276" cy="385274"/>
          </a:xfrm>
        </p:grpSpPr>
        <p:sp>
          <p:nvSpPr>
            <p:cNvPr id="35" name="Oval 34"/>
            <p:cNvSpPr/>
            <p:nvPr/>
          </p:nvSpPr>
          <p:spPr>
            <a:xfrm>
              <a:off x="6364818" y="2210445"/>
              <a:ext cx="385276" cy="385274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422012" y="2310749"/>
              <a:ext cx="270888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2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364818" y="3285717"/>
            <a:ext cx="385276" cy="385274"/>
            <a:chOff x="6364818" y="3285717"/>
            <a:chExt cx="385276" cy="385274"/>
          </a:xfrm>
        </p:grpSpPr>
        <p:sp>
          <p:nvSpPr>
            <p:cNvPr id="41" name="Oval 40"/>
            <p:cNvSpPr/>
            <p:nvPr/>
          </p:nvSpPr>
          <p:spPr>
            <a:xfrm>
              <a:off x="6364818" y="3285717"/>
              <a:ext cx="385276" cy="38527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422012" y="3386021"/>
              <a:ext cx="270888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3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393907" y="2210445"/>
            <a:ext cx="385276" cy="385274"/>
            <a:chOff x="2393907" y="2210445"/>
            <a:chExt cx="385276" cy="385274"/>
          </a:xfrm>
        </p:grpSpPr>
        <p:sp>
          <p:nvSpPr>
            <p:cNvPr id="44" name="Oval 43"/>
            <p:cNvSpPr/>
            <p:nvPr/>
          </p:nvSpPr>
          <p:spPr>
            <a:xfrm>
              <a:off x="2393907" y="2210445"/>
              <a:ext cx="385276" cy="385274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451101" y="2310749"/>
              <a:ext cx="270888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1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393907" y="3285717"/>
            <a:ext cx="385276" cy="385274"/>
            <a:chOff x="2393907" y="3285717"/>
            <a:chExt cx="385276" cy="385274"/>
          </a:xfrm>
        </p:grpSpPr>
        <p:sp>
          <p:nvSpPr>
            <p:cNvPr id="47" name="Oval 46"/>
            <p:cNvSpPr/>
            <p:nvPr/>
          </p:nvSpPr>
          <p:spPr>
            <a:xfrm>
              <a:off x="2393907" y="3285717"/>
              <a:ext cx="385276" cy="38527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2451101" y="3386021"/>
              <a:ext cx="270888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cap="all" dirty="0">
                  <a:solidFill>
                    <a:schemeClr val="bg1"/>
                  </a:solidFill>
                  <a:latin typeface="Lato" panose="020F0502020204030203" pitchFamily="34" charset="0"/>
                  <a:cs typeface="Poppins SemiBold" panose="02000000000000000000" pitchFamily="2" charset="0"/>
                </a:rPr>
                <a:t>04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93725" y="2186877"/>
            <a:ext cx="1491126" cy="518423"/>
            <a:chOff x="593725" y="2186877"/>
            <a:chExt cx="1491126" cy="518423"/>
          </a:xfrm>
        </p:grpSpPr>
        <p:sp>
          <p:nvSpPr>
            <p:cNvPr id="51" name="TextBox 50"/>
            <p:cNvSpPr txBox="1"/>
            <p:nvPr/>
          </p:nvSpPr>
          <p:spPr>
            <a:xfrm>
              <a:off x="593739" y="2186877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esquis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593725" y="2401947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3725" y="3262149"/>
            <a:ext cx="1491126" cy="518423"/>
            <a:chOff x="593725" y="3262149"/>
            <a:chExt cx="1491126" cy="518423"/>
          </a:xfrm>
        </p:grpSpPr>
        <p:sp>
          <p:nvSpPr>
            <p:cNvPr id="53" name="TextBox 52"/>
            <p:cNvSpPr txBox="1"/>
            <p:nvPr/>
          </p:nvSpPr>
          <p:spPr>
            <a:xfrm>
              <a:off x="593739" y="3262149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ntrega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ápid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593725" y="3477219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474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3649167" y="1325375"/>
            <a:ext cx="1845667" cy="3000970"/>
            <a:chOff x="3649167" y="1325375"/>
            <a:chExt cx="1845667" cy="3000970"/>
          </a:xfrm>
        </p:grpSpPr>
        <p:sp>
          <p:nvSpPr>
            <p:cNvPr id="4" name="Freeform 11"/>
            <p:cNvSpPr>
              <a:spLocks/>
            </p:cNvSpPr>
            <p:nvPr/>
          </p:nvSpPr>
          <p:spPr bwMode="auto">
            <a:xfrm>
              <a:off x="3649167" y="3463737"/>
              <a:ext cx="379214" cy="862608"/>
            </a:xfrm>
            <a:custGeom>
              <a:avLst/>
              <a:gdLst>
                <a:gd name="T0" fmla="*/ 277 w 424"/>
                <a:gd name="T1" fmla="*/ 55 h 966"/>
                <a:gd name="T2" fmla="*/ 183 w 424"/>
                <a:gd name="T3" fmla="*/ 35 h 966"/>
                <a:gd name="T4" fmla="*/ 37 w 424"/>
                <a:gd name="T5" fmla="*/ 379 h 966"/>
                <a:gd name="T6" fmla="*/ 72 w 424"/>
                <a:gd name="T7" fmla="*/ 914 h 966"/>
                <a:gd name="T8" fmla="*/ 173 w 424"/>
                <a:gd name="T9" fmla="*/ 916 h 966"/>
                <a:gd name="T10" fmla="*/ 278 w 424"/>
                <a:gd name="T11" fmla="*/ 678 h 966"/>
                <a:gd name="T12" fmla="*/ 403 w 424"/>
                <a:gd name="T13" fmla="*/ 527 h 966"/>
                <a:gd name="T14" fmla="*/ 415 w 424"/>
                <a:gd name="T15" fmla="*/ 468 h 966"/>
                <a:gd name="T16" fmla="*/ 277 w 424"/>
                <a:gd name="T17" fmla="*/ 55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966">
                  <a:moveTo>
                    <a:pt x="277" y="55"/>
                  </a:moveTo>
                  <a:cubicBezTo>
                    <a:pt x="266" y="12"/>
                    <a:pt x="210" y="0"/>
                    <a:pt x="183" y="35"/>
                  </a:cubicBezTo>
                  <a:cubicBezTo>
                    <a:pt x="125" y="111"/>
                    <a:pt x="65" y="223"/>
                    <a:pt x="37" y="379"/>
                  </a:cubicBezTo>
                  <a:cubicBezTo>
                    <a:pt x="0" y="583"/>
                    <a:pt x="35" y="782"/>
                    <a:pt x="72" y="914"/>
                  </a:cubicBezTo>
                  <a:cubicBezTo>
                    <a:pt x="86" y="964"/>
                    <a:pt x="157" y="966"/>
                    <a:pt x="173" y="916"/>
                  </a:cubicBezTo>
                  <a:cubicBezTo>
                    <a:pt x="200" y="834"/>
                    <a:pt x="238" y="738"/>
                    <a:pt x="278" y="678"/>
                  </a:cubicBezTo>
                  <a:cubicBezTo>
                    <a:pt x="324" y="611"/>
                    <a:pt x="367" y="562"/>
                    <a:pt x="403" y="527"/>
                  </a:cubicBezTo>
                  <a:cubicBezTo>
                    <a:pt x="419" y="512"/>
                    <a:pt x="424" y="488"/>
                    <a:pt x="415" y="468"/>
                  </a:cubicBezTo>
                  <a:cubicBezTo>
                    <a:pt x="370" y="363"/>
                    <a:pt x="317" y="221"/>
                    <a:pt x="277" y="55"/>
                  </a:cubicBezTo>
                  <a:close/>
                </a:path>
              </a:pathLst>
            </a:custGeom>
            <a:solidFill>
              <a:schemeClr val="accent5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5" name="Freeform 10"/>
            <p:cNvSpPr>
              <a:spLocks/>
            </p:cNvSpPr>
            <p:nvPr/>
          </p:nvSpPr>
          <p:spPr bwMode="auto">
            <a:xfrm>
              <a:off x="5116215" y="3463737"/>
              <a:ext cx="378619" cy="862608"/>
            </a:xfrm>
            <a:custGeom>
              <a:avLst/>
              <a:gdLst>
                <a:gd name="T0" fmla="*/ 387 w 424"/>
                <a:gd name="T1" fmla="*/ 379 h 966"/>
                <a:gd name="T2" fmla="*/ 240 w 424"/>
                <a:gd name="T3" fmla="*/ 35 h 966"/>
                <a:gd name="T4" fmla="*/ 147 w 424"/>
                <a:gd name="T5" fmla="*/ 55 h 966"/>
                <a:gd name="T6" fmla="*/ 8 w 424"/>
                <a:gd name="T7" fmla="*/ 468 h 966"/>
                <a:gd name="T8" fmla="*/ 20 w 424"/>
                <a:gd name="T9" fmla="*/ 527 h 966"/>
                <a:gd name="T10" fmla="*/ 145 w 424"/>
                <a:gd name="T11" fmla="*/ 678 h 966"/>
                <a:gd name="T12" fmla="*/ 250 w 424"/>
                <a:gd name="T13" fmla="*/ 916 h 966"/>
                <a:gd name="T14" fmla="*/ 352 w 424"/>
                <a:gd name="T15" fmla="*/ 914 h 966"/>
                <a:gd name="T16" fmla="*/ 387 w 424"/>
                <a:gd name="T17" fmla="*/ 379 h 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4" h="966">
                  <a:moveTo>
                    <a:pt x="387" y="379"/>
                  </a:moveTo>
                  <a:cubicBezTo>
                    <a:pt x="359" y="223"/>
                    <a:pt x="299" y="111"/>
                    <a:pt x="240" y="35"/>
                  </a:cubicBezTo>
                  <a:cubicBezTo>
                    <a:pt x="213" y="0"/>
                    <a:pt x="157" y="12"/>
                    <a:pt x="147" y="55"/>
                  </a:cubicBezTo>
                  <a:cubicBezTo>
                    <a:pt x="106" y="221"/>
                    <a:pt x="53" y="363"/>
                    <a:pt x="8" y="468"/>
                  </a:cubicBezTo>
                  <a:cubicBezTo>
                    <a:pt x="0" y="488"/>
                    <a:pt x="4" y="512"/>
                    <a:pt x="20" y="527"/>
                  </a:cubicBezTo>
                  <a:cubicBezTo>
                    <a:pt x="56" y="562"/>
                    <a:pt x="100" y="611"/>
                    <a:pt x="145" y="678"/>
                  </a:cubicBezTo>
                  <a:cubicBezTo>
                    <a:pt x="186" y="738"/>
                    <a:pt x="223" y="834"/>
                    <a:pt x="250" y="916"/>
                  </a:cubicBezTo>
                  <a:cubicBezTo>
                    <a:pt x="267" y="966"/>
                    <a:pt x="338" y="964"/>
                    <a:pt x="352" y="914"/>
                  </a:cubicBezTo>
                  <a:cubicBezTo>
                    <a:pt x="388" y="782"/>
                    <a:pt x="424" y="583"/>
                    <a:pt x="387" y="379"/>
                  </a:cubicBezTo>
                  <a:close/>
                </a:path>
              </a:pathLst>
            </a:custGeom>
            <a:solidFill>
              <a:schemeClr val="accent5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2" name="Freeform 5"/>
            <p:cNvSpPr>
              <a:spLocks/>
            </p:cNvSpPr>
            <p:nvPr/>
          </p:nvSpPr>
          <p:spPr bwMode="auto">
            <a:xfrm>
              <a:off x="3786485" y="2850566"/>
              <a:ext cx="785813" cy="1168599"/>
            </a:xfrm>
            <a:custGeom>
              <a:avLst/>
              <a:gdLst>
                <a:gd name="T0" fmla="*/ 879 w 879"/>
                <a:gd name="T1" fmla="*/ 1239 h 1309"/>
                <a:gd name="T2" fmla="*/ 424 w 879"/>
                <a:gd name="T3" fmla="*/ 1295 h 1309"/>
                <a:gd name="T4" fmla="*/ 299 w 879"/>
                <a:gd name="T5" fmla="*/ 1238 h 1309"/>
                <a:gd name="T6" fmla="*/ 79 w 879"/>
                <a:gd name="T7" fmla="*/ 0 h 1309"/>
                <a:gd name="T8" fmla="*/ 879 w 879"/>
                <a:gd name="T9" fmla="*/ 0 h 1309"/>
                <a:gd name="T10" fmla="*/ 879 w 879"/>
                <a:gd name="T11" fmla="*/ 1239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9" h="1309">
                  <a:moveTo>
                    <a:pt x="879" y="1239"/>
                  </a:moveTo>
                  <a:cubicBezTo>
                    <a:pt x="704" y="1239"/>
                    <a:pt x="544" y="1260"/>
                    <a:pt x="424" y="1295"/>
                  </a:cubicBezTo>
                  <a:cubicBezTo>
                    <a:pt x="374" y="1309"/>
                    <a:pt x="321" y="1285"/>
                    <a:pt x="299" y="1238"/>
                  </a:cubicBezTo>
                  <a:cubicBezTo>
                    <a:pt x="198" y="1025"/>
                    <a:pt x="0" y="525"/>
                    <a:pt x="79" y="0"/>
                  </a:cubicBezTo>
                  <a:cubicBezTo>
                    <a:pt x="879" y="0"/>
                    <a:pt x="879" y="0"/>
                    <a:pt x="879" y="0"/>
                  </a:cubicBezTo>
                  <a:lnTo>
                    <a:pt x="879" y="1239"/>
                  </a:lnTo>
                  <a:close/>
                </a:path>
              </a:pathLst>
            </a:custGeom>
            <a:solidFill>
              <a:schemeClr val="accent3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3" name="Freeform 6"/>
            <p:cNvSpPr>
              <a:spLocks/>
            </p:cNvSpPr>
            <p:nvPr/>
          </p:nvSpPr>
          <p:spPr bwMode="auto">
            <a:xfrm>
              <a:off x="3857327" y="1325375"/>
              <a:ext cx="714971" cy="1525191"/>
            </a:xfrm>
            <a:custGeom>
              <a:avLst/>
              <a:gdLst>
                <a:gd name="T0" fmla="*/ 0 w 800"/>
                <a:gd name="T1" fmla="*/ 1708 h 1708"/>
                <a:gd name="T2" fmla="*/ 10 w 800"/>
                <a:gd name="T3" fmla="*/ 1648 h 1708"/>
                <a:gd name="T4" fmla="*/ 20 w 800"/>
                <a:gd name="T5" fmla="*/ 1598 h 1708"/>
                <a:gd name="T6" fmla="*/ 800 w 800"/>
                <a:gd name="T7" fmla="*/ 0 h 1708"/>
                <a:gd name="T8" fmla="*/ 800 w 800"/>
                <a:gd name="T9" fmla="*/ 1598 h 1708"/>
                <a:gd name="T10" fmla="*/ 800 w 800"/>
                <a:gd name="T11" fmla="*/ 1708 h 1708"/>
                <a:gd name="T12" fmla="*/ 0 w 800"/>
                <a:gd name="T13" fmla="*/ 1708 h 1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708">
                  <a:moveTo>
                    <a:pt x="0" y="1708"/>
                  </a:moveTo>
                  <a:cubicBezTo>
                    <a:pt x="3" y="1688"/>
                    <a:pt x="6" y="1668"/>
                    <a:pt x="10" y="1648"/>
                  </a:cubicBezTo>
                  <a:cubicBezTo>
                    <a:pt x="13" y="1632"/>
                    <a:pt x="16" y="1615"/>
                    <a:pt x="20" y="1598"/>
                  </a:cubicBezTo>
                  <a:cubicBezTo>
                    <a:pt x="208" y="694"/>
                    <a:pt x="800" y="0"/>
                    <a:pt x="800" y="0"/>
                  </a:cubicBezTo>
                  <a:cubicBezTo>
                    <a:pt x="800" y="1598"/>
                    <a:pt x="800" y="1598"/>
                    <a:pt x="800" y="1598"/>
                  </a:cubicBezTo>
                  <a:cubicBezTo>
                    <a:pt x="800" y="1708"/>
                    <a:pt x="800" y="1708"/>
                    <a:pt x="800" y="1708"/>
                  </a:cubicBezTo>
                  <a:lnTo>
                    <a:pt x="0" y="1708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4572298" y="2850566"/>
              <a:ext cx="785217" cy="1168599"/>
            </a:xfrm>
            <a:custGeom>
              <a:avLst/>
              <a:gdLst>
                <a:gd name="T0" fmla="*/ 0 w 879"/>
                <a:gd name="T1" fmla="*/ 1239 h 1309"/>
                <a:gd name="T2" fmla="*/ 455 w 879"/>
                <a:gd name="T3" fmla="*/ 1295 h 1309"/>
                <a:gd name="T4" fmla="*/ 581 w 879"/>
                <a:gd name="T5" fmla="*/ 1238 h 1309"/>
                <a:gd name="T6" fmla="*/ 801 w 879"/>
                <a:gd name="T7" fmla="*/ 0 h 1309"/>
                <a:gd name="T8" fmla="*/ 0 w 879"/>
                <a:gd name="T9" fmla="*/ 0 h 1309"/>
                <a:gd name="T10" fmla="*/ 0 w 879"/>
                <a:gd name="T11" fmla="*/ 1239 h 1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79" h="1309">
                  <a:moveTo>
                    <a:pt x="0" y="1239"/>
                  </a:moveTo>
                  <a:cubicBezTo>
                    <a:pt x="176" y="1239"/>
                    <a:pt x="336" y="1260"/>
                    <a:pt x="455" y="1295"/>
                  </a:cubicBezTo>
                  <a:cubicBezTo>
                    <a:pt x="505" y="1309"/>
                    <a:pt x="558" y="1285"/>
                    <a:pt x="581" y="1238"/>
                  </a:cubicBezTo>
                  <a:cubicBezTo>
                    <a:pt x="682" y="1025"/>
                    <a:pt x="879" y="525"/>
                    <a:pt x="80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239"/>
                  </a:lnTo>
                  <a:close/>
                </a:path>
              </a:pathLst>
            </a:custGeom>
            <a:solidFill>
              <a:schemeClr val="accent4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4572298" y="1325375"/>
              <a:ext cx="715566" cy="1525191"/>
            </a:xfrm>
            <a:custGeom>
              <a:avLst/>
              <a:gdLst>
                <a:gd name="T0" fmla="*/ 801 w 801"/>
                <a:gd name="T1" fmla="*/ 1708 h 1708"/>
                <a:gd name="T2" fmla="*/ 791 w 801"/>
                <a:gd name="T3" fmla="*/ 1648 h 1708"/>
                <a:gd name="T4" fmla="*/ 781 w 801"/>
                <a:gd name="T5" fmla="*/ 1598 h 1708"/>
                <a:gd name="T6" fmla="*/ 0 w 801"/>
                <a:gd name="T7" fmla="*/ 0 h 1708"/>
                <a:gd name="T8" fmla="*/ 0 w 801"/>
                <a:gd name="T9" fmla="*/ 1598 h 1708"/>
                <a:gd name="T10" fmla="*/ 0 w 801"/>
                <a:gd name="T11" fmla="*/ 1708 h 1708"/>
                <a:gd name="T12" fmla="*/ 801 w 801"/>
                <a:gd name="T13" fmla="*/ 1708 h 1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1" h="1708">
                  <a:moveTo>
                    <a:pt x="801" y="1708"/>
                  </a:moveTo>
                  <a:cubicBezTo>
                    <a:pt x="798" y="1688"/>
                    <a:pt x="795" y="1668"/>
                    <a:pt x="791" y="1648"/>
                  </a:cubicBezTo>
                  <a:cubicBezTo>
                    <a:pt x="788" y="1632"/>
                    <a:pt x="784" y="1615"/>
                    <a:pt x="781" y="1598"/>
                  </a:cubicBezTo>
                  <a:cubicBezTo>
                    <a:pt x="593" y="694"/>
                    <a:pt x="0" y="0"/>
                    <a:pt x="0" y="0"/>
                  </a:cubicBezTo>
                  <a:cubicBezTo>
                    <a:pt x="0" y="1598"/>
                    <a:pt x="0" y="1598"/>
                    <a:pt x="0" y="1598"/>
                  </a:cubicBezTo>
                  <a:cubicBezTo>
                    <a:pt x="0" y="1708"/>
                    <a:pt x="0" y="1708"/>
                    <a:pt x="0" y="1708"/>
                  </a:cubicBezTo>
                  <a:lnTo>
                    <a:pt x="801" y="1708"/>
                  </a:lnTo>
                  <a:close/>
                </a:path>
              </a:pathLst>
            </a:custGeom>
            <a:solidFill>
              <a:srgbClr val="EC0000"/>
            </a:solidFill>
            <a:ln w="3810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6" name="Oval 9"/>
            <p:cNvSpPr>
              <a:spLocks noChangeArrowheads="1"/>
            </p:cNvSpPr>
            <p:nvPr/>
          </p:nvSpPr>
          <p:spPr bwMode="auto">
            <a:xfrm>
              <a:off x="4306788" y="2585056"/>
              <a:ext cx="531019" cy="530424"/>
            </a:xfrm>
            <a:prstGeom prst="ellipse">
              <a:avLst/>
            </a:prstGeom>
            <a:solidFill>
              <a:schemeClr val="accent6"/>
            </a:solidFill>
            <a:ln w="19050"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7" name="Freeform 12"/>
            <p:cNvSpPr>
              <a:spLocks/>
            </p:cNvSpPr>
            <p:nvPr/>
          </p:nvSpPr>
          <p:spPr bwMode="auto">
            <a:xfrm>
              <a:off x="4185345" y="3956656"/>
              <a:ext cx="765572" cy="126206"/>
            </a:xfrm>
            <a:custGeom>
              <a:avLst/>
              <a:gdLst>
                <a:gd name="T0" fmla="*/ 847 w 857"/>
                <a:gd name="T1" fmla="*/ 74 h 141"/>
                <a:gd name="T2" fmla="*/ 847 w 857"/>
                <a:gd name="T3" fmla="*/ 72 h 141"/>
                <a:gd name="T4" fmla="*/ 820 w 857"/>
                <a:gd name="T5" fmla="*/ 38 h 141"/>
                <a:gd name="T6" fmla="*/ 433 w 857"/>
                <a:gd name="T7" fmla="*/ 0 h 141"/>
                <a:gd name="T8" fmla="*/ 34 w 857"/>
                <a:gd name="T9" fmla="*/ 41 h 141"/>
                <a:gd name="T10" fmla="*/ 10 w 857"/>
                <a:gd name="T11" fmla="*/ 73 h 141"/>
                <a:gd name="T12" fmla="*/ 10 w 857"/>
                <a:gd name="T13" fmla="*/ 74 h 141"/>
                <a:gd name="T14" fmla="*/ 73 w 857"/>
                <a:gd name="T15" fmla="*/ 141 h 141"/>
                <a:gd name="T16" fmla="*/ 784 w 857"/>
                <a:gd name="T17" fmla="*/ 141 h 141"/>
                <a:gd name="T18" fmla="*/ 847 w 857"/>
                <a:gd name="T19" fmla="*/ 7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7" h="141">
                  <a:moveTo>
                    <a:pt x="847" y="74"/>
                  </a:moveTo>
                  <a:cubicBezTo>
                    <a:pt x="847" y="72"/>
                    <a:pt x="847" y="72"/>
                    <a:pt x="847" y="72"/>
                  </a:cubicBezTo>
                  <a:cubicBezTo>
                    <a:pt x="843" y="58"/>
                    <a:pt x="833" y="46"/>
                    <a:pt x="820" y="38"/>
                  </a:cubicBezTo>
                  <a:cubicBezTo>
                    <a:pt x="711" y="14"/>
                    <a:pt x="577" y="0"/>
                    <a:pt x="433" y="0"/>
                  </a:cubicBezTo>
                  <a:cubicBezTo>
                    <a:pt x="284" y="0"/>
                    <a:pt x="146" y="15"/>
                    <a:pt x="34" y="41"/>
                  </a:cubicBezTo>
                  <a:cubicBezTo>
                    <a:pt x="22" y="49"/>
                    <a:pt x="13" y="60"/>
                    <a:pt x="10" y="73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0" y="108"/>
                    <a:pt x="31" y="141"/>
                    <a:pt x="73" y="141"/>
                  </a:cubicBezTo>
                  <a:cubicBezTo>
                    <a:pt x="784" y="141"/>
                    <a:pt x="784" y="141"/>
                    <a:pt x="784" y="141"/>
                  </a:cubicBezTo>
                  <a:cubicBezTo>
                    <a:pt x="826" y="141"/>
                    <a:pt x="857" y="108"/>
                    <a:pt x="847" y="74"/>
                  </a:cubicBezTo>
                  <a:close/>
                </a:path>
              </a:pathLst>
            </a:custGeom>
            <a:solidFill>
              <a:schemeClr val="accent5"/>
            </a:solidFill>
            <a:ln w="28575">
              <a:solidFill>
                <a:schemeClr val="bg1"/>
              </a:solidFill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Estratégia</a:t>
            </a:r>
            <a:r>
              <a:rPr lang="en-US" dirty="0"/>
              <a:t> de </a:t>
            </a:r>
            <a:r>
              <a:rPr lang="en-US" dirty="0">
                <a:solidFill>
                  <a:srgbClr val="EC0000"/>
                </a:solidFill>
              </a:rPr>
              <a:t>marke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3209500" y="1792817"/>
            <a:ext cx="383180" cy="383180"/>
            <a:chOff x="3209500" y="1792817"/>
            <a:chExt cx="383180" cy="383180"/>
          </a:xfrm>
        </p:grpSpPr>
        <p:sp>
          <p:nvSpPr>
            <p:cNvPr id="14" name="Oval 13"/>
            <p:cNvSpPr/>
            <p:nvPr/>
          </p:nvSpPr>
          <p:spPr>
            <a:xfrm>
              <a:off x="3209500" y="1792817"/>
              <a:ext cx="383180" cy="3831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3255457" y="189207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1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551321" y="1792817"/>
            <a:ext cx="383180" cy="383180"/>
            <a:chOff x="5551321" y="1792817"/>
            <a:chExt cx="383180" cy="383180"/>
          </a:xfrm>
        </p:grpSpPr>
        <p:sp>
          <p:nvSpPr>
            <p:cNvPr id="16" name="Oval 15"/>
            <p:cNvSpPr/>
            <p:nvPr/>
          </p:nvSpPr>
          <p:spPr>
            <a:xfrm>
              <a:off x="5551321" y="1792817"/>
              <a:ext cx="383180" cy="383180"/>
            </a:xfrm>
            <a:prstGeom prst="ellipse">
              <a:avLst/>
            </a:prstGeom>
            <a:solidFill>
              <a:srgbClr val="E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597278" y="189207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2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820010" y="2960817"/>
            <a:ext cx="383180" cy="383180"/>
            <a:chOff x="2820010" y="2960817"/>
            <a:chExt cx="383180" cy="383180"/>
          </a:xfrm>
        </p:grpSpPr>
        <p:sp>
          <p:nvSpPr>
            <p:cNvPr id="18" name="Oval 17"/>
            <p:cNvSpPr/>
            <p:nvPr/>
          </p:nvSpPr>
          <p:spPr>
            <a:xfrm>
              <a:off x="2820010" y="2960817"/>
              <a:ext cx="383180" cy="38318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2865967" y="306007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3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940811" y="2960817"/>
            <a:ext cx="383180" cy="383180"/>
            <a:chOff x="5940811" y="2960817"/>
            <a:chExt cx="383180" cy="383180"/>
          </a:xfrm>
        </p:grpSpPr>
        <p:sp>
          <p:nvSpPr>
            <p:cNvPr id="20" name="Oval 19"/>
            <p:cNvSpPr/>
            <p:nvPr/>
          </p:nvSpPr>
          <p:spPr>
            <a:xfrm>
              <a:off x="5940811" y="2960817"/>
              <a:ext cx="383180" cy="38318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986768" y="3060074"/>
              <a:ext cx="287032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04</a:t>
              </a:r>
            </a:p>
          </p:txBody>
        </p:sp>
      </p:grpSp>
      <p:sp>
        <p:nvSpPr>
          <p:cNvPr id="28" name="Freeform 9"/>
          <p:cNvSpPr>
            <a:spLocks noEditPoints="1"/>
          </p:cNvSpPr>
          <p:nvPr/>
        </p:nvSpPr>
        <p:spPr bwMode="auto">
          <a:xfrm>
            <a:off x="4642670" y="2124532"/>
            <a:ext cx="375987" cy="374512"/>
          </a:xfrm>
          <a:custGeom>
            <a:avLst/>
            <a:gdLst>
              <a:gd name="T0" fmla="*/ 906 w 2002"/>
              <a:gd name="T1" fmla="*/ 484 h 1998"/>
              <a:gd name="T2" fmla="*/ 906 w 2002"/>
              <a:gd name="T3" fmla="*/ 1700 h 1998"/>
              <a:gd name="T4" fmla="*/ 1411 w 2002"/>
              <a:gd name="T5" fmla="*/ 754 h 1998"/>
              <a:gd name="T6" fmla="*/ 1449 w 2002"/>
              <a:gd name="T7" fmla="*/ 728 h 1998"/>
              <a:gd name="T8" fmla="*/ 906 w 2002"/>
              <a:gd name="T9" fmla="*/ 1746 h 1998"/>
              <a:gd name="T10" fmla="*/ 906 w 2002"/>
              <a:gd name="T11" fmla="*/ 438 h 1998"/>
              <a:gd name="T12" fmla="*/ 1264 w 2002"/>
              <a:gd name="T13" fmla="*/ 572 h 1998"/>
              <a:gd name="T14" fmla="*/ 906 w 2002"/>
              <a:gd name="T15" fmla="*/ 737 h 1998"/>
              <a:gd name="T16" fmla="*/ 1091 w 2002"/>
              <a:gd name="T17" fmla="*/ 761 h 1998"/>
              <a:gd name="T18" fmla="*/ 906 w 2002"/>
              <a:gd name="T19" fmla="*/ 690 h 1998"/>
              <a:gd name="T20" fmla="*/ 906 w 2002"/>
              <a:gd name="T21" fmla="*/ 1494 h 1998"/>
              <a:gd name="T22" fmla="*/ 1262 w 2002"/>
              <a:gd name="T23" fmla="*/ 905 h 1998"/>
              <a:gd name="T24" fmla="*/ 1221 w 2002"/>
              <a:gd name="T25" fmla="*/ 927 h 1998"/>
              <a:gd name="T26" fmla="*/ 906 w 2002"/>
              <a:gd name="T27" fmla="*/ 1447 h 1998"/>
              <a:gd name="T28" fmla="*/ 906 w 2002"/>
              <a:gd name="T29" fmla="*/ 737 h 1998"/>
              <a:gd name="T30" fmla="*/ 1710 w 2002"/>
              <a:gd name="T31" fmla="*/ 324 h 1998"/>
              <a:gd name="T32" fmla="*/ 1890 w 2002"/>
              <a:gd name="T33" fmla="*/ 419 h 1998"/>
              <a:gd name="T34" fmla="*/ 1636 w 2002"/>
              <a:gd name="T35" fmla="*/ 398 h 1998"/>
              <a:gd name="T36" fmla="*/ 1815 w 2002"/>
              <a:gd name="T37" fmla="*/ 494 h 1998"/>
              <a:gd name="T38" fmla="*/ 997 w 2002"/>
              <a:gd name="T39" fmla="*/ 1035 h 1998"/>
              <a:gd name="T40" fmla="*/ 906 w 2002"/>
              <a:gd name="T41" fmla="*/ 1200 h 1998"/>
              <a:gd name="T42" fmla="*/ 906 w 2002"/>
              <a:gd name="T43" fmla="*/ 984 h 1998"/>
              <a:gd name="T44" fmla="*/ 1566 w 2002"/>
              <a:gd name="T45" fmla="*/ 402 h 1998"/>
              <a:gd name="T46" fmla="*/ 1545 w 2002"/>
              <a:gd name="T47" fmla="*/ 148 h 1998"/>
              <a:gd name="T48" fmla="*/ 1641 w 2002"/>
              <a:gd name="T49" fmla="*/ 328 h 1998"/>
              <a:gd name="T50" fmla="*/ 1620 w 2002"/>
              <a:gd name="T51" fmla="*/ 74 h 1998"/>
              <a:gd name="T52" fmla="*/ 1715 w 2002"/>
              <a:gd name="T53" fmla="*/ 254 h 1998"/>
              <a:gd name="T54" fmla="*/ 1694 w 2002"/>
              <a:gd name="T55" fmla="*/ 0 h 1998"/>
              <a:gd name="T56" fmla="*/ 1790 w 2002"/>
              <a:gd name="T57" fmla="*/ 179 h 1998"/>
              <a:gd name="T58" fmla="*/ 1785 w 2002"/>
              <a:gd name="T59" fmla="*/ 249 h 1998"/>
              <a:gd name="T60" fmla="*/ 1964 w 2002"/>
              <a:gd name="T61" fmla="*/ 345 h 1998"/>
              <a:gd name="T62" fmla="*/ 963 w 2002"/>
              <a:gd name="T63" fmla="*/ 1069 h 1998"/>
              <a:gd name="T64" fmla="*/ 898 w 2002"/>
              <a:gd name="T65" fmla="*/ 1125 h 1998"/>
              <a:gd name="T66" fmla="*/ 881 w 2002"/>
              <a:gd name="T67" fmla="*/ 1085 h 1998"/>
              <a:gd name="T68" fmla="*/ 906 w 2002"/>
              <a:gd name="T69" fmla="*/ 1030 h 1998"/>
              <a:gd name="T70" fmla="*/ 906 w 2002"/>
              <a:gd name="T71" fmla="*/ 1154 h 1998"/>
              <a:gd name="T72" fmla="*/ 963 w 2002"/>
              <a:gd name="T73" fmla="*/ 1069 h 1998"/>
              <a:gd name="T74" fmla="*/ 1585 w 2002"/>
              <a:gd name="T75" fmla="*/ 564 h 1998"/>
              <a:gd name="T76" fmla="*/ 906 w 2002"/>
              <a:gd name="T77" fmla="*/ 1952 h 1998"/>
              <a:gd name="T78" fmla="*/ 906 w 2002"/>
              <a:gd name="T79" fmla="*/ 232 h 1998"/>
              <a:gd name="T80" fmla="*/ 1447 w 2002"/>
              <a:gd name="T81" fmla="*/ 394 h 1998"/>
              <a:gd name="T82" fmla="*/ 906 w 2002"/>
              <a:gd name="T83" fmla="*/ 186 h 1998"/>
              <a:gd name="T84" fmla="*/ 906 w 2002"/>
              <a:gd name="T85" fmla="*/ 1998 h 1998"/>
              <a:gd name="T86" fmla="*/ 1621 w 2002"/>
              <a:gd name="T87" fmla="*/ 536 h 1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02" h="1998">
                <a:moveTo>
                  <a:pt x="1232" y="579"/>
                </a:moveTo>
                <a:cubicBezTo>
                  <a:pt x="1134" y="517"/>
                  <a:pt x="1022" y="484"/>
                  <a:pt x="906" y="484"/>
                </a:cubicBezTo>
                <a:cubicBezTo>
                  <a:pt x="571" y="484"/>
                  <a:pt x="298" y="757"/>
                  <a:pt x="298" y="1092"/>
                </a:cubicBezTo>
                <a:cubicBezTo>
                  <a:pt x="298" y="1427"/>
                  <a:pt x="571" y="1700"/>
                  <a:pt x="906" y="1700"/>
                </a:cubicBezTo>
                <a:cubicBezTo>
                  <a:pt x="1241" y="1700"/>
                  <a:pt x="1514" y="1427"/>
                  <a:pt x="1514" y="1092"/>
                </a:cubicBezTo>
                <a:cubicBezTo>
                  <a:pt x="1514" y="971"/>
                  <a:pt x="1478" y="854"/>
                  <a:pt x="1411" y="754"/>
                </a:cubicBezTo>
                <a:cubicBezTo>
                  <a:pt x="1404" y="743"/>
                  <a:pt x="1406" y="729"/>
                  <a:pt x="1417" y="721"/>
                </a:cubicBezTo>
                <a:cubicBezTo>
                  <a:pt x="1428" y="714"/>
                  <a:pt x="1442" y="717"/>
                  <a:pt x="1449" y="728"/>
                </a:cubicBezTo>
                <a:cubicBezTo>
                  <a:pt x="1521" y="836"/>
                  <a:pt x="1560" y="961"/>
                  <a:pt x="1560" y="1092"/>
                </a:cubicBezTo>
                <a:cubicBezTo>
                  <a:pt x="1560" y="1452"/>
                  <a:pt x="1266" y="1746"/>
                  <a:pt x="906" y="1746"/>
                </a:cubicBezTo>
                <a:cubicBezTo>
                  <a:pt x="545" y="1746"/>
                  <a:pt x="252" y="1452"/>
                  <a:pt x="252" y="1092"/>
                </a:cubicBezTo>
                <a:cubicBezTo>
                  <a:pt x="252" y="731"/>
                  <a:pt x="545" y="438"/>
                  <a:pt x="906" y="438"/>
                </a:cubicBezTo>
                <a:cubicBezTo>
                  <a:pt x="1031" y="438"/>
                  <a:pt x="1152" y="473"/>
                  <a:pt x="1257" y="540"/>
                </a:cubicBezTo>
                <a:cubicBezTo>
                  <a:pt x="1267" y="547"/>
                  <a:pt x="1270" y="561"/>
                  <a:pt x="1264" y="572"/>
                </a:cubicBezTo>
                <a:cubicBezTo>
                  <a:pt x="1257" y="583"/>
                  <a:pt x="1242" y="586"/>
                  <a:pt x="1232" y="579"/>
                </a:cubicBezTo>
                <a:close/>
                <a:moveTo>
                  <a:pt x="906" y="737"/>
                </a:moveTo>
                <a:cubicBezTo>
                  <a:pt x="960" y="737"/>
                  <a:pt x="1012" y="748"/>
                  <a:pt x="1060" y="772"/>
                </a:cubicBezTo>
                <a:cubicBezTo>
                  <a:pt x="1072" y="777"/>
                  <a:pt x="1085" y="772"/>
                  <a:pt x="1091" y="761"/>
                </a:cubicBezTo>
                <a:cubicBezTo>
                  <a:pt x="1097" y="749"/>
                  <a:pt x="1092" y="736"/>
                  <a:pt x="1080" y="730"/>
                </a:cubicBezTo>
                <a:cubicBezTo>
                  <a:pt x="1026" y="704"/>
                  <a:pt x="967" y="690"/>
                  <a:pt x="906" y="690"/>
                </a:cubicBezTo>
                <a:cubicBezTo>
                  <a:pt x="684" y="690"/>
                  <a:pt x="504" y="870"/>
                  <a:pt x="504" y="1092"/>
                </a:cubicBezTo>
                <a:cubicBezTo>
                  <a:pt x="504" y="1313"/>
                  <a:pt x="684" y="1494"/>
                  <a:pt x="906" y="1494"/>
                </a:cubicBezTo>
                <a:cubicBezTo>
                  <a:pt x="1127" y="1494"/>
                  <a:pt x="1307" y="1313"/>
                  <a:pt x="1307" y="1092"/>
                </a:cubicBezTo>
                <a:cubicBezTo>
                  <a:pt x="1307" y="1027"/>
                  <a:pt x="1292" y="963"/>
                  <a:pt x="1262" y="905"/>
                </a:cubicBezTo>
                <a:cubicBezTo>
                  <a:pt x="1256" y="894"/>
                  <a:pt x="1242" y="890"/>
                  <a:pt x="1230" y="896"/>
                </a:cubicBezTo>
                <a:cubicBezTo>
                  <a:pt x="1219" y="902"/>
                  <a:pt x="1215" y="916"/>
                  <a:pt x="1221" y="927"/>
                </a:cubicBezTo>
                <a:cubicBezTo>
                  <a:pt x="1247" y="977"/>
                  <a:pt x="1261" y="1034"/>
                  <a:pt x="1261" y="1092"/>
                </a:cubicBezTo>
                <a:cubicBezTo>
                  <a:pt x="1261" y="1288"/>
                  <a:pt x="1102" y="1447"/>
                  <a:pt x="906" y="1447"/>
                </a:cubicBezTo>
                <a:cubicBezTo>
                  <a:pt x="710" y="1447"/>
                  <a:pt x="550" y="1288"/>
                  <a:pt x="550" y="1092"/>
                </a:cubicBezTo>
                <a:cubicBezTo>
                  <a:pt x="550" y="896"/>
                  <a:pt x="710" y="737"/>
                  <a:pt x="906" y="737"/>
                </a:cubicBezTo>
                <a:close/>
                <a:moveTo>
                  <a:pt x="1747" y="286"/>
                </a:moveTo>
                <a:cubicBezTo>
                  <a:pt x="1710" y="324"/>
                  <a:pt x="1710" y="324"/>
                  <a:pt x="1710" y="324"/>
                </a:cubicBezTo>
                <a:cubicBezTo>
                  <a:pt x="1927" y="382"/>
                  <a:pt x="1927" y="382"/>
                  <a:pt x="1927" y="382"/>
                </a:cubicBezTo>
                <a:cubicBezTo>
                  <a:pt x="1890" y="419"/>
                  <a:pt x="1890" y="419"/>
                  <a:pt x="1890" y="419"/>
                </a:cubicBezTo>
                <a:cubicBezTo>
                  <a:pt x="1673" y="361"/>
                  <a:pt x="1673" y="361"/>
                  <a:pt x="1673" y="361"/>
                </a:cubicBezTo>
                <a:cubicBezTo>
                  <a:pt x="1636" y="398"/>
                  <a:pt x="1636" y="398"/>
                  <a:pt x="1636" y="398"/>
                </a:cubicBezTo>
                <a:cubicBezTo>
                  <a:pt x="1853" y="456"/>
                  <a:pt x="1853" y="456"/>
                  <a:pt x="1853" y="456"/>
                </a:cubicBezTo>
                <a:cubicBezTo>
                  <a:pt x="1815" y="494"/>
                  <a:pt x="1815" y="494"/>
                  <a:pt x="1815" y="494"/>
                </a:cubicBezTo>
                <a:cubicBezTo>
                  <a:pt x="1599" y="435"/>
                  <a:pt x="1599" y="435"/>
                  <a:pt x="1599" y="435"/>
                </a:cubicBezTo>
                <a:cubicBezTo>
                  <a:pt x="997" y="1035"/>
                  <a:pt x="997" y="1035"/>
                  <a:pt x="997" y="1035"/>
                </a:cubicBezTo>
                <a:cubicBezTo>
                  <a:pt x="1008" y="1052"/>
                  <a:pt x="1014" y="1071"/>
                  <a:pt x="1014" y="1092"/>
                </a:cubicBezTo>
                <a:cubicBezTo>
                  <a:pt x="1014" y="1151"/>
                  <a:pt x="965" y="1200"/>
                  <a:pt x="906" y="1200"/>
                </a:cubicBezTo>
                <a:cubicBezTo>
                  <a:pt x="846" y="1200"/>
                  <a:pt x="798" y="1151"/>
                  <a:pt x="798" y="1092"/>
                </a:cubicBezTo>
                <a:cubicBezTo>
                  <a:pt x="798" y="1032"/>
                  <a:pt x="846" y="984"/>
                  <a:pt x="906" y="984"/>
                </a:cubicBezTo>
                <a:cubicBezTo>
                  <a:pt x="928" y="984"/>
                  <a:pt x="948" y="991"/>
                  <a:pt x="965" y="1002"/>
                </a:cubicBezTo>
                <a:cubicBezTo>
                  <a:pt x="1566" y="402"/>
                  <a:pt x="1566" y="402"/>
                  <a:pt x="1566" y="402"/>
                </a:cubicBezTo>
                <a:cubicBezTo>
                  <a:pt x="1508" y="186"/>
                  <a:pt x="1508" y="186"/>
                  <a:pt x="1508" y="186"/>
                </a:cubicBezTo>
                <a:cubicBezTo>
                  <a:pt x="1545" y="148"/>
                  <a:pt x="1545" y="148"/>
                  <a:pt x="1545" y="148"/>
                </a:cubicBezTo>
                <a:cubicBezTo>
                  <a:pt x="1603" y="366"/>
                  <a:pt x="1603" y="366"/>
                  <a:pt x="1603" y="366"/>
                </a:cubicBezTo>
                <a:cubicBezTo>
                  <a:pt x="1641" y="328"/>
                  <a:pt x="1641" y="328"/>
                  <a:pt x="1641" y="328"/>
                </a:cubicBezTo>
                <a:cubicBezTo>
                  <a:pt x="1583" y="111"/>
                  <a:pt x="1583" y="111"/>
                  <a:pt x="1583" y="111"/>
                </a:cubicBezTo>
                <a:cubicBezTo>
                  <a:pt x="1620" y="74"/>
                  <a:pt x="1620" y="74"/>
                  <a:pt x="1620" y="74"/>
                </a:cubicBezTo>
                <a:cubicBezTo>
                  <a:pt x="1678" y="291"/>
                  <a:pt x="1678" y="291"/>
                  <a:pt x="1678" y="291"/>
                </a:cubicBezTo>
                <a:cubicBezTo>
                  <a:pt x="1715" y="254"/>
                  <a:pt x="1715" y="254"/>
                  <a:pt x="1715" y="254"/>
                </a:cubicBezTo>
                <a:cubicBezTo>
                  <a:pt x="1657" y="37"/>
                  <a:pt x="1657" y="37"/>
                  <a:pt x="1657" y="37"/>
                </a:cubicBezTo>
                <a:cubicBezTo>
                  <a:pt x="1694" y="0"/>
                  <a:pt x="1694" y="0"/>
                  <a:pt x="1694" y="0"/>
                </a:cubicBezTo>
                <a:cubicBezTo>
                  <a:pt x="1752" y="217"/>
                  <a:pt x="1752" y="217"/>
                  <a:pt x="1752" y="217"/>
                </a:cubicBezTo>
                <a:cubicBezTo>
                  <a:pt x="1790" y="179"/>
                  <a:pt x="1790" y="179"/>
                  <a:pt x="1790" y="179"/>
                </a:cubicBezTo>
                <a:cubicBezTo>
                  <a:pt x="1823" y="211"/>
                  <a:pt x="1823" y="211"/>
                  <a:pt x="1823" y="211"/>
                </a:cubicBezTo>
                <a:cubicBezTo>
                  <a:pt x="1785" y="249"/>
                  <a:pt x="1785" y="249"/>
                  <a:pt x="1785" y="249"/>
                </a:cubicBezTo>
                <a:cubicBezTo>
                  <a:pt x="2002" y="308"/>
                  <a:pt x="2002" y="308"/>
                  <a:pt x="2002" y="308"/>
                </a:cubicBezTo>
                <a:cubicBezTo>
                  <a:pt x="1964" y="345"/>
                  <a:pt x="1964" y="345"/>
                  <a:pt x="1964" y="345"/>
                </a:cubicBezTo>
                <a:lnTo>
                  <a:pt x="1747" y="286"/>
                </a:lnTo>
                <a:close/>
                <a:moveTo>
                  <a:pt x="963" y="1069"/>
                </a:moveTo>
                <a:cubicBezTo>
                  <a:pt x="914" y="1118"/>
                  <a:pt x="914" y="1118"/>
                  <a:pt x="914" y="1118"/>
                </a:cubicBezTo>
                <a:cubicBezTo>
                  <a:pt x="910" y="1122"/>
                  <a:pt x="904" y="1125"/>
                  <a:pt x="898" y="1125"/>
                </a:cubicBezTo>
                <a:cubicBezTo>
                  <a:pt x="892" y="1125"/>
                  <a:pt x="886" y="1122"/>
                  <a:pt x="881" y="1118"/>
                </a:cubicBezTo>
                <a:cubicBezTo>
                  <a:pt x="872" y="1109"/>
                  <a:pt x="872" y="1094"/>
                  <a:pt x="881" y="1085"/>
                </a:cubicBezTo>
                <a:cubicBezTo>
                  <a:pt x="931" y="1036"/>
                  <a:pt x="931" y="1036"/>
                  <a:pt x="931" y="1036"/>
                </a:cubicBezTo>
                <a:cubicBezTo>
                  <a:pt x="923" y="1032"/>
                  <a:pt x="915" y="1030"/>
                  <a:pt x="906" y="1030"/>
                </a:cubicBezTo>
                <a:cubicBezTo>
                  <a:pt x="872" y="1030"/>
                  <a:pt x="844" y="1058"/>
                  <a:pt x="844" y="1092"/>
                </a:cubicBezTo>
                <a:cubicBezTo>
                  <a:pt x="844" y="1126"/>
                  <a:pt x="872" y="1154"/>
                  <a:pt x="906" y="1154"/>
                </a:cubicBezTo>
                <a:cubicBezTo>
                  <a:pt x="940" y="1154"/>
                  <a:pt x="968" y="1126"/>
                  <a:pt x="968" y="1092"/>
                </a:cubicBezTo>
                <a:cubicBezTo>
                  <a:pt x="968" y="1084"/>
                  <a:pt x="966" y="1076"/>
                  <a:pt x="963" y="1069"/>
                </a:cubicBezTo>
                <a:close/>
                <a:moveTo>
                  <a:pt x="1589" y="532"/>
                </a:moveTo>
                <a:cubicBezTo>
                  <a:pt x="1579" y="540"/>
                  <a:pt x="1577" y="554"/>
                  <a:pt x="1585" y="564"/>
                </a:cubicBezTo>
                <a:cubicBezTo>
                  <a:pt x="1703" y="716"/>
                  <a:pt x="1766" y="899"/>
                  <a:pt x="1766" y="1092"/>
                </a:cubicBezTo>
                <a:cubicBezTo>
                  <a:pt x="1766" y="1566"/>
                  <a:pt x="1380" y="1952"/>
                  <a:pt x="906" y="1952"/>
                </a:cubicBezTo>
                <a:cubicBezTo>
                  <a:pt x="432" y="1952"/>
                  <a:pt x="46" y="1566"/>
                  <a:pt x="46" y="1092"/>
                </a:cubicBezTo>
                <a:cubicBezTo>
                  <a:pt x="46" y="618"/>
                  <a:pt x="432" y="232"/>
                  <a:pt x="906" y="232"/>
                </a:cubicBezTo>
                <a:cubicBezTo>
                  <a:pt x="1091" y="232"/>
                  <a:pt x="1267" y="290"/>
                  <a:pt x="1415" y="399"/>
                </a:cubicBezTo>
                <a:cubicBezTo>
                  <a:pt x="1425" y="406"/>
                  <a:pt x="1440" y="404"/>
                  <a:pt x="1447" y="394"/>
                </a:cubicBezTo>
                <a:cubicBezTo>
                  <a:pt x="1455" y="384"/>
                  <a:pt x="1453" y="369"/>
                  <a:pt x="1443" y="362"/>
                </a:cubicBezTo>
                <a:cubicBezTo>
                  <a:pt x="1286" y="247"/>
                  <a:pt x="1101" y="186"/>
                  <a:pt x="906" y="186"/>
                </a:cubicBezTo>
                <a:cubicBezTo>
                  <a:pt x="406" y="186"/>
                  <a:pt x="0" y="592"/>
                  <a:pt x="0" y="1092"/>
                </a:cubicBezTo>
                <a:cubicBezTo>
                  <a:pt x="0" y="1592"/>
                  <a:pt x="406" y="1998"/>
                  <a:pt x="906" y="1998"/>
                </a:cubicBezTo>
                <a:cubicBezTo>
                  <a:pt x="1406" y="1998"/>
                  <a:pt x="1812" y="1592"/>
                  <a:pt x="1812" y="1092"/>
                </a:cubicBezTo>
                <a:cubicBezTo>
                  <a:pt x="1812" y="888"/>
                  <a:pt x="1746" y="696"/>
                  <a:pt x="1621" y="536"/>
                </a:cubicBezTo>
                <a:cubicBezTo>
                  <a:pt x="1614" y="526"/>
                  <a:pt x="1599" y="524"/>
                  <a:pt x="1589" y="5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29" name="Freeform 17"/>
          <p:cNvSpPr>
            <a:spLocks noEditPoints="1"/>
          </p:cNvSpPr>
          <p:nvPr/>
        </p:nvSpPr>
        <p:spPr bwMode="auto">
          <a:xfrm>
            <a:off x="4040757" y="3222619"/>
            <a:ext cx="383977" cy="392311"/>
          </a:xfrm>
          <a:custGeom>
            <a:avLst/>
            <a:gdLst>
              <a:gd name="T0" fmla="*/ 565 w 1481"/>
              <a:gd name="T1" fmla="*/ 689 h 1519"/>
              <a:gd name="T2" fmla="*/ 580 w 1481"/>
              <a:gd name="T3" fmla="*/ 719 h 1519"/>
              <a:gd name="T4" fmla="*/ 435 w 1481"/>
              <a:gd name="T5" fmla="*/ 796 h 1519"/>
              <a:gd name="T6" fmla="*/ 607 w 1481"/>
              <a:gd name="T7" fmla="*/ 867 h 1519"/>
              <a:gd name="T8" fmla="*/ 758 w 1481"/>
              <a:gd name="T9" fmla="*/ 473 h 1519"/>
              <a:gd name="T10" fmla="*/ 406 w 1481"/>
              <a:gd name="T11" fmla="*/ 928 h 1519"/>
              <a:gd name="T12" fmla="*/ 26 w 1481"/>
              <a:gd name="T13" fmla="*/ 1200 h 1519"/>
              <a:gd name="T14" fmla="*/ 303 w 1481"/>
              <a:gd name="T15" fmla="*/ 779 h 1519"/>
              <a:gd name="T16" fmla="*/ 819 w 1481"/>
              <a:gd name="T17" fmla="*/ 412 h 1519"/>
              <a:gd name="T18" fmla="*/ 482 w 1481"/>
              <a:gd name="T19" fmla="*/ 896 h 1519"/>
              <a:gd name="T20" fmla="*/ 356 w 1481"/>
              <a:gd name="T21" fmla="*/ 723 h 1519"/>
              <a:gd name="T22" fmla="*/ 416 w 1481"/>
              <a:gd name="T23" fmla="*/ 815 h 1519"/>
              <a:gd name="T24" fmla="*/ 798 w 1481"/>
              <a:gd name="T25" fmla="*/ 433 h 1519"/>
              <a:gd name="T26" fmla="*/ 325 w 1481"/>
              <a:gd name="T27" fmla="*/ 804 h 1519"/>
              <a:gd name="T28" fmla="*/ 454 w 1481"/>
              <a:gd name="T29" fmla="*/ 882 h 1519"/>
              <a:gd name="T30" fmla="*/ 395 w 1481"/>
              <a:gd name="T31" fmla="*/ 836 h 1519"/>
              <a:gd name="T32" fmla="*/ 349 w 1481"/>
              <a:gd name="T33" fmla="*/ 777 h 1519"/>
              <a:gd name="T34" fmla="*/ 325 w 1481"/>
              <a:gd name="T35" fmla="*/ 847 h 1519"/>
              <a:gd name="T36" fmla="*/ 54 w 1481"/>
              <a:gd name="T37" fmla="*/ 1185 h 1519"/>
              <a:gd name="T38" fmla="*/ 1481 w 1481"/>
              <a:gd name="T39" fmla="*/ 1453 h 1519"/>
              <a:gd name="T40" fmla="*/ 487 w 1481"/>
              <a:gd name="T41" fmla="*/ 1421 h 1519"/>
              <a:gd name="T42" fmla="*/ 378 w 1481"/>
              <a:gd name="T43" fmla="*/ 1017 h 1519"/>
              <a:gd name="T44" fmla="*/ 502 w 1481"/>
              <a:gd name="T45" fmla="*/ 1391 h 1519"/>
              <a:gd name="T46" fmla="*/ 1353 w 1481"/>
              <a:gd name="T47" fmla="*/ 136 h 1519"/>
              <a:gd name="T48" fmla="*/ 1186 w 1481"/>
              <a:gd name="T49" fmla="*/ 156 h 1519"/>
              <a:gd name="T50" fmla="*/ 1093 w 1481"/>
              <a:gd name="T51" fmla="*/ 141 h 1519"/>
              <a:gd name="T52" fmla="*/ 986 w 1481"/>
              <a:gd name="T53" fmla="*/ 101 h 1519"/>
              <a:gd name="T54" fmla="*/ 955 w 1481"/>
              <a:gd name="T55" fmla="*/ 101 h 1519"/>
              <a:gd name="T56" fmla="*/ 848 w 1481"/>
              <a:gd name="T57" fmla="*/ 141 h 1519"/>
              <a:gd name="T58" fmla="*/ 755 w 1481"/>
              <a:gd name="T59" fmla="*/ 156 h 1519"/>
              <a:gd name="T60" fmla="*/ 663 w 1481"/>
              <a:gd name="T61" fmla="*/ 141 h 1519"/>
              <a:gd name="T62" fmla="*/ 555 w 1481"/>
              <a:gd name="T63" fmla="*/ 101 h 1519"/>
              <a:gd name="T64" fmla="*/ 525 w 1481"/>
              <a:gd name="T65" fmla="*/ 101 h 1519"/>
              <a:gd name="T66" fmla="*/ 378 w 1481"/>
              <a:gd name="T67" fmla="*/ 354 h 1519"/>
              <a:gd name="T68" fmla="*/ 525 w 1481"/>
              <a:gd name="T69" fmla="*/ 71 h 1519"/>
              <a:gd name="T70" fmla="*/ 555 w 1481"/>
              <a:gd name="T71" fmla="*/ 71 h 1519"/>
              <a:gd name="T72" fmla="*/ 663 w 1481"/>
              <a:gd name="T73" fmla="*/ 15 h 1519"/>
              <a:gd name="T74" fmla="*/ 755 w 1481"/>
              <a:gd name="T75" fmla="*/ 0 h 1519"/>
              <a:gd name="T76" fmla="*/ 848 w 1481"/>
              <a:gd name="T77" fmla="*/ 15 h 1519"/>
              <a:gd name="T78" fmla="*/ 955 w 1481"/>
              <a:gd name="T79" fmla="*/ 71 h 1519"/>
              <a:gd name="T80" fmla="*/ 986 w 1481"/>
              <a:gd name="T81" fmla="*/ 71 h 1519"/>
              <a:gd name="T82" fmla="*/ 1093 w 1481"/>
              <a:gd name="T83" fmla="*/ 15 h 1519"/>
              <a:gd name="T84" fmla="*/ 1186 w 1481"/>
              <a:gd name="T85" fmla="*/ 0 h 1519"/>
              <a:gd name="T86" fmla="*/ 1383 w 1481"/>
              <a:gd name="T87" fmla="*/ 136 h 1519"/>
              <a:gd name="T88" fmla="*/ 1451 w 1481"/>
              <a:gd name="T89" fmla="*/ 259 h 1519"/>
              <a:gd name="T90" fmla="*/ 1318 w 1481"/>
              <a:gd name="T91" fmla="*/ 1421 h 1519"/>
              <a:gd name="T92" fmla="*/ 1416 w 1481"/>
              <a:gd name="T93" fmla="*/ 1488 h 1519"/>
              <a:gd name="T94" fmla="*/ 1076 w 1481"/>
              <a:gd name="T95" fmla="*/ 882 h 1519"/>
              <a:gd name="T96" fmla="*/ 936 w 1481"/>
              <a:gd name="T97" fmla="*/ 1301 h 1519"/>
              <a:gd name="T98" fmla="*/ 1046 w 1481"/>
              <a:gd name="T99" fmla="*/ 897 h 1519"/>
              <a:gd name="T100" fmla="*/ 1046 w 1481"/>
              <a:gd name="T101" fmla="*/ 897 h 1519"/>
              <a:gd name="T102" fmla="*/ 877 w 1481"/>
              <a:gd name="T103" fmla="*/ 1316 h 1519"/>
              <a:gd name="T104" fmla="*/ 768 w 1481"/>
              <a:gd name="T105" fmla="*/ 993 h 1519"/>
              <a:gd name="T106" fmla="*/ 783 w 1481"/>
              <a:gd name="T107" fmla="*/ 1286 h 1519"/>
              <a:gd name="T108" fmla="*/ 1259 w 1481"/>
              <a:gd name="T109" fmla="*/ 781 h 1519"/>
              <a:gd name="T110" fmla="*/ 1119 w 1481"/>
              <a:gd name="T111" fmla="*/ 1301 h 1519"/>
              <a:gd name="T112" fmla="*/ 1229 w 1481"/>
              <a:gd name="T113" fmla="*/ 796 h 1519"/>
              <a:gd name="T114" fmla="*/ 1229 w 1481"/>
              <a:gd name="T115" fmla="*/ 796 h 1519"/>
              <a:gd name="T116" fmla="*/ 1167 w 1481"/>
              <a:gd name="T117" fmla="*/ 479 h 1519"/>
              <a:gd name="T118" fmla="*/ 1099 w 1481"/>
              <a:gd name="T119" fmla="*/ 578 h 15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81" h="1519">
                <a:moveTo>
                  <a:pt x="460" y="651"/>
                </a:moveTo>
                <a:cubicBezTo>
                  <a:pt x="454" y="647"/>
                  <a:pt x="452" y="637"/>
                  <a:pt x="457" y="630"/>
                </a:cubicBezTo>
                <a:cubicBezTo>
                  <a:pt x="462" y="623"/>
                  <a:pt x="471" y="622"/>
                  <a:pt x="478" y="627"/>
                </a:cubicBezTo>
                <a:cubicBezTo>
                  <a:pt x="565" y="689"/>
                  <a:pt x="565" y="689"/>
                  <a:pt x="565" y="689"/>
                </a:cubicBezTo>
                <a:cubicBezTo>
                  <a:pt x="709" y="504"/>
                  <a:pt x="709" y="504"/>
                  <a:pt x="709" y="504"/>
                </a:cubicBezTo>
                <a:cubicBezTo>
                  <a:pt x="714" y="497"/>
                  <a:pt x="724" y="496"/>
                  <a:pt x="730" y="501"/>
                </a:cubicBezTo>
                <a:cubicBezTo>
                  <a:pt x="737" y="506"/>
                  <a:pt x="738" y="516"/>
                  <a:pt x="733" y="522"/>
                </a:cubicBezTo>
                <a:cubicBezTo>
                  <a:pt x="580" y="719"/>
                  <a:pt x="580" y="719"/>
                  <a:pt x="580" y="719"/>
                </a:cubicBezTo>
                <a:cubicBezTo>
                  <a:pt x="578" y="723"/>
                  <a:pt x="573" y="725"/>
                  <a:pt x="569" y="725"/>
                </a:cubicBezTo>
                <a:cubicBezTo>
                  <a:pt x="565" y="725"/>
                  <a:pt x="562" y="724"/>
                  <a:pt x="560" y="722"/>
                </a:cubicBezTo>
                <a:lnTo>
                  <a:pt x="460" y="651"/>
                </a:lnTo>
                <a:close/>
                <a:moveTo>
                  <a:pt x="435" y="796"/>
                </a:moveTo>
                <a:cubicBezTo>
                  <a:pt x="340" y="701"/>
                  <a:pt x="340" y="547"/>
                  <a:pt x="435" y="452"/>
                </a:cubicBezTo>
                <a:cubicBezTo>
                  <a:pt x="530" y="357"/>
                  <a:pt x="684" y="357"/>
                  <a:pt x="779" y="452"/>
                </a:cubicBezTo>
                <a:cubicBezTo>
                  <a:pt x="874" y="547"/>
                  <a:pt x="874" y="701"/>
                  <a:pt x="779" y="796"/>
                </a:cubicBezTo>
                <a:cubicBezTo>
                  <a:pt x="732" y="843"/>
                  <a:pt x="669" y="867"/>
                  <a:pt x="607" y="867"/>
                </a:cubicBezTo>
                <a:cubicBezTo>
                  <a:pt x="545" y="867"/>
                  <a:pt x="483" y="843"/>
                  <a:pt x="435" y="796"/>
                </a:cubicBezTo>
                <a:close/>
                <a:moveTo>
                  <a:pt x="457" y="775"/>
                </a:moveTo>
                <a:cubicBezTo>
                  <a:pt x="540" y="858"/>
                  <a:pt x="675" y="857"/>
                  <a:pt x="758" y="775"/>
                </a:cubicBezTo>
                <a:cubicBezTo>
                  <a:pt x="841" y="692"/>
                  <a:pt x="841" y="556"/>
                  <a:pt x="758" y="473"/>
                </a:cubicBezTo>
                <a:cubicBezTo>
                  <a:pt x="716" y="432"/>
                  <a:pt x="662" y="411"/>
                  <a:pt x="607" y="411"/>
                </a:cubicBezTo>
                <a:cubicBezTo>
                  <a:pt x="553" y="411"/>
                  <a:pt x="498" y="432"/>
                  <a:pt x="457" y="473"/>
                </a:cubicBezTo>
                <a:cubicBezTo>
                  <a:pt x="374" y="556"/>
                  <a:pt x="374" y="692"/>
                  <a:pt x="457" y="775"/>
                </a:cubicBezTo>
                <a:close/>
                <a:moveTo>
                  <a:pt x="406" y="928"/>
                </a:moveTo>
                <a:cubicBezTo>
                  <a:pt x="128" y="1206"/>
                  <a:pt x="128" y="1206"/>
                  <a:pt x="128" y="1206"/>
                </a:cubicBezTo>
                <a:cubicBezTo>
                  <a:pt x="115" y="1219"/>
                  <a:pt x="98" y="1226"/>
                  <a:pt x="80" y="1226"/>
                </a:cubicBezTo>
                <a:cubicBezTo>
                  <a:pt x="62" y="1226"/>
                  <a:pt x="45" y="1219"/>
                  <a:pt x="33" y="1206"/>
                </a:cubicBezTo>
                <a:cubicBezTo>
                  <a:pt x="26" y="1200"/>
                  <a:pt x="26" y="1200"/>
                  <a:pt x="26" y="1200"/>
                </a:cubicBezTo>
                <a:cubicBezTo>
                  <a:pt x="0" y="1173"/>
                  <a:pt x="0" y="1130"/>
                  <a:pt x="26" y="1104"/>
                </a:cubicBezTo>
                <a:cubicBezTo>
                  <a:pt x="304" y="826"/>
                  <a:pt x="304" y="826"/>
                  <a:pt x="304" y="826"/>
                </a:cubicBezTo>
                <a:cubicBezTo>
                  <a:pt x="303" y="825"/>
                  <a:pt x="303" y="825"/>
                  <a:pt x="303" y="825"/>
                </a:cubicBezTo>
                <a:cubicBezTo>
                  <a:pt x="291" y="813"/>
                  <a:pt x="291" y="792"/>
                  <a:pt x="303" y="779"/>
                </a:cubicBezTo>
                <a:cubicBezTo>
                  <a:pt x="334" y="748"/>
                  <a:pt x="334" y="748"/>
                  <a:pt x="334" y="748"/>
                </a:cubicBezTo>
                <a:cubicBezTo>
                  <a:pt x="332" y="744"/>
                  <a:pt x="330" y="739"/>
                  <a:pt x="328" y="734"/>
                </a:cubicBezTo>
                <a:cubicBezTo>
                  <a:pt x="284" y="623"/>
                  <a:pt x="310" y="496"/>
                  <a:pt x="395" y="412"/>
                </a:cubicBezTo>
                <a:cubicBezTo>
                  <a:pt x="512" y="295"/>
                  <a:pt x="702" y="295"/>
                  <a:pt x="819" y="412"/>
                </a:cubicBezTo>
                <a:cubicBezTo>
                  <a:pt x="936" y="529"/>
                  <a:pt x="936" y="719"/>
                  <a:pt x="819" y="836"/>
                </a:cubicBezTo>
                <a:cubicBezTo>
                  <a:pt x="762" y="894"/>
                  <a:pt x="685" y="924"/>
                  <a:pt x="607" y="924"/>
                </a:cubicBezTo>
                <a:cubicBezTo>
                  <a:pt x="570" y="924"/>
                  <a:pt x="533" y="917"/>
                  <a:pt x="497" y="903"/>
                </a:cubicBezTo>
                <a:cubicBezTo>
                  <a:pt x="492" y="901"/>
                  <a:pt x="487" y="899"/>
                  <a:pt x="482" y="896"/>
                </a:cubicBezTo>
                <a:cubicBezTo>
                  <a:pt x="451" y="927"/>
                  <a:pt x="451" y="927"/>
                  <a:pt x="451" y="927"/>
                </a:cubicBezTo>
                <a:cubicBezTo>
                  <a:pt x="445" y="934"/>
                  <a:pt x="437" y="937"/>
                  <a:pt x="428" y="937"/>
                </a:cubicBezTo>
                <a:cubicBezTo>
                  <a:pt x="420" y="937"/>
                  <a:pt x="412" y="934"/>
                  <a:pt x="406" y="928"/>
                </a:cubicBezTo>
                <a:close/>
                <a:moveTo>
                  <a:pt x="356" y="723"/>
                </a:moveTo>
                <a:cubicBezTo>
                  <a:pt x="359" y="731"/>
                  <a:pt x="362" y="738"/>
                  <a:pt x="366" y="745"/>
                </a:cubicBezTo>
                <a:cubicBezTo>
                  <a:pt x="366" y="745"/>
                  <a:pt x="366" y="745"/>
                  <a:pt x="366" y="745"/>
                </a:cubicBezTo>
                <a:cubicBezTo>
                  <a:pt x="375" y="763"/>
                  <a:pt x="386" y="780"/>
                  <a:pt x="399" y="796"/>
                </a:cubicBezTo>
                <a:cubicBezTo>
                  <a:pt x="405" y="802"/>
                  <a:pt x="410" y="809"/>
                  <a:pt x="416" y="815"/>
                </a:cubicBezTo>
                <a:cubicBezTo>
                  <a:pt x="437" y="835"/>
                  <a:pt x="460" y="852"/>
                  <a:pt x="486" y="865"/>
                </a:cubicBezTo>
                <a:cubicBezTo>
                  <a:pt x="493" y="869"/>
                  <a:pt x="500" y="872"/>
                  <a:pt x="508" y="875"/>
                </a:cubicBezTo>
                <a:cubicBezTo>
                  <a:pt x="608" y="915"/>
                  <a:pt x="722" y="891"/>
                  <a:pt x="798" y="815"/>
                </a:cubicBezTo>
                <a:cubicBezTo>
                  <a:pt x="903" y="710"/>
                  <a:pt x="903" y="538"/>
                  <a:pt x="798" y="433"/>
                </a:cubicBezTo>
                <a:cubicBezTo>
                  <a:pt x="745" y="381"/>
                  <a:pt x="676" y="354"/>
                  <a:pt x="607" y="354"/>
                </a:cubicBezTo>
                <a:cubicBezTo>
                  <a:pt x="538" y="354"/>
                  <a:pt x="469" y="381"/>
                  <a:pt x="416" y="433"/>
                </a:cubicBezTo>
                <a:cubicBezTo>
                  <a:pt x="340" y="509"/>
                  <a:pt x="317" y="623"/>
                  <a:pt x="356" y="723"/>
                </a:cubicBezTo>
                <a:close/>
                <a:moveTo>
                  <a:pt x="325" y="804"/>
                </a:moveTo>
                <a:cubicBezTo>
                  <a:pt x="325" y="804"/>
                  <a:pt x="325" y="804"/>
                  <a:pt x="325" y="804"/>
                </a:cubicBezTo>
                <a:cubicBezTo>
                  <a:pt x="427" y="906"/>
                  <a:pt x="427" y="906"/>
                  <a:pt x="427" y="906"/>
                </a:cubicBezTo>
                <a:cubicBezTo>
                  <a:pt x="428" y="907"/>
                  <a:pt x="429" y="907"/>
                  <a:pt x="430" y="906"/>
                </a:cubicBezTo>
                <a:cubicBezTo>
                  <a:pt x="454" y="882"/>
                  <a:pt x="454" y="882"/>
                  <a:pt x="454" y="882"/>
                </a:cubicBezTo>
                <a:cubicBezTo>
                  <a:pt x="453" y="882"/>
                  <a:pt x="453" y="882"/>
                  <a:pt x="453" y="881"/>
                </a:cubicBezTo>
                <a:cubicBezTo>
                  <a:pt x="443" y="876"/>
                  <a:pt x="434" y="869"/>
                  <a:pt x="426" y="863"/>
                </a:cubicBezTo>
                <a:cubicBezTo>
                  <a:pt x="424" y="861"/>
                  <a:pt x="422" y="860"/>
                  <a:pt x="420" y="858"/>
                </a:cubicBezTo>
                <a:cubicBezTo>
                  <a:pt x="411" y="851"/>
                  <a:pt x="403" y="844"/>
                  <a:pt x="395" y="836"/>
                </a:cubicBezTo>
                <a:cubicBezTo>
                  <a:pt x="387" y="828"/>
                  <a:pt x="380" y="820"/>
                  <a:pt x="373" y="811"/>
                </a:cubicBezTo>
                <a:cubicBezTo>
                  <a:pt x="371" y="809"/>
                  <a:pt x="369" y="807"/>
                  <a:pt x="368" y="805"/>
                </a:cubicBezTo>
                <a:cubicBezTo>
                  <a:pt x="361" y="796"/>
                  <a:pt x="355" y="787"/>
                  <a:pt x="349" y="778"/>
                </a:cubicBezTo>
                <a:cubicBezTo>
                  <a:pt x="349" y="777"/>
                  <a:pt x="349" y="777"/>
                  <a:pt x="349" y="777"/>
                </a:cubicBezTo>
                <a:cubicBezTo>
                  <a:pt x="325" y="801"/>
                  <a:pt x="325" y="801"/>
                  <a:pt x="325" y="801"/>
                </a:cubicBezTo>
                <a:cubicBezTo>
                  <a:pt x="324" y="802"/>
                  <a:pt x="324" y="803"/>
                  <a:pt x="325" y="804"/>
                </a:cubicBezTo>
                <a:close/>
                <a:moveTo>
                  <a:pt x="384" y="906"/>
                </a:moveTo>
                <a:cubicBezTo>
                  <a:pt x="325" y="847"/>
                  <a:pt x="325" y="847"/>
                  <a:pt x="325" y="847"/>
                </a:cubicBezTo>
                <a:cubicBezTo>
                  <a:pt x="47" y="1126"/>
                  <a:pt x="47" y="1126"/>
                  <a:pt x="47" y="1126"/>
                </a:cubicBezTo>
                <a:cubicBezTo>
                  <a:pt x="40" y="1133"/>
                  <a:pt x="36" y="1142"/>
                  <a:pt x="36" y="1152"/>
                </a:cubicBezTo>
                <a:cubicBezTo>
                  <a:pt x="36" y="1162"/>
                  <a:pt x="40" y="1171"/>
                  <a:pt x="47" y="1178"/>
                </a:cubicBezTo>
                <a:cubicBezTo>
                  <a:pt x="54" y="1185"/>
                  <a:pt x="54" y="1185"/>
                  <a:pt x="54" y="1185"/>
                </a:cubicBezTo>
                <a:cubicBezTo>
                  <a:pt x="68" y="1199"/>
                  <a:pt x="92" y="1199"/>
                  <a:pt x="106" y="1185"/>
                </a:cubicBezTo>
                <a:lnTo>
                  <a:pt x="384" y="906"/>
                </a:lnTo>
                <a:close/>
                <a:moveTo>
                  <a:pt x="1481" y="259"/>
                </a:moveTo>
                <a:cubicBezTo>
                  <a:pt x="1481" y="1453"/>
                  <a:pt x="1481" y="1453"/>
                  <a:pt x="1481" y="1453"/>
                </a:cubicBezTo>
                <a:cubicBezTo>
                  <a:pt x="1481" y="1489"/>
                  <a:pt x="1452" y="1519"/>
                  <a:pt x="1416" y="1519"/>
                </a:cubicBezTo>
                <a:cubicBezTo>
                  <a:pt x="552" y="1519"/>
                  <a:pt x="552" y="1519"/>
                  <a:pt x="552" y="1519"/>
                </a:cubicBezTo>
                <a:cubicBezTo>
                  <a:pt x="516" y="1519"/>
                  <a:pt x="487" y="1489"/>
                  <a:pt x="487" y="1453"/>
                </a:cubicBezTo>
                <a:cubicBezTo>
                  <a:pt x="487" y="1421"/>
                  <a:pt x="487" y="1421"/>
                  <a:pt x="487" y="1421"/>
                </a:cubicBezTo>
                <a:cubicBezTo>
                  <a:pt x="429" y="1421"/>
                  <a:pt x="429" y="1421"/>
                  <a:pt x="429" y="1421"/>
                </a:cubicBezTo>
                <a:cubicBezTo>
                  <a:pt x="392" y="1421"/>
                  <a:pt x="363" y="1392"/>
                  <a:pt x="363" y="1356"/>
                </a:cubicBezTo>
                <a:cubicBezTo>
                  <a:pt x="363" y="1032"/>
                  <a:pt x="363" y="1032"/>
                  <a:pt x="363" y="1032"/>
                </a:cubicBezTo>
                <a:cubicBezTo>
                  <a:pt x="363" y="1024"/>
                  <a:pt x="370" y="1017"/>
                  <a:pt x="378" y="1017"/>
                </a:cubicBezTo>
                <a:cubicBezTo>
                  <a:pt x="386" y="1017"/>
                  <a:pt x="393" y="1024"/>
                  <a:pt x="393" y="1032"/>
                </a:cubicBezTo>
                <a:cubicBezTo>
                  <a:pt x="393" y="1356"/>
                  <a:pt x="393" y="1356"/>
                  <a:pt x="393" y="1356"/>
                </a:cubicBezTo>
                <a:cubicBezTo>
                  <a:pt x="393" y="1375"/>
                  <a:pt x="409" y="1391"/>
                  <a:pt x="429" y="1391"/>
                </a:cubicBezTo>
                <a:cubicBezTo>
                  <a:pt x="502" y="1391"/>
                  <a:pt x="502" y="1391"/>
                  <a:pt x="502" y="1391"/>
                </a:cubicBezTo>
                <a:cubicBezTo>
                  <a:pt x="1318" y="1391"/>
                  <a:pt x="1318" y="1391"/>
                  <a:pt x="1318" y="1391"/>
                </a:cubicBezTo>
                <a:cubicBezTo>
                  <a:pt x="1337" y="1391"/>
                  <a:pt x="1353" y="1375"/>
                  <a:pt x="1353" y="1356"/>
                </a:cubicBezTo>
                <a:cubicBezTo>
                  <a:pt x="1353" y="209"/>
                  <a:pt x="1353" y="209"/>
                  <a:pt x="1353" y="209"/>
                </a:cubicBezTo>
                <a:cubicBezTo>
                  <a:pt x="1353" y="136"/>
                  <a:pt x="1353" y="136"/>
                  <a:pt x="1353" y="136"/>
                </a:cubicBezTo>
                <a:cubicBezTo>
                  <a:pt x="1353" y="117"/>
                  <a:pt x="1337" y="101"/>
                  <a:pt x="1318" y="101"/>
                </a:cubicBezTo>
                <a:cubicBezTo>
                  <a:pt x="1201" y="101"/>
                  <a:pt x="1201" y="101"/>
                  <a:pt x="1201" y="101"/>
                </a:cubicBezTo>
                <a:cubicBezTo>
                  <a:pt x="1201" y="141"/>
                  <a:pt x="1201" y="141"/>
                  <a:pt x="1201" y="141"/>
                </a:cubicBezTo>
                <a:cubicBezTo>
                  <a:pt x="1201" y="149"/>
                  <a:pt x="1194" y="156"/>
                  <a:pt x="1186" y="156"/>
                </a:cubicBezTo>
                <a:cubicBezTo>
                  <a:pt x="1177" y="156"/>
                  <a:pt x="1171" y="149"/>
                  <a:pt x="1171" y="141"/>
                </a:cubicBezTo>
                <a:cubicBezTo>
                  <a:pt x="1171" y="101"/>
                  <a:pt x="1171" y="101"/>
                  <a:pt x="1171" y="101"/>
                </a:cubicBezTo>
                <a:cubicBezTo>
                  <a:pt x="1093" y="101"/>
                  <a:pt x="1093" y="101"/>
                  <a:pt x="1093" y="101"/>
                </a:cubicBezTo>
                <a:cubicBezTo>
                  <a:pt x="1093" y="141"/>
                  <a:pt x="1093" y="141"/>
                  <a:pt x="1093" y="141"/>
                </a:cubicBezTo>
                <a:cubicBezTo>
                  <a:pt x="1093" y="149"/>
                  <a:pt x="1086" y="156"/>
                  <a:pt x="1078" y="156"/>
                </a:cubicBezTo>
                <a:cubicBezTo>
                  <a:pt x="1070" y="156"/>
                  <a:pt x="1063" y="149"/>
                  <a:pt x="1063" y="141"/>
                </a:cubicBezTo>
                <a:cubicBezTo>
                  <a:pt x="1063" y="101"/>
                  <a:pt x="1063" y="101"/>
                  <a:pt x="1063" y="101"/>
                </a:cubicBezTo>
                <a:cubicBezTo>
                  <a:pt x="986" y="101"/>
                  <a:pt x="986" y="101"/>
                  <a:pt x="986" y="101"/>
                </a:cubicBezTo>
                <a:cubicBezTo>
                  <a:pt x="986" y="141"/>
                  <a:pt x="986" y="141"/>
                  <a:pt x="986" y="141"/>
                </a:cubicBezTo>
                <a:cubicBezTo>
                  <a:pt x="986" y="149"/>
                  <a:pt x="979" y="156"/>
                  <a:pt x="970" y="156"/>
                </a:cubicBezTo>
                <a:cubicBezTo>
                  <a:pt x="962" y="156"/>
                  <a:pt x="955" y="149"/>
                  <a:pt x="955" y="141"/>
                </a:cubicBezTo>
                <a:cubicBezTo>
                  <a:pt x="955" y="101"/>
                  <a:pt x="955" y="101"/>
                  <a:pt x="955" y="101"/>
                </a:cubicBezTo>
                <a:cubicBezTo>
                  <a:pt x="878" y="101"/>
                  <a:pt x="878" y="101"/>
                  <a:pt x="878" y="101"/>
                </a:cubicBezTo>
                <a:cubicBezTo>
                  <a:pt x="878" y="141"/>
                  <a:pt x="878" y="141"/>
                  <a:pt x="878" y="141"/>
                </a:cubicBezTo>
                <a:cubicBezTo>
                  <a:pt x="878" y="149"/>
                  <a:pt x="871" y="156"/>
                  <a:pt x="863" y="156"/>
                </a:cubicBezTo>
                <a:cubicBezTo>
                  <a:pt x="855" y="156"/>
                  <a:pt x="848" y="149"/>
                  <a:pt x="848" y="141"/>
                </a:cubicBezTo>
                <a:cubicBezTo>
                  <a:pt x="848" y="101"/>
                  <a:pt x="848" y="101"/>
                  <a:pt x="848" y="101"/>
                </a:cubicBezTo>
                <a:cubicBezTo>
                  <a:pt x="770" y="101"/>
                  <a:pt x="770" y="101"/>
                  <a:pt x="770" y="101"/>
                </a:cubicBezTo>
                <a:cubicBezTo>
                  <a:pt x="770" y="141"/>
                  <a:pt x="770" y="141"/>
                  <a:pt x="770" y="141"/>
                </a:cubicBezTo>
                <a:cubicBezTo>
                  <a:pt x="770" y="149"/>
                  <a:pt x="764" y="156"/>
                  <a:pt x="755" y="156"/>
                </a:cubicBezTo>
                <a:cubicBezTo>
                  <a:pt x="747" y="156"/>
                  <a:pt x="740" y="149"/>
                  <a:pt x="740" y="141"/>
                </a:cubicBezTo>
                <a:cubicBezTo>
                  <a:pt x="740" y="101"/>
                  <a:pt x="740" y="101"/>
                  <a:pt x="740" y="101"/>
                </a:cubicBezTo>
                <a:cubicBezTo>
                  <a:pt x="663" y="101"/>
                  <a:pt x="663" y="101"/>
                  <a:pt x="663" y="101"/>
                </a:cubicBezTo>
                <a:cubicBezTo>
                  <a:pt x="663" y="141"/>
                  <a:pt x="663" y="141"/>
                  <a:pt x="663" y="141"/>
                </a:cubicBezTo>
                <a:cubicBezTo>
                  <a:pt x="663" y="149"/>
                  <a:pt x="656" y="156"/>
                  <a:pt x="648" y="156"/>
                </a:cubicBezTo>
                <a:cubicBezTo>
                  <a:pt x="639" y="156"/>
                  <a:pt x="633" y="149"/>
                  <a:pt x="633" y="141"/>
                </a:cubicBezTo>
                <a:cubicBezTo>
                  <a:pt x="633" y="101"/>
                  <a:pt x="633" y="101"/>
                  <a:pt x="633" y="101"/>
                </a:cubicBezTo>
                <a:cubicBezTo>
                  <a:pt x="555" y="101"/>
                  <a:pt x="555" y="101"/>
                  <a:pt x="555" y="101"/>
                </a:cubicBezTo>
                <a:cubicBezTo>
                  <a:pt x="555" y="141"/>
                  <a:pt x="555" y="141"/>
                  <a:pt x="555" y="141"/>
                </a:cubicBezTo>
                <a:cubicBezTo>
                  <a:pt x="555" y="149"/>
                  <a:pt x="548" y="156"/>
                  <a:pt x="540" y="156"/>
                </a:cubicBezTo>
                <a:cubicBezTo>
                  <a:pt x="532" y="156"/>
                  <a:pt x="525" y="149"/>
                  <a:pt x="525" y="141"/>
                </a:cubicBezTo>
                <a:cubicBezTo>
                  <a:pt x="525" y="101"/>
                  <a:pt x="525" y="101"/>
                  <a:pt x="525" y="101"/>
                </a:cubicBezTo>
                <a:cubicBezTo>
                  <a:pt x="429" y="101"/>
                  <a:pt x="429" y="101"/>
                  <a:pt x="429" y="101"/>
                </a:cubicBezTo>
                <a:cubicBezTo>
                  <a:pt x="409" y="101"/>
                  <a:pt x="393" y="117"/>
                  <a:pt x="393" y="136"/>
                </a:cubicBezTo>
                <a:cubicBezTo>
                  <a:pt x="393" y="339"/>
                  <a:pt x="393" y="339"/>
                  <a:pt x="393" y="339"/>
                </a:cubicBezTo>
                <a:cubicBezTo>
                  <a:pt x="393" y="348"/>
                  <a:pt x="386" y="354"/>
                  <a:pt x="378" y="354"/>
                </a:cubicBezTo>
                <a:cubicBezTo>
                  <a:pt x="370" y="354"/>
                  <a:pt x="363" y="348"/>
                  <a:pt x="363" y="339"/>
                </a:cubicBezTo>
                <a:cubicBezTo>
                  <a:pt x="363" y="136"/>
                  <a:pt x="363" y="136"/>
                  <a:pt x="363" y="136"/>
                </a:cubicBezTo>
                <a:cubicBezTo>
                  <a:pt x="363" y="100"/>
                  <a:pt x="392" y="71"/>
                  <a:pt x="429" y="71"/>
                </a:cubicBezTo>
                <a:cubicBezTo>
                  <a:pt x="525" y="71"/>
                  <a:pt x="525" y="71"/>
                  <a:pt x="525" y="71"/>
                </a:cubicBezTo>
                <a:cubicBezTo>
                  <a:pt x="525" y="15"/>
                  <a:pt x="525" y="15"/>
                  <a:pt x="525" y="15"/>
                </a:cubicBezTo>
                <a:cubicBezTo>
                  <a:pt x="525" y="6"/>
                  <a:pt x="532" y="0"/>
                  <a:pt x="540" y="0"/>
                </a:cubicBezTo>
                <a:cubicBezTo>
                  <a:pt x="548" y="0"/>
                  <a:pt x="555" y="6"/>
                  <a:pt x="555" y="15"/>
                </a:cubicBezTo>
                <a:cubicBezTo>
                  <a:pt x="555" y="71"/>
                  <a:pt x="555" y="71"/>
                  <a:pt x="555" y="71"/>
                </a:cubicBezTo>
                <a:cubicBezTo>
                  <a:pt x="633" y="71"/>
                  <a:pt x="633" y="71"/>
                  <a:pt x="633" y="71"/>
                </a:cubicBezTo>
                <a:cubicBezTo>
                  <a:pt x="633" y="15"/>
                  <a:pt x="633" y="15"/>
                  <a:pt x="633" y="15"/>
                </a:cubicBezTo>
                <a:cubicBezTo>
                  <a:pt x="633" y="6"/>
                  <a:pt x="639" y="0"/>
                  <a:pt x="648" y="0"/>
                </a:cubicBezTo>
                <a:cubicBezTo>
                  <a:pt x="656" y="0"/>
                  <a:pt x="663" y="6"/>
                  <a:pt x="663" y="15"/>
                </a:cubicBezTo>
                <a:cubicBezTo>
                  <a:pt x="663" y="71"/>
                  <a:pt x="663" y="71"/>
                  <a:pt x="663" y="71"/>
                </a:cubicBezTo>
                <a:cubicBezTo>
                  <a:pt x="740" y="71"/>
                  <a:pt x="740" y="71"/>
                  <a:pt x="740" y="71"/>
                </a:cubicBezTo>
                <a:cubicBezTo>
                  <a:pt x="740" y="15"/>
                  <a:pt x="740" y="15"/>
                  <a:pt x="740" y="15"/>
                </a:cubicBezTo>
                <a:cubicBezTo>
                  <a:pt x="740" y="6"/>
                  <a:pt x="747" y="0"/>
                  <a:pt x="755" y="0"/>
                </a:cubicBezTo>
                <a:cubicBezTo>
                  <a:pt x="764" y="0"/>
                  <a:pt x="770" y="6"/>
                  <a:pt x="770" y="15"/>
                </a:cubicBezTo>
                <a:cubicBezTo>
                  <a:pt x="770" y="71"/>
                  <a:pt x="770" y="71"/>
                  <a:pt x="770" y="71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48" y="15"/>
                  <a:pt x="848" y="15"/>
                  <a:pt x="848" y="15"/>
                </a:cubicBezTo>
                <a:cubicBezTo>
                  <a:pt x="848" y="6"/>
                  <a:pt x="855" y="0"/>
                  <a:pt x="863" y="0"/>
                </a:cubicBezTo>
                <a:cubicBezTo>
                  <a:pt x="871" y="0"/>
                  <a:pt x="878" y="6"/>
                  <a:pt x="878" y="15"/>
                </a:cubicBezTo>
                <a:cubicBezTo>
                  <a:pt x="878" y="71"/>
                  <a:pt x="878" y="71"/>
                  <a:pt x="878" y="71"/>
                </a:cubicBezTo>
                <a:cubicBezTo>
                  <a:pt x="955" y="71"/>
                  <a:pt x="955" y="71"/>
                  <a:pt x="955" y="71"/>
                </a:cubicBezTo>
                <a:cubicBezTo>
                  <a:pt x="955" y="15"/>
                  <a:pt x="955" y="15"/>
                  <a:pt x="955" y="15"/>
                </a:cubicBezTo>
                <a:cubicBezTo>
                  <a:pt x="955" y="6"/>
                  <a:pt x="962" y="0"/>
                  <a:pt x="970" y="0"/>
                </a:cubicBezTo>
                <a:cubicBezTo>
                  <a:pt x="979" y="0"/>
                  <a:pt x="986" y="6"/>
                  <a:pt x="986" y="15"/>
                </a:cubicBezTo>
                <a:cubicBezTo>
                  <a:pt x="986" y="71"/>
                  <a:pt x="986" y="71"/>
                  <a:pt x="986" y="71"/>
                </a:cubicBezTo>
                <a:cubicBezTo>
                  <a:pt x="1063" y="71"/>
                  <a:pt x="1063" y="71"/>
                  <a:pt x="1063" y="71"/>
                </a:cubicBezTo>
                <a:cubicBezTo>
                  <a:pt x="1063" y="15"/>
                  <a:pt x="1063" y="15"/>
                  <a:pt x="1063" y="15"/>
                </a:cubicBezTo>
                <a:cubicBezTo>
                  <a:pt x="1063" y="6"/>
                  <a:pt x="1070" y="0"/>
                  <a:pt x="1078" y="0"/>
                </a:cubicBezTo>
                <a:cubicBezTo>
                  <a:pt x="1086" y="0"/>
                  <a:pt x="1093" y="6"/>
                  <a:pt x="1093" y="15"/>
                </a:cubicBezTo>
                <a:cubicBezTo>
                  <a:pt x="1093" y="71"/>
                  <a:pt x="1093" y="71"/>
                  <a:pt x="1093" y="71"/>
                </a:cubicBezTo>
                <a:cubicBezTo>
                  <a:pt x="1171" y="71"/>
                  <a:pt x="1171" y="71"/>
                  <a:pt x="1171" y="71"/>
                </a:cubicBezTo>
                <a:cubicBezTo>
                  <a:pt x="1171" y="15"/>
                  <a:pt x="1171" y="15"/>
                  <a:pt x="1171" y="15"/>
                </a:cubicBezTo>
                <a:cubicBezTo>
                  <a:pt x="1171" y="6"/>
                  <a:pt x="1177" y="0"/>
                  <a:pt x="1186" y="0"/>
                </a:cubicBezTo>
                <a:cubicBezTo>
                  <a:pt x="1194" y="0"/>
                  <a:pt x="1201" y="6"/>
                  <a:pt x="1201" y="15"/>
                </a:cubicBezTo>
                <a:cubicBezTo>
                  <a:pt x="1201" y="71"/>
                  <a:pt x="1201" y="71"/>
                  <a:pt x="1201" y="71"/>
                </a:cubicBezTo>
                <a:cubicBezTo>
                  <a:pt x="1318" y="71"/>
                  <a:pt x="1318" y="71"/>
                  <a:pt x="1318" y="71"/>
                </a:cubicBezTo>
                <a:cubicBezTo>
                  <a:pt x="1354" y="71"/>
                  <a:pt x="1383" y="100"/>
                  <a:pt x="1383" y="136"/>
                </a:cubicBezTo>
                <a:cubicBezTo>
                  <a:pt x="1383" y="193"/>
                  <a:pt x="1383" y="193"/>
                  <a:pt x="1383" y="193"/>
                </a:cubicBezTo>
                <a:cubicBezTo>
                  <a:pt x="1416" y="193"/>
                  <a:pt x="1416" y="193"/>
                  <a:pt x="1416" y="193"/>
                </a:cubicBezTo>
                <a:cubicBezTo>
                  <a:pt x="1452" y="193"/>
                  <a:pt x="1481" y="223"/>
                  <a:pt x="1481" y="259"/>
                </a:cubicBezTo>
                <a:close/>
                <a:moveTo>
                  <a:pt x="1451" y="259"/>
                </a:moveTo>
                <a:cubicBezTo>
                  <a:pt x="1451" y="240"/>
                  <a:pt x="1435" y="224"/>
                  <a:pt x="1416" y="224"/>
                </a:cubicBezTo>
                <a:cubicBezTo>
                  <a:pt x="1383" y="224"/>
                  <a:pt x="1383" y="224"/>
                  <a:pt x="1383" y="224"/>
                </a:cubicBezTo>
                <a:cubicBezTo>
                  <a:pt x="1383" y="1356"/>
                  <a:pt x="1383" y="1356"/>
                  <a:pt x="1383" y="1356"/>
                </a:cubicBezTo>
                <a:cubicBezTo>
                  <a:pt x="1383" y="1392"/>
                  <a:pt x="1354" y="1421"/>
                  <a:pt x="1318" y="1421"/>
                </a:cubicBezTo>
                <a:cubicBezTo>
                  <a:pt x="517" y="1421"/>
                  <a:pt x="517" y="1421"/>
                  <a:pt x="517" y="1421"/>
                </a:cubicBezTo>
                <a:cubicBezTo>
                  <a:pt x="517" y="1453"/>
                  <a:pt x="517" y="1453"/>
                  <a:pt x="517" y="1453"/>
                </a:cubicBezTo>
                <a:cubicBezTo>
                  <a:pt x="517" y="1473"/>
                  <a:pt x="533" y="1488"/>
                  <a:pt x="552" y="1488"/>
                </a:cubicBezTo>
                <a:cubicBezTo>
                  <a:pt x="1416" y="1488"/>
                  <a:pt x="1416" y="1488"/>
                  <a:pt x="1416" y="1488"/>
                </a:cubicBezTo>
                <a:cubicBezTo>
                  <a:pt x="1435" y="1488"/>
                  <a:pt x="1451" y="1473"/>
                  <a:pt x="1451" y="1453"/>
                </a:cubicBezTo>
                <a:lnTo>
                  <a:pt x="1451" y="259"/>
                </a:lnTo>
                <a:close/>
                <a:moveTo>
                  <a:pt x="1061" y="867"/>
                </a:moveTo>
                <a:cubicBezTo>
                  <a:pt x="1069" y="867"/>
                  <a:pt x="1076" y="873"/>
                  <a:pt x="1076" y="882"/>
                </a:cubicBezTo>
                <a:cubicBezTo>
                  <a:pt x="1076" y="1301"/>
                  <a:pt x="1076" y="1301"/>
                  <a:pt x="1076" y="1301"/>
                </a:cubicBezTo>
                <a:cubicBezTo>
                  <a:pt x="1076" y="1309"/>
                  <a:pt x="1069" y="1316"/>
                  <a:pt x="1061" y="1316"/>
                </a:cubicBezTo>
                <a:cubicBezTo>
                  <a:pt x="951" y="1316"/>
                  <a:pt x="951" y="1316"/>
                  <a:pt x="951" y="1316"/>
                </a:cubicBezTo>
                <a:cubicBezTo>
                  <a:pt x="942" y="1316"/>
                  <a:pt x="936" y="1309"/>
                  <a:pt x="936" y="1301"/>
                </a:cubicBezTo>
                <a:cubicBezTo>
                  <a:pt x="936" y="882"/>
                  <a:pt x="936" y="882"/>
                  <a:pt x="936" y="882"/>
                </a:cubicBezTo>
                <a:cubicBezTo>
                  <a:pt x="936" y="873"/>
                  <a:pt x="942" y="867"/>
                  <a:pt x="951" y="867"/>
                </a:cubicBezTo>
                <a:lnTo>
                  <a:pt x="1061" y="867"/>
                </a:lnTo>
                <a:close/>
                <a:moveTo>
                  <a:pt x="1046" y="897"/>
                </a:moveTo>
                <a:cubicBezTo>
                  <a:pt x="966" y="897"/>
                  <a:pt x="966" y="897"/>
                  <a:pt x="966" y="897"/>
                </a:cubicBezTo>
                <a:cubicBezTo>
                  <a:pt x="966" y="1286"/>
                  <a:pt x="966" y="1286"/>
                  <a:pt x="966" y="1286"/>
                </a:cubicBezTo>
                <a:cubicBezTo>
                  <a:pt x="1046" y="1286"/>
                  <a:pt x="1046" y="1286"/>
                  <a:pt x="1046" y="1286"/>
                </a:cubicBezTo>
                <a:lnTo>
                  <a:pt x="1046" y="897"/>
                </a:lnTo>
                <a:close/>
                <a:moveTo>
                  <a:pt x="877" y="993"/>
                </a:moveTo>
                <a:cubicBezTo>
                  <a:pt x="886" y="993"/>
                  <a:pt x="892" y="1000"/>
                  <a:pt x="892" y="1008"/>
                </a:cubicBezTo>
                <a:cubicBezTo>
                  <a:pt x="892" y="1301"/>
                  <a:pt x="892" y="1301"/>
                  <a:pt x="892" y="1301"/>
                </a:cubicBezTo>
                <a:cubicBezTo>
                  <a:pt x="892" y="1309"/>
                  <a:pt x="886" y="1316"/>
                  <a:pt x="877" y="1316"/>
                </a:cubicBezTo>
                <a:cubicBezTo>
                  <a:pt x="768" y="1316"/>
                  <a:pt x="768" y="1316"/>
                  <a:pt x="768" y="1316"/>
                </a:cubicBezTo>
                <a:cubicBezTo>
                  <a:pt x="759" y="1316"/>
                  <a:pt x="752" y="1309"/>
                  <a:pt x="752" y="1301"/>
                </a:cubicBezTo>
                <a:cubicBezTo>
                  <a:pt x="752" y="1008"/>
                  <a:pt x="752" y="1008"/>
                  <a:pt x="752" y="1008"/>
                </a:cubicBezTo>
                <a:cubicBezTo>
                  <a:pt x="752" y="1000"/>
                  <a:pt x="759" y="993"/>
                  <a:pt x="768" y="993"/>
                </a:cubicBezTo>
                <a:lnTo>
                  <a:pt x="877" y="993"/>
                </a:lnTo>
                <a:close/>
                <a:moveTo>
                  <a:pt x="862" y="1023"/>
                </a:moveTo>
                <a:cubicBezTo>
                  <a:pt x="783" y="1023"/>
                  <a:pt x="783" y="1023"/>
                  <a:pt x="783" y="1023"/>
                </a:cubicBezTo>
                <a:cubicBezTo>
                  <a:pt x="783" y="1286"/>
                  <a:pt x="783" y="1286"/>
                  <a:pt x="783" y="1286"/>
                </a:cubicBezTo>
                <a:cubicBezTo>
                  <a:pt x="862" y="1286"/>
                  <a:pt x="862" y="1286"/>
                  <a:pt x="862" y="1286"/>
                </a:cubicBezTo>
                <a:lnTo>
                  <a:pt x="862" y="1023"/>
                </a:lnTo>
                <a:close/>
                <a:moveTo>
                  <a:pt x="1244" y="766"/>
                </a:moveTo>
                <a:cubicBezTo>
                  <a:pt x="1252" y="766"/>
                  <a:pt x="1259" y="773"/>
                  <a:pt x="1259" y="781"/>
                </a:cubicBezTo>
                <a:cubicBezTo>
                  <a:pt x="1259" y="1301"/>
                  <a:pt x="1259" y="1301"/>
                  <a:pt x="1259" y="1301"/>
                </a:cubicBezTo>
                <a:cubicBezTo>
                  <a:pt x="1259" y="1309"/>
                  <a:pt x="1252" y="1316"/>
                  <a:pt x="1244" y="1316"/>
                </a:cubicBezTo>
                <a:cubicBezTo>
                  <a:pt x="1134" y="1316"/>
                  <a:pt x="1134" y="1316"/>
                  <a:pt x="1134" y="1316"/>
                </a:cubicBezTo>
                <a:cubicBezTo>
                  <a:pt x="1126" y="1316"/>
                  <a:pt x="1119" y="1309"/>
                  <a:pt x="1119" y="1301"/>
                </a:cubicBezTo>
                <a:cubicBezTo>
                  <a:pt x="1119" y="781"/>
                  <a:pt x="1119" y="781"/>
                  <a:pt x="1119" y="781"/>
                </a:cubicBezTo>
                <a:cubicBezTo>
                  <a:pt x="1119" y="773"/>
                  <a:pt x="1126" y="766"/>
                  <a:pt x="1134" y="766"/>
                </a:cubicBezTo>
                <a:lnTo>
                  <a:pt x="1244" y="766"/>
                </a:lnTo>
                <a:close/>
                <a:moveTo>
                  <a:pt x="1229" y="796"/>
                </a:moveTo>
                <a:cubicBezTo>
                  <a:pt x="1149" y="796"/>
                  <a:pt x="1149" y="796"/>
                  <a:pt x="1149" y="796"/>
                </a:cubicBezTo>
                <a:cubicBezTo>
                  <a:pt x="1149" y="1286"/>
                  <a:pt x="1149" y="1286"/>
                  <a:pt x="1149" y="1286"/>
                </a:cubicBezTo>
                <a:cubicBezTo>
                  <a:pt x="1229" y="1286"/>
                  <a:pt x="1229" y="1286"/>
                  <a:pt x="1229" y="1286"/>
                </a:cubicBezTo>
                <a:lnTo>
                  <a:pt x="1229" y="796"/>
                </a:lnTo>
                <a:close/>
                <a:moveTo>
                  <a:pt x="1265" y="578"/>
                </a:moveTo>
                <a:cubicBezTo>
                  <a:pt x="1265" y="632"/>
                  <a:pt x="1221" y="676"/>
                  <a:pt x="1167" y="676"/>
                </a:cubicBezTo>
                <a:cubicBezTo>
                  <a:pt x="1113" y="676"/>
                  <a:pt x="1069" y="632"/>
                  <a:pt x="1069" y="578"/>
                </a:cubicBezTo>
                <a:cubicBezTo>
                  <a:pt x="1069" y="523"/>
                  <a:pt x="1113" y="479"/>
                  <a:pt x="1167" y="479"/>
                </a:cubicBezTo>
                <a:cubicBezTo>
                  <a:pt x="1221" y="479"/>
                  <a:pt x="1265" y="523"/>
                  <a:pt x="1265" y="578"/>
                </a:cubicBezTo>
                <a:close/>
                <a:moveTo>
                  <a:pt x="1235" y="578"/>
                </a:moveTo>
                <a:cubicBezTo>
                  <a:pt x="1235" y="540"/>
                  <a:pt x="1204" y="510"/>
                  <a:pt x="1167" y="510"/>
                </a:cubicBezTo>
                <a:cubicBezTo>
                  <a:pt x="1129" y="510"/>
                  <a:pt x="1099" y="540"/>
                  <a:pt x="1099" y="578"/>
                </a:cubicBezTo>
                <a:cubicBezTo>
                  <a:pt x="1099" y="615"/>
                  <a:pt x="1129" y="645"/>
                  <a:pt x="1167" y="645"/>
                </a:cubicBezTo>
                <a:cubicBezTo>
                  <a:pt x="1204" y="645"/>
                  <a:pt x="1235" y="615"/>
                  <a:pt x="1235" y="57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30" name="Freeform 21"/>
          <p:cNvSpPr>
            <a:spLocks noEditPoints="1"/>
          </p:cNvSpPr>
          <p:nvPr/>
        </p:nvSpPr>
        <p:spPr bwMode="auto">
          <a:xfrm>
            <a:off x="4148957" y="2109430"/>
            <a:ext cx="292234" cy="440300"/>
          </a:xfrm>
          <a:custGeom>
            <a:avLst/>
            <a:gdLst>
              <a:gd name="T0" fmla="*/ 536 w 1291"/>
              <a:gd name="T1" fmla="*/ 535 h 1950"/>
              <a:gd name="T2" fmla="*/ 451 w 1291"/>
              <a:gd name="T3" fmla="*/ 833 h 1950"/>
              <a:gd name="T4" fmla="*/ 750 w 1291"/>
              <a:gd name="T5" fmla="*/ 918 h 1950"/>
              <a:gd name="T6" fmla="*/ 834 w 1291"/>
              <a:gd name="T7" fmla="*/ 619 h 1950"/>
              <a:gd name="T8" fmla="*/ 593 w 1291"/>
              <a:gd name="T9" fmla="*/ 902 h 1950"/>
              <a:gd name="T10" fmla="*/ 468 w 1291"/>
              <a:gd name="T11" fmla="*/ 676 h 1950"/>
              <a:gd name="T12" fmla="*/ 693 w 1291"/>
              <a:gd name="T13" fmla="*/ 551 h 1950"/>
              <a:gd name="T14" fmla="*/ 818 w 1291"/>
              <a:gd name="T15" fmla="*/ 776 h 1950"/>
              <a:gd name="T16" fmla="*/ 944 w 1291"/>
              <a:gd name="T17" fmla="*/ 558 h 1950"/>
              <a:gd name="T18" fmla="*/ 811 w 1291"/>
              <a:gd name="T19" fmla="*/ 425 h 1950"/>
              <a:gd name="T20" fmla="*/ 688 w 1291"/>
              <a:gd name="T21" fmla="*/ 306 h 1950"/>
              <a:gd name="T22" fmla="*/ 475 w 1291"/>
              <a:gd name="T23" fmla="*/ 425 h 1950"/>
              <a:gd name="T24" fmla="*/ 300 w 1291"/>
              <a:gd name="T25" fmla="*/ 495 h 1950"/>
              <a:gd name="T26" fmla="*/ 311 w 1291"/>
              <a:gd name="T27" fmla="*/ 632 h 1950"/>
              <a:gd name="T28" fmla="*/ 311 w 1291"/>
              <a:gd name="T29" fmla="*/ 820 h 1950"/>
              <a:gd name="T30" fmla="*/ 300 w 1291"/>
              <a:gd name="T31" fmla="*/ 957 h 1950"/>
              <a:gd name="T32" fmla="*/ 475 w 1291"/>
              <a:gd name="T33" fmla="*/ 1027 h 1950"/>
              <a:gd name="T34" fmla="*/ 688 w 1291"/>
              <a:gd name="T35" fmla="*/ 1146 h 1950"/>
              <a:gd name="T36" fmla="*/ 811 w 1291"/>
              <a:gd name="T37" fmla="*/ 1027 h 1950"/>
              <a:gd name="T38" fmla="*/ 944 w 1291"/>
              <a:gd name="T39" fmla="*/ 895 h 1950"/>
              <a:gd name="T40" fmla="*/ 1063 w 1291"/>
              <a:gd name="T41" fmla="*/ 771 h 1950"/>
              <a:gd name="T42" fmla="*/ 946 w 1291"/>
              <a:gd name="T43" fmla="*/ 783 h 1950"/>
              <a:gd name="T44" fmla="*/ 897 w 1291"/>
              <a:gd name="T45" fmla="*/ 900 h 1950"/>
              <a:gd name="T46" fmla="*/ 817 w 1291"/>
              <a:gd name="T47" fmla="*/ 981 h 1950"/>
              <a:gd name="T48" fmla="*/ 700 w 1291"/>
              <a:gd name="T49" fmla="*/ 1029 h 1950"/>
              <a:gd name="T50" fmla="*/ 586 w 1291"/>
              <a:gd name="T51" fmla="*/ 1029 h 1950"/>
              <a:gd name="T52" fmla="*/ 469 w 1291"/>
              <a:gd name="T53" fmla="*/ 981 h 1950"/>
              <a:gd name="T54" fmla="*/ 340 w 1291"/>
              <a:gd name="T55" fmla="*/ 948 h 1950"/>
              <a:gd name="T56" fmla="*/ 344 w 1291"/>
              <a:gd name="T57" fmla="*/ 797 h 1950"/>
              <a:gd name="T58" fmla="*/ 272 w 1291"/>
              <a:gd name="T59" fmla="*/ 669 h 1950"/>
              <a:gd name="T60" fmla="*/ 374 w 1291"/>
              <a:gd name="T61" fmla="*/ 576 h 1950"/>
              <a:gd name="T62" fmla="*/ 340 w 1291"/>
              <a:gd name="T63" fmla="*/ 487 h 1950"/>
              <a:gd name="T64" fmla="*/ 493 w 1291"/>
              <a:gd name="T65" fmla="*/ 457 h 1950"/>
              <a:gd name="T66" fmla="*/ 598 w 1291"/>
              <a:gd name="T67" fmla="*/ 343 h 1950"/>
              <a:gd name="T68" fmla="*/ 717 w 1291"/>
              <a:gd name="T69" fmla="*/ 428 h 1950"/>
              <a:gd name="T70" fmla="*/ 865 w 1291"/>
              <a:gd name="T71" fmla="*/ 424 h 1950"/>
              <a:gd name="T72" fmla="*/ 907 w 1291"/>
              <a:gd name="T73" fmla="*/ 568 h 1950"/>
              <a:gd name="T74" fmla="*/ 1014 w 1291"/>
              <a:gd name="T75" fmla="*/ 669 h 1950"/>
              <a:gd name="T76" fmla="*/ 203 w 1291"/>
              <a:gd name="T77" fmla="*/ 182 h 1950"/>
              <a:gd name="T78" fmla="*/ 120 w 1291"/>
              <a:gd name="T79" fmla="*/ 1021 h 1950"/>
              <a:gd name="T80" fmla="*/ 369 w 1291"/>
              <a:gd name="T81" fmla="*/ 1648 h 1950"/>
              <a:gd name="T82" fmla="*/ 532 w 1291"/>
              <a:gd name="T83" fmla="*/ 1950 h 1950"/>
              <a:gd name="T84" fmla="*/ 908 w 1291"/>
              <a:gd name="T85" fmla="*/ 1712 h 1950"/>
              <a:gd name="T86" fmla="*/ 1017 w 1291"/>
              <a:gd name="T87" fmla="*/ 1284 h 1950"/>
              <a:gd name="T88" fmla="*/ 1224 w 1291"/>
              <a:gd name="T89" fmla="*/ 902 h 1950"/>
              <a:gd name="T90" fmla="*/ 745 w 1291"/>
              <a:gd name="T91" fmla="*/ 1913 h 1950"/>
              <a:gd name="T92" fmla="*/ 871 w 1291"/>
              <a:gd name="T93" fmla="*/ 1769 h 1950"/>
              <a:gd name="T94" fmla="*/ 871 w 1291"/>
              <a:gd name="T95" fmla="*/ 1749 h 1950"/>
              <a:gd name="T96" fmla="*/ 871 w 1291"/>
              <a:gd name="T97" fmla="*/ 1648 h 1950"/>
              <a:gd name="T98" fmla="*/ 406 w 1291"/>
              <a:gd name="T99" fmla="*/ 1548 h 1950"/>
              <a:gd name="T100" fmla="*/ 1191 w 1291"/>
              <a:gd name="T101" fmla="*/ 887 h 1950"/>
              <a:gd name="T102" fmla="*/ 858 w 1291"/>
              <a:gd name="T103" fmla="*/ 1511 h 1950"/>
              <a:gd name="T104" fmla="*/ 86 w 1291"/>
              <a:gd name="T105" fmla="*/ 887 h 1950"/>
              <a:gd name="T106" fmla="*/ 1223 w 1291"/>
              <a:gd name="T107" fmla="*/ 507 h 19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91" h="1950">
                <a:moveTo>
                  <a:pt x="834" y="619"/>
                </a:moveTo>
                <a:cubicBezTo>
                  <a:pt x="814" y="584"/>
                  <a:pt x="785" y="555"/>
                  <a:pt x="750" y="535"/>
                </a:cubicBezTo>
                <a:cubicBezTo>
                  <a:pt x="734" y="526"/>
                  <a:pt x="719" y="520"/>
                  <a:pt x="703" y="515"/>
                </a:cubicBezTo>
                <a:cubicBezTo>
                  <a:pt x="664" y="504"/>
                  <a:pt x="622" y="504"/>
                  <a:pt x="583" y="515"/>
                </a:cubicBezTo>
                <a:cubicBezTo>
                  <a:pt x="567" y="520"/>
                  <a:pt x="551" y="526"/>
                  <a:pt x="536" y="535"/>
                </a:cubicBezTo>
                <a:cubicBezTo>
                  <a:pt x="500" y="555"/>
                  <a:pt x="471" y="584"/>
                  <a:pt x="451" y="619"/>
                </a:cubicBezTo>
                <a:cubicBezTo>
                  <a:pt x="443" y="635"/>
                  <a:pt x="436" y="651"/>
                  <a:pt x="432" y="666"/>
                </a:cubicBezTo>
                <a:cubicBezTo>
                  <a:pt x="426" y="686"/>
                  <a:pt x="424" y="706"/>
                  <a:pt x="424" y="726"/>
                </a:cubicBezTo>
                <a:cubicBezTo>
                  <a:pt x="424" y="747"/>
                  <a:pt x="426" y="767"/>
                  <a:pt x="432" y="786"/>
                </a:cubicBezTo>
                <a:cubicBezTo>
                  <a:pt x="436" y="802"/>
                  <a:pt x="443" y="818"/>
                  <a:pt x="451" y="833"/>
                </a:cubicBezTo>
                <a:cubicBezTo>
                  <a:pt x="471" y="869"/>
                  <a:pt x="500" y="898"/>
                  <a:pt x="536" y="918"/>
                </a:cubicBezTo>
                <a:cubicBezTo>
                  <a:pt x="551" y="926"/>
                  <a:pt x="567" y="933"/>
                  <a:pt x="583" y="937"/>
                </a:cubicBezTo>
                <a:cubicBezTo>
                  <a:pt x="602" y="943"/>
                  <a:pt x="623" y="946"/>
                  <a:pt x="643" y="946"/>
                </a:cubicBezTo>
                <a:cubicBezTo>
                  <a:pt x="663" y="946"/>
                  <a:pt x="683" y="943"/>
                  <a:pt x="703" y="937"/>
                </a:cubicBezTo>
                <a:cubicBezTo>
                  <a:pt x="719" y="933"/>
                  <a:pt x="735" y="926"/>
                  <a:pt x="750" y="918"/>
                </a:cubicBezTo>
                <a:cubicBezTo>
                  <a:pt x="785" y="898"/>
                  <a:pt x="814" y="869"/>
                  <a:pt x="834" y="833"/>
                </a:cubicBezTo>
                <a:cubicBezTo>
                  <a:pt x="843" y="818"/>
                  <a:pt x="849" y="802"/>
                  <a:pt x="854" y="786"/>
                </a:cubicBezTo>
                <a:cubicBezTo>
                  <a:pt x="859" y="767"/>
                  <a:pt x="862" y="747"/>
                  <a:pt x="862" y="726"/>
                </a:cubicBezTo>
                <a:cubicBezTo>
                  <a:pt x="862" y="706"/>
                  <a:pt x="859" y="686"/>
                  <a:pt x="854" y="667"/>
                </a:cubicBezTo>
                <a:cubicBezTo>
                  <a:pt x="849" y="650"/>
                  <a:pt x="843" y="634"/>
                  <a:pt x="834" y="619"/>
                </a:cubicBezTo>
                <a:close/>
                <a:moveTo>
                  <a:pt x="818" y="776"/>
                </a:moveTo>
                <a:cubicBezTo>
                  <a:pt x="815" y="790"/>
                  <a:pt x="809" y="803"/>
                  <a:pt x="802" y="815"/>
                </a:cubicBezTo>
                <a:cubicBezTo>
                  <a:pt x="786" y="845"/>
                  <a:pt x="761" y="869"/>
                  <a:pt x="732" y="886"/>
                </a:cubicBezTo>
                <a:cubicBezTo>
                  <a:pt x="719" y="893"/>
                  <a:pt x="706" y="898"/>
                  <a:pt x="693" y="902"/>
                </a:cubicBezTo>
                <a:cubicBezTo>
                  <a:pt x="660" y="911"/>
                  <a:pt x="626" y="911"/>
                  <a:pt x="593" y="902"/>
                </a:cubicBezTo>
                <a:cubicBezTo>
                  <a:pt x="580" y="898"/>
                  <a:pt x="566" y="893"/>
                  <a:pt x="554" y="886"/>
                </a:cubicBezTo>
                <a:cubicBezTo>
                  <a:pt x="524" y="869"/>
                  <a:pt x="500" y="845"/>
                  <a:pt x="484" y="815"/>
                </a:cubicBezTo>
                <a:cubicBezTo>
                  <a:pt x="477" y="802"/>
                  <a:pt x="471" y="789"/>
                  <a:pt x="467" y="776"/>
                </a:cubicBezTo>
                <a:cubicBezTo>
                  <a:pt x="463" y="760"/>
                  <a:pt x="460" y="743"/>
                  <a:pt x="460" y="726"/>
                </a:cubicBezTo>
                <a:cubicBezTo>
                  <a:pt x="460" y="709"/>
                  <a:pt x="463" y="693"/>
                  <a:pt x="468" y="676"/>
                </a:cubicBezTo>
                <a:cubicBezTo>
                  <a:pt x="471" y="663"/>
                  <a:pt x="477" y="650"/>
                  <a:pt x="484" y="637"/>
                </a:cubicBezTo>
                <a:cubicBezTo>
                  <a:pt x="500" y="608"/>
                  <a:pt x="524" y="583"/>
                  <a:pt x="554" y="567"/>
                </a:cubicBezTo>
                <a:cubicBezTo>
                  <a:pt x="566" y="560"/>
                  <a:pt x="580" y="555"/>
                  <a:pt x="593" y="551"/>
                </a:cubicBezTo>
                <a:cubicBezTo>
                  <a:pt x="609" y="546"/>
                  <a:pt x="626" y="544"/>
                  <a:pt x="643" y="544"/>
                </a:cubicBezTo>
                <a:cubicBezTo>
                  <a:pt x="660" y="544"/>
                  <a:pt x="677" y="546"/>
                  <a:pt x="693" y="551"/>
                </a:cubicBezTo>
                <a:cubicBezTo>
                  <a:pt x="706" y="554"/>
                  <a:pt x="719" y="560"/>
                  <a:pt x="732" y="567"/>
                </a:cubicBezTo>
                <a:cubicBezTo>
                  <a:pt x="761" y="583"/>
                  <a:pt x="786" y="608"/>
                  <a:pt x="802" y="637"/>
                </a:cubicBezTo>
                <a:cubicBezTo>
                  <a:pt x="809" y="650"/>
                  <a:pt x="815" y="663"/>
                  <a:pt x="818" y="677"/>
                </a:cubicBezTo>
                <a:cubicBezTo>
                  <a:pt x="823" y="693"/>
                  <a:pt x="825" y="709"/>
                  <a:pt x="825" y="726"/>
                </a:cubicBezTo>
                <a:cubicBezTo>
                  <a:pt x="825" y="743"/>
                  <a:pt x="823" y="760"/>
                  <a:pt x="818" y="776"/>
                </a:cubicBezTo>
                <a:close/>
                <a:moveTo>
                  <a:pt x="1014" y="632"/>
                </a:moveTo>
                <a:cubicBezTo>
                  <a:pt x="975" y="632"/>
                  <a:pt x="975" y="632"/>
                  <a:pt x="975" y="632"/>
                </a:cubicBezTo>
                <a:cubicBezTo>
                  <a:pt x="975" y="632"/>
                  <a:pt x="974" y="632"/>
                  <a:pt x="974" y="632"/>
                </a:cubicBezTo>
                <a:cubicBezTo>
                  <a:pt x="967" y="607"/>
                  <a:pt x="957" y="582"/>
                  <a:pt x="944" y="558"/>
                </a:cubicBezTo>
                <a:cubicBezTo>
                  <a:pt x="944" y="558"/>
                  <a:pt x="944" y="558"/>
                  <a:pt x="944" y="558"/>
                </a:cubicBezTo>
                <a:cubicBezTo>
                  <a:pt x="972" y="530"/>
                  <a:pt x="972" y="530"/>
                  <a:pt x="972" y="530"/>
                </a:cubicBezTo>
                <a:cubicBezTo>
                  <a:pt x="991" y="511"/>
                  <a:pt x="991" y="480"/>
                  <a:pt x="972" y="461"/>
                </a:cubicBezTo>
                <a:cubicBezTo>
                  <a:pt x="908" y="398"/>
                  <a:pt x="908" y="398"/>
                  <a:pt x="908" y="398"/>
                </a:cubicBezTo>
                <a:cubicBezTo>
                  <a:pt x="889" y="379"/>
                  <a:pt x="858" y="379"/>
                  <a:pt x="839" y="398"/>
                </a:cubicBezTo>
                <a:cubicBezTo>
                  <a:pt x="811" y="425"/>
                  <a:pt x="811" y="425"/>
                  <a:pt x="811" y="425"/>
                </a:cubicBezTo>
                <a:cubicBezTo>
                  <a:pt x="811" y="425"/>
                  <a:pt x="811" y="425"/>
                  <a:pt x="811" y="425"/>
                </a:cubicBezTo>
                <a:cubicBezTo>
                  <a:pt x="787" y="412"/>
                  <a:pt x="762" y="402"/>
                  <a:pt x="737" y="395"/>
                </a:cubicBezTo>
                <a:cubicBezTo>
                  <a:pt x="737" y="395"/>
                  <a:pt x="737" y="395"/>
                  <a:pt x="737" y="395"/>
                </a:cubicBezTo>
                <a:cubicBezTo>
                  <a:pt x="737" y="355"/>
                  <a:pt x="737" y="355"/>
                  <a:pt x="737" y="355"/>
                </a:cubicBezTo>
                <a:cubicBezTo>
                  <a:pt x="737" y="328"/>
                  <a:pt x="715" y="306"/>
                  <a:pt x="688" y="306"/>
                </a:cubicBezTo>
                <a:cubicBezTo>
                  <a:pt x="598" y="306"/>
                  <a:pt x="598" y="306"/>
                  <a:pt x="598" y="306"/>
                </a:cubicBezTo>
                <a:cubicBezTo>
                  <a:pt x="571" y="306"/>
                  <a:pt x="549" y="328"/>
                  <a:pt x="549" y="355"/>
                </a:cubicBezTo>
                <a:cubicBezTo>
                  <a:pt x="549" y="395"/>
                  <a:pt x="549" y="395"/>
                  <a:pt x="549" y="395"/>
                </a:cubicBezTo>
                <a:cubicBezTo>
                  <a:pt x="549" y="395"/>
                  <a:pt x="549" y="395"/>
                  <a:pt x="549" y="395"/>
                </a:cubicBezTo>
                <a:cubicBezTo>
                  <a:pt x="524" y="402"/>
                  <a:pt x="499" y="412"/>
                  <a:pt x="475" y="425"/>
                </a:cubicBezTo>
                <a:cubicBezTo>
                  <a:pt x="475" y="425"/>
                  <a:pt x="475" y="425"/>
                  <a:pt x="475" y="425"/>
                </a:cubicBezTo>
                <a:cubicBezTo>
                  <a:pt x="447" y="398"/>
                  <a:pt x="447" y="398"/>
                  <a:pt x="447" y="398"/>
                </a:cubicBezTo>
                <a:cubicBezTo>
                  <a:pt x="428" y="379"/>
                  <a:pt x="396" y="379"/>
                  <a:pt x="377" y="398"/>
                </a:cubicBezTo>
                <a:cubicBezTo>
                  <a:pt x="314" y="461"/>
                  <a:pt x="314" y="461"/>
                  <a:pt x="314" y="461"/>
                </a:cubicBezTo>
                <a:cubicBezTo>
                  <a:pt x="305" y="470"/>
                  <a:pt x="300" y="482"/>
                  <a:pt x="300" y="495"/>
                </a:cubicBezTo>
                <a:cubicBezTo>
                  <a:pt x="300" y="509"/>
                  <a:pt x="305" y="521"/>
                  <a:pt x="314" y="530"/>
                </a:cubicBezTo>
                <a:cubicBezTo>
                  <a:pt x="342" y="558"/>
                  <a:pt x="342" y="558"/>
                  <a:pt x="342" y="558"/>
                </a:cubicBezTo>
                <a:cubicBezTo>
                  <a:pt x="342" y="558"/>
                  <a:pt x="342" y="558"/>
                  <a:pt x="342" y="558"/>
                </a:cubicBezTo>
                <a:cubicBezTo>
                  <a:pt x="328" y="582"/>
                  <a:pt x="318" y="607"/>
                  <a:pt x="311" y="632"/>
                </a:cubicBezTo>
                <a:cubicBezTo>
                  <a:pt x="311" y="632"/>
                  <a:pt x="311" y="632"/>
                  <a:pt x="311" y="632"/>
                </a:cubicBezTo>
                <a:cubicBezTo>
                  <a:pt x="272" y="632"/>
                  <a:pt x="272" y="632"/>
                  <a:pt x="272" y="632"/>
                </a:cubicBezTo>
                <a:cubicBezTo>
                  <a:pt x="245" y="632"/>
                  <a:pt x="223" y="655"/>
                  <a:pt x="223" y="682"/>
                </a:cubicBezTo>
                <a:cubicBezTo>
                  <a:pt x="223" y="771"/>
                  <a:pt x="223" y="771"/>
                  <a:pt x="223" y="771"/>
                </a:cubicBezTo>
                <a:cubicBezTo>
                  <a:pt x="223" y="798"/>
                  <a:pt x="245" y="820"/>
                  <a:pt x="272" y="820"/>
                </a:cubicBezTo>
                <a:cubicBezTo>
                  <a:pt x="311" y="820"/>
                  <a:pt x="311" y="820"/>
                  <a:pt x="311" y="820"/>
                </a:cubicBezTo>
                <a:cubicBezTo>
                  <a:pt x="311" y="820"/>
                  <a:pt x="311" y="820"/>
                  <a:pt x="311" y="820"/>
                </a:cubicBezTo>
                <a:cubicBezTo>
                  <a:pt x="318" y="845"/>
                  <a:pt x="328" y="870"/>
                  <a:pt x="342" y="894"/>
                </a:cubicBezTo>
                <a:cubicBezTo>
                  <a:pt x="342" y="894"/>
                  <a:pt x="342" y="894"/>
                  <a:pt x="342" y="895"/>
                </a:cubicBezTo>
                <a:cubicBezTo>
                  <a:pt x="314" y="922"/>
                  <a:pt x="314" y="922"/>
                  <a:pt x="314" y="922"/>
                </a:cubicBezTo>
                <a:cubicBezTo>
                  <a:pt x="305" y="932"/>
                  <a:pt x="300" y="944"/>
                  <a:pt x="300" y="957"/>
                </a:cubicBezTo>
                <a:cubicBezTo>
                  <a:pt x="300" y="970"/>
                  <a:pt x="305" y="983"/>
                  <a:pt x="314" y="992"/>
                </a:cubicBezTo>
                <a:cubicBezTo>
                  <a:pt x="377" y="1055"/>
                  <a:pt x="377" y="1055"/>
                  <a:pt x="377" y="1055"/>
                </a:cubicBezTo>
                <a:cubicBezTo>
                  <a:pt x="397" y="1074"/>
                  <a:pt x="428" y="1074"/>
                  <a:pt x="447" y="1055"/>
                </a:cubicBezTo>
                <a:cubicBezTo>
                  <a:pt x="475" y="1027"/>
                  <a:pt x="475" y="1027"/>
                  <a:pt x="475" y="1027"/>
                </a:cubicBezTo>
                <a:cubicBezTo>
                  <a:pt x="475" y="1027"/>
                  <a:pt x="475" y="1027"/>
                  <a:pt x="475" y="1027"/>
                </a:cubicBezTo>
                <a:cubicBezTo>
                  <a:pt x="499" y="1041"/>
                  <a:pt x="524" y="1051"/>
                  <a:pt x="549" y="1058"/>
                </a:cubicBezTo>
                <a:cubicBezTo>
                  <a:pt x="549" y="1058"/>
                  <a:pt x="549" y="1058"/>
                  <a:pt x="549" y="1058"/>
                </a:cubicBezTo>
                <a:cubicBezTo>
                  <a:pt x="549" y="1097"/>
                  <a:pt x="549" y="1097"/>
                  <a:pt x="549" y="1097"/>
                </a:cubicBezTo>
                <a:cubicBezTo>
                  <a:pt x="549" y="1124"/>
                  <a:pt x="571" y="1146"/>
                  <a:pt x="598" y="1146"/>
                </a:cubicBezTo>
                <a:cubicBezTo>
                  <a:pt x="688" y="1146"/>
                  <a:pt x="688" y="1146"/>
                  <a:pt x="688" y="1146"/>
                </a:cubicBezTo>
                <a:cubicBezTo>
                  <a:pt x="715" y="1146"/>
                  <a:pt x="737" y="1124"/>
                  <a:pt x="737" y="1097"/>
                </a:cubicBezTo>
                <a:cubicBezTo>
                  <a:pt x="737" y="1058"/>
                  <a:pt x="737" y="1058"/>
                  <a:pt x="737" y="1058"/>
                </a:cubicBezTo>
                <a:cubicBezTo>
                  <a:pt x="737" y="1058"/>
                  <a:pt x="737" y="1058"/>
                  <a:pt x="737" y="1058"/>
                </a:cubicBezTo>
                <a:cubicBezTo>
                  <a:pt x="762" y="1051"/>
                  <a:pt x="787" y="1041"/>
                  <a:pt x="811" y="1027"/>
                </a:cubicBezTo>
                <a:cubicBezTo>
                  <a:pt x="811" y="1027"/>
                  <a:pt x="811" y="1027"/>
                  <a:pt x="811" y="1027"/>
                </a:cubicBezTo>
                <a:cubicBezTo>
                  <a:pt x="839" y="1055"/>
                  <a:pt x="839" y="1055"/>
                  <a:pt x="839" y="1055"/>
                </a:cubicBezTo>
                <a:cubicBezTo>
                  <a:pt x="858" y="1074"/>
                  <a:pt x="889" y="1074"/>
                  <a:pt x="908" y="1055"/>
                </a:cubicBezTo>
                <a:cubicBezTo>
                  <a:pt x="972" y="992"/>
                  <a:pt x="972" y="992"/>
                  <a:pt x="972" y="992"/>
                </a:cubicBezTo>
                <a:cubicBezTo>
                  <a:pt x="991" y="973"/>
                  <a:pt x="991" y="942"/>
                  <a:pt x="972" y="922"/>
                </a:cubicBezTo>
                <a:cubicBezTo>
                  <a:pt x="944" y="895"/>
                  <a:pt x="944" y="895"/>
                  <a:pt x="944" y="895"/>
                </a:cubicBezTo>
                <a:cubicBezTo>
                  <a:pt x="944" y="895"/>
                  <a:pt x="944" y="894"/>
                  <a:pt x="944" y="894"/>
                </a:cubicBezTo>
                <a:cubicBezTo>
                  <a:pt x="957" y="871"/>
                  <a:pt x="967" y="846"/>
                  <a:pt x="974" y="820"/>
                </a:cubicBezTo>
                <a:cubicBezTo>
                  <a:pt x="974" y="820"/>
                  <a:pt x="974" y="820"/>
                  <a:pt x="975" y="820"/>
                </a:cubicBezTo>
                <a:cubicBezTo>
                  <a:pt x="1014" y="820"/>
                  <a:pt x="1014" y="820"/>
                  <a:pt x="1014" y="820"/>
                </a:cubicBezTo>
                <a:cubicBezTo>
                  <a:pt x="1041" y="820"/>
                  <a:pt x="1063" y="798"/>
                  <a:pt x="1063" y="771"/>
                </a:cubicBezTo>
                <a:cubicBezTo>
                  <a:pt x="1063" y="682"/>
                  <a:pt x="1063" y="682"/>
                  <a:pt x="1063" y="682"/>
                </a:cubicBezTo>
                <a:cubicBezTo>
                  <a:pt x="1063" y="655"/>
                  <a:pt x="1041" y="632"/>
                  <a:pt x="1014" y="632"/>
                </a:cubicBezTo>
                <a:close/>
                <a:moveTo>
                  <a:pt x="1026" y="771"/>
                </a:moveTo>
                <a:cubicBezTo>
                  <a:pt x="1026" y="778"/>
                  <a:pt x="1021" y="783"/>
                  <a:pt x="1014" y="783"/>
                </a:cubicBezTo>
                <a:cubicBezTo>
                  <a:pt x="946" y="783"/>
                  <a:pt x="946" y="783"/>
                  <a:pt x="946" y="783"/>
                </a:cubicBezTo>
                <a:cubicBezTo>
                  <a:pt x="941" y="801"/>
                  <a:pt x="941" y="801"/>
                  <a:pt x="941" y="801"/>
                </a:cubicBezTo>
                <a:cubicBezTo>
                  <a:pt x="941" y="804"/>
                  <a:pt x="940" y="807"/>
                  <a:pt x="939" y="810"/>
                </a:cubicBezTo>
                <a:cubicBezTo>
                  <a:pt x="933" y="833"/>
                  <a:pt x="924" y="855"/>
                  <a:pt x="912" y="876"/>
                </a:cubicBezTo>
                <a:cubicBezTo>
                  <a:pt x="910" y="879"/>
                  <a:pt x="909" y="882"/>
                  <a:pt x="907" y="885"/>
                </a:cubicBezTo>
                <a:cubicBezTo>
                  <a:pt x="897" y="900"/>
                  <a:pt x="897" y="900"/>
                  <a:pt x="897" y="900"/>
                </a:cubicBezTo>
                <a:cubicBezTo>
                  <a:pt x="945" y="948"/>
                  <a:pt x="945" y="948"/>
                  <a:pt x="945" y="948"/>
                </a:cubicBezTo>
                <a:cubicBezTo>
                  <a:pt x="950" y="953"/>
                  <a:pt x="950" y="961"/>
                  <a:pt x="946" y="966"/>
                </a:cubicBezTo>
                <a:cubicBezTo>
                  <a:pt x="882" y="1029"/>
                  <a:pt x="882" y="1029"/>
                  <a:pt x="882" y="1029"/>
                </a:cubicBezTo>
                <a:cubicBezTo>
                  <a:pt x="877" y="1034"/>
                  <a:pt x="870" y="1034"/>
                  <a:pt x="865" y="1029"/>
                </a:cubicBezTo>
                <a:cubicBezTo>
                  <a:pt x="817" y="981"/>
                  <a:pt x="817" y="981"/>
                  <a:pt x="817" y="981"/>
                </a:cubicBezTo>
                <a:cubicBezTo>
                  <a:pt x="802" y="990"/>
                  <a:pt x="802" y="990"/>
                  <a:pt x="802" y="990"/>
                </a:cubicBezTo>
                <a:cubicBezTo>
                  <a:pt x="799" y="992"/>
                  <a:pt x="796" y="994"/>
                  <a:pt x="793" y="995"/>
                </a:cubicBezTo>
                <a:cubicBezTo>
                  <a:pt x="772" y="1007"/>
                  <a:pt x="749" y="1016"/>
                  <a:pt x="727" y="1022"/>
                </a:cubicBezTo>
                <a:cubicBezTo>
                  <a:pt x="724" y="1023"/>
                  <a:pt x="720" y="1024"/>
                  <a:pt x="717" y="1025"/>
                </a:cubicBezTo>
                <a:cubicBezTo>
                  <a:pt x="700" y="1029"/>
                  <a:pt x="700" y="1029"/>
                  <a:pt x="700" y="1029"/>
                </a:cubicBezTo>
                <a:cubicBezTo>
                  <a:pt x="700" y="1097"/>
                  <a:pt x="700" y="1097"/>
                  <a:pt x="700" y="1097"/>
                </a:cubicBezTo>
                <a:cubicBezTo>
                  <a:pt x="700" y="1104"/>
                  <a:pt x="694" y="1109"/>
                  <a:pt x="688" y="1109"/>
                </a:cubicBezTo>
                <a:cubicBezTo>
                  <a:pt x="598" y="1109"/>
                  <a:pt x="598" y="1109"/>
                  <a:pt x="598" y="1109"/>
                </a:cubicBezTo>
                <a:cubicBezTo>
                  <a:pt x="591" y="1109"/>
                  <a:pt x="586" y="1104"/>
                  <a:pt x="586" y="1097"/>
                </a:cubicBezTo>
                <a:cubicBezTo>
                  <a:pt x="586" y="1029"/>
                  <a:pt x="586" y="1029"/>
                  <a:pt x="586" y="1029"/>
                </a:cubicBezTo>
                <a:cubicBezTo>
                  <a:pt x="568" y="1025"/>
                  <a:pt x="568" y="1025"/>
                  <a:pt x="568" y="1025"/>
                </a:cubicBezTo>
                <a:cubicBezTo>
                  <a:pt x="565" y="1024"/>
                  <a:pt x="562" y="1023"/>
                  <a:pt x="559" y="1022"/>
                </a:cubicBezTo>
                <a:cubicBezTo>
                  <a:pt x="536" y="1016"/>
                  <a:pt x="514" y="1007"/>
                  <a:pt x="493" y="995"/>
                </a:cubicBezTo>
                <a:cubicBezTo>
                  <a:pt x="490" y="994"/>
                  <a:pt x="487" y="992"/>
                  <a:pt x="484" y="990"/>
                </a:cubicBezTo>
                <a:cubicBezTo>
                  <a:pt x="469" y="981"/>
                  <a:pt x="469" y="981"/>
                  <a:pt x="469" y="981"/>
                </a:cubicBezTo>
                <a:cubicBezTo>
                  <a:pt x="421" y="1029"/>
                  <a:pt x="421" y="1029"/>
                  <a:pt x="421" y="1029"/>
                </a:cubicBezTo>
                <a:cubicBezTo>
                  <a:pt x="416" y="1034"/>
                  <a:pt x="408" y="1034"/>
                  <a:pt x="403" y="1029"/>
                </a:cubicBezTo>
                <a:cubicBezTo>
                  <a:pt x="340" y="966"/>
                  <a:pt x="340" y="966"/>
                  <a:pt x="340" y="966"/>
                </a:cubicBezTo>
                <a:cubicBezTo>
                  <a:pt x="338" y="963"/>
                  <a:pt x="337" y="960"/>
                  <a:pt x="337" y="957"/>
                </a:cubicBezTo>
                <a:cubicBezTo>
                  <a:pt x="337" y="954"/>
                  <a:pt x="338" y="951"/>
                  <a:pt x="340" y="948"/>
                </a:cubicBezTo>
                <a:cubicBezTo>
                  <a:pt x="389" y="900"/>
                  <a:pt x="389" y="900"/>
                  <a:pt x="389" y="900"/>
                </a:cubicBezTo>
                <a:cubicBezTo>
                  <a:pt x="379" y="885"/>
                  <a:pt x="379" y="885"/>
                  <a:pt x="379" y="885"/>
                </a:cubicBezTo>
                <a:cubicBezTo>
                  <a:pt x="377" y="882"/>
                  <a:pt x="376" y="879"/>
                  <a:pt x="374" y="876"/>
                </a:cubicBezTo>
                <a:cubicBezTo>
                  <a:pt x="362" y="855"/>
                  <a:pt x="353" y="833"/>
                  <a:pt x="347" y="810"/>
                </a:cubicBezTo>
                <a:cubicBezTo>
                  <a:pt x="346" y="807"/>
                  <a:pt x="345" y="803"/>
                  <a:pt x="344" y="797"/>
                </a:cubicBezTo>
                <a:cubicBezTo>
                  <a:pt x="340" y="783"/>
                  <a:pt x="340" y="783"/>
                  <a:pt x="340" y="783"/>
                </a:cubicBezTo>
                <a:cubicBezTo>
                  <a:pt x="272" y="783"/>
                  <a:pt x="272" y="783"/>
                  <a:pt x="272" y="783"/>
                </a:cubicBezTo>
                <a:cubicBezTo>
                  <a:pt x="265" y="783"/>
                  <a:pt x="260" y="778"/>
                  <a:pt x="260" y="771"/>
                </a:cubicBezTo>
                <a:cubicBezTo>
                  <a:pt x="260" y="682"/>
                  <a:pt x="260" y="682"/>
                  <a:pt x="260" y="682"/>
                </a:cubicBezTo>
                <a:cubicBezTo>
                  <a:pt x="260" y="675"/>
                  <a:pt x="265" y="669"/>
                  <a:pt x="272" y="669"/>
                </a:cubicBezTo>
                <a:cubicBezTo>
                  <a:pt x="326" y="669"/>
                  <a:pt x="326" y="669"/>
                  <a:pt x="326" y="669"/>
                </a:cubicBezTo>
                <a:cubicBezTo>
                  <a:pt x="341" y="667"/>
                  <a:pt x="341" y="667"/>
                  <a:pt x="341" y="667"/>
                </a:cubicBezTo>
                <a:cubicBezTo>
                  <a:pt x="344" y="653"/>
                  <a:pt x="344" y="653"/>
                  <a:pt x="344" y="653"/>
                </a:cubicBezTo>
                <a:cubicBezTo>
                  <a:pt x="345" y="649"/>
                  <a:pt x="346" y="646"/>
                  <a:pt x="347" y="642"/>
                </a:cubicBezTo>
                <a:cubicBezTo>
                  <a:pt x="353" y="620"/>
                  <a:pt x="362" y="598"/>
                  <a:pt x="374" y="576"/>
                </a:cubicBezTo>
                <a:cubicBezTo>
                  <a:pt x="376" y="573"/>
                  <a:pt x="377" y="570"/>
                  <a:pt x="379" y="568"/>
                </a:cubicBezTo>
                <a:cubicBezTo>
                  <a:pt x="389" y="552"/>
                  <a:pt x="389" y="552"/>
                  <a:pt x="389" y="552"/>
                </a:cubicBezTo>
                <a:cubicBezTo>
                  <a:pt x="340" y="504"/>
                  <a:pt x="340" y="504"/>
                  <a:pt x="340" y="504"/>
                </a:cubicBezTo>
                <a:cubicBezTo>
                  <a:pt x="338" y="502"/>
                  <a:pt x="337" y="499"/>
                  <a:pt x="337" y="495"/>
                </a:cubicBezTo>
                <a:cubicBezTo>
                  <a:pt x="337" y="492"/>
                  <a:pt x="338" y="489"/>
                  <a:pt x="340" y="487"/>
                </a:cubicBezTo>
                <a:cubicBezTo>
                  <a:pt x="403" y="424"/>
                  <a:pt x="403" y="424"/>
                  <a:pt x="403" y="424"/>
                </a:cubicBezTo>
                <a:cubicBezTo>
                  <a:pt x="408" y="419"/>
                  <a:pt x="416" y="419"/>
                  <a:pt x="421" y="424"/>
                </a:cubicBezTo>
                <a:cubicBezTo>
                  <a:pt x="469" y="472"/>
                  <a:pt x="469" y="472"/>
                  <a:pt x="469" y="472"/>
                </a:cubicBezTo>
                <a:cubicBezTo>
                  <a:pt x="484" y="463"/>
                  <a:pt x="484" y="463"/>
                  <a:pt x="484" y="463"/>
                </a:cubicBezTo>
                <a:cubicBezTo>
                  <a:pt x="487" y="461"/>
                  <a:pt x="490" y="459"/>
                  <a:pt x="493" y="457"/>
                </a:cubicBezTo>
                <a:cubicBezTo>
                  <a:pt x="514" y="446"/>
                  <a:pt x="536" y="436"/>
                  <a:pt x="559" y="430"/>
                </a:cubicBezTo>
                <a:cubicBezTo>
                  <a:pt x="562" y="429"/>
                  <a:pt x="566" y="428"/>
                  <a:pt x="572" y="427"/>
                </a:cubicBezTo>
                <a:cubicBezTo>
                  <a:pt x="586" y="424"/>
                  <a:pt x="586" y="424"/>
                  <a:pt x="586" y="424"/>
                </a:cubicBezTo>
                <a:cubicBezTo>
                  <a:pt x="586" y="355"/>
                  <a:pt x="586" y="355"/>
                  <a:pt x="586" y="355"/>
                </a:cubicBezTo>
                <a:cubicBezTo>
                  <a:pt x="586" y="348"/>
                  <a:pt x="591" y="343"/>
                  <a:pt x="598" y="343"/>
                </a:cubicBezTo>
                <a:cubicBezTo>
                  <a:pt x="688" y="343"/>
                  <a:pt x="688" y="343"/>
                  <a:pt x="688" y="343"/>
                </a:cubicBezTo>
                <a:cubicBezTo>
                  <a:pt x="694" y="343"/>
                  <a:pt x="700" y="349"/>
                  <a:pt x="700" y="355"/>
                </a:cubicBezTo>
                <a:cubicBezTo>
                  <a:pt x="700" y="409"/>
                  <a:pt x="700" y="409"/>
                  <a:pt x="700" y="409"/>
                </a:cubicBezTo>
                <a:cubicBezTo>
                  <a:pt x="702" y="424"/>
                  <a:pt x="702" y="424"/>
                  <a:pt x="702" y="424"/>
                </a:cubicBezTo>
                <a:cubicBezTo>
                  <a:pt x="717" y="428"/>
                  <a:pt x="717" y="428"/>
                  <a:pt x="717" y="428"/>
                </a:cubicBezTo>
                <a:cubicBezTo>
                  <a:pt x="720" y="428"/>
                  <a:pt x="723" y="429"/>
                  <a:pt x="727" y="430"/>
                </a:cubicBezTo>
                <a:cubicBezTo>
                  <a:pt x="749" y="436"/>
                  <a:pt x="772" y="445"/>
                  <a:pt x="793" y="457"/>
                </a:cubicBezTo>
                <a:cubicBezTo>
                  <a:pt x="796" y="459"/>
                  <a:pt x="799" y="461"/>
                  <a:pt x="802" y="462"/>
                </a:cubicBezTo>
                <a:cubicBezTo>
                  <a:pt x="817" y="472"/>
                  <a:pt x="817" y="472"/>
                  <a:pt x="817" y="472"/>
                </a:cubicBezTo>
                <a:cubicBezTo>
                  <a:pt x="865" y="424"/>
                  <a:pt x="865" y="424"/>
                  <a:pt x="865" y="424"/>
                </a:cubicBezTo>
                <a:cubicBezTo>
                  <a:pt x="870" y="419"/>
                  <a:pt x="877" y="419"/>
                  <a:pt x="882" y="424"/>
                </a:cubicBezTo>
                <a:cubicBezTo>
                  <a:pt x="945" y="487"/>
                  <a:pt x="945" y="487"/>
                  <a:pt x="945" y="487"/>
                </a:cubicBezTo>
                <a:cubicBezTo>
                  <a:pt x="950" y="492"/>
                  <a:pt x="950" y="499"/>
                  <a:pt x="945" y="504"/>
                </a:cubicBezTo>
                <a:cubicBezTo>
                  <a:pt x="897" y="552"/>
                  <a:pt x="897" y="552"/>
                  <a:pt x="897" y="552"/>
                </a:cubicBezTo>
                <a:cubicBezTo>
                  <a:pt x="907" y="568"/>
                  <a:pt x="907" y="568"/>
                  <a:pt x="907" y="568"/>
                </a:cubicBezTo>
                <a:cubicBezTo>
                  <a:pt x="909" y="570"/>
                  <a:pt x="910" y="573"/>
                  <a:pt x="912" y="576"/>
                </a:cubicBezTo>
                <a:cubicBezTo>
                  <a:pt x="924" y="597"/>
                  <a:pt x="933" y="619"/>
                  <a:pt x="939" y="642"/>
                </a:cubicBezTo>
                <a:cubicBezTo>
                  <a:pt x="940" y="645"/>
                  <a:pt x="941" y="649"/>
                  <a:pt x="941" y="652"/>
                </a:cubicBezTo>
                <a:cubicBezTo>
                  <a:pt x="946" y="669"/>
                  <a:pt x="946" y="669"/>
                  <a:pt x="946" y="669"/>
                </a:cubicBezTo>
                <a:cubicBezTo>
                  <a:pt x="1014" y="669"/>
                  <a:pt x="1014" y="669"/>
                  <a:pt x="1014" y="669"/>
                </a:cubicBezTo>
                <a:cubicBezTo>
                  <a:pt x="1021" y="669"/>
                  <a:pt x="1026" y="675"/>
                  <a:pt x="1026" y="682"/>
                </a:cubicBezTo>
                <a:lnTo>
                  <a:pt x="1026" y="771"/>
                </a:lnTo>
                <a:close/>
                <a:moveTo>
                  <a:pt x="1259" y="498"/>
                </a:moveTo>
                <a:cubicBezTo>
                  <a:pt x="1196" y="231"/>
                  <a:pt x="959" y="31"/>
                  <a:pt x="684" y="12"/>
                </a:cubicBezTo>
                <a:cubicBezTo>
                  <a:pt x="505" y="0"/>
                  <a:pt x="334" y="60"/>
                  <a:pt x="203" y="182"/>
                </a:cubicBezTo>
                <a:cubicBezTo>
                  <a:pt x="74" y="302"/>
                  <a:pt x="0" y="473"/>
                  <a:pt x="0" y="649"/>
                </a:cubicBezTo>
                <a:cubicBezTo>
                  <a:pt x="0" y="736"/>
                  <a:pt x="17" y="821"/>
                  <a:pt x="52" y="901"/>
                </a:cubicBezTo>
                <a:cubicBezTo>
                  <a:pt x="51" y="902"/>
                  <a:pt x="51" y="902"/>
                  <a:pt x="51" y="902"/>
                </a:cubicBezTo>
                <a:cubicBezTo>
                  <a:pt x="54" y="904"/>
                  <a:pt x="54" y="904"/>
                  <a:pt x="54" y="904"/>
                </a:cubicBezTo>
                <a:cubicBezTo>
                  <a:pt x="62" y="919"/>
                  <a:pt x="89" y="965"/>
                  <a:pt x="120" y="1021"/>
                </a:cubicBezTo>
                <a:cubicBezTo>
                  <a:pt x="170" y="1110"/>
                  <a:pt x="235" y="1228"/>
                  <a:pt x="260" y="1284"/>
                </a:cubicBezTo>
                <a:cubicBezTo>
                  <a:pt x="278" y="1324"/>
                  <a:pt x="309" y="1416"/>
                  <a:pt x="332" y="1485"/>
                </a:cubicBezTo>
                <a:cubicBezTo>
                  <a:pt x="339" y="1505"/>
                  <a:pt x="352" y="1522"/>
                  <a:pt x="369" y="1533"/>
                </a:cubicBezTo>
                <a:cubicBezTo>
                  <a:pt x="369" y="1611"/>
                  <a:pt x="369" y="1611"/>
                  <a:pt x="369" y="1611"/>
                </a:cubicBezTo>
                <a:cubicBezTo>
                  <a:pt x="369" y="1648"/>
                  <a:pt x="369" y="1648"/>
                  <a:pt x="369" y="1648"/>
                </a:cubicBezTo>
                <a:cubicBezTo>
                  <a:pt x="369" y="1712"/>
                  <a:pt x="369" y="1712"/>
                  <a:pt x="369" y="1712"/>
                </a:cubicBezTo>
                <a:cubicBezTo>
                  <a:pt x="369" y="1749"/>
                  <a:pt x="369" y="1749"/>
                  <a:pt x="369" y="1749"/>
                </a:cubicBezTo>
                <a:cubicBezTo>
                  <a:pt x="369" y="1769"/>
                  <a:pt x="369" y="1769"/>
                  <a:pt x="369" y="1769"/>
                </a:cubicBezTo>
                <a:cubicBezTo>
                  <a:pt x="369" y="1804"/>
                  <a:pt x="391" y="1833"/>
                  <a:pt x="422" y="1844"/>
                </a:cubicBezTo>
                <a:cubicBezTo>
                  <a:pt x="424" y="1903"/>
                  <a:pt x="472" y="1950"/>
                  <a:pt x="532" y="1950"/>
                </a:cubicBezTo>
                <a:cubicBezTo>
                  <a:pt x="745" y="1950"/>
                  <a:pt x="745" y="1950"/>
                  <a:pt x="745" y="1950"/>
                </a:cubicBezTo>
                <a:cubicBezTo>
                  <a:pt x="804" y="1950"/>
                  <a:pt x="852" y="1903"/>
                  <a:pt x="855" y="1844"/>
                </a:cubicBezTo>
                <a:cubicBezTo>
                  <a:pt x="886" y="1833"/>
                  <a:pt x="908" y="1804"/>
                  <a:pt x="908" y="1769"/>
                </a:cubicBezTo>
                <a:cubicBezTo>
                  <a:pt x="908" y="1749"/>
                  <a:pt x="908" y="1749"/>
                  <a:pt x="908" y="1749"/>
                </a:cubicBezTo>
                <a:cubicBezTo>
                  <a:pt x="908" y="1712"/>
                  <a:pt x="908" y="1712"/>
                  <a:pt x="908" y="1712"/>
                </a:cubicBezTo>
                <a:cubicBezTo>
                  <a:pt x="908" y="1648"/>
                  <a:pt x="908" y="1648"/>
                  <a:pt x="908" y="1648"/>
                </a:cubicBezTo>
                <a:cubicBezTo>
                  <a:pt x="908" y="1611"/>
                  <a:pt x="908" y="1611"/>
                  <a:pt x="908" y="1611"/>
                </a:cubicBezTo>
                <a:cubicBezTo>
                  <a:pt x="908" y="1533"/>
                  <a:pt x="908" y="1533"/>
                  <a:pt x="908" y="1533"/>
                </a:cubicBezTo>
                <a:cubicBezTo>
                  <a:pt x="925" y="1522"/>
                  <a:pt x="938" y="1505"/>
                  <a:pt x="944" y="1485"/>
                </a:cubicBezTo>
                <a:cubicBezTo>
                  <a:pt x="977" y="1387"/>
                  <a:pt x="1003" y="1316"/>
                  <a:pt x="1017" y="1284"/>
                </a:cubicBezTo>
                <a:cubicBezTo>
                  <a:pt x="1042" y="1226"/>
                  <a:pt x="1109" y="1106"/>
                  <a:pt x="1149" y="1033"/>
                </a:cubicBezTo>
                <a:cubicBezTo>
                  <a:pt x="1157" y="1033"/>
                  <a:pt x="1157" y="1033"/>
                  <a:pt x="1157" y="1033"/>
                </a:cubicBezTo>
                <a:cubicBezTo>
                  <a:pt x="1157" y="1019"/>
                  <a:pt x="1157" y="1019"/>
                  <a:pt x="1157" y="1019"/>
                </a:cubicBezTo>
                <a:cubicBezTo>
                  <a:pt x="1188" y="965"/>
                  <a:pt x="1213" y="921"/>
                  <a:pt x="1222" y="907"/>
                </a:cubicBezTo>
                <a:cubicBezTo>
                  <a:pt x="1223" y="905"/>
                  <a:pt x="1224" y="903"/>
                  <a:pt x="1224" y="902"/>
                </a:cubicBezTo>
                <a:cubicBezTo>
                  <a:pt x="1224" y="902"/>
                  <a:pt x="1224" y="902"/>
                  <a:pt x="1224" y="902"/>
                </a:cubicBezTo>
                <a:cubicBezTo>
                  <a:pt x="1228" y="898"/>
                  <a:pt x="1228" y="898"/>
                  <a:pt x="1228" y="898"/>
                </a:cubicBezTo>
                <a:cubicBezTo>
                  <a:pt x="1228" y="894"/>
                  <a:pt x="1228" y="894"/>
                  <a:pt x="1228" y="894"/>
                </a:cubicBezTo>
                <a:cubicBezTo>
                  <a:pt x="1280" y="768"/>
                  <a:pt x="1291" y="632"/>
                  <a:pt x="1259" y="498"/>
                </a:cubicBezTo>
                <a:close/>
                <a:moveTo>
                  <a:pt x="745" y="1913"/>
                </a:moveTo>
                <a:cubicBezTo>
                  <a:pt x="532" y="1913"/>
                  <a:pt x="532" y="1913"/>
                  <a:pt x="532" y="1913"/>
                </a:cubicBezTo>
                <a:cubicBezTo>
                  <a:pt x="494" y="1913"/>
                  <a:pt x="464" y="1885"/>
                  <a:pt x="459" y="1849"/>
                </a:cubicBezTo>
                <a:cubicBezTo>
                  <a:pt x="818" y="1849"/>
                  <a:pt x="818" y="1849"/>
                  <a:pt x="818" y="1849"/>
                </a:cubicBezTo>
                <a:cubicBezTo>
                  <a:pt x="813" y="1885"/>
                  <a:pt x="782" y="1913"/>
                  <a:pt x="745" y="1913"/>
                </a:cubicBezTo>
                <a:close/>
                <a:moveTo>
                  <a:pt x="871" y="1769"/>
                </a:moveTo>
                <a:cubicBezTo>
                  <a:pt x="871" y="1793"/>
                  <a:pt x="852" y="1812"/>
                  <a:pt x="828" y="1812"/>
                </a:cubicBezTo>
                <a:cubicBezTo>
                  <a:pt x="449" y="1812"/>
                  <a:pt x="449" y="1812"/>
                  <a:pt x="449" y="1812"/>
                </a:cubicBezTo>
                <a:cubicBezTo>
                  <a:pt x="425" y="1812"/>
                  <a:pt x="406" y="1793"/>
                  <a:pt x="406" y="1769"/>
                </a:cubicBezTo>
                <a:cubicBezTo>
                  <a:pt x="406" y="1749"/>
                  <a:pt x="406" y="1749"/>
                  <a:pt x="406" y="1749"/>
                </a:cubicBezTo>
                <a:cubicBezTo>
                  <a:pt x="871" y="1749"/>
                  <a:pt x="871" y="1749"/>
                  <a:pt x="871" y="1749"/>
                </a:cubicBezTo>
                <a:lnTo>
                  <a:pt x="871" y="1769"/>
                </a:lnTo>
                <a:close/>
                <a:moveTo>
                  <a:pt x="871" y="1712"/>
                </a:moveTo>
                <a:cubicBezTo>
                  <a:pt x="406" y="1712"/>
                  <a:pt x="406" y="1712"/>
                  <a:pt x="406" y="1712"/>
                </a:cubicBezTo>
                <a:cubicBezTo>
                  <a:pt x="406" y="1648"/>
                  <a:pt x="406" y="1648"/>
                  <a:pt x="406" y="1648"/>
                </a:cubicBezTo>
                <a:cubicBezTo>
                  <a:pt x="871" y="1648"/>
                  <a:pt x="871" y="1648"/>
                  <a:pt x="871" y="1648"/>
                </a:cubicBezTo>
                <a:lnTo>
                  <a:pt x="871" y="1712"/>
                </a:lnTo>
                <a:close/>
                <a:moveTo>
                  <a:pt x="871" y="1548"/>
                </a:moveTo>
                <a:cubicBezTo>
                  <a:pt x="871" y="1611"/>
                  <a:pt x="871" y="1611"/>
                  <a:pt x="871" y="1611"/>
                </a:cubicBezTo>
                <a:cubicBezTo>
                  <a:pt x="406" y="1611"/>
                  <a:pt x="406" y="1611"/>
                  <a:pt x="406" y="1611"/>
                </a:cubicBezTo>
                <a:cubicBezTo>
                  <a:pt x="406" y="1548"/>
                  <a:pt x="406" y="1548"/>
                  <a:pt x="406" y="1548"/>
                </a:cubicBezTo>
                <a:cubicBezTo>
                  <a:pt x="419" y="1548"/>
                  <a:pt x="419" y="1548"/>
                  <a:pt x="419" y="1548"/>
                </a:cubicBezTo>
                <a:cubicBezTo>
                  <a:pt x="858" y="1548"/>
                  <a:pt x="858" y="1548"/>
                  <a:pt x="858" y="1548"/>
                </a:cubicBezTo>
                <a:lnTo>
                  <a:pt x="871" y="1548"/>
                </a:lnTo>
                <a:close/>
                <a:moveTo>
                  <a:pt x="1193" y="882"/>
                </a:moveTo>
                <a:cubicBezTo>
                  <a:pt x="1191" y="887"/>
                  <a:pt x="1191" y="887"/>
                  <a:pt x="1191" y="887"/>
                </a:cubicBezTo>
                <a:cubicBezTo>
                  <a:pt x="1182" y="902"/>
                  <a:pt x="1157" y="944"/>
                  <a:pt x="1128" y="997"/>
                </a:cubicBezTo>
                <a:cubicBezTo>
                  <a:pt x="1122" y="1006"/>
                  <a:pt x="1122" y="1006"/>
                  <a:pt x="1122" y="1006"/>
                </a:cubicBezTo>
                <a:cubicBezTo>
                  <a:pt x="1082" y="1078"/>
                  <a:pt x="1010" y="1208"/>
                  <a:pt x="983" y="1269"/>
                </a:cubicBezTo>
                <a:cubicBezTo>
                  <a:pt x="965" y="1311"/>
                  <a:pt x="933" y="1403"/>
                  <a:pt x="910" y="1474"/>
                </a:cubicBezTo>
                <a:cubicBezTo>
                  <a:pt x="902" y="1496"/>
                  <a:pt x="881" y="1511"/>
                  <a:pt x="858" y="1511"/>
                </a:cubicBezTo>
                <a:cubicBezTo>
                  <a:pt x="419" y="1511"/>
                  <a:pt x="419" y="1511"/>
                  <a:pt x="419" y="1511"/>
                </a:cubicBezTo>
                <a:cubicBezTo>
                  <a:pt x="395" y="1511"/>
                  <a:pt x="375" y="1496"/>
                  <a:pt x="367" y="1474"/>
                </a:cubicBezTo>
                <a:cubicBezTo>
                  <a:pt x="344" y="1403"/>
                  <a:pt x="312" y="1311"/>
                  <a:pt x="294" y="1269"/>
                </a:cubicBezTo>
                <a:cubicBezTo>
                  <a:pt x="268" y="1211"/>
                  <a:pt x="203" y="1093"/>
                  <a:pt x="152" y="1003"/>
                </a:cubicBezTo>
                <a:cubicBezTo>
                  <a:pt x="121" y="947"/>
                  <a:pt x="94" y="901"/>
                  <a:pt x="86" y="887"/>
                </a:cubicBezTo>
                <a:cubicBezTo>
                  <a:pt x="85" y="884"/>
                  <a:pt x="85" y="884"/>
                  <a:pt x="85" y="884"/>
                </a:cubicBezTo>
                <a:cubicBezTo>
                  <a:pt x="53" y="810"/>
                  <a:pt x="37" y="731"/>
                  <a:pt x="37" y="649"/>
                </a:cubicBezTo>
                <a:cubicBezTo>
                  <a:pt x="37" y="483"/>
                  <a:pt x="107" y="322"/>
                  <a:pt x="228" y="209"/>
                </a:cubicBezTo>
                <a:cubicBezTo>
                  <a:pt x="351" y="94"/>
                  <a:pt x="513" y="37"/>
                  <a:pt x="682" y="49"/>
                </a:cubicBezTo>
                <a:cubicBezTo>
                  <a:pt x="941" y="67"/>
                  <a:pt x="1163" y="255"/>
                  <a:pt x="1223" y="507"/>
                </a:cubicBezTo>
                <a:cubicBezTo>
                  <a:pt x="1253" y="633"/>
                  <a:pt x="1243" y="763"/>
                  <a:pt x="1193" y="8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31" name="Freeform 25"/>
          <p:cNvSpPr>
            <a:spLocks noEditPoints="1"/>
          </p:cNvSpPr>
          <p:nvPr/>
        </p:nvSpPr>
        <p:spPr bwMode="auto">
          <a:xfrm>
            <a:off x="4704485" y="3267859"/>
            <a:ext cx="439601" cy="344132"/>
          </a:xfrm>
          <a:custGeom>
            <a:avLst/>
            <a:gdLst>
              <a:gd name="T0" fmla="*/ 1611 w 2305"/>
              <a:gd name="T1" fmla="*/ 1367 h 1804"/>
              <a:gd name="T2" fmla="*/ 1207 w 2305"/>
              <a:gd name="T3" fmla="*/ 1233 h 1804"/>
              <a:gd name="T4" fmla="*/ 1771 w 2305"/>
              <a:gd name="T5" fmla="*/ 1367 h 1804"/>
              <a:gd name="T6" fmla="*/ 1600 w 2305"/>
              <a:gd name="T7" fmla="*/ 1600 h 1804"/>
              <a:gd name="T8" fmla="*/ 1367 w 2305"/>
              <a:gd name="T9" fmla="*/ 1771 h 1804"/>
              <a:gd name="T10" fmla="*/ 1018 w 2305"/>
              <a:gd name="T11" fmla="*/ 1804 h 1804"/>
              <a:gd name="T12" fmla="*/ 736 w 2305"/>
              <a:gd name="T13" fmla="*/ 1704 h 1804"/>
              <a:gd name="T14" fmla="*/ 569 w 2305"/>
              <a:gd name="T15" fmla="*/ 1489 h 1804"/>
              <a:gd name="T16" fmla="*/ 534 w 2305"/>
              <a:gd name="T17" fmla="*/ 1208 h 1804"/>
              <a:gd name="T18" fmla="*/ 665 w 2305"/>
              <a:gd name="T19" fmla="*/ 0 h 1804"/>
              <a:gd name="T20" fmla="*/ 1413 w 2305"/>
              <a:gd name="T21" fmla="*/ 228 h 1804"/>
              <a:gd name="T22" fmla="*/ 227 w 2305"/>
              <a:gd name="T23" fmla="*/ 842 h 1804"/>
              <a:gd name="T24" fmla="*/ 1489 w 2305"/>
              <a:gd name="T25" fmla="*/ 253 h 1804"/>
              <a:gd name="T26" fmla="*/ 2255 w 2305"/>
              <a:gd name="T27" fmla="*/ 665 h 1804"/>
              <a:gd name="T28" fmla="*/ 804 w 2305"/>
              <a:gd name="T29" fmla="*/ 1207 h 1804"/>
              <a:gd name="T30" fmla="*/ 615 w 2305"/>
              <a:gd name="T31" fmla="*/ 1178 h 1804"/>
              <a:gd name="T32" fmla="*/ 669 w 2305"/>
              <a:gd name="T33" fmla="*/ 1342 h 1804"/>
              <a:gd name="T34" fmla="*/ 1021 w 2305"/>
              <a:gd name="T35" fmla="*/ 1189 h 1804"/>
              <a:gd name="T36" fmla="*/ 986 w 2305"/>
              <a:gd name="T37" fmla="*/ 1152 h 1804"/>
              <a:gd name="T38" fmla="*/ 951 w 2305"/>
              <a:gd name="T39" fmla="*/ 1143 h 1804"/>
              <a:gd name="T40" fmla="*/ 908 w 2305"/>
              <a:gd name="T41" fmla="*/ 1156 h 1804"/>
              <a:gd name="T42" fmla="*/ 829 w 2305"/>
              <a:gd name="T43" fmla="*/ 1233 h 1804"/>
              <a:gd name="T44" fmla="*/ 627 w 2305"/>
              <a:gd name="T45" fmla="*/ 1544 h 1804"/>
              <a:gd name="T46" fmla="*/ 1140 w 2305"/>
              <a:gd name="T47" fmla="*/ 1300 h 1804"/>
              <a:gd name="T48" fmla="*/ 1086 w 2305"/>
              <a:gd name="T49" fmla="*/ 1278 h 1804"/>
              <a:gd name="T50" fmla="*/ 739 w 2305"/>
              <a:gd name="T51" fmla="*/ 1624 h 1804"/>
              <a:gd name="T52" fmla="*/ 1207 w 2305"/>
              <a:gd name="T53" fmla="*/ 1611 h 1804"/>
              <a:gd name="T54" fmla="*/ 1220 w 2305"/>
              <a:gd name="T55" fmla="*/ 1520 h 1804"/>
              <a:gd name="T56" fmla="*/ 1174 w 2305"/>
              <a:gd name="T57" fmla="*/ 1483 h 1804"/>
              <a:gd name="T58" fmla="*/ 1073 w 2305"/>
              <a:gd name="T59" fmla="*/ 1746 h 1804"/>
              <a:gd name="T60" fmla="*/ 1264 w 2305"/>
              <a:gd name="T61" fmla="*/ 1571 h 1804"/>
              <a:gd name="T62" fmla="*/ 1246 w 2305"/>
              <a:gd name="T63" fmla="*/ 1620 h 1804"/>
              <a:gd name="T64" fmla="*/ 1342 w 2305"/>
              <a:gd name="T65" fmla="*/ 1746 h 1804"/>
              <a:gd name="T66" fmla="*/ 1098 w 2305"/>
              <a:gd name="T67" fmla="*/ 964 h 1804"/>
              <a:gd name="T68" fmla="*/ 912 w 2305"/>
              <a:gd name="T69" fmla="*/ 845 h 1804"/>
              <a:gd name="T70" fmla="*/ 615 w 2305"/>
              <a:gd name="T71" fmla="*/ 1127 h 1804"/>
              <a:gd name="T72" fmla="*/ 773 w 2305"/>
              <a:gd name="T73" fmla="*/ 1044 h 1804"/>
              <a:gd name="T74" fmla="*/ 853 w 2305"/>
              <a:gd name="T75" fmla="*/ 1109 h 1804"/>
              <a:gd name="T76" fmla="*/ 871 w 2305"/>
              <a:gd name="T77" fmla="*/ 1140 h 1804"/>
              <a:gd name="T78" fmla="*/ 922 w 2305"/>
              <a:gd name="T79" fmla="*/ 1112 h 1804"/>
              <a:gd name="T80" fmla="*/ 973 w 2305"/>
              <a:gd name="T81" fmla="*/ 1109 h 1804"/>
              <a:gd name="T82" fmla="*/ 1020 w 2305"/>
              <a:gd name="T83" fmla="*/ 1132 h 1804"/>
              <a:gd name="T84" fmla="*/ 1061 w 2305"/>
              <a:gd name="T85" fmla="*/ 1244 h 1804"/>
              <a:gd name="T86" fmla="*/ 1116 w 2305"/>
              <a:gd name="T87" fmla="*/ 1246 h 1804"/>
              <a:gd name="T88" fmla="*/ 1165 w 2305"/>
              <a:gd name="T89" fmla="*/ 1435 h 1804"/>
              <a:gd name="T90" fmla="*/ 1196 w 2305"/>
              <a:gd name="T91" fmla="*/ 1452 h 1804"/>
              <a:gd name="T92" fmla="*/ 1544 w 2305"/>
              <a:gd name="T93" fmla="*/ 1679 h 1804"/>
              <a:gd name="T94" fmla="*/ 1678 w 2305"/>
              <a:gd name="T95" fmla="*/ 1435 h 1804"/>
              <a:gd name="T96" fmla="*/ 1746 w 2305"/>
              <a:gd name="T97" fmla="*/ 1342 h 1804"/>
              <a:gd name="T98" fmla="*/ 1178 w 2305"/>
              <a:gd name="T99" fmla="*/ 615 h 1804"/>
              <a:gd name="T100" fmla="*/ 949 w 2305"/>
              <a:gd name="T101" fmla="*/ 918 h 1804"/>
              <a:gd name="T102" fmla="*/ 1073 w 2305"/>
              <a:gd name="T103" fmla="*/ 938 h 1804"/>
              <a:gd name="T104" fmla="*/ 320 w 2305"/>
              <a:gd name="T105" fmla="*/ 640 h 1804"/>
              <a:gd name="T106" fmla="*/ 253 w 2305"/>
              <a:gd name="T107" fmla="*/ 623 h 1804"/>
              <a:gd name="T108" fmla="*/ 1985 w 2305"/>
              <a:gd name="T109" fmla="*/ 640 h 1804"/>
              <a:gd name="T110" fmla="*/ 2053 w 2305"/>
              <a:gd name="T111" fmla="*/ 657 h 18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05" h="1804">
                <a:moveTo>
                  <a:pt x="1611" y="1367"/>
                </a:moveTo>
                <a:cubicBezTo>
                  <a:pt x="1342" y="1098"/>
                  <a:pt x="1342" y="1098"/>
                  <a:pt x="1342" y="1098"/>
                </a:cubicBezTo>
                <a:cubicBezTo>
                  <a:pt x="1367" y="1073"/>
                  <a:pt x="1367" y="1073"/>
                  <a:pt x="1367" y="1073"/>
                </a:cubicBezTo>
                <a:cubicBezTo>
                  <a:pt x="1636" y="1342"/>
                  <a:pt x="1636" y="1342"/>
                  <a:pt x="1636" y="1342"/>
                </a:cubicBezTo>
                <a:lnTo>
                  <a:pt x="1611" y="1367"/>
                </a:lnTo>
                <a:close/>
                <a:moveTo>
                  <a:pt x="1207" y="1233"/>
                </a:moveTo>
                <a:cubicBezTo>
                  <a:pt x="1544" y="1569"/>
                  <a:pt x="1544" y="1569"/>
                  <a:pt x="1544" y="1569"/>
                </a:cubicBezTo>
                <a:cubicBezTo>
                  <a:pt x="1569" y="1544"/>
                  <a:pt x="1569" y="1544"/>
                  <a:pt x="1569" y="1544"/>
                </a:cubicBezTo>
                <a:cubicBezTo>
                  <a:pt x="1233" y="1208"/>
                  <a:pt x="1233" y="1208"/>
                  <a:pt x="1233" y="1208"/>
                </a:cubicBezTo>
                <a:lnTo>
                  <a:pt x="1207" y="1233"/>
                </a:lnTo>
                <a:close/>
                <a:moveTo>
                  <a:pt x="2027" y="842"/>
                </a:moveTo>
                <a:cubicBezTo>
                  <a:pt x="1716" y="1153"/>
                  <a:pt x="1716" y="1153"/>
                  <a:pt x="1716" y="1153"/>
                </a:cubicBezTo>
                <a:cubicBezTo>
                  <a:pt x="1771" y="1208"/>
                  <a:pt x="1771" y="1208"/>
                  <a:pt x="1771" y="1208"/>
                </a:cubicBezTo>
                <a:cubicBezTo>
                  <a:pt x="1792" y="1229"/>
                  <a:pt x="1804" y="1257"/>
                  <a:pt x="1804" y="1287"/>
                </a:cubicBezTo>
                <a:cubicBezTo>
                  <a:pt x="1804" y="1318"/>
                  <a:pt x="1792" y="1346"/>
                  <a:pt x="1771" y="1367"/>
                </a:cubicBezTo>
                <a:cubicBezTo>
                  <a:pt x="1751" y="1388"/>
                  <a:pt x="1723" y="1399"/>
                  <a:pt x="1694" y="1400"/>
                </a:cubicBezTo>
                <a:cubicBezTo>
                  <a:pt x="1704" y="1409"/>
                  <a:pt x="1704" y="1409"/>
                  <a:pt x="1704" y="1409"/>
                </a:cubicBezTo>
                <a:cubicBezTo>
                  <a:pt x="1725" y="1431"/>
                  <a:pt x="1737" y="1459"/>
                  <a:pt x="1737" y="1489"/>
                </a:cubicBezTo>
                <a:cubicBezTo>
                  <a:pt x="1737" y="1519"/>
                  <a:pt x="1725" y="1548"/>
                  <a:pt x="1704" y="1569"/>
                </a:cubicBezTo>
                <a:cubicBezTo>
                  <a:pt x="1677" y="1596"/>
                  <a:pt x="1636" y="1608"/>
                  <a:pt x="1600" y="1600"/>
                </a:cubicBezTo>
                <a:cubicBezTo>
                  <a:pt x="1607" y="1636"/>
                  <a:pt x="1597" y="1676"/>
                  <a:pt x="1569" y="1704"/>
                </a:cubicBezTo>
                <a:cubicBezTo>
                  <a:pt x="1547" y="1726"/>
                  <a:pt x="1518" y="1737"/>
                  <a:pt x="1489" y="1737"/>
                </a:cubicBezTo>
                <a:cubicBezTo>
                  <a:pt x="1460" y="1737"/>
                  <a:pt x="1431" y="1726"/>
                  <a:pt x="1409" y="1704"/>
                </a:cubicBezTo>
                <a:cubicBezTo>
                  <a:pt x="1400" y="1695"/>
                  <a:pt x="1400" y="1695"/>
                  <a:pt x="1400" y="1695"/>
                </a:cubicBezTo>
                <a:cubicBezTo>
                  <a:pt x="1399" y="1724"/>
                  <a:pt x="1388" y="1751"/>
                  <a:pt x="1367" y="1771"/>
                </a:cubicBezTo>
                <a:cubicBezTo>
                  <a:pt x="1345" y="1793"/>
                  <a:pt x="1316" y="1804"/>
                  <a:pt x="1287" y="1804"/>
                </a:cubicBezTo>
                <a:cubicBezTo>
                  <a:pt x="1258" y="1804"/>
                  <a:pt x="1230" y="1793"/>
                  <a:pt x="1208" y="1771"/>
                </a:cubicBezTo>
                <a:cubicBezTo>
                  <a:pt x="1153" y="1716"/>
                  <a:pt x="1153" y="1716"/>
                  <a:pt x="1153" y="1716"/>
                </a:cubicBezTo>
                <a:cubicBezTo>
                  <a:pt x="1098" y="1771"/>
                  <a:pt x="1098" y="1771"/>
                  <a:pt x="1098" y="1771"/>
                </a:cubicBezTo>
                <a:cubicBezTo>
                  <a:pt x="1076" y="1793"/>
                  <a:pt x="1047" y="1804"/>
                  <a:pt x="1018" y="1804"/>
                </a:cubicBezTo>
                <a:cubicBezTo>
                  <a:pt x="989" y="1804"/>
                  <a:pt x="960" y="1793"/>
                  <a:pt x="938" y="1771"/>
                </a:cubicBezTo>
                <a:cubicBezTo>
                  <a:pt x="918" y="1751"/>
                  <a:pt x="906" y="1723"/>
                  <a:pt x="905" y="1695"/>
                </a:cubicBezTo>
                <a:cubicBezTo>
                  <a:pt x="896" y="1704"/>
                  <a:pt x="896" y="1704"/>
                  <a:pt x="896" y="1704"/>
                </a:cubicBezTo>
                <a:cubicBezTo>
                  <a:pt x="874" y="1726"/>
                  <a:pt x="845" y="1737"/>
                  <a:pt x="817" y="1737"/>
                </a:cubicBezTo>
                <a:cubicBezTo>
                  <a:pt x="788" y="1737"/>
                  <a:pt x="758" y="1726"/>
                  <a:pt x="736" y="1704"/>
                </a:cubicBezTo>
                <a:cubicBezTo>
                  <a:pt x="715" y="1682"/>
                  <a:pt x="703" y="1654"/>
                  <a:pt x="703" y="1624"/>
                </a:cubicBezTo>
                <a:cubicBezTo>
                  <a:pt x="703" y="1615"/>
                  <a:pt x="704" y="1607"/>
                  <a:pt x="706" y="1599"/>
                </a:cubicBezTo>
                <a:cubicBezTo>
                  <a:pt x="698" y="1601"/>
                  <a:pt x="690" y="1602"/>
                  <a:pt x="682" y="1602"/>
                </a:cubicBezTo>
                <a:cubicBezTo>
                  <a:pt x="653" y="1602"/>
                  <a:pt x="624" y="1591"/>
                  <a:pt x="602" y="1569"/>
                </a:cubicBezTo>
                <a:cubicBezTo>
                  <a:pt x="581" y="1548"/>
                  <a:pt x="569" y="1520"/>
                  <a:pt x="569" y="1489"/>
                </a:cubicBezTo>
                <a:cubicBezTo>
                  <a:pt x="569" y="1459"/>
                  <a:pt x="581" y="1431"/>
                  <a:pt x="602" y="1409"/>
                </a:cubicBezTo>
                <a:cubicBezTo>
                  <a:pt x="611" y="1400"/>
                  <a:pt x="611" y="1400"/>
                  <a:pt x="611" y="1400"/>
                </a:cubicBezTo>
                <a:cubicBezTo>
                  <a:pt x="583" y="1399"/>
                  <a:pt x="556" y="1389"/>
                  <a:pt x="534" y="1367"/>
                </a:cubicBezTo>
                <a:cubicBezTo>
                  <a:pt x="513" y="1346"/>
                  <a:pt x="501" y="1318"/>
                  <a:pt x="501" y="1287"/>
                </a:cubicBezTo>
                <a:cubicBezTo>
                  <a:pt x="501" y="1257"/>
                  <a:pt x="513" y="1229"/>
                  <a:pt x="534" y="1208"/>
                </a:cubicBezTo>
                <a:cubicBezTo>
                  <a:pt x="589" y="1153"/>
                  <a:pt x="589" y="1153"/>
                  <a:pt x="589" y="1153"/>
                </a:cubicBezTo>
                <a:cubicBezTo>
                  <a:pt x="278" y="842"/>
                  <a:pt x="278" y="842"/>
                  <a:pt x="278" y="842"/>
                </a:cubicBezTo>
                <a:cubicBezTo>
                  <a:pt x="227" y="892"/>
                  <a:pt x="227" y="892"/>
                  <a:pt x="227" y="892"/>
                </a:cubicBezTo>
                <a:cubicBezTo>
                  <a:pt x="0" y="665"/>
                  <a:pt x="0" y="665"/>
                  <a:pt x="0" y="665"/>
                </a:cubicBezTo>
                <a:cubicBezTo>
                  <a:pt x="665" y="0"/>
                  <a:pt x="665" y="0"/>
                  <a:pt x="665" y="0"/>
                </a:cubicBezTo>
                <a:cubicBezTo>
                  <a:pt x="892" y="228"/>
                  <a:pt x="892" y="228"/>
                  <a:pt x="892" y="228"/>
                </a:cubicBezTo>
                <a:cubicBezTo>
                  <a:pt x="842" y="278"/>
                  <a:pt x="842" y="278"/>
                  <a:pt x="842" y="278"/>
                </a:cubicBezTo>
                <a:cubicBezTo>
                  <a:pt x="1153" y="589"/>
                  <a:pt x="1153" y="589"/>
                  <a:pt x="1153" y="589"/>
                </a:cubicBezTo>
                <a:cubicBezTo>
                  <a:pt x="1464" y="278"/>
                  <a:pt x="1464" y="278"/>
                  <a:pt x="1464" y="278"/>
                </a:cubicBezTo>
                <a:cubicBezTo>
                  <a:pt x="1413" y="228"/>
                  <a:pt x="1413" y="228"/>
                  <a:pt x="1413" y="228"/>
                </a:cubicBezTo>
                <a:cubicBezTo>
                  <a:pt x="1640" y="0"/>
                  <a:pt x="1640" y="0"/>
                  <a:pt x="1640" y="0"/>
                </a:cubicBezTo>
                <a:cubicBezTo>
                  <a:pt x="2305" y="665"/>
                  <a:pt x="2305" y="665"/>
                  <a:pt x="2305" y="665"/>
                </a:cubicBezTo>
                <a:cubicBezTo>
                  <a:pt x="2078" y="892"/>
                  <a:pt x="2078" y="892"/>
                  <a:pt x="2078" y="892"/>
                </a:cubicBezTo>
                <a:lnTo>
                  <a:pt x="2027" y="842"/>
                </a:lnTo>
                <a:close/>
                <a:moveTo>
                  <a:pt x="227" y="842"/>
                </a:moveTo>
                <a:cubicBezTo>
                  <a:pt x="842" y="228"/>
                  <a:pt x="842" y="228"/>
                  <a:pt x="842" y="228"/>
                </a:cubicBezTo>
                <a:cubicBezTo>
                  <a:pt x="665" y="51"/>
                  <a:pt x="665" y="51"/>
                  <a:pt x="665" y="51"/>
                </a:cubicBezTo>
                <a:cubicBezTo>
                  <a:pt x="51" y="665"/>
                  <a:pt x="51" y="665"/>
                  <a:pt x="51" y="665"/>
                </a:cubicBezTo>
                <a:lnTo>
                  <a:pt x="227" y="842"/>
                </a:lnTo>
                <a:close/>
                <a:moveTo>
                  <a:pt x="1489" y="253"/>
                </a:moveTo>
                <a:cubicBezTo>
                  <a:pt x="1489" y="253"/>
                  <a:pt x="1489" y="253"/>
                  <a:pt x="1489" y="253"/>
                </a:cubicBezTo>
                <a:cubicBezTo>
                  <a:pt x="2053" y="816"/>
                  <a:pt x="2053" y="816"/>
                  <a:pt x="2053" y="816"/>
                </a:cubicBezTo>
                <a:cubicBezTo>
                  <a:pt x="2053" y="816"/>
                  <a:pt x="2053" y="816"/>
                  <a:pt x="2053" y="816"/>
                </a:cubicBezTo>
                <a:cubicBezTo>
                  <a:pt x="2078" y="842"/>
                  <a:pt x="2078" y="842"/>
                  <a:pt x="2078" y="842"/>
                </a:cubicBezTo>
                <a:cubicBezTo>
                  <a:pt x="2255" y="665"/>
                  <a:pt x="2255" y="665"/>
                  <a:pt x="2255" y="665"/>
                </a:cubicBezTo>
                <a:cubicBezTo>
                  <a:pt x="1640" y="51"/>
                  <a:pt x="1640" y="51"/>
                  <a:pt x="1640" y="51"/>
                </a:cubicBezTo>
                <a:cubicBezTo>
                  <a:pt x="1464" y="228"/>
                  <a:pt x="1464" y="228"/>
                  <a:pt x="1464" y="228"/>
                </a:cubicBezTo>
                <a:lnTo>
                  <a:pt x="1489" y="253"/>
                </a:lnTo>
                <a:close/>
                <a:moveTo>
                  <a:pt x="669" y="1342"/>
                </a:moveTo>
                <a:cubicBezTo>
                  <a:pt x="804" y="1207"/>
                  <a:pt x="804" y="1207"/>
                  <a:pt x="804" y="1207"/>
                </a:cubicBezTo>
                <a:cubicBezTo>
                  <a:pt x="818" y="1193"/>
                  <a:pt x="826" y="1174"/>
                  <a:pt x="826" y="1153"/>
                </a:cubicBezTo>
                <a:cubicBezTo>
                  <a:pt x="826" y="1144"/>
                  <a:pt x="824" y="1136"/>
                  <a:pt x="822" y="1128"/>
                </a:cubicBezTo>
                <a:cubicBezTo>
                  <a:pt x="818" y="1117"/>
                  <a:pt x="812" y="1107"/>
                  <a:pt x="804" y="1098"/>
                </a:cubicBezTo>
                <a:cubicBezTo>
                  <a:pt x="774" y="1069"/>
                  <a:pt x="723" y="1069"/>
                  <a:pt x="694" y="1098"/>
                </a:cubicBezTo>
                <a:cubicBezTo>
                  <a:pt x="615" y="1178"/>
                  <a:pt x="615" y="1178"/>
                  <a:pt x="615" y="1178"/>
                </a:cubicBezTo>
                <a:cubicBezTo>
                  <a:pt x="615" y="1178"/>
                  <a:pt x="615" y="1178"/>
                  <a:pt x="615" y="1178"/>
                </a:cubicBezTo>
                <a:cubicBezTo>
                  <a:pt x="560" y="1233"/>
                  <a:pt x="560" y="1233"/>
                  <a:pt x="560" y="1233"/>
                </a:cubicBezTo>
                <a:cubicBezTo>
                  <a:pt x="545" y="1247"/>
                  <a:pt x="537" y="1267"/>
                  <a:pt x="537" y="1287"/>
                </a:cubicBezTo>
                <a:cubicBezTo>
                  <a:pt x="537" y="1308"/>
                  <a:pt x="545" y="1328"/>
                  <a:pt x="560" y="1342"/>
                </a:cubicBezTo>
                <a:cubicBezTo>
                  <a:pt x="590" y="1372"/>
                  <a:pt x="639" y="1372"/>
                  <a:pt x="669" y="1342"/>
                </a:cubicBezTo>
                <a:close/>
                <a:moveTo>
                  <a:pt x="736" y="1544"/>
                </a:moveTo>
                <a:cubicBezTo>
                  <a:pt x="1005" y="1275"/>
                  <a:pt x="1005" y="1275"/>
                  <a:pt x="1005" y="1275"/>
                </a:cubicBezTo>
                <a:cubicBezTo>
                  <a:pt x="1011" y="1270"/>
                  <a:pt x="1015" y="1264"/>
                  <a:pt x="1018" y="1257"/>
                </a:cubicBezTo>
                <a:cubicBezTo>
                  <a:pt x="1024" y="1246"/>
                  <a:pt x="1028" y="1234"/>
                  <a:pt x="1028" y="1220"/>
                </a:cubicBezTo>
                <a:cubicBezTo>
                  <a:pt x="1028" y="1209"/>
                  <a:pt x="1026" y="1199"/>
                  <a:pt x="1021" y="1189"/>
                </a:cubicBezTo>
                <a:cubicBezTo>
                  <a:pt x="1019" y="1185"/>
                  <a:pt x="1017" y="1180"/>
                  <a:pt x="1014" y="1176"/>
                </a:cubicBezTo>
                <a:cubicBezTo>
                  <a:pt x="1012" y="1173"/>
                  <a:pt x="1009" y="1169"/>
                  <a:pt x="1006" y="1166"/>
                </a:cubicBezTo>
                <a:cubicBezTo>
                  <a:pt x="1002" y="1163"/>
                  <a:pt x="999" y="1160"/>
                  <a:pt x="995" y="1157"/>
                </a:cubicBezTo>
                <a:cubicBezTo>
                  <a:pt x="995" y="1157"/>
                  <a:pt x="994" y="1156"/>
                  <a:pt x="994" y="1156"/>
                </a:cubicBezTo>
                <a:cubicBezTo>
                  <a:pt x="991" y="1154"/>
                  <a:pt x="989" y="1153"/>
                  <a:pt x="986" y="1152"/>
                </a:cubicBezTo>
                <a:cubicBezTo>
                  <a:pt x="984" y="1151"/>
                  <a:pt x="982" y="1150"/>
                  <a:pt x="980" y="1149"/>
                </a:cubicBezTo>
                <a:cubicBezTo>
                  <a:pt x="978" y="1148"/>
                  <a:pt x="975" y="1147"/>
                  <a:pt x="972" y="1146"/>
                </a:cubicBezTo>
                <a:cubicBezTo>
                  <a:pt x="970" y="1146"/>
                  <a:pt x="968" y="1145"/>
                  <a:pt x="966" y="1145"/>
                </a:cubicBezTo>
                <a:cubicBezTo>
                  <a:pt x="961" y="1144"/>
                  <a:pt x="956" y="1143"/>
                  <a:pt x="951" y="1143"/>
                </a:cubicBezTo>
                <a:cubicBezTo>
                  <a:pt x="951" y="1143"/>
                  <a:pt x="951" y="1143"/>
                  <a:pt x="951" y="1143"/>
                </a:cubicBezTo>
                <a:cubicBezTo>
                  <a:pt x="946" y="1143"/>
                  <a:pt x="941" y="1144"/>
                  <a:pt x="936" y="1145"/>
                </a:cubicBezTo>
                <a:cubicBezTo>
                  <a:pt x="935" y="1145"/>
                  <a:pt x="935" y="1145"/>
                  <a:pt x="934" y="1145"/>
                </a:cubicBezTo>
                <a:cubicBezTo>
                  <a:pt x="930" y="1146"/>
                  <a:pt x="926" y="1147"/>
                  <a:pt x="921" y="1149"/>
                </a:cubicBezTo>
                <a:cubicBezTo>
                  <a:pt x="920" y="1149"/>
                  <a:pt x="919" y="1150"/>
                  <a:pt x="918" y="1151"/>
                </a:cubicBezTo>
                <a:cubicBezTo>
                  <a:pt x="914" y="1152"/>
                  <a:pt x="911" y="1154"/>
                  <a:pt x="908" y="1156"/>
                </a:cubicBezTo>
                <a:cubicBezTo>
                  <a:pt x="906" y="1157"/>
                  <a:pt x="905" y="1159"/>
                  <a:pt x="903" y="1160"/>
                </a:cubicBezTo>
                <a:cubicBezTo>
                  <a:pt x="901" y="1162"/>
                  <a:pt x="898" y="1164"/>
                  <a:pt x="896" y="1166"/>
                </a:cubicBezTo>
                <a:cubicBezTo>
                  <a:pt x="829" y="1233"/>
                  <a:pt x="829" y="1233"/>
                  <a:pt x="829" y="1233"/>
                </a:cubicBezTo>
                <a:cubicBezTo>
                  <a:pt x="829" y="1233"/>
                  <a:pt x="829" y="1233"/>
                  <a:pt x="829" y="1233"/>
                </a:cubicBezTo>
                <a:cubicBezTo>
                  <a:pt x="829" y="1233"/>
                  <a:pt x="829" y="1233"/>
                  <a:pt x="829" y="1233"/>
                </a:cubicBezTo>
                <a:cubicBezTo>
                  <a:pt x="694" y="1368"/>
                  <a:pt x="694" y="1368"/>
                  <a:pt x="694" y="1368"/>
                </a:cubicBezTo>
                <a:cubicBezTo>
                  <a:pt x="694" y="1368"/>
                  <a:pt x="694" y="1368"/>
                  <a:pt x="694" y="1368"/>
                </a:cubicBezTo>
                <a:cubicBezTo>
                  <a:pt x="627" y="1435"/>
                  <a:pt x="627" y="1435"/>
                  <a:pt x="627" y="1435"/>
                </a:cubicBezTo>
                <a:cubicBezTo>
                  <a:pt x="613" y="1449"/>
                  <a:pt x="605" y="1469"/>
                  <a:pt x="605" y="1489"/>
                </a:cubicBezTo>
                <a:cubicBezTo>
                  <a:pt x="605" y="1510"/>
                  <a:pt x="613" y="1529"/>
                  <a:pt x="627" y="1544"/>
                </a:cubicBezTo>
                <a:cubicBezTo>
                  <a:pt x="657" y="1574"/>
                  <a:pt x="706" y="1574"/>
                  <a:pt x="736" y="1544"/>
                </a:cubicBezTo>
                <a:close/>
                <a:moveTo>
                  <a:pt x="1073" y="1477"/>
                </a:moveTo>
                <a:cubicBezTo>
                  <a:pt x="1140" y="1409"/>
                  <a:pt x="1140" y="1409"/>
                  <a:pt x="1140" y="1409"/>
                </a:cubicBezTo>
                <a:cubicBezTo>
                  <a:pt x="1155" y="1395"/>
                  <a:pt x="1162" y="1376"/>
                  <a:pt x="1162" y="1355"/>
                </a:cubicBezTo>
                <a:cubicBezTo>
                  <a:pt x="1162" y="1334"/>
                  <a:pt x="1154" y="1315"/>
                  <a:pt x="1140" y="1300"/>
                </a:cubicBezTo>
                <a:cubicBezTo>
                  <a:pt x="1135" y="1296"/>
                  <a:pt x="1131" y="1292"/>
                  <a:pt x="1125" y="1289"/>
                </a:cubicBezTo>
                <a:cubicBezTo>
                  <a:pt x="1124" y="1288"/>
                  <a:pt x="1122" y="1287"/>
                  <a:pt x="1121" y="1287"/>
                </a:cubicBezTo>
                <a:cubicBezTo>
                  <a:pt x="1117" y="1285"/>
                  <a:pt x="1113" y="1283"/>
                  <a:pt x="1108" y="1281"/>
                </a:cubicBezTo>
                <a:cubicBezTo>
                  <a:pt x="1107" y="1281"/>
                  <a:pt x="1105" y="1280"/>
                  <a:pt x="1103" y="1280"/>
                </a:cubicBezTo>
                <a:cubicBezTo>
                  <a:pt x="1098" y="1279"/>
                  <a:pt x="1092" y="1278"/>
                  <a:pt x="1086" y="1278"/>
                </a:cubicBezTo>
                <a:cubicBezTo>
                  <a:pt x="1086" y="1278"/>
                  <a:pt x="1086" y="1278"/>
                  <a:pt x="1085" y="1278"/>
                </a:cubicBezTo>
                <a:cubicBezTo>
                  <a:pt x="1079" y="1278"/>
                  <a:pt x="1072" y="1278"/>
                  <a:pt x="1065" y="1280"/>
                </a:cubicBezTo>
                <a:cubicBezTo>
                  <a:pt x="1053" y="1283"/>
                  <a:pt x="1041" y="1290"/>
                  <a:pt x="1031" y="1300"/>
                </a:cubicBezTo>
                <a:cubicBezTo>
                  <a:pt x="762" y="1569"/>
                  <a:pt x="762" y="1569"/>
                  <a:pt x="762" y="1569"/>
                </a:cubicBezTo>
                <a:cubicBezTo>
                  <a:pt x="747" y="1584"/>
                  <a:pt x="739" y="1603"/>
                  <a:pt x="739" y="1624"/>
                </a:cubicBezTo>
                <a:cubicBezTo>
                  <a:pt x="739" y="1644"/>
                  <a:pt x="747" y="1664"/>
                  <a:pt x="762" y="1678"/>
                </a:cubicBezTo>
                <a:cubicBezTo>
                  <a:pt x="792" y="1708"/>
                  <a:pt x="841" y="1709"/>
                  <a:pt x="871" y="1679"/>
                </a:cubicBezTo>
                <a:lnTo>
                  <a:pt x="1073" y="1477"/>
                </a:lnTo>
                <a:close/>
                <a:moveTo>
                  <a:pt x="1127" y="1691"/>
                </a:moveTo>
                <a:cubicBezTo>
                  <a:pt x="1207" y="1611"/>
                  <a:pt x="1207" y="1611"/>
                  <a:pt x="1207" y="1611"/>
                </a:cubicBezTo>
                <a:cubicBezTo>
                  <a:pt x="1222" y="1597"/>
                  <a:pt x="1230" y="1577"/>
                  <a:pt x="1230" y="1557"/>
                </a:cubicBezTo>
                <a:cubicBezTo>
                  <a:pt x="1230" y="1552"/>
                  <a:pt x="1229" y="1546"/>
                  <a:pt x="1228" y="1541"/>
                </a:cubicBezTo>
                <a:cubicBezTo>
                  <a:pt x="1228" y="1540"/>
                  <a:pt x="1227" y="1538"/>
                  <a:pt x="1227" y="1536"/>
                </a:cubicBezTo>
                <a:cubicBezTo>
                  <a:pt x="1226" y="1533"/>
                  <a:pt x="1225" y="1530"/>
                  <a:pt x="1224" y="1527"/>
                </a:cubicBezTo>
                <a:cubicBezTo>
                  <a:pt x="1223" y="1525"/>
                  <a:pt x="1222" y="1523"/>
                  <a:pt x="1220" y="1520"/>
                </a:cubicBezTo>
                <a:cubicBezTo>
                  <a:pt x="1219" y="1518"/>
                  <a:pt x="1218" y="1516"/>
                  <a:pt x="1217" y="1514"/>
                </a:cubicBezTo>
                <a:cubicBezTo>
                  <a:pt x="1215" y="1511"/>
                  <a:pt x="1213" y="1509"/>
                  <a:pt x="1211" y="1506"/>
                </a:cubicBezTo>
                <a:cubicBezTo>
                  <a:pt x="1210" y="1505"/>
                  <a:pt x="1209" y="1503"/>
                  <a:pt x="1207" y="1502"/>
                </a:cubicBezTo>
                <a:cubicBezTo>
                  <a:pt x="1207" y="1502"/>
                  <a:pt x="1207" y="1502"/>
                  <a:pt x="1207" y="1502"/>
                </a:cubicBezTo>
                <a:cubicBezTo>
                  <a:pt x="1198" y="1492"/>
                  <a:pt x="1186" y="1486"/>
                  <a:pt x="1174" y="1483"/>
                </a:cubicBezTo>
                <a:cubicBezTo>
                  <a:pt x="1148" y="1475"/>
                  <a:pt x="1119" y="1481"/>
                  <a:pt x="1098" y="1502"/>
                </a:cubicBezTo>
                <a:cubicBezTo>
                  <a:pt x="964" y="1637"/>
                  <a:pt x="964" y="1637"/>
                  <a:pt x="964" y="1637"/>
                </a:cubicBezTo>
                <a:cubicBezTo>
                  <a:pt x="949" y="1651"/>
                  <a:pt x="941" y="1671"/>
                  <a:pt x="941" y="1691"/>
                </a:cubicBezTo>
                <a:cubicBezTo>
                  <a:pt x="941" y="1712"/>
                  <a:pt x="949" y="1731"/>
                  <a:pt x="964" y="1746"/>
                </a:cubicBezTo>
                <a:cubicBezTo>
                  <a:pt x="994" y="1776"/>
                  <a:pt x="1043" y="1776"/>
                  <a:pt x="1073" y="1746"/>
                </a:cubicBezTo>
                <a:lnTo>
                  <a:pt x="1127" y="1691"/>
                </a:lnTo>
                <a:close/>
                <a:moveTo>
                  <a:pt x="1365" y="1691"/>
                </a:moveTo>
                <a:cubicBezTo>
                  <a:pt x="1365" y="1671"/>
                  <a:pt x="1357" y="1651"/>
                  <a:pt x="1342" y="1637"/>
                </a:cubicBezTo>
                <a:cubicBezTo>
                  <a:pt x="1266" y="1560"/>
                  <a:pt x="1266" y="1560"/>
                  <a:pt x="1266" y="1560"/>
                </a:cubicBezTo>
                <a:cubicBezTo>
                  <a:pt x="1266" y="1564"/>
                  <a:pt x="1265" y="1568"/>
                  <a:pt x="1264" y="1571"/>
                </a:cubicBezTo>
                <a:cubicBezTo>
                  <a:pt x="1264" y="1574"/>
                  <a:pt x="1264" y="1577"/>
                  <a:pt x="1263" y="1580"/>
                </a:cubicBezTo>
                <a:cubicBezTo>
                  <a:pt x="1262" y="1584"/>
                  <a:pt x="1261" y="1589"/>
                  <a:pt x="1259" y="1593"/>
                </a:cubicBezTo>
                <a:cubicBezTo>
                  <a:pt x="1258" y="1595"/>
                  <a:pt x="1258" y="1598"/>
                  <a:pt x="1257" y="1601"/>
                </a:cubicBezTo>
                <a:cubicBezTo>
                  <a:pt x="1255" y="1605"/>
                  <a:pt x="1252" y="1609"/>
                  <a:pt x="1250" y="1614"/>
                </a:cubicBezTo>
                <a:cubicBezTo>
                  <a:pt x="1249" y="1616"/>
                  <a:pt x="1248" y="1618"/>
                  <a:pt x="1246" y="1620"/>
                </a:cubicBezTo>
                <a:cubicBezTo>
                  <a:pt x="1242" y="1626"/>
                  <a:pt x="1238" y="1631"/>
                  <a:pt x="1233" y="1637"/>
                </a:cubicBezTo>
                <a:cubicBezTo>
                  <a:pt x="1178" y="1691"/>
                  <a:pt x="1178" y="1691"/>
                  <a:pt x="1178" y="1691"/>
                </a:cubicBezTo>
                <a:cubicBezTo>
                  <a:pt x="1233" y="1746"/>
                  <a:pt x="1233" y="1746"/>
                  <a:pt x="1233" y="1746"/>
                </a:cubicBezTo>
                <a:cubicBezTo>
                  <a:pt x="1263" y="1776"/>
                  <a:pt x="1312" y="1776"/>
                  <a:pt x="1342" y="1746"/>
                </a:cubicBezTo>
                <a:cubicBezTo>
                  <a:pt x="1342" y="1746"/>
                  <a:pt x="1342" y="1746"/>
                  <a:pt x="1342" y="1746"/>
                </a:cubicBezTo>
                <a:cubicBezTo>
                  <a:pt x="1357" y="1731"/>
                  <a:pt x="1365" y="1712"/>
                  <a:pt x="1365" y="1691"/>
                </a:cubicBezTo>
                <a:close/>
                <a:moveTo>
                  <a:pt x="1746" y="1233"/>
                </a:moveTo>
                <a:cubicBezTo>
                  <a:pt x="1287" y="775"/>
                  <a:pt x="1287" y="775"/>
                  <a:pt x="1287" y="775"/>
                </a:cubicBezTo>
                <a:cubicBezTo>
                  <a:pt x="1098" y="964"/>
                  <a:pt x="1098" y="964"/>
                  <a:pt x="1098" y="964"/>
                </a:cubicBezTo>
                <a:cubicBezTo>
                  <a:pt x="1098" y="964"/>
                  <a:pt x="1098" y="964"/>
                  <a:pt x="1098" y="964"/>
                </a:cubicBezTo>
                <a:cubicBezTo>
                  <a:pt x="1076" y="985"/>
                  <a:pt x="1049" y="998"/>
                  <a:pt x="1018" y="997"/>
                </a:cubicBezTo>
                <a:cubicBezTo>
                  <a:pt x="988" y="997"/>
                  <a:pt x="959" y="985"/>
                  <a:pt x="938" y="964"/>
                </a:cubicBezTo>
                <a:cubicBezTo>
                  <a:pt x="931" y="957"/>
                  <a:pt x="926" y="949"/>
                  <a:pt x="921" y="941"/>
                </a:cubicBezTo>
                <a:cubicBezTo>
                  <a:pt x="911" y="924"/>
                  <a:pt x="905" y="904"/>
                  <a:pt x="905" y="884"/>
                </a:cubicBezTo>
                <a:cubicBezTo>
                  <a:pt x="905" y="870"/>
                  <a:pt x="908" y="858"/>
                  <a:pt x="912" y="845"/>
                </a:cubicBezTo>
                <a:cubicBezTo>
                  <a:pt x="918" y="830"/>
                  <a:pt x="926" y="816"/>
                  <a:pt x="938" y="804"/>
                </a:cubicBezTo>
                <a:cubicBezTo>
                  <a:pt x="1127" y="615"/>
                  <a:pt x="1127" y="615"/>
                  <a:pt x="1127" y="615"/>
                </a:cubicBezTo>
                <a:cubicBezTo>
                  <a:pt x="816" y="304"/>
                  <a:pt x="816" y="304"/>
                  <a:pt x="816" y="304"/>
                </a:cubicBezTo>
                <a:cubicBezTo>
                  <a:pt x="303" y="816"/>
                  <a:pt x="303" y="816"/>
                  <a:pt x="303" y="816"/>
                </a:cubicBezTo>
                <a:cubicBezTo>
                  <a:pt x="615" y="1127"/>
                  <a:pt x="615" y="1127"/>
                  <a:pt x="615" y="1127"/>
                </a:cubicBezTo>
                <a:cubicBezTo>
                  <a:pt x="669" y="1073"/>
                  <a:pt x="669" y="1073"/>
                  <a:pt x="669" y="1073"/>
                </a:cubicBezTo>
                <a:cubicBezTo>
                  <a:pt x="674" y="1068"/>
                  <a:pt x="679" y="1064"/>
                  <a:pt x="685" y="1060"/>
                </a:cubicBezTo>
                <a:cubicBezTo>
                  <a:pt x="685" y="1060"/>
                  <a:pt x="686" y="1059"/>
                  <a:pt x="686" y="1059"/>
                </a:cubicBezTo>
                <a:cubicBezTo>
                  <a:pt x="688" y="1058"/>
                  <a:pt x="689" y="1058"/>
                  <a:pt x="690" y="1057"/>
                </a:cubicBezTo>
                <a:cubicBezTo>
                  <a:pt x="715" y="1042"/>
                  <a:pt x="745" y="1038"/>
                  <a:pt x="773" y="1044"/>
                </a:cubicBezTo>
                <a:cubicBezTo>
                  <a:pt x="794" y="1048"/>
                  <a:pt x="813" y="1058"/>
                  <a:pt x="829" y="1073"/>
                </a:cubicBezTo>
                <a:cubicBezTo>
                  <a:pt x="833" y="1077"/>
                  <a:pt x="837" y="1082"/>
                  <a:pt x="840" y="1086"/>
                </a:cubicBezTo>
                <a:cubicBezTo>
                  <a:pt x="841" y="1087"/>
                  <a:pt x="842" y="1088"/>
                  <a:pt x="842" y="1089"/>
                </a:cubicBezTo>
                <a:cubicBezTo>
                  <a:pt x="844" y="1092"/>
                  <a:pt x="846" y="1095"/>
                  <a:pt x="847" y="1098"/>
                </a:cubicBezTo>
                <a:cubicBezTo>
                  <a:pt x="849" y="1102"/>
                  <a:pt x="851" y="1105"/>
                  <a:pt x="853" y="1109"/>
                </a:cubicBezTo>
                <a:cubicBezTo>
                  <a:pt x="854" y="1111"/>
                  <a:pt x="855" y="1114"/>
                  <a:pt x="855" y="1117"/>
                </a:cubicBezTo>
                <a:cubicBezTo>
                  <a:pt x="857" y="1121"/>
                  <a:pt x="858" y="1125"/>
                  <a:pt x="859" y="1129"/>
                </a:cubicBezTo>
                <a:cubicBezTo>
                  <a:pt x="860" y="1132"/>
                  <a:pt x="860" y="1135"/>
                  <a:pt x="860" y="1137"/>
                </a:cubicBezTo>
                <a:cubicBezTo>
                  <a:pt x="861" y="1141"/>
                  <a:pt x="862" y="1145"/>
                  <a:pt x="862" y="1149"/>
                </a:cubicBezTo>
                <a:cubicBezTo>
                  <a:pt x="871" y="1140"/>
                  <a:pt x="871" y="1140"/>
                  <a:pt x="871" y="1140"/>
                </a:cubicBezTo>
                <a:cubicBezTo>
                  <a:pt x="873" y="1138"/>
                  <a:pt x="876" y="1137"/>
                  <a:pt x="878" y="1135"/>
                </a:cubicBezTo>
                <a:cubicBezTo>
                  <a:pt x="881" y="1132"/>
                  <a:pt x="885" y="1129"/>
                  <a:pt x="888" y="1126"/>
                </a:cubicBezTo>
                <a:cubicBezTo>
                  <a:pt x="892" y="1124"/>
                  <a:pt x="896" y="1122"/>
                  <a:pt x="899" y="1120"/>
                </a:cubicBezTo>
                <a:cubicBezTo>
                  <a:pt x="902" y="1119"/>
                  <a:pt x="905" y="1117"/>
                  <a:pt x="908" y="1116"/>
                </a:cubicBezTo>
                <a:cubicBezTo>
                  <a:pt x="912" y="1114"/>
                  <a:pt x="917" y="1113"/>
                  <a:pt x="922" y="1112"/>
                </a:cubicBezTo>
                <a:cubicBezTo>
                  <a:pt x="924" y="1111"/>
                  <a:pt x="926" y="1110"/>
                  <a:pt x="929" y="1109"/>
                </a:cubicBezTo>
                <a:cubicBezTo>
                  <a:pt x="936" y="1108"/>
                  <a:pt x="944" y="1107"/>
                  <a:pt x="951" y="1107"/>
                </a:cubicBezTo>
                <a:cubicBezTo>
                  <a:pt x="951" y="1107"/>
                  <a:pt x="951" y="1107"/>
                  <a:pt x="951" y="1107"/>
                </a:cubicBezTo>
                <a:cubicBezTo>
                  <a:pt x="951" y="1107"/>
                  <a:pt x="952" y="1107"/>
                  <a:pt x="952" y="1107"/>
                </a:cubicBezTo>
                <a:cubicBezTo>
                  <a:pt x="959" y="1107"/>
                  <a:pt x="966" y="1108"/>
                  <a:pt x="973" y="1109"/>
                </a:cubicBezTo>
                <a:cubicBezTo>
                  <a:pt x="977" y="1110"/>
                  <a:pt x="981" y="1112"/>
                  <a:pt x="985" y="1113"/>
                </a:cubicBezTo>
                <a:cubicBezTo>
                  <a:pt x="988" y="1114"/>
                  <a:pt x="991" y="1115"/>
                  <a:pt x="994" y="1116"/>
                </a:cubicBezTo>
                <a:cubicBezTo>
                  <a:pt x="998" y="1117"/>
                  <a:pt x="1001" y="1120"/>
                  <a:pt x="1005" y="1122"/>
                </a:cubicBezTo>
                <a:cubicBezTo>
                  <a:pt x="1008" y="1123"/>
                  <a:pt x="1011" y="1124"/>
                  <a:pt x="1013" y="1126"/>
                </a:cubicBezTo>
                <a:cubicBezTo>
                  <a:pt x="1016" y="1128"/>
                  <a:pt x="1018" y="1130"/>
                  <a:pt x="1020" y="1132"/>
                </a:cubicBezTo>
                <a:cubicBezTo>
                  <a:pt x="1024" y="1135"/>
                  <a:pt x="1028" y="1137"/>
                  <a:pt x="1031" y="1140"/>
                </a:cubicBezTo>
                <a:cubicBezTo>
                  <a:pt x="1034" y="1143"/>
                  <a:pt x="1036" y="1147"/>
                  <a:pt x="1039" y="1150"/>
                </a:cubicBezTo>
                <a:cubicBezTo>
                  <a:pt x="1045" y="1158"/>
                  <a:pt x="1051" y="1167"/>
                  <a:pt x="1055" y="1177"/>
                </a:cubicBezTo>
                <a:cubicBezTo>
                  <a:pt x="1061" y="1190"/>
                  <a:pt x="1064" y="1205"/>
                  <a:pt x="1064" y="1220"/>
                </a:cubicBezTo>
                <a:cubicBezTo>
                  <a:pt x="1064" y="1228"/>
                  <a:pt x="1063" y="1236"/>
                  <a:pt x="1061" y="1244"/>
                </a:cubicBezTo>
                <a:cubicBezTo>
                  <a:pt x="1061" y="1244"/>
                  <a:pt x="1061" y="1244"/>
                  <a:pt x="1061" y="1244"/>
                </a:cubicBezTo>
                <a:cubicBezTo>
                  <a:pt x="1066" y="1243"/>
                  <a:pt x="1071" y="1243"/>
                  <a:pt x="1075" y="1243"/>
                </a:cubicBezTo>
                <a:cubicBezTo>
                  <a:pt x="1080" y="1243"/>
                  <a:pt x="1084" y="1242"/>
                  <a:pt x="1088" y="1242"/>
                </a:cubicBezTo>
                <a:cubicBezTo>
                  <a:pt x="1093" y="1242"/>
                  <a:pt x="1099" y="1243"/>
                  <a:pt x="1105" y="1244"/>
                </a:cubicBezTo>
                <a:cubicBezTo>
                  <a:pt x="1109" y="1245"/>
                  <a:pt x="1112" y="1245"/>
                  <a:pt x="1116" y="1246"/>
                </a:cubicBezTo>
                <a:cubicBezTo>
                  <a:pt x="1122" y="1248"/>
                  <a:pt x="1128" y="1251"/>
                  <a:pt x="1134" y="1254"/>
                </a:cubicBezTo>
                <a:cubicBezTo>
                  <a:pt x="1137" y="1255"/>
                  <a:pt x="1140" y="1256"/>
                  <a:pt x="1142" y="1257"/>
                </a:cubicBezTo>
                <a:cubicBezTo>
                  <a:pt x="1150" y="1262"/>
                  <a:pt x="1158" y="1268"/>
                  <a:pt x="1165" y="1275"/>
                </a:cubicBezTo>
                <a:cubicBezTo>
                  <a:pt x="1186" y="1296"/>
                  <a:pt x="1198" y="1325"/>
                  <a:pt x="1198" y="1355"/>
                </a:cubicBezTo>
                <a:cubicBezTo>
                  <a:pt x="1198" y="1385"/>
                  <a:pt x="1187" y="1414"/>
                  <a:pt x="1165" y="1435"/>
                </a:cubicBezTo>
                <a:cubicBezTo>
                  <a:pt x="1156" y="1444"/>
                  <a:pt x="1156" y="1444"/>
                  <a:pt x="1156" y="1444"/>
                </a:cubicBezTo>
                <a:cubicBezTo>
                  <a:pt x="1160" y="1444"/>
                  <a:pt x="1163" y="1444"/>
                  <a:pt x="1167" y="1445"/>
                </a:cubicBezTo>
                <a:cubicBezTo>
                  <a:pt x="1170" y="1445"/>
                  <a:pt x="1173" y="1445"/>
                  <a:pt x="1176" y="1446"/>
                </a:cubicBezTo>
                <a:cubicBezTo>
                  <a:pt x="1180" y="1447"/>
                  <a:pt x="1184" y="1448"/>
                  <a:pt x="1188" y="1450"/>
                </a:cubicBezTo>
                <a:cubicBezTo>
                  <a:pt x="1191" y="1451"/>
                  <a:pt x="1193" y="1451"/>
                  <a:pt x="1196" y="1452"/>
                </a:cubicBezTo>
                <a:cubicBezTo>
                  <a:pt x="1201" y="1454"/>
                  <a:pt x="1205" y="1457"/>
                  <a:pt x="1209" y="1459"/>
                </a:cubicBezTo>
                <a:cubicBezTo>
                  <a:pt x="1211" y="1460"/>
                  <a:pt x="1213" y="1461"/>
                  <a:pt x="1215" y="1462"/>
                </a:cubicBezTo>
                <a:cubicBezTo>
                  <a:pt x="1221" y="1466"/>
                  <a:pt x="1227" y="1471"/>
                  <a:pt x="1233" y="1477"/>
                </a:cubicBezTo>
                <a:cubicBezTo>
                  <a:pt x="1435" y="1679"/>
                  <a:pt x="1435" y="1679"/>
                  <a:pt x="1435" y="1679"/>
                </a:cubicBezTo>
                <a:cubicBezTo>
                  <a:pt x="1464" y="1708"/>
                  <a:pt x="1515" y="1708"/>
                  <a:pt x="1544" y="1679"/>
                </a:cubicBezTo>
                <a:cubicBezTo>
                  <a:pt x="1574" y="1648"/>
                  <a:pt x="1574" y="1599"/>
                  <a:pt x="1544" y="1569"/>
                </a:cubicBezTo>
                <a:cubicBezTo>
                  <a:pt x="1569" y="1544"/>
                  <a:pt x="1569" y="1544"/>
                  <a:pt x="1569" y="1544"/>
                </a:cubicBezTo>
                <a:cubicBezTo>
                  <a:pt x="1598" y="1573"/>
                  <a:pt x="1649" y="1573"/>
                  <a:pt x="1678" y="1544"/>
                </a:cubicBezTo>
                <a:cubicBezTo>
                  <a:pt x="1693" y="1529"/>
                  <a:pt x="1701" y="1510"/>
                  <a:pt x="1701" y="1489"/>
                </a:cubicBezTo>
                <a:cubicBezTo>
                  <a:pt x="1701" y="1468"/>
                  <a:pt x="1693" y="1449"/>
                  <a:pt x="1678" y="1435"/>
                </a:cubicBezTo>
                <a:cubicBezTo>
                  <a:pt x="1611" y="1368"/>
                  <a:pt x="1611" y="1368"/>
                  <a:pt x="1611" y="1368"/>
                </a:cubicBezTo>
                <a:cubicBezTo>
                  <a:pt x="1636" y="1342"/>
                  <a:pt x="1636" y="1342"/>
                  <a:pt x="1636" y="1342"/>
                </a:cubicBezTo>
                <a:cubicBezTo>
                  <a:pt x="1651" y="1357"/>
                  <a:pt x="1670" y="1365"/>
                  <a:pt x="1691" y="1365"/>
                </a:cubicBezTo>
                <a:cubicBezTo>
                  <a:pt x="1691" y="1365"/>
                  <a:pt x="1691" y="1365"/>
                  <a:pt x="1691" y="1365"/>
                </a:cubicBezTo>
                <a:cubicBezTo>
                  <a:pt x="1712" y="1365"/>
                  <a:pt x="1731" y="1356"/>
                  <a:pt x="1746" y="1342"/>
                </a:cubicBezTo>
                <a:cubicBezTo>
                  <a:pt x="1760" y="1327"/>
                  <a:pt x="1768" y="1308"/>
                  <a:pt x="1768" y="1287"/>
                </a:cubicBezTo>
                <a:cubicBezTo>
                  <a:pt x="1768" y="1267"/>
                  <a:pt x="1760" y="1247"/>
                  <a:pt x="1746" y="1233"/>
                </a:cubicBezTo>
                <a:close/>
                <a:moveTo>
                  <a:pt x="2002" y="816"/>
                </a:moveTo>
                <a:cubicBezTo>
                  <a:pt x="1489" y="303"/>
                  <a:pt x="1489" y="303"/>
                  <a:pt x="1489" y="303"/>
                </a:cubicBezTo>
                <a:cubicBezTo>
                  <a:pt x="1178" y="615"/>
                  <a:pt x="1178" y="615"/>
                  <a:pt x="1178" y="615"/>
                </a:cubicBezTo>
                <a:cubicBezTo>
                  <a:pt x="1178" y="615"/>
                  <a:pt x="1178" y="615"/>
                  <a:pt x="1178" y="615"/>
                </a:cubicBezTo>
                <a:cubicBezTo>
                  <a:pt x="964" y="829"/>
                  <a:pt x="964" y="829"/>
                  <a:pt x="964" y="829"/>
                </a:cubicBezTo>
                <a:cubicBezTo>
                  <a:pt x="956" y="837"/>
                  <a:pt x="950" y="847"/>
                  <a:pt x="946" y="857"/>
                </a:cubicBezTo>
                <a:cubicBezTo>
                  <a:pt x="943" y="865"/>
                  <a:pt x="941" y="874"/>
                  <a:pt x="941" y="884"/>
                </a:cubicBezTo>
                <a:cubicBezTo>
                  <a:pt x="941" y="896"/>
                  <a:pt x="944" y="907"/>
                  <a:pt x="949" y="918"/>
                </a:cubicBezTo>
                <a:cubicBezTo>
                  <a:pt x="953" y="925"/>
                  <a:pt x="958" y="932"/>
                  <a:pt x="964" y="938"/>
                </a:cubicBezTo>
                <a:cubicBezTo>
                  <a:pt x="978" y="953"/>
                  <a:pt x="998" y="961"/>
                  <a:pt x="1018" y="961"/>
                </a:cubicBezTo>
                <a:cubicBezTo>
                  <a:pt x="1018" y="961"/>
                  <a:pt x="1018" y="961"/>
                  <a:pt x="1018" y="961"/>
                </a:cubicBezTo>
                <a:cubicBezTo>
                  <a:pt x="1034" y="961"/>
                  <a:pt x="1049" y="956"/>
                  <a:pt x="1061" y="948"/>
                </a:cubicBezTo>
                <a:cubicBezTo>
                  <a:pt x="1065" y="945"/>
                  <a:pt x="1069" y="942"/>
                  <a:pt x="1073" y="938"/>
                </a:cubicBezTo>
                <a:cubicBezTo>
                  <a:pt x="1287" y="724"/>
                  <a:pt x="1287" y="724"/>
                  <a:pt x="1287" y="724"/>
                </a:cubicBezTo>
                <a:cubicBezTo>
                  <a:pt x="1691" y="1127"/>
                  <a:pt x="1691" y="1127"/>
                  <a:pt x="1691" y="1127"/>
                </a:cubicBezTo>
                <a:lnTo>
                  <a:pt x="2002" y="816"/>
                </a:lnTo>
                <a:close/>
                <a:moveTo>
                  <a:pt x="253" y="573"/>
                </a:moveTo>
                <a:cubicBezTo>
                  <a:pt x="320" y="640"/>
                  <a:pt x="320" y="640"/>
                  <a:pt x="320" y="640"/>
                </a:cubicBezTo>
                <a:cubicBezTo>
                  <a:pt x="253" y="707"/>
                  <a:pt x="253" y="707"/>
                  <a:pt x="253" y="707"/>
                </a:cubicBezTo>
                <a:cubicBezTo>
                  <a:pt x="185" y="640"/>
                  <a:pt x="185" y="640"/>
                  <a:pt x="185" y="640"/>
                </a:cubicBezTo>
                <a:lnTo>
                  <a:pt x="253" y="573"/>
                </a:lnTo>
                <a:close/>
                <a:moveTo>
                  <a:pt x="269" y="640"/>
                </a:moveTo>
                <a:cubicBezTo>
                  <a:pt x="253" y="623"/>
                  <a:pt x="253" y="623"/>
                  <a:pt x="253" y="623"/>
                </a:cubicBezTo>
                <a:cubicBezTo>
                  <a:pt x="236" y="640"/>
                  <a:pt x="236" y="640"/>
                  <a:pt x="236" y="640"/>
                </a:cubicBezTo>
                <a:cubicBezTo>
                  <a:pt x="253" y="657"/>
                  <a:pt x="253" y="657"/>
                  <a:pt x="253" y="657"/>
                </a:cubicBezTo>
                <a:lnTo>
                  <a:pt x="269" y="640"/>
                </a:lnTo>
                <a:close/>
                <a:moveTo>
                  <a:pt x="2053" y="707"/>
                </a:moveTo>
                <a:cubicBezTo>
                  <a:pt x="1985" y="640"/>
                  <a:pt x="1985" y="640"/>
                  <a:pt x="1985" y="640"/>
                </a:cubicBezTo>
                <a:cubicBezTo>
                  <a:pt x="2053" y="573"/>
                  <a:pt x="2053" y="573"/>
                  <a:pt x="2053" y="573"/>
                </a:cubicBezTo>
                <a:cubicBezTo>
                  <a:pt x="2120" y="640"/>
                  <a:pt x="2120" y="640"/>
                  <a:pt x="2120" y="640"/>
                </a:cubicBezTo>
                <a:lnTo>
                  <a:pt x="2053" y="707"/>
                </a:lnTo>
                <a:close/>
                <a:moveTo>
                  <a:pt x="2036" y="640"/>
                </a:moveTo>
                <a:cubicBezTo>
                  <a:pt x="2053" y="657"/>
                  <a:pt x="2053" y="657"/>
                  <a:pt x="2053" y="657"/>
                </a:cubicBezTo>
                <a:cubicBezTo>
                  <a:pt x="2069" y="640"/>
                  <a:pt x="2069" y="640"/>
                  <a:pt x="2069" y="640"/>
                </a:cubicBezTo>
                <a:cubicBezTo>
                  <a:pt x="2053" y="623"/>
                  <a:pt x="2053" y="623"/>
                  <a:pt x="2053" y="623"/>
                </a:cubicBezTo>
                <a:lnTo>
                  <a:pt x="2036" y="6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grpSp>
        <p:nvGrpSpPr>
          <p:cNvPr id="40" name="Group 39"/>
          <p:cNvGrpSpPr/>
          <p:nvPr/>
        </p:nvGrpSpPr>
        <p:grpSpPr>
          <a:xfrm>
            <a:off x="6222536" y="1792817"/>
            <a:ext cx="1491126" cy="518423"/>
            <a:chOff x="6222536" y="1808321"/>
            <a:chExt cx="1491126" cy="518423"/>
          </a:xfrm>
        </p:grpSpPr>
        <p:sp>
          <p:nvSpPr>
            <p:cNvPr id="35" name="TextBox 34"/>
            <p:cNvSpPr txBox="1"/>
            <p:nvPr/>
          </p:nvSpPr>
          <p:spPr>
            <a:xfrm>
              <a:off x="6222550" y="180832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lv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222536" y="2023391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6612026" y="2945780"/>
            <a:ext cx="1491126" cy="518423"/>
            <a:chOff x="6222536" y="1808321"/>
            <a:chExt cx="1491126" cy="518423"/>
          </a:xfrm>
        </p:grpSpPr>
        <p:sp>
          <p:nvSpPr>
            <p:cNvPr id="42" name="TextBox 41"/>
            <p:cNvSpPr txBox="1"/>
            <p:nvPr/>
          </p:nvSpPr>
          <p:spPr>
            <a:xfrm>
              <a:off x="6222550" y="180832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bordagem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222536" y="2023391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019815" y="2945780"/>
            <a:ext cx="1491126" cy="517012"/>
            <a:chOff x="6222536" y="1808321"/>
            <a:chExt cx="1491126" cy="517012"/>
          </a:xfrm>
        </p:grpSpPr>
        <p:sp>
          <p:nvSpPr>
            <p:cNvPr id="46" name="TextBox 45"/>
            <p:cNvSpPr txBox="1"/>
            <p:nvPr/>
          </p:nvSpPr>
          <p:spPr>
            <a:xfrm>
              <a:off x="6222550" y="180832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visã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222536" y="2023391"/>
              <a:ext cx="1491126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1409867" y="1792817"/>
            <a:ext cx="1491126" cy="518423"/>
            <a:chOff x="6222536" y="1808321"/>
            <a:chExt cx="1491126" cy="518423"/>
          </a:xfrm>
        </p:grpSpPr>
        <p:sp>
          <p:nvSpPr>
            <p:cNvPr id="49" name="TextBox 48"/>
            <p:cNvSpPr txBox="1"/>
            <p:nvPr/>
          </p:nvSpPr>
          <p:spPr>
            <a:xfrm>
              <a:off x="6222550" y="1808321"/>
              <a:ext cx="149106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dei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6222536" y="2023391"/>
              <a:ext cx="1491126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cxnSp>
        <p:nvCxnSpPr>
          <p:cNvPr id="51" name="Straight Connector 50"/>
          <p:cNvCxnSpPr/>
          <p:nvPr/>
        </p:nvCxnSpPr>
        <p:spPr>
          <a:xfrm>
            <a:off x="3670548" y="1982430"/>
            <a:ext cx="34815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278435" y="3166842"/>
            <a:ext cx="46330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5113785" y="1982430"/>
            <a:ext cx="348158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5367585" y="3166842"/>
            <a:ext cx="463303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31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14"/>
          <p:cNvCxnSpPr>
            <a:stCxn id="13" idx="6"/>
          </p:cNvCxnSpPr>
          <p:nvPr/>
        </p:nvCxnSpPr>
        <p:spPr>
          <a:xfrm>
            <a:off x="3334938" y="3415243"/>
            <a:ext cx="80416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12" idx="2"/>
          </p:cNvCxnSpPr>
          <p:nvPr/>
        </p:nvCxnSpPr>
        <p:spPr>
          <a:xfrm flipH="1">
            <a:off x="5222237" y="2883558"/>
            <a:ext cx="58682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5809062" y="2627648"/>
            <a:ext cx="511821" cy="511821"/>
            <a:chOff x="5809062" y="2627648"/>
            <a:chExt cx="511821" cy="511821"/>
          </a:xfrm>
        </p:grpSpPr>
        <p:sp>
          <p:nvSpPr>
            <p:cNvPr id="12" name="Oval 11"/>
            <p:cNvSpPr/>
            <p:nvPr/>
          </p:nvSpPr>
          <p:spPr>
            <a:xfrm>
              <a:off x="5809062" y="2627648"/>
              <a:ext cx="511821" cy="511821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auto">
            <a:xfrm>
              <a:off x="5917096" y="2746376"/>
              <a:ext cx="267236" cy="273262"/>
            </a:xfrm>
            <a:custGeom>
              <a:avLst/>
              <a:gdLst>
                <a:gd name="T0" fmla="*/ 425 w 1114"/>
                <a:gd name="T1" fmla="*/ 518 h 1141"/>
                <a:gd name="T2" fmla="*/ 437 w 1114"/>
                <a:gd name="T3" fmla="*/ 540 h 1141"/>
                <a:gd name="T4" fmla="*/ 328 w 1114"/>
                <a:gd name="T5" fmla="*/ 598 h 1141"/>
                <a:gd name="T6" fmla="*/ 457 w 1114"/>
                <a:gd name="T7" fmla="*/ 651 h 1141"/>
                <a:gd name="T8" fmla="*/ 570 w 1114"/>
                <a:gd name="T9" fmla="*/ 356 h 1141"/>
                <a:gd name="T10" fmla="*/ 305 w 1114"/>
                <a:gd name="T11" fmla="*/ 697 h 1141"/>
                <a:gd name="T12" fmla="*/ 20 w 1114"/>
                <a:gd name="T13" fmla="*/ 901 h 1141"/>
                <a:gd name="T14" fmla="*/ 228 w 1114"/>
                <a:gd name="T15" fmla="*/ 586 h 1141"/>
                <a:gd name="T16" fmla="*/ 616 w 1114"/>
                <a:gd name="T17" fmla="*/ 309 h 1141"/>
                <a:gd name="T18" fmla="*/ 363 w 1114"/>
                <a:gd name="T19" fmla="*/ 674 h 1141"/>
                <a:gd name="T20" fmla="*/ 268 w 1114"/>
                <a:gd name="T21" fmla="*/ 543 h 1141"/>
                <a:gd name="T22" fmla="*/ 313 w 1114"/>
                <a:gd name="T23" fmla="*/ 612 h 1141"/>
                <a:gd name="T24" fmla="*/ 600 w 1114"/>
                <a:gd name="T25" fmla="*/ 325 h 1141"/>
                <a:gd name="T26" fmla="*/ 245 w 1114"/>
                <a:gd name="T27" fmla="*/ 604 h 1141"/>
                <a:gd name="T28" fmla="*/ 342 w 1114"/>
                <a:gd name="T29" fmla="*/ 663 h 1141"/>
                <a:gd name="T30" fmla="*/ 297 w 1114"/>
                <a:gd name="T31" fmla="*/ 628 h 1141"/>
                <a:gd name="T32" fmla="*/ 263 w 1114"/>
                <a:gd name="T33" fmla="*/ 584 h 1141"/>
                <a:gd name="T34" fmla="*/ 289 w 1114"/>
                <a:gd name="T35" fmla="*/ 681 h 1141"/>
                <a:gd name="T36" fmla="*/ 36 w 1114"/>
                <a:gd name="T37" fmla="*/ 885 h 1141"/>
                <a:gd name="T38" fmla="*/ 1114 w 1114"/>
                <a:gd name="T39" fmla="*/ 195 h 1141"/>
                <a:gd name="T40" fmla="*/ 366 w 1114"/>
                <a:gd name="T41" fmla="*/ 1092 h 1141"/>
                <a:gd name="T42" fmla="*/ 273 w 1114"/>
                <a:gd name="T43" fmla="*/ 776 h 1141"/>
                <a:gd name="T44" fmla="*/ 323 w 1114"/>
                <a:gd name="T45" fmla="*/ 1045 h 1141"/>
                <a:gd name="T46" fmla="*/ 1017 w 1114"/>
                <a:gd name="T47" fmla="*/ 157 h 1141"/>
                <a:gd name="T48" fmla="*/ 903 w 1114"/>
                <a:gd name="T49" fmla="*/ 106 h 1141"/>
                <a:gd name="T50" fmla="*/ 822 w 1114"/>
                <a:gd name="T51" fmla="*/ 76 h 1141"/>
                <a:gd name="T52" fmla="*/ 799 w 1114"/>
                <a:gd name="T53" fmla="*/ 76 h 1141"/>
                <a:gd name="T54" fmla="*/ 719 w 1114"/>
                <a:gd name="T55" fmla="*/ 106 h 1141"/>
                <a:gd name="T56" fmla="*/ 649 w 1114"/>
                <a:gd name="T57" fmla="*/ 117 h 1141"/>
                <a:gd name="T58" fmla="*/ 580 w 1114"/>
                <a:gd name="T59" fmla="*/ 106 h 1141"/>
                <a:gd name="T60" fmla="*/ 499 w 1114"/>
                <a:gd name="T61" fmla="*/ 76 h 1141"/>
                <a:gd name="T62" fmla="*/ 476 w 1114"/>
                <a:gd name="T63" fmla="*/ 76 h 1141"/>
                <a:gd name="T64" fmla="*/ 395 w 1114"/>
                <a:gd name="T65" fmla="*/ 106 h 1141"/>
                <a:gd name="T66" fmla="*/ 296 w 1114"/>
                <a:gd name="T67" fmla="*/ 255 h 1141"/>
                <a:gd name="T68" fmla="*/ 323 w 1114"/>
                <a:gd name="T69" fmla="*/ 53 h 1141"/>
                <a:gd name="T70" fmla="*/ 418 w 1114"/>
                <a:gd name="T71" fmla="*/ 11 h 1141"/>
                <a:gd name="T72" fmla="*/ 487 w 1114"/>
                <a:gd name="T73" fmla="*/ 0 h 1141"/>
                <a:gd name="T74" fmla="*/ 557 w 1114"/>
                <a:gd name="T75" fmla="*/ 11 h 1141"/>
                <a:gd name="T76" fmla="*/ 638 w 1114"/>
                <a:gd name="T77" fmla="*/ 53 h 1141"/>
                <a:gd name="T78" fmla="*/ 660 w 1114"/>
                <a:gd name="T79" fmla="*/ 53 h 1141"/>
                <a:gd name="T80" fmla="*/ 741 w 1114"/>
                <a:gd name="T81" fmla="*/ 11 h 1141"/>
                <a:gd name="T82" fmla="*/ 811 w 1114"/>
                <a:gd name="T83" fmla="*/ 0 h 1141"/>
                <a:gd name="T84" fmla="*/ 880 w 1114"/>
                <a:gd name="T85" fmla="*/ 11 h 1141"/>
                <a:gd name="T86" fmla="*/ 991 w 1114"/>
                <a:gd name="T87" fmla="*/ 53 h 1141"/>
                <a:gd name="T88" fmla="*/ 1114 w 1114"/>
                <a:gd name="T89" fmla="*/ 195 h 1141"/>
                <a:gd name="T90" fmla="*/ 1040 w 1114"/>
                <a:gd name="T91" fmla="*/ 1019 h 1141"/>
                <a:gd name="T92" fmla="*/ 415 w 1114"/>
                <a:gd name="T93" fmla="*/ 1118 h 1141"/>
                <a:gd name="T94" fmla="*/ 798 w 1114"/>
                <a:gd name="T95" fmla="*/ 651 h 1141"/>
                <a:gd name="T96" fmla="*/ 715 w 1114"/>
                <a:gd name="T97" fmla="*/ 989 h 1141"/>
                <a:gd name="T98" fmla="*/ 798 w 1114"/>
                <a:gd name="T99" fmla="*/ 651 h 1141"/>
                <a:gd name="T100" fmla="*/ 786 w 1114"/>
                <a:gd name="T101" fmla="*/ 966 h 1141"/>
                <a:gd name="T102" fmla="*/ 671 w 1114"/>
                <a:gd name="T103" fmla="*/ 977 h 1141"/>
                <a:gd name="T104" fmla="*/ 566 w 1114"/>
                <a:gd name="T105" fmla="*/ 757 h 1141"/>
                <a:gd name="T106" fmla="*/ 589 w 1114"/>
                <a:gd name="T107" fmla="*/ 769 h 1141"/>
                <a:gd name="T108" fmla="*/ 935 w 1114"/>
                <a:gd name="T109" fmla="*/ 575 h 1141"/>
                <a:gd name="T110" fmla="*/ 853 w 1114"/>
                <a:gd name="T111" fmla="*/ 989 h 1141"/>
                <a:gd name="T112" fmla="*/ 935 w 1114"/>
                <a:gd name="T113" fmla="*/ 575 h 1141"/>
                <a:gd name="T114" fmla="*/ 924 w 1114"/>
                <a:gd name="T115" fmla="*/ 966 h 1141"/>
                <a:gd name="T116" fmla="*/ 804 w 1114"/>
                <a:gd name="T117" fmla="*/ 434 h 1141"/>
                <a:gd name="T118" fmla="*/ 877 w 1114"/>
                <a:gd name="T119" fmla="*/ 383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14" h="1141">
                  <a:moveTo>
                    <a:pt x="346" y="489"/>
                  </a:moveTo>
                  <a:cubicBezTo>
                    <a:pt x="341" y="486"/>
                    <a:pt x="340" y="479"/>
                    <a:pt x="344" y="474"/>
                  </a:cubicBezTo>
                  <a:cubicBezTo>
                    <a:pt x="347" y="468"/>
                    <a:pt x="355" y="467"/>
                    <a:pt x="360" y="471"/>
                  </a:cubicBezTo>
                  <a:cubicBezTo>
                    <a:pt x="425" y="518"/>
                    <a:pt x="425" y="518"/>
                    <a:pt x="425" y="518"/>
                  </a:cubicBezTo>
                  <a:cubicBezTo>
                    <a:pt x="533" y="378"/>
                    <a:pt x="533" y="378"/>
                    <a:pt x="533" y="378"/>
                  </a:cubicBezTo>
                  <a:cubicBezTo>
                    <a:pt x="537" y="374"/>
                    <a:pt x="544" y="373"/>
                    <a:pt x="549" y="376"/>
                  </a:cubicBezTo>
                  <a:cubicBezTo>
                    <a:pt x="554" y="380"/>
                    <a:pt x="555" y="387"/>
                    <a:pt x="551" y="392"/>
                  </a:cubicBezTo>
                  <a:cubicBezTo>
                    <a:pt x="437" y="540"/>
                    <a:pt x="437" y="540"/>
                    <a:pt x="437" y="540"/>
                  </a:cubicBezTo>
                  <a:cubicBezTo>
                    <a:pt x="435" y="543"/>
                    <a:pt x="431" y="545"/>
                    <a:pt x="428" y="545"/>
                  </a:cubicBezTo>
                  <a:cubicBezTo>
                    <a:pt x="425" y="545"/>
                    <a:pt x="423" y="544"/>
                    <a:pt x="421" y="543"/>
                  </a:cubicBezTo>
                  <a:lnTo>
                    <a:pt x="346" y="489"/>
                  </a:lnTo>
                  <a:close/>
                  <a:moveTo>
                    <a:pt x="328" y="598"/>
                  </a:moveTo>
                  <a:cubicBezTo>
                    <a:pt x="256" y="527"/>
                    <a:pt x="256" y="411"/>
                    <a:pt x="328" y="340"/>
                  </a:cubicBezTo>
                  <a:cubicBezTo>
                    <a:pt x="399" y="268"/>
                    <a:pt x="515" y="268"/>
                    <a:pt x="586" y="340"/>
                  </a:cubicBezTo>
                  <a:cubicBezTo>
                    <a:pt x="657" y="411"/>
                    <a:pt x="657" y="527"/>
                    <a:pt x="586" y="598"/>
                  </a:cubicBezTo>
                  <a:cubicBezTo>
                    <a:pt x="550" y="634"/>
                    <a:pt x="504" y="651"/>
                    <a:pt x="457" y="651"/>
                  </a:cubicBezTo>
                  <a:cubicBezTo>
                    <a:pt x="410" y="651"/>
                    <a:pt x="363" y="634"/>
                    <a:pt x="328" y="598"/>
                  </a:cubicBezTo>
                  <a:close/>
                  <a:moveTo>
                    <a:pt x="344" y="582"/>
                  </a:moveTo>
                  <a:cubicBezTo>
                    <a:pt x="406" y="644"/>
                    <a:pt x="508" y="644"/>
                    <a:pt x="570" y="582"/>
                  </a:cubicBezTo>
                  <a:cubicBezTo>
                    <a:pt x="632" y="520"/>
                    <a:pt x="632" y="418"/>
                    <a:pt x="570" y="356"/>
                  </a:cubicBezTo>
                  <a:cubicBezTo>
                    <a:pt x="539" y="325"/>
                    <a:pt x="498" y="309"/>
                    <a:pt x="457" y="309"/>
                  </a:cubicBezTo>
                  <a:cubicBezTo>
                    <a:pt x="416" y="309"/>
                    <a:pt x="375" y="325"/>
                    <a:pt x="344" y="356"/>
                  </a:cubicBezTo>
                  <a:cubicBezTo>
                    <a:pt x="281" y="418"/>
                    <a:pt x="281" y="520"/>
                    <a:pt x="344" y="582"/>
                  </a:cubicBezTo>
                  <a:close/>
                  <a:moveTo>
                    <a:pt x="305" y="697"/>
                  </a:moveTo>
                  <a:cubicBezTo>
                    <a:pt x="97" y="906"/>
                    <a:pt x="97" y="906"/>
                    <a:pt x="97" y="906"/>
                  </a:cubicBezTo>
                  <a:cubicBezTo>
                    <a:pt x="87" y="916"/>
                    <a:pt x="74" y="921"/>
                    <a:pt x="61" y="921"/>
                  </a:cubicBezTo>
                  <a:cubicBezTo>
                    <a:pt x="47" y="921"/>
                    <a:pt x="35" y="916"/>
                    <a:pt x="25" y="906"/>
                  </a:cubicBezTo>
                  <a:cubicBezTo>
                    <a:pt x="20" y="901"/>
                    <a:pt x="20" y="901"/>
                    <a:pt x="20" y="901"/>
                  </a:cubicBezTo>
                  <a:cubicBezTo>
                    <a:pt x="0" y="882"/>
                    <a:pt x="0" y="850"/>
                    <a:pt x="20" y="830"/>
                  </a:cubicBezTo>
                  <a:cubicBezTo>
                    <a:pt x="229" y="620"/>
                    <a:pt x="229" y="620"/>
                    <a:pt x="229" y="620"/>
                  </a:cubicBezTo>
                  <a:cubicBezTo>
                    <a:pt x="228" y="620"/>
                    <a:pt x="228" y="620"/>
                    <a:pt x="228" y="620"/>
                  </a:cubicBezTo>
                  <a:cubicBezTo>
                    <a:pt x="219" y="611"/>
                    <a:pt x="219" y="595"/>
                    <a:pt x="228" y="586"/>
                  </a:cubicBezTo>
                  <a:cubicBezTo>
                    <a:pt x="252" y="562"/>
                    <a:pt x="252" y="562"/>
                    <a:pt x="252" y="562"/>
                  </a:cubicBezTo>
                  <a:cubicBezTo>
                    <a:pt x="250" y="559"/>
                    <a:pt x="249" y="555"/>
                    <a:pt x="247" y="552"/>
                  </a:cubicBezTo>
                  <a:cubicBezTo>
                    <a:pt x="214" y="468"/>
                    <a:pt x="234" y="373"/>
                    <a:pt x="297" y="309"/>
                  </a:cubicBezTo>
                  <a:cubicBezTo>
                    <a:pt x="385" y="221"/>
                    <a:pt x="528" y="221"/>
                    <a:pt x="616" y="309"/>
                  </a:cubicBezTo>
                  <a:cubicBezTo>
                    <a:pt x="704" y="397"/>
                    <a:pt x="704" y="540"/>
                    <a:pt x="616" y="628"/>
                  </a:cubicBezTo>
                  <a:cubicBezTo>
                    <a:pt x="573" y="671"/>
                    <a:pt x="516" y="694"/>
                    <a:pt x="457" y="694"/>
                  </a:cubicBezTo>
                  <a:cubicBezTo>
                    <a:pt x="429" y="694"/>
                    <a:pt x="401" y="689"/>
                    <a:pt x="374" y="679"/>
                  </a:cubicBezTo>
                  <a:cubicBezTo>
                    <a:pt x="370" y="677"/>
                    <a:pt x="367" y="675"/>
                    <a:pt x="363" y="674"/>
                  </a:cubicBezTo>
                  <a:cubicBezTo>
                    <a:pt x="340" y="697"/>
                    <a:pt x="340" y="697"/>
                    <a:pt x="340" y="697"/>
                  </a:cubicBezTo>
                  <a:cubicBezTo>
                    <a:pt x="335" y="702"/>
                    <a:pt x="329" y="704"/>
                    <a:pt x="322" y="704"/>
                  </a:cubicBezTo>
                  <a:cubicBezTo>
                    <a:pt x="316" y="704"/>
                    <a:pt x="310" y="702"/>
                    <a:pt x="305" y="697"/>
                  </a:cubicBezTo>
                  <a:close/>
                  <a:moveTo>
                    <a:pt x="268" y="543"/>
                  </a:moveTo>
                  <a:cubicBezTo>
                    <a:pt x="270" y="549"/>
                    <a:pt x="273" y="554"/>
                    <a:pt x="276" y="560"/>
                  </a:cubicBezTo>
                  <a:cubicBezTo>
                    <a:pt x="276" y="560"/>
                    <a:pt x="276" y="560"/>
                    <a:pt x="276" y="560"/>
                  </a:cubicBezTo>
                  <a:cubicBezTo>
                    <a:pt x="282" y="573"/>
                    <a:pt x="291" y="586"/>
                    <a:pt x="301" y="598"/>
                  </a:cubicBezTo>
                  <a:cubicBezTo>
                    <a:pt x="305" y="603"/>
                    <a:pt x="309" y="608"/>
                    <a:pt x="313" y="612"/>
                  </a:cubicBezTo>
                  <a:cubicBezTo>
                    <a:pt x="329" y="628"/>
                    <a:pt x="346" y="640"/>
                    <a:pt x="365" y="650"/>
                  </a:cubicBezTo>
                  <a:cubicBezTo>
                    <a:pt x="371" y="653"/>
                    <a:pt x="377" y="655"/>
                    <a:pt x="382" y="657"/>
                  </a:cubicBezTo>
                  <a:cubicBezTo>
                    <a:pt x="457" y="687"/>
                    <a:pt x="543" y="669"/>
                    <a:pt x="600" y="612"/>
                  </a:cubicBezTo>
                  <a:cubicBezTo>
                    <a:pt x="679" y="533"/>
                    <a:pt x="679" y="405"/>
                    <a:pt x="600" y="325"/>
                  </a:cubicBezTo>
                  <a:cubicBezTo>
                    <a:pt x="561" y="286"/>
                    <a:pt x="509" y="266"/>
                    <a:pt x="457" y="266"/>
                  </a:cubicBezTo>
                  <a:cubicBezTo>
                    <a:pt x="405" y="266"/>
                    <a:pt x="353" y="286"/>
                    <a:pt x="313" y="325"/>
                  </a:cubicBezTo>
                  <a:cubicBezTo>
                    <a:pt x="256" y="383"/>
                    <a:pt x="238" y="468"/>
                    <a:pt x="268" y="543"/>
                  </a:cubicBezTo>
                  <a:close/>
                  <a:moveTo>
                    <a:pt x="245" y="604"/>
                  </a:moveTo>
                  <a:cubicBezTo>
                    <a:pt x="245" y="604"/>
                    <a:pt x="245" y="604"/>
                    <a:pt x="245" y="604"/>
                  </a:cubicBezTo>
                  <a:cubicBezTo>
                    <a:pt x="321" y="681"/>
                    <a:pt x="321" y="681"/>
                    <a:pt x="321" y="681"/>
                  </a:cubicBezTo>
                  <a:cubicBezTo>
                    <a:pt x="322" y="681"/>
                    <a:pt x="323" y="681"/>
                    <a:pt x="324" y="681"/>
                  </a:cubicBezTo>
                  <a:cubicBezTo>
                    <a:pt x="342" y="663"/>
                    <a:pt x="342" y="663"/>
                    <a:pt x="342" y="663"/>
                  </a:cubicBezTo>
                  <a:cubicBezTo>
                    <a:pt x="341" y="663"/>
                    <a:pt x="341" y="662"/>
                    <a:pt x="341" y="662"/>
                  </a:cubicBezTo>
                  <a:cubicBezTo>
                    <a:pt x="334" y="658"/>
                    <a:pt x="327" y="653"/>
                    <a:pt x="320" y="648"/>
                  </a:cubicBezTo>
                  <a:cubicBezTo>
                    <a:pt x="319" y="647"/>
                    <a:pt x="318" y="646"/>
                    <a:pt x="316" y="645"/>
                  </a:cubicBezTo>
                  <a:cubicBezTo>
                    <a:pt x="310" y="640"/>
                    <a:pt x="303" y="634"/>
                    <a:pt x="297" y="628"/>
                  </a:cubicBezTo>
                  <a:cubicBezTo>
                    <a:pt x="291" y="622"/>
                    <a:pt x="286" y="616"/>
                    <a:pt x="281" y="609"/>
                  </a:cubicBezTo>
                  <a:cubicBezTo>
                    <a:pt x="279" y="608"/>
                    <a:pt x="278" y="606"/>
                    <a:pt x="277" y="605"/>
                  </a:cubicBezTo>
                  <a:cubicBezTo>
                    <a:pt x="272" y="598"/>
                    <a:pt x="267" y="591"/>
                    <a:pt x="263" y="584"/>
                  </a:cubicBezTo>
                  <a:cubicBezTo>
                    <a:pt x="263" y="584"/>
                    <a:pt x="263" y="584"/>
                    <a:pt x="263" y="584"/>
                  </a:cubicBezTo>
                  <a:cubicBezTo>
                    <a:pt x="244" y="602"/>
                    <a:pt x="244" y="602"/>
                    <a:pt x="244" y="602"/>
                  </a:cubicBezTo>
                  <a:cubicBezTo>
                    <a:pt x="244" y="602"/>
                    <a:pt x="244" y="603"/>
                    <a:pt x="244" y="604"/>
                  </a:cubicBezTo>
                  <a:lnTo>
                    <a:pt x="245" y="604"/>
                  </a:lnTo>
                  <a:close/>
                  <a:moveTo>
                    <a:pt x="289" y="681"/>
                  </a:moveTo>
                  <a:cubicBezTo>
                    <a:pt x="245" y="636"/>
                    <a:pt x="245" y="636"/>
                    <a:pt x="245" y="636"/>
                  </a:cubicBezTo>
                  <a:cubicBezTo>
                    <a:pt x="36" y="846"/>
                    <a:pt x="36" y="846"/>
                    <a:pt x="36" y="846"/>
                  </a:cubicBezTo>
                  <a:cubicBezTo>
                    <a:pt x="31" y="851"/>
                    <a:pt x="28" y="858"/>
                    <a:pt x="28" y="866"/>
                  </a:cubicBezTo>
                  <a:cubicBezTo>
                    <a:pt x="28" y="873"/>
                    <a:pt x="31" y="880"/>
                    <a:pt x="36" y="885"/>
                  </a:cubicBezTo>
                  <a:cubicBezTo>
                    <a:pt x="41" y="890"/>
                    <a:pt x="41" y="890"/>
                    <a:pt x="41" y="890"/>
                  </a:cubicBezTo>
                  <a:cubicBezTo>
                    <a:pt x="52" y="901"/>
                    <a:pt x="70" y="901"/>
                    <a:pt x="80" y="890"/>
                  </a:cubicBezTo>
                  <a:lnTo>
                    <a:pt x="289" y="681"/>
                  </a:lnTo>
                  <a:close/>
                  <a:moveTo>
                    <a:pt x="1114" y="195"/>
                  </a:moveTo>
                  <a:cubicBezTo>
                    <a:pt x="1114" y="1092"/>
                    <a:pt x="1114" y="1092"/>
                    <a:pt x="1114" y="1092"/>
                  </a:cubicBezTo>
                  <a:cubicBezTo>
                    <a:pt x="1114" y="1119"/>
                    <a:pt x="1092" y="1141"/>
                    <a:pt x="1065" y="1141"/>
                  </a:cubicBezTo>
                  <a:cubicBezTo>
                    <a:pt x="415" y="1141"/>
                    <a:pt x="415" y="1141"/>
                    <a:pt x="415" y="1141"/>
                  </a:cubicBezTo>
                  <a:cubicBezTo>
                    <a:pt x="388" y="1141"/>
                    <a:pt x="366" y="1119"/>
                    <a:pt x="366" y="1092"/>
                  </a:cubicBezTo>
                  <a:cubicBezTo>
                    <a:pt x="366" y="1068"/>
                    <a:pt x="366" y="1068"/>
                    <a:pt x="366" y="1068"/>
                  </a:cubicBezTo>
                  <a:cubicBezTo>
                    <a:pt x="323" y="1068"/>
                    <a:pt x="323" y="1068"/>
                    <a:pt x="323" y="1068"/>
                  </a:cubicBezTo>
                  <a:cubicBezTo>
                    <a:pt x="295" y="1068"/>
                    <a:pt x="273" y="1046"/>
                    <a:pt x="273" y="1019"/>
                  </a:cubicBezTo>
                  <a:cubicBezTo>
                    <a:pt x="273" y="776"/>
                    <a:pt x="273" y="776"/>
                    <a:pt x="273" y="776"/>
                  </a:cubicBezTo>
                  <a:cubicBezTo>
                    <a:pt x="273" y="769"/>
                    <a:pt x="278" y="764"/>
                    <a:pt x="285" y="764"/>
                  </a:cubicBezTo>
                  <a:cubicBezTo>
                    <a:pt x="291" y="764"/>
                    <a:pt x="296" y="769"/>
                    <a:pt x="296" y="776"/>
                  </a:cubicBezTo>
                  <a:cubicBezTo>
                    <a:pt x="296" y="1019"/>
                    <a:pt x="296" y="1019"/>
                    <a:pt x="296" y="1019"/>
                  </a:cubicBezTo>
                  <a:cubicBezTo>
                    <a:pt x="296" y="1033"/>
                    <a:pt x="308" y="1045"/>
                    <a:pt x="323" y="1045"/>
                  </a:cubicBezTo>
                  <a:cubicBezTo>
                    <a:pt x="378" y="1045"/>
                    <a:pt x="378" y="1045"/>
                    <a:pt x="378" y="1045"/>
                  </a:cubicBezTo>
                  <a:cubicBezTo>
                    <a:pt x="991" y="1045"/>
                    <a:pt x="991" y="1045"/>
                    <a:pt x="991" y="1045"/>
                  </a:cubicBezTo>
                  <a:cubicBezTo>
                    <a:pt x="1005" y="1045"/>
                    <a:pt x="1017" y="1033"/>
                    <a:pt x="1017" y="1019"/>
                  </a:cubicBezTo>
                  <a:cubicBezTo>
                    <a:pt x="1017" y="157"/>
                    <a:pt x="1017" y="157"/>
                    <a:pt x="1017" y="157"/>
                  </a:cubicBezTo>
                  <a:cubicBezTo>
                    <a:pt x="1017" y="102"/>
                    <a:pt x="1017" y="102"/>
                    <a:pt x="1017" y="102"/>
                  </a:cubicBezTo>
                  <a:cubicBezTo>
                    <a:pt x="1017" y="88"/>
                    <a:pt x="1005" y="76"/>
                    <a:pt x="991" y="76"/>
                  </a:cubicBezTo>
                  <a:cubicBezTo>
                    <a:pt x="903" y="76"/>
                    <a:pt x="903" y="76"/>
                    <a:pt x="903" y="76"/>
                  </a:cubicBezTo>
                  <a:cubicBezTo>
                    <a:pt x="903" y="106"/>
                    <a:pt x="903" y="106"/>
                    <a:pt x="903" y="106"/>
                  </a:cubicBezTo>
                  <a:cubicBezTo>
                    <a:pt x="903" y="112"/>
                    <a:pt x="898" y="117"/>
                    <a:pt x="892" y="117"/>
                  </a:cubicBezTo>
                  <a:cubicBezTo>
                    <a:pt x="885" y="117"/>
                    <a:pt x="880" y="112"/>
                    <a:pt x="880" y="106"/>
                  </a:cubicBezTo>
                  <a:cubicBezTo>
                    <a:pt x="880" y="76"/>
                    <a:pt x="880" y="76"/>
                    <a:pt x="880" y="76"/>
                  </a:cubicBezTo>
                  <a:cubicBezTo>
                    <a:pt x="822" y="76"/>
                    <a:pt x="822" y="76"/>
                    <a:pt x="822" y="76"/>
                  </a:cubicBezTo>
                  <a:cubicBezTo>
                    <a:pt x="822" y="106"/>
                    <a:pt x="822" y="106"/>
                    <a:pt x="822" y="106"/>
                  </a:cubicBezTo>
                  <a:cubicBezTo>
                    <a:pt x="822" y="112"/>
                    <a:pt x="817" y="117"/>
                    <a:pt x="811" y="117"/>
                  </a:cubicBezTo>
                  <a:cubicBezTo>
                    <a:pt x="804" y="117"/>
                    <a:pt x="799" y="112"/>
                    <a:pt x="799" y="106"/>
                  </a:cubicBezTo>
                  <a:cubicBezTo>
                    <a:pt x="799" y="76"/>
                    <a:pt x="799" y="76"/>
                    <a:pt x="799" y="76"/>
                  </a:cubicBezTo>
                  <a:cubicBezTo>
                    <a:pt x="741" y="76"/>
                    <a:pt x="741" y="76"/>
                    <a:pt x="741" y="76"/>
                  </a:cubicBezTo>
                  <a:cubicBezTo>
                    <a:pt x="741" y="106"/>
                    <a:pt x="741" y="106"/>
                    <a:pt x="741" y="106"/>
                  </a:cubicBezTo>
                  <a:cubicBezTo>
                    <a:pt x="741" y="112"/>
                    <a:pt x="736" y="117"/>
                    <a:pt x="730" y="117"/>
                  </a:cubicBezTo>
                  <a:cubicBezTo>
                    <a:pt x="724" y="117"/>
                    <a:pt x="719" y="112"/>
                    <a:pt x="719" y="106"/>
                  </a:cubicBezTo>
                  <a:cubicBezTo>
                    <a:pt x="719" y="76"/>
                    <a:pt x="719" y="76"/>
                    <a:pt x="719" y="76"/>
                  </a:cubicBezTo>
                  <a:cubicBezTo>
                    <a:pt x="660" y="76"/>
                    <a:pt x="660" y="76"/>
                    <a:pt x="660" y="76"/>
                  </a:cubicBezTo>
                  <a:cubicBezTo>
                    <a:pt x="660" y="106"/>
                    <a:pt x="660" y="106"/>
                    <a:pt x="660" y="106"/>
                  </a:cubicBezTo>
                  <a:cubicBezTo>
                    <a:pt x="660" y="112"/>
                    <a:pt x="655" y="117"/>
                    <a:pt x="649" y="117"/>
                  </a:cubicBezTo>
                  <a:cubicBezTo>
                    <a:pt x="643" y="117"/>
                    <a:pt x="638" y="112"/>
                    <a:pt x="638" y="106"/>
                  </a:cubicBezTo>
                  <a:cubicBezTo>
                    <a:pt x="638" y="76"/>
                    <a:pt x="638" y="76"/>
                    <a:pt x="638" y="76"/>
                  </a:cubicBezTo>
                  <a:cubicBezTo>
                    <a:pt x="580" y="76"/>
                    <a:pt x="580" y="76"/>
                    <a:pt x="580" y="76"/>
                  </a:cubicBezTo>
                  <a:cubicBezTo>
                    <a:pt x="580" y="106"/>
                    <a:pt x="580" y="106"/>
                    <a:pt x="580" y="106"/>
                  </a:cubicBezTo>
                  <a:cubicBezTo>
                    <a:pt x="580" y="112"/>
                    <a:pt x="574" y="117"/>
                    <a:pt x="568" y="117"/>
                  </a:cubicBezTo>
                  <a:cubicBezTo>
                    <a:pt x="562" y="117"/>
                    <a:pt x="557" y="112"/>
                    <a:pt x="557" y="106"/>
                  </a:cubicBezTo>
                  <a:cubicBezTo>
                    <a:pt x="557" y="76"/>
                    <a:pt x="557" y="76"/>
                    <a:pt x="557" y="76"/>
                  </a:cubicBezTo>
                  <a:cubicBezTo>
                    <a:pt x="499" y="76"/>
                    <a:pt x="499" y="76"/>
                    <a:pt x="499" y="76"/>
                  </a:cubicBezTo>
                  <a:cubicBezTo>
                    <a:pt x="499" y="106"/>
                    <a:pt x="499" y="106"/>
                    <a:pt x="499" y="106"/>
                  </a:cubicBezTo>
                  <a:cubicBezTo>
                    <a:pt x="499" y="112"/>
                    <a:pt x="494" y="117"/>
                    <a:pt x="487" y="117"/>
                  </a:cubicBezTo>
                  <a:cubicBezTo>
                    <a:pt x="481" y="117"/>
                    <a:pt x="476" y="112"/>
                    <a:pt x="476" y="106"/>
                  </a:cubicBezTo>
                  <a:cubicBezTo>
                    <a:pt x="476" y="76"/>
                    <a:pt x="476" y="76"/>
                    <a:pt x="476" y="76"/>
                  </a:cubicBezTo>
                  <a:cubicBezTo>
                    <a:pt x="418" y="76"/>
                    <a:pt x="418" y="76"/>
                    <a:pt x="418" y="76"/>
                  </a:cubicBezTo>
                  <a:cubicBezTo>
                    <a:pt x="418" y="106"/>
                    <a:pt x="418" y="106"/>
                    <a:pt x="418" y="106"/>
                  </a:cubicBezTo>
                  <a:cubicBezTo>
                    <a:pt x="418" y="112"/>
                    <a:pt x="413" y="117"/>
                    <a:pt x="406" y="117"/>
                  </a:cubicBezTo>
                  <a:cubicBezTo>
                    <a:pt x="400" y="117"/>
                    <a:pt x="395" y="112"/>
                    <a:pt x="395" y="106"/>
                  </a:cubicBezTo>
                  <a:cubicBezTo>
                    <a:pt x="395" y="76"/>
                    <a:pt x="395" y="76"/>
                    <a:pt x="395" y="76"/>
                  </a:cubicBezTo>
                  <a:cubicBezTo>
                    <a:pt x="323" y="76"/>
                    <a:pt x="323" y="76"/>
                    <a:pt x="323" y="76"/>
                  </a:cubicBezTo>
                  <a:cubicBezTo>
                    <a:pt x="308" y="76"/>
                    <a:pt x="296" y="88"/>
                    <a:pt x="296" y="102"/>
                  </a:cubicBezTo>
                  <a:cubicBezTo>
                    <a:pt x="296" y="255"/>
                    <a:pt x="296" y="255"/>
                    <a:pt x="296" y="255"/>
                  </a:cubicBezTo>
                  <a:cubicBezTo>
                    <a:pt x="296" y="261"/>
                    <a:pt x="291" y="266"/>
                    <a:pt x="285" y="266"/>
                  </a:cubicBezTo>
                  <a:cubicBezTo>
                    <a:pt x="278" y="266"/>
                    <a:pt x="273" y="261"/>
                    <a:pt x="273" y="255"/>
                  </a:cubicBezTo>
                  <a:cubicBezTo>
                    <a:pt x="273" y="102"/>
                    <a:pt x="273" y="102"/>
                    <a:pt x="273" y="102"/>
                  </a:cubicBezTo>
                  <a:cubicBezTo>
                    <a:pt x="273" y="75"/>
                    <a:pt x="295" y="53"/>
                    <a:pt x="323" y="53"/>
                  </a:cubicBezTo>
                  <a:cubicBezTo>
                    <a:pt x="395" y="53"/>
                    <a:pt x="395" y="53"/>
                    <a:pt x="395" y="53"/>
                  </a:cubicBezTo>
                  <a:cubicBezTo>
                    <a:pt x="395" y="11"/>
                    <a:pt x="395" y="11"/>
                    <a:pt x="395" y="11"/>
                  </a:cubicBezTo>
                  <a:cubicBezTo>
                    <a:pt x="395" y="5"/>
                    <a:pt x="400" y="0"/>
                    <a:pt x="406" y="0"/>
                  </a:cubicBezTo>
                  <a:cubicBezTo>
                    <a:pt x="413" y="0"/>
                    <a:pt x="418" y="5"/>
                    <a:pt x="418" y="11"/>
                  </a:cubicBezTo>
                  <a:cubicBezTo>
                    <a:pt x="418" y="53"/>
                    <a:pt x="418" y="53"/>
                    <a:pt x="418" y="53"/>
                  </a:cubicBezTo>
                  <a:cubicBezTo>
                    <a:pt x="476" y="53"/>
                    <a:pt x="476" y="53"/>
                    <a:pt x="476" y="53"/>
                  </a:cubicBezTo>
                  <a:cubicBezTo>
                    <a:pt x="476" y="11"/>
                    <a:pt x="476" y="11"/>
                    <a:pt x="476" y="11"/>
                  </a:cubicBezTo>
                  <a:cubicBezTo>
                    <a:pt x="476" y="5"/>
                    <a:pt x="481" y="0"/>
                    <a:pt x="487" y="0"/>
                  </a:cubicBezTo>
                  <a:cubicBezTo>
                    <a:pt x="494" y="0"/>
                    <a:pt x="499" y="5"/>
                    <a:pt x="499" y="11"/>
                  </a:cubicBezTo>
                  <a:cubicBezTo>
                    <a:pt x="499" y="53"/>
                    <a:pt x="499" y="53"/>
                    <a:pt x="499" y="53"/>
                  </a:cubicBezTo>
                  <a:cubicBezTo>
                    <a:pt x="557" y="53"/>
                    <a:pt x="557" y="53"/>
                    <a:pt x="557" y="53"/>
                  </a:cubicBezTo>
                  <a:cubicBezTo>
                    <a:pt x="557" y="11"/>
                    <a:pt x="557" y="11"/>
                    <a:pt x="557" y="11"/>
                  </a:cubicBezTo>
                  <a:cubicBezTo>
                    <a:pt x="557" y="5"/>
                    <a:pt x="562" y="0"/>
                    <a:pt x="568" y="0"/>
                  </a:cubicBezTo>
                  <a:cubicBezTo>
                    <a:pt x="574" y="0"/>
                    <a:pt x="580" y="5"/>
                    <a:pt x="580" y="11"/>
                  </a:cubicBezTo>
                  <a:cubicBezTo>
                    <a:pt x="580" y="53"/>
                    <a:pt x="580" y="53"/>
                    <a:pt x="580" y="53"/>
                  </a:cubicBezTo>
                  <a:cubicBezTo>
                    <a:pt x="638" y="53"/>
                    <a:pt x="638" y="53"/>
                    <a:pt x="638" y="53"/>
                  </a:cubicBezTo>
                  <a:cubicBezTo>
                    <a:pt x="638" y="11"/>
                    <a:pt x="638" y="11"/>
                    <a:pt x="638" y="11"/>
                  </a:cubicBezTo>
                  <a:cubicBezTo>
                    <a:pt x="638" y="5"/>
                    <a:pt x="643" y="0"/>
                    <a:pt x="649" y="0"/>
                  </a:cubicBezTo>
                  <a:cubicBezTo>
                    <a:pt x="655" y="0"/>
                    <a:pt x="660" y="5"/>
                    <a:pt x="660" y="11"/>
                  </a:cubicBezTo>
                  <a:cubicBezTo>
                    <a:pt x="660" y="53"/>
                    <a:pt x="660" y="53"/>
                    <a:pt x="660" y="53"/>
                  </a:cubicBezTo>
                  <a:cubicBezTo>
                    <a:pt x="719" y="53"/>
                    <a:pt x="719" y="53"/>
                    <a:pt x="719" y="53"/>
                  </a:cubicBezTo>
                  <a:cubicBezTo>
                    <a:pt x="719" y="11"/>
                    <a:pt x="719" y="11"/>
                    <a:pt x="719" y="11"/>
                  </a:cubicBezTo>
                  <a:cubicBezTo>
                    <a:pt x="719" y="5"/>
                    <a:pt x="724" y="0"/>
                    <a:pt x="730" y="0"/>
                  </a:cubicBezTo>
                  <a:cubicBezTo>
                    <a:pt x="736" y="0"/>
                    <a:pt x="741" y="5"/>
                    <a:pt x="741" y="11"/>
                  </a:cubicBezTo>
                  <a:cubicBezTo>
                    <a:pt x="741" y="53"/>
                    <a:pt x="741" y="53"/>
                    <a:pt x="741" y="53"/>
                  </a:cubicBezTo>
                  <a:cubicBezTo>
                    <a:pt x="799" y="53"/>
                    <a:pt x="799" y="53"/>
                    <a:pt x="799" y="53"/>
                  </a:cubicBezTo>
                  <a:cubicBezTo>
                    <a:pt x="799" y="11"/>
                    <a:pt x="799" y="11"/>
                    <a:pt x="799" y="11"/>
                  </a:cubicBezTo>
                  <a:cubicBezTo>
                    <a:pt x="799" y="5"/>
                    <a:pt x="804" y="0"/>
                    <a:pt x="811" y="0"/>
                  </a:cubicBezTo>
                  <a:cubicBezTo>
                    <a:pt x="817" y="0"/>
                    <a:pt x="822" y="5"/>
                    <a:pt x="822" y="11"/>
                  </a:cubicBezTo>
                  <a:cubicBezTo>
                    <a:pt x="822" y="53"/>
                    <a:pt x="822" y="53"/>
                    <a:pt x="822" y="53"/>
                  </a:cubicBezTo>
                  <a:cubicBezTo>
                    <a:pt x="880" y="53"/>
                    <a:pt x="880" y="53"/>
                    <a:pt x="880" y="53"/>
                  </a:cubicBezTo>
                  <a:cubicBezTo>
                    <a:pt x="880" y="11"/>
                    <a:pt x="880" y="11"/>
                    <a:pt x="880" y="11"/>
                  </a:cubicBezTo>
                  <a:cubicBezTo>
                    <a:pt x="880" y="5"/>
                    <a:pt x="885" y="0"/>
                    <a:pt x="892" y="0"/>
                  </a:cubicBezTo>
                  <a:cubicBezTo>
                    <a:pt x="898" y="0"/>
                    <a:pt x="903" y="5"/>
                    <a:pt x="903" y="11"/>
                  </a:cubicBezTo>
                  <a:cubicBezTo>
                    <a:pt x="903" y="53"/>
                    <a:pt x="903" y="53"/>
                    <a:pt x="903" y="53"/>
                  </a:cubicBezTo>
                  <a:cubicBezTo>
                    <a:pt x="991" y="53"/>
                    <a:pt x="991" y="53"/>
                    <a:pt x="991" y="53"/>
                  </a:cubicBezTo>
                  <a:cubicBezTo>
                    <a:pt x="1018" y="53"/>
                    <a:pt x="1040" y="75"/>
                    <a:pt x="1040" y="102"/>
                  </a:cubicBezTo>
                  <a:cubicBezTo>
                    <a:pt x="1040" y="145"/>
                    <a:pt x="1040" y="145"/>
                    <a:pt x="1040" y="145"/>
                  </a:cubicBezTo>
                  <a:cubicBezTo>
                    <a:pt x="1065" y="145"/>
                    <a:pt x="1065" y="145"/>
                    <a:pt x="1065" y="145"/>
                  </a:cubicBezTo>
                  <a:cubicBezTo>
                    <a:pt x="1092" y="145"/>
                    <a:pt x="1114" y="167"/>
                    <a:pt x="1114" y="195"/>
                  </a:cubicBezTo>
                  <a:close/>
                  <a:moveTo>
                    <a:pt x="1091" y="195"/>
                  </a:moveTo>
                  <a:cubicBezTo>
                    <a:pt x="1091" y="180"/>
                    <a:pt x="1079" y="168"/>
                    <a:pt x="1065" y="168"/>
                  </a:cubicBezTo>
                  <a:cubicBezTo>
                    <a:pt x="1040" y="168"/>
                    <a:pt x="1040" y="168"/>
                    <a:pt x="1040" y="168"/>
                  </a:cubicBezTo>
                  <a:cubicBezTo>
                    <a:pt x="1040" y="1019"/>
                    <a:pt x="1040" y="1019"/>
                    <a:pt x="1040" y="1019"/>
                  </a:cubicBezTo>
                  <a:cubicBezTo>
                    <a:pt x="1040" y="1046"/>
                    <a:pt x="1018" y="1068"/>
                    <a:pt x="991" y="1068"/>
                  </a:cubicBezTo>
                  <a:cubicBezTo>
                    <a:pt x="389" y="1068"/>
                    <a:pt x="389" y="1068"/>
                    <a:pt x="389" y="1068"/>
                  </a:cubicBezTo>
                  <a:cubicBezTo>
                    <a:pt x="389" y="1092"/>
                    <a:pt x="389" y="1092"/>
                    <a:pt x="389" y="1092"/>
                  </a:cubicBezTo>
                  <a:cubicBezTo>
                    <a:pt x="389" y="1107"/>
                    <a:pt x="401" y="1118"/>
                    <a:pt x="415" y="1118"/>
                  </a:cubicBezTo>
                  <a:cubicBezTo>
                    <a:pt x="1065" y="1118"/>
                    <a:pt x="1065" y="1118"/>
                    <a:pt x="1065" y="1118"/>
                  </a:cubicBezTo>
                  <a:cubicBezTo>
                    <a:pt x="1079" y="1118"/>
                    <a:pt x="1091" y="1107"/>
                    <a:pt x="1091" y="1092"/>
                  </a:cubicBezTo>
                  <a:lnTo>
                    <a:pt x="1091" y="195"/>
                  </a:lnTo>
                  <a:close/>
                  <a:moveTo>
                    <a:pt x="798" y="651"/>
                  </a:moveTo>
                  <a:cubicBezTo>
                    <a:pt x="804" y="651"/>
                    <a:pt x="809" y="656"/>
                    <a:pt x="809" y="663"/>
                  </a:cubicBezTo>
                  <a:cubicBezTo>
                    <a:pt x="809" y="977"/>
                    <a:pt x="809" y="977"/>
                    <a:pt x="809" y="977"/>
                  </a:cubicBezTo>
                  <a:cubicBezTo>
                    <a:pt x="809" y="984"/>
                    <a:pt x="804" y="989"/>
                    <a:pt x="798" y="989"/>
                  </a:cubicBezTo>
                  <a:cubicBezTo>
                    <a:pt x="715" y="989"/>
                    <a:pt x="715" y="989"/>
                    <a:pt x="715" y="989"/>
                  </a:cubicBezTo>
                  <a:cubicBezTo>
                    <a:pt x="709" y="989"/>
                    <a:pt x="704" y="984"/>
                    <a:pt x="704" y="977"/>
                  </a:cubicBezTo>
                  <a:cubicBezTo>
                    <a:pt x="704" y="663"/>
                    <a:pt x="704" y="663"/>
                    <a:pt x="704" y="663"/>
                  </a:cubicBezTo>
                  <a:cubicBezTo>
                    <a:pt x="704" y="656"/>
                    <a:pt x="709" y="651"/>
                    <a:pt x="715" y="651"/>
                  </a:cubicBezTo>
                  <a:lnTo>
                    <a:pt x="798" y="651"/>
                  </a:lnTo>
                  <a:close/>
                  <a:moveTo>
                    <a:pt x="786" y="674"/>
                  </a:moveTo>
                  <a:cubicBezTo>
                    <a:pt x="726" y="674"/>
                    <a:pt x="726" y="674"/>
                    <a:pt x="726" y="674"/>
                  </a:cubicBezTo>
                  <a:cubicBezTo>
                    <a:pt x="726" y="966"/>
                    <a:pt x="726" y="966"/>
                    <a:pt x="726" y="966"/>
                  </a:cubicBezTo>
                  <a:cubicBezTo>
                    <a:pt x="786" y="966"/>
                    <a:pt x="786" y="966"/>
                    <a:pt x="786" y="966"/>
                  </a:cubicBezTo>
                  <a:lnTo>
                    <a:pt x="786" y="674"/>
                  </a:lnTo>
                  <a:close/>
                  <a:moveTo>
                    <a:pt x="660" y="746"/>
                  </a:moveTo>
                  <a:cubicBezTo>
                    <a:pt x="666" y="746"/>
                    <a:pt x="671" y="751"/>
                    <a:pt x="671" y="757"/>
                  </a:cubicBezTo>
                  <a:cubicBezTo>
                    <a:pt x="671" y="977"/>
                    <a:pt x="671" y="977"/>
                    <a:pt x="671" y="977"/>
                  </a:cubicBezTo>
                  <a:cubicBezTo>
                    <a:pt x="671" y="984"/>
                    <a:pt x="666" y="989"/>
                    <a:pt x="660" y="989"/>
                  </a:cubicBezTo>
                  <a:cubicBezTo>
                    <a:pt x="577" y="989"/>
                    <a:pt x="577" y="989"/>
                    <a:pt x="577" y="989"/>
                  </a:cubicBezTo>
                  <a:cubicBezTo>
                    <a:pt x="571" y="989"/>
                    <a:pt x="566" y="984"/>
                    <a:pt x="566" y="977"/>
                  </a:cubicBezTo>
                  <a:cubicBezTo>
                    <a:pt x="566" y="757"/>
                    <a:pt x="566" y="757"/>
                    <a:pt x="566" y="757"/>
                  </a:cubicBezTo>
                  <a:cubicBezTo>
                    <a:pt x="566" y="751"/>
                    <a:pt x="571" y="746"/>
                    <a:pt x="577" y="746"/>
                  </a:cubicBezTo>
                  <a:lnTo>
                    <a:pt x="660" y="746"/>
                  </a:lnTo>
                  <a:close/>
                  <a:moveTo>
                    <a:pt x="649" y="769"/>
                  </a:moveTo>
                  <a:cubicBezTo>
                    <a:pt x="589" y="769"/>
                    <a:pt x="589" y="769"/>
                    <a:pt x="589" y="769"/>
                  </a:cubicBezTo>
                  <a:cubicBezTo>
                    <a:pt x="589" y="966"/>
                    <a:pt x="589" y="966"/>
                    <a:pt x="589" y="966"/>
                  </a:cubicBezTo>
                  <a:cubicBezTo>
                    <a:pt x="649" y="966"/>
                    <a:pt x="649" y="966"/>
                    <a:pt x="649" y="966"/>
                  </a:cubicBezTo>
                  <a:lnTo>
                    <a:pt x="649" y="769"/>
                  </a:lnTo>
                  <a:close/>
                  <a:moveTo>
                    <a:pt x="935" y="575"/>
                  </a:moveTo>
                  <a:cubicBezTo>
                    <a:pt x="942" y="575"/>
                    <a:pt x="947" y="581"/>
                    <a:pt x="947" y="587"/>
                  </a:cubicBezTo>
                  <a:cubicBezTo>
                    <a:pt x="947" y="977"/>
                    <a:pt x="947" y="977"/>
                    <a:pt x="947" y="977"/>
                  </a:cubicBezTo>
                  <a:cubicBezTo>
                    <a:pt x="947" y="984"/>
                    <a:pt x="942" y="989"/>
                    <a:pt x="935" y="989"/>
                  </a:cubicBezTo>
                  <a:cubicBezTo>
                    <a:pt x="853" y="989"/>
                    <a:pt x="853" y="989"/>
                    <a:pt x="853" y="989"/>
                  </a:cubicBezTo>
                  <a:cubicBezTo>
                    <a:pt x="847" y="989"/>
                    <a:pt x="842" y="984"/>
                    <a:pt x="842" y="977"/>
                  </a:cubicBezTo>
                  <a:cubicBezTo>
                    <a:pt x="842" y="587"/>
                    <a:pt x="842" y="587"/>
                    <a:pt x="842" y="587"/>
                  </a:cubicBezTo>
                  <a:cubicBezTo>
                    <a:pt x="842" y="581"/>
                    <a:pt x="847" y="575"/>
                    <a:pt x="853" y="575"/>
                  </a:cubicBezTo>
                  <a:lnTo>
                    <a:pt x="935" y="575"/>
                  </a:lnTo>
                  <a:close/>
                  <a:moveTo>
                    <a:pt x="924" y="598"/>
                  </a:moveTo>
                  <a:cubicBezTo>
                    <a:pt x="864" y="598"/>
                    <a:pt x="864" y="598"/>
                    <a:pt x="864" y="598"/>
                  </a:cubicBezTo>
                  <a:cubicBezTo>
                    <a:pt x="864" y="966"/>
                    <a:pt x="864" y="966"/>
                    <a:pt x="864" y="966"/>
                  </a:cubicBezTo>
                  <a:cubicBezTo>
                    <a:pt x="924" y="966"/>
                    <a:pt x="924" y="966"/>
                    <a:pt x="924" y="966"/>
                  </a:cubicBezTo>
                  <a:lnTo>
                    <a:pt x="924" y="598"/>
                  </a:lnTo>
                  <a:close/>
                  <a:moveTo>
                    <a:pt x="951" y="434"/>
                  </a:moveTo>
                  <a:cubicBezTo>
                    <a:pt x="951" y="475"/>
                    <a:pt x="918" y="508"/>
                    <a:pt x="877" y="508"/>
                  </a:cubicBezTo>
                  <a:cubicBezTo>
                    <a:pt x="837" y="508"/>
                    <a:pt x="804" y="475"/>
                    <a:pt x="804" y="434"/>
                  </a:cubicBezTo>
                  <a:cubicBezTo>
                    <a:pt x="804" y="393"/>
                    <a:pt x="837" y="360"/>
                    <a:pt x="877" y="360"/>
                  </a:cubicBezTo>
                  <a:cubicBezTo>
                    <a:pt x="918" y="360"/>
                    <a:pt x="951" y="393"/>
                    <a:pt x="951" y="434"/>
                  </a:cubicBezTo>
                  <a:close/>
                  <a:moveTo>
                    <a:pt x="928" y="434"/>
                  </a:moveTo>
                  <a:cubicBezTo>
                    <a:pt x="928" y="406"/>
                    <a:pt x="906" y="383"/>
                    <a:pt x="877" y="383"/>
                  </a:cubicBezTo>
                  <a:cubicBezTo>
                    <a:pt x="849" y="383"/>
                    <a:pt x="826" y="406"/>
                    <a:pt x="826" y="434"/>
                  </a:cubicBezTo>
                  <a:cubicBezTo>
                    <a:pt x="826" y="462"/>
                    <a:pt x="849" y="485"/>
                    <a:pt x="877" y="485"/>
                  </a:cubicBezTo>
                  <a:cubicBezTo>
                    <a:pt x="906" y="485"/>
                    <a:pt x="928" y="462"/>
                    <a:pt x="928" y="43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cxnSp>
        <p:nvCxnSpPr>
          <p:cNvPr id="16" name="Straight Connector 15"/>
          <p:cNvCxnSpPr>
            <a:stCxn id="10" idx="2"/>
          </p:cNvCxnSpPr>
          <p:nvPr/>
        </p:nvCxnSpPr>
        <p:spPr>
          <a:xfrm flipH="1">
            <a:off x="5158627" y="1801588"/>
            <a:ext cx="650435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nfográfico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ideia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3755340" y="1540964"/>
            <a:ext cx="1633321" cy="2752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4230730" y="3717925"/>
            <a:ext cx="682540" cy="574505"/>
          </a:xfrm>
          <a:custGeom>
            <a:avLst/>
            <a:gdLst>
              <a:gd name="connsiteX0" fmla="*/ 196850 w 1898650"/>
              <a:gd name="connsiteY0" fmla="*/ 1414462 h 1752600"/>
              <a:gd name="connsiteX1" fmla="*/ 1701800 w 1898650"/>
              <a:gd name="connsiteY1" fmla="*/ 1414462 h 1752600"/>
              <a:gd name="connsiteX2" fmla="*/ 1352753 w 1898650"/>
              <a:gd name="connsiteY2" fmla="*/ 1752600 h 1752600"/>
              <a:gd name="connsiteX3" fmla="*/ 545897 w 1898650"/>
              <a:gd name="connsiteY3" fmla="*/ 1752600 h 1752600"/>
              <a:gd name="connsiteX4" fmla="*/ 196850 w 1898650"/>
              <a:gd name="connsiteY4" fmla="*/ 1414462 h 1752600"/>
              <a:gd name="connsiteX5" fmla="*/ 0 w 1898650"/>
              <a:gd name="connsiteY5" fmla="*/ 957262 h 1752600"/>
              <a:gd name="connsiteX6" fmla="*/ 1898650 w 1898650"/>
              <a:gd name="connsiteY6" fmla="*/ 957262 h 1752600"/>
              <a:gd name="connsiteX7" fmla="*/ 1898650 w 1898650"/>
              <a:gd name="connsiteY7" fmla="*/ 1050640 h 1752600"/>
              <a:gd name="connsiteX8" fmla="*/ 1696397 w 1898650"/>
              <a:gd name="connsiteY8" fmla="*/ 1252537 h 1752600"/>
              <a:gd name="connsiteX9" fmla="*/ 202253 w 1898650"/>
              <a:gd name="connsiteY9" fmla="*/ 1252537 h 1752600"/>
              <a:gd name="connsiteX10" fmla="*/ 0 w 1898650"/>
              <a:gd name="connsiteY10" fmla="*/ 1050640 h 1752600"/>
              <a:gd name="connsiteX11" fmla="*/ 0 w 1898650"/>
              <a:gd name="connsiteY11" fmla="*/ 957262 h 1752600"/>
              <a:gd name="connsiteX12" fmla="*/ 0 w 1898650"/>
              <a:gd name="connsiteY12" fmla="*/ 500062 h 1752600"/>
              <a:gd name="connsiteX13" fmla="*/ 1898650 w 1898650"/>
              <a:gd name="connsiteY13" fmla="*/ 500062 h 1752600"/>
              <a:gd name="connsiteX14" fmla="*/ 1898650 w 1898650"/>
              <a:gd name="connsiteY14" fmla="*/ 795337 h 1752600"/>
              <a:gd name="connsiteX15" fmla="*/ 0 w 1898650"/>
              <a:gd name="connsiteY15" fmla="*/ 795337 h 1752600"/>
              <a:gd name="connsiteX16" fmla="*/ 202253 w 1898650"/>
              <a:gd name="connsiteY16" fmla="*/ 0 h 1752600"/>
              <a:gd name="connsiteX17" fmla="*/ 1696397 w 1898650"/>
              <a:gd name="connsiteY17" fmla="*/ 0 h 1752600"/>
              <a:gd name="connsiteX18" fmla="*/ 1898650 w 1898650"/>
              <a:gd name="connsiteY18" fmla="*/ 201873 h 1752600"/>
              <a:gd name="connsiteX19" fmla="*/ 1898650 w 1898650"/>
              <a:gd name="connsiteY19" fmla="*/ 338138 h 1752600"/>
              <a:gd name="connsiteX20" fmla="*/ 0 w 1898650"/>
              <a:gd name="connsiteY20" fmla="*/ 338138 h 1752600"/>
              <a:gd name="connsiteX21" fmla="*/ 0 w 1898650"/>
              <a:gd name="connsiteY21" fmla="*/ 201873 h 1752600"/>
              <a:gd name="connsiteX22" fmla="*/ 202253 w 1898650"/>
              <a:gd name="connsiteY22" fmla="*/ 0 h 175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898650" h="1752600">
                <a:moveTo>
                  <a:pt x="196850" y="1414462"/>
                </a:moveTo>
                <a:lnTo>
                  <a:pt x="1701800" y="1414462"/>
                </a:lnTo>
                <a:cubicBezTo>
                  <a:pt x="1696741" y="1601195"/>
                  <a:pt x="1542452" y="1752600"/>
                  <a:pt x="1352753" y="1752600"/>
                </a:cubicBezTo>
                <a:cubicBezTo>
                  <a:pt x="1352753" y="1752600"/>
                  <a:pt x="1352753" y="1752600"/>
                  <a:pt x="545897" y="1752600"/>
                </a:cubicBezTo>
                <a:cubicBezTo>
                  <a:pt x="356198" y="1752600"/>
                  <a:pt x="201909" y="1601195"/>
                  <a:pt x="196850" y="1414462"/>
                </a:cubicBezTo>
                <a:close/>
                <a:moveTo>
                  <a:pt x="0" y="957262"/>
                </a:moveTo>
                <a:lnTo>
                  <a:pt x="1898650" y="957262"/>
                </a:lnTo>
                <a:cubicBezTo>
                  <a:pt x="1898650" y="957262"/>
                  <a:pt x="1898650" y="957262"/>
                  <a:pt x="1898650" y="1050640"/>
                </a:cubicBezTo>
                <a:cubicBezTo>
                  <a:pt x="1898650" y="1161683"/>
                  <a:pt x="1810164" y="1252537"/>
                  <a:pt x="1696397" y="1252537"/>
                </a:cubicBezTo>
                <a:cubicBezTo>
                  <a:pt x="1696397" y="1252537"/>
                  <a:pt x="1696397" y="1252537"/>
                  <a:pt x="202253" y="1252537"/>
                </a:cubicBezTo>
                <a:cubicBezTo>
                  <a:pt x="88486" y="1252537"/>
                  <a:pt x="0" y="1161683"/>
                  <a:pt x="0" y="1050640"/>
                </a:cubicBezTo>
                <a:cubicBezTo>
                  <a:pt x="0" y="1050640"/>
                  <a:pt x="0" y="1050640"/>
                  <a:pt x="0" y="957262"/>
                </a:cubicBezTo>
                <a:close/>
                <a:moveTo>
                  <a:pt x="0" y="500062"/>
                </a:moveTo>
                <a:lnTo>
                  <a:pt x="1898650" y="500062"/>
                </a:lnTo>
                <a:lnTo>
                  <a:pt x="1898650" y="795337"/>
                </a:lnTo>
                <a:lnTo>
                  <a:pt x="0" y="795337"/>
                </a:lnTo>
                <a:close/>
                <a:moveTo>
                  <a:pt x="202253" y="0"/>
                </a:moveTo>
                <a:cubicBezTo>
                  <a:pt x="202253" y="0"/>
                  <a:pt x="202253" y="0"/>
                  <a:pt x="1696397" y="0"/>
                </a:cubicBezTo>
                <a:cubicBezTo>
                  <a:pt x="1810164" y="0"/>
                  <a:pt x="1898650" y="90843"/>
                  <a:pt x="1898650" y="201873"/>
                </a:cubicBezTo>
                <a:cubicBezTo>
                  <a:pt x="1898650" y="201873"/>
                  <a:pt x="1898650" y="201873"/>
                  <a:pt x="1898650" y="338138"/>
                </a:cubicBezTo>
                <a:lnTo>
                  <a:pt x="0" y="338138"/>
                </a:lnTo>
                <a:cubicBezTo>
                  <a:pt x="0" y="338138"/>
                  <a:pt x="0" y="338138"/>
                  <a:pt x="0" y="201873"/>
                </a:cubicBezTo>
                <a:cubicBezTo>
                  <a:pt x="0" y="90843"/>
                  <a:pt x="88486" y="0"/>
                  <a:pt x="202253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506"/>
          </a:p>
        </p:txBody>
      </p:sp>
      <p:sp>
        <p:nvSpPr>
          <p:cNvPr id="6" name="Freeform 9"/>
          <p:cNvSpPr>
            <a:spLocks/>
          </p:cNvSpPr>
          <p:nvPr/>
        </p:nvSpPr>
        <p:spPr bwMode="auto">
          <a:xfrm>
            <a:off x="3811661" y="1542068"/>
            <a:ext cx="1521783" cy="519041"/>
          </a:xfrm>
          <a:custGeom>
            <a:avLst/>
            <a:gdLst>
              <a:gd name="T0" fmla="*/ 0 w 1730"/>
              <a:gd name="T1" fmla="*/ 591 h 591"/>
              <a:gd name="T2" fmla="*/ 1730 w 1730"/>
              <a:gd name="T3" fmla="*/ 591 h 591"/>
              <a:gd name="T4" fmla="*/ 931 w 1730"/>
              <a:gd name="T5" fmla="*/ 1 h 591"/>
              <a:gd name="T6" fmla="*/ 865 w 1730"/>
              <a:gd name="T7" fmla="*/ 0 h 591"/>
              <a:gd name="T8" fmla="*/ 799 w 1730"/>
              <a:gd name="T9" fmla="*/ 1 h 591"/>
              <a:gd name="T10" fmla="*/ 0 w 1730"/>
              <a:gd name="T11" fmla="*/ 591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730" h="591">
                <a:moveTo>
                  <a:pt x="0" y="591"/>
                </a:moveTo>
                <a:cubicBezTo>
                  <a:pt x="1730" y="591"/>
                  <a:pt x="1730" y="591"/>
                  <a:pt x="1730" y="591"/>
                </a:cubicBezTo>
                <a:cubicBezTo>
                  <a:pt x="1603" y="262"/>
                  <a:pt x="1289" y="26"/>
                  <a:pt x="931" y="1"/>
                </a:cubicBezTo>
                <a:cubicBezTo>
                  <a:pt x="920" y="1"/>
                  <a:pt x="893" y="0"/>
                  <a:pt x="865" y="0"/>
                </a:cubicBezTo>
                <a:cubicBezTo>
                  <a:pt x="838" y="0"/>
                  <a:pt x="810" y="1"/>
                  <a:pt x="799" y="1"/>
                </a:cubicBezTo>
                <a:cubicBezTo>
                  <a:pt x="441" y="26"/>
                  <a:pt x="127" y="262"/>
                  <a:pt x="0" y="591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7" name="Freeform 10"/>
          <p:cNvSpPr>
            <a:spLocks/>
          </p:cNvSpPr>
          <p:nvPr/>
        </p:nvSpPr>
        <p:spPr bwMode="auto">
          <a:xfrm>
            <a:off x="3747609" y="2080972"/>
            <a:ext cx="1649887" cy="519593"/>
          </a:xfrm>
          <a:custGeom>
            <a:avLst/>
            <a:gdLst>
              <a:gd name="T0" fmla="*/ 37 w 1876"/>
              <a:gd name="T1" fmla="*/ 116 h 591"/>
              <a:gd name="T2" fmla="*/ 21 w 1876"/>
              <a:gd name="T3" fmla="*/ 197 h 591"/>
              <a:gd name="T4" fmla="*/ 45 w 1876"/>
              <a:gd name="T5" fmla="*/ 591 h 591"/>
              <a:gd name="T6" fmla="*/ 1832 w 1876"/>
              <a:gd name="T7" fmla="*/ 591 h 591"/>
              <a:gd name="T8" fmla="*/ 1855 w 1876"/>
              <a:gd name="T9" fmla="*/ 197 h 591"/>
              <a:gd name="T10" fmla="*/ 1839 w 1876"/>
              <a:gd name="T11" fmla="*/ 116 h 591"/>
              <a:gd name="T12" fmla="*/ 1803 w 1876"/>
              <a:gd name="T13" fmla="*/ 0 h 591"/>
              <a:gd name="T14" fmla="*/ 73 w 1876"/>
              <a:gd name="T15" fmla="*/ 0 h 591"/>
              <a:gd name="T16" fmla="*/ 37 w 1876"/>
              <a:gd name="T17" fmla="*/ 116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76" h="591">
                <a:moveTo>
                  <a:pt x="37" y="116"/>
                </a:moveTo>
                <a:cubicBezTo>
                  <a:pt x="31" y="143"/>
                  <a:pt x="25" y="170"/>
                  <a:pt x="21" y="197"/>
                </a:cubicBezTo>
                <a:cubicBezTo>
                  <a:pt x="0" y="335"/>
                  <a:pt x="8" y="469"/>
                  <a:pt x="45" y="591"/>
                </a:cubicBezTo>
                <a:cubicBezTo>
                  <a:pt x="1832" y="591"/>
                  <a:pt x="1832" y="591"/>
                  <a:pt x="1832" y="591"/>
                </a:cubicBezTo>
                <a:cubicBezTo>
                  <a:pt x="1868" y="469"/>
                  <a:pt x="1876" y="335"/>
                  <a:pt x="1855" y="197"/>
                </a:cubicBezTo>
                <a:cubicBezTo>
                  <a:pt x="1851" y="170"/>
                  <a:pt x="1846" y="143"/>
                  <a:pt x="1839" y="116"/>
                </a:cubicBezTo>
                <a:cubicBezTo>
                  <a:pt x="1830" y="76"/>
                  <a:pt x="1818" y="38"/>
                  <a:pt x="1803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59" y="38"/>
                  <a:pt x="47" y="76"/>
                  <a:pt x="37" y="11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8" name="Freeform 11"/>
          <p:cNvSpPr>
            <a:spLocks/>
          </p:cNvSpPr>
          <p:nvPr/>
        </p:nvSpPr>
        <p:spPr bwMode="auto">
          <a:xfrm>
            <a:off x="3786813" y="2620428"/>
            <a:ext cx="1572031" cy="519041"/>
          </a:xfrm>
          <a:custGeom>
            <a:avLst/>
            <a:gdLst>
              <a:gd name="T0" fmla="*/ 0 w 1787"/>
              <a:gd name="T1" fmla="*/ 0 h 591"/>
              <a:gd name="T2" fmla="*/ 39 w 1787"/>
              <a:gd name="T3" fmla="*/ 106 h 591"/>
              <a:gd name="T4" fmla="*/ 146 w 1787"/>
              <a:gd name="T5" fmla="*/ 293 h 591"/>
              <a:gd name="T6" fmla="*/ 195 w 1787"/>
              <a:gd name="T7" fmla="*/ 394 h 591"/>
              <a:gd name="T8" fmla="*/ 273 w 1787"/>
              <a:gd name="T9" fmla="*/ 591 h 591"/>
              <a:gd name="T10" fmla="*/ 1514 w 1787"/>
              <a:gd name="T11" fmla="*/ 591 h 591"/>
              <a:gd name="T12" fmla="*/ 1592 w 1787"/>
              <a:gd name="T13" fmla="*/ 394 h 591"/>
              <a:gd name="T14" fmla="*/ 1641 w 1787"/>
              <a:gd name="T15" fmla="*/ 293 h 591"/>
              <a:gd name="T16" fmla="*/ 1747 w 1787"/>
              <a:gd name="T17" fmla="*/ 106 h 591"/>
              <a:gd name="T18" fmla="*/ 1787 w 1787"/>
              <a:gd name="T19" fmla="*/ 0 h 591"/>
              <a:gd name="T20" fmla="*/ 0 w 1787"/>
              <a:gd name="T21" fmla="*/ 0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787" h="591">
                <a:moveTo>
                  <a:pt x="0" y="0"/>
                </a:moveTo>
                <a:cubicBezTo>
                  <a:pt x="10" y="36"/>
                  <a:pt x="23" y="72"/>
                  <a:pt x="39" y="106"/>
                </a:cubicBezTo>
                <a:cubicBezTo>
                  <a:pt x="146" y="293"/>
                  <a:pt x="146" y="293"/>
                  <a:pt x="146" y="293"/>
                </a:cubicBezTo>
                <a:cubicBezTo>
                  <a:pt x="161" y="321"/>
                  <a:pt x="178" y="356"/>
                  <a:pt x="195" y="394"/>
                </a:cubicBezTo>
                <a:cubicBezTo>
                  <a:pt x="221" y="455"/>
                  <a:pt x="248" y="525"/>
                  <a:pt x="273" y="591"/>
                </a:cubicBezTo>
                <a:cubicBezTo>
                  <a:pt x="1514" y="591"/>
                  <a:pt x="1514" y="591"/>
                  <a:pt x="1514" y="591"/>
                </a:cubicBezTo>
                <a:cubicBezTo>
                  <a:pt x="1538" y="525"/>
                  <a:pt x="1565" y="455"/>
                  <a:pt x="1592" y="394"/>
                </a:cubicBezTo>
                <a:cubicBezTo>
                  <a:pt x="1608" y="356"/>
                  <a:pt x="1625" y="321"/>
                  <a:pt x="1641" y="293"/>
                </a:cubicBezTo>
                <a:cubicBezTo>
                  <a:pt x="1747" y="106"/>
                  <a:pt x="1747" y="106"/>
                  <a:pt x="1747" y="106"/>
                </a:cubicBezTo>
                <a:cubicBezTo>
                  <a:pt x="1763" y="72"/>
                  <a:pt x="1776" y="36"/>
                  <a:pt x="1787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 dirty="0"/>
          </a:p>
        </p:txBody>
      </p:sp>
      <p:sp>
        <p:nvSpPr>
          <p:cNvPr id="9" name="Freeform 12"/>
          <p:cNvSpPr>
            <a:spLocks/>
          </p:cNvSpPr>
          <p:nvPr/>
        </p:nvSpPr>
        <p:spPr bwMode="auto">
          <a:xfrm>
            <a:off x="4027008" y="3159333"/>
            <a:ext cx="1091642" cy="519593"/>
          </a:xfrm>
          <a:custGeom>
            <a:avLst/>
            <a:gdLst>
              <a:gd name="T0" fmla="*/ 1051 w 1241"/>
              <a:gd name="T1" fmla="*/ 517 h 591"/>
              <a:gd name="T2" fmla="*/ 1161 w 1241"/>
              <a:gd name="T3" fmla="*/ 213 h 591"/>
              <a:gd name="T4" fmla="*/ 1241 w 1241"/>
              <a:gd name="T5" fmla="*/ 0 h 591"/>
              <a:gd name="T6" fmla="*/ 0 w 1241"/>
              <a:gd name="T7" fmla="*/ 0 h 591"/>
              <a:gd name="T8" fmla="*/ 80 w 1241"/>
              <a:gd name="T9" fmla="*/ 213 h 591"/>
              <a:gd name="T10" fmla="*/ 189 w 1241"/>
              <a:gd name="T11" fmla="*/ 517 h 591"/>
              <a:gd name="T12" fmla="*/ 293 w 1241"/>
              <a:gd name="T13" fmla="*/ 591 h 591"/>
              <a:gd name="T14" fmla="*/ 620 w 1241"/>
              <a:gd name="T15" fmla="*/ 591 h 591"/>
              <a:gd name="T16" fmla="*/ 948 w 1241"/>
              <a:gd name="T17" fmla="*/ 591 h 591"/>
              <a:gd name="T18" fmla="*/ 1051 w 1241"/>
              <a:gd name="T19" fmla="*/ 517 h 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41" h="591">
                <a:moveTo>
                  <a:pt x="1051" y="517"/>
                </a:moveTo>
                <a:cubicBezTo>
                  <a:pt x="1084" y="417"/>
                  <a:pt x="1133" y="275"/>
                  <a:pt x="1161" y="213"/>
                </a:cubicBezTo>
                <a:cubicBezTo>
                  <a:pt x="1178" y="174"/>
                  <a:pt x="1207" y="92"/>
                  <a:pt x="1241" y="0"/>
                </a:cubicBezTo>
                <a:cubicBezTo>
                  <a:pt x="0" y="0"/>
                  <a:pt x="0" y="0"/>
                  <a:pt x="0" y="0"/>
                </a:cubicBezTo>
                <a:cubicBezTo>
                  <a:pt x="34" y="92"/>
                  <a:pt x="63" y="174"/>
                  <a:pt x="80" y="213"/>
                </a:cubicBezTo>
                <a:cubicBezTo>
                  <a:pt x="107" y="275"/>
                  <a:pt x="156" y="417"/>
                  <a:pt x="189" y="517"/>
                </a:cubicBezTo>
                <a:cubicBezTo>
                  <a:pt x="204" y="561"/>
                  <a:pt x="246" y="591"/>
                  <a:pt x="293" y="591"/>
                </a:cubicBezTo>
                <a:cubicBezTo>
                  <a:pt x="620" y="591"/>
                  <a:pt x="620" y="591"/>
                  <a:pt x="620" y="591"/>
                </a:cubicBezTo>
                <a:cubicBezTo>
                  <a:pt x="948" y="591"/>
                  <a:pt x="948" y="591"/>
                  <a:pt x="948" y="591"/>
                </a:cubicBezTo>
                <a:cubicBezTo>
                  <a:pt x="995" y="591"/>
                  <a:pt x="1037" y="561"/>
                  <a:pt x="1051" y="51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14" name="Straight Connector 13"/>
          <p:cNvCxnSpPr>
            <a:stCxn id="11" idx="6"/>
          </p:cNvCxnSpPr>
          <p:nvPr/>
        </p:nvCxnSpPr>
        <p:spPr>
          <a:xfrm>
            <a:off x="3334938" y="2364219"/>
            <a:ext cx="420402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2823117" y="2108309"/>
            <a:ext cx="511821" cy="511821"/>
            <a:chOff x="2823117" y="2108309"/>
            <a:chExt cx="511821" cy="511821"/>
          </a:xfrm>
        </p:grpSpPr>
        <p:sp>
          <p:nvSpPr>
            <p:cNvPr id="11" name="Oval 10"/>
            <p:cNvSpPr/>
            <p:nvPr/>
          </p:nvSpPr>
          <p:spPr>
            <a:xfrm>
              <a:off x="2823117" y="2108309"/>
              <a:ext cx="511821" cy="511821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6" name="Freeform 13"/>
            <p:cNvSpPr>
              <a:spLocks noEditPoints="1"/>
            </p:cNvSpPr>
            <p:nvPr/>
          </p:nvSpPr>
          <p:spPr bwMode="auto">
            <a:xfrm>
              <a:off x="2955953" y="2229159"/>
              <a:ext cx="209522" cy="279108"/>
            </a:xfrm>
            <a:custGeom>
              <a:avLst/>
              <a:gdLst>
                <a:gd name="T0" fmla="*/ 176 w 1205"/>
                <a:gd name="T1" fmla="*/ 494 h 1613"/>
                <a:gd name="T2" fmla="*/ 50 w 1205"/>
                <a:gd name="T3" fmla="*/ 335 h 1613"/>
                <a:gd name="T4" fmla="*/ 209 w 1205"/>
                <a:gd name="T5" fmla="*/ 462 h 1613"/>
                <a:gd name="T6" fmla="*/ 367 w 1205"/>
                <a:gd name="T7" fmla="*/ 335 h 1613"/>
                <a:gd name="T8" fmla="*/ 241 w 1205"/>
                <a:gd name="T9" fmla="*/ 494 h 1613"/>
                <a:gd name="T10" fmla="*/ 367 w 1205"/>
                <a:gd name="T11" fmla="*/ 653 h 1613"/>
                <a:gd name="T12" fmla="*/ 335 w 1205"/>
                <a:gd name="T13" fmla="*/ 653 h 1613"/>
                <a:gd name="T14" fmla="*/ 83 w 1205"/>
                <a:gd name="T15" fmla="*/ 653 h 1613"/>
                <a:gd name="T16" fmla="*/ 50 w 1205"/>
                <a:gd name="T17" fmla="*/ 653 h 1613"/>
                <a:gd name="T18" fmla="*/ 1135 w 1205"/>
                <a:gd name="T19" fmla="*/ 1047 h 1613"/>
                <a:gd name="T20" fmla="*/ 976 w 1205"/>
                <a:gd name="T21" fmla="*/ 1174 h 1613"/>
                <a:gd name="T22" fmla="*/ 818 w 1205"/>
                <a:gd name="T23" fmla="*/ 1047 h 1613"/>
                <a:gd name="T24" fmla="*/ 944 w 1205"/>
                <a:gd name="T25" fmla="*/ 1206 h 1613"/>
                <a:gd name="T26" fmla="*/ 818 w 1205"/>
                <a:gd name="T27" fmla="*/ 1365 h 1613"/>
                <a:gd name="T28" fmla="*/ 850 w 1205"/>
                <a:gd name="T29" fmla="*/ 1365 h 1613"/>
                <a:gd name="T30" fmla="*/ 1102 w 1205"/>
                <a:gd name="T31" fmla="*/ 1365 h 1613"/>
                <a:gd name="T32" fmla="*/ 1135 w 1205"/>
                <a:gd name="T33" fmla="*/ 1365 h 1613"/>
                <a:gd name="T34" fmla="*/ 1008 w 1205"/>
                <a:gd name="T35" fmla="*/ 1206 h 1613"/>
                <a:gd name="T36" fmla="*/ 1135 w 1205"/>
                <a:gd name="T37" fmla="*/ 1047 h 1613"/>
                <a:gd name="T38" fmla="*/ 165 w 1205"/>
                <a:gd name="T39" fmla="*/ 1613 h 1613"/>
                <a:gd name="T40" fmla="*/ 165 w 1205"/>
                <a:gd name="T41" fmla="*/ 1282 h 1613"/>
                <a:gd name="T42" fmla="*/ 285 w 1205"/>
                <a:gd name="T43" fmla="*/ 1447 h 1613"/>
                <a:gd name="T44" fmla="*/ 46 w 1205"/>
                <a:gd name="T45" fmla="*/ 1447 h 1613"/>
                <a:gd name="T46" fmla="*/ 285 w 1205"/>
                <a:gd name="T47" fmla="*/ 1447 h 1613"/>
                <a:gd name="T48" fmla="*/ 1020 w 1205"/>
                <a:gd name="T49" fmla="*/ 0 h 1613"/>
                <a:gd name="T50" fmla="*/ 1020 w 1205"/>
                <a:gd name="T51" fmla="*/ 331 h 1613"/>
                <a:gd name="T52" fmla="*/ 900 w 1205"/>
                <a:gd name="T53" fmla="*/ 166 h 1613"/>
                <a:gd name="T54" fmla="*/ 1139 w 1205"/>
                <a:gd name="T55" fmla="*/ 166 h 1613"/>
                <a:gd name="T56" fmla="*/ 900 w 1205"/>
                <a:gd name="T57" fmla="*/ 166 h 1613"/>
                <a:gd name="T58" fmla="*/ 831 w 1205"/>
                <a:gd name="T59" fmla="*/ 607 h 1613"/>
                <a:gd name="T60" fmla="*/ 997 w 1205"/>
                <a:gd name="T61" fmla="*/ 498 h 1613"/>
                <a:gd name="T62" fmla="*/ 800 w 1205"/>
                <a:gd name="T63" fmla="*/ 792 h 1613"/>
                <a:gd name="T64" fmla="*/ 142 w 1205"/>
                <a:gd name="T65" fmla="*/ 1206 h 1613"/>
                <a:gd name="T66" fmla="*/ 188 w 1205"/>
                <a:gd name="T67" fmla="*/ 1206 h 1613"/>
                <a:gd name="T68" fmla="*/ 808 w 1205"/>
                <a:gd name="T69" fmla="*/ 837 h 1613"/>
                <a:gd name="T70" fmla="*/ 1043 w 1205"/>
                <a:gd name="T71" fmla="*/ 500 h 1613"/>
                <a:gd name="T72" fmla="*/ 1205 w 1205"/>
                <a:gd name="T73" fmla="*/ 610 h 1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05" h="1613">
                  <a:moveTo>
                    <a:pt x="50" y="620"/>
                  </a:moveTo>
                  <a:cubicBezTo>
                    <a:pt x="176" y="494"/>
                    <a:pt x="176" y="494"/>
                    <a:pt x="176" y="494"/>
                  </a:cubicBezTo>
                  <a:cubicBezTo>
                    <a:pt x="50" y="368"/>
                    <a:pt x="50" y="368"/>
                    <a:pt x="50" y="368"/>
                  </a:cubicBezTo>
                  <a:cubicBezTo>
                    <a:pt x="41" y="359"/>
                    <a:pt x="41" y="344"/>
                    <a:pt x="50" y="335"/>
                  </a:cubicBezTo>
                  <a:cubicBezTo>
                    <a:pt x="59" y="326"/>
                    <a:pt x="74" y="326"/>
                    <a:pt x="83" y="335"/>
                  </a:cubicBezTo>
                  <a:cubicBezTo>
                    <a:pt x="209" y="462"/>
                    <a:pt x="209" y="462"/>
                    <a:pt x="209" y="462"/>
                  </a:cubicBezTo>
                  <a:cubicBezTo>
                    <a:pt x="335" y="335"/>
                    <a:pt x="335" y="335"/>
                    <a:pt x="335" y="335"/>
                  </a:cubicBezTo>
                  <a:cubicBezTo>
                    <a:pt x="344" y="326"/>
                    <a:pt x="358" y="326"/>
                    <a:pt x="367" y="335"/>
                  </a:cubicBezTo>
                  <a:cubicBezTo>
                    <a:pt x="376" y="344"/>
                    <a:pt x="376" y="359"/>
                    <a:pt x="367" y="368"/>
                  </a:cubicBezTo>
                  <a:cubicBezTo>
                    <a:pt x="241" y="494"/>
                    <a:pt x="241" y="494"/>
                    <a:pt x="241" y="494"/>
                  </a:cubicBezTo>
                  <a:cubicBezTo>
                    <a:pt x="367" y="620"/>
                    <a:pt x="367" y="620"/>
                    <a:pt x="367" y="620"/>
                  </a:cubicBezTo>
                  <a:cubicBezTo>
                    <a:pt x="376" y="629"/>
                    <a:pt x="376" y="644"/>
                    <a:pt x="367" y="653"/>
                  </a:cubicBezTo>
                  <a:cubicBezTo>
                    <a:pt x="363" y="657"/>
                    <a:pt x="357" y="659"/>
                    <a:pt x="351" y="659"/>
                  </a:cubicBezTo>
                  <a:cubicBezTo>
                    <a:pt x="345" y="659"/>
                    <a:pt x="339" y="657"/>
                    <a:pt x="335" y="653"/>
                  </a:cubicBezTo>
                  <a:cubicBezTo>
                    <a:pt x="209" y="526"/>
                    <a:pt x="209" y="526"/>
                    <a:pt x="209" y="526"/>
                  </a:cubicBezTo>
                  <a:cubicBezTo>
                    <a:pt x="83" y="653"/>
                    <a:pt x="83" y="653"/>
                    <a:pt x="83" y="653"/>
                  </a:cubicBezTo>
                  <a:cubicBezTo>
                    <a:pt x="78" y="657"/>
                    <a:pt x="72" y="659"/>
                    <a:pt x="66" y="659"/>
                  </a:cubicBezTo>
                  <a:cubicBezTo>
                    <a:pt x="61" y="659"/>
                    <a:pt x="55" y="657"/>
                    <a:pt x="50" y="653"/>
                  </a:cubicBezTo>
                  <a:cubicBezTo>
                    <a:pt x="41" y="644"/>
                    <a:pt x="41" y="629"/>
                    <a:pt x="50" y="620"/>
                  </a:cubicBezTo>
                  <a:close/>
                  <a:moveTo>
                    <a:pt x="1135" y="1047"/>
                  </a:moveTo>
                  <a:cubicBezTo>
                    <a:pt x="1126" y="1038"/>
                    <a:pt x="1111" y="1038"/>
                    <a:pt x="1102" y="1047"/>
                  </a:cubicBezTo>
                  <a:cubicBezTo>
                    <a:pt x="976" y="1174"/>
                    <a:pt x="976" y="1174"/>
                    <a:pt x="976" y="1174"/>
                  </a:cubicBezTo>
                  <a:cubicBezTo>
                    <a:pt x="850" y="1047"/>
                    <a:pt x="850" y="1047"/>
                    <a:pt x="850" y="1047"/>
                  </a:cubicBezTo>
                  <a:cubicBezTo>
                    <a:pt x="841" y="1038"/>
                    <a:pt x="826" y="1038"/>
                    <a:pt x="818" y="1047"/>
                  </a:cubicBezTo>
                  <a:cubicBezTo>
                    <a:pt x="809" y="1056"/>
                    <a:pt x="809" y="1071"/>
                    <a:pt x="818" y="1080"/>
                  </a:cubicBezTo>
                  <a:cubicBezTo>
                    <a:pt x="944" y="1206"/>
                    <a:pt x="944" y="1206"/>
                    <a:pt x="944" y="1206"/>
                  </a:cubicBezTo>
                  <a:cubicBezTo>
                    <a:pt x="818" y="1332"/>
                    <a:pt x="818" y="1332"/>
                    <a:pt x="818" y="1332"/>
                  </a:cubicBezTo>
                  <a:cubicBezTo>
                    <a:pt x="809" y="1341"/>
                    <a:pt x="809" y="1356"/>
                    <a:pt x="818" y="1365"/>
                  </a:cubicBezTo>
                  <a:cubicBezTo>
                    <a:pt x="822" y="1369"/>
                    <a:pt x="828" y="1371"/>
                    <a:pt x="834" y="1371"/>
                  </a:cubicBezTo>
                  <a:cubicBezTo>
                    <a:pt x="840" y="1371"/>
                    <a:pt x="845" y="1369"/>
                    <a:pt x="850" y="1365"/>
                  </a:cubicBezTo>
                  <a:cubicBezTo>
                    <a:pt x="976" y="1238"/>
                    <a:pt x="976" y="1238"/>
                    <a:pt x="976" y="1238"/>
                  </a:cubicBezTo>
                  <a:cubicBezTo>
                    <a:pt x="1102" y="1365"/>
                    <a:pt x="1102" y="1365"/>
                    <a:pt x="1102" y="1365"/>
                  </a:cubicBezTo>
                  <a:cubicBezTo>
                    <a:pt x="1107" y="1369"/>
                    <a:pt x="1113" y="1371"/>
                    <a:pt x="1119" y="1371"/>
                  </a:cubicBezTo>
                  <a:cubicBezTo>
                    <a:pt x="1124" y="1371"/>
                    <a:pt x="1130" y="1369"/>
                    <a:pt x="1135" y="1365"/>
                  </a:cubicBezTo>
                  <a:cubicBezTo>
                    <a:pt x="1144" y="1356"/>
                    <a:pt x="1144" y="1341"/>
                    <a:pt x="1135" y="1332"/>
                  </a:cubicBezTo>
                  <a:cubicBezTo>
                    <a:pt x="1008" y="1206"/>
                    <a:pt x="1008" y="1206"/>
                    <a:pt x="1008" y="1206"/>
                  </a:cubicBezTo>
                  <a:cubicBezTo>
                    <a:pt x="1135" y="1080"/>
                    <a:pt x="1135" y="1080"/>
                    <a:pt x="1135" y="1080"/>
                  </a:cubicBezTo>
                  <a:cubicBezTo>
                    <a:pt x="1144" y="1071"/>
                    <a:pt x="1144" y="1056"/>
                    <a:pt x="1135" y="1047"/>
                  </a:cubicBezTo>
                  <a:close/>
                  <a:moveTo>
                    <a:pt x="331" y="1447"/>
                  </a:moveTo>
                  <a:cubicBezTo>
                    <a:pt x="331" y="1538"/>
                    <a:pt x="256" y="1613"/>
                    <a:pt x="165" y="1613"/>
                  </a:cubicBezTo>
                  <a:cubicBezTo>
                    <a:pt x="74" y="1613"/>
                    <a:pt x="0" y="1538"/>
                    <a:pt x="0" y="1447"/>
                  </a:cubicBezTo>
                  <a:cubicBezTo>
                    <a:pt x="0" y="1356"/>
                    <a:pt x="74" y="1282"/>
                    <a:pt x="165" y="1282"/>
                  </a:cubicBezTo>
                  <a:cubicBezTo>
                    <a:pt x="256" y="1282"/>
                    <a:pt x="331" y="1356"/>
                    <a:pt x="331" y="1447"/>
                  </a:cubicBezTo>
                  <a:close/>
                  <a:moveTo>
                    <a:pt x="285" y="1447"/>
                  </a:moveTo>
                  <a:cubicBezTo>
                    <a:pt x="285" y="1381"/>
                    <a:pt x="231" y="1328"/>
                    <a:pt x="165" y="1328"/>
                  </a:cubicBezTo>
                  <a:cubicBezTo>
                    <a:pt x="99" y="1328"/>
                    <a:pt x="46" y="1381"/>
                    <a:pt x="46" y="1447"/>
                  </a:cubicBezTo>
                  <a:cubicBezTo>
                    <a:pt x="46" y="1513"/>
                    <a:pt x="99" y="1567"/>
                    <a:pt x="165" y="1567"/>
                  </a:cubicBezTo>
                  <a:cubicBezTo>
                    <a:pt x="231" y="1567"/>
                    <a:pt x="285" y="1513"/>
                    <a:pt x="285" y="1447"/>
                  </a:cubicBezTo>
                  <a:close/>
                  <a:moveTo>
                    <a:pt x="854" y="166"/>
                  </a:moveTo>
                  <a:cubicBezTo>
                    <a:pt x="854" y="75"/>
                    <a:pt x="928" y="0"/>
                    <a:pt x="1020" y="0"/>
                  </a:cubicBezTo>
                  <a:cubicBezTo>
                    <a:pt x="1111" y="0"/>
                    <a:pt x="1185" y="75"/>
                    <a:pt x="1185" y="166"/>
                  </a:cubicBezTo>
                  <a:cubicBezTo>
                    <a:pt x="1185" y="257"/>
                    <a:pt x="1111" y="331"/>
                    <a:pt x="1020" y="331"/>
                  </a:cubicBezTo>
                  <a:cubicBezTo>
                    <a:pt x="928" y="331"/>
                    <a:pt x="854" y="257"/>
                    <a:pt x="854" y="166"/>
                  </a:cubicBezTo>
                  <a:close/>
                  <a:moveTo>
                    <a:pt x="900" y="166"/>
                  </a:moveTo>
                  <a:cubicBezTo>
                    <a:pt x="900" y="232"/>
                    <a:pt x="954" y="285"/>
                    <a:pt x="1020" y="285"/>
                  </a:cubicBezTo>
                  <a:cubicBezTo>
                    <a:pt x="1086" y="285"/>
                    <a:pt x="1139" y="232"/>
                    <a:pt x="1139" y="166"/>
                  </a:cubicBezTo>
                  <a:cubicBezTo>
                    <a:pt x="1139" y="100"/>
                    <a:pt x="1086" y="46"/>
                    <a:pt x="1020" y="46"/>
                  </a:cubicBezTo>
                  <a:cubicBezTo>
                    <a:pt x="954" y="46"/>
                    <a:pt x="900" y="100"/>
                    <a:pt x="900" y="166"/>
                  </a:cubicBezTo>
                  <a:close/>
                  <a:moveTo>
                    <a:pt x="1020" y="407"/>
                  </a:moveTo>
                  <a:cubicBezTo>
                    <a:pt x="831" y="607"/>
                    <a:pt x="831" y="607"/>
                    <a:pt x="831" y="607"/>
                  </a:cubicBezTo>
                  <a:cubicBezTo>
                    <a:pt x="864" y="638"/>
                    <a:pt x="864" y="638"/>
                    <a:pt x="864" y="638"/>
                  </a:cubicBezTo>
                  <a:cubicBezTo>
                    <a:pt x="997" y="498"/>
                    <a:pt x="997" y="498"/>
                    <a:pt x="997" y="498"/>
                  </a:cubicBezTo>
                  <a:cubicBezTo>
                    <a:pt x="997" y="560"/>
                    <a:pt x="997" y="560"/>
                    <a:pt x="997" y="560"/>
                  </a:cubicBezTo>
                  <a:cubicBezTo>
                    <a:pt x="997" y="670"/>
                    <a:pt x="909" y="774"/>
                    <a:pt x="800" y="792"/>
                  </a:cubicBezTo>
                  <a:cubicBezTo>
                    <a:pt x="442" y="852"/>
                    <a:pt x="442" y="852"/>
                    <a:pt x="442" y="852"/>
                  </a:cubicBezTo>
                  <a:cubicBezTo>
                    <a:pt x="269" y="881"/>
                    <a:pt x="142" y="1030"/>
                    <a:pt x="142" y="1206"/>
                  </a:cubicBezTo>
                  <a:cubicBezTo>
                    <a:pt x="142" y="1219"/>
                    <a:pt x="153" y="1229"/>
                    <a:pt x="165" y="1229"/>
                  </a:cubicBezTo>
                  <a:cubicBezTo>
                    <a:pt x="178" y="1229"/>
                    <a:pt x="188" y="1219"/>
                    <a:pt x="188" y="1206"/>
                  </a:cubicBezTo>
                  <a:cubicBezTo>
                    <a:pt x="188" y="1052"/>
                    <a:pt x="298" y="922"/>
                    <a:pt x="450" y="897"/>
                  </a:cubicBezTo>
                  <a:cubicBezTo>
                    <a:pt x="808" y="837"/>
                    <a:pt x="808" y="837"/>
                    <a:pt x="808" y="837"/>
                  </a:cubicBezTo>
                  <a:cubicBezTo>
                    <a:pt x="937" y="816"/>
                    <a:pt x="1043" y="691"/>
                    <a:pt x="1043" y="560"/>
                  </a:cubicBezTo>
                  <a:cubicBezTo>
                    <a:pt x="1043" y="500"/>
                    <a:pt x="1043" y="500"/>
                    <a:pt x="1043" y="500"/>
                  </a:cubicBezTo>
                  <a:cubicBezTo>
                    <a:pt x="1171" y="641"/>
                    <a:pt x="1171" y="641"/>
                    <a:pt x="1171" y="641"/>
                  </a:cubicBezTo>
                  <a:cubicBezTo>
                    <a:pt x="1205" y="610"/>
                    <a:pt x="1205" y="610"/>
                    <a:pt x="1205" y="610"/>
                  </a:cubicBezTo>
                  <a:lnTo>
                    <a:pt x="1020" y="4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5809062" y="1545678"/>
            <a:ext cx="511821" cy="511821"/>
            <a:chOff x="5809062" y="1545678"/>
            <a:chExt cx="511821" cy="511821"/>
          </a:xfrm>
        </p:grpSpPr>
        <p:sp>
          <p:nvSpPr>
            <p:cNvPr id="10" name="Oval 9"/>
            <p:cNvSpPr/>
            <p:nvPr/>
          </p:nvSpPr>
          <p:spPr>
            <a:xfrm>
              <a:off x="5809062" y="1545678"/>
              <a:ext cx="511821" cy="511821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8" name="Freeform 36"/>
            <p:cNvSpPr>
              <a:spLocks noEditPoints="1"/>
            </p:cNvSpPr>
            <p:nvPr/>
          </p:nvSpPr>
          <p:spPr bwMode="auto">
            <a:xfrm>
              <a:off x="5961992" y="1640354"/>
              <a:ext cx="205960" cy="310320"/>
            </a:xfrm>
            <a:custGeom>
              <a:avLst/>
              <a:gdLst>
                <a:gd name="T0" fmla="*/ 621 w 1164"/>
                <a:gd name="T1" fmla="*/ 2 h 1758"/>
                <a:gd name="T2" fmla="*/ 577 w 1164"/>
                <a:gd name="T3" fmla="*/ 1 h 1758"/>
                <a:gd name="T4" fmla="*/ 47 w 1164"/>
                <a:gd name="T5" fmla="*/ 808 h 1758"/>
                <a:gd name="T6" fmla="*/ 109 w 1164"/>
                <a:gd name="T7" fmla="*/ 917 h 1758"/>
                <a:gd name="T8" fmla="*/ 333 w 1164"/>
                <a:gd name="T9" fmla="*/ 1380 h 1758"/>
                <a:gd name="T10" fmla="*/ 333 w 1164"/>
                <a:gd name="T11" fmla="*/ 1538 h 1758"/>
                <a:gd name="T12" fmla="*/ 381 w 1164"/>
                <a:gd name="T13" fmla="*/ 1662 h 1758"/>
                <a:gd name="T14" fmla="*/ 778 w 1164"/>
                <a:gd name="T15" fmla="*/ 1662 h 1758"/>
                <a:gd name="T16" fmla="*/ 826 w 1164"/>
                <a:gd name="T17" fmla="*/ 1538 h 1758"/>
                <a:gd name="T18" fmla="*/ 826 w 1164"/>
                <a:gd name="T19" fmla="*/ 1380 h 1758"/>
                <a:gd name="T20" fmla="*/ 1043 w 1164"/>
                <a:gd name="T21" fmla="*/ 929 h 1758"/>
                <a:gd name="T22" fmla="*/ 1109 w 1164"/>
                <a:gd name="T23" fmla="*/ 814 h 1758"/>
                <a:gd name="T24" fmla="*/ 1115 w 1164"/>
                <a:gd name="T25" fmla="*/ 801 h 1758"/>
                <a:gd name="T26" fmla="*/ 1147 w 1164"/>
                <a:gd name="T27" fmla="*/ 694 h 1758"/>
                <a:gd name="T28" fmla="*/ 941 w 1164"/>
                <a:gd name="T29" fmla="*/ 676 h 1758"/>
                <a:gd name="T30" fmla="*/ 945 w 1164"/>
                <a:gd name="T31" fmla="*/ 762 h 1758"/>
                <a:gd name="T32" fmla="*/ 774 w 1164"/>
                <a:gd name="T33" fmla="*/ 708 h 1758"/>
                <a:gd name="T34" fmla="*/ 599 w 1164"/>
                <a:gd name="T35" fmla="*/ 676 h 1758"/>
                <a:gd name="T36" fmla="*/ 778 w 1164"/>
                <a:gd name="T37" fmla="*/ 336 h 1758"/>
                <a:gd name="T38" fmla="*/ 599 w 1164"/>
                <a:gd name="T39" fmla="*/ 39 h 1758"/>
                <a:gd name="T40" fmla="*/ 210 w 1164"/>
                <a:gd name="T41" fmla="*/ 184 h 1758"/>
                <a:gd name="T42" fmla="*/ 571 w 1164"/>
                <a:gd name="T43" fmla="*/ 262 h 1758"/>
                <a:gd name="T44" fmla="*/ 740 w 1164"/>
                <a:gd name="T45" fmla="*/ 336 h 1758"/>
                <a:gd name="T46" fmla="*/ 571 w 1164"/>
                <a:gd name="T47" fmla="*/ 410 h 1758"/>
                <a:gd name="T48" fmla="*/ 430 w 1164"/>
                <a:gd name="T49" fmla="*/ 676 h 1758"/>
                <a:gd name="T50" fmla="*/ 175 w 1164"/>
                <a:gd name="T51" fmla="*/ 628 h 1758"/>
                <a:gd name="T52" fmla="*/ 38 w 1164"/>
                <a:gd name="T53" fmla="*/ 580 h 1758"/>
                <a:gd name="T54" fmla="*/ 142 w 1164"/>
                <a:gd name="T55" fmla="*/ 899 h 1758"/>
                <a:gd name="T56" fmla="*/ 56 w 1164"/>
                <a:gd name="T57" fmla="*/ 714 h 1758"/>
                <a:gd name="T58" fmla="*/ 231 w 1164"/>
                <a:gd name="T59" fmla="*/ 683 h 1758"/>
                <a:gd name="T60" fmla="*/ 401 w 1164"/>
                <a:gd name="T61" fmla="*/ 628 h 1758"/>
                <a:gd name="T62" fmla="*/ 398 w 1164"/>
                <a:gd name="T63" fmla="*/ 714 h 1758"/>
                <a:gd name="T64" fmla="*/ 513 w 1164"/>
                <a:gd name="T65" fmla="*/ 876 h 1758"/>
                <a:gd name="T66" fmla="*/ 560 w 1164"/>
                <a:gd name="T67" fmla="*/ 1131 h 1758"/>
                <a:gd name="T68" fmla="*/ 337 w 1164"/>
                <a:gd name="T69" fmla="*/ 1324 h 1758"/>
                <a:gd name="T70" fmla="*/ 483 w 1164"/>
                <a:gd name="T71" fmla="*/ 1719 h 1758"/>
                <a:gd name="T72" fmla="*/ 676 w 1164"/>
                <a:gd name="T73" fmla="*/ 1719 h 1758"/>
                <a:gd name="T74" fmla="*/ 408 w 1164"/>
                <a:gd name="T75" fmla="*/ 1629 h 1758"/>
                <a:gd name="T76" fmla="*/ 787 w 1164"/>
                <a:gd name="T77" fmla="*/ 1576 h 1758"/>
                <a:gd name="T78" fmla="*/ 372 w 1164"/>
                <a:gd name="T79" fmla="*/ 1538 h 1758"/>
                <a:gd name="T80" fmla="*/ 787 w 1164"/>
                <a:gd name="T81" fmla="*/ 1538 h 1758"/>
                <a:gd name="T82" fmla="*/ 372 w 1164"/>
                <a:gd name="T83" fmla="*/ 1447 h 1758"/>
                <a:gd name="T84" fmla="*/ 778 w 1164"/>
                <a:gd name="T85" fmla="*/ 1394 h 1758"/>
                <a:gd name="T86" fmla="*/ 1020 w 1164"/>
                <a:gd name="T87" fmla="*/ 891 h 1758"/>
                <a:gd name="T88" fmla="*/ 822 w 1164"/>
                <a:gd name="T89" fmla="*/ 1324 h 1758"/>
                <a:gd name="T90" fmla="*/ 599 w 1164"/>
                <a:gd name="T91" fmla="*/ 1099 h 1758"/>
                <a:gd name="T92" fmla="*/ 513 w 1164"/>
                <a:gd name="T93" fmla="*/ 1101 h 1758"/>
                <a:gd name="T94" fmla="*/ 567 w 1164"/>
                <a:gd name="T95" fmla="*/ 931 h 1758"/>
                <a:gd name="T96" fmla="*/ 599 w 1164"/>
                <a:gd name="T97" fmla="*/ 714 h 1758"/>
                <a:gd name="T98" fmla="*/ 851 w 1164"/>
                <a:gd name="T99" fmla="*/ 894 h 1758"/>
                <a:gd name="T100" fmla="*/ 1104 w 1164"/>
                <a:gd name="T101" fmla="*/ 714 h 1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64" h="1758">
                  <a:moveTo>
                    <a:pt x="1147" y="694"/>
                  </a:moveTo>
                  <a:cubicBezTo>
                    <a:pt x="1164" y="612"/>
                    <a:pt x="1163" y="527"/>
                    <a:pt x="1143" y="443"/>
                  </a:cubicBezTo>
                  <a:cubicBezTo>
                    <a:pt x="1085" y="201"/>
                    <a:pt x="871" y="19"/>
                    <a:pt x="621" y="2"/>
                  </a:cubicBezTo>
                  <a:cubicBezTo>
                    <a:pt x="608" y="1"/>
                    <a:pt x="596" y="1"/>
                    <a:pt x="583" y="1"/>
                  </a:cubicBezTo>
                  <a:cubicBezTo>
                    <a:pt x="582" y="1"/>
                    <a:pt x="581" y="0"/>
                    <a:pt x="580" y="0"/>
                  </a:cubicBezTo>
                  <a:cubicBezTo>
                    <a:pt x="579" y="0"/>
                    <a:pt x="578" y="1"/>
                    <a:pt x="577" y="1"/>
                  </a:cubicBezTo>
                  <a:cubicBezTo>
                    <a:pt x="430" y="2"/>
                    <a:pt x="292" y="55"/>
                    <a:pt x="184" y="156"/>
                  </a:cubicBezTo>
                  <a:cubicBezTo>
                    <a:pt x="67" y="265"/>
                    <a:pt x="0" y="420"/>
                    <a:pt x="0" y="580"/>
                  </a:cubicBezTo>
                  <a:cubicBezTo>
                    <a:pt x="0" y="659"/>
                    <a:pt x="16" y="736"/>
                    <a:pt x="47" y="808"/>
                  </a:cubicBezTo>
                  <a:cubicBezTo>
                    <a:pt x="47" y="809"/>
                    <a:pt x="47" y="809"/>
                    <a:pt x="47" y="809"/>
                  </a:cubicBezTo>
                  <a:cubicBezTo>
                    <a:pt x="49" y="812"/>
                    <a:pt x="49" y="812"/>
                    <a:pt x="49" y="812"/>
                  </a:cubicBezTo>
                  <a:cubicBezTo>
                    <a:pt x="57" y="825"/>
                    <a:pt x="81" y="866"/>
                    <a:pt x="109" y="917"/>
                  </a:cubicBezTo>
                  <a:cubicBezTo>
                    <a:pt x="154" y="998"/>
                    <a:pt x="213" y="1104"/>
                    <a:pt x="235" y="1155"/>
                  </a:cubicBezTo>
                  <a:cubicBezTo>
                    <a:pt x="251" y="1191"/>
                    <a:pt x="280" y="1274"/>
                    <a:pt x="301" y="1336"/>
                  </a:cubicBezTo>
                  <a:cubicBezTo>
                    <a:pt x="307" y="1354"/>
                    <a:pt x="318" y="1369"/>
                    <a:pt x="333" y="1380"/>
                  </a:cubicBezTo>
                  <a:cubicBezTo>
                    <a:pt x="333" y="1447"/>
                    <a:pt x="333" y="1447"/>
                    <a:pt x="333" y="1447"/>
                  </a:cubicBezTo>
                  <a:cubicBezTo>
                    <a:pt x="333" y="1485"/>
                    <a:pt x="333" y="1485"/>
                    <a:pt x="333" y="1485"/>
                  </a:cubicBezTo>
                  <a:cubicBezTo>
                    <a:pt x="333" y="1538"/>
                    <a:pt x="333" y="1538"/>
                    <a:pt x="333" y="1538"/>
                  </a:cubicBezTo>
                  <a:cubicBezTo>
                    <a:pt x="333" y="1576"/>
                    <a:pt x="333" y="1576"/>
                    <a:pt x="333" y="1576"/>
                  </a:cubicBezTo>
                  <a:cubicBezTo>
                    <a:pt x="333" y="1592"/>
                    <a:pt x="333" y="1592"/>
                    <a:pt x="333" y="1592"/>
                  </a:cubicBezTo>
                  <a:cubicBezTo>
                    <a:pt x="333" y="1624"/>
                    <a:pt x="353" y="1651"/>
                    <a:pt x="381" y="1662"/>
                  </a:cubicBezTo>
                  <a:cubicBezTo>
                    <a:pt x="385" y="1715"/>
                    <a:pt x="429" y="1758"/>
                    <a:pt x="483" y="1758"/>
                  </a:cubicBezTo>
                  <a:cubicBezTo>
                    <a:pt x="676" y="1758"/>
                    <a:pt x="676" y="1758"/>
                    <a:pt x="676" y="1758"/>
                  </a:cubicBezTo>
                  <a:cubicBezTo>
                    <a:pt x="730" y="1758"/>
                    <a:pt x="774" y="1715"/>
                    <a:pt x="778" y="1662"/>
                  </a:cubicBezTo>
                  <a:cubicBezTo>
                    <a:pt x="806" y="1651"/>
                    <a:pt x="826" y="1624"/>
                    <a:pt x="826" y="1592"/>
                  </a:cubicBezTo>
                  <a:cubicBezTo>
                    <a:pt x="826" y="1576"/>
                    <a:pt x="826" y="1576"/>
                    <a:pt x="826" y="1576"/>
                  </a:cubicBezTo>
                  <a:cubicBezTo>
                    <a:pt x="826" y="1538"/>
                    <a:pt x="826" y="1538"/>
                    <a:pt x="826" y="1538"/>
                  </a:cubicBezTo>
                  <a:cubicBezTo>
                    <a:pt x="826" y="1485"/>
                    <a:pt x="826" y="1485"/>
                    <a:pt x="826" y="1485"/>
                  </a:cubicBezTo>
                  <a:cubicBezTo>
                    <a:pt x="826" y="1447"/>
                    <a:pt x="826" y="1447"/>
                    <a:pt x="826" y="1447"/>
                  </a:cubicBezTo>
                  <a:cubicBezTo>
                    <a:pt x="826" y="1380"/>
                    <a:pt x="826" y="1380"/>
                    <a:pt x="826" y="1380"/>
                  </a:cubicBezTo>
                  <a:cubicBezTo>
                    <a:pt x="841" y="1369"/>
                    <a:pt x="852" y="1354"/>
                    <a:pt x="858" y="1336"/>
                  </a:cubicBezTo>
                  <a:cubicBezTo>
                    <a:pt x="879" y="1274"/>
                    <a:pt x="908" y="1191"/>
                    <a:pt x="924" y="1154"/>
                  </a:cubicBezTo>
                  <a:cubicBezTo>
                    <a:pt x="946" y="1103"/>
                    <a:pt x="1006" y="995"/>
                    <a:pt x="1043" y="929"/>
                  </a:cubicBezTo>
                  <a:cubicBezTo>
                    <a:pt x="1051" y="929"/>
                    <a:pt x="1051" y="929"/>
                    <a:pt x="1051" y="929"/>
                  </a:cubicBezTo>
                  <a:cubicBezTo>
                    <a:pt x="1051" y="915"/>
                    <a:pt x="1051" y="915"/>
                    <a:pt x="1051" y="915"/>
                  </a:cubicBezTo>
                  <a:cubicBezTo>
                    <a:pt x="1078" y="866"/>
                    <a:pt x="1101" y="827"/>
                    <a:pt x="1109" y="814"/>
                  </a:cubicBezTo>
                  <a:cubicBezTo>
                    <a:pt x="1110" y="812"/>
                    <a:pt x="1110" y="811"/>
                    <a:pt x="1111" y="809"/>
                  </a:cubicBezTo>
                  <a:cubicBezTo>
                    <a:pt x="1115" y="805"/>
                    <a:pt x="1115" y="805"/>
                    <a:pt x="1115" y="805"/>
                  </a:cubicBezTo>
                  <a:cubicBezTo>
                    <a:pt x="1115" y="801"/>
                    <a:pt x="1115" y="801"/>
                    <a:pt x="1115" y="801"/>
                  </a:cubicBezTo>
                  <a:cubicBezTo>
                    <a:pt x="1128" y="769"/>
                    <a:pt x="1138" y="736"/>
                    <a:pt x="1145" y="702"/>
                  </a:cubicBezTo>
                  <a:cubicBezTo>
                    <a:pt x="1146" y="700"/>
                    <a:pt x="1147" y="697"/>
                    <a:pt x="1147" y="695"/>
                  </a:cubicBezTo>
                  <a:cubicBezTo>
                    <a:pt x="1147" y="695"/>
                    <a:pt x="1147" y="695"/>
                    <a:pt x="1147" y="694"/>
                  </a:cubicBezTo>
                  <a:close/>
                  <a:moveTo>
                    <a:pt x="1106" y="452"/>
                  </a:moveTo>
                  <a:cubicBezTo>
                    <a:pt x="1123" y="526"/>
                    <a:pt x="1125" y="602"/>
                    <a:pt x="1112" y="676"/>
                  </a:cubicBezTo>
                  <a:cubicBezTo>
                    <a:pt x="941" y="676"/>
                    <a:pt x="941" y="676"/>
                    <a:pt x="941" y="676"/>
                  </a:cubicBezTo>
                  <a:cubicBezTo>
                    <a:pt x="931" y="676"/>
                    <a:pt x="922" y="684"/>
                    <a:pt x="922" y="695"/>
                  </a:cubicBezTo>
                  <a:cubicBezTo>
                    <a:pt x="922" y="701"/>
                    <a:pt x="925" y="706"/>
                    <a:pt x="929" y="709"/>
                  </a:cubicBezTo>
                  <a:cubicBezTo>
                    <a:pt x="939" y="725"/>
                    <a:pt x="945" y="743"/>
                    <a:pt x="945" y="762"/>
                  </a:cubicBezTo>
                  <a:cubicBezTo>
                    <a:pt x="945" y="813"/>
                    <a:pt x="903" y="855"/>
                    <a:pt x="851" y="855"/>
                  </a:cubicBezTo>
                  <a:cubicBezTo>
                    <a:pt x="799" y="855"/>
                    <a:pt x="757" y="813"/>
                    <a:pt x="757" y="762"/>
                  </a:cubicBezTo>
                  <a:cubicBezTo>
                    <a:pt x="757" y="742"/>
                    <a:pt x="763" y="724"/>
                    <a:pt x="774" y="708"/>
                  </a:cubicBezTo>
                  <a:cubicBezTo>
                    <a:pt x="778" y="704"/>
                    <a:pt x="780" y="698"/>
                    <a:pt x="779" y="692"/>
                  </a:cubicBezTo>
                  <a:cubicBezTo>
                    <a:pt x="778" y="683"/>
                    <a:pt x="770" y="676"/>
                    <a:pt x="760" y="676"/>
                  </a:cubicBezTo>
                  <a:cubicBezTo>
                    <a:pt x="599" y="676"/>
                    <a:pt x="599" y="676"/>
                    <a:pt x="599" y="676"/>
                  </a:cubicBezTo>
                  <a:cubicBezTo>
                    <a:pt x="599" y="459"/>
                    <a:pt x="599" y="459"/>
                    <a:pt x="599" y="459"/>
                  </a:cubicBezTo>
                  <a:cubicBezTo>
                    <a:pt x="614" y="465"/>
                    <a:pt x="630" y="468"/>
                    <a:pt x="646" y="468"/>
                  </a:cubicBezTo>
                  <a:cubicBezTo>
                    <a:pt x="719" y="468"/>
                    <a:pt x="778" y="409"/>
                    <a:pt x="778" y="336"/>
                  </a:cubicBezTo>
                  <a:cubicBezTo>
                    <a:pt x="778" y="263"/>
                    <a:pt x="719" y="204"/>
                    <a:pt x="646" y="204"/>
                  </a:cubicBezTo>
                  <a:cubicBezTo>
                    <a:pt x="630" y="204"/>
                    <a:pt x="614" y="207"/>
                    <a:pt x="599" y="213"/>
                  </a:cubicBezTo>
                  <a:cubicBezTo>
                    <a:pt x="599" y="39"/>
                    <a:pt x="599" y="39"/>
                    <a:pt x="599" y="39"/>
                  </a:cubicBezTo>
                  <a:cubicBezTo>
                    <a:pt x="605" y="40"/>
                    <a:pt x="612" y="39"/>
                    <a:pt x="618" y="40"/>
                  </a:cubicBezTo>
                  <a:cubicBezTo>
                    <a:pt x="852" y="56"/>
                    <a:pt x="1052" y="225"/>
                    <a:pt x="1106" y="452"/>
                  </a:cubicBezTo>
                  <a:close/>
                  <a:moveTo>
                    <a:pt x="210" y="184"/>
                  </a:moveTo>
                  <a:cubicBezTo>
                    <a:pt x="307" y="94"/>
                    <a:pt x="430" y="43"/>
                    <a:pt x="560" y="39"/>
                  </a:cubicBezTo>
                  <a:cubicBezTo>
                    <a:pt x="560" y="245"/>
                    <a:pt x="560" y="245"/>
                    <a:pt x="560" y="245"/>
                  </a:cubicBezTo>
                  <a:cubicBezTo>
                    <a:pt x="560" y="252"/>
                    <a:pt x="564" y="259"/>
                    <a:pt x="571" y="262"/>
                  </a:cubicBezTo>
                  <a:cubicBezTo>
                    <a:pt x="577" y="265"/>
                    <a:pt x="585" y="265"/>
                    <a:pt x="591" y="260"/>
                  </a:cubicBezTo>
                  <a:cubicBezTo>
                    <a:pt x="607" y="249"/>
                    <a:pt x="626" y="242"/>
                    <a:pt x="646" y="242"/>
                  </a:cubicBezTo>
                  <a:cubicBezTo>
                    <a:pt x="698" y="242"/>
                    <a:pt x="740" y="284"/>
                    <a:pt x="740" y="336"/>
                  </a:cubicBezTo>
                  <a:cubicBezTo>
                    <a:pt x="740" y="388"/>
                    <a:pt x="698" y="430"/>
                    <a:pt x="646" y="430"/>
                  </a:cubicBezTo>
                  <a:cubicBezTo>
                    <a:pt x="626" y="430"/>
                    <a:pt x="607" y="424"/>
                    <a:pt x="591" y="412"/>
                  </a:cubicBezTo>
                  <a:cubicBezTo>
                    <a:pt x="585" y="408"/>
                    <a:pt x="577" y="407"/>
                    <a:pt x="571" y="410"/>
                  </a:cubicBezTo>
                  <a:cubicBezTo>
                    <a:pt x="564" y="413"/>
                    <a:pt x="560" y="420"/>
                    <a:pt x="560" y="427"/>
                  </a:cubicBezTo>
                  <a:cubicBezTo>
                    <a:pt x="560" y="676"/>
                    <a:pt x="560" y="676"/>
                    <a:pt x="560" y="676"/>
                  </a:cubicBezTo>
                  <a:cubicBezTo>
                    <a:pt x="430" y="676"/>
                    <a:pt x="430" y="676"/>
                    <a:pt x="430" y="676"/>
                  </a:cubicBezTo>
                  <a:cubicBezTo>
                    <a:pt x="436" y="661"/>
                    <a:pt x="439" y="644"/>
                    <a:pt x="439" y="628"/>
                  </a:cubicBezTo>
                  <a:cubicBezTo>
                    <a:pt x="439" y="555"/>
                    <a:pt x="379" y="496"/>
                    <a:pt x="307" y="496"/>
                  </a:cubicBezTo>
                  <a:cubicBezTo>
                    <a:pt x="234" y="496"/>
                    <a:pt x="175" y="555"/>
                    <a:pt x="175" y="628"/>
                  </a:cubicBezTo>
                  <a:cubicBezTo>
                    <a:pt x="175" y="644"/>
                    <a:pt x="178" y="661"/>
                    <a:pt x="184" y="676"/>
                  </a:cubicBezTo>
                  <a:cubicBezTo>
                    <a:pt x="47" y="676"/>
                    <a:pt x="47" y="676"/>
                    <a:pt x="47" y="676"/>
                  </a:cubicBezTo>
                  <a:cubicBezTo>
                    <a:pt x="42" y="644"/>
                    <a:pt x="38" y="612"/>
                    <a:pt x="38" y="580"/>
                  </a:cubicBezTo>
                  <a:cubicBezTo>
                    <a:pt x="38" y="430"/>
                    <a:pt x="101" y="286"/>
                    <a:pt x="210" y="184"/>
                  </a:cubicBezTo>
                  <a:close/>
                  <a:moveTo>
                    <a:pt x="270" y="1139"/>
                  </a:moveTo>
                  <a:cubicBezTo>
                    <a:pt x="247" y="1087"/>
                    <a:pt x="188" y="980"/>
                    <a:pt x="142" y="899"/>
                  </a:cubicBezTo>
                  <a:cubicBezTo>
                    <a:pt x="114" y="848"/>
                    <a:pt x="90" y="806"/>
                    <a:pt x="83" y="794"/>
                  </a:cubicBezTo>
                  <a:cubicBezTo>
                    <a:pt x="81" y="791"/>
                    <a:pt x="81" y="791"/>
                    <a:pt x="81" y="791"/>
                  </a:cubicBezTo>
                  <a:cubicBezTo>
                    <a:pt x="71" y="766"/>
                    <a:pt x="62" y="740"/>
                    <a:pt x="56" y="714"/>
                  </a:cubicBezTo>
                  <a:cubicBezTo>
                    <a:pt x="216" y="714"/>
                    <a:pt x="216" y="714"/>
                    <a:pt x="216" y="714"/>
                  </a:cubicBezTo>
                  <a:cubicBezTo>
                    <a:pt x="223" y="714"/>
                    <a:pt x="229" y="710"/>
                    <a:pt x="233" y="703"/>
                  </a:cubicBezTo>
                  <a:cubicBezTo>
                    <a:pt x="236" y="697"/>
                    <a:pt x="235" y="689"/>
                    <a:pt x="231" y="683"/>
                  </a:cubicBezTo>
                  <a:cubicBezTo>
                    <a:pt x="219" y="667"/>
                    <a:pt x="213" y="648"/>
                    <a:pt x="213" y="628"/>
                  </a:cubicBezTo>
                  <a:cubicBezTo>
                    <a:pt x="213" y="576"/>
                    <a:pt x="255" y="534"/>
                    <a:pt x="307" y="534"/>
                  </a:cubicBezTo>
                  <a:cubicBezTo>
                    <a:pt x="358" y="534"/>
                    <a:pt x="401" y="576"/>
                    <a:pt x="401" y="628"/>
                  </a:cubicBezTo>
                  <a:cubicBezTo>
                    <a:pt x="401" y="647"/>
                    <a:pt x="395" y="666"/>
                    <a:pt x="384" y="682"/>
                  </a:cubicBezTo>
                  <a:cubicBezTo>
                    <a:pt x="380" y="686"/>
                    <a:pt x="378" y="692"/>
                    <a:pt x="379" y="698"/>
                  </a:cubicBezTo>
                  <a:cubicBezTo>
                    <a:pt x="380" y="707"/>
                    <a:pt x="388" y="714"/>
                    <a:pt x="398" y="714"/>
                  </a:cubicBezTo>
                  <a:cubicBezTo>
                    <a:pt x="560" y="714"/>
                    <a:pt x="560" y="714"/>
                    <a:pt x="560" y="714"/>
                  </a:cubicBezTo>
                  <a:cubicBezTo>
                    <a:pt x="560" y="884"/>
                    <a:pt x="560" y="884"/>
                    <a:pt x="560" y="884"/>
                  </a:cubicBezTo>
                  <a:cubicBezTo>
                    <a:pt x="545" y="879"/>
                    <a:pt x="529" y="876"/>
                    <a:pt x="513" y="876"/>
                  </a:cubicBezTo>
                  <a:cubicBezTo>
                    <a:pt x="440" y="876"/>
                    <a:pt x="381" y="935"/>
                    <a:pt x="381" y="1008"/>
                  </a:cubicBezTo>
                  <a:cubicBezTo>
                    <a:pt x="381" y="1080"/>
                    <a:pt x="440" y="1139"/>
                    <a:pt x="513" y="1139"/>
                  </a:cubicBezTo>
                  <a:cubicBezTo>
                    <a:pt x="529" y="1139"/>
                    <a:pt x="545" y="1136"/>
                    <a:pt x="560" y="1131"/>
                  </a:cubicBezTo>
                  <a:cubicBezTo>
                    <a:pt x="560" y="1356"/>
                    <a:pt x="560" y="1356"/>
                    <a:pt x="560" y="1356"/>
                  </a:cubicBezTo>
                  <a:cubicBezTo>
                    <a:pt x="381" y="1356"/>
                    <a:pt x="381" y="1356"/>
                    <a:pt x="381" y="1356"/>
                  </a:cubicBezTo>
                  <a:cubicBezTo>
                    <a:pt x="361" y="1356"/>
                    <a:pt x="343" y="1343"/>
                    <a:pt x="337" y="1324"/>
                  </a:cubicBezTo>
                  <a:cubicBezTo>
                    <a:pt x="316" y="1261"/>
                    <a:pt x="287" y="1177"/>
                    <a:pt x="270" y="1139"/>
                  </a:cubicBezTo>
                  <a:close/>
                  <a:moveTo>
                    <a:pt x="676" y="1719"/>
                  </a:moveTo>
                  <a:cubicBezTo>
                    <a:pt x="483" y="1719"/>
                    <a:pt x="483" y="1719"/>
                    <a:pt x="483" y="1719"/>
                  </a:cubicBezTo>
                  <a:cubicBezTo>
                    <a:pt x="452" y="1719"/>
                    <a:pt x="425" y="1697"/>
                    <a:pt x="420" y="1667"/>
                  </a:cubicBezTo>
                  <a:cubicBezTo>
                    <a:pt x="739" y="1667"/>
                    <a:pt x="739" y="1667"/>
                    <a:pt x="739" y="1667"/>
                  </a:cubicBezTo>
                  <a:cubicBezTo>
                    <a:pt x="734" y="1697"/>
                    <a:pt x="707" y="1719"/>
                    <a:pt x="676" y="1719"/>
                  </a:cubicBezTo>
                  <a:close/>
                  <a:moveTo>
                    <a:pt x="787" y="1592"/>
                  </a:moveTo>
                  <a:cubicBezTo>
                    <a:pt x="787" y="1612"/>
                    <a:pt x="771" y="1629"/>
                    <a:pt x="751" y="1629"/>
                  </a:cubicBezTo>
                  <a:cubicBezTo>
                    <a:pt x="408" y="1629"/>
                    <a:pt x="408" y="1629"/>
                    <a:pt x="408" y="1629"/>
                  </a:cubicBezTo>
                  <a:cubicBezTo>
                    <a:pt x="388" y="1629"/>
                    <a:pt x="372" y="1612"/>
                    <a:pt x="372" y="1592"/>
                  </a:cubicBezTo>
                  <a:cubicBezTo>
                    <a:pt x="372" y="1576"/>
                    <a:pt x="372" y="1576"/>
                    <a:pt x="372" y="1576"/>
                  </a:cubicBezTo>
                  <a:cubicBezTo>
                    <a:pt x="787" y="1576"/>
                    <a:pt x="787" y="1576"/>
                    <a:pt x="787" y="1576"/>
                  </a:cubicBezTo>
                  <a:lnTo>
                    <a:pt x="787" y="1592"/>
                  </a:lnTo>
                  <a:close/>
                  <a:moveTo>
                    <a:pt x="787" y="1538"/>
                  </a:moveTo>
                  <a:cubicBezTo>
                    <a:pt x="372" y="1538"/>
                    <a:pt x="372" y="1538"/>
                    <a:pt x="372" y="1538"/>
                  </a:cubicBezTo>
                  <a:cubicBezTo>
                    <a:pt x="372" y="1485"/>
                    <a:pt x="372" y="1485"/>
                    <a:pt x="372" y="1485"/>
                  </a:cubicBezTo>
                  <a:cubicBezTo>
                    <a:pt x="787" y="1485"/>
                    <a:pt x="787" y="1485"/>
                    <a:pt x="787" y="1485"/>
                  </a:cubicBezTo>
                  <a:lnTo>
                    <a:pt x="787" y="1538"/>
                  </a:lnTo>
                  <a:close/>
                  <a:moveTo>
                    <a:pt x="787" y="1394"/>
                  </a:moveTo>
                  <a:cubicBezTo>
                    <a:pt x="787" y="1447"/>
                    <a:pt x="787" y="1447"/>
                    <a:pt x="787" y="1447"/>
                  </a:cubicBezTo>
                  <a:cubicBezTo>
                    <a:pt x="372" y="1447"/>
                    <a:pt x="372" y="1447"/>
                    <a:pt x="372" y="1447"/>
                  </a:cubicBezTo>
                  <a:cubicBezTo>
                    <a:pt x="372" y="1394"/>
                    <a:pt x="372" y="1394"/>
                    <a:pt x="372" y="1394"/>
                  </a:cubicBezTo>
                  <a:cubicBezTo>
                    <a:pt x="381" y="1394"/>
                    <a:pt x="381" y="1394"/>
                    <a:pt x="381" y="1394"/>
                  </a:cubicBezTo>
                  <a:cubicBezTo>
                    <a:pt x="778" y="1394"/>
                    <a:pt x="778" y="1394"/>
                    <a:pt x="778" y="1394"/>
                  </a:cubicBezTo>
                  <a:lnTo>
                    <a:pt x="787" y="1394"/>
                  </a:lnTo>
                  <a:close/>
                  <a:moveTo>
                    <a:pt x="1076" y="793"/>
                  </a:moveTo>
                  <a:cubicBezTo>
                    <a:pt x="1068" y="807"/>
                    <a:pt x="1047" y="845"/>
                    <a:pt x="1020" y="891"/>
                  </a:cubicBezTo>
                  <a:cubicBezTo>
                    <a:pt x="1015" y="901"/>
                    <a:pt x="1015" y="901"/>
                    <a:pt x="1015" y="901"/>
                  </a:cubicBezTo>
                  <a:cubicBezTo>
                    <a:pt x="978" y="966"/>
                    <a:pt x="913" y="1083"/>
                    <a:pt x="889" y="1139"/>
                  </a:cubicBezTo>
                  <a:cubicBezTo>
                    <a:pt x="872" y="1177"/>
                    <a:pt x="843" y="1261"/>
                    <a:pt x="822" y="1324"/>
                  </a:cubicBezTo>
                  <a:cubicBezTo>
                    <a:pt x="816" y="1343"/>
                    <a:pt x="798" y="1356"/>
                    <a:pt x="778" y="1356"/>
                  </a:cubicBezTo>
                  <a:cubicBezTo>
                    <a:pt x="599" y="1356"/>
                    <a:pt x="599" y="1356"/>
                    <a:pt x="599" y="1356"/>
                  </a:cubicBezTo>
                  <a:cubicBezTo>
                    <a:pt x="599" y="1099"/>
                    <a:pt x="599" y="1099"/>
                    <a:pt x="599" y="1099"/>
                  </a:cubicBezTo>
                  <a:cubicBezTo>
                    <a:pt x="599" y="1091"/>
                    <a:pt x="595" y="1085"/>
                    <a:pt x="588" y="1082"/>
                  </a:cubicBezTo>
                  <a:cubicBezTo>
                    <a:pt x="582" y="1078"/>
                    <a:pt x="574" y="1079"/>
                    <a:pt x="568" y="1083"/>
                  </a:cubicBezTo>
                  <a:cubicBezTo>
                    <a:pt x="552" y="1095"/>
                    <a:pt x="533" y="1101"/>
                    <a:pt x="513" y="1101"/>
                  </a:cubicBezTo>
                  <a:cubicBezTo>
                    <a:pt x="461" y="1101"/>
                    <a:pt x="419" y="1059"/>
                    <a:pt x="419" y="1008"/>
                  </a:cubicBezTo>
                  <a:cubicBezTo>
                    <a:pt x="419" y="956"/>
                    <a:pt x="461" y="914"/>
                    <a:pt x="513" y="914"/>
                  </a:cubicBezTo>
                  <a:cubicBezTo>
                    <a:pt x="532" y="914"/>
                    <a:pt x="551" y="920"/>
                    <a:pt x="567" y="931"/>
                  </a:cubicBezTo>
                  <a:cubicBezTo>
                    <a:pt x="571" y="934"/>
                    <a:pt x="577" y="936"/>
                    <a:pt x="582" y="935"/>
                  </a:cubicBezTo>
                  <a:cubicBezTo>
                    <a:pt x="592" y="934"/>
                    <a:pt x="599" y="926"/>
                    <a:pt x="599" y="917"/>
                  </a:cubicBezTo>
                  <a:cubicBezTo>
                    <a:pt x="599" y="714"/>
                    <a:pt x="599" y="714"/>
                    <a:pt x="599" y="714"/>
                  </a:cubicBezTo>
                  <a:cubicBezTo>
                    <a:pt x="728" y="714"/>
                    <a:pt x="728" y="714"/>
                    <a:pt x="728" y="714"/>
                  </a:cubicBezTo>
                  <a:cubicBezTo>
                    <a:pt x="722" y="729"/>
                    <a:pt x="719" y="745"/>
                    <a:pt x="719" y="762"/>
                  </a:cubicBezTo>
                  <a:cubicBezTo>
                    <a:pt x="719" y="834"/>
                    <a:pt x="778" y="894"/>
                    <a:pt x="851" y="894"/>
                  </a:cubicBezTo>
                  <a:cubicBezTo>
                    <a:pt x="924" y="894"/>
                    <a:pt x="983" y="834"/>
                    <a:pt x="983" y="762"/>
                  </a:cubicBezTo>
                  <a:cubicBezTo>
                    <a:pt x="983" y="745"/>
                    <a:pt x="980" y="729"/>
                    <a:pt x="974" y="714"/>
                  </a:cubicBezTo>
                  <a:cubicBezTo>
                    <a:pt x="1104" y="714"/>
                    <a:pt x="1104" y="714"/>
                    <a:pt x="1104" y="714"/>
                  </a:cubicBezTo>
                  <a:cubicBezTo>
                    <a:pt x="1097" y="739"/>
                    <a:pt x="1089" y="765"/>
                    <a:pt x="1079" y="790"/>
                  </a:cubicBezTo>
                  <a:lnTo>
                    <a:pt x="1076" y="79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2823117" y="3159333"/>
            <a:ext cx="511821" cy="511821"/>
            <a:chOff x="2823117" y="3159333"/>
            <a:chExt cx="511821" cy="511821"/>
          </a:xfrm>
        </p:grpSpPr>
        <p:sp>
          <p:nvSpPr>
            <p:cNvPr id="13" name="Oval 12"/>
            <p:cNvSpPr/>
            <p:nvPr/>
          </p:nvSpPr>
          <p:spPr>
            <a:xfrm>
              <a:off x="2823117" y="3159333"/>
              <a:ext cx="511821" cy="51182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29" name="Freeform 40"/>
            <p:cNvSpPr>
              <a:spLocks noEditPoints="1"/>
            </p:cNvSpPr>
            <p:nvPr/>
          </p:nvSpPr>
          <p:spPr bwMode="auto">
            <a:xfrm>
              <a:off x="2975969" y="3299505"/>
              <a:ext cx="218082" cy="231476"/>
            </a:xfrm>
            <a:custGeom>
              <a:avLst/>
              <a:gdLst>
                <a:gd name="T0" fmla="*/ 1707 w 1731"/>
                <a:gd name="T1" fmla="*/ 1836 h 1836"/>
                <a:gd name="T2" fmla="*/ 0 w 1731"/>
                <a:gd name="T3" fmla="*/ 1812 h 1836"/>
                <a:gd name="T4" fmla="*/ 24 w 1731"/>
                <a:gd name="T5" fmla="*/ 105 h 1836"/>
                <a:gd name="T6" fmla="*/ 48 w 1731"/>
                <a:gd name="T7" fmla="*/ 1788 h 1836"/>
                <a:gd name="T8" fmla="*/ 1731 w 1731"/>
                <a:gd name="T9" fmla="*/ 1812 h 1836"/>
                <a:gd name="T10" fmla="*/ 1570 w 1731"/>
                <a:gd name="T11" fmla="*/ 526 h 1836"/>
                <a:gd name="T12" fmla="*/ 1626 w 1731"/>
                <a:gd name="T13" fmla="*/ 1570 h 1836"/>
                <a:gd name="T14" fmla="*/ 1319 w 1731"/>
                <a:gd name="T15" fmla="*/ 1626 h 1836"/>
                <a:gd name="T16" fmla="*/ 1262 w 1731"/>
                <a:gd name="T17" fmla="*/ 582 h 1836"/>
                <a:gd name="T18" fmla="*/ 1570 w 1731"/>
                <a:gd name="T19" fmla="*/ 574 h 1836"/>
                <a:gd name="T20" fmla="*/ 1311 w 1731"/>
                <a:gd name="T21" fmla="*/ 582 h 1836"/>
                <a:gd name="T22" fmla="*/ 1319 w 1731"/>
                <a:gd name="T23" fmla="*/ 1578 h 1836"/>
                <a:gd name="T24" fmla="*/ 1578 w 1731"/>
                <a:gd name="T25" fmla="*/ 1570 h 1836"/>
                <a:gd name="T26" fmla="*/ 1570 w 1731"/>
                <a:gd name="T27" fmla="*/ 574 h 1836"/>
                <a:gd name="T28" fmla="*/ 1100 w 1731"/>
                <a:gd name="T29" fmla="*/ 898 h 1836"/>
                <a:gd name="T30" fmla="*/ 1044 w 1731"/>
                <a:gd name="T31" fmla="*/ 1626 h 1836"/>
                <a:gd name="T32" fmla="*/ 736 w 1731"/>
                <a:gd name="T33" fmla="*/ 1570 h 1836"/>
                <a:gd name="T34" fmla="*/ 793 w 1731"/>
                <a:gd name="T35" fmla="*/ 842 h 1836"/>
                <a:gd name="T36" fmla="*/ 1044 w 1731"/>
                <a:gd name="T37" fmla="*/ 890 h 1836"/>
                <a:gd name="T38" fmla="*/ 785 w 1731"/>
                <a:gd name="T39" fmla="*/ 898 h 1836"/>
                <a:gd name="T40" fmla="*/ 793 w 1731"/>
                <a:gd name="T41" fmla="*/ 1578 h 1836"/>
                <a:gd name="T42" fmla="*/ 1052 w 1731"/>
                <a:gd name="T43" fmla="*/ 1570 h 1836"/>
                <a:gd name="T44" fmla="*/ 1044 w 1731"/>
                <a:gd name="T45" fmla="*/ 890 h 1836"/>
                <a:gd name="T46" fmla="*/ 211 w 1731"/>
                <a:gd name="T47" fmla="*/ 1108 h 1836"/>
                <a:gd name="T48" fmla="*/ 518 w 1731"/>
                <a:gd name="T49" fmla="*/ 1052 h 1836"/>
                <a:gd name="T50" fmla="*/ 574 w 1731"/>
                <a:gd name="T51" fmla="*/ 1570 h 1836"/>
                <a:gd name="T52" fmla="*/ 267 w 1731"/>
                <a:gd name="T53" fmla="*/ 1626 h 1836"/>
                <a:gd name="T54" fmla="*/ 259 w 1731"/>
                <a:gd name="T55" fmla="*/ 1570 h 1836"/>
                <a:gd name="T56" fmla="*/ 518 w 1731"/>
                <a:gd name="T57" fmla="*/ 1578 h 1836"/>
                <a:gd name="T58" fmla="*/ 526 w 1731"/>
                <a:gd name="T59" fmla="*/ 1108 h 1836"/>
                <a:gd name="T60" fmla="*/ 267 w 1731"/>
                <a:gd name="T61" fmla="*/ 1100 h 1836"/>
                <a:gd name="T62" fmla="*/ 259 w 1731"/>
                <a:gd name="T63" fmla="*/ 1570 h 1836"/>
                <a:gd name="T64" fmla="*/ 396 w 1731"/>
                <a:gd name="T65" fmla="*/ 881 h 1836"/>
                <a:gd name="T66" fmla="*/ 1070 w 1731"/>
                <a:gd name="T67" fmla="*/ 52 h 1836"/>
                <a:gd name="T68" fmla="*/ 1092 w 1731"/>
                <a:gd name="T69" fmla="*/ 0 h 1836"/>
                <a:gd name="T70" fmla="*/ 1416 w 1731"/>
                <a:gd name="T71" fmla="*/ 31 h 1836"/>
                <a:gd name="T72" fmla="*/ 1397 w 1731"/>
                <a:gd name="T73" fmla="*/ 353 h 1836"/>
                <a:gd name="T74" fmla="*/ 1284 w 1731"/>
                <a:gd name="T75" fmla="*/ 267 h 1836"/>
                <a:gd name="T76" fmla="*/ 417 w 1731"/>
                <a:gd name="T77" fmla="*/ 933 h 1836"/>
                <a:gd name="T78" fmla="*/ 631 w 1731"/>
                <a:gd name="T79" fmla="*/ 714 h 1836"/>
                <a:gd name="T80" fmla="*/ 1304 w 1731"/>
                <a:gd name="T81" fmla="*/ 218 h 1836"/>
                <a:gd name="T82" fmla="*/ 1368 w 1731"/>
                <a:gd name="T83" fmla="*/ 48 h 1836"/>
                <a:gd name="T84" fmla="*/ 1198 w 1731"/>
                <a:gd name="T85" fmla="*/ 112 h 1836"/>
                <a:gd name="T86" fmla="*/ 1198 w 1731"/>
                <a:gd name="T87" fmla="*/ 147 h 1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31" h="1836">
                  <a:moveTo>
                    <a:pt x="1731" y="1812"/>
                  </a:moveTo>
                  <a:cubicBezTo>
                    <a:pt x="1731" y="1826"/>
                    <a:pt x="1720" y="1836"/>
                    <a:pt x="1707" y="1836"/>
                  </a:cubicBezTo>
                  <a:cubicBezTo>
                    <a:pt x="24" y="1836"/>
                    <a:pt x="24" y="1836"/>
                    <a:pt x="24" y="1836"/>
                  </a:cubicBezTo>
                  <a:cubicBezTo>
                    <a:pt x="11" y="1836"/>
                    <a:pt x="0" y="1826"/>
                    <a:pt x="0" y="1812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16"/>
                    <a:pt x="11" y="105"/>
                    <a:pt x="24" y="105"/>
                  </a:cubicBezTo>
                  <a:cubicBezTo>
                    <a:pt x="38" y="105"/>
                    <a:pt x="48" y="116"/>
                    <a:pt x="48" y="129"/>
                  </a:cubicBezTo>
                  <a:cubicBezTo>
                    <a:pt x="48" y="1788"/>
                    <a:pt x="48" y="1788"/>
                    <a:pt x="48" y="1788"/>
                  </a:cubicBezTo>
                  <a:cubicBezTo>
                    <a:pt x="1707" y="1788"/>
                    <a:pt x="1707" y="1788"/>
                    <a:pt x="1707" y="1788"/>
                  </a:cubicBezTo>
                  <a:cubicBezTo>
                    <a:pt x="1720" y="1788"/>
                    <a:pt x="1731" y="1799"/>
                    <a:pt x="1731" y="1812"/>
                  </a:cubicBezTo>
                  <a:close/>
                  <a:moveTo>
                    <a:pt x="1319" y="526"/>
                  </a:moveTo>
                  <a:cubicBezTo>
                    <a:pt x="1570" y="526"/>
                    <a:pt x="1570" y="526"/>
                    <a:pt x="1570" y="526"/>
                  </a:cubicBezTo>
                  <a:cubicBezTo>
                    <a:pt x="1601" y="526"/>
                    <a:pt x="1626" y="551"/>
                    <a:pt x="1626" y="582"/>
                  </a:cubicBezTo>
                  <a:cubicBezTo>
                    <a:pt x="1626" y="1570"/>
                    <a:pt x="1626" y="1570"/>
                    <a:pt x="1626" y="1570"/>
                  </a:cubicBezTo>
                  <a:cubicBezTo>
                    <a:pt x="1626" y="1601"/>
                    <a:pt x="1601" y="1626"/>
                    <a:pt x="1570" y="1626"/>
                  </a:cubicBezTo>
                  <a:cubicBezTo>
                    <a:pt x="1319" y="1626"/>
                    <a:pt x="1319" y="1626"/>
                    <a:pt x="1319" y="1626"/>
                  </a:cubicBezTo>
                  <a:cubicBezTo>
                    <a:pt x="1288" y="1626"/>
                    <a:pt x="1262" y="1601"/>
                    <a:pt x="1262" y="1570"/>
                  </a:cubicBezTo>
                  <a:cubicBezTo>
                    <a:pt x="1262" y="582"/>
                    <a:pt x="1262" y="582"/>
                    <a:pt x="1262" y="582"/>
                  </a:cubicBezTo>
                  <a:cubicBezTo>
                    <a:pt x="1262" y="551"/>
                    <a:pt x="1288" y="526"/>
                    <a:pt x="1319" y="526"/>
                  </a:cubicBezTo>
                  <a:close/>
                  <a:moveTo>
                    <a:pt x="1570" y="574"/>
                  </a:moveTo>
                  <a:cubicBezTo>
                    <a:pt x="1319" y="574"/>
                    <a:pt x="1319" y="574"/>
                    <a:pt x="1319" y="574"/>
                  </a:cubicBezTo>
                  <a:cubicBezTo>
                    <a:pt x="1314" y="574"/>
                    <a:pt x="1311" y="578"/>
                    <a:pt x="1311" y="582"/>
                  </a:cubicBezTo>
                  <a:cubicBezTo>
                    <a:pt x="1311" y="1570"/>
                    <a:pt x="1311" y="1570"/>
                    <a:pt x="1311" y="1570"/>
                  </a:cubicBezTo>
                  <a:cubicBezTo>
                    <a:pt x="1311" y="1574"/>
                    <a:pt x="1314" y="1578"/>
                    <a:pt x="1319" y="1578"/>
                  </a:cubicBezTo>
                  <a:cubicBezTo>
                    <a:pt x="1570" y="1578"/>
                    <a:pt x="1570" y="1578"/>
                    <a:pt x="1570" y="1578"/>
                  </a:cubicBezTo>
                  <a:cubicBezTo>
                    <a:pt x="1574" y="1578"/>
                    <a:pt x="1578" y="1574"/>
                    <a:pt x="1578" y="1570"/>
                  </a:cubicBezTo>
                  <a:cubicBezTo>
                    <a:pt x="1578" y="582"/>
                    <a:pt x="1578" y="582"/>
                    <a:pt x="1578" y="582"/>
                  </a:cubicBezTo>
                  <a:cubicBezTo>
                    <a:pt x="1578" y="578"/>
                    <a:pt x="1574" y="574"/>
                    <a:pt x="1570" y="574"/>
                  </a:cubicBezTo>
                  <a:close/>
                  <a:moveTo>
                    <a:pt x="1044" y="842"/>
                  </a:moveTo>
                  <a:cubicBezTo>
                    <a:pt x="1075" y="842"/>
                    <a:pt x="1100" y="867"/>
                    <a:pt x="1100" y="898"/>
                  </a:cubicBezTo>
                  <a:cubicBezTo>
                    <a:pt x="1100" y="1570"/>
                    <a:pt x="1100" y="1570"/>
                    <a:pt x="1100" y="1570"/>
                  </a:cubicBezTo>
                  <a:cubicBezTo>
                    <a:pt x="1100" y="1601"/>
                    <a:pt x="1075" y="1626"/>
                    <a:pt x="1044" y="1626"/>
                  </a:cubicBezTo>
                  <a:cubicBezTo>
                    <a:pt x="793" y="1626"/>
                    <a:pt x="793" y="1626"/>
                    <a:pt x="793" y="1626"/>
                  </a:cubicBezTo>
                  <a:cubicBezTo>
                    <a:pt x="762" y="1626"/>
                    <a:pt x="736" y="1601"/>
                    <a:pt x="736" y="1570"/>
                  </a:cubicBezTo>
                  <a:cubicBezTo>
                    <a:pt x="736" y="898"/>
                    <a:pt x="736" y="898"/>
                    <a:pt x="736" y="898"/>
                  </a:cubicBezTo>
                  <a:cubicBezTo>
                    <a:pt x="736" y="867"/>
                    <a:pt x="762" y="842"/>
                    <a:pt x="793" y="842"/>
                  </a:cubicBezTo>
                  <a:lnTo>
                    <a:pt x="1044" y="842"/>
                  </a:lnTo>
                  <a:close/>
                  <a:moveTo>
                    <a:pt x="1044" y="890"/>
                  </a:moveTo>
                  <a:cubicBezTo>
                    <a:pt x="793" y="890"/>
                    <a:pt x="793" y="890"/>
                    <a:pt x="793" y="890"/>
                  </a:cubicBezTo>
                  <a:cubicBezTo>
                    <a:pt x="788" y="890"/>
                    <a:pt x="785" y="893"/>
                    <a:pt x="785" y="898"/>
                  </a:cubicBezTo>
                  <a:cubicBezTo>
                    <a:pt x="785" y="1570"/>
                    <a:pt x="785" y="1570"/>
                    <a:pt x="785" y="1570"/>
                  </a:cubicBezTo>
                  <a:cubicBezTo>
                    <a:pt x="785" y="1574"/>
                    <a:pt x="788" y="1578"/>
                    <a:pt x="793" y="1578"/>
                  </a:cubicBezTo>
                  <a:cubicBezTo>
                    <a:pt x="1044" y="1578"/>
                    <a:pt x="1044" y="1578"/>
                    <a:pt x="1044" y="1578"/>
                  </a:cubicBezTo>
                  <a:cubicBezTo>
                    <a:pt x="1048" y="1578"/>
                    <a:pt x="1052" y="1574"/>
                    <a:pt x="1052" y="1570"/>
                  </a:cubicBezTo>
                  <a:cubicBezTo>
                    <a:pt x="1052" y="898"/>
                    <a:pt x="1052" y="898"/>
                    <a:pt x="1052" y="898"/>
                  </a:cubicBezTo>
                  <a:cubicBezTo>
                    <a:pt x="1052" y="893"/>
                    <a:pt x="1048" y="890"/>
                    <a:pt x="1044" y="890"/>
                  </a:cubicBezTo>
                  <a:close/>
                  <a:moveTo>
                    <a:pt x="211" y="1570"/>
                  </a:moveTo>
                  <a:cubicBezTo>
                    <a:pt x="211" y="1108"/>
                    <a:pt x="211" y="1108"/>
                    <a:pt x="211" y="1108"/>
                  </a:cubicBezTo>
                  <a:cubicBezTo>
                    <a:pt x="211" y="1077"/>
                    <a:pt x="236" y="1052"/>
                    <a:pt x="267" y="1052"/>
                  </a:cubicBezTo>
                  <a:cubicBezTo>
                    <a:pt x="518" y="1052"/>
                    <a:pt x="518" y="1052"/>
                    <a:pt x="518" y="1052"/>
                  </a:cubicBezTo>
                  <a:cubicBezTo>
                    <a:pt x="549" y="1052"/>
                    <a:pt x="574" y="1077"/>
                    <a:pt x="574" y="1108"/>
                  </a:cubicBezTo>
                  <a:cubicBezTo>
                    <a:pt x="574" y="1570"/>
                    <a:pt x="574" y="1570"/>
                    <a:pt x="574" y="1570"/>
                  </a:cubicBezTo>
                  <a:cubicBezTo>
                    <a:pt x="574" y="1601"/>
                    <a:pt x="549" y="1626"/>
                    <a:pt x="518" y="1626"/>
                  </a:cubicBezTo>
                  <a:cubicBezTo>
                    <a:pt x="267" y="1626"/>
                    <a:pt x="267" y="1626"/>
                    <a:pt x="267" y="1626"/>
                  </a:cubicBezTo>
                  <a:cubicBezTo>
                    <a:pt x="236" y="1626"/>
                    <a:pt x="211" y="1601"/>
                    <a:pt x="211" y="1570"/>
                  </a:cubicBezTo>
                  <a:close/>
                  <a:moveTo>
                    <a:pt x="259" y="1570"/>
                  </a:moveTo>
                  <a:cubicBezTo>
                    <a:pt x="259" y="1574"/>
                    <a:pt x="262" y="1578"/>
                    <a:pt x="267" y="1578"/>
                  </a:cubicBezTo>
                  <a:cubicBezTo>
                    <a:pt x="518" y="1578"/>
                    <a:pt x="518" y="1578"/>
                    <a:pt x="518" y="1578"/>
                  </a:cubicBezTo>
                  <a:cubicBezTo>
                    <a:pt x="523" y="1578"/>
                    <a:pt x="526" y="1574"/>
                    <a:pt x="526" y="1570"/>
                  </a:cubicBezTo>
                  <a:cubicBezTo>
                    <a:pt x="526" y="1108"/>
                    <a:pt x="526" y="1108"/>
                    <a:pt x="526" y="1108"/>
                  </a:cubicBezTo>
                  <a:cubicBezTo>
                    <a:pt x="526" y="1104"/>
                    <a:pt x="523" y="1100"/>
                    <a:pt x="518" y="1100"/>
                  </a:cubicBezTo>
                  <a:cubicBezTo>
                    <a:pt x="267" y="1100"/>
                    <a:pt x="267" y="1100"/>
                    <a:pt x="267" y="1100"/>
                  </a:cubicBezTo>
                  <a:cubicBezTo>
                    <a:pt x="262" y="1100"/>
                    <a:pt x="259" y="1104"/>
                    <a:pt x="259" y="1108"/>
                  </a:cubicBezTo>
                  <a:lnTo>
                    <a:pt x="259" y="1570"/>
                  </a:lnTo>
                  <a:close/>
                  <a:moveTo>
                    <a:pt x="395" y="923"/>
                  </a:moveTo>
                  <a:cubicBezTo>
                    <a:pt x="384" y="910"/>
                    <a:pt x="384" y="892"/>
                    <a:pt x="396" y="881"/>
                  </a:cubicBezTo>
                  <a:cubicBezTo>
                    <a:pt x="1147" y="129"/>
                    <a:pt x="1147" y="129"/>
                    <a:pt x="1147" y="129"/>
                  </a:cubicBezTo>
                  <a:cubicBezTo>
                    <a:pt x="1070" y="52"/>
                    <a:pt x="1070" y="52"/>
                    <a:pt x="1070" y="52"/>
                  </a:cubicBezTo>
                  <a:cubicBezTo>
                    <a:pt x="1061" y="44"/>
                    <a:pt x="1059" y="30"/>
                    <a:pt x="1063" y="19"/>
                  </a:cubicBezTo>
                  <a:cubicBezTo>
                    <a:pt x="1068" y="8"/>
                    <a:pt x="1079" y="0"/>
                    <a:pt x="1092" y="0"/>
                  </a:cubicBezTo>
                  <a:cubicBezTo>
                    <a:pt x="1385" y="0"/>
                    <a:pt x="1385" y="0"/>
                    <a:pt x="1385" y="0"/>
                  </a:cubicBezTo>
                  <a:cubicBezTo>
                    <a:pt x="1402" y="0"/>
                    <a:pt x="1416" y="14"/>
                    <a:pt x="1416" y="31"/>
                  </a:cubicBezTo>
                  <a:cubicBezTo>
                    <a:pt x="1416" y="324"/>
                    <a:pt x="1416" y="324"/>
                    <a:pt x="1416" y="324"/>
                  </a:cubicBezTo>
                  <a:cubicBezTo>
                    <a:pt x="1416" y="337"/>
                    <a:pt x="1408" y="348"/>
                    <a:pt x="1397" y="353"/>
                  </a:cubicBezTo>
                  <a:cubicBezTo>
                    <a:pt x="1385" y="357"/>
                    <a:pt x="1372" y="355"/>
                    <a:pt x="1364" y="346"/>
                  </a:cubicBezTo>
                  <a:cubicBezTo>
                    <a:pt x="1284" y="267"/>
                    <a:pt x="1284" y="267"/>
                    <a:pt x="1284" y="267"/>
                  </a:cubicBezTo>
                  <a:cubicBezTo>
                    <a:pt x="436" y="927"/>
                    <a:pt x="436" y="927"/>
                    <a:pt x="436" y="927"/>
                  </a:cubicBezTo>
                  <a:cubicBezTo>
                    <a:pt x="431" y="931"/>
                    <a:pt x="424" y="933"/>
                    <a:pt x="417" y="933"/>
                  </a:cubicBezTo>
                  <a:cubicBezTo>
                    <a:pt x="409" y="933"/>
                    <a:pt x="401" y="930"/>
                    <a:pt x="395" y="923"/>
                  </a:cubicBezTo>
                  <a:close/>
                  <a:moveTo>
                    <a:pt x="631" y="714"/>
                  </a:moveTo>
                  <a:cubicBezTo>
                    <a:pt x="1272" y="216"/>
                    <a:pt x="1272" y="216"/>
                    <a:pt x="1272" y="216"/>
                  </a:cubicBezTo>
                  <a:cubicBezTo>
                    <a:pt x="1281" y="208"/>
                    <a:pt x="1295" y="209"/>
                    <a:pt x="1304" y="218"/>
                  </a:cubicBezTo>
                  <a:cubicBezTo>
                    <a:pt x="1368" y="282"/>
                    <a:pt x="1368" y="282"/>
                    <a:pt x="1368" y="282"/>
                  </a:cubicBezTo>
                  <a:cubicBezTo>
                    <a:pt x="1368" y="48"/>
                    <a:pt x="1368" y="48"/>
                    <a:pt x="1368" y="48"/>
                  </a:cubicBezTo>
                  <a:cubicBezTo>
                    <a:pt x="1134" y="48"/>
                    <a:pt x="1134" y="48"/>
                    <a:pt x="1134" y="48"/>
                  </a:cubicBezTo>
                  <a:cubicBezTo>
                    <a:pt x="1198" y="112"/>
                    <a:pt x="1198" y="112"/>
                    <a:pt x="1198" y="112"/>
                  </a:cubicBezTo>
                  <a:cubicBezTo>
                    <a:pt x="1203" y="117"/>
                    <a:pt x="1205" y="123"/>
                    <a:pt x="1205" y="129"/>
                  </a:cubicBezTo>
                  <a:cubicBezTo>
                    <a:pt x="1205" y="136"/>
                    <a:pt x="1203" y="142"/>
                    <a:pt x="1198" y="147"/>
                  </a:cubicBezTo>
                  <a:lnTo>
                    <a:pt x="631" y="7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4083051" y="1748039"/>
            <a:ext cx="9779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Research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826468" y="2272645"/>
            <a:ext cx="14910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Planning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979863" y="2813756"/>
            <a:ext cx="118427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Strategy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175126" y="3345993"/>
            <a:ext cx="79375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</a:rPr>
              <a:t>Success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6701882" y="1527977"/>
            <a:ext cx="1491126" cy="442367"/>
            <a:chOff x="6701882" y="1527977"/>
            <a:chExt cx="1491126" cy="442367"/>
          </a:xfrm>
        </p:grpSpPr>
        <p:sp>
          <p:nvSpPr>
            <p:cNvPr id="51" name="TextBox 50"/>
            <p:cNvSpPr txBox="1"/>
            <p:nvPr/>
          </p:nvSpPr>
          <p:spPr>
            <a:xfrm>
              <a:off x="6701896" y="152797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701882" y="1704950"/>
              <a:ext cx="1491126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701882" y="2627648"/>
            <a:ext cx="1491126" cy="442367"/>
            <a:chOff x="6701882" y="2627648"/>
            <a:chExt cx="1491126" cy="442367"/>
          </a:xfrm>
        </p:grpSpPr>
        <p:sp>
          <p:nvSpPr>
            <p:cNvPr id="55" name="TextBox 54"/>
            <p:cNvSpPr txBox="1"/>
            <p:nvPr/>
          </p:nvSpPr>
          <p:spPr>
            <a:xfrm>
              <a:off x="6701896" y="2627648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701882" y="2804621"/>
              <a:ext cx="1491126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950978" y="2108309"/>
            <a:ext cx="1491126" cy="442367"/>
            <a:chOff x="950978" y="2108309"/>
            <a:chExt cx="1491126" cy="442367"/>
          </a:xfrm>
        </p:grpSpPr>
        <p:sp>
          <p:nvSpPr>
            <p:cNvPr id="58" name="TextBox 57"/>
            <p:cNvSpPr txBox="1"/>
            <p:nvPr/>
          </p:nvSpPr>
          <p:spPr>
            <a:xfrm>
              <a:off x="950992" y="2108309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950978" y="2285282"/>
              <a:ext cx="1491126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950978" y="3159333"/>
            <a:ext cx="1491126" cy="442367"/>
            <a:chOff x="950978" y="3159333"/>
            <a:chExt cx="1491126" cy="442367"/>
          </a:xfrm>
        </p:grpSpPr>
        <p:sp>
          <p:nvSpPr>
            <p:cNvPr id="61" name="TextBox 60"/>
            <p:cNvSpPr txBox="1"/>
            <p:nvPr/>
          </p:nvSpPr>
          <p:spPr>
            <a:xfrm>
              <a:off x="950992" y="3159333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50978" y="3336306"/>
              <a:ext cx="1491126" cy="2653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7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7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7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8434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deia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negóci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3521274" y="3427956"/>
            <a:ext cx="0" cy="46631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3470077" y="1554923"/>
            <a:ext cx="2196703" cy="2959894"/>
            <a:chOff x="3470077" y="1554923"/>
            <a:chExt cx="2196703" cy="2959894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3580805" y="1554923"/>
              <a:ext cx="1735336" cy="432792"/>
            </a:xfrm>
            <a:custGeom>
              <a:avLst/>
              <a:gdLst>
                <a:gd name="T0" fmla="*/ 3761 w 3761"/>
                <a:gd name="T1" fmla="*/ 939 h 939"/>
                <a:gd name="T2" fmla="*/ 0 w 3761"/>
                <a:gd name="T3" fmla="*/ 939 h 939"/>
                <a:gd name="T4" fmla="*/ 1881 w 3761"/>
                <a:gd name="T5" fmla="*/ 0 h 939"/>
                <a:gd name="T6" fmla="*/ 3761 w 3761"/>
                <a:gd name="T7" fmla="*/ 939 h 9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61" h="939">
                  <a:moveTo>
                    <a:pt x="3761" y="939"/>
                  </a:moveTo>
                  <a:cubicBezTo>
                    <a:pt x="0" y="939"/>
                    <a:pt x="0" y="939"/>
                    <a:pt x="0" y="939"/>
                  </a:cubicBezTo>
                  <a:cubicBezTo>
                    <a:pt x="285" y="465"/>
                    <a:pt x="833" y="0"/>
                    <a:pt x="1881" y="0"/>
                  </a:cubicBezTo>
                  <a:cubicBezTo>
                    <a:pt x="2929" y="0"/>
                    <a:pt x="3477" y="465"/>
                    <a:pt x="3761" y="9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642122" y="1987715"/>
              <a:ext cx="2024658" cy="486966"/>
            </a:xfrm>
            <a:custGeom>
              <a:avLst/>
              <a:gdLst>
                <a:gd name="T0" fmla="*/ 4389 w 4389"/>
                <a:gd name="T1" fmla="*/ 1055 h 1055"/>
                <a:gd name="T2" fmla="*/ 0 w 4389"/>
                <a:gd name="T3" fmla="*/ 1055 h 1055"/>
                <a:gd name="T4" fmla="*/ 4 w 4389"/>
                <a:gd name="T5" fmla="*/ 988 h 1055"/>
                <a:gd name="T6" fmla="*/ 223 w 4389"/>
                <a:gd name="T7" fmla="*/ 169 h 1055"/>
                <a:gd name="T8" fmla="*/ 314 w 4389"/>
                <a:gd name="T9" fmla="*/ 0 h 1055"/>
                <a:gd name="T10" fmla="*/ 4075 w 4389"/>
                <a:gd name="T11" fmla="*/ 0 h 1055"/>
                <a:gd name="T12" fmla="*/ 4384 w 4389"/>
                <a:gd name="T13" fmla="*/ 988 h 1055"/>
                <a:gd name="T14" fmla="*/ 4389 w 4389"/>
                <a:gd name="T15" fmla="*/ 1055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89" h="1055">
                  <a:moveTo>
                    <a:pt x="4389" y="1055"/>
                  </a:moveTo>
                  <a:cubicBezTo>
                    <a:pt x="0" y="1055"/>
                    <a:pt x="0" y="1055"/>
                    <a:pt x="0" y="1055"/>
                  </a:cubicBezTo>
                  <a:cubicBezTo>
                    <a:pt x="1" y="1032"/>
                    <a:pt x="2" y="1010"/>
                    <a:pt x="4" y="988"/>
                  </a:cubicBezTo>
                  <a:cubicBezTo>
                    <a:pt x="4" y="988"/>
                    <a:pt x="16" y="598"/>
                    <a:pt x="223" y="169"/>
                  </a:cubicBezTo>
                  <a:cubicBezTo>
                    <a:pt x="249" y="113"/>
                    <a:pt x="280" y="56"/>
                    <a:pt x="314" y="0"/>
                  </a:cubicBezTo>
                  <a:cubicBezTo>
                    <a:pt x="4075" y="0"/>
                    <a:pt x="4075" y="0"/>
                    <a:pt x="4075" y="0"/>
                  </a:cubicBezTo>
                  <a:cubicBezTo>
                    <a:pt x="4369" y="490"/>
                    <a:pt x="4384" y="988"/>
                    <a:pt x="4384" y="988"/>
                  </a:cubicBezTo>
                  <a:cubicBezTo>
                    <a:pt x="4386" y="1010"/>
                    <a:pt x="4387" y="1032"/>
                    <a:pt x="4389" y="105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470077" y="2474680"/>
              <a:ext cx="2032992" cy="485775"/>
            </a:xfrm>
            <a:custGeom>
              <a:avLst/>
              <a:gdLst>
                <a:gd name="T0" fmla="*/ 4403 w 4407"/>
                <a:gd name="T1" fmla="*/ 193 h 1054"/>
                <a:gd name="T2" fmla="*/ 4182 w 4407"/>
                <a:gd name="T3" fmla="*/ 1054 h 1054"/>
                <a:gd name="T4" fmla="*/ 237 w 4407"/>
                <a:gd name="T5" fmla="*/ 1054 h 1054"/>
                <a:gd name="T6" fmla="*/ 16 w 4407"/>
                <a:gd name="T7" fmla="*/ 0 h 1054"/>
                <a:gd name="T8" fmla="*/ 4405 w 4407"/>
                <a:gd name="T9" fmla="*/ 0 h 1054"/>
                <a:gd name="T10" fmla="*/ 4403 w 4407"/>
                <a:gd name="T11" fmla="*/ 193 h 10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07" h="1054">
                  <a:moveTo>
                    <a:pt x="4403" y="193"/>
                  </a:moveTo>
                  <a:cubicBezTo>
                    <a:pt x="4385" y="521"/>
                    <a:pt x="4293" y="813"/>
                    <a:pt x="4182" y="1054"/>
                  </a:cubicBezTo>
                  <a:cubicBezTo>
                    <a:pt x="237" y="1054"/>
                    <a:pt x="237" y="1054"/>
                    <a:pt x="237" y="1054"/>
                  </a:cubicBezTo>
                  <a:cubicBezTo>
                    <a:pt x="105" y="767"/>
                    <a:pt x="0" y="406"/>
                    <a:pt x="16" y="0"/>
                  </a:cubicBezTo>
                  <a:cubicBezTo>
                    <a:pt x="4405" y="0"/>
                    <a:pt x="4405" y="0"/>
                    <a:pt x="4405" y="0"/>
                  </a:cubicBezTo>
                  <a:cubicBezTo>
                    <a:pt x="4407" y="65"/>
                    <a:pt x="4407" y="130"/>
                    <a:pt x="4403" y="19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3744515" y="2960455"/>
              <a:ext cx="1819871" cy="486966"/>
            </a:xfrm>
            <a:custGeom>
              <a:avLst/>
              <a:gdLst>
                <a:gd name="T0" fmla="*/ 3945 w 3945"/>
                <a:gd name="T1" fmla="*/ 0 h 1055"/>
                <a:gd name="T2" fmla="*/ 3514 w 3945"/>
                <a:gd name="T3" fmla="*/ 667 h 1055"/>
                <a:gd name="T4" fmla="*/ 3285 w 3945"/>
                <a:gd name="T5" fmla="*/ 954 h 1055"/>
                <a:gd name="T6" fmla="*/ 3217 w 3945"/>
                <a:gd name="T7" fmla="*/ 1055 h 1055"/>
                <a:gd name="T8" fmla="*/ 728 w 3945"/>
                <a:gd name="T9" fmla="*/ 1055 h 1055"/>
                <a:gd name="T10" fmla="*/ 659 w 3945"/>
                <a:gd name="T11" fmla="*/ 954 h 1055"/>
                <a:gd name="T12" fmla="*/ 430 w 3945"/>
                <a:gd name="T13" fmla="*/ 667 h 1055"/>
                <a:gd name="T14" fmla="*/ 78 w 3945"/>
                <a:gd name="T15" fmla="*/ 157 h 1055"/>
                <a:gd name="T16" fmla="*/ 0 w 3945"/>
                <a:gd name="T17" fmla="*/ 0 h 1055"/>
                <a:gd name="T18" fmla="*/ 3945 w 3945"/>
                <a:gd name="T19" fmla="*/ 0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45" h="1055">
                  <a:moveTo>
                    <a:pt x="3945" y="0"/>
                  </a:moveTo>
                  <a:cubicBezTo>
                    <a:pt x="3791" y="334"/>
                    <a:pt x="3599" y="570"/>
                    <a:pt x="3514" y="667"/>
                  </a:cubicBezTo>
                  <a:cubicBezTo>
                    <a:pt x="3434" y="758"/>
                    <a:pt x="3357" y="854"/>
                    <a:pt x="3285" y="954"/>
                  </a:cubicBezTo>
                  <a:cubicBezTo>
                    <a:pt x="3261" y="988"/>
                    <a:pt x="3239" y="1021"/>
                    <a:pt x="3217" y="1055"/>
                  </a:cubicBezTo>
                  <a:cubicBezTo>
                    <a:pt x="728" y="1055"/>
                    <a:pt x="728" y="1055"/>
                    <a:pt x="728" y="1055"/>
                  </a:cubicBezTo>
                  <a:cubicBezTo>
                    <a:pt x="706" y="1021"/>
                    <a:pt x="683" y="988"/>
                    <a:pt x="659" y="954"/>
                  </a:cubicBezTo>
                  <a:cubicBezTo>
                    <a:pt x="588" y="854"/>
                    <a:pt x="511" y="758"/>
                    <a:pt x="430" y="667"/>
                  </a:cubicBezTo>
                  <a:cubicBezTo>
                    <a:pt x="359" y="586"/>
                    <a:pt x="214" y="408"/>
                    <a:pt x="78" y="157"/>
                  </a:cubicBezTo>
                  <a:cubicBezTo>
                    <a:pt x="51" y="108"/>
                    <a:pt x="25" y="55"/>
                    <a:pt x="0" y="0"/>
                  </a:cubicBezTo>
                  <a:lnTo>
                    <a:pt x="3945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3973711" y="3447421"/>
              <a:ext cx="1203722" cy="420886"/>
            </a:xfrm>
            <a:custGeom>
              <a:avLst/>
              <a:gdLst>
                <a:gd name="T0" fmla="*/ 2610 w 2610"/>
                <a:gd name="T1" fmla="*/ 0 h 913"/>
                <a:gd name="T2" fmla="*/ 2546 w 2610"/>
                <a:gd name="T3" fmla="*/ 95 h 913"/>
                <a:gd name="T4" fmla="*/ 2150 w 2610"/>
                <a:gd name="T5" fmla="*/ 811 h 913"/>
                <a:gd name="T6" fmla="*/ 1988 w 2610"/>
                <a:gd name="T7" fmla="*/ 913 h 913"/>
                <a:gd name="T8" fmla="*/ 622 w 2610"/>
                <a:gd name="T9" fmla="*/ 913 h 913"/>
                <a:gd name="T10" fmla="*/ 459 w 2610"/>
                <a:gd name="T11" fmla="*/ 811 h 913"/>
                <a:gd name="T12" fmla="*/ 0 w 2610"/>
                <a:gd name="T13" fmla="*/ 0 h 913"/>
                <a:gd name="T14" fmla="*/ 2610 w 2610"/>
                <a:gd name="T15" fmla="*/ 0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10" h="913">
                  <a:moveTo>
                    <a:pt x="2610" y="0"/>
                  </a:moveTo>
                  <a:cubicBezTo>
                    <a:pt x="2588" y="32"/>
                    <a:pt x="2566" y="64"/>
                    <a:pt x="2546" y="95"/>
                  </a:cubicBezTo>
                  <a:cubicBezTo>
                    <a:pt x="2348" y="392"/>
                    <a:pt x="2214" y="668"/>
                    <a:pt x="2150" y="811"/>
                  </a:cubicBezTo>
                  <a:cubicBezTo>
                    <a:pt x="2122" y="873"/>
                    <a:pt x="2059" y="913"/>
                    <a:pt x="1988" y="913"/>
                  </a:cubicBezTo>
                  <a:cubicBezTo>
                    <a:pt x="622" y="913"/>
                    <a:pt x="622" y="913"/>
                    <a:pt x="622" y="913"/>
                  </a:cubicBezTo>
                  <a:cubicBezTo>
                    <a:pt x="551" y="913"/>
                    <a:pt x="487" y="873"/>
                    <a:pt x="459" y="811"/>
                  </a:cubicBezTo>
                  <a:cubicBezTo>
                    <a:pt x="389" y="653"/>
                    <a:pt x="233" y="332"/>
                    <a:pt x="0" y="0"/>
                  </a:cubicBezTo>
                  <a:lnTo>
                    <a:pt x="261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080272" y="3447421"/>
              <a:ext cx="1065609" cy="43458"/>
            </a:xfrm>
            <a:custGeom>
              <a:avLst/>
              <a:gdLst>
                <a:gd name="T0" fmla="*/ 2310 w 2310"/>
                <a:gd name="T1" fmla="*/ 0 h 95"/>
                <a:gd name="T2" fmla="*/ 2249 w 2310"/>
                <a:gd name="T3" fmla="*/ 95 h 95"/>
                <a:gd name="T4" fmla="*/ 0 w 2310"/>
                <a:gd name="T5" fmla="*/ 0 h 95"/>
                <a:gd name="T6" fmla="*/ 2310 w 2310"/>
                <a:gd name="T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10" h="95">
                  <a:moveTo>
                    <a:pt x="2310" y="0"/>
                  </a:moveTo>
                  <a:cubicBezTo>
                    <a:pt x="2289" y="32"/>
                    <a:pt x="2268" y="64"/>
                    <a:pt x="2249" y="95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310" y="0"/>
                  </a:lnTo>
                  <a:close/>
                </a:path>
              </a:pathLst>
            </a:custGeom>
            <a:solidFill>
              <a:schemeClr val="tx2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3744516" y="2960456"/>
              <a:ext cx="1654969" cy="72628"/>
            </a:xfrm>
            <a:custGeom>
              <a:avLst/>
              <a:gdLst>
                <a:gd name="T0" fmla="*/ 3587 w 3587"/>
                <a:gd name="T1" fmla="*/ 0 h 157"/>
                <a:gd name="T2" fmla="*/ 78 w 3587"/>
                <a:gd name="T3" fmla="*/ 157 h 157"/>
                <a:gd name="T4" fmla="*/ 0 w 3587"/>
                <a:gd name="T5" fmla="*/ 0 h 157"/>
                <a:gd name="T6" fmla="*/ 3587 w 3587"/>
                <a:gd name="T7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7" h="157">
                  <a:moveTo>
                    <a:pt x="3587" y="0"/>
                  </a:moveTo>
                  <a:cubicBezTo>
                    <a:pt x="78" y="157"/>
                    <a:pt x="78" y="157"/>
                    <a:pt x="78" y="157"/>
                  </a:cubicBezTo>
                  <a:cubicBezTo>
                    <a:pt x="51" y="108"/>
                    <a:pt x="25" y="55"/>
                    <a:pt x="0" y="0"/>
                  </a:cubicBezTo>
                  <a:lnTo>
                    <a:pt x="3587" y="0"/>
                  </a:lnTo>
                  <a:close/>
                </a:path>
              </a:pathLst>
            </a:custGeom>
            <a:solidFill>
              <a:schemeClr val="tx2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3642122" y="2474680"/>
              <a:ext cx="1860947" cy="88702"/>
            </a:xfrm>
            <a:custGeom>
              <a:avLst/>
              <a:gdLst>
                <a:gd name="T0" fmla="*/ 4030 w 4034"/>
                <a:gd name="T1" fmla="*/ 193 h 193"/>
                <a:gd name="T2" fmla="*/ 0 w 4034"/>
                <a:gd name="T3" fmla="*/ 0 h 193"/>
                <a:gd name="T4" fmla="*/ 4032 w 4034"/>
                <a:gd name="T5" fmla="*/ 0 h 193"/>
                <a:gd name="T6" fmla="*/ 4030 w 4034"/>
                <a:gd name="T7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34" h="193">
                  <a:moveTo>
                    <a:pt x="4030" y="19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032" y="0"/>
                    <a:pt x="4032" y="0"/>
                    <a:pt x="4032" y="0"/>
                  </a:cubicBezTo>
                  <a:cubicBezTo>
                    <a:pt x="4034" y="65"/>
                    <a:pt x="4034" y="130"/>
                    <a:pt x="4030" y="193"/>
                  </a:cubicBezTo>
                  <a:close/>
                </a:path>
              </a:pathLst>
            </a:custGeom>
            <a:solidFill>
              <a:schemeClr val="tx2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3745111" y="1987715"/>
              <a:ext cx="1571030" cy="77986"/>
            </a:xfrm>
            <a:custGeom>
              <a:avLst/>
              <a:gdLst>
                <a:gd name="T0" fmla="*/ 3405 w 3405"/>
                <a:gd name="T1" fmla="*/ 0 h 169"/>
                <a:gd name="T2" fmla="*/ 0 w 3405"/>
                <a:gd name="T3" fmla="*/ 169 h 169"/>
                <a:gd name="T4" fmla="*/ 91 w 3405"/>
                <a:gd name="T5" fmla="*/ 0 h 169"/>
                <a:gd name="T6" fmla="*/ 3405 w 3405"/>
                <a:gd name="T7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05" h="169">
                  <a:moveTo>
                    <a:pt x="3405" y="0"/>
                  </a:moveTo>
                  <a:cubicBezTo>
                    <a:pt x="0" y="169"/>
                    <a:pt x="0" y="169"/>
                    <a:pt x="0" y="169"/>
                  </a:cubicBezTo>
                  <a:cubicBezTo>
                    <a:pt x="26" y="113"/>
                    <a:pt x="57" y="56"/>
                    <a:pt x="91" y="0"/>
                  </a:cubicBezTo>
                  <a:lnTo>
                    <a:pt x="3405" y="0"/>
                  </a:lnTo>
                  <a:close/>
                </a:path>
              </a:pathLst>
            </a:custGeom>
            <a:solidFill>
              <a:schemeClr val="tx2">
                <a:alpha val="30000"/>
              </a:schemeClr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4209455" y="3947484"/>
              <a:ext cx="728067" cy="567333"/>
              <a:chOff x="11225213" y="10630860"/>
              <a:chExt cx="1941513" cy="1512888"/>
            </a:xfrm>
            <a:solidFill>
              <a:schemeClr val="accent5"/>
            </a:solidFill>
          </p:grpSpPr>
          <p:sp>
            <p:nvSpPr>
              <p:cNvPr id="16" name="Freeform 14"/>
              <p:cNvSpPr>
                <a:spLocks/>
              </p:cNvSpPr>
              <p:nvPr/>
            </p:nvSpPr>
            <p:spPr bwMode="auto">
              <a:xfrm>
                <a:off x="11225213" y="10630860"/>
                <a:ext cx="1941513" cy="250825"/>
              </a:xfrm>
              <a:custGeom>
                <a:avLst/>
                <a:gdLst>
                  <a:gd name="T0" fmla="*/ 1482 w 1578"/>
                  <a:gd name="T1" fmla="*/ 203 h 203"/>
                  <a:gd name="T2" fmla="*/ 96 w 1578"/>
                  <a:gd name="T3" fmla="*/ 203 h 203"/>
                  <a:gd name="T4" fmla="*/ 0 w 1578"/>
                  <a:gd name="T5" fmla="*/ 107 h 203"/>
                  <a:gd name="T6" fmla="*/ 0 w 1578"/>
                  <a:gd name="T7" fmla="*/ 96 h 203"/>
                  <a:gd name="T8" fmla="*/ 96 w 1578"/>
                  <a:gd name="T9" fmla="*/ 0 h 203"/>
                  <a:gd name="T10" fmla="*/ 1482 w 1578"/>
                  <a:gd name="T11" fmla="*/ 0 h 203"/>
                  <a:gd name="T12" fmla="*/ 1578 w 1578"/>
                  <a:gd name="T13" fmla="*/ 96 h 203"/>
                  <a:gd name="T14" fmla="*/ 1578 w 1578"/>
                  <a:gd name="T15" fmla="*/ 107 h 203"/>
                  <a:gd name="T16" fmla="*/ 1482 w 1578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78" h="203">
                    <a:moveTo>
                      <a:pt x="1482" y="203"/>
                    </a:moveTo>
                    <a:cubicBezTo>
                      <a:pt x="96" y="203"/>
                      <a:pt x="96" y="203"/>
                      <a:pt x="96" y="203"/>
                    </a:cubicBezTo>
                    <a:cubicBezTo>
                      <a:pt x="43" y="203"/>
                      <a:pt x="0" y="160"/>
                      <a:pt x="0" y="107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482" y="0"/>
                      <a:pt x="1482" y="0"/>
                      <a:pt x="1482" y="0"/>
                    </a:cubicBezTo>
                    <a:cubicBezTo>
                      <a:pt x="1535" y="0"/>
                      <a:pt x="1578" y="43"/>
                      <a:pt x="1578" y="96"/>
                    </a:cubicBezTo>
                    <a:cubicBezTo>
                      <a:pt x="1578" y="107"/>
                      <a:pt x="1578" y="107"/>
                      <a:pt x="1578" y="107"/>
                    </a:cubicBezTo>
                    <a:cubicBezTo>
                      <a:pt x="1578" y="160"/>
                      <a:pt x="1535" y="203"/>
                      <a:pt x="1482" y="2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7" name="Freeform 15"/>
              <p:cNvSpPr>
                <a:spLocks/>
              </p:cNvSpPr>
              <p:nvPr/>
            </p:nvSpPr>
            <p:spPr bwMode="auto">
              <a:xfrm>
                <a:off x="11225213" y="11053135"/>
                <a:ext cx="1941513" cy="249238"/>
              </a:xfrm>
              <a:custGeom>
                <a:avLst/>
                <a:gdLst>
                  <a:gd name="T0" fmla="*/ 1482 w 1578"/>
                  <a:gd name="T1" fmla="*/ 203 h 203"/>
                  <a:gd name="T2" fmla="*/ 96 w 1578"/>
                  <a:gd name="T3" fmla="*/ 203 h 203"/>
                  <a:gd name="T4" fmla="*/ 0 w 1578"/>
                  <a:gd name="T5" fmla="*/ 107 h 203"/>
                  <a:gd name="T6" fmla="*/ 0 w 1578"/>
                  <a:gd name="T7" fmla="*/ 96 h 203"/>
                  <a:gd name="T8" fmla="*/ 96 w 1578"/>
                  <a:gd name="T9" fmla="*/ 0 h 203"/>
                  <a:gd name="T10" fmla="*/ 1482 w 1578"/>
                  <a:gd name="T11" fmla="*/ 0 h 203"/>
                  <a:gd name="T12" fmla="*/ 1578 w 1578"/>
                  <a:gd name="T13" fmla="*/ 96 h 203"/>
                  <a:gd name="T14" fmla="*/ 1578 w 1578"/>
                  <a:gd name="T15" fmla="*/ 107 h 203"/>
                  <a:gd name="T16" fmla="*/ 1482 w 1578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78" h="203">
                    <a:moveTo>
                      <a:pt x="1482" y="203"/>
                    </a:moveTo>
                    <a:cubicBezTo>
                      <a:pt x="96" y="203"/>
                      <a:pt x="96" y="203"/>
                      <a:pt x="96" y="203"/>
                    </a:cubicBezTo>
                    <a:cubicBezTo>
                      <a:pt x="43" y="203"/>
                      <a:pt x="0" y="160"/>
                      <a:pt x="0" y="107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482" y="0"/>
                      <a:pt x="1482" y="0"/>
                      <a:pt x="1482" y="0"/>
                    </a:cubicBezTo>
                    <a:cubicBezTo>
                      <a:pt x="1535" y="0"/>
                      <a:pt x="1578" y="43"/>
                      <a:pt x="1578" y="96"/>
                    </a:cubicBezTo>
                    <a:cubicBezTo>
                      <a:pt x="1578" y="107"/>
                      <a:pt x="1578" y="107"/>
                      <a:pt x="1578" y="107"/>
                    </a:cubicBezTo>
                    <a:cubicBezTo>
                      <a:pt x="1578" y="160"/>
                      <a:pt x="1535" y="203"/>
                      <a:pt x="1482" y="2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8" name="Freeform 16"/>
              <p:cNvSpPr>
                <a:spLocks/>
              </p:cNvSpPr>
              <p:nvPr/>
            </p:nvSpPr>
            <p:spPr bwMode="auto">
              <a:xfrm>
                <a:off x="11225213" y="11475410"/>
                <a:ext cx="1941513" cy="249238"/>
              </a:xfrm>
              <a:custGeom>
                <a:avLst/>
                <a:gdLst>
                  <a:gd name="T0" fmla="*/ 1482 w 1578"/>
                  <a:gd name="T1" fmla="*/ 203 h 203"/>
                  <a:gd name="T2" fmla="*/ 96 w 1578"/>
                  <a:gd name="T3" fmla="*/ 203 h 203"/>
                  <a:gd name="T4" fmla="*/ 0 w 1578"/>
                  <a:gd name="T5" fmla="*/ 107 h 203"/>
                  <a:gd name="T6" fmla="*/ 0 w 1578"/>
                  <a:gd name="T7" fmla="*/ 96 h 203"/>
                  <a:gd name="T8" fmla="*/ 96 w 1578"/>
                  <a:gd name="T9" fmla="*/ 0 h 203"/>
                  <a:gd name="T10" fmla="*/ 1482 w 1578"/>
                  <a:gd name="T11" fmla="*/ 0 h 203"/>
                  <a:gd name="T12" fmla="*/ 1578 w 1578"/>
                  <a:gd name="T13" fmla="*/ 96 h 203"/>
                  <a:gd name="T14" fmla="*/ 1578 w 1578"/>
                  <a:gd name="T15" fmla="*/ 107 h 203"/>
                  <a:gd name="T16" fmla="*/ 1482 w 1578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78" h="203">
                    <a:moveTo>
                      <a:pt x="1482" y="203"/>
                    </a:moveTo>
                    <a:cubicBezTo>
                      <a:pt x="96" y="203"/>
                      <a:pt x="96" y="203"/>
                      <a:pt x="96" y="203"/>
                    </a:cubicBezTo>
                    <a:cubicBezTo>
                      <a:pt x="43" y="203"/>
                      <a:pt x="0" y="160"/>
                      <a:pt x="0" y="107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1482" y="0"/>
                      <a:pt x="1482" y="0"/>
                      <a:pt x="1482" y="0"/>
                    </a:cubicBezTo>
                    <a:cubicBezTo>
                      <a:pt x="1535" y="0"/>
                      <a:pt x="1578" y="43"/>
                      <a:pt x="1578" y="96"/>
                    </a:cubicBezTo>
                    <a:cubicBezTo>
                      <a:pt x="1578" y="107"/>
                      <a:pt x="1578" y="107"/>
                      <a:pt x="1578" y="107"/>
                    </a:cubicBezTo>
                    <a:cubicBezTo>
                      <a:pt x="1578" y="160"/>
                      <a:pt x="1535" y="203"/>
                      <a:pt x="1482" y="2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  <p:sp>
            <p:nvSpPr>
              <p:cNvPr id="19" name="Freeform 17"/>
              <p:cNvSpPr>
                <a:spLocks/>
              </p:cNvSpPr>
              <p:nvPr/>
            </p:nvSpPr>
            <p:spPr bwMode="auto">
              <a:xfrm>
                <a:off x="11530013" y="11894510"/>
                <a:ext cx="1331913" cy="249238"/>
              </a:xfrm>
              <a:custGeom>
                <a:avLst/>
                <a:gdLst>
                  <a:gd name="T0" fmla="*/ 987 w 1083"/>
                  <a:gd name="T1" fmla="*/ 203 h 203"/>
                  <a:gd name="T2" fmla="*/ 96 w 1083"/>
                  <a:gd name="T3" fmla="*/ 203 h 203"/>
                  <a:gd name="T4" fmla="*/ 0 w 1083"/>
                  <a:gd name="T5" fmla="*/ 107 h 203"/>
                  <a:gd name="T6" fmla="*/ 0 w 1083"/>
                  <a:gd name="T7" fmla="*/ 96 h 203"/>
                  <a:gd name="T8" fmla="*/ 96 w 1083"/>
                  <a:gd name="T9" fmla="*/ 0 h 203"/>
                  <a:gd name="T10" fmla="*/ 987 w 1083"/>
                  <a:gd name="T11" fmla="*/ 0 h 203"/>
                  <a:gd name="T12" fmla="*/ 1083 w 1083"/>
                  <a:gd name="T13" fmla="*/ 96 h 203"/>
                  <a:gd name="T14" fmla="*/ 1083 w 1083"/>
                  <a:gd name="T15" fmla="*/ 107 h 203"/>
                  <a:gd name="T16" fmla="*/ 987 w 1083"/>
                  <a:gd name="T17" fmla="*/ 203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83" h="203">
                    <a:moveTo>
                      <a:pt x="987" y="203"/>
                    </a:moveTo>
                    <a:cubicBezTo>
                      <a:pt x="96" y="203"/>
                      <a:pt x="96" y="203"/>
                      <a:pt x="96" y="203"/>
                    </a:cubicBezTo>
                    <a:cubicBezTo>
                      <a:pt x="43" y="203"/>
                      <a:pt x="0" y="160"/>
                      <a:pt x="0" y="107"/>
                    </a:cubicBezTo>
                    <a:cubicBezTo>
                      <a:pt x="0" y="96"/>
                      <a:pt x="0" y="96"/>
                      <a:pt x="0" y="96"/>
                    </a:cubicBezTo>
                    <a:cubicBezTo>
                      <a:pt x="0" y="43"/>
                      <a:pt x="43" y="0"/>
                      <a:pt x="96" y="0"/>
                    </a:cubicBezTo>
                    <a:cubicBezTo>
                      <a:pt x="987" y="0"/>
                      <a:pt x="987" y="0"/>
                      <a:pt x="987" y="0"/>
                    </a:cubicBezTo>
                    <a:cubicBezTo>
                      <a:pt x="1040" y="0"/>
                      <a:pt x="1083" y="43"/>
                      <a:pt x="1083" y="96"/>
                    </a:cubicBezTo>
                    <a:cubicBezTo>
                      <a:pt x="1083" y="107"/>
                      <a:pt x="1083" y="107"/>
                      <a:pt x="1083" y="107"/>
                    </a:cubicBezTo>
                    <a:cubicBezTo>
                      <a:pt x="1083" y="160"/>
                      <a:pt x="1040" y="203"/>
                      <a:pt x="987" y="20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34290" tIns="17145" rIns="34290" bIns="1714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506"/>
              </a:p>
            </p:txBody>
          </p:sp>
        </p:grpSp>
      </p:grpSp>
      <p:cxnSp>
        <p:nvCxnSpPr>
          <p:cNvPr id="26" name="Straight Connector 25"/>
          <p:cNvCxnSpPr/>
          <p:nvPr/>
        </p:nvCxnSpPr>
        <p:spPr>
          <a:xfrm>
            <a:off x="2907506" y="2472319"/>
            <a:ext cx="0" cy="46631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3229571" y="1506051"/>
            <a:ext cx="0" cy="46631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6210894" y="1984920"/>
            <a:ext cx="0" cy="46631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6013215" y="2960974"/>
            <a:ext cx="0" cy="466310"/>
          </a:xfrm>
          <a:prstGeom prst="line">
            <a:avLst/>
          </a:prstGeom>
          <a:ln w="28575">
            <a:solidFill>
              <a:srgbClr val="E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>
            <a:off x="1487559" y="1500517"/>
            <a:ext cx="1491126" cy="461282"/>
            <a:chOff x="1487559" y="1500517"/>
            <a:chExt cx="1491126" cy="461282"/>
          </a:xfrm>
        </p:grpSpPr>
        <p:sp>
          <p:nvSpPr>
            <p:cNvPr id="35" name="TextBox 34"/>
            <p:cNvSpPr txBox="1"/>
            <p:nvPr/>
          </p:nvSpPr>
          <p:spPr>
            <a:xfrm>
              <a:off x="1487573" y="1500517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1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487559" y="1677490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163893" y="2503904"/>
            <a:ext cx="1491126" cy="461282"/>
            <a:chOff x="1163893" y="2503904"/>
            <a:chExt cx="1491126" cy="461282"/>
          </a:xfrm>
        </p:grpSpPr>
        <p:sp>
          <p:nvSpPr>
            <p:cNvPr id="37" name="TextBox 36"/>
            <p:cNvSpPr txBox="1"/>
            <p:nvPr/>
          </p:nvSpPr>
          <p:spPr>
            <a:xfrm>
              <a:off x="1163907" y="2503904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3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163893" y="2680877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781533" y="3421629"/>
            <a:ext cx="1491126" cy="461282"/>
            <a:chOff x="1781533" y="3421629"/>
            <a:chExt cx="1491126" cy="461282"/>
          </a:xfrm>
        </p:grpSpPr>
        <p:sp>
          <p:nvSpPr>
            <p:cNvPr id="39" name="TextBox 38"/>
            <p:cNvSpPr txBox="1"/>
            <p:nvPr/>
          </p:nvSpPr>
          <p:spPr>
            <a:xfrm>
              <a:off x="1781547" y="3421629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5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781533" y="3598602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Etiam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t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dolor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faucibus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mentu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lorem</a:t>
              </a: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, </a:t>
              </a:r>
              <a:r>
                <a:rPr lang="pt-BR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gestas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6264730" y="2968586"/>
            <a:ext cx="1491126" cy="461282"/>
            <a:chOff x="6264730" y="2968586"/>
            <a:chExt cx="1491126" cy="461282"/>
          </a:xfrm>
        </p:grpSpPr>
        <p:sp>
          <p:nvSpPr>
            <p:cNvPr id="41" name="TextBox 40"/>
            <p:cNvSpPr txBox="1"/>
            <p:nvPr/>
          </p:nvSpPr>
          <p:spPr>
            <a:xfrm>
              <a:off x="6264744" y="2968586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4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264730" y="3145559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462423" y="1975116"/>
            <a:ext cx="1491126" cy="461282"/>
            <a:chOff x="6462423" y="1975116"/>
            <a:chExt cx="1491126" cy="461282"/>
          </a:xfrm>
        </p:grpSpPr>
        <p:sp>
          <p:nvSpPr>
            <p:cNvPr id="43" name="TextBox 42"/>
            <p:cNvSpPr txBox="1"/>
            <p:nvPr/>
          </p:nvSpPr>
          <p:spPr>
            <a:xfrm>
              <a:off x="6462437" y="1975116"/>
              <a:ext cx="1491065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02</a:t>
              </a:r>
              <a:endParaRPr lang="en-US" sz="9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462423" y="2152089"/>
              <a:ext cx="1491126" cy="2843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Pro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justo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maur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 porta semper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3754086" y="2148128"/>
            <a:ext cx="1635159" cy="16754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Inscrições</a:t>
            </a:r>
            <a:endParaRPr lang="en-US" sz="1000" b="1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753372" y="1723097"/>
            <a:ext cx="1392509" cy="16754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Vendas</a:t>
            </a: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Diretas</a:t>
            </a:r>
            <a:endParaRPr lang="en-US" sz="1000" b="1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09068" y="2629524"/>
            <a:ext cx="1681117" cy="16754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Novos</a:t>
            </a: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</a:t>
            </a: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ecursos</a:t>
            </a: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 de Venda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958196" y="3119784"/>
            <a:ext cx="1392509" cy="16754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Redes </a:t>
            </a:r>
            <a:r>
              <a:rPr lang="en-US" sz="1000" b="1" dirty="0" err="1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Sociais</a:t>
            </a:r>
            <a:endParaRPr lang="en-US" sz="1000" b="1" dirty="0">
              <a:solidFill>
                <a:schemeClr val="bg1"/>
              </a:solidFill>
              <a:latin typeface="Lato" panose="020F0502020204030203" pitchFamily="34" charset="0"/>
              <a:cs typeface="Poppins SemiBold" panose="02000000000000000000" pitchFamily="2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140994" y="3566345"/>
            <a:ext cx="869156" cy="16581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sz="1000" b="1" dirty="0">
                <a:solidFill>
                  <a:schemeClr val="bg1"/>
                </a:solidFill>
                <a:latin typeface="Lato" panose="020F0502020204030203" pitchFamily="34" charset="0"/>
                <a:cs typeface="Poppins SemiBold" panose="02000000000000000000" pitchFamily="2" charset="0"/>
              </a:rPr>
              <a:t>Marketing</a:t>
            </a:r>
          </a:p>
        </p:txBody>
      </p:sp>
    </p:spTree>
    <p:extLst>
      <p:ext uri="{BB962C8B-B14F-4D97-AF65-F5344CB8AC3E}">
        <p14:creationId xmlns:p14="http://schemas.microsoft.com/office/powerpoint/2010/main" val="3197496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Ideias</a:t>
            </a:r>
            <a:r>
              <a:rPr lang="en-US" dirty="0"/>
              <a:t> de </a:t>
            </a:r>
            <a:r>
              <a:rPr lang="en-US" dirty="0" err="1">
                <a:solidFill>
                  <a:srgbClr val="EC0000"/>
                </a:solidFill>
              </a:rPr>
              <a:t>negóci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grpSp>
        <p:nvGrpSpPr>
          <p:cNvPr id="60" name="Group 59"/>
          <p:cNvGrpSpPr/>
          <p:nvPr/>
        </p:nvGrpSpPr>
        <p:grpSpPr>
          <a:xfrm>
            <a:off x="1145124" y="2488020"/>
            <a:ext cx="1741484" cy="504692"/>
            <a:chOff x="593725" y="2560998"/>
            <a:chExt cx="1741484" cy="504692"/>
          </a:xfrm>
        </p:grpSpPr>
        <p:sp>
          <p:nvSpPr>
            <p:cNvPr id="61" name="TextBox 60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Trabalho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m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</a:t>
              </a:r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quipe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93725" y="2762337"/>
              <a:ext cx="174148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327674" y="1693709"/>
            <a:ext cx="1741484" cy="504692"/>
            <a:chOff x="593725" y="2560998"/>
            <a:chExt cx="1741484" cy="504692"/>
          </a:xfrm>
        </p:grpSpPr>
        <p:sp>
          <p:nvSpPr>
            <p:cNvPr id="70" name="TextBox 69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stratégi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593725" y="2762337"/>
              <a:ext cx="174148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490735" y="3282331"/>
            <a:ext cx="1741484" cy="504692"/>
            <a:chOff x="593725" y="2560998"/>
            <a:chExt cx="1741484" cy="504692"/>
          </a:xfrm>
        </p:grpSpPr>
        <p:sp>
          <p:nvSpPr>
            <p:cNvPr id="75" name="TextBox 74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reconheciment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593725" y="2762337"/>
              <a:ext cx="174148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Nam e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si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ame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ro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hendreri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leifend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ac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u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lorem</a:t>
              </a:r>
            </a:p>
          </p:txBody>
        </p:sp>
      </p:grpSp>
      <p:cxnSp>
        <p:nvCxnSpPr>
          <p:cNvPr id="72" name="Straight Connector 71"/>
          <p:cNvCxnSpPr/>
          <p:nvPr/>
        </p:nvCxnSpPr>
        <p:spPr>
          <a:xfrm>
            <a:off x="3465513" y="1784561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5313388" y="1784561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282963" y="2578872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5495938" y="2578872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3617925" y="3373183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5160975" y="3373183"/>
            <a:ext cx="365100" cy="0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/>
          <p:cNvGrpSpPr/>
          <p:nvPr/>
        </p:nvGrpSpPr>
        <p:grpSpPr>
          <a:xfrm>
            <a:off x="6070601" y="1693709"/>
            <a:ext cx="1741484" cy="503281"/>
            <a:chOff x="593725" y="2560998"/>
            <a:chExt cx="1741484" cy="503281"/>
          </a:xfrm>
        </p:grpSpPr>
        <p:sp>
          <p:nvSpPr>
            <p:cNvPr id="87" name="TextBox 86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sucesso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593725" y="2762337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0" name="Group 89"/>
          <p:cNvGrpSpPr/>
          <p:nvPr/>
        </p:nvGrpSpPr>
        <p:grpSpPr>
          <a:xfrm>
            <a:off x="6253151" y="2489921"/>
            <a:ext cx="1741484" cy="503281"/>
            <a:chOff x="593725" y="2560998"/>
            <a:chExt cx="1741484" cy="503281"/>
          </a:xfrm>
        </p:grpSpPr>
        <p:sp>
          <p:nvSpPr>
            <p:cNvPr id="91" name="TextBox 90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lideranç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593725" y="2762337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5918188" y="3300477"/>
            <a:ext cx="1741484" cy="503281"/>
            <a:chOff x="593725" y="2560998"/>
            <a:chExt cx="1741484" cy="503281"/>
          </a:xfrm>
        </p:grpSpPr>
        <p:sp>
          <p:nvSpPr>
            <p:cNvPr id="95" name="TextBox 94"/>
            <p:cNvSpPr txBox="1"/>
            <p:nvPr/>
          </p:nvSpPr>
          <p:spPr>
            <a:xfrm>
              <a:off x="593756" y="2560998"/>
              <a:ext cx="174141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eficiência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593725" y="2762337"/>
              <a:ext cx="1741484" cy="301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3761676" y="1557338"/>
            <a:ext cx="1620649" cy="2728912"/>
            <a:chOff x="3761946" y="1557338"/>
            <a:chExt cx="1620649" cy="2728912"/>
          </a:xfrm>
        </p:grpSpPr>
        <p:sp>
          <p:nvSpPr>
            <p:cNvPr id="14" name="Freeform 32"/>
            <p:cNvSpPr>
              <a:spLocks/>
            </p:cNvSpPr>
            <p:nvPr/>
          </p:nvSpPr>
          <p:spPr bwMode="auto">
            <a:xfrm>
              <a:off x="4589152" y="1557338"/>
              <a:ext cx="770194" cy="661972"/>
            </a:xfrm>
            <a:custGeom>
              <a:avLst/>
              <a:gdLst>
                <a:gd name="T0" fmla="*/ 901 w 917"/>
                <a:gd name="T1" fmla="*/ 707 h 788"/>
                <a:gd name="T2" fmla="*/ 66 w 917"/>
                <a:gd name="T3" fmla="*/ 1 h 788"/>
                <a:gd name="T4" fmla="*/ 0 w 917"/>
                <a:gd name="T5" fmla="*/ 0 h 788"/>
                <a:gd name="T6" fmla="*/ 0 w 917"/>
                <a:gd name="T7" fmla="*/ 788 h 788"/>
                <a:gd name="T8" fmla="*/ 917 w 917"/>
                <a:gd name="T9" fmla="*/ 788 h 788"/>
                <a:gd name="T10" fmla="*/ 901 w 917"/>
                <a:gd name="T11" fmla="*/ 707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7" h="788">
                  <a:moveTo>
                    <a:pt x="901" y="707"/>
                  </a:moveTo>
                  <a:cubicBezTo>
                    <a:pt x="808" y="318"/>
                    <a:pt x="465" y="29"/>
                    <a:pt x="66" y="1"/>
                  </a:cubicBezTo>
                  <a:cubicBezTo>
                    <a:pt x="55" y="1"/>
                    <a:pt x="27" y="0"/>
                    <a:pt x="0" y="0"/>
                  </a:cubicBezTo>
                  <a:cubicBezTo>
                    <a:pt x="0" y="788"/>
                    <a:pt x="0" y="788"/>
                    <a:pt x="0" y="788"/>
                  </a:cubicBezTo>
                  <a:cubicBezTo>
                    <a:pt x="917" y="788"/>
                    <a:pt x="917" y="788"/>
                    <a:pt x="917" y="788"/>
                  </a:cubicBezTo>
                  <a:cubicBezTo>
                    <a:pt x="913" y="761"/>
                    <a:pt x="907" y="734"/>
                    <a:pt x="901" y="70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5" name="Freeform 33"/>
            <p:cNvSpPr>
              <a:spLocks/>
            </p:cNvSpPr>
            <p:nvPr/>
          </p:nvSpPr>
          <p:spPr bwMode="auto">
            <a:xfrm>
              <a:off x="4589643" y="2247886"/>
              <a:ext cx="792952" cy="661972"/>
            </a:xfrm>
            <a:custGeom>
              <a:avLst/>
              <a:gdLst>
                <a:gd name="T0" fmla="*/ 0 w 944"/>
                <a:gd name="T1" fmla="*/ 788 h 788"/>
                <a:gd name="T2" fmla="*/ 698 w 944"/>
                <a:gd name="T3" fmla="*/ 788 h 788"/>
                <a:gd name="T4" fmla="*/ 747 w 944"/>
                <a:gd name="T5" fmla="*/ 687 h 788"/>
                <a:gd name="T6" fmla="*/ 854 w 944"/>
                <a:gd name="T7" fmla="*/ 500 h 788"/>
                <a:gd name="T8" fmla="*/ 917 w 944"/>
                <a:gd name="T9" fmla="*/ 0 h 788"/>
                <a:gd name="T10" fmla="*/ 0 w 944"/>
                <a:gd name="T11" fmla="*/ 0 h 788"/>
                <a:gd name="T12" fmla="*/ 0 w 944"/>
                <a:gd name="T13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4" h="788">
                  <a:moveTo>
                    <a:pt x="0" y="788"/>
                  </a:moveTo>
                  <a:cubicBezTo>
                    <a:pt x="698" y="788"/>
                    <a:pt x="698" y="788"/>
                    <a:pt x="698" y="788"/>
                  </a:cubicBezTo>
                  <a:cubicBezTo>
                    <a:pt x="715" y="750"/>
                    <a:pt x="732" y="715"/>
                    <a:pt x="747" y="687"/>
                  </a:cubicBezTo>
                  <a:cubicBezTo>
                    <a:pt x="854" y="500"/>
                    <a:pt x="854" y="500"/>
                    <a:pt x="854" y="500"/>
                  </a:cubicBezTo>
                  <a:cubicBezTo>
                    <a:pt x="922" y="351"/>
                    <a:pt x="944" y="178"/>
                    <a:pt x="917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88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6" name="Freeform 34"/>
            <p:cNvSpPr>
              <a:spLocks/>
            </p:cNvSpPr>
            <p:nvPr/>
          </p:nvSpPr>
          <p:spPr bwMode="auto">
            <a:xfrm>
              <a:off x="4585189" y="2938446"/>
              <a:ext cx="586622" cy="662476"/>
            </a:xfrm>
            <a:custGeom>
              <a:avLst/>
              <a:gdLst>
                <a:gd name="T0" fmla="*/ 0 w 698"/>
                <a:gd name="T1" fmla="*/ 0 h 788"/>
                <a:gd name="T2" fmla="*/ 0 w 698"/>
                <a:gd name="T3" fmla="*/ 788 h 788"/>
                <a:gd name="T4" fmla="*/ 327 w 698"/>
                <a:gd name="T5" fmla="*/ 788 h 788"/>
                <a:gd name="T6" fmla="*/ 431 w 698"/>
                <a:gd name="T7" fmla="*/ 714 h 788"/>
                <a:gd name="T8" fmla="*/ 540 w 698"/>
                <a:gd name="T9" fmla="*/ 410 h 788"/>
                <a:gd name="T10" fmla="*/ 698 w 698"/>
                <a:gd name="T11" fmla="*/ 0 h 788"/>
                <a:gd name="T12" fmla="*/ 0 w 698"/>
                <a:gd name="T1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8" h="788">
                  <a:moveTo>
                    <a:pt x="0" y="0"/>
                  </a:moveTo>
                  <a:cubicBezTo>
                    <a:pt x="0" y="788"/>
                    <a:pt x="0" y="788"/>
                    <a:pt x="0" y="788"/>
                  </a:cubicBezTo>
                  <a:cubicBezTo>
                    <a:pt x="327" y="788"/>
                    <a:pt x="327" y="788"/>
                    <a:pt x="327" y="788"/>
                  </a:cubicBezTo>
                  <a:cubicBezTo>
                    <a:pt x="374" y="788"/>
                    <a:pt x="416" y="758"/>
                    <a:pt x="431" y="714"/>
                  </a:cubicBezTo>
                  <a:cubicBezTo>
                    <a:pt x="464" y="614"/>
                    <a:pt x="513" y="473"/>
                    <a:pt x="540" y="410"/>
                  </a:cubicBezTo>
                  <a:cubicBezTo>
                    <a:pt x="569" y="344"/>
                    <a:pt x="635" y="146"/>
                    <a:pt x="69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7" name="Freeform 35"/>
            <p:cNvSpPr>
              <a:spLocks/>
            </p:cNvSpPr>
            <p:nvPr/>
          </p:nvSpPr>
          <p:spPr bwMode="auto">
            <a:xfrm>
              <a:off x="3972728" y="2938445"/>
              <a:ext cx="587130" cy="662478"/>
            </a:xfrm>
            <a:custGeom>
              <a:avLst/>
              <a:gdLst>
                <a:gd name="T0" fmla="*/ 699 w 699"/>
                <a:gd name="T1" fmla="*/ 0 h 788"/>
                <a:gd name="T2" fmla="*/ 0 w 699"/>
                <a:gd name="T3" fmla="*/ 0 h 788"/>
                <a:gd name="T4" fmla="*/ 158 w 699"/>
                <a:gd name="T5" fmla="*/ 410 h 788"/>
                <a:gd name="T6" fmla="*/ 268 w 699"/>
                <a:gd name="T7" fmla="*/ 714 h 788"/>
                <a:gd name="T8" fmla="*/ 371 w 699"/>
                <a:gd name="T9" fmla="*/ 788 h 788"/>
                <a:gd name="T10" fmla="*/ 699 w 699"/>
                <a:gd name="T11" fmla="*/ 788 h 788"/>
                <a:gd name="T12" fmla="*/ 699 w 699"/>
                <a:gd name="T1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9" h="788">
                  <a:moveTo>
                    <a:pt x="69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4" y="146"/>
                    <a:pt x="129" y="344"/>
                    <a:pt x="158" y="410"/>
                  </a:cubicBezTo>
                  <a:cubicBezTo>
                    <a:pt x="186" y="473"/>
                    <a:pt x="235" y="614"/>
                    <a:pt x="268" y="714"/>
                  </a:cubicBezTo>
                  <a:cubicBezTo>
                    <a:pt x="282" y="758"/>
                    <a:pt x="324" y="788"/>
                    <a:pt x="371" y="788"/>
                  </a:cubicBezTo>
                  <a:cubicBezTo>
                    <a:pt x="699" y="788"/>
                    <a:pt x="699" y="788"/>
                    <a:pt x="699" y="788"/>
                  </a:cubicBezTo>
                  <a:lnTo>
                    <a:pt x="69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8" name="Freeform 36"/>
            <p:cNvSpPr>
              <a:spLocks/>
            </p:cNvSpPr>
            <p:nvPr/>
          </p:nvSpPr>
          <p:spPr bwMode="auto">
            <a:xfrm>
              <a:off x="3761946" y="2247886"/>
              <a:ext cx="793456" cy="661972"/>
            </a:xfrm>
            <a:custGeom>
              <a:avLst/>
              <a:gdLst>
                <a:gd name="T0" fmla="*/ 945 w 945"/>
                <a:gd name="T1" fmla="*/ 0 h 788"/>
                <a:gd name="T2" fmla="*/ 28 w 945"/>
                <a:gd name="T3" fmla="*/ 0 h 788"/>
                <a:gd name="T4" fmla="*/ 90 w 945"/>
                <a:gd name="T5" fmla="*/ 500 h 788"/>
                <a:gd name="T6" fmla="*/ 197 w 945"/>
                <a:gd name="T7" fmla="*/ 687 h 788"/>
                <a:gd name="T8" fmla="*/ 246 w 945"/>
                <a:gd name="T9" fmla="*/ 788 h 788"/>
                <a:gd name="T10" fmla="*/ 945 w 945"/>
                <a:gd name="T11" fmla="*/ 788 h 788"/>
                <a:gd name="T12" fmla="*/ 945 w 945"/>
                <a:gd name="T1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5" h="788">
                  <a:moveTo>
                    <a:pt x="945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0" y="178"/>
                    <a:pt x="23" y="351"/>
                    <a:pt x="90" y="500"/>
                  </a:cubicBezTo>
                  <a:cubicBezTo>
                    <a:pt x="197" y="687"/>
                    <a:pt x="197" y="687"/>
                    <a:pt x="197" y="687"/>
                  </a:cubicBezTo>
                  <a:cubicBezTo>
                    <a:pt x="213" y="715"/>
                    <a:pt x="229" y="750"/>
                    <a:pt x="246" y="788"/>
                  </a:cubicBezTo>
                  <a:cubicBezTo>
                    <a:pt x="945" y="788"/>
                    <a:pt x="945" y="788"/>
                    <a:pt x="945" y="788"/>
                  </a:cubicBezTo>
                  <a:lnTo>
                    <a:pt x="945" y="0"/>
                  </a:lnTo>
                  <a:close/>
                </a:path>
              </a:pathLst>
            </a:custGeom>
            <a:solidFill>
              <a:srgbClr val="EC0000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19" name="Freeform 37"/>
            <p:cNvSpPr>
              <a:spLocks/>
            </p:cNvSpPr>
            <p:nvPr/>
          </p:nvSpPr>
          <p:spPr bwMode="auto">
            <a:xfrm>
              <a:off x="3785711" y="1557338"/>
              <a:ext cx="770194" cy="661972"/>
            </a:xfrm>
            <a:custGeom>
              <a:avLst/>
              <a:gdLst>
                <a:gd name="T0" fmla="*/ 917 w 917"/>
                <a:gd name="T1" fmla="*/ 788 h 788"/>
                <a:gd name="T2" fmla="*/ 917 w 917"/>
                <a:gd name="T3" fmla="*/ 0 h 788"/>
                <a:gd name="T4" fmla="*/ 851 w 917"/>
                <a:gd name="T5" fmla="*/ 1 h 788"/>
                <a:gd name="T6" fmla="*/ 16 w 917"/>
                <a:gd name="T7" fmla="*/ 707 h 788"/>
                <a:gd name="T8" fmla="*/ 0 w 917"/>
                <a:gd name="T9" fmla="*/ 788 h 788"/>
                <a:gd name="T10" fmla="*/ 917 w 917"/>
                <a:gd name="T11" fmla="*/ 78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17" h="788">
                  <a:moveTo>
                    <a:pt x="917" y="788"/>
                  </a:moveTo>
                  <a:cubicBezTo>
                    <a:pt x="917" y="0"/>
                    <a:pt x="917" y="0"/>
                    <a:pt x="917" y="0"/>
                  </a:cubicBezTo>
                  <a:cubicBezTo>
                    <a:pt x="889" y="0"/>
                    <a:pt x="862" y="1"/>
                    <a:pt x="851" y="1"/>
                  </a:cubicBezTo>
                  <a:cubicBezTo>
                    <a:pt x="452" y="29"/>
                    <a:pt x="108" y="318"/>
                    <a:pt x="16" y="707"/>
                  </a:cubicBezTo>
                  <a:cubicBezTo>
                    <a:pt x="9" y="734"/>
                    <a:pt x="4" y="761"/>
                    <a:pt x="0" y="788"/>
                  </a:cubicBezTo>
                  <a:lnTo>
                    <a:pt x="917" y="78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4238383" y="3670300"/>
              <a:ext cx="667235" cy="615950"/>
            </a:xfrm>
            <a:custGeom>
              <a:avLst/>
              <a:gdLst>
                <a:gd name="connsiteX0" fmla="*/ 206375 w 1982788"/>
                <a:gd name="connsiteY0" fmla="*/ 1476375 h 1830388"/>
                <a:gd name="connsiteX1" fmla="*/ 1778000 w 1982788"/>
                <a:gd name="connsiteY1" fmla="*/ 1476375 h 1830388"/>
                <a:gd name="connsiteX2" fmla="*/ 1414100 w 1982788"/>
                <a:gd name="connsiteY2" fmla="*/ 1830388 h 1830388"/>
                <a:gd name="connsiteX3" fmla="*/ 570275 w 1982788"/>
                <a:gd name="connsiteY3" fmla="*/ 1830388 h 1830388"/>
                <a:gd name="connsiteX4" fmla="*/ 206375 w 1982788"/>
                <a:gd name="connsiteY4" fmla="*/ 1476375 h 1830388"/>
                <a:gd name="connsiteX5" fmla="*/ 0 w 1982788"/>
                <a:gd name="connsiteY5" fmla="*/ 1000125 h 1830388"/>
                <a:gd name="connsiteX6" fmla="*/ 1982788 w 1982788"/>
                <a:gd name="connsiteY6" fmla="*/ 1000125 h 1830388"/>
                <a:gd name="connsiteX7" fmla="*/ 1982788 w 1982788"/>
                <a:gd name="connsiteY7" fmla="*/ 1097519 h 1830388"/>
                <a:gd name="connsiteX8" fmla="*/ 1771853 w 1982788"/>
                <a:gd name="connsiteY8" fmla="*/ 1308100 h 1830388"/>
                <a:gd name="connsiteX9" fmla="*/ 210935 w 1982788"/>
                <a:gd name="connsiteY9" fmla="*/ 1308100 h 1830388"/>
                <a:gd name="connsiteX10" fmla="*/ 0 w 1982788"/>
                <a:gd name="connsiteY10" fmla="*/ 1097519 h 1830388"/>
                <a:gd name="connsiteX11" fmla="*/ 0 w 1982788"/>
                <a:gd name="connsiteY11" fmla="*/ 1000125 h 1830388"/>
                <a:gd name="connsiteX12" fmla="*/ 0 w 1982788"/>
                <a:gd name="connsiteY12" fmla="*/ 522287 h 1830388"/>
                <a:gd name="connsiteX13" fmla="*/ 1982788 w 1982788"/>
                <a:gd name="connsiteY13" fmla="*/ 522287 h 1830388"/>
                <a:gd name="connsiteX14" fmla="*/ 1982788 w 1982788"/>
                <a:gd name="connsiteY14" fmla="*/ 830262 h 1830388"/>
                <a:gd name="connsiteX15" fmla="*/ 0 w 1982788"/>
                <a:gd name="connsiteY15" fmla="*/ 830262 h 1830388"/>
                <a:gd name="connsiteX16" fmla="*/ 210935 w 1982788"/>
                <a:gd name="connsiteY16" fmla="*/ 0 h 1830388"/>
                <a:gd name="connsiteX17" fmla="*/ 1771853 w 1982788"/>
                <a:gd name="connsiteY17" fmla="*/ 0 h 1830388"/>
                <a:gd name="connsiteX18" fmla="*/ 1982788 w 1982788"/>
                <a:gd name="connsiteY18" fmla="*/ 211351 h 1830388"/>
                <a:gd name="connsiteX19" fmla="*/ 1982788 w 1982788"/>
                <a:gd name="connsiteY19" fmla="*/ 354013 h 1830388"/>
                <a:gd name="connsiteX20" fmla="*/ 0 w 1982788"/>
                <a:gd name="connsiteY20" fmla="*/ 354013 h 1830388"/>
                <a:gd name="connsiteX21" fmla="*/ 0 w 1982788"/>
                <a:gd name="connsiteY21" fmla="*/ 211351 h 1830388"/>
                <a:gd name="connsiteX22" fmla="*/ 210935 w 1982788"/>
                <a:gd name="connsiteY22" fmla="*/ 0 h 1830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82788" h="1830388">
                  <a:moveTo>
                    <a:pt x="206375" y="1476375"/>
                  </a:moveTo>
                  <a:lnTo>
                    <a:pt x="1778000" y="1476375"/>
                  </a:lnTo>
                  <a:cubicBezTo>
                    <a:pt x="1770089" y="1671875"/>
                    <a:pt x="1611872" y="1830388"/>
                    <a:pt x="1414100" y="1830388"/>
                  </a:cubicBezTo>
                  <a:cubicBezTo>
                    <a:pt x="1414100" y="1830388"/>
                    <a:pt x="1414100" y="1830388"/>
                    <a:pt x="570275" y="1830388"/>
                  </a:cubicBezTo>
                  <a:cubicBezTo>
                    <a:pt x="372503" y="1830388"/>
                    <a:pt x="214286" y="1671875"/>
                    <a:pt x="206375" y="1476375"/>
                  </a:cubicBezTo>
                  <a:close/>
                  <a:moveTo>
                    <a:pt x="0" y="1000125"/>
                  </a:moveTo>
                  <a:lnTo>
                    <a:pt x="1982788" y="1000125"/>
                  </a:lnTo>
                  <a:cubicBezTo>
                    <a:pt x="1982788" y="1000125"/>
                    <a:pt x="1982788" y="1000125"/>
                    <a:pt x="1982788" y="1097519"/>
                  </a:cubicBezTo>
                  <a:cubicBezTo>
                    <a:pt x="1982788" y="1213338"/>
                    <a:pt x="1887867" y="1308100"/>
                    <a:pt x="1771853" y="1308100"/>
                  </a:cubicBezTo>
                  <a:cubicBezTo>
                    <a:pt x="1771853" y="1308100"/>
                    <a:pt x="1771853" y="1308100"/>
                    <a:pt x="210935" y="1308100"/>
                  </a:cubicBezTo>
                  <a:cubicBezTo>
                    <a:pt x="94921" y="1308100"/>
                    <a:pt x="0" y="1213338"/>
                    <a:pt x="0" y="1097519"/>
                  </a:cubicBezTo>
                  <a:cubicBezTo>
                    <a:pt x="0" y="1097519"/>
                    <a:pt x="0" y="1097519"/>
                    <a:pt x="0" y="1000125"/>
                  </a:cubicBezTo>
                  <a:close/>
                  <a:moveTo>
                    <a:pt x="0" y="522287"/>
                  </a:moveTo>
                  <a:lnTo>
                    <a:pt x="1982788" y="522287"/>
                  </a:lnTo>
                  <a:lnTo>
                    <a:pt x="1982788" y="830262"/>
                  </a:lnTo>
                  <a:lnTo>
                    <a:pt x="0" y="830262"/>
                  </a:lnTo>
                  <a:close/>
                  <a:moveTo>
                    <a:pt x="210935" y="0"/>
                  </a:moveTo>
                  <a:cubicBezTo>
                    <a:pt x="210935" y="0"/>
                    <a:pt x="210935" y="0"/>
                    <a:pt x="1771853" y="0"/>
                  </a:cubicBezTo>
                  <a:cubicBezTo>
                    <a:pt x="1887867" y="0"/>
                    <a:pt x="1982788" y="95108"/>
                    <a:pt x="1982788" y="211351"/>
                  </a:cubicBezTo>
                  <a:cubicBezTo>
                    <a:pt x="1982788" y="211351"/>
                    <a:pt x="1982788" y="211351"/>
                    <a:pt x="1982788" y="354013"/>
                  </a:cubicBezTo>
                  <a:lnTo>
                    <a:pt x="0" y="354013"/>
                  </a:lnTo>
                  <a:cubicBezTo>
                    <a:pt x="0" y="354013"/>
                    <a:pt x="0" y="354013"/>
                    <a:pt x="0" y="211351"/>
                  </a:cubicBezTo>
                  <a:cubicBezTo>
                    <a:pt x="0" y="95108"/>
                    <a:pt x="94921" y="0"/>
                    <a:pt x="21093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506" dirty="0"/>
            </a:p>
          </p:txBody>
        </p:sp>
        <p:grpSp>
          <p:nvGrpSpPr>
            <p:cNvPr id="97" name="Group 96"/>
            <p:cNvGrpSpPr/>
            <p:nvPr/>
          </p:nvGrpSpPr>
          <p:grpSpPr>
            <a:xfrm>
              <a:off x="4714842" y="3130552"/>
              <a:ext cx="204004" cy="235934"/>
              <a:chOff x="5607051" y="3040063"/>
              <a:chExt cx="365125" cy="422275"/>
            </a:xfrm>
            <a:solidFill>
              <a:schemeClr val="bg1"/>
            </a:solidFill>
          </p:grpSpPr>
          <p:sp>
            <p:nvSpPr>
              <p:cNvPr id="98" name="Freeform 175"/>
              <p:cNvSpPr>
                <a:spLocks noEditPoints="1"/>
              </p:cNvSpPr>
              <p:nvPr/>
            </p:nvSpPr>
            <p:spPr bwMode="auto">
              <a:xfrm>
                <a:off x="5632451" y="3052763"/>
                <a:ext cx="188913" cy="239713"/>
              </a:xfrm>
              <a:custGeom>
                <a:avLst/>
                <a:gdLst>
                  <a:gd name="T0" fmla="*/ 171 w 189"/>
                  <a:gd name="T1" fmla="*/ 232 h 241"/>
                  <a:gd name="T2" fmla="*/ 180 w 189"/>
                  <a:gd name="T3" fmla="*/ 241 h 241"/>
                  <a:gd name="T4" fmla="*/ 189 w 189"/>
                  <a:gd name="T5" fmla="*/ 232 h 241"/>
                  <a:gd name="T6" fmla="*/ 189 w 189"/>
                  <a:gd name="T7" fmla="*/ 35 h 241"/>
                  <a:gd name="T8" fmla="*/ 189 w 189"/>
                  <a:gd name="T9" fmla="*/ 35 h 241"/>
                  <a:gd name="T10" fmla="*/ 154 w 189"/>
                  <a:gd name="T11" fmla="*/ 0 h 241"/>
                  <a:gd name="T12" fmla="*/ 10 w 189"/>
                  <a:gd name="T13" fmla="*/ 0 h 241"/>
                  <a:gd name="T14" fmla="*/ 0 w 189"/>
                  <a:gd name="T15" fmla="*/ 9 h 241"/>
                  <a:gd name="T16" fmla="*/ 0 w 189"/>
                  <a:gd name="T17" fmla="*/ 206 h 241"/>
                  <a:gd name="T18" fmla="*/ 10 w 189"/>
                  <a:gd name="T19" fmla="*/ 215 h 241"/>
                  <a:gd name="T20" fmla="*/ 154 w 189"/>
                  <a:gd name="T21" fmla="*/ 215 h 241"/>
                  <a:gd name="T22" fmla="*/ 171 w 189"/>
                  <a:gd name="T23" fmla="*/ 232 h 241"/>
                  <a:gd name="T24" fmla="*/ 19 w 189"/>
                  <a:gd name="T25" fmla="*/ 196 h 241"/>
                  <a:gd name="T26" fmla="*/ 19 w 189"/>
                  <a:gd name="T27" fmla="*/ 18 h 241"/>
                  <a:gd name="T28" fmla="*/ 154 w 189"/>
                  <a:gd name="T29" fmla="*/ 18 h 241"/>
                  <a:gd name="T30" fmla="*/ 171 w 189"/>
                  <a:gd name="T31" fmla="*/ 35 h 241"/>
                  <a:gd name="T32" fmla="*/ 171 w 189"/>
                  <a:gd name="T33" fmla="*/ 200 h 241"/>
                  <a:gd name="T34" fmla="*/ 154 w 189"/>
                  <a:gd name="T35" fmla="*/ 196 h 241"/>
                  <a:gd name="T36" fmla="*/ 19 w 189"/>
                  <a:gd name="T37" fmla="*/ 19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9" h="241">
                    <a:moveTo>
                      <a:pt x="171" y="232"/>
                    </a:moveTo>
                    <a:cubicBezTo>
                      <a:pt x="171" y="237"/>
                      <a:pt x="175" y="241"/>
                      <a:pt x="180" y="241"/>
                    </a:cubicBezTo>
                    <a:cubicBezTo>
                      <a:pt x="185" y="241"/>
                      <a:pt x="189" y="237"/>
                      <a:pt x="189" y="232"/>
                    </a:cubicBezTo>
                    <a:cubicBezTo>
                      <a:pt x="189" y="35"/>
                      <a:pt x="189" y="35"/>
                      <a:pt x="189" y="35"/>
                    </a:cubicBezTo>
                    <a:cubicBezTo>
                      <a:pt x="189" y="35"/>
                      <a:pt x="189" y="35"/>
                      <a:pt x="189" y="35"/>
                    </a:cubicBezTo>
                    <a:cubicBezTo>
                      <a:pt x="189" y="21"/>
                      <a:pt x="179" y="0"/>
                      <a:pt x="154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211"/>
                      <a:pt x="5" y="215"/>
                      <a:pt x="10" y="215"/>
                    </a:cubicBezTo>
                    <a:cubicBezTo>
                      <a:pt x="154" y="215"/>
                      <a:pt x="154" y="215"/>
                      <a:pt x="154" y="215"/>
                    </a:cubicBezTo>
                    <a:cubicBezTo>
                      <a:pt x="158" y="215"/>
                      <a:pt x="171" y="216"/>
                      <a:pt x="171" y="232"/>
                    </a:cubicBezTo>
                    <a:close/>
                    <a:moveTo>
                      <a:pt x="19" y="196"/>
                    </a:moveTo>
                    <a:cubicBezTo>
                      <a:pt x="19" y="18"/>
                      <a:pt x="19" y="18"/>
                      <a:pt x="19" y="18"/>
                    </a:cubicBezTo>
                    <a:cubicBezTo>
                      <a:pt x="154" y="18"/>
                      <a:pt x="154" y="18"/>
                      <a:pt x="154" y="18"/>
                    </a:cubicBezTo>
                    <a:cubicBezTo>
                      <a:pt x="169" y="18"/>
                      <a:pt x="171" y="31"/>
                      <a:pt x="171" y="35"/>
                    </a:cubicBezTo>
                    <a:cubicBezTo>
                      <a:pt x="171" y="200"/>
                      <a:pt x="171" y="200"/>
                      <a:pt x="171" y="200"/>
                    </a:cubicBezTo>
                    <a:cubicBezTo>
                      <a:pt x="165" y="197"/>
                      <a:pt x="159" y="196"/>
                      <a:pt x="154" y="196"/>
                    </a:cubicBezTo>
                    <a:lnTo>
                      <a:pt x="19" y="19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176"/>
              <p:cNvSpPr>
                <a:spLocks/>
              </p:cNvSpPr>
              <p:nvPr/>
            </p:nvSpPr>
            <p:spPr bwMode="auto">
              <a:xfrm>
                <a:off x="5737226" y="3090863"/>
                <a:ext cx="234950" cy="241300"/>
              </a:xfrm>
              <a:custGeom>
                <a:avLst/>
                <a:gdLst>
                  <a:gd name="T0" fmla="*/ 178 w 236"/>
                  <a:gd name="T1" fmla="*/ 126 h 241"/>
                  <a:gd name="T2" fmla="*/ 234 w 236"/>
                  <a:gd name="T3" fmla="*/ 25 h 241"/>
                  <a:gd name="T4" fmla="*/ 231 w 236"/>
                  <a:gd name="T5" fmla="*/ 7 h 241"/>
                  <a:gd name="T6" fmla="*/ 217 w 236"/>
                  <a:gd name="T7" fmla="*/ 0 h 241"/>
                  <a:gd name="T8" fmla="*/ 102 w 236"/>
                  <a:gd name="T9" fmla="*/ 0 h 241"/>
                  <a:gd name="T10" fmla="*/ 92 w 236"/>
                  <a:gd name="T11" fmla="*/ 9 h 241"/>
                  <a:gd name="T12" fmla="*/ 102 w 236"/>
                  <a:gd name="T13" fmla="*/ 19 h 241"/>
                  <a:gd name="T14" fmla="*/ 216 w 236"/>
                  <a:gd name="T15" fmla="*/ 19 h 241"/>
                  <a:gd name="T16" fmla="*/ 216 w 236"/>
                  <a:gd name="T17" fmla="*/ 19 h 241"/>
                  <a:gd name="T18" fmla="*/ 158 w 236"/>
                  <a:gd name="T19" fmla="*/ 121 h 241"/>
                  <a:gd name="T20" fmla="*/ 159 w 236"/>
                  <a:gd name="T21" fmla="*/ 132 h 241"/>
                  <a:gd name="T22" fmla="*/ 216 w 236"/>
                  <a:gd name="T23" fmla="*/ 222 h 241"/>
                  <a:gd name="T24" fmla="*/ 216 w 236"/>
                  <a:gd name="T25" fmla="*/ 223 h 241"/>
                  <a:gd name="T26" fmla="*/ 36 w 236"/>
                  <a:gd name="T27" fmla="*/ 223 h 241"/>
                  <a:gd name="T28" fmla="*/ 36 w 236"/>
                  <a:gd name="T29" fmla="*/ 223 h 241"/>
                  <a:gd name="T30" fmla="*/ 23 w 236"/>
                  <a:gd name="T31" fmla="*/ 218 h 241"/>
                  <a:gd name="T32" fmla="*/ 19 w 236"/>
                  <a:gd name="T33" fmla="*/ 206 h 241"/>
                  <a:gd name="T34" fmla="*/ 9 w 236"/>
                  <a:gd name="T35" fmla="*/ 197 h 241"/>
                  <a:gd name="T36" fmla="*/ 0 w 236"/>
                  <a:gd name="T37" fmla="*/ 206 h 241"/>
                  <a:gd name="T38" fmla="*/ 10 w 236"/>
                  <a:gd name="T39" fmla="*/ 232 h 241"/>
                  <a:gd name="T40" fmla="*/ 35 w 236"/>
                  <a:gd name="T41" fmla="*/ 241 h 241"/>
                  <a:gd name="T42" fmla="*/ 36 w 236"/>
                  <a:gd name="T43" fmla="*/ 241 h 241"/>
                  <a:gd name="T44" fmla="*/ 217 w 236"/>
                  <a:gd name="T45" fmla="*/ 241 h 241"/>
                  <a:gd name="T46" fmla="*/ 231 w 236"/>
                  <a:gd name="T47" fmla="*/ 235 h 241"/>
                  <a:gd name="T48" fmla="*/ 234 w 236"/>
                  <a:gd name="T49" fmla="*/ 217 h 241"/>
                  <a:gd name="T50" fmla="*/ 178 w 236"/>
                  <a:gd name="T51" fmla="*/ 126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36" h="241">
                    <a:moveTo>
                      <a:pt x="178" y="126"/>
                    </a:moveTo>
                    <a:cubicBezTo>
                      <a:pt x="190" y="107"/>
                      <a:pt x="227" y="49"/>
                      <a:pt x="234" y="25"/>
                    </a:cubicBezTo>
                    <a:cubicBezTo>
                      <a:pt x="236" y="20"/>
                      <a:pt x="236" y="13"/>
                      <a:pt x="231" y="7"/>
                    </a:cubicBezTo>
                    <a:cubicBezTo>
                      <a:pt x="228" y="2"/>
                      <a:pt x="223" y="0"/>
                      <a:pt x="217" y="0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97" y="0"/>
                      <a:pt x="92" y="4"/>
                      <a:pt x="92" y="9"/>
                    </a:cubicBezTo>
                    <a:cubicBezTo>
                      <a:pt x="92" y="15"/>
                      <a:pt x="97" y="19"/>
                      <a:pt x="102" y="19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6" y="19"/>
                      <a:pt x="216" y="19"/>
                      <a:pt x="216" y="19"/>
                    </a:cubicBezTo>
                    <a:cubicBezTo>
                      <a:pt x="210" y="40"/>
                      <a:pt x="172" y="100"/>
                      <a:pt x="158" y="121"/>
                    </a:cubicBezTo>
                    <a:cubicBezTo>
                      <a:pt x="156" y="124"/>
                      <a:pt x="156" y="129"/>
                      <a:pt x="159" y="132"/>
                    </a:cubicBezTo>
                    <a:cubicBezTo>
                      <a:pt x="173" y="150"/>
                      <a:pt x="210" y="202"/>
                      <a:pt x="216" y="222"/>
                    </a:cubicBezTo>
                    <a:cubicBezTo>
                      <a:pt x="216" y="222"/>
                      <a:pt x="216" y="223"/>
                      <a:pt x="216" y="223"/>
                    </a:cubicBezTo>
                    <a:cubicBezTo>
                      <a:pt x="36" y="223"/>
                      <a:pt x="36" y="223"/>
                      <a:pt x="36" y="223"/>
                    </a:cubicBezTo>
                    <a:cubicBezTo>
                      <a:pt x="36" y="223"/>
                      <a:pt x="36" y="223"/>
                      <a:pt x="36" y="223"/>
                    </a:cubicBezTo>
                    <a:cubicBezTo>
                      <a:pt x="35" y="223"/>
                      <a:pt x="28" y="223"/>
                      <a:pt x="23" y="218"/>
                    </a:cubicBezTo>
                    <a:cubicBezTo>
                      <a:pt x="20" y="215"/>
                      <a:pt x="19" y="211"/>
                      <a:pt x="19" y="206"/>
                    </a:cubicBezTo>
                    <a:cubicBezTo>
                      <a:pt x="19" y="201"/>
                      <a:pt x="14" y="197"/>
                      <a:pt x="9" y="197"/>
                    </a:cubicBezTo>
                    <a:cubicBezTo>
                      <a:pt x="4" y="197"/>
                      <a:pt x="0" y="201"/>
                      <a:pt x="0" y="206"/>
                    </a:cubicBezTo>
                    <a:cubicBezTo>
                      <a:pt x="0" y="219"/>
                      <a:pt x="5" y="227"/>
                      <a:pt x="10" y="232"/>
                    </a:cubicBezTo>
                    <a:cubicBezTo>
                      <a:pt x="19" y="241"/>
                      <a:pt x="32" y="241"/>
                      <a:pt x="35" y="241"/>
                    </a:cubicBezTo>
                    <a:cubicBezTo>
                      <a:pt x="36" y="241"/>
                      <a:pt x="36" y="241"/>
                      <a:pt x="36" y="241"/>
                    </a:cubicBezTo>
                    <a:cubicBezTo>
                      <a:pt x="217" y="241"/>
                      <a:pt x="217" y="241"/>
                      <a:pt x="217" y="241"/>
                    </a:cubicBezTo>
                    <a:cubicBezTo>
                      <a:pt x="223" y="241"/>
                      <a:pt x="228" y="239"/>
                      <a:pt x="231" y="235"/>
                    </a:cubicBezTo>
                    <a:cubicBezTo>
                      <a:pt x="236" y="229"/>
                      <a:pt x="236" y="221"/>
                      <a:pt x="234" y="217"/>
                    </a:cubicBezTo>
                    <a:cubicBezTo>
                      <a:pt x="227" y="193"/>
                      <a:pt x="190" y="142"/>
                      <a:pt x="178" y="1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177"/>
              <p:cNvSpPr>
                <a:spLocks/>
              </p:cNvSpPr>
              <p:nvPr/>
            </p:nvSpPr>
            <p:spPr bwMode="auto">
              <a:xfrm>
                <a:off x="5607051" y="3040063"/>
                <a:ext cx="19050" cy="422275"/>
              </a:xfrm>
              <a:custGeom>
                <a:avLst/>
                <a:gdLst>
                  <a:gd name="T0" fmla="*/ 10 w 19"/>
                  <a:gd name="T1" fmla="*/ 0 h 424"/>
                  <a:gd name="T2" fmla="*/ 0 w 19"/>
                  <a:gd name="T3" fmla="*/ 9 h 424"/>
                  <a:gd name="T4" fmla="*/ 0 w 19"/>
                  <a:gd name="T5" fmla="*/ 415 h 424"/>
                  <a:gd name="T6" fmla="*/ 10 w 19"/>
                  <a:gd name="T7" fmla="*/ 424 h 424"/>
                  <a:gd name="T8" fmla="*/ 19 w 19"/>
                  <a:gd name="T9" fmla="*/ 415 h 424"/>
                  <a:gd name="T10" fmla="*/ 19 w 19"/>
                  <a:gd name="T11" fmla="*/ 9 h 424"/>
                  <a:gd name="T12" fmla="*/ 10 w 19"/>
                  <a:gd name="T13" fmla="*/ 0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24">
                    <a:moveTo>
                      <a:pt x="10" y="0"/>
                    </a:moveTo>
                    <a:cubicBezTo>
                      <a:pt x="4" y="0"/>
                      <a:pt x="0" y="4"/>
                      <a:pt x="0" y="9"/>
                    </a:cubicBezTo>
                    <a:cubicBezTo>
                      <a:pt x="0" y="415"/>
                      <a:pt x="0" y="415"/>
                      <a:pt x="0" y="415"/>
                    </a:cubicBezTo>
                    <a:cubicBezTo>
                      <a:pt x="0" y="420"/>
                      <a:pt x="4" y="424"/>
                      <a:pt x="10" y="424"/>
                    </a:cubicBezTo>
                    <a:cubicBezTo>
                      <a:pt x="15" y="424"/>
                      <a:pt x="19" y="420"/>
                      <a:pt x="19" y="415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4"/>
                      <a:pt x="15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1" name="Group 100"/>
            <p:cNvGrpSpPr/>
            <p:nvPr/>
          </p:nvGrpSpPr>
          <p:grpSpPr>
            <a:xfrm>
              <a:off x="4810417" y="1817103"/>
              <a:ext cx="202230" cy="237708"/>
              <a:chOff x="593725" y="1709738"/>
              <a:chExt cx="361950" cy="425450"/>
            </a:xfrm>
            <a:solidFill>
              <a:schemeClr val="bg1"/>
            </a:solidFill>
          </p:grpSpPr>
          <p:sp>
            <p:nvSpPr>
              <p:cNvPr id="102" name="Freeform 5"/>
              <p:cNvSpPr>
                <a:spLocks/>
              </p:cNvSpPr>
              <p:nvPr/>
            </p:nvSpPr>
            <p:spPr bwMode="auto">
              <a:xfrm>
                <a:off x="700088" y="1709738"/>
                <a:ext cx="136525" cy="19050"/>
              </a:xfrm>
              <a:custGeom>
                <a:avLst/>
                <a:gdLst>
                  <a:gd name="T0" fmla="*/ 9 w 137"/>
                  <a:gd name="T1" fmla="*/ 18 h 18"/>
                  <a:gd name="T2" fmla="*/ 127 w 137"/>
                  <a:gd name="T3" fmla="*/ 18 h 18"/>
                  <a:gd name="T4" fmla="*/ 137 w 137"/>
                  <a:gd name="T5" fmla="*/ 9 h 18"/>
                  <a:gd name="T6" fmla="*/ 127 w 137"/>
                  <a:gd name="T7" fmla="*/ 0 h 18"/>
                  <a:gd name="T8" fmla="*/ 9 w 137"/>
                  <a:gd name="T9" fmla="*/ 0 h 18"/>
                  <a:gd name="T10" fmla="*/ 0 w 137"/>
                  <a:gd name="T11" fmla="*/ 9 h 18"/>
                  <a:gd name="T12" fmla="*/ 9 w 137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18">
                    <a:moveTo>
                      <a:pt x="9" y="18"/>
                    </a:moveTo>
                    <a:cubicBezTo>
                      <a:pt x="127" y="18"/>
                      <a:pt x="127" y="18"/>
                      <a:pt x="127" y="18"/>
                    </a:cubicBezTo>
                    <a:cubicBezTo>
                      <a:pt x="132" y="18"/>
                      <a:pt x="137" y="14"/>
                      <a:pt x="137" y="9"/>
                    </a:cubicBezTo>
                    <a:cubicBezTo>
                      <a:pt x="137" y="4"/>
                      <a:pt x="132" y="0"/>
                      <a:pt x="127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"/>
              <p:cNvSpPr>
                <a:spLocks noEditPoints="1"/>
              </p:cNvSpPr>
              <p:nvPr/>
            </p:nvSpPr>
            <p:spPr bwMode="auto">
              <a:xfrm>
                <a:off x="593725" y="1736725"/>
                <a:ext cx="361950" cy="398463"/>
              </a:xfrm>
              <a:custGeom>
                <a:avLst/>
                <a:gdLst>
                  <a:gd name="T0" fmla="*/ 347 w 362"/>
                  <a:gd name="T1" fmla="*/ 337 h 398"/>
                  <a:gd name="T2" fmla="*/ 266 w 362"/>
                  <a:gd name="T3" fmla="*/ 207 h 398"/>
                  <a:gd name="T4" fmla="*/ 266 w 362"/>
                  <a:gd name="T5" fmla="*/ 207 h 398"/>
                  <a:gd name="T6" fmla="*/ 265 w 362"/>
                  <a:gd name="T7" fmla="*/ 205 h 398"/>
                  <a:gd name="T8" fmla="*/ 229 w 362"/>
                  <a:gd name="T9" fmla="*/ 104 h 398"/>
                  <a:gd name="T10" fmla="*/ 229 w 362"/>
                  <a:gd name="T11" fmla="*/ 9 h 398"/>
                  <a:gd name="T12" fmla="*/ 220 w 362"/>
                  <a:gd name="T13" fmla="*/ 0 h 398"/>
                  <a:gd name="T14" fmla="*/ 128 w 362"/>
                  <a:gd name="T15" fmla="*/ 0 h 398"/>
                  <a:gd name="T16" fmla="*/ 119 w 362"/>
                  <a:gd name="T17" fmla="*/ 9 h 398"/>
                  <a:gd name="T18" fmla="*/ 119 w 362"/>
                  <a:gd name="T19" fmla="*/ 104 h 398"/>
                  <a:gd name="T20" fmla="*/ 87 w 362"/>
                  <a:gd name="T21" fmla="*/ 208 h 398"/>
                  <a:gd name="T22" fmla="*/ 87 w 362"/>
                  <a:gd name="T23" fmla="*/ 208 h 398"/>
                  <a:gd name="T24" fmla="*/ 14 w 362"/>
                  <a:gd name="T25" fmla="*/ 337 h 398"/>
                  <a:gd name="T26" fmla="*/ 6 w 362"/>
                  <a:gd name="T27" fmla="*/ 380 h 398"/>
                  <a:gd name="T28" fmla="*/ 50 w 362"/>
                  <a:gd name="T29" fmla="*/ 398 h 398"/>
                  <a:gd name="T30" fmla="*/ 312 w 362"/>
                  <a:gd name="T31" fmla="*/ 398 h 398"/>
                  <a:gd name="T32" fmla="*/ 356 w 362"/>
                  <a:gd name="T33" fmla="*/ 380 h 398"/>
                  <a:gd name="T34" fmla="*/ 347 w 362"/>
                  <a:gd name="T35" fmla="*/ 337 h 398"/>
                  <a:gd name="T36" fmla="*/ 138 w 362"/>
                  <a:gd name="T37" fmla="*/ 104 h 398"/>
                  <a:gd name="T38" fmla="*/ 138 w 362"/>
                  <a:gd name="T39" fmla="*/ 18 h 398"/>
                  <a:gd name="T40" fmla="*/ 211 w 362"/>
                  <a:gd name="T41" fmla="*/ 18 h 398"/>
                  <a:gd name="T42" fmla="*/ 211 w 362"/>
                  <a:gd name="T43" fmla="*/ 104 h 398"/>
                  <a:gd name="T44" fmla="*/ 240 w 362"/>
                  <a:gd name="T45" fmla="*/ 200 h 398"/>
                  <a:gd name="T46" fmla="*/ 233 w 362"/>
                  <a:gd name="T47" fmla="*/ 200 h 398"/>
                  <a:gd name="T48" fmla="*/ 183 w 362"/>
                  <a:gd name="T49" fmla="*/ 214 h 398"/>
                  <a:gd name="T50" fmla="*/ 142 w 362"/>
                  <a:gd name="T51" fmla="*/ 226 h 398"/>
                  <a:gd name="T52" fmla="*/ 104 w 362"/>
                  <a:gd name="T53" fmla="*/ 216 h 398"/>
                  <a:gd name="T54" fmla="*/ 138 w 362"/>
                  <a:gd name="T55" fmla="*/ 104 h 398"/>
                  <a:gd name="T56" fmla="*/ 339 w 362"/>
                  <a:gd name="T57" fmla="*/ 371 h 398"/>
                  <a:gd name="T58" fmla="*/ 312 w 362"/>
                  <a:gd name="T59" fmla="*/ 380 h 398"/>
                  <a:gd name="T60" fmla="*/ 50 w 362"/>
                  <a:gd name="T61" fmla="*/ 380 h 398"/>
                  <a:gd name="T62" fmla="*/ 22 w 362"/>
                  <a:gd name="T63" fmla="*/ 371 h 398"/>
                  <a:gd name="T64" fmla="*/ 30 w 362"/>
                  <a:gd name="T65" fmla="*/ 348 h 398"/>
                  <a:gd name="T66" fmla="*/ 30 w 362"/>
                  <a:gd name="T67" fmla="*/ 347 h 398"/>
                  <a:gd name="T68" fmla="*/ 94 w 362"/>
                  <a:gd name="T69" fmla="*/ 232 h 398"/>
                  <a:gd name="T70" fmla="*/ 142 w 362"/>
                  <a:gd name="T71" fmla="*/ 245 h 398"/>
                  <a:gd name="T72" fmla="*/ 192 w 362"/>
                  <a:gd name="T73" fmla="*/ 231 h 398"/>
                  <a:gd name="T74" fmla="*/ 233 w 362"/>
                  <a:gd name="T75" fmla="*/ 219 h 398"/>
                  <a:gd name="T76" fmla="*/ 253 w 362"/>
                  <a:gd name="T77" fmla="*/ 221 h 398"/>
                  <a:gd name="T78" fmla="*/ 331 w 362"/>
                  <a:gd name="T79" fmla="*/ 347 h 398"/>
                  <a:gd name="T80" fmla="*/ 332 w 362"/>
                  <a:gd name="T81" fmla="*/ 348 h 398"/>
                  <a:gd name="T82" fmla="*/ 339 w 362"/>
                  <a:gd name="T83" fmla="*/ 371 h 3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62" h="398">
                    <a:moveTo>
                      <a:pt x="347" y="337"/>
                    </a:moveTo>
                    <a:cubicBezTo>
                      <a:pt x="266" y="207"/>
                      <a:pt x="266" y="207"/>
                      <a:pt x="266" y="207"/>
                    </a:cubicBezTo>
                    <a:cubicBezTo>
                      <a:pt x="266" y="207"/>
                      <a:pt x="266" y="207"/>
                      <a:pt x="266" y="207"/>
                    </a:cubicBezTo>
                    <a:cubicBezTo>
                      <a:pt x="265" y="205"/>
                      <a:pt x="265" y="205"/>
                      <a:pt x="265" y="205"/>
                    </a:cubicBezTo>
                    <a:cubicBezTo>
                      <a:pt x="259" y="197"/>
                      <a:pt x="229" y="146"/>
                      <a:pt x="229" y="104"/>
                    </a:cubicBezTo>
                    <a:cubicBezTo>
                      <a:pt x="229" y="9"/>
                      <a:pt x="229" y="9"/>
                      <a:pt x="229" y="9"/>
                    </a:cubicBezTo>
                    <a:cubicBezTo>
                      <a:pt x="229" y="4"/>
                      <a:pt x="225" y="0"/>
                      <a:pt x="2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3" y="0"/>
                      <a:pt x="119" y="4"/>
                      <a:pt x="119" y="9"/>
                    </a:cubicBezTo>
                    <a:cubicBezTo>
                      <a:pt x="119" y="104"/>
                      <a:pt x="119" y="104"/>
                      <a:pt x="119" y="104"/>
                    </a:cubicBezTo>
                    <a:cubicBezTo>
                      <a:pt x="119" y="149"/>
                      <a:pt x="87" y="206"/>
                      <a:pt x="87" y="208"/>
                    </a:cubicBezTo>
                    <a:cubicBezTo>
                      <a:pt x="87" y="208"/>
                      <a:pt x="87" y="208"/>
                      <a:pt x="87" y="208"/>
                    </a:cubicBezTo>
                    <a:cubicBezTo>
                      <a:pt x="14" y="337"/>
                      <a:pt x="14" y="337"/>
                      <a:pt x="14" y="337"/>
                    </a:cubicBezTo>
                    <a:cubicBezTo>
                      <a:pt x="0" y="358"/>
                      <a:pt x="1" y="372"/>
                      <a:pt x="6" y="380"/>
                    </a:cubicBezTo>
                    <a:cubicBezTo>
                      <a:pt x="10" y="388"/>
                      <a:pt x="21" y="398"/>
                      <a:pt x="50" y="398"/>
                    </a:cubicBezTo>
                    <a:cubicBezTo>
                      <a:pt x="312" y="398"/>
                      <a:pt x="312" y="398"/>
                      <a:pt x="312" y="398"/>
                    </a:cubicBezTo>
                    <a:cubicBezTo>
                      <a:pt x="340" y="398"/>
                      <a:pt x="351" y="388"/>
                      <a:pt x="356" y="380"/>
                    </a:cubicBezTo>
                    <a:cubicBezTo>
                      <a:pt x="360" y="372"/>
                      <a:pt x="362" y="358"/>
                      <a:pt x="347" y="337"/>
                    </a:cubicBezTo>
                    <a:close/>
                    <a:moveTo>
                      <a:pt x="138" y="104"/>
                    </a:moveTo>
                    <a:cubicBezTo>
                      <a:pt x="138" y="18"/>
                      <a:pt x="138" y="18"/>
                      <a:pt x="138" y="18"/>
                    </a:cubicBezTo>
                    <a:cubicBezTo>
                      <a:pt x="211" y="18"/>
                      <a:pt x="211" y="18"/>
                      <a:pt x="211" y="18"/>
                    </a:cubicBezTo>
                    <a:cubicBezTo>
                      <a:pt x="211" y="104"/>
                      <a:pt x="211" y="104"/>
                      <a:pt x="211" y="104"/>
                    </a:cubicBezTo>
                    <a:cubicBezTo>
                      <a:pt x="211" y="139"/>
                      <a:pt x="228" y="178"/>
                      <a:pt x="240" y="200"/>
                    </a:cubicBezTo>
                    <a:cubicBezTo>
                      <a:pt x="238" y="200"/>
                      <a:pt x="235" y="200"/>
                      <a:pt x="233" y="200"/>
                    </a:cubicBezTo>
                    <a:cubicBezTo>
                      <a:pt x="208" y="200"/>
                      <a:pt x="195" y="208"/>
                      <a:pt x="183" y="214"/>
                    </a:cubicBezTo>
                    <a:cubicBezTo>
                      <a:pt x="172" y="221"/>
                      <a:pt x="162" y="226"/>
                      <a:pt x="142" y="226"/>
                    </a:cubicBezTo>
                    <a:cubicBezTo>
                      <a:pt x="123" y="226"/>
                      <a:pt x="114" y="222"/>
                      <a:pt x="104" y="216"/>
                    </a:cubicBezTo>
                    <a:cubicBezTo>
                      <a:pt x="109" y="206"/>
                      <a:pt x="138" y="151"/>
                      <a:pt x="138" y="104"/>
                    </a:cubicBezTo>
                    <a:close/>
                    <a:moveTo>
                      <a:pt x="339" y="371"/>
                    </a:moveTo>
                    <a:cubicBezTo>
                      <a:pt x="336" y="377"/>
                      <a:pt x="326" y="380"/>
                      <a:pt x="312" y="380"/>
                    </a:cubicBezTo>
                    <a:cubicBezTo>
                      <a:pt x="50" y="380"/>
                      <a:pt x="50" y="380"/>
                      <a:pt x="50" y="380"/>
                    </a:cubicBezTo>
                    <a:cubicBezTo>
                      <a:pt x="35" y="380"/>
                      <a:pt x="25" y="377"/>
                      <a:pt x="22" y="371"/>
                    </a:cubicBezTo>
                    <a:cubicBezTo>
                      <a:pt x="20" y="366"/>
                      <a:pt x="23" y="358"/>
                      <a:pt x="30" y="348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94" y="232"/>
                      <a:pt x="94" y="232"/>
                      <a:pt x="94" y="232"/>
                    </a:cubicBezTo>
                    <a:cubicBezTo>
                      <a:pt x="106" y="238"/>
                      <a:pt x="119" y="245"/>
                      <a:pt x="142" y="245"/>
                    </a:cubicBezTo>
                    <a:cubicBezTo>
                      <a:pt x="167" y="245"/>
                      <a:pt x="181" y="237"/>
                      <a:pt x="192" y="231"/>
                    </a:cubicBezTo>
                    <a:cubicBezTo>
                      <a:pt x="203" y="224"/>
                      <a:pt x="213" y="219"/>
                      <a:pt x="233" y="219"/>
                    </a:cubicBezTo>
                    <a:cubicBezTo>
                      <a:pt x="240" y="219"/>
                      <a:pt x="247" y="220"/>
                      <a:pt x="253" y="221"/>
                    </a:cubicBezTo>
                    <a:cubicBezTo>
                      <a:pt x="331" y="347"/>
                      <a:pt x="331" y="347"/>
                      <a:pt x="331" y="347"/>
                    </a:cubicBezTo>
                    <a:cubicBezTo>
                      <a:pt x="331" y="347"/>
                      <a:pt x="332" y="348"/>
                      <a:pt x="332" y="348"/>
                    </a:cubicBezTo>
                    <a:cubicBezTo>
                      <a:pt x="339" y="358"/>
                      <a:pt x="342" y="366"/>
                      <a:pt x="339" y="37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4185555" y="1817102"/>
              <a:ext cx="169414" cy="237710"/>
              <a:chOff x="7912100" y="1027113"/>
              <a:chExt cx="303213" cy="425450"/>
            </a:xfrm>
            <a:solidFill>
              <a:schemeClr val="bg1"/>
            </a:solidFill>
          </p:grpSpPr>
          <p:sp>
            <p:nvSpPr>
              <p:cNvPr id="105" name="Freeform 140"/>
              <p:cNvSpPr>
                <a:spLocks/>
              </p:cNvSpPr>
              <p:nvPr/>
            </p:nvSpPr>
            <p:spPr bwMode="auto">
              <a:xfrm>
                <a:off x="7948613" y="1433513"/>
                <a:ext cx="254000" cy="19050"/>
              </a:xfrm>
              <a:custGeom>
                <a:avLst/>
                <a:gdLst>
                  <a:gd name="T0" fmla="*/ 246 w 255"/>
                  <a:gd name="T1" fmla="*/ 0 h 19"/>
                  <a:gd name="T2" fmla="*/ 10 w 255"/>
                  <a:gd name="T3" fmla="*/ 0 h 19"/>
                  <a:gd name="T4" fmla="*/ 0 w 255"/>
                  <a:gd name="T5" fmla="*/ 10 h 19"/>
                  <a:gd name="T6" fmla="*/ 10 w 255"/>
                  <a:gd name="T7" fmla="*/ 19 h 19"/>
                  <a:gd name="T8" fmla="*/ 246 w 255"/>
                  <a:gd name="T9" fmla="*/ 19 h 19"/>
                  <a:gd name="T10" fmla="*/ 255 w 255"/>
                  <a:gd name="T11" fmla="*/ 10 h 19"/>
                  <a:gd name="T12" fmla="*/ 246 w 255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5" h="19">
                    <a:moveTo>
                      <a:pt x="246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5" y="0"/>
                      <a:pt x="0" y="5"/>
                      <a:pt x="0" y="10"/>
                    </a:cubicBezTo>
                    <a:cubicBezTo>
                      <a:pt x="0" y="15"/>
                      <a:pt x="5" y="19"/>
                      <a:pt x="10" y="19"/>
                    </a:cubicBezTo>
                    <a:cubicBezTo>
                      <a:pt x="246" y="19"/>
                      <a:pt x="246" y="19"/>
                      <a:pt x="246" y="19"/>
                    </a:cubicBezTo>
                    <a:cubicBezTo>
                      <a:pt x="251" y="19"/>
                      <a:pt x="255" y="15"/>
                      <a:pt x="255" y="10"/>
                    </a:cubicBezTo>
                    <a:cubicBezTo>
                      <a:pt x="255" y="5"/>
                      <a:pt x="251" y="0"/>
                      <a:pt x="24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41"/>
              <p:cNvSpPr>
                <a:spLocks/>
              </p:cNvSpPr>
              <p:nvPr/>
            </p:nvSpPr>
            <p:spPr bwMode="auto">
              <a:xfrm>
                <a:off x="7912100" y="1027113"/>
                <a:ext cx="277813" cy="400050"/>
              </a:xfrm>
              <a:custGeom>
                <a:avLst/>
                <a:gdLst>
                  <a:gd name="T0" fmla="*/ 68 w 278"/>
                  <a:gd name="T1" fmla="*/ 189 h 399"/>
                  <a:gd name="T2" fmla="*/ 105 w 278"/>
                  <a:gd name="T3" fmla="*/ 165 h 399"/>
                  <a:gd name="T4" fmla="*/ 134 w 278"/>
                  <a:gd name="T5" fmla="*/ 168 h 399"/>
                  <a:gd name="T6" fmla="*/ 92 w 278"/>
                  <a:gd name="T7" fmla="*/ 230 h 399"/>
                  <a:gd name="T8" fmla="*/ 40 w 278"/>
                  <a:gd name="T9" fmla="*/ 337 h 399"/>
                  <a:gd name="T10" fmla="*/ 66 w 278"/>
                  <a:gd name="T11" fmla="*/ 396 h 399"/>
                  <a:gd name="T12" fmla="*/ 72 w 278"/>
                  <a:gd name="T13" fmla="*/ 399 h 399"/>
                  <a:gd name="T14" fmla="*/ 255 w 278"/>
                  <a:gd name="T15" fmla="*/ 399 h 399"/>
                  <a:gd name="T16" fmla="*/ 265 w 278"/>
                  <a:gd name="T17" fmla="*/ 390 h 399"/>
                  <a:gd name="T18" fmla="*/ 255 w 278"/>
                  <a:gd name="T19" fmla="*/ 380 h 399"/>
                  <a:gd name="T20" fmla="*/ 76 w 278"/>
                  <a:gd name="T21" fmla="*/ 380 h 399"/>
                  <a:gd name="T22" fmla="*/ 59 w 278"/>
                  <a:gd name="T23" fmla="*/ 336 h 399"/>
                  <a:gd name="T24" fmla="*/ 104 w 278"/>
                  <a:gd name="T25" fmla="*/ 244 h 399"/>
                  <a:gd name="T26" fmla="*/ 153 w 278"/>
                  <a:gd name="T27" fmla="*/ 160 h 399"/>
                  <a:gd name="T28" fmla="*/ 170 w 278"/>
                  <a:gd name="T29" fmla="*/ 145 h 399"/>
                  <a:gd name="T30" fmla="*/ 179 w 278"/>
                  <a:gd name="T31" fmla="*/ 97 h 399"/>
                  <a:gd name="T32" fmla="*/ 166 w 278"/>
                  <a:gd name="T33" fmla="*/ 93 h 399"/>
                  <a:gd name="T34" fmla="*/ 162 w 278"/>
                  <a:gd name="T35" fmla="*/ 105 h 399"/>
                  <a:gd name="T36" fmla="*/ 155 w 278"/>
                  <a:gd name="T37" fmla="*/ 135 h 399"/>
                  <a:gd name="T38" fmla="*/ 133 w 278"/>
                  <a:gd name="T39" fmla="*/ 149 h 399"/>
                  <a:gd name="T40" fmla="*/ 110 w 278"/>
                  <a:gd name="T41" fmla="*/ 146 h 399"/>
                  <a:gd name="T42" fmla="*/ 99 w 278"/>
                  <a:gd name="T43" fmla="*/ 146 h 399"/>
                  <a:gd name="T44" fmla="*/ 58 w 278"/>
                  <a:gd name="T45" fmla="*/ 173 h 399"/>
                  <a:gd name="T46" fmla="*/ 50 w 278"/>
                  <a:gd name="T47" fmla="*/ 174 h 399"/>
                  <a:gd name="T48" fmla="*/ 25 w 278"/>
                  <a:gd name="T49" fmla="*/ 149 h 399"/>
                  <a:gd name="T50" fmla="*/ 25 w 278"/>
                  <a:gd name="T51" fmla="*/ 139 h 399"/>
                  <a:gd name="T52" fmla="*/ 26 w 278"/>
                  <a:gd name="T53" fmla="*/ 138 h 399"/>
                  <a:gd name="T54" fmla="*/ 96 w 278"/>
                  <a:gd name="T55" fmla="*/ 56 h 399"/>
                  <a:gd name="T56" fmla="*/ 96 w 278"/>
                  <a:gd name="T57" fmla="*/ 49 h 399"/>
                  <a:gd name="T58" fmla="*/ 91 w 278"/>
                  <a:gd name="T59" fmla="*/ 28 h 399"/>
                  <a:gd name="T60" fmla="*/ 149 w 278"/>
                  <a:gd name="T61" fmla="*/ 45 h 399"/>
                  <a:gd name="T62" fmla="*/ 259 w 278"/>
                  <a:gd name="T63" fmla="*/ 173 h 399"/>
                  <a:gd name="T64" fmla="*/ 233 w 278"/>
                  <a:gd name="T65" fmla="*/ 308 h 399"/>
                  <a:gd name="T66" fmla="*/ 239 w 278"/>
                  <a:gd name="T67" fmla="*/ 320 h 399"/>
                  <a:gd name="T68" fmla="*/ 242 w 278"/>
                  <a:gd name="T69" fmla="*/ 320 h 399"/>
                  <a:gd name="T70" fmla="*/ 251 w 278"/>
                  <a:gd name="T71" fmla="*/ 314 h 399"/>
                  <a:gd name="T72" fmla="*/ 278 w 278"/>
                  <a:gd name="T73" fmla="*/ 173 h 399"/>
                  <a:gd name="T74" fmla="*/ 149 w 278"/>
                  <a:gd name="T75" fmla="*/ 27 h 399"/>
                  <a:gd name="T76" fmla="*/ 84 w 278"/>
                  <a:gd name="T77" fmla="*/ 2 h 399"/>
                  <a:gd name="T78" fmla="*/ 74 w 278"/>
                  <a:gd name="T79" fmla="*/ 1 h 399"/>
                  <a:gd name="T80" fmla="*/ 69 w 278"/>
                  <a:gd name="T81" fmla="*/ 10 h 399"/>
                  <a:gd name="T82" fmla="*/ 77 w 278"/>
                  <a:gd name="T83" fmla="*/ 50 h 399"/>
                  <a:gd name="T84" fmla="*/ 14 w 278"/>
                  <a:gd name="T85" fmla="*/ 124 h 399"/>
                  <a:gd name="T86" fmla="*/ 8 w 278"/>
                  <a:gd name="T87" fmla="*/ 157 h 399"/>
                  <a:gd name="T88" fmla="*/ 45 w 278"/>
                  <a:gd name="T89" fmla="*/ 192 h 399"/>
                  <a:gd name="T90" fmla="*/ 68 w 278"/>
                  <a:gd name="T91" fmla="*/ 189 h 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78" h="399">
                    <a:moveTo>
                      <a:pt x="68" y="189"/>
                    </a:moveTo>
                    <a:cubicBezTo>
                      <a:pt x="81" y="181"/>
                      <a:pt x="97" y="170"/>
                      <a:pt x="105" y="165"/>
                    </a:cubicBezTo>
                    <a:cubicBezTo>
                      <a:pt x="114" y="169"/>
                      <a:pt x="124" y="170"/>
                      <a:pt x="134" y="168"/>
                    </a:cubicBezTo>
                    <a:cubicBezTo>
                      <a:pt x="133" y="186"/>
                      <a:pt x="125" y="200"/>
                      <a:pt x="92" y="230"/>
                    </a:cubicBezTo>
                    <a:cubicBezTo>
                      <a:pt x="59" y="260"/>
                      <a:pt x="40" y="300"/>
                      <a:pt x="40" y="337"/>
                    </a:cubicBezTo>
                    <a:cubicBezTo>
                      <a:pt x="40" y="361"/>
                      <a:pt x="49" y="381"/>
                      <a:pt x="66" y="396"/>
                    </a:cubicBezTo>
                    <a:cubicBezTo>
                      <a:pt x="67" y="398"/>
                      <a:pt x="70" y="399"/>
                      <a:pt x="72" y="399"/>
                    </a:cubicBezTo>
                    <a:cubicBezTo>
                      <a:pt x="255" y="399"/>
                      <a:pt x="255" y="399"/>
                      <a:pt x="255" y="399"/>
                    </a:cubicBezTo>
                    <a:cubicBezTo>
                      <a:pt x="261" y="399"/>
                      <a:pt x="265" y="395"/>
                      <a:pt x="265" y="390"/>
                    </a:cubicBezTo>
                    <a:cubicBezTo>
                      <a:pt x="265" y="384"/>
                      <a:pt x="261" y="380"/>
                      <a:pt x="255" y="380"/>
                    </a:cubicBezTo>
                    <a:cubicBezTo>
                      <a:pt x="76" y="380"/>
                      <a:pt x="76" y="380"/>
                      <a:pt x="76" y="380"/>
                    </a:cubicBezTo>
                    <a:cubicBezTo>
                      <a:pt x="65" y="369"/>
                      <a:pt x="59" y="354"/>
                      <a:pt x="59" y="336"/>
                    </a:cubicBezTo>
                    <a:cubicBezTo>
                      <a:pt x="59" y="306"/>
                      <a:pt x="76" y="270"/>
                      <a:pt x="104" y="244"/>
                    </a:cubicBezTo>
                    <a:cubicBezTo>
                      <a:pt x="143" y="208"/>
                      <a:pt x="153" y="191"/>
                      <a:pt x="153" y="160"/>
                    </a:cubicBezTo>
                    <a:cubicBezTo>
                      <a:pt x="160" y="156"/>
                      <a:pt x="166" y="151"/>
                      <a:pt x="170" y="145"/>
                    </a:cubicBezTo>
                    <a:cubicBezTo>
                      <a:pt x="182" y="128"/>
                      <a:pt x="185" y="111"/>
                      <a:pt x="179" y="97"/>
                    </a:cubicBezTo>
                    <a:cubicBezTo>
                      <a:pt x="176" y="93"/>
                      <a:pt x="171" y="91"/>
                      <a:pt x="166" y="93"/>
                    </a:cubicBezTo>
                    <a:cubicBezTo>
                      <a:pt x="162" y="95"/>
                      <a:pt x="160" y="101"/>
                      <a:pt x="162" y="105"/>
                    </a:cubicBezTo>
                    <a:cubicBezTo>
                      <a:pt x="166" y="114"/>
                      <a:pt x="161" y="126"/>
                      <a:pt x="155" y="135"/>
                    </a:cubicBezTo>
                    <a:cubicBezTo>
                      <a:pt x="150" y="141"/>
                      <a:pt x="142" y="146"/>
                      <a:pt x="133" y="149"/>
                    </a:cubicBezTo>
                    <a:cubicBezTo>
                      <a:pt x="124" y="151"/>
                      <a:pt x="116" y="150"/>
                      <a:pt x="110" y="146"/>
                    </a:cubicBezTo>
                    <a:cubicBezTo>
                      <a:pt x="107" y="144"/>
                      <a:pt x="103" y="144"/>
                      <a:pt x="99" y="146"/>
                    </a:cubicBezTo>
                    <a:cubicBezTo>
                      <a:pt x="99" y="146"/>
                      <a:pt x="76" y="162"/>
                      <a:pt x="58" y="173"/>
                    </a:cubicBezTo>
                    <a:cubicBezTo>
                      <a:pt x="56" y="175"/>
                      <a:pt x="53" y="175"/>
                      <a:pt x="50" y="174"/>
                    </a:cubicBezTo>
                    <a:cubicBezTo>
                      <a:pt x="41" y="171"/>
                      <a:pt x="30" y="159"/>
                      <a:pt x="25" y="149"/>
                    </a:cubicBezTo>
                    <a:cubicBezTo>
                      <a:pt x="22" y="143"/>
                      <a:pt x="24" y="140"/>
                      <a:pt x="25" y="139"/>
                    </a:cubicBezTo>
                    <a:cubicBezTo>
                      <a:pt x="26" y="139"/>
                      <a:pt x="26" y="139"/>
                      <a:pt x="26" y="138"/>
                    </a:cubicBezTo>
                    <a:cubicBezTo>
                      <a:pt x="72" y="99"/>
                      <a:pt x="95" y="58"/>
                      <a:pt x="96" y="56"/>
                    </a:cubicBezTo>
                    <a:cubicBezTo>
                      <a:pt x="97" y="54"/>
                      <a:pt x="97" y="51"/>
                      <a:pt x="96" y="49"/>
                    </a:cubicBezTo>
                    <a:cubicBezTo>
                      <a:pt x="95" y="45"/>
                      <a:pt x="93" y="37"/>
                      <a:pt x="91" y="28"/>
                    </a:cubicBezTo>
                    <a:cubicBezTo>
                      <a:pt x="105" y="36"/>
                      <a:pt x="126" y="45"/>
                      <a:pt x="149" y="45"/>
                    </a:cubicBezTo>
                    <a:cubicBezTo>
                      <a:pt x="182" y="45"/>
                      <a:pt x="259" y="58"/>
                      <a:pt x="259" y="173"/>
                    </a:cubicBezTo>
                    <a:cubicBezTo>
                      <a:pt x="259" y="174"/>
                      <a:pt x="259" y="238"/>
                      <a:pt x="233" y="308"/>
                    </a:cubicBezTo>
                    <a:cubicBezTo>
                      <a:pt x="232" y="313"/>
                      <a:pt x="234" y="318"/>
                      <a:pt x="239" y="320"/>
                    </a:cubicBezTo>
                    <a:cubicBezTo>
                      <a:pt x="240" y="320"/>
                      <a:pt x="241" y="320"/>
                      <a:pt x="242" y="320"/>
                    </a:cubicBezTo>
                    <a:cubicBezTo>
                      <a:pt x="246" y="320"/>
                      <a:pt x="250" y="318"/>
                      <a:pt x="251" y="314"/>
                    </a:cubicBezTo>
                    <a:cubicBezTo>
                      <a:pt x="278" y="241"/>
                      <a:pt x="278" y="176"/>
                      <a:pt x="278" y="173"/>
                    </a:cubicBezTo>
                    <a:cubicBezTo>
                      <a:pt x="278" y="37"/>
                      <a:pt x="179" y="27"/>
                      <a:pt x="149" y="27"/>
                    </a:cubicBezTo>
                    <a:cubicBezTo>
                      <a:pt x="117" y="27"/>
                      <a:pt x="85" y="2"/>
                      <a:pt x="84" y="2"/>
                    </a:cubicBezTo>
                    <a:cubicBezTo>
                      <a:pt x="81" y="0"/>
                      <a:pt x="78" y="0"/>
                      <a:pt x="74" y="1"/>
                    </a:cubicBezTo>
                    <a:cubicBezTo>
                      <a:pt x="71" y="3"/>
                      <a:pt x="69" y="6"/>
                      <a:pt x="69" y="10"/>
                    </a:cubicBezTo>
                    <a:cubicBezTo>
                      <a:pt x="69" y="22"/>
                      <a:pt x="75" y="42"/>
                      <a:pt x="77" y="50"/>
                    </a:cubicBezTo>
                    <a:cubicBezTo>
                      <a:pt x="71" y="61"/>
                      <a:pt x="50" y="93"/>
                      <a:pt x="14" y="124"/>
                    </a:cubicBezTo>
                    <a:cubicBezTo>
                      <a:pt x="8" y="128"/>
                      <a:pt x="0" y="140"/>
                      <a:pt x="8" y="157"/>
                    </a:cubicBezTo>
                    <a:cubicBezTo>
                      <a:pt x="13" y="168"/>
                      <a:pt x="27" y="187"/>
                      <a:pt x="45" y="192"/>
                    </a:cubicBezTo>
                    <a:cubicBezTo>
                      <a:pt x="53" y="194"/>
                      <a:pt x="61" y="193"/>
                      <a:pt x="68" y="18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42"/>
              <p:cNvSpPr>
                <a:spLocks/>
              </p:cNvSpPr>
              <p:nvPr/>
            </p:nvSpPr>
            <p:spPr bwMode="auto">
              <a:xfrm>
                <a:off x="8053388" y="1027113"/>
                <a:ext cx="161925" cy="282575"/>
              </a:xfrm>
              <a:custGeom>
                <a:avLst/>
                <a:gdLst>
                  <a:gd name="T0" fmla="*/ 10 w 163"/>
                  <a:gd name="T1" fmla="*/ 19 h 281"/>
                  <a:gd name="T2" fmla="*/ 79 w 163"/>
                  <a:gd name="T3" fmla="*/ 36 h 281"/>
                  <a:gd name="T4" fmla="*/ 144 w 163"/>
                  <a:gd name="T5" fmla="*/ 173 h 281"/>
                  <a:gd name="T6" fmla="*/ 132 w 163"/>
                  <a:gd name="T7" fmla="*/ 269 h 281"/>
                  <a:gd name="T8" fmla="*/ 138 w 163"/>
                  <a:gd name="T9" fmla="*/ 281 h 281"/>
                  <a:gd name="T10" fmla="*/ 141 w 163"/>
                  <a:gd name="T11" fmla="*/ 281 h 281"/>
                  <a:gd name="T12" fmla="*/ 150 w 163"/>
                  <a:gd name="T13" fmla="*/ 274 h 281"/>
                  <a:gd name="T14" fmla="*/ 163 w 163"/>
                  <a:gd name="T15" fmla="*/ 173 h 281"/>
                  <a:gd name="T16" fmla="*/ 90 w 163"/>
                  <a:gd name="T17" fmla="*/ 21 h 281"/>
                  <a:gd name="T18" fmla="*/ 10 w 163"/>
                  <a:gd name="T19" fmla="*/ 0 h 281"/>
                  <a:gd name="T20" fmla="*/ 0 w 163"/>
                  <a:gd name="T21" fmla="*/ 10 h 281"/>
                  <a:gd name="T22" fmla="*/ 10 w 163"/>
                  <a:gd name="T23" fmla="*/ 19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3" h="281">
                    <a:moveTo>
                      <a:pt x="10" y="19"/>
                    </a:moveTo>
                    <a:cubicBezTo>
                      <a:pt x="40" y="19"/>
                      <a:pt x="61" y="24"/>
                      <a:pt x="79" y="36"/>
                    </a:cubicBezTo>
                    <a:cubicBezTo>
                      <a:pt x="109" y="56"/>
                      <a:pt x="144" y="97"/>
                      <a:pt x="144" y="173"/>
                    </a:cubicBezTo>
                    <a:cubicBezTo>
                      <a:pt x="144" y="192"/>
                      <a:pt x="144" y="218"/>
                      <a:pt x="132" y="269"/>
                    </a:cubicBezTo>
                    <a:cubicBezTo>
                      <a:pt x="130" y="274"/>
                      <a:pt x="133" y="279"/>
                      <a:pt x="138" y="281"/>
                    </a:cubicBezTo>
                    <a:cubicBezTo>
                      <a:pt x="139" y="281"/>
                      <a:pt x="140" y="281"/>
                      <a:pt x="141" y="281"/>
                    </a:cubicBezTo>
                    <a:cubicBezTo>
                      <a:pt x="145" y="281"/>
                      <a:pt x="149" y="278"/>
                      <a:pt x="150" y="274"/>
                    </a:cubicBezTo>
                    <a:cubicBezTo>
                      <a:pt x="163" y="220"/>
                      <a:pt x="163" y="193"/>
                      <a:pt x="163" y="173"/>
                    </a:cubicBezTo>
                    <a:cubicBezTo>
                      <a:pt x="163" y="84"/>
                      <a:pt x="117" y="39"/>
                      <a:pt x="90" y="21"/>
                    </a:cubicBezTo>
                    <a:cubicBezTo>
                      <a:pt x="68" y="6"/>
                      <a:pt x="44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5"/>
                      <a:pt x="4" y="19"/>
                      <a:pt x="10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8" name="Group 107"/>
            <p:cNvGrpSpPr/>
            <p:nvPr/>
          </p:nvGrpSpPr>
          <p:grpSpPr>
            <a:xfrm>
              <a:off x="4156857" y="2414329"/>
              <a:ext cx="226810" cy="312154"/>
              <a:chOff x="5470525" y="1027113"/>
              <a:chExt cx="307975" cy="423863"/>
            </a:xfrm>
            <a:solidFill>
              <a:schemeClr val="bg1"/>
            </a:solidFill>
          </p:grpSpPr>
          <p:sp>
            <p:nvSpPr>
              <p:cNvPr id="109" name="Freeform 147"/>
              <p:cNvSpPr>
                <a:spLocks noEditPoints="1"/>
              </p:cNvSpPr>
              <p:nvPr/>
            </p:nvSpPr>
            <p:spPr bwMode="auto">
              <a:xfrm>
                <a:off x="5470525" y="1119188"/>
                <a:ext cx="307975" cy="331788"/>
              </a:xfrm>
              <a:custGeom>
                <a:avLst/>
                <a:gdLst>
                  <a:gd name="T0" fmla="*/ 307 w 309"/>
                  <a:gd name="T1" fmla="*/ 319 h 332"/>
                  <a:gd name="T2" fmla="*/ 252 w 309"/>
                  <a:gd name="T3" fmla="*/ 214 h 332"/>
                  <a:gd name="T4" fmla="*/ 286 w 309"/>
                  <a:gd name="T5" fmla="*/ 187 h 332"/>
                  <a:gd name="T6" fmla="*/ 286 w 309"/>
                  <a:gd name="T7" fmla="*/ 137 h 332"/>
                  <a:gd name="T8" fmla="*/ 261 w 309"/>
                  <a:gd name="T9" fmla="*/ 126 h 332"/>
                  <a:gd name="T10" fmla="*/ 236 w 309"/>
                  <a:gd name="T11" fmla="*/ 137 h 332"/>
                  <a:gd name="T12" fmla="*/ 219 w 309"/>
                  <a:gd name="T13" fmla="*/ 151 h 332"/>
                  <a:gd name="T14" fmla="*/ 191 w 309"/>
                  <a:gd name="T15" fmla="*/ 97 h 332"/>
                  <a:gd name="T16" fmla="*/ 210 w 309"/>
                  <a:gd name="T17" fmla="*/ 55 h 332"/>
                  <a:gd name="T18" fmla="*/ 155 w 309"/>
                  <a:gd name="T19" fmla="*/ 0 h 332"/>
                  <a:gd name="T20" fmla="*/ 100 w 309"/>
                  <a:gd name="T21" fmla="*/ 55 h 332"/>
                  <a:gd name="T22" fmla="*/ 119 w 309"/>
                  <a:gd name="T23" fmla="*/ 97 h 332"/>
                  <a:gd name="T24" fmla="*/ 90 w 309"/>
                  <a:gd name="T25" fmla="*/ 151 h 332"/>
                  <a:gd name="T26" fmla="*/ 73 w 309"/>
                  <a:gd name="T27" fmla="*/ 137 h 332"/>
                  <a:gd name="T28" fmla="*/ 48 w 309"/>
                  <a:gd name="T29" fmla="*/ 126 h 332"/>
                  <a:gd name="T30" fmla="*/ 23 w 309"/>
                  <a:gd name="T31" fmla="*/ 137 h 332"/>
                  <a:gd name="T32" fmla="*/ 23 w 309"/>
                  <a:gd name="T33" fmla="*/ 187 h 332"/>
                  <a:gd name="T34" fmla="*/ 57 w 309"/>
                  <a:gd name="T35" fmla="*/ 214 h 332"/>
                  <a:gd name="T36" fmla="*/ 2 w 309"/>
                  <a:gd name="T37" fmla="*/ 319 h 332"/>
                  <a:gd name="T38" fmla="*/ 6 w 309"/>
                  <a:gd name="T39" fmla="*/ 331 h 332"/>
                  <a:gd name="T40" fmla="*/ 10 w 309"/>
                  <a:gd name="T41" fmla="*/ 332 h 332"/>
                  <a:gd name="T42" fmla="*/ 19 w 309"/>
                  <a:gd name="T43" fmla="*/ 327 h 332"/>
                  <a:gd name="T44" fmla="*/ 74 w 309"/>
                  <a:gd name="T45" fmla="*/ 223 h 332"/>
                  <a:gd name="T46" fmla="*/ 155 w 309"/>
                  <a:gd name="T47" fmla="*/ 241 h 332"/>
                  <a:gd name="T48" fmla="*/ 236 w 309"/>
                  <a:gd name="T49" fmla="*/ 223 h 332"/>
                  <a:gd name="T50" fmla="*/ 290 w 309"/>
                  <a:gd name="T51" fmla="*/ 327 h 332"/>
                  <a:gd name="T52" fmla="*/ 299 w 309"/>
                  <a:gd name="T53" fmla="*/ 332 h 332"/>
                  <a:gd name="T54" fmla="*/ 303 w 309"/>
                  <a:gd name="T55" fmla="*/ 331 h 332"/>
                  <a:gd name="T56" fmla="*/ 307 w 309"/>
                  <a:gd name="T57" fmla="*/ 319 h 332"/>
                  <a:gd name="T58" fmla="*/ 155 w 309"/>
                  <a:gd name="T59" fmla="*/ 19 h 332"/>
                  <a:gd name="T60" fmla="*/ 191 w 309"/>
                  <a:gd name="T61" fmla="*/ 55 h 332"/>
                  <a:gd name="T62" fmla="*/ 155 w 309"/>
                  <a:gd name="T63" fmla="*/ 91 h 332"/>
                  <a:gd name="T64" fmla="*/ 119 w 309"/>
                  <a:gd name="T65" fmla="*/ 55 h 332"/>
                  <a:gd name="T66" fmla="*/ 155 w 309"/>
                  <a:gd name="T67" fmla="*/ 19 h 332"/>
                  <a:gd name="T68" fmla="*/ 135 w 309"/>
                  <a:gd name="T69" fmla="*/ 106 h 332"/>
                  <a:gd name="T70" fmla="*/ 155 w 309"/>
                  <a:gd name="T71" fmla="*/ 110 h 332"/>
                  <a:gd name="T72" fmla="*/ 175 w 309"/>
                  <a:gd name="T73" fmla="*/ 106 h 332"/>
                  <a:gd name="T74" fmla="*/ 203 w 309"/>
                  <a:gd name="T75" fmla="*/ 160 h 332"/>
                  <a:gd name="T76" fmla="*/ 155 w 309"/>
                  <a:gd name="T77" fmla="*/ 170 h 332"/>
                  <a:gd name="T78" fmla="*/ 107 w 309"/>
                  <a:gd name="T79" fmla="*/ 160 h 332"/>
                  <a:gd name="T80" fmla="*/ 135 w 309"/>
                  <a:gd name="T81" fmla="*/ 106 h 332"/>
                  <a:gd name="T82" fmla="*/ 36 w 309"/>
                  <a:gd name="T83" fmla="*/ 174 h 332"/>
                  <a:gd name="T84" fmla="*/ 36 w 309"/>
                  <a:gd name="T85" fmla="*/ 150 h 332"/>
                  <a:gd name="T86" fmla="*/ 48 w 309"/>
                  <a:gd name="T87" fmla="*/ 145 h 332"/>
                  <a:gd name="T88" fmla="*/ 60 w 309"/>
                  <a:gd name="T89" fmla="*/ 150 h 332"/>
                  <a:gd name="T90" fmla="*/ 155 w 309"/>
                  <a:gd name="T91" fmla="*/ 189 h 332"/>
                  <a:gd name="T92" fmla="*/ 249 w 309"/>
                  <a:gd name="T93" fmla="*/ 150 h 332"/>
                  <a:gd name="T94" fmla="*/ 261 w 309"/>
                  <a:gd name="T95" fmla="*/ 145 h 332"/>
                  <a:gd name="T96" fmla="*/ 273 w 309"/>
                  <a:gd name="T97" fmla="*/ 150 h 332"/>
                  <a:gd name="T98" fmla="*/ 273 w 309"/>
                  <a:gd name="T99" fmla="*/ 174 h 332"/>
                  <a:gd name="T100" fmla="*/ 155 w 309"/>
                  <a:gd name="T101" fmla="*/ 223 h 332"/>
                  <a:gd name="T102" fmla="*/ 36 w 309"/>
                  <a:gd name="T103" fmla="*/ 17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09" h="332">
                    <a:moveTo>
                      <a:pt x="307" y="319"/>
                    </a:moveTo>
                    <a:cubicBezTo>
                      <a:pt x="252" y="214"/>
                      <a:pt x="252" y="214"/>
                      <a:pt x="252" y="214"/>
                    </a:cubicBezTo>
                    <a:cubicBezTo>
                      <a:pt x="264" y="206"/>
                      <a:pt x="276" y="197"/>
                      <a:pt x="286" y="187"/>
                    </a:cubicBezTo>
                    <a:cubicBezTo>
                      <a:pt x="300" y="173"/>
                      <a:pt x="300" y="151"/>
                      <a:pt x="286" y="137"/>
                    </a:cubicBezTo>
                    <a:cubicBezTo>
                      <a:pt x="280" y="130"/>
                      <a:pt x="271" y="126"/>
                      <a:pt x="261" y="126"/>
                    </a:cubicBezTo>
                    <a:cubicBezTo>
                      <a:pt x="252" y="126"/>
                      <a:pt x="243" y="130"/>
                      <a:pt x="236" y="137"/>
                    </a:cubicBezTo>
                    <a:cubicBezTo>
                      <a:pt x="231" y="142"/>
                      <a:pt x="225" y="147"/>
                      <a:pt x="219" y="151"/>
                    </a:cubicBezTo>
                    <a:cubicBezTo>
                      <a:pt x="191" y="97"/>
                      <a:pt x="191" y="97"/>
                      <a:pt x="191" y="97"/>
                    </a:cubicBezTo>
                    <a:cubicBezTo>
                      <a:pt x="202" y="87"/>
                      <a:pt x="210" y="72"/>
                      <a:pt x="210" y="55"/>
                    </a:cubicBezTo>
                    <a:cubicBezTo>
                      <a:pt x="210" y="25"/>
                      <a:pt x="185" y="0"/>
                      <a:pt x="155" y="0"/>
                    </a:cubicBezTo>
                    <a:cubicBezTo>
                      <a:pt x="125" y="0"/>
                      <a:pt x="100" y="25"/>
                      <a:pt x="100" y="55"/>
                    </a:cubicBezTo>
                    <a:cubicBezTo>
                      <a:pt x="100" y="72"/>
                      <a:pt x="107" y="87"/>
                      <a:pt x="119" y="97"/>
                    </a:cubicBezTo>
                    <a:cubicBezTo>
                      <a:pt x="90" y="151"/>
                      <a:pt x="90" y="151"/>
                      <a:pt x="90" y="151"/>
                    </a:cubicBezTo>
                    <a:cubicBezTo>
                      <a:pt x="84" y="147"/>
                      <a:pt x="79" y="142"/>
                      <a:pt x="73" y="137"/>
                    </a:cubicBezTo>
                    <a:cubicBezTo>
                      <a:pt x="67" y="130"/>
                      <a:pt x="58" y="126"/>
                      <a:pt x="48" y="126"/>
                    </a:cubicBezTo>
                    <a:cubicBezTo>
                      <a:pt x="39" y="126"/>
                      <a:pt x="30" y="130"/>
                      <a:pt x="23" y="137"/>
                    </a:cubicBezTo>
                    <a:cubicBezTo>
                      <a:pt x="9" y="151"/>
                      <a:pt x="9" y="173"/>
                      <a:pt x="23" y="187"/>
                    </a:cubicBezTo>
                    <a:cubicBezTo>
                      <a:pt x="33" y="197"/>
                      <a:pt x="45" y="206"/>
                      <a:pt x="57" y="214"/>
                    </a:cubicBezTo>
                    <a:cubicBezTo>
                      <a:pt x="2" y="319"/>
                      <a:pt x="2" y="319"/>
                      <a:pt x="2" y="319"/>
                    </a:cubicBezTo>
                    <a:cubicBezTo>
                      <a:pt x="0" y="323"/>
                      <a:pt x="2" y="329"/>
                      <a:pt x="6" y="331"/>
                    </a:cubicBezTo>
                    <a:cubicBezTo>
                      <a:pt x="7" y="332"/>
                      <a:pt x="9" y="332"/>
                      <a:pt x="10" y="332"/>
                    </a:cubicBezTo>
                    <a:cubicBezTo>
                      <a:pt x="14" y="332"/>
                      <a:pt x="17" y="331"/>
                      <a:pt x="19" y="327"/>
                    </a:cubicBezTo>
                    <a:cubicBezTo>
                      <a:pt x="74" y="223"/>
                      <a:pt x="74" y="223"/>
                      <a:pt x="74" y="223"/>
                    </a:cubicBezTo>
                    <a:cubicBezTo>
                      <a:pt x="99" y="235"/>
                      <a:pt x="126" y="241"/>
                      <a:pt x="155" y="241"/>
                    </a:cubicBezTo>
                    <a:cubicBezTo>
                      <a:pt x="183" y="241"/>
                      <a:pt x="211" y="235"/>
                      <a:pt x="236" y="223"/>
                    </a:cubicBezTo>
                    <a:cubicBezTo>
                      <a:pt x="290" y="327"/>
                      <a:pt x="290" y="327"/>
                      <a:pt x="290" y="327"/>
                    </a:cubicBezTo>
                    <a:cubicBezTo>
                      <a:pt x="292" y="331"/>
                      <a:pt x="295" y="332"/>
                      <a:pt x="299" y="332"/>
                    </a:cubicBezTo>
                    <a:cubicBezTo>
                      <a:pt x="300" y="332"/>
                      <a:pt x="302" y="332"/>
                      <a:pt x="303" y="331"/>
                    </a:cubicBezTo>
                    <a:cubicBezTo>
                      <a:pt x="308" y="329"/>
                      <a:pt x="309" y="323"/>
                      <a:pt x="307" y="319"/>
                    </a:cubicBezTo>
                    <a:close/>
                    <a:moveTo>
                      <a:pt x="155" y="19"/>
                    </a:moveTo>
                    <a:cubicBezTo>
                      <a:pt x="175" y="19"/>
                      <a:pt x="191" y="35"/>
                      <a:pt x="191" y="55"/>
                    </a:cubicBezTo>
                    <a:cubicBezTo>
                      <a:pt x="191" y="75"/>
                      <a:pt x="175" y="91"/>
                      <a:pt x="155" y="91"/>
                    </a:cubicBezTo>
                    <a:cubicBezTo>
                      <a:pt x="135" y="91"/>
                      <a:pt x="119" y="75"/>
                      <a:pt x="119" y="55"/>
                    </a:cubicBezTo>
                    <a:cubicBezTo>
                      <a:pt x="119" y="35"/>
                      <a:pt x="135" y="19"/>
                      <a:pt x="155" y="19"/>
                    </a:cubicBezTo>
                    <a:close/>
                    <a:moveTo>
                      <a:pt x="135" y="106"/>
                    </a:moveTo>
                    <a:cubicBezTo>
                      <a:pt x="141" y="109"/>
                      <a:pt x="148" y="110"/>
                      <a:pt x="155" y="110"/>
                    </a:cubicBezTo>
                    <a:cubicBezTo>
                      <a:pt x="162" y="110"/>
                      <a:pt x="168" y="109"/>
                      <a:pt x="175" y="106"/>
                    </a:cubicBezTo>
                    <a:cubicBezTo>
                      <a:pt x="203" y="160"/>
                      <a:pt x="203" y="160"/>
                      <a:pt x="203" y="160"/>
                    </a:cubicBezTo>
                    <a:cubicBezTo>
                      <a:pt x="188" y="167"/>
                      <a:pt x="172" y="170"/>
                      <a:pt x="155" y="170"/>
                    </a:cubicBezTo>
                    <a:cubicBezTo>
                      <a:pt x="138" y="170"/>
                      <a:pt x="122" y="167"/>
                      <a:pt x="107" y="160"/>
                    </a:cubicBezTo>
                    <a:lnTo>
                      <a:pt x="135" y="106"/>
                    </a:lnTo>
                    <a:close/>
                    <a:moveTo>
                      <a:pt x="36" y="174"/>
                    </a:moveTo>
                    <a:cubicBezTo>
                      <a:pt x="30" y="167"/>
                      <a:pt x="30" y="156"/>
                      <a:pt x="36" y="150"/>
                    </a:cubicBezTo>
                    <a:cubicBezTo>
                      <a:pt x="39" y="147"/>
                      <a:pt x="44" y="145"/>
                      <a:pt x="48" y="145"/>
                    </a:cubicBezTo>
                    <a:cubicBezTo>
                      <a:pt x="53" y="145"/>
                      <a:pt x="57" y="147"/>
                      <a:pt x="60" y="150"/>
                    </a:cubicBezTo>
                    <a:cubicBezTo>
                      <a:pt x="85" y="175"/>
                      <a:pt x="119" y="189"/>
                      <a:pt x="155" y="189"/>
                    </a:cubicBezTo>
                    <a:cubicBezTo>
                      <a:pt x="191" y="189"/>
                      <a:pt x="224" y="175"/>
                      <a:pt x="249" y="150"/>
                    </a:cubicBezTo>
                    <a:cubicBezTo>
                      <a:pt x="253" y="147"/>
                      <a:pt x="257" y="145"/>
                      <a:pt x="261" y="145"/>
                    </a:cubicBezTo>
                    <a:cubicBezTo>
                      <a:pt x="266" y="145"/>
                      <a:pt x="270" y="147"/>
                      <a:pt x="273" y="150"/>
                    </a:cubicBezTo>
                    <a:cubicBezTo>
                      <a:pt x="280" y="156"/>
                      <a:pt x="280" y="167"/>
                      <a:pt x="273" y="174"/>
                    </a:cubicBezTo>
                    <a:cubicBezTo>
                      <a:pt x="242" y="205"/>
                      <a:pt x="200" y="223"/>
                      <a:pt x="155" y="223"/>
                    </a:cubicBezTo>
                    <a:cubicBezTo>
                      <a:pt x="110" y="223"/>
                      <a:pt x="68" y="205"/>
                      <a:pt x="36" y="17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48"/>
              <p:cNvSpPr>
                <a:spLocks noEditPoints="1"/>
              </p:cNvSpPr>
              <p:nvPr/>
            </p:nvSpPr>
            <p:spPr bwMode="auto">
              <a:xfrm>
                <a:off x="5602288" y="1027113"/>
                <a:ext cx="44450" cy="84138"/>
              </a:xfrm>
              <a:custGeom>
                <a:avLst/>
                <a:gdLst>
                  <a:gd name="T0" fmla="*/ 9 w 45"/>
                  <a:gd name="T1" fmla="*/ 58 h 84"/>
                  <a:gd name="T2" fmla="*/ 13 w 45"/>
                  <a:gd name="T3" fmla="*/ 58 h 84"/>
                  <a:gd name="T4" fmla="*/ 13 w 45"/>
                  <a:gd name="T5" fmla="*/ 75 h 84"/>
                  <a:gd name="T6" fmla="*/ 23 w 45"/>
                  <a:gd name="T7" fmla="*/ 84 h 84"/>
                  <a:gd name="T8" fmla="*/ 32 w 45"/>
                  <a:gd name="T9" fmla="*/ 75 h 84"/>
                  <a:gd name="T10" fmla="*/ 32 w 45"/>
                  <a:gd name="T11" fmla="*/ 58 h 84"/>
                  <a:gd name="T12" fmla="*/ 36 w 45"/>
                  <a:gd name="T13" fmla="*/ 58 h 84"/>
                  <a:gd name="T14" fmla="*/ 45 w 45"/>
                  <a:gd name="T15" fmla="*/ 49 h 84"/>
                  <a:gd name="T16" fmla="*/ 45 w 45"/>
                  <a:gd name="T17" fmla="*/ 10 h 84"/>
                  <a:gd name="T18" fmla="*/ 36 w 45"/>
                  <a:gd name="T19" fmla="*/ 0 h 84"/>
                  <a:gd name="T20" fmla="*/ 9 w 45"/>
                  <a:gd name="T21" fmla="*/ 0 h 84"/>
                  <a:gd name="T22" fmla="*/ 0 w 45"/>
                  <a:gd name="T23" fmla="*/ 10 h 84"/>
                  <a:gd name="T24" fmla="*/ 0 w 45"/>
                  <a:gd name="T25" fmla="*/ 49 h 84"/>
                  <a:gd name="T26" fmla="*/ 9 w 45"/>
                  <a:gd name="T27" fmla="*/ 58 h 84"/>
                  <a:gd name="T28" fmla="*/ 19 w 45"/>
                  <a:gd name="T29" fmla="*/ 19 h 84"/>
                  <a:gd name="T30" fmla="*/ 26 w 45"/>
                  <a:gd name="T31" fmla="*/ 19 h 84"/>
                  <a:gd name="T32" fmla="*/ 26 w 45"/>
                  <a:gd name="T33" fmla="*/ 40 h 84"/>
                  <a:gd name="T34" fmla="*/ 19 w 45"/>
                  <a:gd name="T35" fmla="*/ 40 h 84"/>
                  <a:gd name="T36" fmla="*/ 19 w 45"/>
                  <a:gd name="T37" fmla="*/ 1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84">
                    <a:moveTo>
                      <a:pt x="9" y="58"/>
                    </a:moveTo>
                    <a:cubicBezTo>
                      <a:pt x="13" y="58"/>
                      <a:pt x="13" y="58"/>
                      <a:pt x="13" y="58"/>
                    </a:cubicBezTo>
                    <a:cubicBezTo>
                      <a:pt x="13" y="75"/>
                      <a:pt x="13" y="75"/>
                      <a:pt x="13" y="75"/>
                    </a:cubicBezTo>
                    <a:cubicBezTo>
                      <a:pt x="13" y="80"/>
                      <a:pt x="18" y="84"/>
                      <a:pt x="23" y="84"/>
                    </a:cubicBezTo>
                    <a:cubicBezTo>
                      <a:pt x="28" y="84"/>
                      <a:pt x="32" y="80"/>
                      <a:pt x="32" y="75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6" y="58"/>
                      <a:pt x="36" y="58"/>
                      <a:pt x="36" y="58"/>
                    </a:cubicBezTo>
                    <a:cubicBezTo>
                      <a:pt x="41" y="58"/>
                      <a:pt x="45" y="54"/>
                      <a:pt x="45" y="49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45" y="4"/>
                      <a:pt x="41" y="0"/>
                      <a:pt x="3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4" y="58"/>
                      <a:pt x="9" y="58"/>
                    </a:cubicBezTo>
                    <a:close/>
                    <a:moveTo>
                      <a:pt x="19" y="19"/>
                    </a:moveTo>
                    <a:cubicBezTo>
                      <a:pt x="26" y="19"/>
                      <a:pt x="26" y="19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19" y="40"/>
                      <a:pt x="19" y="40"/>
                      <a:pt x="19" y="40"/>
                    </a:cubicBezTo>
                    <a:lnTo>
                      <a:pt x="19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1" name="Group 110"/>
            <p:cNvGrpSpPr/>
            <p:nvPr/>
          </p:nvGrpSpPr>
          <p:grpSpPr>
            <a:xfrm>
              <a:off x="4227598" y="3130550"/>
              <a:ext cx="251902" cy="235938"/>
              <a:chOff x="4732339" y="3040063"/>
              <a:chExt cx="450850" cy="422276"/>
            </a:xfrm>
            <a:solidFill>
              <a:schemeClr val="bg1"/>
            </a:solidFill>
          </p:grpSpPr>
          <p:sp>
            <p:nvSpPr>
              <p:cNvPr id="112" name="Freeform 172"/>
              <p:cNvSpPr>
                <a:spLocks/>
              </p:cNvSpPr>
              <p:nvPr/>
            </p:nvSpPr>
            <p:spPr bwMode="auto">
              <a:xfrm>
                <a:off x="4837114" y="3040063"/>
                <a:ext cx="241300" cy="17463"/>
              </a:xfrm>
              <a:custGeom>
                <a:avLst/>
                <a:gdLst>
                  <a:gd name="T0" fmla="*/ 10 w 242"/>
                  <a:gd name="T1" fmla="*/ 18 h 18"/>
                  <a:gd name="T2" fmla="*/ 232 w 242"/>
                  <a:gd name="T3" fmla="*/ 18 h 18"/>
                  <a:gd name="T4" fmla="*/ 242 w 242"/>
                  <a:gd name="T5" fmla="*/ 9 h 18"/>
                  <a:gd name="T6" fmla="*/ 232 w 242"/>
                  <a:gd name="T7" fmla="*/ 0 h 18"/>
                  <a:gd name="T8" fmla="*/ 10 w 242"/>
                  <a:gd name="T9" fmla="*/ 0 h 18"/>
                  <a:gd name="T10" fmla="*/ 0 w 242"/>
                  <a:gd name="T11" fmla="*/ 9 h 18"/>
                  <a:gd name="T12" fmla="*/ 10 w 242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2" h="18">
                    <a:moveTo>
                      <a:pt x="10" y="18"/>
                    </a:moveTo>
                    <a:cubicBezTo>
                      <a:pt x="232" y="18"/>
                      <a:pt x="232" y="18"/>
                      <a:pt x="232" y="18"/>
                    </a:cubicBezTo>
                    <a:cubicBezTo>
                      <a:pt x="237" y="18"/>
                      <a:pt x="242" y="14"/>
                      <a:pt x="242" y="9"/>
                    </a:cubicBezTo>
                    <a:cubicBezTo>
                      <a:pt x="242" y="4"/>
                      <a:pt x="237" y="0"/>
                      <a:pt x="232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73"/>
              <p:cNvSpPr>
                <a:spLocks noEditPoints="1"/>
              </p:cNvSpPr>
              <p:nvPr/>
            </p:nvSpPr>
            <p:spPr bwMode="auto">
              <a:xfrm>
                <a:off x="4732339" y="3065463"/>
                <a:ext cx="450850" cy="331788"/>
              </a:xfrm>
              <a:custGeom>
                <a:avLst/>
                <a:gdLst>
                  <a:gd name="T0" fmla="*/ 438 w 452"/>
                  <a:gd name="T1" fmla="*/ 29 h 333"/>
                  <a:gd name="T2" fmla="*/ 363 w 452"/>
                  <a:gd name="T3" fmla="*/ 0 h 333"/>
                  <a:gd name="T4" fmla="*/ 337 w 452"/>
                  <a:gd name="T5" fmla="*/ 0 h 333"/>
                  <a:gd name="T6" fmla="*/ 115 w 452"/>
                  <a:gd name="T7" fmla="*/ 0 h 333"/>
                  <a:gd name="T8" fmla="*/ 88 w 452"/>
                  <a:gd name="T9" fmla="*/ 0 h 333"/>
                  <a:gd name="T10" fmla="*/ 14 w 452"/>
                  <a:gd name="T11" fmla="*/ 29 h 333"/>
                  <a:gd name="T12" fmla="*/ 7 w 452"/>
                  <a:gd name="T13" fmla="*/ 91 h 333"/>
                  <a:gd name="T14" fmla="*/ 83 w 452"/>
                  <a:gd name="T15" fmla="*/ 187 h 333"/>
                  <a:gd name="T16" fmla="*/ 88 w 452"/>
                  <a:gd name="T17" fmla="*/ 189 h 333"/>
                  <a:gd name="T18" fmla="*/ 96 w 452"/>
                  <a:gd name="T19" fmla="*/ 185 h 333"/>
                  <a:gd name="T20" fmla="*/ 94 w 452"/>
                  <a:gd name="T21" fmla="*/ 172 h 333"/>
                  <a:gd name="T22" fmla="*/ 25 w 452"/>
                  <a:gd name="T23" fmla="*/ 85 h 333"/>
                  <a:gd name="T24" fmla="*/ 29 w 452"/>
                  <a:gd name="T25" fmla="*/ 40 h 333"/>
                  <a:gd name="T26" fmla="*/ 88 w 452"/>
                  <a:gd name="T27" fmla="*/ 19 h 333"/>
                  <a:gd name="T28" fmla="*/ 105 w 452"/>
                  <a:gd name="T29" fmla="*/ 19 h 333"/>
                  <a:gd name="T30" fmla="*/ 105 w 452"/>
                  <a:gd name="T31" fmla="*/ 140 h 333"/>
                  <a:gd name="T32" fmla="*/ 210 w 452"/>
                  <a:gd name="T33" fmla="*/ 290 h 333"/>
                  <a:gd name="T34" fmla="*/ 210 w 452"/>
                  <a:gd name="T35" fmla="*/ 291 h 333"/>
                  <a:gd name="T36" fmla="*/ 210 w 452"/>
                  <a:gd name="T37" fmla="*/ 324 h 333"/>
                  <a:gd name="T38" fmla="*/ 219 w 452"/>
                  <a:gd name="T39" fmla="*/ 333 h 333"/>
                  <a:gd name="T40" fmla="*/ 229 w 452"/>
                  <a:gd name="T41" fmla="*/ 324 h 333"/>
                  <a:gd name="T42" fmla="*/ 229 w 452"/>
                  <a:gd name="T43" fmla="*/ 291 h 333"/>
                  <a:gd name="T44" fmla="*/ 229 w 452"/>
                  <a:gd name="T45" fmla="*/ 290 h 333"/>
                  <a:gd name="T46" fmla="*/ 347 w 452"/>
                  <a:gd name="T47" fmla="*/ 140 h 333"/>
                  <a:gd name="T48" fmla="*/ 347 w 452"/>
                  <a:gd name="T49" fmla="*/ 19 h 333"/>
                  <a:gd name="T50" fmla="*/ 363 w 452"/>
                  <a:gd name="T51" fmla="*/ 19 h 333"/>
                  <a:gd name="T52" fmla="*/ 423 w 452"/>
                  <a:gd name="T53" fmla="*/ 40 h 333"/>
                  <a:gd name="T54" fmla="*/ 427 w 452"/>
                  <a:gd name="T55" fmla="*/ 85 h 333"/>
                  <a:gd name="T56" fmla="*/ 358 w 452"/>
                  <a:gd name="T57" fmla="*/ 172 h 333"/>
                  <a:gd name="T58" fmla="*/ 356 w 452"/>
                  <a:gd name="T59" fmla="*/ 185 h 333"/>
                  <a:gd name="T60" fmla="*/ 363 w 452"/>
                  <a:gd name="T61" fmla="*/ 189 h 333"/>
                  <a:gd name="T62" fmla="*/ 369 w 452"/>
                  <a:gd name="T63" fmla="*/ 187 h 333"/>
                  <a:gd name="T64" fmla="*/ 444 w 452"/>
                  <a:gd name="T65" fmla="*/ 91 h 333"/>
                  <a:gd name="T66" fmla="*/ 438 w 452"/>
                  <a:gd name="T67" fmla="*/ 29 h 333"/>
                  <a:gd name="T68" fmla="*/ 328 w 452"/>
                  <a:gd name="T69" fmla="*/ 140 h 333"/>
                  <a:gd name="T70" fmla="*/ 220 w 452"/>
                  <a:gd name="T71" fmla="*/ 274 h 333"/>
                  <a:gd name="T72" fmla="*/ 124 w 452"/>
                  <a:gd name="T73" fmla="*/ 140 h 333"/>
                  <a:gd name="T74" fmla="*/ 124 w 452"/>
                  <a:gd name="T75" fmla="*/ 19 h 333"/>
                  <a:gd name="T76" fmla="*/ 328 w 452"/>
                  <a:gd name="T77" fmla="*/ 19 h 333"/>
                  <a:gd name="T78" fmla="*/ 328 w 452"/>
                  <a:gd name="T79" fmla="*/ 140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52" h="333">
                    <a:moveTo>
                      <a:pt x="438" y="29"/>
                    </a:moveTo>
                    <a:cubicBezTo>
                      <a:pt x="428" y="16"/>
                      <a:pt x="408" y="0"/>
                      <a:pt x="363" y="0"/>
                    </a:cubicBezTo>
                    <a:cubicBezTo>
                      <a:pt x="337" y="0"/>
                      <a:pt x="337" y="0"/>
                      <a:pt x="337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44" y="0"/>
                      <a:pt x="23" y="16"/>
                      <a:pt x="14" y="29"/>
                    </a:cubicBezTo>
                    <a:cubicBezTo>
                      <a:pt x="2" y="46"/>
                      <a:pt x="0" y="67"/>
                      <a:pt x="7" y="91"/>
                    </a:cubicBezTo>
                    <a:cubicBezTo>
                      <a:pt x="19" y="126"/>
                      <a:pt x="58" y="168"/>
                      <a:pt x="83" y="187"/>
                    </a:cubicBezTo>
                    <a:cubicBezTo>
                      <a:pt x="84" y="188"/>
                      <a:pt x="86" y="189"/>
                      <a:pt x="88" y="189"/>
                    </a:cubicBezTo>
                    <a:cubicBezTo>
                      <a:pt x="91" y="189"/>
                      <a:pt x="94" y="188"/>
                      <a:pt x="96" y="185"/>
                    </a:cubicBezTo>
                    <a:cubicBezTo>
                      <a:pt x="99" y="181"/>
                      <a:pt x="98" y="175"/>
                      <a:pt x="94" y="172"/>
                    </a:cubicBezTo>
                    <a:cubicBezTo>
                      <a:pt x="72" y="155"/>
                      <a:pt x="36" y="116"/>
                      <a:pt x="25" y="85"/>
                    </a:cubicBezTo>
                    <a:cubicBezTo>
                      <a:pt x="19" y="67"/>
                      <a:pt x="21" y="51"/>
                      <a:pt x="29" y="40"/>
                    </a:cubicBezTo>
                    <a:cubicBezTo>
                      <a:pt x="39" y="26"/>
                      <a:pt x="60" y="19"/>
                      <a:pt x="88" y="19"/>
                    </a:cubicBezTo>
                    <a:cubicBezTo>
                      <a:pt x="105" y="19"/>
                      <a:pt x="105" y="19"/>
                      <a:pt x="105" y="19"/>
                    </a:cubicBezTo>
                    <a:cubicBezTo>
                      <a:pt x="105" y="140"/>
                      <a:pt x="105" y="140"/>
                      <a:pt x="105" y="140"/>
                    </a:cubicBezTo>
                    <a:cubicBezTo>
                      <a:pt x="105" y="227"/>
                      <a:pt x="188" y="278"/>
                      <a:pt x="210" y="290"/>
                    </a:cubicBezTo>
                    <a:cubicBezTo>
                      <a:pt x="210" y="290"/>
                      <a:pt x="210" y="291"/>
                      <a:pt x="210" y="291"/>
                    </a:cubicBezTo>
                    <a:cubicBezTo>
                      <a:pt x="210" y="324"/>
                      <a:pt x="210" y="324"/>
                      <a:pt x="210" y="324"/>
                    </a:cubicBezTo>
                    <a:cubicBezTo>
                      <a:pt x="210" y="329"/>
                      <a:pt x="214" y="333"/>
                      <a:pt x="219" y="333"/>
                    </a:cubicBezTo>
                    <a:cubicBezTo>
                      <a:pt x="225" y="333"/>
                      <a:pt x="229" y="329"/>
                      <a:pt x="229" y="324"/>
                    </a:cubicBezTo>
                    <a:cubicBezTo>
                      <a:pt x="229" y="291"/>
                      <a:pt x="229" y="291"/>
                      <a:pt x="229" y="291"/>
                    </a:cubicBezTo>
                    <a:cubicBezTo>
                      <a:pt x="229" y="291"/>
                      <a:pt x="229" y="290"/>
                      <a:pt x="229" y="290"/>
                    </a:cubicBezTo>
                    <a:cubicBezTo>
                      <a:pt x="253" y="278"/>
                      <a:pt x="347" y="227"/>
                      <a:pt x="347" y="140"/>
                    </a:cubicBezTo>
                    <a:cubicBezTo>
                      <a:pt x="347" y="19"/>
                      <a:pt x="347" y="19"/>
                      <a:pt x="347" y="19"/>
                    </a:cubicBezTo>
                    <a:cubicBezTo>
                      <a:pt x="363" y="19"/>
                      <a:pt x="363" y="19"/>
                      <a:pt x="363" y="19"/>
                    </a:cubicBezTo>
                    <a:cubicBezTo>
                      <a:pt x="392" y="19"/>
                      <a:pt x="413" y="26"/>
                      <a:pt x="423" y="40"/>
                    </a:cubicBezTo>
                    <a:cubicBezTo>
                      <a:pt x="431" y="51"/>
                      <a:pt x="432" y="67"/>
                      <a:pt x="427" y="85"/>
                    </a:cubicBezTo>
                    <a:cubicBezTo>
                      <a:pt x="419" y="109"/>
                      <a:pt x="378" y="156"/>
                      <a:pt x="358" y="172"/>
                    </a:cubicBezTo>
                    <a:cubicBezTo>
                      <a:pt x="354" y="175"/>
                      <a:pt x="353" y="181"/>
                      <a:pt x="356" y="185"/>
                    </a:cubicBezTo>
                    <a:cubicBezTo>
                      <a:pt x="358" y="188"/>
                      <a:pt x="361" y="189"/>
                      <a:pt x="363" y="189"/>
                    </a:cubicBezTo>
                    <a:cubicBezTo>
                      <a:pt x="365" y="189"/>
                      <a:pt x="368" y="188"/>
                      <a:pt x="369" y="187"/>
                    </a:cubicBezTo>
                    <a:cubicBezTo>
                      <a:pt x="392" y="169"/>
                      <a:pt x="435" y="119"/>
                      <a:pt x="444" y="91"/>
                    </a:cubicBezTo>
                    <a:cubicBezTo>
                      <a:pt x="452" y="67"/>
                      <a:pt x="450" y="46"/>
                      <a:pt x="438" y="29"/>
                    </a:cubicBezTo>
                    <a:close/>
                    <a:moveTo>
                      <a:pt x="328" y="140"/>
                    </a:moveTo>
                    <a:cubicBezTo>
                      <a:pt x="328" y="217"/>
                      <a:pt x="240" y="264"/>
                      <a:pt x="220" y="274"/>
                    </a:cubicBezTo>
                    <a:cubicBezTo>
                      <a:pt x="201" y="264"/>
                      <a:pt x="124" y="217"/>
                      <a:pt x="124" y="140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328" y="19"/>
                      <a:pt x="328" y="19"/>
                      <a:pt x="328" y="19"/>
                    </a:cubicBezTo>
                    <a:lnTo>
                      <a:pt x="328" y="1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74"/>
              <p:cNvSpPr>
                <a:spLocks noEditPoints="1"/>
              </p:cNvSpPr>
              <p:nvPr/>
            </p:nvSpPr>
            <p:spPr bwMode="auto">
              <a:xfrm>
                <a:off x="4849814" y="3403601"/>
                <a:ext cx="201613" cy="58738"/>
              </a:xfrm>
              <a:custGeom>
                <a:avLst/>
                <a:gdLst>
                  <a:gd name="T0" fmla="*/ 173 w 202"/>
                  <a:gd name="T1" fmla="*/ 0 h 58"/>
                  <a:gd name="T2" fmla="*/ 29 w 202"/>
                  <a:gd name="T3" fmla="*/ 0 h 58"/>
                  <a:gd name="T4" fmla="*/ 0 w 202"/>
                  <a:gd name="T5" fmla="*/ 29 h 58"/>
                  <a:gd name="T6" fmla="*/ 0 w 202"/>
                  <a:gd name="T7" fmla="*/ 49 h 58"/>
                  <a:gd name="T8" fmla="*/ 10 w 202"/>
                  <a:gd name="T9" fmla="*/ 58 h 58"/>
                  <a:gd name="T10" fmla="*/ 193 w 202"/>
                  <a:gd name="T11" fmla="*/ 58 h 58"/>
                  <a:gd name="T12" fmla="*/ 202 w 202"/>
                  <a:gd name="T13" fmla="*/ 49 h 58"/>
                  <a:gd name="T14" fmla="*/ 202 w 202"/>
                  <a:gd name="T15" fmla="*/ 30 h 58"/>
                  <a:gd name="T16" fmla="*/ 173 w 202"/>
                  <a:gd name="T17" fmla="*/ 0 h 58"/>
                  <a:gd name="T18" fmla="*/ 184 w 202"/>
                  <a:gd name="T19" fmla="*/ 40 h 58"/>
                  <a:gd name="T20" fmla="*/ 19 w 202"/>
                  <a:gd name="T21" fmla="*/ 40 h 58"/>
                  <a:gd name="T22" fmla="*/ 19 w 202"/>
                  <a:gd name="T23" fmla="*/ 29 h 58"/>
                  <a:gd name="T24" fmla="*/ 29 w 202"/>
                  <a:gd name="T25" fmla="*/ 19 h 58"/>
                  <a:gd name="T26" fmla="*/ 173 w 202"/>
                  <a:gd name="T27" fmla="*/ 19 h 58"/>
                  <a:gd name="T28" fmla="*/ 184 w 202"/>
                  <a:gd name="T29" fmla="*/ 30 h 58"/>
                  <a:gd name="T30" fmla="*/ 184 w 202"/>
                  <a:gd name="T31" fmla="*/ 4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2" h="58">
                    <a:moveTo>
                      <a:pt x="173" y="0"/>
                    </a:moveTo>
                    <a:cubicBezTo>
                      <a:pt x="29" y="0"/>
                      <a:pt x="29" y="0"/>
                      <a:pt x="29" y="0"/>
                    </a:cubicBezTo>
                    <a:cubicBezTo>
                      <a:pt x="13" y="0"/>
                      <a:pt x="0" y="13"/>
                      <a:pt x="0" y="2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4"/>
                      <a:pt x="4" y="58"/>
                      <a:pt x="10" y="58"/>
                    </a:cubicBezTo>
                    <a:cubicBezTo>
                      <a:pt x="193" y="58"/>
                      <a:pt x="193" y="58"/>
                      <a:pt x="193" y="58"/>
                    </a:cubicBezTo>
                    <a:cubicBezTo>
                      <a:pt x="198" y="58"/>
                      <a:pt x="202" y="54"/>
                      <a:pt x="202" y="49"/>
                    </a:cubicBezTo>
                    <a:cubicBezTo>
                      <a:pt x="202" y="30"/>
                      <a:pt x="202" y="30"/>
                      <a:pt x="202" y="30"/>
                    </a:cubicBezTo>
                    <a:cubicBezTo>
                      <a:pt x="202" y="14"/>
                      <a:pt x="190" y="0"/>
                      <a:pt x="173" y="0"/>
                    </a:cubicBezTo>
                    <a:close/>
                    <a:moveTo>
                      <a:pt x="184" y="40"/>
                    </a:moveTo>
                    <a:cubicBezTo>
                      <a:pt x="19" y="40"/>
                      <a:pt x="19" y="40"/>
                      <a:pt x="19" y="40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23"/>
                      <a:pt x="23" y="19"/>
                      <a:pt x="29" y="19"/>
                    </a:cubicBezTo>
                    <a:cubicBezTo>
                      <a:pt x="173" y="19"/>
                      <a:pt x="173" y="19"/>
                      <a:pt x="173" y="19"/>
                    </a:cubicBezTo>
                    <a:cubicBezTo>
                      <a:pt x="179" y="19"/>
                      <a:pt x="184" y="24"/>
                      <a:pt x="184" y="30"/>
                    </a:cubicBezTo>
                    <a:lnTo>
                      <a:pt x="184" y="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15" name="Group 114"/>
            <p:cNvGrpSpPr/>
            <p:nvPr/>
          </p:nvGrpSpPr>
          <p:grpSpPr>
            <a:xfrm>
              <a:off x="4803389" y="2414330"/>
              <a:ext cx="216286" cy="312152"/>
              <a:chOff x="7197726" y="3717925"/>
              <a:chExt cx="293688" cy="423863"/>
            </a:xfrm>
            <a:solidFill>
              <a:schemeClr val="bg1"/>
            </a:solidFill>
          </p:grpSpPr>
          <p:sp>
            <p:nvSpPr>
              <p:cNvPr id="116" name="Freeform 225"/>
              <p:cNvSpPr>
                <a:spLocks/>
              </p:cNvSpPr>
              <p:nvPr/>
            </p:nvSpPr>
            <p:spPr bwMode="auto">
              <a:xfrm>
                <a:off x="7197726" y="3717925"/>
                <a:ext cx="293688" cy="354013"/>
              </a:xfrm>
              <a:custGeom>
                <a:avLst/>
                <a:gdLst>
                  <a:gd name="T0" fmla="*/ 248 w 294"/>
                  <a:gd name="T1" fmla="*/ 40 h 356"/>
                  <a:gd name="T2" fmla="*/ 147 w 294"/>
                  <a:gd name="T3" fmla="*/ 0 h 356"/>
                  <a:gd name="T4" fmla="*/ 45 w 294"/>
                  <a:gd name="T5" fmla="*/ 41 h 356"/>
                  <a:gd name="T6" fmla="*/ 0 w 294"/>
                  <a:gd name="T7" fmla="*/ 147 h 356"/>
                  <a:gd name="T8" fmla="*/ 53 w 294"/>
                  <a:gd name="T9" fmla="*/ 259 h 356"/>
                  <a:gd name="T10" fmla="*/ 53 w 294"/>
                  <a:gd name="T11" fmla="*/ 259 h 356"/>
                  <a:gd name="T12" fmla="*/ 53 w 294"/>
                  <a:gd name="T13" fmla="*/ 259 h 356"/>
                  <a:gd name="T14" fmla="*/ 78 w 294"/>
                  <a:gd name="T15" fmla="*/ 301 h 356"/>
                  <a:gd name="T16" fmla="*/ 78 w 294"/>
                  <a:gd name="T17" fmla="*/ 307 h 356"/>
                  <a:gd name="T18" fmla="*/ 78 w 294"/>
                  <a:gd name="T19" fmla="*/ 308 h 356"/>
                  <a:gd name="T20" fmla="*/ 78 w 294"/>
                  <a:gd name="T21" fmla="*/ 310 h 356"/>
                  <a:gd name="T22" fmla="*/ 91 w 294"/>
                  <a:gd name="T23" fmla="*/ 333 h 356"/>
                  <a:gd name="T24" fmla="*/ 92 w 294"/>
                  <a:gd name="T25" fmla="*/ 333 h 356"/>
                  <a:gd name="T26" fmla="*/ 198 w 294"/>
                  <a:gd name="T27" fmla="*/ 356 h 356"/>
                  <a:gd name="T28" fmla="*/ 200 w 294"/>
                  <a:gd name="T29" fmla="*/ 356 h 356"/>
                  <a:gd name="T30" fmla="*/ 209 w 294"/>
                  <a:gd name="T31" fmla="*/ 349 h 356"/>
                  <a:gd name="T32" fmla="*/ 202 w 294"/>
                  <a:gd name="T33" fmla="*/ 338 h 356"/>
                  <a:gd name="T34" fmla="*/ 97 w 294"/>
                  <a:gd name="T35" fmla="*/ 315 h 356"/>
                  <a:gd name="T36" fmla="*/ 97 w 294"/>
                  <a:gd name="T37" fmla="*/ 311 h 356"/>
                  <a:gd name="T38" fmla="*/ 97 w 294"/>
                  <a:gd name="T39" fmla="*/ 308 h 356"/>
                  <a:gd name="T40" fmla="*/ 97 w 294"/>
                  <a:gd name="T41" fmla="*/ 301 h 356"/>
                  <a:gd name="T42" fmla="*/ 66 w 294"/>
                  <a:gd name="T43" fmla="*/ 245 h 356"/>
                  <a:gd name="T44" fmla="*/ 64 w 294"/>
                  <a:gd name="T45" fmla="*/ 244 h 356"/>
                  <a:gd name="T46" fmla="*/ 18 w 294"/>
                  <a:gd name="T47" fmla="*/ 147 h 356"/>
                  <a:gd name="T48" fmla="*/ 147 w 294"/>
                  <a:gd name="T49" fmla="*/ 19 h 356"/>
                  <a:gd name="T50" fmla="*/ 275 w 294"/>
                  <a:gd name="T51" fmla="*/ 147 h 356"/>
                  <a:gd name="T52" fmla="*/ 229 w 294"/>
                  <a:gd name="T53" fmla="*/ 244 h 356"/>
                  <a:gd name="T54" fmla="*/ 228 w 294"/>
                  <a:gd name="T55" fmla="*/ 245 h 356"/>
                  <a:gd name="T56" fmla="*/ 196 w 294"/>
                  <a:gd name="T57" fmla="*/ 301 h 356"/>
                  <a:gd name="T58" fmla="*/ 196 w 294"/>
                  <a:gd name="T59" fmla="*/ 301 h 356"/>
                  <a:gd name="T60" fmla="*/ 143 w 294"/>
                  <a:gd name="T61" fmla="*/ 288 h 356"/>
                  <a:gd name="T62" fmla="*/ 132 w 294"/>
                  <a:gd name="T63" fmla="*/ 295 h 356"/>
                  <a:gd name="T64" fmla="*/ 139 w 294"/>
                  <a:gd name="T65" fmla="*/ 307 h 356"/>
                  <a:gd name="T66" fmla="*/ 193 w 294"/>
                  <a:gd name="T67" fmla="*/ 319 h 356"/>
                  <a:gd name="T68" fmla="*/ 208 w 294"/>
                  <a:gd name="T69" fmla="*/ 317 h 356"/>
                  <a:gd name="T70" fmla="*/ 215 w 294"/>
                  <a:gd name="T71" fmla="*/ 304 h 356"/>
                  <a:gd name="T72" fmla="*/ 215 w 294"/>
                  <a:gd name="T73" fmla="*/ 304 h 356"/>
                  <a:gd name="T74" fmla="*/ 215 w 294"/>
                  <a:gd name="T75" fmla="*/ 303 h 356"/>
                  <a:gd name="T76" fmla="*/ 215 w 294"/>
                  <a:gd name="T77" fmla="*/ 302 h 356"/>
                  <a:gd name="T78" fmla="*/ 215 w 294"/>
                  <a:gd name="T79" fmla="*/ 301 h 356"/>
                  <a:gd name="T80" fmla="*/ 215 w 294"/>
                  <a:gd name="T81" fmla="*/ 301 h 356"/>
                  <a:gd name="T82" fmla="*/ 240 w 294"/>
                  <a:gd name="T83" fmla="*/ 259 h 356"/>
                  <a:gd name="T84" fmla="*/ 241 w 294"/>
                  <a:gd name="T85" fmla="*/ 259 h 356"/>
                  <a:gd name="T86" fmla="*/ 241 w 294"/>
                  <a:gd name="T87" fmla="*/ 259 h 356"/>
                  <a:gd name="T88" fmla="*/ 294 w 294"/>
                  <a:gd name="T89" fmla="*/ 147 h 356"/>
                  <a:gd name="T90" fmla="*/ 248 w 294"/>
                  <a:gd name="T91" fmla="*/ 40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94" h="356">
                    <a:moveTo>
                      <a:pt x="248" y="40"/>
                    </a:moveTo>
                    <a:cubicBezTo>
                      <a:pt x="220" y="14"/>
                      <a:pt x="184" y="0"/>
                      <a:pt x="147" y="0"/>
                    </a:cubicBezTo>
                    <a:cubicBezTo>
                      <a:pt x="109" y="0"/>
                      <a:pt x="72" y="15"/>
                      <a:pt x="45" y="41"/>
                    </a:cubicBezTo>
                    <a:cubicBezTo>
                      <a:pt x="16" y="68"/>
                      <a:pt x="0" y="106"/>
                      <a:pt x="0" y="147"/>
                    </a:cubicBezTo>
                    <a:cubicBezTo>
                      <a:pt x="0" y="192"/>
                      <a:pt x="17" y="229"/>
                      <a:pt x="53" y="259"/>
                    </a:cubicBezTo>
                    <a:cubicBezTo>
                      <a:pt x="53" y="259"/>
                      <a:pt x="53" y="259"/>
                      <a:pt x="53" y="259"/>
                    </a:cubicBezTo>
                    <a:cubicBezTo>
                      <a:pt x="53" y="259"/>
                      <a:pt x="53" y="259"/>
                      <a:pt x="53" y="259"/>
                    </a:cubicBezTo>
                    <a:cubicBezTo>
                      <a:pt x="78" y="286"/>
                      <a:pt x="78" y="291"/>
                      <a:pt x="78" y="301"/>
                    </a:cubicBezTo>
                    <a:cubicBezTo>
                      <a:pt x="78" y="306"/>
                      <a:pt x="78" y="307"/>
                      <a:pt x="78" y="307"/>
                    </a:cubicBezTo>
                    <a:cubicBezTo>
                      <a:pt x="78" y="307"/>
                      <a:pt x="78" y="308"/>
                      <a:pt x="78" y="308"/>
                    </a:cubicBezTo>
                    <a:cubicBezTo>
                      <a:pt x="78" y="309"/>
                      <a:pt x="78" y="310"/>
                      <a:pt x="78" y="310"/>
                    </a:cubicBezTo>
                    <a:cubicBezTo>
                      <a:pt x="78" y="316"/>
                      <a:pt x="78" y="328"/>
                      <a:pt x="91" y="333"/>
                    </a:cubicBezTo>
                    <a:cubicBezTo>
                      <a:pt x="92" y="333"/>
                      <a:pt x="92" y="333"/>
                      <a:pt x="92" y="333"/>
                    </a:cubicBezTo>
                    <a:cubicBezTo>
                      <a:pt x="198" y="356"/>
                      <a:pt x="198" y="356"/>
                      <a:pt x="198" y="356"/>
                    </a:cubicBezTo>
                    <a:cubicBezTo>
                      <a:pt x="199" y="356"/>
                      <a:pt x="200" y="356"/>
                      <a:pt x="200" y="356"/>
                    </a:cubicBezTo>
                    <a:cubicBezTo>
                      <a:pt x="205" y="356"/>
                      <a:pt x="208" y="353"/>
                      <a:pt x="209" y="349"/>
                    </a:cubicBezTo>
                    <a:cubicBezTo>
                      <a:pt x="211" y="344"/>
                      <a:pt x="207" y="339"/>
                      <a:pt x="202" y="338"/>
                    </a:cubicBezTo>
                    <a:cubicBezTo>
                      <a:pt x="97" y="315"/>
                      <a:pt x="97" y="315"/>
                      <a:pt x="97" y="315"/>
                    </a:cubicBezTo>
                    <a:cubicBezTo>
                      <a:pt x="97" y="314"/>
                      <a:pt x="97" y="312"/>
                      <a:pt x="97" y="311"/>
                    </a:cubicBezTo>
                    <a:cubicBezTo>
                      <a:pt x="97" y="310"/>
                      <a:pt x="97" y="309"/>
                      <a:pt x="97" y="308"/>
                    </a:cubicBezTo>
                    <a:cubicBezTo>
                      <a:pt x="97" y="307"/>
                      <a:pt x="97" y="305"/>
                      <a:pt x="97" y="301"/>
                    </a:cubicBezTo>
                    <a:cubicBezTo>
                      <a:pt x="97" y="282"/>
                      <a:pt x="92" y="273"/>
                      <a:pt x="66" y="245"/>
                    </a:cubicBezTo>
                    <a:cubicBezTo>
                      <a:pt x="65" y="245"/>
                      <a:pt x="64" y="244"/>
                      <a:pt x="64" y="244"/>
                    </a:cubicBezTo>
                    <a:cubicBezTo>
                      <a:pt x="34" y="218"/>
                      <a:pt x="18" y="185"/>
                      <a:pt x="18" y="147"/>
                    </a:cubicBezTo>
                    <a:cubicBezTo>
                      <a:pt x="18" y="68"/>
                      <a:pt x="85" y="19"/>
                      <a:pt x="147" y="19"/>
                    </a:cubicBezTo>
                    <a:cubicBezTo>
                      <a:pt x="210" y="19"/>
                      <a:pt x="275" y="67"/>
                      <a:pt x="275" y="147"/>
                    </a:cubicBezTo>
                    <a:cubicBezTo>
                      <a:pt x="275" y="199"/>
                      <a:pt x="249" y="227"/>
                      <a:pt x="229" y="244"/>
                    </a:cubicBezTo>
                    <a:cubicBezTo>
                      <a:pt x="229" y="244"/>
                      <a:pt x="228" y="245"/>
                      <a:pt x="228" y="245"/>
                    </a:cubicBezTo>
                    <a:cubicBezTo>
                      <a:pt x="201" y="274"/>
                      <a:pt x="196" y="282"/>
                      <a:pt x="196" y="301"/>
                    </a:cubicBezTo>
                    <a:cubicBezTo>
                      <a:pt x="196" y="301"/>
                      <a:pt x="196" y="301"/>
                      <a:pt x="196" y="301"/>
                    </a:cubicBezTo>
                    <a:cubicBezTo>
                      <a:pt x="143" y="288"/>
                      <a:pt x="143" y="288"/>
                      <a:pt x="143" y="288"/>
                    </a:cubicBezTo>
                    <a:cubicBezTo>
                      <a:pt x="138" y="287"/>
                      <a:pt x="133" y="290"/>
                      <a:pt x="132" y="295"/>
                    </a:cubicBezTo>
                    <a:cubicBezTo>
                      <a:pt x="131" y="300"/>
                      <a:pt x="134" y="305"/>
                      <a:pt x="139" y="307"/>
                    </a:cubicBezTo>
                    <a:cubicBezTo>
                      <a:pt x="193" y="319"/>
                      <a:pt x="193" y="319"/>
                      <a:pt x="193" y="319"/>
                    </a:cubicBezTo>
                    <a:cubicBezTo>
                      <a:pt x="196" y="320"/>
                      <a:pt x="202" y="322"/>
                      <a:pt x="208" y="317"/>
                    </a:cubicBezTo>
                    <a:cubicBezTo>
                      <a:pt x="211" y="315"/>
                      <a:pt x="214" y="311"/>
                      <a:pt x="215" y="304"/>
                    </a:cubicBezTo>
                    <a:cubicBezTo>
                      <a:pt x="215" y="304"/>
                      <a:pt x="215" y="304"/>
                      <a:pt x="215" y="304"/>
                    </a:cubicBezTo>
                    <a:cubicBezTo>
                      <a:pt x="215" y="304"/>
                      <a:pt x="215" y="304"/>
                      <a:pt x="215" y="303"/>
                    </a:cubicBezTo>
                    <a:cubicBezTo>
                      <a:pt x="215" y="303"/>
                      <a:pt x="215" y="302"/>
                      <a:pt x="215" y="302"/>
                    </a:cubicBezTo>
                    <a:cubicBezTo>
                      <a:pt x="215" y="302"/>
                      <a:pt x="215" y="302"/>
                      <a:pt x="215" y="301"/>
                    </a:cubicBezTo>
                    <a:cubicBezTo>
                      <a:pt x="215" y="301"/>
                      <a:pt x="215" y="301"/>
                      <a:pt x="215" y="301"/>
                    </a:cubicBezTo>
                    <a:cubicBezTo>
                      <a:pt x="215" y="291"/>
                      <a:pt x="215" y="286"/>
                      <a:pt x="240" y="259"/>
                    </a:cubicBezTo>
                    <a:cubicBezTo>
                      <a:pt x="240" y="259"/>
                      <a:pt x="241" y="259"/>
                      <a:pt x="241" y="259"/>
                    </a:cubicBezTo>
                    <a:cubicBezTo>
                      <a:pt x="241" y="259"/>
                      <a:pt x="241" y="259"/>
                      <a:pt x="241" y="259"/>
                    </a:cubicBezTo>
                    <a:cubicBezTo>
                      <a:pt x="276" y="229"/>
                      <a:pt x="294" y="192"/>
                      <a:pt x="294" y="147"/>
                    </a:cubicBezTo>
                    <a:cubicBezTo>
                      <a:pt x="294" y="105"/>
                      <a:pt x="277" y="67"/>
                      <a:pt x="248" y="4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226"/>
              <p:cNvSpPr>
                <a:spLocks/>
              </p:cNvSpPr>
              <p:nvPr/>
            </p:nvSpPr>
            <p:spPr bwMode="auto">
              <a:xfrm>
                <a:off x="7281863" y="4065588"/>
                <a:ext cx="123825" cy="42863"/>
              </a:xfrm>
              <a:custGeom>
                <a:avLst/>
                <a:gdLst>
                  <a:gd name="T0" fmla="*/ 117 w 125"/>
                  <a:gd name="T1" fmla="*/ 25 h 43"/>
                  <a:gd name="T2" fmla="*/ 12 w 125"/>
                  <a:gd name="T3" fmla="*/ 1 h 43"/>
                  <a:gd name="T4" fmla="*/ 1 w 125"/>
                  <a:gd name="T5" fmla="*/ 8 h 43"/>
                  <a:gd name="T6" fmla="*/ 8 w 125"/>
                  <a:gd name="T7" fmla="*/ 19 h 43"/>
                  <a:gd name="T8" fmla="*/ 113 w 125"/>
                  <a:gd name="T9" fmla="*/ 43 h 43"/>
                  <a:gd name="T10" fmla="*/ 115 w 125"/>
                  <a:gd name="T11" fmla="*/ 43 h 43"/>
                  <a:gd name="T12" fmla="*/ 124 w 125"/>
                  <a:gd name="T13" fmla="*/ 36 h 43"/>
                  <a:gd name="T14" fmla="*/ 117 w 125"/>
                  <a:gd name="T15" fmla="*/ 25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5" h="43">
                    <a:moveTo>
                      <a:pt x="117" y="25"/>
                    </a:moveTo>
                    <a:cubicBezTo>
                      <a:pt x="12" y="1"/>
                      <a:pt x="12" y="1"/>
                      <a:pt x="12" y="1"/>
                    </a:cubicBezTo>
                    <a:cubicBezTo>
                      <a:pt x="7" y="0"/>
                      <a:pt x="2" y="3"/>
                      <a:pt x="1" y="8"/>
                    </a:cubicBezTo>
                    <a:cubicBezTo>
                      <a:pt x="0" y="13"/>
                      <a:pt x="3" y="18"/>
                      <a:pt x="8" y="19"/>
                    </a:cubicBezTo>
                    <a:cubicBezTo>
                      <a:pt x="113" y="43"/>
                      <a:pt x="113" y="43"/>
                      <a:pt x="113" y="43"/>
                    </a:cubicBezTo>
                    <a:cubicBezTo>
                      <a:pt x="114" y="43"/>
                      <a:pt x="114" y="43"/>
                      <a:pt x="115" y="43"/>
                    </a:cubicBezTo>
                    <a:cubicBezTo>
                      <a:pt x="119" y="43"/>
                      <a:pt x="123" y="40"/>
                      <a:pt x="124" y="36"/>
                    </a:cubicBezTo>
                    <a:cubicBezTo>
                      <a:pt x="125" y="31"/>
                      <a:pt x="122" y="26"/>
                      <a:pt x="117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27"/>
              <p:cNvSpPr>
                <a:spLocks/>
              </p:cNvSpPr>
              <p:nvPr/>
            </p:nvSpPr>
            <p:spPr bwMode="auto">
              <a:xfrm>
                <a:off x="7288213" y="4102100"/>
                <a:ext cx="104775" cy="39688"/>
              </a:xfrm>
              <a:custGeom>
                <a:avLst/>
                <a:gdLst>
                  <a:gd name="T0" fmla="*/ 98 w 106"/>
                  <a:gd name="T1" fmla="*/ 20 h 39"/>
                  <a:gd name="T2" fmla="*/ 13 w 106"/>
                  <a:gd name="T3" fmla="*/ 1 h 39"/>
                  <a:gd name="T4" fmla="*/ 2 w 106"/>
                  <a:gd name="T5" fmla="*/ 8 h 39"/>
                  <a:gd name="T6" fmla="*/ 9 w 106"/>
                  <a:gd name="T7" fmla="*/ 19 h 39"/>
                  <a:gd name="T8" fmla="*/ 94 w 106"/>
                  <a:gd name="T9" fmla="*/ 39 h 39"/>
                  <a:gd name="T10" fmla="*/ 96 w 106"/>
                  <a:gd name="T11" fmla="*/ 39 h 39"/>
                  <a:gd name="T12" fmla="*/ 105 w 106"/>
                  <a:gd name="T13" fmla="*/ 31 h 39"/>
                  <a:gd name="T14" fmla="*/ 98 w 106"/>
                  <a:gd name="T15" fmla="*/ 2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6" h="39">
                    <a:moveTo>
                      <a:pt x="98" y="20"/>
                    </a:moveTo>
                    <a:cubicBezTo>
                      <a:pt x="13" y="1"/>
                      <a:pt x="13" y="1"/>
                      <a:pt x="13" y="1"/>
                    </a:cubicBezTo>
                    <a:cubicBezTo>
                      <a:pt x="8" y="0"/>
                      <a:pt x="3" y="3"/>
                      <a:pt x="2" y="8"/>
                    </a:cubicBezTo>
                    <a:cubicBezTo>
                      <a:pt x="0" y="13"/>
                      <a:pt x="4" y="18"/>
                      <a:pt x="9" y="19"/>
                    </a:cubicBezTo>
                    <a:cubicBezTo>
                      <a:pt x="94" y="39"/>
                      <a:pt x="94" y="39"/>
                      <a:pt x="94" y="39"/>
                    </a:cubicBezTo>
                    <a:cubicBezTo>
                      <a:pt x="95" y="39"/>
                      <a:pt x="95" y="39"/>
                      <a:pt x="96" y="39"/>
                    </a:cubicBezTo>
                    <a:cubicBezTo>
                      <a:pt x="100" y="39"/>
                      <a:pt x="104" y="36"/>
                      <a:pt x="105" y="31"/>
                    </a:cubicBezTo>
                    <a:cubicBezTo>
                      <a:pt x="106" y="26"/>
                      <a:pt x="103" y="21"/>
                      <a:pt x="98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6921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Principais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ontos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Pentagon 3"/>
          <p:cNvSpPr/>
          <p:nvPr/>
        </p:nvSpPr>
        <p:spPr>
          <a:xfrm rot="10800000">
            <a:off x="5934898" y="1555142"/>
            <a:ext cx="2613789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5" name="Pentagon 4"/>
          <p:cNvSpPr/>
          <p:nvPr/>
        </p:nvSpPr>
        <p:spPr>
          <a:xfrm rot="10800000">
            <a:off x="5934898" y="2567922"/>
            <a:ext cx="2613789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6" name="Pentagon 5"/>
          <p:cNvSpPr/>
          <p:nvPr/>
        </p:nvSpPr>
        <p:spPr>
          <a:xfrm rot="10800000">
            <a:off x="5934898" y="3583673"/>
            <a:ext cx="2613789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618269" y="3660143"/>
            <a:ext cx="416162" cy="263943"/>
          </a:xfrm>
          <a:prstGeom prst="line">
            <a:avLst/>
          </a:prstGeom>
          <a:ln w="19050">
            <a:noFil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H="1" flipV="1">
            <a:off x="5099011" y="3660143"/>
            <a:ext cx="416162" cy="263943"/>
          </a:xfrm>
          <a:prstGeom prst="line">
            <a:avLst/>
          </a:prstGeom>
          <a:ln w="19050">
            <a:noFil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reeform 24"/>
          <p:cNvSpPr>
            <a:spLocks noEditPoints="1"/>
          </p:cNvSpPr>
          <p:nvPr/>
        </p:nvSpPr>
        <p:spPr bwMode="auto">
          <a:xfrm>
            <a:off x="6310997" y="2768123"/>
            <a:ext cx="307770" cy="307770"/>
          </a:xfrm>
          <a:custGeom>
            <a:avLst/>
            <a:gdLst>
              <a:gd name="T0" fmla="*/ 321 w 353"/>
              <a:gd name="T1" fmla="*/ 0 h 353"/>
              <a:gd name="T2" fmla="*/ 32 w 353"/>
              <a:gd name="T3" fmla="*/ 0 h 353"/>
              <a:gd name="T4" fmla="*/ 0 w 353"/>
              <a:gd name="T5" fmla="*/ 32 h 353"/>
              <a:gd name="T6" fmla="*/ 0 w 353"/>
              <a:gd name="T7" fmla="*/ 273 h 353"/>
              <a:gd name="T8" fmla="*/ 32 w 353"/>
              <a:gd name="T9" fmla="*/ 305 h 353"/>
              <a:gd name="T10" fmla="*/ 144 w 353"/>
              <a:gd name="T11" fmla="*/ 305 h 353"/>
              <a:gd name="T12" fmla="*/ 144 w 353"/>
              <a:gd name="T13" fmla="*/ 337 h 353"/>
              <a:gd name="T14" fmla="*/ 120 w 353"/>
              <a:gd name="T15" fmla="*/ 337 h 353"/>
              <a:gd name="T16" fmla="*/ 112 w 353"/>
              <a:gd name="T17" fmla="*/ 345 h 353"/>
              <a:gd name="T18" fmla="*/ 120 w 353"/>
              <a:gd name="T19" fmla="*/ 353 h 353"/>
              <a:gd name="T20" fmla="*/ 233 w 353"/>
              <a:gd name="T21" fmla="*/ 353 h 353"/>
              <a:gd name="T22" fmla="*/ 241 w 353"/>
              <a:gd name="T23" fmla="*/ 345 h 353"/>
              <a:gd name="T24" fmla="*/ 233 w 353"/>
              <a:gd name="T25" fmla="*/ 337 h 353"/>
              <a:gd name="T26" fmla="*/ 209 w 353"/>
              <a:gd name="T27" fmla="*/ 337 h 353"/>
              <a:gd name="T28" fmla="*/ 209 w 353"/>
              <a:gd name="T29" fmla="*/ 305 h 353"/>
              <a:gd name="T30" fmla="*/ 321 w 353"/>
              <a:gd name="T31" fmla="*/ 305 h 353"/>
              <a:gd name="T32" fmla="*/ 353 w 353"/>
              <a:gd name="T33" fmla="*/ 273 h 353"/>
              <a:gd name="T34" fmla="*/ 353 w 353"/>
              <a:gd name="T35" fmla="*/ 32 h 353"/>
              <a:gd name="T36" fmla="*/ 321 w 353"/>
              <a:gd name="T37" fmla="*/ 0 h 353"/>
              <a:gd name="T38" fmla="*/ 193 w 353"/>
              <a:gd name="T39" fmla="*/ 337 h 353"/>
              <a:gd name="T40" fmla="*/ 160 w 353"/>
              <a:gd name="T41" fmla="*/ 337 h 353"/>
              <a:gd name="T42" fmla="*/ 160 w 353"/>
              <a:gd name="T43" fmla="*/ 305 h 353"/>
              <a:gd name="T44" fmla="*/ 193 w 353"/>
              <a:gd name="T45" fmla="*/ 305 h 353"/>
              <a:gd name="T46" fmla="*/ 193 w 353"/>
              <a:gd name="T47" fmla="*/ 337 h 353"/>
              <a:gd name="T48" fmla="*/ 337 w 353"/>
              <a:gd name="T49" fmla="*/ 273 h 353"/>
              <a:gd name="T50" fmla="*/ 321 w 353"/>
              <a:gd name="T51" fmla="*/ 289 h 353"/>
              <a:gd name="T52" fmla="*/ 32 w 353"/>
              <a:gd name="T53" fmla="*/ 289 h 353"/>
              <a:gd name="T54" fmla="*/ 16 w 353"/>
              <a:gd name="T55" fmla="*/ 273 h 353"/>
              <a:gd name="T56" fmla="*/ 16 w 353"/>
              <a:gd name="T57" fmla="*/ 257 h 353"/>
              <a:gd name="T58" fmla="*/ 337 w 353"/>
              <a:gd name="T59" fmla="*/ 257 h 353"/>
              <a:gd name="T60" fmla="*/ 337 w 353"/>
              <a:gd name="T61" fmla="*/ 273 h 353"/>
              <a:gd name="T62" fmla="*/ 337 w 353"/>
              <a:gd name="T63" fmla="*/ 241 h 353"/>
              <a:gd name="T64" fmla="*/ 16 w 353"/>
              <a:gd name="T65" fmla="*/ 241 h 353"/>
              <a:gd name="T66" fmla="*/ 16 w 353"/>
              <a:gd name="T67" fmla="*/ 32 h 353"/>
              <a:gd name="T68" fmla="*/ 32 w 353"/>
              <a:gd name="T69" fmla="*/ 16 h 353"/>
              <a:gd name="T70" fmla="*/ 321 w 353"/>
              <a:gd name="T71" fmla="*/ 16 h 353"/>
              <a:gd name="T72" fmla="*/ 337 w 353"/>
              <a:gd name="T73" fmla="*/ 32 h 353"/>
              <a:gd name="T74" fmla="*/ 337 w 353"/>
              <a:gd name="T75" fmla="*/ 241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3" h="353">
                <a:moveTo>
                  <a:pt x="321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273"/>
                  <a:pt x="0" y="273"/>
                  <a:pt x="0" y="273"/>
                </a:cubicBezTo>
                <a:cubicBezTo>
                  <a:pt x="0" y="291"/>
                  <a:pt x="14" y="305"/>
                  <a:pt x="32" y="305"/>
                </a:cubicBezTo>
                <a:cubicBezTo>
                  <a:pt x="144" y="305"/>
                  <a:pt x="144" y="305"/>
                  <a:pt x="144" y="305"/>
                </a:cubicBezTo>
                <a:cubicBezTo>
                  <a:pt x="144" y="337"/>
                  <a:pt x="144" y="337"/>
                  <a:pt x="144" y="337"/>
                </a:cubicBezTo>
                <a:cubicBezTo>
                  <a:pt x="120" y="337"/>
                  <a:pt x="120" y="337"/>
                  <a:pt x="120" y="337"/>
                </a:cubicBezTo>
                <a:cubicBezTo>
                  <a:pt x="116" y="337"/>
                  <a:pt x="112" y="341"/>
                  <a:pt x="112" y="345"/>
                </a:cubicBezTo>
                <a:cubicBezTo>
                  <a:pt x="112" y="350"/>
                  <a:pt x="116" y="353"/>
                  <a:pt x="120" y="353"/>
                </a:cubicBezTo>
                <a:cubicBezTo>
                  <a:pt x="233" y="353"/>
                  <a:pt x="233" y="353"/>
                  <a:pt x="233" y="353"/>
                </a:cubicBezTo>
                <a:cubicBezTo>
                  <a:pt x="237" y="353"/>
                  <a:pt x="241" y="350"/>
                  <a:pt x="241" y="345"/>
                </a:cubicBezTo>
                <a:cubicBezTo>
                  <a:pt x="241" y="341"/>
                  <a:pt x="237" y="337"/>
                  <a:pt x="233" y="337"/>
                </a:cubicBezTo>
                <a:cubicBezTo>
                  <a:pt x="209" y="337"/>
                  <a:pt x="209" y="337"/>
                  <a:pt x="209" y="337"/>
                </a:cubicBezTo>
                <a:cubicBezTo>
                  <a:pt x="209" y="305"/>
                  <a:pt x="209" y="305"/>
                  <a:pt x="209" y="305"/>
                </a:cubicBezTo>
                <a:cubicBezTo>
                  <a:pt x="321" y="305"/>
                  <a:pt x="321" y="305"/>
                  <a:pt x="321" y="305"/>
                </a:cubicBezTo>
                <a:cubicBezTo>
                  <a:pt x="339" y="305"/>
                  <a:pt x="353" y="291"/>
                  <a:pt x="353" y="273"/>
                </a:cubicBezTo>
                <a:cubicBezTo>
                  <a:pt x="353" y="32"/>
                  <a:pt x="353" y="32"/>
                  <a:pt x="353" y="32"/>
                </a:cubicBezTo>
                <a:cubicBezTo>
                  <a:pt x="353" y="14"/>
                  <a:pt x="339" y="0"/>
                  <a:pt x="321" y="0"/>
                </a:cubicBezTo>
                <a:moveTo>
                  <a:pt x="193" y="337"/>
                </a:moveTo>
                <a:cubicBezTo>
                  <a:pt x="160" y="337"/>
                  <a:pt x="160" y="337"/>
                  <a:pt x="160" y="337"/>
                </a:cubicBezTo>
                <a:cubicBezTo>
                  <a:pt x="160" y="305"/>
                  <a:pt x="160" y="305"/>
                  <a:pt x="160" y="305"/>
                </a:cubicBezTo>
                <a:cubicBezTo>
                  <a:pt x="193" y="305"/>
                  <a:pt x="193" y="305"/>
                  <a:pt x="193" y="305"/>
                </a:cubicBezTo>
                <a:lnTo>
                  <a:pt x="193" y="337"/>
                </a:lnTo>
                <a:close/>
                <a:moveTo>
                  <a:pt x="337" y="273"/>
                </a:moveTo>
                <a:cubicBezTo>
                  <a:pt x="337" y="282"/>
                  <a:pt x="330" y="289"/>
                  <a:pt x="321" y="289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3" y="289"/>
                  <a:pt x="16" y="282"/>
                  <a:pt x="16" y="273"/>
                </a:cubicBezTo>
                <a:cubicBezTo>
                  <a:pt x="16" y="257"/>
                  <a:pt x="16" y="257"/>
                  <a:pt x="16" y="257"/>
                </a:cubicBezTo>
                <a:cubicBezTo>
                  <a:pt x="337" y="257"/>
                  <a:pt x="337" y="257"/>
                  <a:pt x="337" y="257"/>
                </a:cubicBezTo>
                <a:lnTo>
                  <a:pt x="337" y="273"/>
                </a:lnTo>
                <a:close/>
                <a:moveTo>
                  <a:pt x="337" y="241"/>
                </a:moveTo>
                <a:cubicBezTo>
                  <a:pt x="16" y="241"/>
                  <a:pt x="16" y="241"/>
                  <a:pt x="16" y="241"/>
                </a:cubicBezTo>
                <a:cubicBezTo>
                  <a:pt x="16" y="32"/>
                  <a:pt x="16" y="32"/>
                  <a:pt x="16" y="32"/>
                </a:cubicBezTo>
                <a:cubicBezTo>
                  <a:pt x="16" y="23"/>
                  <a:pt x="23" y="16"/>
                  <a:pt x="32" y="16"/>
                </a:cubicBezTo>
                <a:cubicBezTo>
                  <a:pt x="321" y="16"/>
                  <a:pt x="321" y="16"/>
                  <a:pt x="321" y="16"/>
                </a:cubicBezTo>
                <a:cubicBezTo>
                  <a:pt x="330" y="16"/>
                  <a:pt x="337" y="23"/>
                  <a:pt x="337" y="32"/>
                </a:cubicBezTo>
                <a:lnTo>
                  <a:pt x="337" y="2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2" name="Freeform 76"/>
          <p:cNvSpPr>
            <a:spLocks noEditPoints="1"/>
          </p:cNvSpPr>
          <p:nvPr/>
        </p:nvSpPr>
        <p:spPr bwMode="auto">
          <a:xfrm>
            <a:off x="6311561" y="1755343"/>
            <a:ext cx="306642" cy="307770"/>
          </a:xfrm>
          <a:custGeom>
            <a:avLst/>
            <a:gdLst>
              <a:gd name="T0" fmla="*/ 72 w 353"/>
              <a:gd name="T1" fmla="*/ 49 h 354"/>
              <a:gd name="T2" fmla="*/ 48 w 353"/>
              <a:gd name="T3" fmla="*/ 73 h 354"/>
              <a:gd name="T4" fmla="*/ 72 w 353"/>
              <a:gd name="T5" fmla="*/ 97 h 354"/>
              <a:gd name="T6" fmla="*/ 96 w 353"/>
              <a:gd name="T7" fmla="*/ 73 h 354"/>
              <a:gd name="T8" fmla="*/ 72 w 353"/>
              <a:gd name="T9" fmla="*/ 49 h 354"/>
              <a:gd name="T10" fmla="*/ 72 w 353"/>
              <a:gd name="T11" fmla="*/ 81 h 354"/>
              <a:gd name="T12" fmla="*/ 64 w 353"/>
              <a:gd name="T13" fmla="*/ 73 h 354"/>
              <a:gd name="T14" fmla="*/ 72 w 353"/>
              <a:gd name="T15" fmla="*/ 65 h 354"/>
              <a:gd name="T16" fmla="*/ 80 w 353"/>
              <a:gd name="T17" fmla="*/ 73 h 354"/>
              <a:gd name="T18" fmla="*/ 72 w 353"/>
              <a:gd name="T19" fmla="*/ 81 h 354"/>
              <a:gd name="T20" fmla="*/ 192 w 353"/>
              <a:gd name="T21" fmla="*/ 217 h 354"/>
              <a:gd name="T22" fmla="*/ 198 w 353"/>
              <a:gd name="T23" fmla="*/ 215 h 354"/>
              <a:gd name="T24" fmla="*/ 230 w 353"/>
              <a:gd name="T25" fmla="*/ 183 h 354"/>
              <a:gd name="T26" fmla="*/ 232 w 353"/>
              <a:gd name="T27" fmla="*/ 177 h 354"/>
              <a:gd name="T28" fmla="*/ 224 w 353"/>
              <a:gd name="T29" fmla="*/ 169 h 354"/>
              <a:gd name="T30" fmla="*/ 219 w 353"/>
              <a:gd name="T31" fmla="*/ 171 h 354"/>
              <a:gd name="T32" fmla="*/ 187 w 353"/>
              <a:gd name="T33" fmla="*/ 203 h 354"/>
              <a:gd name="T34" fmla="*/ 184 w 353"/>
              <a:gd name="T35" fmla="*/ 209 h 354"/>
              <a:gd name="T36" fmla="*/ 192 w 353"/>
              <a:gd name="T37" fmla="*/ 217 h 354"/>
              <a:gd name="T38" fmla="*/ 350 w 353"/>
              <a:gd name="T39" fmla="*/ 179 h 354"/>
              <a:gd name="T40" fmla="*/ 174 w 353"/>
              <a:gd name="T41" fmla="*/ 3 h 354"/>
              <a:gd name="T42" fmla="*/ 168 w 353"/>
              <a:gd name="T43" fmla="*/ 0 h 354"/>
              <a:gd name="T44" fmla="*/ 24 w 353"/>
              <a:gd name="T45" fmla="*/ 0 h 354"/>
              <a:gd name="T46" fmla="*/ 0 w 353"/>
              <a:gd name="T47" fmla="*/ 25 h 354"/>
              <a:gd name="T48" fmla="*/ 0 w 353"/>
              <a:gd name="T49" fmla="*/ 169 h 354"/>
              <a:gd name="T50" fmla="*/ 2 w 353"/>
              <a:gd name="T51" fmla="*/ 175 h 354"/>
              <a:gd name="T52" fmla="*/ 179 w 353"/>
              <a:gd name="T53" fmla="*/ 351 h 354"/>
              <a:gd name="T54" fmla="*/ 184 w 353"/>
              <a:gd name="T55" fmla="*/ 354 h 354"/>
              <a:gd name="T56" fmla="*/ 190 w 353"/>
              <a:gd name="T57" fmla="*/ 351 h 354"/>
              <a:gd name="T58" fmla="*/ 350 w 353"/>
              <a:gd name="T59" fmla="*/ 191 h 354"/>
              <a:gd name="T60" fmla="*/ 353 w 353"/>
              <a:gd name="T61" fmla="*/ 185 h 354"/>
              <a:gd name="T62" fmla="*/ 350 w 353"/>
              <a:gd name="T63" fmla="*/ 179 h 354"/>
              <a:gd name="T64" fmla="*/ 184 w 353"/>
              <a:gd name="T65" fmla="*/ 334 h 354"/>
              <a:gd name="T66" fmla="*/ 16 w 353"/>
              <a:gd name="T67" fmla="*/ 166 h 354"/>
              <a:gd name="T68" fmla="*/ 16 w 353"/>
              <a:gd name="T69" fmla="*/ 25 h 354"/>
              <a:gd name="T70" fmla="*/ 24 w 353"/>
              <a:gd name="T71" fmla="*/ 16 h 354"/>
              <a:gd name="T72" fmla="*/ 165 w 353"/>
              <a:gd name="T73" fmla="*/ 16 h 354"/>
              <a:gd name="T74" fmla="*/ 333 w 353"/>
              <a:gd name="T75" fmla="*/ 185 h 354"/>
              <a:gd name="T76" fmla="*/ 184 w 353"/>
              <a:gd name="T77" fmla="*/ 334 h 354"/>
              <a:gd name="T78" fmla="*/ 146 w 353"/>
              <a:gd name="T79" fmla="*/ 244 h 354"/>
              <a:gd name="T80" fmla="*/ 144 w 353"/>
              <a:gd name="T81" fmla="*/ 249 h 354"/>
              <a:gd name="T82" fmla="*/ 152 w 353"/>
              <a:gd name="T83" fmla="*/ 257 h 354"/>
              <a:gd name="T84" fmla="*/ 158 w 353"/>
              <a:gd name="T85" fmla="*/ 255 h 354"/>
              <a:gd name="T86" fmla="*/ 174 w 353"/>
              <a:gd name="T87" fmla="*/ 239 h 354"/>
              <a:gd name="T88" fmla="*/ 176 w 353"/>
              <a:gd name="T89" fmla="*/ 233 h 354"/>
              <a:gd name="T90" fmla="*/ 168 w 353"/>
              <a:gd name="T91" fmla="*/ 225 h 354"/>
              <a:gd name="T92" fmla="*/ 162 w 353"/>
              <a:gd name="T93" fmla="*/ 228 h 354"/>
              <a:gd name="T94" fmla="*/ 146 w 353"/>
              <a:gd name="T95" fmla="*/ 244 h 354"/>
              <a:gd name="T96" fmla="*/ 184 w 353"/>
              <a:gd name="T97" fmla="*/ 289 h 354"/>
              <a:gd name="T98" fmla="*/ 190 w 353"/>
              <a:gd name="T99" fmla="*/ 287 h 354"/>
              <a:gd name="T100" fmla="*/ 238 w 353"/>
              <a:gd name="T101" fmla="*/ 239 h 354"/>
              <a:gd name="T102" fmla="*/ 240 w 353"/>
              <a:gd name="T103" fmla="*/ 233 h 354"/>
              <a:gd name="T104" fmla="*/ 232 w 353"/>
              <a:gd name="T105" fmla="*/ 225 h 354"/>
              <a:gd name="T106" fmla="*/ 227 w 353"/>
              <a:gd name="T107" fmla="*/ 228 h 354"/>
              <a:gd name="T108" fmla="*/ 179 w 353"/>
              <a:gd name="T109" fmla="*/ 276 h 354"/>
              <a:gd name="T110" fmla="*/ 176 w 353"/>
              <a:gd name="T111" fmla="*/ 281 h 354"/>
              <a:gd name="T112" fmla="*/ 184 w 353"/>
              <a:gd name="T113" fmla="*/ 289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53" h="354">
                <a:moveTo>
                  <a:pt x="72" y="49"/>
                </a:moveTo>
                <a:cubicBezTo>
                  <a:pt x="59" y="49"/>
                  <a:pt x="48" y="59"/>
                  <a:pt x="48" y="73"/>
                </a:cubicBezTo>
                <a:cubicBezTo>
                  <a:pt x="48" y="86"/>
                  <a:pt x="59" y="97"/>
                  <a:pt x="72" y="97"/>
                </a:cubicBezTo>
                <a:cubicBezTo>
                  <a:pt x="85" y="97"/>
                  <a:pt x="96" y="86"/>
                  <a:pt x="96" y="73"/>
                </a:cubicBezTo>
                <a:cubicBezTo>
                  <a:pt x="96" y="59"/>
                  <a:pt x="85" y="49"/>
                  <a:pt x="72" y="49"/>
                </a:cubicBezTo>
                <a:moveTo>
                  <a:pt x="72" y="81"/>
                </a:moveTo>
                <a:cubicBezTo>
                  <a:pt x="67" y="81"/>
                  <a:pt x="64" y="77"/>
                  <a:pt x="64" y="73"/>
                </a:cubicBezTo>
                <a:cubicBezTo>
                  <a:pt x="64" y="68"/>
                  <a:pt x="67" y="65"/>
                  <a:pt x="72" y="65"/>
                </a:cubicBezTo>
                <a:cubicBezTo>
                  <a:pt x="76" y="65"/>
                  <a:pt x="80" y="68"/>
                  <a:pt x="80" y="73"/>
                </a:cubicBezTo>
                <a:cubicBezTo>
                  <a:pt x="80" y="77"/>
                  <a:pt x="76" y="81"/>
                  <a:pt x="72" y="81"/>
                </a:cubicBezTo>
                <a:moveTo>
                  <a:pt x="192" y="217"/>
                </a:moveTo>
                <a:cubicBezTo>
                  <a:pt x="194" y="217"/>
                  <a:pt x="196" y="216"/>
                  <a:pt x="198" y="215"/>
                </a:cubicBezTo>
                <a:cubicBezTo>
                  <a:pt x="230" y="183"/>
                  <a:pt x="230" y="183"/>
                  <a:pt x="230" y="183"/>
                </a:cubicBezTo>
                <a:cubicBezTo>
                  <a:pt x="231" y="181"/>
                  <a:pt x="232" y="179"/>
                  <a:pt x="232" y="177"/>
                </a:cubicBezTo>
                <a:cubicBezTo>
                  <a:pt x="232" y="173"/>
                  <a:pt x="229" y="169"/>
                  <a:pt x="224" y="169"/>
                </a:cubicBezTo>
                <a:cubicBezTo>
                  <a:pt x="222" y="169"/>
                  <a:pt x="220" y="170"/>
                  <a:pt x="219" y="171"/>
                </a:cubicBezTo>
                <a:cubicBezTo>
                  <a:pt x="187" y="203"/>
                  <a:pt x="187" y="203"/>
                  <a:pt x="187" y="203"/>
                </a:cubicBezTo>
                <a:cubicBezTo>
                  <a:pt x="185" y="205"/>
                  <a:pt x="184" y="207"/>
                  <a:pt x="184" y="209"/>
                </a:cubicBezTo>
                <a:cubicBezTo>
                  <a:pt x="184" y="214"/>
                  <a:pt x="188" y="217"/>
                  <a:pt x="192" y="217"/>
                </a:cubicBezTo>
                <a:moveTo>
                  <a:pt x="350" y="179"/>
                </a:moveTo>
                <a:cubicBezTo>
                  <a:pt x="174" y="3"/>
                  <a:pt x="174" y="3"/>
                  <a:pt x="174" y="3"/>
                </a:cubicBezTo>
                <a:cubicBezTo>
                  <a:pt x="172" y="1"/>
                  <a:pt x="170" y="0"/>
                  <a:pt x="168" y="0"/>
                </a:cubicBezTo>
                <a:cubicBezTo>
                  <a:pt x="24" y="0"/>
                  <a:pt x="24" y="0"/>
                  <a:pt x="24" y="0"/>
                </a:cubicBezTo>
                <a:cubicBezTo>
                  <a:pt x="10" y="0"/>
                  <a:pt x="0" y="11"/>
                  <a:pt x="0" y="25"/>
                </a:cubicBezTo>
                <a:cubicBezTo>
                  <a:pt x="0" y="169"/>
                  <a:pt x="0" y="169"/>
                  <a:pt x="0" y="169"/>
                </a:cubicBezTo>
                <a:cubicBezTo>
                  <a:pt x="0" y="171"/>
                  <a:pt x="0" y="173"/>
                  <a:pt x="2" y="175"/>
                </a:cubicBezTo>
                <a:cubicBezTo>
                  <a:pt x="179" y="351"/>
                  <a:pt x="179" y="351"/>
                  <a:pt x="179" y="351"/>
                </a:cubicBezTo>
                <a:cubicBezTo>
                  <a:pt x="180" y="353"/>
                  <a:pt x="182" y="354"/>
                  <a:pt x="184" y="354"/>
                </a:cubicBezTo>
                <a:cubicBezTo>
                  <a:pt x="186" y="354"/>
                  <a:pt x="188" y="353"/>
                  <a:pt x="190" y="351"/>
                </a:cubicBezTo>
                <a:cubicBezTo>
                  <a:pt x="350" y="191"/>
                  <a:pt x="350" y="191"/>
                  <a:pt x="350" y="191"/>
                </a:cubicBezTo>
                <a:cubicBezTo>
                  <a:pt x="352" y="189"/>
                  <a:pt x="353" y="187"/>
                  <a:pt x="353" y="185"/>
                </a:cubicBezTo>
                <a:cubicBezTo>
                  <a:pt x="353" y="183"/>
                  <a:pt x="352" y="181"/>
                  <a:pt x="350" y="179"/>
                </a:cubicBezTo>
                <a:moveTo>
                  <a:pt x="184" y="334"/>
                </a:moveTo>
                <a:cubicBezTo>
                  <a:pt x="16" y="166"/>
                  <a:pt x="16" y="166"/>
                  <a:pt x="16" y="166"/>
                </a:cubicBezTo>
                <a:cubicBezTo>
                  <a:pt x="16" y="25"/>
                  <a:pt x="16" y="25"/>
                  <a:pt x="16" y="25"/>
                </a:cubicBezTo>
                <a:cubicBezTo>
                  <a:pt x="16" y="20"/>
                  <a:pt x="19" y="16"/>
                  <a:pt x="24" y="16"/>
                </a:cubicBezTo>
                <a:cubicBezTo>
                  <a:pt x="165" y="16"/>
                  <a:pt x="165" y="16"/>
                  <a:pt x="165" y="16"/>
                </a:cubicBezTo>
                <a:cubicBezTo>
                  <a:pt x="333" y="185"/>
                  <a:pt x="333" y="185"/>
                  <a:pt x="333" y="185"/>
                </a:cubicBezTo>
                <a:lnTo>
                  <a:pt x="184" y="334"/>
                </a:lnTo>
                <a:close/>
                <a:moveTo>
                  <a:pt x="146" y="244"/>
                </a:moveTo>
                <a:cubicBezTo>
                  <a:pt x="145" y="245"/>
                  <a:pt x="144" y="247"/>
                  <a:pt x="144" y="249"/>
                </a:cubicBezTo>
                <a:cubicBezTo>
                  <a:pt x="144" y="254"/>
                  <a:pt x="148" y="257"/>
                  <a:pt x="152" y="257"/>
                </a:cubicBezTo>
                <a:cubicBezTo>
                  <a:pt x="154" y="257"/>
                  <a:pt x="156" y="256"/>
                  <a:pt x="158" y="255"/>
                </a:cubicBezTo>
                <a:cubicBezTo>
                  <a:pt x="174" y="239"/>
                  <a:pt x="174" y="239"/>
                  <a:pt x="174" y="239"/>
                </a:cubicBezTo>
                <a:cubicBezTo>
                  <a:pt x="175" y="237"/>
                  <a:pt x="176" y="235"/>
                  <a:pt x="176" y="233"/>
                </a:cubicBezTo>
                <a:cubicBezTo>
                  <a:pt x="176" y="229"/>
                  <a:pt x="173" y="225"/>
                  <a:pt x="168" y="225"/>
                </a:cubicBezTo>
                <a:cubicBezTo>
                  <a:pt x="166" y="225"/>
                  <a:pt x="164" y="226"/>
                  <a:pt x="162" y="228"/>
                </a:cubicBezTo>
                <a:lnTo>
                  <a:pt x="146" y="244"/>
                </a:lnTo>
                <a:close/>
                <a:moveTo>
                  <a:pt x="184" y="289"/>
                </a:moveTo>
                <a:cubicBezTo>
                  <a:pt x="186" y="289"/>
                  <a:pt x="188" y="289"/>
                  <a:pt x="190" y="287"/>
                </a:cubicBezTo>
                <a:cubicBezTo>
                  <a:pt x="238" y="239"/>
                  <a:pt x="238" y="239"/>
                  <a:pt x="238" y="239"/>
                </a:cubicBezTo>
                <a:cubicBezTo>
                  <a:pt x="239" y="237"/>
                  <a:pt x="240" y="235"/>
                  <a:pt x="240" y="233"/>
                </a:cubicBezTo>
                <a:cubicBezTo>
                  <a:pt x="240" y="229"/>
                  <a:pt x="237" y="225"/>
                  <a:pt x="232" y="225"/>
                </a:cubicBezTo>
                <a:cubicBezTo>
                  <a:pt x="230" y="225"/>
                  <a:pt x="228" y="226"/>
                  <a:pt x="227" y="228"/>
                </a:cubicBezTo>
                <a:cubicBezTo>
                  <a:pt x="179" y="276"/>
                  <a:pt x="179" y="276"/>
                  <a:pt x="179" y="276"/>
                </a:cubicBezTo>
                <a:cubicBezTo>
                  <a:pt x="177" y="277"/>
                  <a:pt x="176" y="279"/>
                  <a:pt x="176" y="281"/>
                </a:cubicBezTo>
                <a:cubicBezTo>
                  <a:pt x="176" y="286"/>
                  <a:pt x="180" y="289"/>
                  <a:pt x="184" y="289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3" name="Freeform 110"/>
          <p:cNvSpPr>
            <a:spLocks noEditPoints="1"/>
          </p:cNvSpPr>
          <p:nvPr/>
        </p:nvSpPr>
        <p:spPr bwMode="auto">
          <a:xfrm>
            <a:off x="6311561" y="3812058"/>
            <a:ext cx="306642" cy="251402"/>
          </a:xfrm>
          <a:custGeom>
            <a:avLst/>
            <a:gdLst>
              <a:gd name="T0" fmla="*/ 68 w 353"/>
              <a:gd name="T1" fmla="*/ 173 h 289"/>
              <a:gd name="T2" fmla="*/ 55 w 353"/>
              <a:gd name="T3" fmla="*/ 131 h 289"/>
              <a:gd name="T4" fmla="*/ 55 w 353"/>
              <a:gd name="T5" fmla="*/ 117 h 289"/>
              <a:gd name="T6" fmla="*/ 49 w 353"/>
              <a:gd name="T7" fmla="*/ 75 h 289"/>
              <a:gd name="T8" fmla="*/ 69 w 353"/>
              <a:gd name="T9" fmla="*/ 52 h 289"/>
              <a:gd name="T10" fmla="*/ 98 w 353"/>
              <a:gd name="T11" fmla="*/ 50 h 289"/>
              <a:gd name="T12" fmla="*/ 103 w 353"/>
              <a:gd name="T13" fmla="*/ 35 h 289"/>
              <a:gd name="T14" fmla="*/ 61 w 353"/>
              <a:gd name="T15" fmla="*/ 39 h 289"/>
              <a:gd name="T16" fmla="*/ 40 w 353"/>
              <a:gd name="T17" fmla="*/ 113 h 289"/>
              <a:gd name="T18" fmla="*/ 52 w 353"/>
              <a:gd name="T19" fmla="*/ 173 h 289"/>
              <a:gd name="T20" fmla="*/ 0 w 353"/>
              <a:gd name="T21" fmla="*/ 249 h 289"/>
              <a:gd name="T22" fmla="*/ 43 w 353"/>
              <a:gd name="T23" fmla="*/ 257 h 289"/>
              <a:gd name="T24" fmla="*/ 16 w 353"/>
              <a:gd name="T25" fmla="*/ 241 h 289"/>
              <a:gd name="T26" fmla="*/ 319 w 353"/>
              <a:gd name="T27" fmla="*/ 201 h 289"/>
              <a:gd name="T28" fmla="*/ 311 w 353"/>
              <a:gd name="T29" fmla="*/ 140 h 289"/>
              <a:gd name="T30" fmla="*/ 318 w 353"/>
              <a:gd name="T31" fmla="*/ 69 h 289"/>
              <a:gd name="T32" fmla="*/ 265 w 353"/>
              <a:gd name="T33" fmla="*/ 32 h 289"/>
              <a:gd name="T34" fmla="*/ 253 w 353"/>
              <a:gd name="T35" fmla="*/ 51 h 289"/>
              <a:gd name="T36" fmla="*/ 265 w 353"/>
              <a:gd name="T37" fmla="*/ 48 h 289"/>
              <a:gd name="T38" fmla="*/ 285 w 353"/>
              <a:gd name="T39" fmla="*/ 53 h 289"/>
              <a:gd name="T40" fmla="*/ 298 w 353"/>
              <a:gd name="T41" fmla="*/ 106 h 289"/>
              <a:gd name="T42" fmla="*/ 298 w 353"/>
              <a:gd name="T43" fmla="*/ 131 h 289"/>
              <a:gd name="T44" fmla="*/ 297 w 353"/>
              <a:gd name="T45" fmla="*/ 132 h 289"/>
              <a:gd name="T46" fmla="*/ 314 w 353"/>
              <a:gd name="T47" fmla="*/ 216 h 289"/>
              <a:gd name="T48" fmla="*/ 301 w 353"/>
              <a:gd name="T49" fmla="*/ 241 h 289"/>
              <a:gd name="T50" fmla="*/ 345 w 353"/>
              <a:gd name="T51" fmla="*/ 257 h 289"/>
              <a:gd name="T52" fmla="*/ 319 w 353"/>
              <a:gd name="T53" fmla="*/ 201 h 289"/>
              <a:gd name="T54" fmla="*/ 211 w 353"/>
              <a:gd name="T55" fmla="*/ 181 h 289"/>
              <a:gd name="T56" fmla="*/ 231 w 353"/>
              <a:gd name="T57" fmla="*/ 105 h 289"/>
              <a:gd name="T58" fmla="*/ 209 w 353"/>
              <a:gd name="T59" fmla="*/ 5 h 289"/>
              <a:gd name="T60" fmla="*/ 152 w 353"/>
              <a:gd name="T61" fmla="*/ 9 h 289"/>
              <a:gd name="T62" fmla="*/ 122 w 353"/>
              <a:gd name="T63" fmla="*/ 104 h 289"/>
              <a:gd name="T64" fmla="*/ 141 w 353"/>
              <a:gd name="T65" fmla="*/ 181 h 289"/>
              <a:gd name="T66" fmla="*/ 56 w 353"/>
              <a:gd name="T67" fmla="*/ 281 h 289"/>
              <a:gd name="T68" fmla="*/ 289 w 353"/>
              <a:gd name="T69" fmla="*/ 289 h 289"/>
              <a:gd name="T70" fmla="*/ 240 w 353"/>
              <a:gd name="T71" fmla="*/ 218 h 289"/>
              <a:gd name="T72" fmla="*/ 116 w 353"/>
              <a:gd name="T73" fmla="*/ 234 h 289"/>
              <a:gd name="T74" fmla="*/ 157 w 353"/>
              <a:gd name="T75" fmla="*/ 181 h 289"/>
              <a:gd name="T76" fmla="*/ 137 w 353"/>
              <a:gd name="T77" fmla="*/ 129 h 289"/>
              <a:gd name="T78" fmla="*/ 137 w 353"/>
              <a:gd name="T79" fmla="*/ 97 h 289"/>
              <a:gd name="T80" fmla="*/ 159 w 353"/>
              <a:gd name="T81" fmla="*/ 23 h 289"/>
              <a:gd name="T82" fmla="*/ 186 w 353"/>
              <a:gd name="T83" fmla="*/ 16 h 289"/>
              <a:gd name="T84" fmla="*/ 217 w 353"/>
              <a:gd name="T85" fmla="*/ 44 h 289"/>
              <a:gd name="T86" fmla="*/ 215 w 353"/>
              <a:gd name="T87" fmla="*/ 108 h 289"/>
              <a:gd name="T88" fmla="*/ 213 w 353"/>
              <a:gd name="T89" fmla="*/ 132 h 289"/>
              <a:gd name="T90" fmla="*/ 235 w 353"/>
              <a:gd name="T91" fmla="*/ 234 h 289"/>
              <a:gd name="T92" fmla="*/ 280 w 353"/>
              <a:gd name="T93" fmla="*/ 273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3" h="289">
                <a:moveTo>
                  <a:pt x="38" y="216"/>
                </a:moveTo>
                <a:cubicBezTo>
                  <a:pt x="49" y="213"/>
                  <a:pt x="68" y="201"/>
                  <a:pt x="68" y="173"/>
                </a:cubicBezTo>
                <a:cubicBezTo>
                  <a:pt x="68" y="148"/>
                  <a:pt x="60" y="138"/>
                  <a:pt x="55" y="132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4" y="130"/>
                  <a:pt x="53" y="126"/>
                  <a:pt x="55" y="117"/>
                </a:cubicBezTo>
                <a:cubicBezTo>
                  <a:pt x="56" y="113"/>
                  <a:pt x="56" y="109"/>
                  <a:pt x="54" y="106"/>
                </a:cubicBezTo>
                <a:cubicBezTo>
                  <a:pt x="51" y="99"/>
                  <a:pt x="45" y="85"/>
                  <a:pt x="49" y="75"/>
                </a:cubicBezTo>
                <a:cubicBezTo>
                  <a:pt x="56" y="58"/>
                  <a:pt x="59" y="57"/>
                  <a:pt x="67" y="53"/>
                </a:cubicBezTo>
                <a:cubicBezTo>
                  <a:pt x="68" y="53"/>
                  <a:pt x="69" y="53"/>
                  <a:pt x="69" y="52"/>
                </a:cubicBezTo>
                <a:cubicBezTo>
                  <a:pt x="71" y="51"/>
                  <a:pt x="79" y="48"/>
                  <a:pt x="88" y="48"/>
                </a:cubicBezTo>
                <a:cubicBezTo>
                  <a:pt x="92" y="48"/>
                  <a:pt x="95" y="49"/>
                  <a:pt x="98" y="50"/>
                </a:cubicBezTo>
                <a:cubicBezTo>
                  <a:pt x="98" y="47"/>
                  <a:pt x="99" y="45"/>
                  <a:pt x="100" y="42"/>
                </a:cubicBezTo>
                <a:cubicBezTo>
                  <a:pt x="101" y="39"/>
                  <a:pt x="102" y="37"/>
                  <a:pt x="103" y="35"/>
                </a:cubicBezTo>
                <a:cubicBezTo>
                  <a:pt x="98" y="33"/>
                  <a:pt x="93" y="32"/>
                  <a:pt x="88" y="32"/>
                </a:cubicBezTo>
                <a:cubicBezTo>
                  <a:pt x="76" y="32"/>
                  <a:pt x="65" y="36"/>
                  <a:pt x="61" y="39"/>
                </a:cubicBezTo>
                <a:cubicBezTo>
                  <a:pt x="48" y="44"/>
                  <a:pt x="42" y="50"/>
                  <a:pt x="34" y="69"/>
                </a:cubicBezTo>
                <a:cubicBezTo>
                  <a:pt x="27" y="86"/>
                  <a:pt x="36" y="104"/>
                  <a:pt x="40" y="113"/>
                </a:cubicBezTo>
                <a:cubicBezTo>
                  <a:pt x="35" y="133"/>
                  <a:pt x="42" y="140"/>
                  <a:pt x="42" y="140"/>
                </a:cubicBezTo>
                <a:cubicBezTo>
                  <a:pt x="45" y="145"/>
                  <a:pt x="52" y="153"/>
                  <a:pt x="52" y="173"/>
                </a:cubicBezTo>
                <a:cubicBezTo>
                  <a:pt x="52" y="197"/>
                  <a:pt x="34" y="201"/>
                  <a:pt x="34" y="201"/>
                </a:cubicBezTo>
                <a:cubicBezTo>
                  <a:pt x="19" y="206"/>
                  <a:pt x="0" y="217"/>
                  <a:pt x="0" y="249"/>
                </a:cubicBezTo>
                <a:cubicBezTo>
                  <a:pt x="0" y="249"/>
                  <a:pt x="0" y="257"/>
                  <a:pt x="8" y="257"/>
                </a:cubicBezTo>
                <a:cubicBezTo>
                  <a:pt x="43" y="257"/>
                  <a:pt x="43" y="257"/>
                  <a:pt x="43" y="257"/>
                </a:cubicBezTo>
                <a:cubicBezTo>
                  <a:pt x="45" y="251"/>
                  <a:pt x="48" y="245"/>
                  <a:pt x="51" y="241"/>
                </a:cubicBezTo>
                <a:cubicBezTo>
                  <a:pt x="16" y="241"/>
                  <a:pt x="16" y="241"/>
                  <a:pt x="16" y="241"/>
                </a:cubicBezTo>
                <a:cubicBezTo>
                  <a:pt x="19" y="225"/>
                  <a:pt x="28" y="220"/>
                  <a:pt x="38" y="216"/>
                </a:cubicBezTo>
                <a:moveTo>
                  <a:pt x="319" y="201"/>
                </a:moveTo>
                <a:cubicBezTo>
                  <a:pt x="319" y="201"/>
                  <a:pt x="301" y="197"/>
                  <a:pt x="301" y="173"/>
                </a:cubicBezTo>
                <a:cubicBezTo>
                  <a:pt x="301" y="153"/>
                  <a:pt x="307" y="145"/>
                  <a:pt x="311" y="140"/>
                </a:cubicBezTo>
                <a:cubicBezTo>
                  <a:pt x="311" y="140"/>
                  <a:pt x="318" y="133"/>
                  <a:pt x="312" y="113"/>
                </a:cubicBezTo>
                <a:cubicBezTo>
                  <a:pt x="317" y="104"/>
                  <a:pt x="325" y="86"/>
                  <a:pt x="318" y="69"/>
                </a:cubicBezTo>
                <a:cubicBezTo>
                  <a:pt x="310" y="50"/>
                  <a:pt x="304" y="44"/>
                  <a:pt x="292" y="39"/>
                </a:cubicBezTo>
                <a:cubicBezTo>
                  <a:pt x="287" y="36"/>
                  <a:pt x="276" y="32"/>
                  <a:pt x="265" y="32"/>
                </a:cubicBezTo>
                <a:cubicBezTo>
                  <a:pt x="259" y="32"/>
                  <a:pt x="254" y="33"/>
                  <a:pt x="248" y="35"/>
                </a:cubicBezTo>
                <a:cubicBezTo>
                  <a:pt x="250" y="40"/>
                  <a:pt x="252" y="46"/>
                  <a:pt x="253" y="51"/>
                </a:cubicBezTo>
                <a:cubicBezTo>
                  <a:pt x="254" y="51"/>
                  <a:pt x="254" y="50"/>
                  <a:pt x="254" y="50"/>
                </a:cubicBezTo>
                <a:cubicBezTo>
                  <a:pt x="257" y="49"/>
                  <a:pt x="260" y="48"/>
                  <a:pt x="265" y="48"/>
                </a:cubicBezTo>
                <a:cubicBezTo>
                  <a:pt x="273" y="48"/>
                  <a:pt x="281" y="51"/>
                  <a:pt x="283" y="52"/>
                </a:cubicBezTo>
                <a:cubicBezTo>
                  <a:pt x="284" y="53"/>
                  <a:pt x="284" y="53"/>
                  <a:pt x="285" y="53"/>
                </a:cubicBezTo>
                <a:cubicBezTo>
                  <a:pt x="293" y="57"/>
                  <a:pt x="296" y="58"/>
                  <a:pt x="303" y="75"/>
                </a:cubicBezTo>
                <a:cubicBezTo>
                  <a:pt x="307" y="85"/>
                  <a:pt x="301" y="99"/>
                  <a:pt x="298" y="106"/>
                </a:cubicBezTo>
                <a:cubicBezTo>
                  <a:pt x="297" y="109"/>
                  <a:pt x="296" y="113"/>
                  <a:pt x="297" y="117"/>
                </a:cubicBezTo>
                <a:cubicBezTo>
                  <a:pt x="299" y="126"/>
                  <a:pt x="298" y="130"/>
                  <a:pt x="298" y="131"/>
                </a:cubicBezTo>
                <a:cubicBezTo>
                  <a:pt x="298" y="131"/>
                  <a:pt x="298" y="131"/>
                  <a:pt x="298" y="131"/>
                </a:cubicBezTo>
                <a:cubicBezTo>
                  <a:pt x="297" y="132"/>
                  <a:pt x="297" y="132"/>
                  <a:pt x="297" y="132"/>
                </a:cubicBezTo>
                <a:cubicBezTo>
                  <a:pt x="293" y="138"/>
                  <a:pt x="285" y="148"/>
                  <a:pt x="285" y="173"/>
                </a:cubicBezTo>
                <a:cubicBezTo>
                  <a:pt x="285" y="201"/>
                  <a:pt x="303" y="213"/>
                  <a:pt x="314" y="216"/>
                </a:cubicBezTo>
                <a:cubicBezTo>
                  <a:pt x="324" y="220"/>
                  <a:pt x="334" y="225"/>
                  <a:pt x="336" y="241"/>
                </a:cubicBezTo>
                <a:cubicBezTo>
                  <a:pt x="301" y="241"/>
                  <a:pt x="301" y="241"/>
                  <a:pt x="301" y="241"/>
                </a:cubicBezTo>
                <a:cubicBezTo>
                  <a:pt x="304" y="245"/>
                  <a:pt x="307" y="251"/>
                  <a:pt x="309" y="257"/>
                </a:cubicBezTo>
                <a:cubicBezTo>
                  <a:pt x="345" y="257"/>
                  <a:pt x="345" y="257"/>
                  <a:pt x="345" y="257"/>
                </a:cubicBezTo>
                <a:cubicBezTo>
                  <a:pt x="353" y="257"/>
                  <a:pt x="353" y="249"/>
                  <a:pt x="353" y="249"/>
                </a:cubicBezTo>
                <a:cubicBezTo>
                  <a:pt x="353" y="217"/>
                  <a:pt x="333" y="206"/>
                  <a:pt x="319" y="201"/>
                </a:cubicBezTo>
                <a:moveTo>
                  <a:pt x="240" y="218"/>
                </a:moveTo>
                <a:cubicBezTo>
                  <a:pt x="240" y="218"/>
                  <a:pt x="211" y="211"/>
                  <a:pt x="211" y="181"/>
                </a:cubicBezTo>
                <a:cubicBezTo>
                  <a:pt x="211" y="155"/>
                  <a:pt x="223" y="146"/>
                  <a:pt x="228" y="139"/>
                </a:cubicBezTo>
                <a:cubicBezTo>
                  <a:pt x="228" y="139"/>
                  <a:pt x="237" y="131"/>
                  <a:pt x="231" y="105"/>
                </a:cubicBezTo>
                <a:cubicBezTo>
                  <a:pt x="241" y="90"/>
                  <a:pt x="245" y="66"/>
                  <a:pt x="232" y="37"/>
                </a:cubicBezTo>
                <a:cubicBezTo>
                  <a:pt x="225" y="20"/>
                  <a:pt x="219" y="11"/>
                  <a:pt x="209" y="5"/>
                </a:cubicBezTo>
                <a:cubicBezTo>
                  <a:pt x="202" y="1"/>
                  <a:pt x="194" y="0"/>
                  <a:pt x="186" y="0"/>
                </a:cubicBezTo>
                <a:cubicBezTo>
                  <a:pt x="172" y="0"/>
                  <a:pt x="158" y="5"/>
                  <a:pt x="152" y="9"/>
                </a:cubicBezTo>
                <a:cubicBezTo>
                  <a:pt x="136" y="16"/>
                  <a:pt x="125" y="22"/>
                  <a:pt x="115" y="48"/>
                </a:cubicBezTo>
                <a:cubicBezTo>
                  <a:pt x="107" y="69"/>
                  <a:pt x="117" y="92"/>
                  <a:pt x="122" y="104"/>
                </a:cubicBezTo>
                <a:cubicBezTo>
                  <a:pt x="116" y="130"/>
                  <a:pt x="125" y="139"/>
                  <a:pt x="125" y="139"/>
                </a:cubicBezTo>
                <a:cubicBezTo>
                  <a:pt x="129" y="146"/>
                  <a:pt x="141" y="155"/>
                  <a:pt x="141" y="181"/>
                </a:cubicBezTo>
                <a:cubicBezTo>
                  <a:pt x="141" y="211"/>
                  <a:pt x="112" y="218"/>
                  <a:pt x="112" y="218"/>
                </a:cubicBezTo>
                <a:cubicBezTo>
                  <a:pt x="94" y="225"/>
                  <a:pt x="56" y="238"/>
                  <a:pt x="56" y="281"/>
                </a:cubicBezTo>
                <a:cubicBezTo>
                  <a:pt x="56" y="281"/>
                  <a:pt x="56" y="289"/>
                  <a:pt x="64" y="289"/>
                </a:cubicBezTo>
                <a:cubicBezTo>
                  <a:pt x="289" y="289"/>
                  <a:pt x="289" y="289"/>
                  <a:pt x="289" y="289"/>
                </a:cubicBezTo>
                <a:cubicBezTo>
                  <a:pt x="297" y="289"/>
                  <a:pt x="297" y="281"/>
                  <a:pt x="297" y="281"/>
                </a:cubicBezTo>
                <a:cubicBezTo>
                  <a:pt x="297" y="238"/>
                  <a:pt x="258" y="225"/>
                  <a:pt x="240" y="218"/>
                </a:cubicBezTo>
                <a:moveTo>
                  <a:pt x="72" y="273"/>
                </a:moveTo>
                <a:cubicBezTo>
                  <a:pt x="76" y="250"/>
                  <a:pt x="96" y="241"/>
                  <a:pt x="116" y="234"/>
                </a:cubicBezTo>
                <a:cubicBezTo>
                  <a:pt x="117" y="234"/>
                  <a:pt x="117" y="234"/>
                  <a:pt x="117" y="234"/>
                </a:cubicBezTo>
                <a:cubicBezTo>
                  <a:pt x="131" y="230"/>
                  <a:pt x="157" y="214"/>
                  <a:pt x="157" y="181"/>
                </a:cubicBezTo>
                <a:cubicBezTo>
                  <a:pt x="157" y="153"/>
                  <a:pt x="146" y="140"/>
                  <a:pt x="140" y="132"/>
                </a:cubicBezTo>
                <a:cubicBezTo>
                  <a:pt x="138" y="131"/>
                  <a:pt x="137" y="129"/>
                  <a:pt x="137" y="129"/>
                </a:cubicBezTo>
                <a:cubicBezTo>
                  <a:pt x="137" y="128"/>
                  <a:pt x="134" y="122"/>
                  <a:pt x="138" y="107"/>
                </a:cubicBezTo>
                <a:cubicBezTo>
                  <a:pt x="139" y="100"/>
                  <a:pt x="137" y="97"/>
                  <a:pt x="137" y="97"/>
                </a:cubicBezTo>
                <a:cubicBezTo>
                  <a:pt x="132" y="87"/>
                  <a:pt x="124" y="69"/>
                  <a:pt x="130" y="54"/>
                </a:cubicBezTo>
                <a:cubicBezTo>
                  <a:pt x="138" y="33"/>
                  <a:pt x="146" y="29"/>
                  <a:pt x="159" y="23"/>
                </a:cubicBezTo>
                <a:cubicBezTo>
                  <a:pt x="160" y="23"/>
                  <a:pt x="160" y="22"/>
                  <a:pt x="161" y="22"/>
                </a:cubicBezTo>
                <a:cubicBezTo>
                  <a:pt x="164" y="20"/>
                  <a:pt x="174" y="16"/>
                  <a:pt x="186" y="16"/>
                </a:cubicBezTo>
                <a:cubicBezTo>
                  <a:pt x="192" y="16"/>
                  <a:pt x="197" y="17"/>
                  <a:pt x="201" y="19"/>
                </a:cubicBezTo>
                <a:cubicBezTo>
                  <a:pt x="206" y="22"/>
                  <a:pt x="210" y="27"/>
                  <a:pt x="217" y="44"/>
                </a:cubicBezTo>
                <a:cubicBezTo>
                  <a:pt x="230" y="73"/>
                  <a:pt x="222" y="89"/>
                  <a:pt x="218" y="95"/>
                </a:cubicBezTo>
                <a:cubicBezTo>
                  <a:pt x="215" y="99"/>
                  <a:pt x="214" y="104"/>
                  <a:pt x="215" y="108"/>
                </a:cubicBezTo>
                <a:cubicBezTo>
                  <a:pt x="218" y="122"/>
                  <a:pt x="216" y="127"/>
                  <a:pt x="216" y="129"/>
                </a:cubicBezTo>
                <a:cubicBezTo>
                  <a:pt x="216" y="129"/>
                  <a:pt x="214" y="131"/>
                  <a:pt x="213" y="132"/>
                </a:cubicBezTo>
                <a:cubicBezTo>
                  <a:pt x="207" y="140"/>
                  <a:pt x="195" y="153"/>
                  <a:pt x="195" y="181"/>
                </a:cubicBezTo>
                <a:cubicBezTo>
                  <a:pt x="195" y="214"/>
                  <a:pt x="221" y="230"/>
                  <a:pt x="235" y="234"/>
                </a:cubicBezTo>
                <a:cubicBezTo>
                  <a:pt x="236" y="234"/>
                  <a:pt x="236" y="234"/>
                  <a:pt x="236" y="234"/>
                </a:cubicBezTo>
                <a:cubicBezTo>
                  <a:pt x="256" y="241"/>
                  <a:pt x="276" y="250"/>
                  <a:pt x="280" y="273"/>
                </a:cubicBezTo>
                <a:lnTo>
                  <a:pt x="72" y="27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4" name="Pentagon 13"/>
          <p:cNvSpPr/>
          <p:nvPr/>
        </p:nvSpPr>
        <p:spPr>
          <a:xfrm>
            <a:off x="595313" y="1555142"/>
            <a:ext cx="2616964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15" name="Freeform 97"/>
          <p:cNvSpPr>
            <a:spLocks noEditPoints="1"/>
          </p:cNvSpPr>
          <p:nvPr/>
        </p:nvSpPr>
        <p:spPr bwMode="auto">
          <a:xfrm>
            <a:off x="2447445" y="1783527"/>
            <a:ext cx="306642" cy="251402"/>
          </a:xfrm>
          <a:custGeom>
            <a:avLst/>
            <a:gdLst>
              <a:gd name="T0" fmla="*/ 241 w 353"/>
              <a:gd name="T1" fmla="*/ 32 h 289"/>
              <a:gd name="T2" fmla="*/ 144 w 353"/>
              <a:gd name="T3" fmla="*/ 0 h 289"/>
              <a:gd name="T4" fmla="*/ 16 w 353"/>
              <a:gd name="T5" fmla="*/ 32 h 289"/>
              <a:gd name="T6" fmla="*/ 0 w 353"/>
              <a:gd name="T7" fmla="*/ 129 h 289"/>
              <a:gd name="T8" fmla="*/ 16 w 353"/>
              <a:gd name="T9" fmla="*/ 273 h 289"/>
              <a:gd name="T10" fmla="*/ 321 w 353"/>
              <a:gd name="T11" fmla="*/ 289 h 289"/>
              <a:gd name="T12" fmla="*/ 337 w 353"/>
              <a:gd name="T13" fmla="*/ 145 h 289"/>
              <a:gd name="T14" fmla="*/ 353 w 353"/>
              <a:gd name="T15" fmla="*/ 48 h 289"/>
              <a:gd name="T16" fmla="*/ 144 w 353"/>
              <a:gd name="T17" fmla="*/ 16 h 289"/>
              <a:gd name="T18" fmla="*/ 225 w 353"/>
              <a:gd name="T19" fmla="*/ 32 h 289"/>
              <a:gd name="T20" fmla="*/ 144 w 353"/>
              <a:gd name="T21" fmla="*/ 16 h 289"/>
              <a:gd name="T22" fmla="*/ 32 w 353"/>
              <a:gd name="T23" fmla="*/ 273 h 289"/>
              <a:gd name="T24" fmla="*/ 64 w 353"/>
              <a:gd name="T25" fmla="*/ 145 h 289"/>
              <a:gd name="T26" fmla="*/ 80 w 353"/>
              <a:gd name="T27" fmla="*/ 177 h 289"/>
              <a:gd name="T28" fmla="*/ 128 w 353"/>
              <a:gd name="T29" fmla="*/ 161 h 289"/>
              <a:gd name="T30" fmla="*/ 225 w 353"/>
              <a:gd name="T31" fmla="*/ 145 h 289"/>
              <a:gd name="T32" fmla="*/ 241 w 353"/>
              <a:gd name="T33" fmla="*/ 177 h 289"/>
              <a:gd name="T34" fmla="*/ 289 w 353"/>
              <a:gd name="T35" fmla="*/ 161 h 289"/>
              <a:gd name="T36" fmla="*/ 321 w 353"/>
              <a:gd name="T37" fmla="*/ 145 h 289"/>
              <a:gd name="T38" fmla="*/ 80 w 353"/>
              <a:gd name="T39" fmla="*/ 113 h 289"/>
              <a:gd name="T40" fmla="*/ 112 w 353"/>
              <a:gd name="T41" fmla="*/ 161 h 289"/>
              <a:gd name="T42" fmla="*/ 80 w 353"/>
              <a:gd name="T43" fmla="*/ 113 h 289"/>
              <a:gd name="T44" fmla="*/ 273 w 353"/>
              <a:gd name="T45" fmla="*/ 113 h 289"/>
              <a:gd name="T46" fmla="*/ 241 w 353"/>
              <a:gd name="T47" fmla="*/ 161 h 289"/>
              <a:gd name="T48" fmla="*/ 337 w 353"/>
              <a:gd name="T49" fmla="*/ 129 h 289"/>
              <a:gd name="T50" fmla="*/ 289 w 353"/>
              <a:gd name="T51" fmla="*/ 113 h 289"/>
              <a:gd name="T52" fmla="*/ 241 w 353"/>
              <a:gd name="T53" fmla="*/ 97 h 289"/>
              <a:gd name="T54" fmla="*/ 225 w 353"/>
              <a:gd name="T55" fmla="*/ 129 h 289"/>
              <a:gd name="T56" fmla="*/ 128 w 353"/>
              <a:gd name="T57" fmla="*/ 113 h 289"/>
              <a:gd name="T58" fmla="*/ 80 w 353"/>
              <a:gd name="T59" fmla="*/ 97 h 289"/>
              <a:gd name="T60" fmla="*/ 64 w 353"/>
              <a:gd name="T61" fmla="*/ 129 h 289"/>
              <a:gd name="T62" fmla="*/ 16 w 353"/>
              <a:gd name="T63" fmla="*/ 48 h 289"/>
              <a:gd name="T64" fmla="*/ 337 w 353"/>
              <a:gd name="T65" fmla="*/ 129 h 2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53" h="289">
                <a:moveTo>
                  <a:pt x="337" y="32"/>
                </a:moveTo>
                <a:cubicBezTo>
                  <a:pt x="241" y="32"/>
                  <a:pt x="241" y="32"/>
                  <a:pt x="241" y="32"/>
                </a:cubicBezTo>
                <a:cubicBezTo>
                  <a:pt x="241" y="15"/>
                  <a:pt x="226" y="0"/>
                  <a:pt x="209" y="0"/>
                </a:cubicBezTo>
                <a:cubicBezTo>
                  <a:pt x="144" y="0"/>
                  <a:pt x="144" y="0"/>
                  <a:pt x="144" y="0"/>
                </a:cubicBezTo>
                <a:cubicBezTo>
                  <a:pt x="127" y="0"/>
                  <a:pt x="112" y="15"/>
                  <a:pt x="112" y="32"/>
                </a:cubicBez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40"/>
                  <a:pt x="0" y="48"/>
                </a:cubicBezTo>
                <a:cubicBezTo>
                  <a:pt x="0" y="129"/>
                  <a:pt x="0" y="129"/>
                  <a:pt x="0" y="129"/>
                </a:cubicBezTo>
                <a:cubicBezTo>
                  <a:pt x="0" y="138"/>
                  <a:pt x="7" y="145"/>
                  <a:pt x="16" y="145"/>
                </a:cubicBezTo>
                <a:cubicBezTo>
                  <a:pt x="16" y="273"/>
                  <a:pt x="16" y="273"/>
                  <a:pt x="16" y="273"/>
                </a:cubicBezTo>
                <a:cubicBezTo>
                  <a:pt x="16" y="282"/>
                  <a:pt x="23" y="289"/>
                  <a:pt x="32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30" y="289"/>
                  <a:pt x="337" y="282"/>
                  <a:pt x="337" y="273"/>
                </a:cubicBezTo>
                <a:cubicBezTo>
                  <a:pt x="337" y="145"/>
                  <a:pt x="337" y="145"/>
                  <a:pt x="337" y="145"/>
                </a:cubicBezTo>
                <a:cubicBezTo>
                  <a:pt x="346" y="145"/>
                  <a:pt x="353" y="138"/>
                  <a:pt x="353" y="129"/>
                </a:cubicBezTo>
                <a:cubicBezTo>
                  <a:pt x="353" y="48"/>
                  <a:pt x="353" y="48"/>
                  <a:pt x="353" y="48"/>
                </a:cubicBezTo>
                <a:cubicBezTo>
                  <a:pt x="353" y="40"/>
                  <a:pt x="346" y="32"/>
                  <a:pt x="337" y="32"/>
                </a:cubicBezTo>
                <a:moveTo>
                  <a:pt x="144" y="16"/>
                </a:moveTo>
                <a:cubicBezTo>
                  <a:pt x="209" y="16"/>
                  <a:pt x="209" y="16"/>
                  <a:pt x="209" y="16"/>
                </a:cubicBezTo>
                <a:cubicBezTo>
                  <a:pt x="217" y="16"/>
                  <a:pt x="225" y="23"/>
                  <a:pt x="225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8" y="23"/>
                  <a:pt x="136" y="16"/>
                  <a:pt x="144" y="16"/>
                </a:cubicBezTo>
                <a:moveTo>
                  <a:pt x="321" y="273"/>
                </a:moveTo>
                <a:cubicBezTo>
                  <a:pt x="32" y="273"/>
                  <a:pt x="32" y="273"/>
                  <a:pt x="32" y="273"/>
                </a:cubicBezTo>
                <a:cubicBezTo>
                  <a:pt x="32" y="145"/>
                  <a:pt x="32" y="145"/>
                  <a:pt x="32" y="145"/>
                </a:cubicBezTo>
                <a:cubicBezTo>
                  <a:pt x="64" y="145"/>
                  <a:pt x="64" y="145"/>
                  <a:pt x="64" y="145"/>
                </a:cubicBezTo>
                <a:cubicBezTo>
                  <a:pt x="64" y="161"/>
                  <a:pt x="64" y="161"/>
                  <a:pt x="64" y="161"/>
                </a:cubicBezTo>
                <a:cubicBezTo>
                  <a:pt x="64" y="170"/>
                  <a:pt x="71" y="177"/>
                  <a:pt x="80" y="177"/>
                </a:cubicBezTo>
                <a:cubicBezTo>
                  <a:pt x="112" y="177"/>
                  <a:pt x="112" y="177"/>
                  <a:pt x="112" y="177"/>
                </a:cubicBezTo>
                <a:cubicBezTo>
                  <a:pt x="121" y="177"/>
                  <a:pt x="128" y="170"/>
                  <a:pt x="128" y="161"/>
                </a:cubicBezTo>
                <a:cubicBezTo>
                  <a:pt x="128" y="145"/>
                  <a:pt x="128" y="145"/>
                  <a:pt x="128" y="145"/>
                </a:cubicBezTo>
                <a:cubicBezTo>
                  <a:pt x="225" y="145"/>
                  <a:pt x="225" y="145"/>
                  <a:pt x="225" y="145"/>
                </a:cubicBezTo>
                <a:cubicBezTo>
                  <a:pt x="225" y="161"/>
                  <a:pt x="225" y="161"/>
                  <a:pt x="225" y="161"/>
                </a:cubicBezTo>
                <a:cubicBezTo>
                  <a:pt x="225" y="170"/>
                  <a:pt x="232" y="177"/>
                  <a:pt x="241" y="177"/>
                </a:cubicBezTo>
                <a:cubicBezTo>
                  <a:pt x="273" y="177"/>
                  <a:pt x="273" y="177"/>
                  <a:pt x="273" y="177"/>
                </a:cubicBezTo>
                <a:cubicBezTo>
                  <a:pt x="282" y="177"/>
                  <a:pt x="289" y="170"/>
                  <a:pt x="289" y="161"/>
                </a:cubicBezTo>
                <a:cubicBezTo>
                  <a:pt x="289" y="145"/>
                  <a:pt x="289" y="145"/>
                  <a:pt x="289" y="145"/>
                </a:cubicBezTo>
                <a:cubicBezTo>
                  <a:pt x="321" y="145"/>
                  <a:pt x="321" y="145"/>
                  <a:pt x="321" y="145"/>
                </a:cubicBezTo>
                <a:lnTo>
                  <a:pt x="321" y="273"/>
                </a:lnTo>
                <a:close/>
                <a:moveTo>
                  <a:pt x="80" y="113"/>
                </a:moveTo>
                <a:cubicBezTo>
                  <a:pt x="112" y="113"/>
                  <a:pt x="112" y="113"/>
                  <a:pt x="112" y="113"/>
                </a:cubicBezTo>
                <a:cubicBezTo>
                  <a:pt x="112" y="161"/>
                  <a:pt x="112" y="161"/>
                  <a:pt x="112" y="161"/>
                </a:cubicBezTo>
                <a:cubicBezTo>
                  <a:pt x="80" y="161"/>
                  <a:pt x="80" y="161"/>
                  <a:pt x="80" y="161"/>
                </a:cubicBezTo>
                <a:lnTo>
                  <a:pt x="80" y="113"/>
                </a:lnTo>
                <a:close/>
                <a:moveTo>
                  <a:pt x="241" y="113"/>
                </a:moveTo>
                <a:cubicBezTo>
                  <a:pt x="273" y="113"/>
                  <a:pt x="273" y="113"/>
                  <a:pt x="273" y="113"/>
                </a:cubicBezTo>
                <a:cubicBezTo>
                  <a:pt x="273" y="161"/>
                  <a:pt x="273" y="161"/>
                  <a:pt x="273" y="161"/>
                </a:cubicBezTo>
                <a:cubicBezTo>
                  <a:pt x="241" y="161"/>
                  <a:pt x="241" y="161"/>
                  <a:pt x="241" y="161"/>
                </a:cubicBezTo>
                <a:lnTo>
                  <a:pt x="241" y="113"/>
                </a:lnTo>
                <a:close/>
                <a:moveTo>
                  <a:pt x="337" y="129"/>
                </a:moveTo>
                <a:cubicBezTo>
                  <a:pt x="289" y="129"/>
                  <a:pt x="289" y="129"/>
                  <a:pt x="289" y="129"/>
                </a:cubicBezTo>
                <a:cubicBezTo>
                  <a:pt x="289" y="113"/>
                  <a:pt x="289" y="113"/>
                  <a:pt x="289" y="113"/>
                </a:cubicBezTo>
                <a:cubicBezTo>
                  <a:pt x="289" y="104"/>
                  <a:pt x="282" y="97"/>
                  <a:pt x="273" y="97"/>
                </a:cubicBezTo>
                <a:cubicBezTo>
                  <a:pt x="241" y="97"/>
                  <a:pt x="241" y="97"/>
                  <a:pt x="241" y="97"/>
                </a:cubicBezTo>
                <a:cubicBezTo>
                  <a:pt x="232" y="97"/>
                  <a:pt x="225" y="104"/>
                  <a:pt x="225" y="113"/>
                </a:cubicBezTo>
                <a:cubicBezTo>
                  <a:pt x="225" y="129"/>
                  <a:pt x="225" y="129"/>
                  <a:pt x="225" y="129"/>
                </a:cubicBezTo>
                <a:cubicBezTo>
                  <a:pt x="128" y="129"/>
                  <a:pt x="128" y="129"/>
                  <a:pt x="128" y="129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28" y="104"/>
                  <a:pt x="121" y="97"/>
                  <a:pt x="112" y="97"/>
                </a:cubicBezTo>
                <a:cubicBezTo>
                  <a:pt x="80" y="97"/>
                  <a:pt x="80" y="97"/>
                  <a:pt x="80" y="97"/>
                </a:cubicBezTo>
                <a:cubicBezTo>
                  <a:pt x="71" y="97"/>
                  <a:pt x="64" y="104"/>
                  <a:pt x="64" y="113"/>
                </a:cubicBezTo>
                <a:cubicBezTo>
                  <a:pt x="64" y="129"/>
                  <a:pt x="64" y="129"/>
                  <a:pt x="64" y="129"/>
                </a:cubicBezTo>
                <a:cubicBezTo>
                  <a:pt x="16" y="129"/>
                  <a:pt x="16" y="129"/>
                  <a:pt x="16" y="129"/>
                </a:cubicBezTo>
                <a:cubicBezTo>
                  <a:pt x="16" y="48"/>
                  <a:pt x="16" y="48"/>
                  <a:pt x="16" y="48"/>
                </a:cubicBezTo>
                <a:cubicBezTo>
                  <a:pt x="337" y="48"/>
                  <a:pt x="337" y="48"/>
                  <a:pt x="337" y="48"/>
                </a:cubicBezTo>
                <a:lnTo>
                  <a:pt x="337" y="1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6" name="Pentagon 15"/>
          <p:cNvSpPr/>
          <p:nvPr/>
        </p:nvSpPr>
        <p:spPr>
          <a:xfrm>
            <a:off x="595313" y="2567922"/>
            <a:ext cx="2616964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17" name="Freeform 116"/>
          <p:cNvSpPr>
            <a:spLocks noEditPoints="1"/>
          </p:cNvSpPr>
          <p:nvPr/>
        </p:nvSpPr>
        <p:spPr bwMode="auto">
          <a:xfrm>
            <a:off x="2447445" y="2768687"/>
            <a:ext cx="306642" cy="306642"/>
          </a:xfrm>
          <a:custGeom>
            <a:avLst/>
            <a:gdLst>
              <a:gd name="T0" fmla="*/ 184 w 353"/>
              <a:gd name="T1" fmla="*/ 217 h 353"/>
              <a:gd name="T2" fmla="*/ 216 w 353"/>
              <a:gd name="T3" fmla="*/ 249 h 353"/>
              <a:gd name="T4" fmla="*/ 216 w 353"/>
              <a:gd name="T5" fmla="*/ 160 h 353"/>
              <a:gd name="T6" fmla="*/ 184 w 353"/>
              <a:gd name="T7" fmla="*/ 192 h 353"/>
              <a:gd name="T8" fmla="*/ 216 w 353"/>
              <a:gd name="T9" fmla="*/ 160 h 353"/>
              <a:gd name="T10" fmla="*/ 184 w 353"/>
              <a:gd name="T11" fmla="*/ 273 h 353"/>
              <a:gd name="T12" fmla="*/ 216 w 353"/>
              <a:gd name="T13" fmla="*/ 305 h 353"/>
              <a:gd name="T14" fmla="*/ 264 w 353"/>
              <a:gd name="T15" fmla="*/ 160 h 353"/>
              <a:gd name="T16" fmla="*/ 232 w 353"/>
              <a:gd name="T17" fmla="*/ 192 h 353"/>
              <a:gd name="T18" fmla="*/ 264 w 353"/>
              <a:gd name="T19" fmla="*/ 160 h 353"/>
              <a:gd name="T20" fmla="*/ 281 w 353"/>
              <a:gd name="T21" fmla="*/ 160 h 353"/>
              <a:gd name="T22" fmla="*/ 313 w 353"/>
              <a:gd name="T23" fmla="*/ 192 h 353"/>
              <a:gd name="T24" fmla="*/ 264 w 353"/>
              <a:gd name="T25" fmla="*/ 217 h 353"/>
              <a:gd name="T26" fmla="*/ 232 w 353"/>
              <a:gd name="T27" fmla="*/ 249 h 353"/>
              <a:gd name="T28" fmla="*/ 264 w 353"/>
              <a:gd name="T29" fmla="*/ 217 h 353"/>
              <a:gd name="T30" fmla="*/ 281 w 353"/>
              <a:gd name="T31" fmla="*/ 217 h 353"/>
              <a:gd name="T32" fmla="*/ 313 w 353"/>
              <a:gd name="T33" fmla="*/ 249 h 353"/>
              <a:gd name="T34" fmla="*/ 168 w 353"/>
              <a:gd name="T35" fmla="*/ 217 h 353"/>
              <a:gd name="T36" fmla="*/ 136 w 353"/>
              <a:gd name="T37" fmla="*/ 249 h 353"/>
              <a:gd name="T38" fmla="*/ 168 w 353"/>
              <a:gd name="T39" fmla="*/ 217 h 353"/>
              <a:gd name="T40" fmla="*/ 136 w 353"/>
              <a:gd name="T41" fmla="*/ 160 h 353"/>
              <a:gd name="T42" fmla="*/ 168 w 353"/>
              <a:gd name="T43" fmla="*/ 192 h 353"/>
              <a:gd name="T44" fmla="*/ 168 w 353"/>
              <a:gd name="T45" fmla="*/ 273 h 353"/>
              <a:gd name="T46" fmla="*/ 136 w 353"/>
              <a:gd name="T47" fmla="*/ 305 h 353"/>
              <a:gd name="T48" fmla="*/ 168 w 353"/>
              <a:gd name="T49" fmla="*/ 273 h 353"/>
              <a:gd name="T50" fmla="*/ 40 w 353"/>
              <a:gd name="T51" fmla="*/ 217 h 353"/>
              <a:gd name="T52" fmla="*/ 72 w 353"/>
              <a:gd name="T53" fmla="*/ 249 h 353"/>
              <a:gd name="T54" fmla="*/ 72 w 353"/>
              <a:gd name="T55" fmla="*/ 160 h 353"/>
              <a:gd name="T56" fmla="*/ 40 w 353"/>
              <a:gd name="T57" fmla="*/ 192 h 353"/>
              <a:gd name="T58" fmla="*/ 72 w 353"/>
              <a:gd name="T59" fmla="*/ 160 h 353"/>
              <a:gd name="T60" fmla="*/ 289 w 353"/>
              <a:gd name="T61" fmla="*/ 32 h 353"/>
              <a:gd name="T62" fmla="*/ 281 w 353"/>
              <a:gd name="T63" fmla="*/ 0 h 353"/>
              <a:gd name="T64" fmla="*/ 272 w 353"/>
              <a:gd name="T65" fmla="*/ 32 h 353"/>
              <a:gd name="T66" fmla="*/ 80 w 353"/>
              <a:gd name="T67" fmla="*/ 8 h 353"/>
              <a:gd name="T68" fmla="*/ 64 w 353"/>
              <a:gd name="T69" fmla="*/ 8 h 353"/>
              <a:gd name="T70" fmla="*/ 32 w 353"/>
              <a:gd name="T71" fmla="*/ 32 h 353"/>
              <a:gd name="T72" fmla="*/ 0 w 353"/>
              <a:gd name="T73" fmla="*/ 321 h 353"/>
              <a:gd name="T74" fmla="*/ 321 w 353"/>
              <a:gd name="T75" fmla="*/ 353 h 353"/>
              <a:gd name="T76" fmla="*/ 353 w 353"/>
              <a:gd name="T77" fmla="*/ 64 h 353"/>
              <a:gd name="T78" fmla="*/ 337 w 353"/>
              <a:gd name="T79" fmla="*/ 321 h 353"/>
              <a:gd name="T80" fmla="*/ 32 w 353"/>
              <a:gd name="T81" fmla="*/ 337 h 353"/>
              <a:gd name="T82" fmla="*/ 16 w 353"/>
              <a:gd name="T83" fmla="*/ 128 h 353"/>
              <a:gd name="T84" fmla="*/ 337 w 353"/>
              <a:gd name="T85" fmla="*/ 321 h 353"/>
              <a:gd name="T86" fmla="*/ 16 w 353"/>
              <a:gd name="T87" fmla="*/ 112 h 353"/>
              <a:gd name="T88" fmla="*/ 32 w 353"/>
              <a:gd name="T89" fmla="*/ 48 h 353"/>
              <a:gd name="T90" fmla="*/ 64 w 353"/>
              <a:gd name="T91" fmla="*/ 72 h 353"/>
              <a:gd name="T92" fmla="*/ 80 w 353"/>
              <a:gd name="T93" fmla="*/ 72 h 353"/>
              <a:gd name="T94" fmla="*/ 272 w 353"/>
              <a:gd name="T95" fmla="*/ 48 h 353"/>
              <a:gd name="T96" fmla="*/ 281 w 353"/>
              <a:gd name="T97" fmla="*/ 80 h 353"/>
              <a:gd name="T98" fmla="*/ 289 w 353"/>
              <a:gd name="T99" fmla="*/ 48 h 353"/>
              <a:gd name="T100" fmla="*/ 337 w 353"/>
              <a:gd name="T101" fmla="*/ 64 h 353"/>
              <a:gd name="T102" fmla="*/ 72 w 353"/>
              <a:gd name="T103" fmla="*/ 273 h 353"/>
              <a:gd name="T104" fmla="*/ 40 w 353"/>
              <a:gd name="T105" fmla="*/ 305 h 353"/>
              <a:gd name="T106" fmla="*/ 72 w 353"/>
              <a:gd name="T107" fmla="*/ 273 h 353"/>
              <a:gd name="T108" fmla="*/ 88 w 353"/>
              <a:gd name="T109" fmla="*/ 160 h 353"/>
              <a:gd name="T110" fmla="*/ 120 w 353"/>
              <a:gd name="T111" fmla="*/ 192 h 353"/>
              <a:gd name="T112" fmla="*/ 120 w 353"/>
              <a:gd name="T113" fmla="*/ 273 h 353"/>
              <a:gd name="T114" fmla="*/ 88 w 353"/>
              <a:gd name="T115" fmla="*/ 305 h 353"/>
              <a:gd name="T116" fmla="*/ 120 w 353"/>
              <a:gd name="T117" fmla="*/ 273 h 353"/>
              <a:gd name="T118" fmla="*/ 88 w 353"/>
              <a:gd name="T119" fmla="*/ 217 h 353"/>
              <a:gd name="T120" fmla="*/ 120 w 353"/>
              <a:gd name="T121" fmla="*/ 249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3" h="353">
                <a:moveTo>
                  <a:pt x="216" y="217"/>
                </a:moveTo>
                <a:cubicBezTo>
                  <a:pt x="184" y="217"/>
                  <a:pt x="184" y="217"/>
                  <a:pt x="184" y="217"/>
                </a:cubicBezTo>
                <a:cubicBezTo>
                  <a:pt x="184" y="249"/>
                  <a:pt x="184" y="249"/>
                  <a:pt x="184" y="249"/>
                </a:cubicBezTo>
                <a:cubicBezTo>
                  <a:pt x="216" y="249"/>
                  <a:pt x="216" y="249"/>
                  <a:pt x="216" y="249"/>
                </a:cubicBezTo>
                <a:lnTo>
                  <a:pt x="216" y="217"/>
                </a:lnTo>
                <a:close/>
                <a:moveTo>
                  <a:pt x="216" y="160"/>
                </a:moveTo>
                <a:cubicBezTo>
                  <a:pt x="184" y="160"/>
                  <a:pt x="184" y="160"/>
                  <a:pt x="184" y="160"/>
                </a:cubicBezTo>
                <a:cubicBezTo>
                  <a:pt x="184" y="192"/>
                  <a:pt x="184" y="192"/>
                  <a:pt x="184" y="192"/>
                </a:cubicBezTo>
                <a:cubicBezTo>
                  <a:pt x="216" y="192"/>
                  <a:pt x="216" y="192"/>
                  <a:pt x="216" y="192"/>
                </a:cubicBezTo>
                <a:lnTo>
                  <a:pt x="216" y="160"/>
                </a:lnTo>
                <a:close/>
                <a:moveTo>
                  <a:pt x="216" y="273"/>
                </a:moveTo>
                <a:cubicBezTo>
                  <a:pt x="184" y="273"/>
                  <a:pt x="184" y="273"/>
                  <a:pt x="184" y="273"/>
                </a:cubicBezTo>
                <a:cubicBezTo>
                  <a:pt x="184" y="305"/>
                  <a:pt x="184" y="305"/>
                  <a:pt x="184" y="305"/>
                </a:cubicBezTo>
                <a:cubicBezTo>
                  <a:pt x="216" y="305"/>
                  <a:pt x="216" y="305"/>
                  <a:pt x="216" y="305"/>
                </a:cubicBezTo>
                <a:lnTo>
                  <a:pt x="216" y="273"/>
                </a:lnTo>
                <a:close/>
                <a:moveTo>
                  <a:pt x="264" y="160"/>
                </a:moveTo>
                <a:cubicBezTo>
                  <a:pt x="232" y="160"/>
                  <a:pt x="232" y="160"/>
                  <a:pt x="232" y="160"/>
                </a:cubicBezTo>
                <a:cubicBezTo>
                  <a:pt x="232" y="192"/>
                  <a:pt x="232" y="192"/>
                  <a:pt x="232" y="192"/>
                </a:cubicBezTo>
                <a:cubicBezTo>
                  <a:pt x="264" y="192"/>
                  <a:pt x="264" y="192"/>
                  <a:pt x="264" y="192"/>
                </a:cubicBezTo>
                <a:lnTo>
                  <a:pt x="264" y="160"/>
                </a:lnTo>
                <a:close/>
                <a:moveTo>
                  <a:pt x="313" y="160"/>
                </a:moveTo>
                <a:cubicBezTo>
                  <a:pt x="281" y="160"/>
                  <a:pt x="281" y="160"/>
                  <a:pt x="281" y="160"/>
                </a:cubicBezTo>
                <a:cubicBezTo>
                  <a:pt x="281" y="192"/>
                  <a:pt x="281" y="192"/>
                  <a:pt x="281" y="192"/>
                </a:cubicBezTo>
                <a:cubicBezTo>
                  <a:pt x="313" y="192"/>
                  <a:pt x="313" y="192"/>
                  <a:pt x="313" y="192"/>
                </a:cubicBezTo>
                <a:lnTo>
                  <a:pt x="313" y="160"/>
                </a:lnTo>
                <a:close/>
                <a:moveTo>
                  <a:pt x="264" y="217"/>
                </a:moveTo>
                <a:cubicBezTo>
                  <a:pt x="232" y="217"/>
                  <a:pt x="232" y="217"/>
                  <a:pt x="232" y="217"/>
                </a:cubicBezTo>
                <a:cubicBezTo>
                  <a:pt x="232" y="249"/>
                  <a:pt x="232" y="249"/>
                  <a:pt x="232" y="249"/>
                </a:cubicBezTo>
                <a:cubicBezTo>
                  <a:pt x="264" y="249"/>
                  <a:pt x="264" y="249"/>
                  <a:pt x="264" y="249"/>
                </a:cubicBezTo>
                <a:lnTo>
                  <a:pt x="264" y="217"/>
                </a:lnTo>
                <a:close/>
                <a:moveTo>
                  <a:pt x="313" y="217"/>
                </a:moveTo>
                <a:cubicBezTo>
                  <a:pt x="281" y="217"/>
                  <a:pt x="281" y="217"/>
                  <a:pt x="281" y="217"/>
                </a:cubicBezTo>
                <a:cubicBezTo>
                  <a:pt x="281" y="249"/>
                  <a:pt x="281" y="249"/>
                  <a:pt x="281" y="249"/>
                </a:cubicBezTo>
                <a:cubicBezTo>
                  <a:pt x="313" y="249"/>
                  <a:pt x="313" y="249"/>
                  <a:pt x="313" y="249"/>
                </a:cubicBezTo>
                <a:lnTo>
                  <a:pt x="313" y="217"/>
                </a:lnTo>
                <a:close/>
                <a:moveTo>
                  <a:pt x="168" y="217"/>
                </a:moveTo>
                <a:cubicBezTo>
                  <a:pt x="136" y="217"/>
                  <a:pt x="136" y="217"/>
                  <a:pt x="136" y="217"/>
                </a:cubicBezTo>
                <a:cubicBezTo>
                  <a:pt x="136" y="249"/>
                  <a:pt x="136" y="249"/>
                  <a:pt x="136" y="249"/>
                </a:cubicBezTo>
                <a:cubicBezTo>
                  <a:pt x="168" y="249"/>
                  <a:pt x="168" y="249"/>
                  <a:pt x="168" y="249"/>
                </a:cubicBezTo>
                <a:lnTo>
                  <a:pt x="168" y="217"/>
                </a:lnTo>
                <a:close/>
                <a:moveTo>
                  <a:pt x="168" y="160"/>
                </a:moveTo>
                <a:cubicBezTo>
                  <a:pt x="136" y="160"/>
                  <a:pt x="136" y="160"/>
                  <a:pt x="136" y="160"/>
                </a:cubicBezTo>
                <a:cubicBezTo>
                  <a:pt x="136" y="192"/>
                  <a:pt x="136" y="192"/>
                  <a:pt x="136" y="192"/>
                </a:cubicBezTo>
                <a:cubicBezTo>
                  <a:pt x="168" y="192"/>
                  <a:pt x="168" y="192"/>
                  <a:pt x="168" y="192"/>
                </a:cubicBezTo>
                <a:lnTo>
                  <a:pt x="168" y="160"/>
                </a:lnTo>
                <a:close/>
                <a:moveTo>
                  <a:pt x="168" y="273"/>
                </a:moveTo>
                <a:cubicBezTo>
                  <a:pt x="136" y="273"/>
                  <a:pt x="136" y="273"/>
                  <a:pt x="136" y="273"/>
                </a:cubicBezTo>
                <a:cubicBezTo>
                  <a:pt x="136" y="305"/>
                  <a:pt x="136" y="305"/>
                  <a:pt x="136" y="305"/>
                </a:cubicBezTo>
                <a:cubicBezTo>
                  <a:pt x="168" y="305"/>
                  <a:pt x="168" y="305"/>
                  <a:pt x="168" y="305"/>
                </a:cubicBezTo>
                <a:lnTo>
                  <a:pt x="168" y="273"/>
                </a:lnTo>
                <a:close/>
                <a:moveTo>
                  <a:pt x="72" y="217"/>
                </a:moveTo>
                <a:cubicBezTo>
                  <a:pt x="40" y="217"/>
                  <a:pt x="40" y="217"/>
                  <a:pt x="40" y="217"/>
                </a:cubicBezTo>
                <a:cubicBezTo>
                  <a:pt x="40" y="249"/>
                  <a:pt x="40" y="249"/>
                  <a:pt x="40" y="249"/>
                </a:cubicBezTo>
                <a:cubicBezTo>
                  <a:pt x="72" y="249"/>
                  <a:pt x="72" y="249"/>
                  <a:pt x="72" y="249"/>
                </a:cubicBezTo>
                <a:lnTo>
                  <a:pt x="72" y="217"/>
                </a:lnTo>
                <a:close/>
                <a:moveTo>
                  <a:pt x="72" y="160"/>
                </a:moveTo>
                <a:cubicBezTo>
                  <a:pt x="40" y="160"/>
                  <a:pt x="40" y="160"/>
                  <a:pt x="40" y="160"/>
                </a:cubicBezTo>
                <a:cubicBezTo>
                  <a:pt x="40" y="192"/>
                  <a:pt x="40" y="192"/>
                  <a:pt x="40" y="192"/>
                </a:cubicBezTo>
                <a:cubicBezTo>
                  <a:pt x="72" y="192"/>
                  <a:pt x="72" y="192"/>
                  <a:pt x="72" y="192"/>
                </a:cubicBezTo>
                <a:lnTo>
                  <a:pt x="72" y="160"/>
                </a:lnTo>
                <a:close/>
                <a:moveTo>
                  <a:pt x="321" y="32"/>
                </a:moveTo>
                <a:cubicBezTo>
                  <a:pt x="289" y="32"/>
                  <a:pt x="289" y="32"/>
                  <a:pt x="289" y="32"/>
                </a:cubicBezTo>
                <a:cubicBezTo>
                  <a:pt x="289" y="8"/>
                  <a:pt x="289" y="8"/>
                  <a:pt x="289" y="8"/>
                </a:cubicBezTo>
                <a:cubicBezTo>
                  <a:pt x="289" y="3"/>
                  <a:pt x="285" y="0"/>
                  <a:pt x="281" y="0"/>
                </a:cubicBezTo>
                <a:cubicBezTo>
                  <a:pt x="276" y="0"/>
                  <a:pt x="272" y="3"/>
                  <a:pt x="272" y="8"/>
                </a:cubicBezTo>
                <a:cubicBezTo>
                  <a:pt x="272" y="32"/>
                  <a:pt x="272" y="32"/>
                  <a:pt x="272" y="32"/>
                </a:cubicBezTo>
                <a:cubicBezTo>
                  <a:pt x="80" y="32"/>
                  <a:pt x="80" y="32"/>
                  <a:pt x="80" y="32"/>
                </a:cubicBezTo>
                <a:cubicBezTo>
                  <a:pt x="80" y="8"/>
                  <a:pt x="80" y="8"/>
                  <a:pt x="80" y="8"/>
                </a:cubicBezTo>
                <a:cubicBezTo>
                  <a:pt x="80" y="3"/>
                  <a:pt x="76" y="0"/>
                  <a:pt x="72" y="0"/>
                </a:cubicBezTo>
                <a:cubicBezTo>
                  <a:pt x="67" y="0"/>
                  <a:pt x="64" y="3"/>
                  <a:pt x="64" y="8"/>
                </a:cubicBezTo>
                <a:cubicBezTo>
                  <a:pt x="64" y="32"/>
                  <a:pt x="64" y="32"/>
                  <a:pt x="64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14" y="32"/>
                  <a:pt x="0" y="46"/>
                  <a:pt x="0" y="64"/>
                </a:cubicBezTo>
                <a:cubicBezTo>
                  <a:pt x="0" y="321"/>
                  <a:pt x="0" y="321"/>
                  <a:pt x="0" y="321"/>
                </a:cubicBezTo>
                <a:cubicBezTo>
                  <a:pt x="0" y="339"/>
                  <a:pt x="14" y="353"/>
                  <a:pt x="32" y="353"/>
                </a:cubicBezTo>
                <a:cubicBezTo>
                  <a:pt x="321" y="353"/>
                  <a:pt x="321" y="353"/>
                  <a:pt x="321" y="353"/>
                </a:cubicBezTo>
                <a:cubicBezTo>
                  <a:pt x="338" y="353"/>
                  <a:pt x="353" y="339"/>
                  <a:pt x="353" y="321"/>
                </a:cubicBezTo>
                <a:cubicBezTo>
                  <a:pt x="353" y="64"/>
                  <a:pt x="353" y="64"/>
                  <a:pt x="353" y="64"/>
                </a:cubicBezTo>
                <a:cubicBezTo>
                  <a:pt x="353" y="46"/>
                  <a:pt x="338" y="32"/>
                  <a:pt x="321" y="32"/>
                </a:cubicBezTo>
                <a:moveTo>
                  <a:pt x="337" y="321"/>
                </a:moveTo>
                <a:cubicBezTo>
                  <a:pt x="337" y="330"/>
                  <a:pt x="330" y="337"/>
                  <a:pt x="321" y="337"/>
                </a:cubicBezTo>
                <a:cubicBezTo>
                  <a:pt x="32" y="337"/>
                  <a:pt x="32" y="337"/>
                  <a:pt x="32" y="337"/>
                </a:cubicBezTo>
                <a:cubicBezTo>
                  <a:pt x="23" y="337"/>
                  <a:pt x="16" y="330"/>
                  <a:pt x="16" y="321"/>
                </a:cubicBezTo>
                <a:cubicBezTo>
                  <a:pt x="16" y="128"/>
                  <a:pt x="16" y="128"/>
                  <a:pt x="16" y="128"/>
                </a:cubicBezTo>
                <a:cubicBezTo>
                  <a:pt x="337" y="128"/>
                  <a:pt x="337" y="128"/>
                  <a:pt x="337" y="128"/>
                </a:cubicBezTo>
                <a:lnTo>
                  <a:pt x="337" y="321"/>
                </a:lnTo>
                <a:close/>
                <a:moveTo>
                  <a:pt x="337" y="112"/>
                </a:moveTo>
                <a:cubicBezTo>
                  <a:pt x="16" y="112"/>
                  <a:pt x="16" y="112"/>
                  <a:pt x="16" y="112"/>
                </a:cubicBezTo>
                <a:cubicBezTo>
                  <a:pt x="16" y="64"/>
                  <a:pt x="16" y="64"/>
                  <a:pt x="16" y="64"/>
                </a:cubicBezTo>
                <a:cubicBezTo>
                  <a:pt x="16" y="55"/>
                  <a:pt x="23" y="48"/>
                  <a:pt x="32" y="48"/>
                </a:cubicBezTo>
                <a:cubicBezTo>
                  <a:pt x="64" y="48"/>
                  <a:pt x="64" y="48"/>
                  <a:pt x="64" y="48"/>
                </a:cubicBezTo>
                <a:cubicBezTo>
                  <a:pt x="64" y="72"/>
                  <a:pt x="64" y="72"/>
                  <a:pt x="64" y="72"/>
                </a:cubicBezTo>
                <a:cubicBezTo>
                  <a:pt x="64" y="76"/>
                  <a:pt x="67" y="80"/>
                  <a:pt x="72" y="80"/>
                </a:cubicBezTo>
                <a:cubicBezTo>
                  <a:pt x="76" y="80"/>
                  <a:pt x="80" y="76"/>
                  <a:pt x="80" y="72"/>
                </a:cubicBezTo>
                <a:cubicBezTo>
                  <a:pt x="80" y="48"/>
                  <a:pt x="80" y="48"/>
                  <a:pt x="80" y="48"/>
                </a:cubicBezTo>
                <a:cubicBezTo>
                  <a:pt x="272" y="48"/>
                  <a:pt x="272" y="48"/>
                  <a:pt x="272" y="48"/>
                </a:cubicBezTo>
                <a:cubicBezTo>
                  <a:pt x="272" y="72"/>
                  <a:pt x="272" y="72"/>
                  <a:pt x="272" y="72"/>
                </a:cubicBezTo>
                <a:cubicBezTo>
                  <a:pt x="272" y="76"/>
                  <a:pt x="276" y="80"/>
                  <a:pt x="281" y="80"/>
                </a:cubicBezTo>
                <a:cubicBezTo>
                  <a:pt x="285" y="80"/>
                  <a:pt x="289" y="76"/>
                  <a:pt x="289" y="72"/>
                </a:cubicBezTo>
                <a:cubicBezTo>
                  <a:pt x="289" y="48"/>
                  <a:pt x="289" y="48"/>
                  <a:pt x="289" y="48"/>
                </a:cubicBezTo>
                <a:cubicBezTo>
                  <a:pt x="321" y="48"/>
                  <a:pt x="321" y="48"/>
                  <a:pt x="321" y="48"/>
                </a:cubicBezTo>
                <a:cubicBezTo>
                  <a:pt x="330" y="48"/>
                  <a:pt x="337" y="55"/>
                  <a:pt x="337" y="64"/>
                </a:cubicBezTo>
                <a:lnTo>
                  <a:pt x="337" y="112"/>
                </a:lnTo>
                <a:close/>
                <a:moveTo>
                  <a:pt x="72" y="273"/>
                </a:moveTo>
                <a:cubicBezTo>
                  <a:pt x="40" y="273"/>
                  <a:pt x="40" y="273"/>
                  <a:pt x="40" y="273"/>
                </a:cubicBezTo>
                <a:cubicBezTo>
                  <a:pt x="40" y="305"/>
                  <a:pt x="40" y="305"/>
                  <a:pt x="40" y="305"/>
                </a:cubicBezTo>
                <a:cubicBezTo>
                  <a:pt x="72" y="305"/>
                  <a:pt x="72" y="305"/>
                  <a:pt x="72" y="305"/>
                </a:cubicBezTo>
                <a:lnTo>
                  <a:pt x="72" y="273"/>
                </a:lnTo>
                <a:close/>
                <a:moveTo>
                  <a:pt x="120" y="160"/>
                </a:moveTo>
                <a:cubicBezTo>
                  <a:pt x="88" y="160"/>
                  <a:pt x="88" y="160"/>
                  <a:pt x="88" y="160"/>
                </a:cubicBezTo>
                <a:cubicBezTo>
                  <a:pt x="88" y="192"/>
                  <a:pt x="88" y="192"/>
                  <a:pt x="88" y="192"/>
                </a:cubicBezTo>
                <a:cubicBezTo>
                  <a:pt x="120" y="192"/>
                  <a:pt x="120" y="192"/>
                  <a:pt x="120" y="192"/>
                </a:cubicBezTo>
                <a:lnTo>
                  <a:pt x="120" y="160"/>
                </a:lnTo>
                <a:close/>
                <a:moveTo>
                  <a:pt x="120" y="273"/>
                </a:moveTo>
                <a:cubicBezTo>
                  <a:pt x="88" y="273"/>
                  <a:pt x="88" y="273"/>
                  <a:pt x="88" y="273"/>
                </a:cubicBezTo>
                <a:cubicBezTo>
                  <a:pt x="88" y="305"/>
                  <a:pt x="88" y="305"/>
                  <a:pt x="88" y="305"/>
                </a:cubicBezTo>
                <a:cubicBezTo>
                  <a:pt x="120" y="305"/>
                  <a:pt x="120" y="305"/>
                  <a:pt x="120" y="305"/>
                </a:cubicBezTo>
                <a:lnTo>
                  <a:pt x="120" y="273"/>
                </a:lnTo>
                <a:close/>
                <a:moveTo>
                  <a:pt x="120" y="217"/>
                </a:moveTo>
                <a:cubicBezTo>
                  <a:pt x="88" y="217"/>
                  <a:pt x="88" y="217"/>
                  <a:pt x="88" y="217"/>
                </a:cubicBezTo>
                <a:cubicBezTo>
                  <a:pt x="88" y="249"/>
                  <a:pt x="88" y="249"/>
                  <a:pt x="88" y="249"/>
                </a:cubicBezTo>
                <a:cubicBezTo>
                  <a:pt x="120" y="249"/>
                  <a:pt x="120" y="249"/>
                  <a:pt x="120" y="249"/>
                </a:cubicBezTo>
                <a:lnTo>
                  <a:pt x="120" y="21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18" name="Pentagon 17"/>
          <p:cNvSpPr/>
          <p:nvPr/>
        </p:nvSpPr>
        <p:spPr>
          <a:xfrm>
            <a:off x="595313" y="3583673"/>
            <a:ext cx="2616964" cy="708173"/>
          </a:xfrm>
          <a:prstGeom prst="homePlate">
            <a:avLst/>
          </a:prstGeom>
          <a:solidFill>
            <a:srgbClr val="EC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 dirty="0"/>
          </a:p>
        </p:txBody>
      </p:sp>
      <p:sp>
        <p:nvSpPr>
          <p:cNvPr id="19" name="Freeform 117"/>
          <p:cNvSpPr>
            <a:spLocks noEditPoints="1"/>
          </p:cNvSpPr>
          <p:nvPr/>
        </p:nvSpPr>
        <p:spPr bwMode="auto">
          <a:xfrm>
            <a:off x="2447445" y="3784438"/>
            <a:ext cx="306642" cy="306642"/>
          </a:xfrm>
          <a:custGeom>
            <a:avLst/>
            <a:gdLst>
              <a:gd name="T0" fmla="*/ 353 w 353"/>
              <a:gd name="T1" fmla="*/ 136 h 353"/>
              <a:gd name="T2" fmla="*/ 349 w 353"/>
              <a:gd name="T3" fmla="*/ 97 h 353"/>
              <a:gd name="T4" fmla="*/ 180 w 353"/>
              <a:gd name="T5" fmla="*/ 1 h 353"/>
              <a:gd name="T6" fmla="*/ 176 w 353"/>
              <a:gd name="T7" fmla="*/ 0 h 353"/>
              <a:gd name="T8" fmla="*/ 173 w 353"/>
              <a:gd name="T9" fmla="*/ 1 h 353"/>
              <a:gd name="T10" fmla="*/ 4 w 353"/>
              <a:gd name="T11" fmla="*/ 97 h 353"/>
              <a:gd name="T12" fmla="*/ 0 w 353"/>
              <a:gd name="T13" fmla="*/ 136 h 353"/>
              <a:gd name="T14" fmla="*/ 32 w 353"/>
              <a:gd name="T15" fmla="*/ 144 h 353"/>
              <a:gd name="T16" fmla="*/ 24 w 353"/>
              <a:gd name="T17" fmla="*/ 289 h 353"/>
              <a:gd name="T18" fmla="*/ 16 w 353"/>
              <a:gd name="T19" fmla="*/ 294 h 353"/>
              <a:gd name="T20" fmla="*/ 0 w 353"/>
              <a:gd name="T21" fmla="*/ 342 h 353"/>
              <a:gd name="T22" fmla="*/ 8 w 353"/>
              <a:gd name="T23" fmla="*/ 353 h 353"/>
              <a:gd name="T24" fmla="*/ 353 w 353"/>
              <a:gd name="T25" fmla="*/ 345 h 353"/>
              <a:gd name="T26" fmla="*/ 353 w 353"/>
              <a:gd name="T27" fmla="*/ 342 h 353"/>
              <a:gd name="T28" fmla="*/ 337 w 353"/>
              <a:gd name="T29" fmla="*/ 294 h 353"/>
              <a:gd name="T30" fmla="*/ 321 w 353"/>
              <a:gd name="T31" fmla="*/ 289 h 353"/>
              <a:gd name="T32" fmla="*/ 345 w 353"/>
              <a:gd name="T33" fmla="*/ 144 h 353"/>
              <a:gd name="T34" fmla="*/ 315 w 353"/>
              <a:gd name="T35" fmla="*/ 96 h 353"/>
              <a:gd name="T36" fmla="*/ 176 w 353"/>
              <a:gd name="T37" fmla="*/ 17 h 353"/>
              <a:gd name="T38" fmla="*/ 334 w 353"/>
              <a:gd name="T39" fmla="*/ 337 h 353"/>
              <a:gd name="T40" fmla="*/ 30 w 353"/>
              <a:gd name="T41" fmla="*/ 305 h 353"/>
              <a:gd name="T42" fmla="*/ 48 w 353"/>
              <a:gd name="T43" fmla="*/ 144 h 353"/>
              <a:gd name="T44" fmla="*/ 80 w 353"/>
              <a:gd name="T45" fmla="*/ 289 h 353"/>
              <a:gd name="T46" fmla="*/ 48 w 353"/>
              <a:gd name="T47" fmla="*/ 144 h 353"/>
              <a:gd name="T48" fmla="*/ 128 w 353"/>
              <a:gd name="T49" fmla="*/ 144 h 353"/>
              <a:gd name="T50" fmla="*/ 96 w 353"/>
              <a:gd name="T51" fmla="*/ 289 h 353"/>
              <a:gd name="T52" fmla="*/ 144 w 353"/>
              <a:gd name="T53" fmla="*/ 144 h 353"/>
              <a:gd name="T54" fmla="*/ 209 w 353"/>
              <a:gd name="T55" fmla="*/ 289 h 353"/>
              <a:gd name="T56" fmla="*/ 144 w 353"/>
              <a:gd name="T57" fmla="*/ 144 h 353"/>
              <a:gd name="T58" fmla="*/ 257 w 353"/>
              <a:gd name="T59" fmla="*/ 144 h 353"/>
              <a:gd name="T60" fmla="*/ 225 w 353"/>
              <a:gd name="T61" fmla="*/ 289 h 353"/>
              <a:gd name="T62" fmla="*/ 273 w 353"/>
              <a:gd name="T63" fmla="*/ 144 h 353"/>
              <a:gd name="T64" fmla="*/ 305 w 353"/>
              <a:gd name="T65" fmla="*/ 289 h 353"/>
              <a:gd name="T66" fmla="*/ 273 w 353"/>
              <a:gd name="T67" fmla="*/ 144 h 353"/>
              <a:gd name="T68" fmla="*/ 337 w 353"/>
              <a:gd name="T69" fmla="*/ 112 h 353"/>
              <a:gd name="T70" fmla="*/ 16 w 353"/>
              <a:gd name="T71" fmla="*/ 128 h 3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53" h="353">
                <a:moveTo>
                  <a:pt x="345" y="144"/>
                </a:moveTo>
                <a:cubicBezTo>
                  <a:pt x="350" y="144"/>
                  <a:pt x="353" y="141"/>
                  <a:pt x="353" y="136"/>
                </a:cubicBezTo>
                <a:cubicBezTo>
                  <a:pt x="353" y="104"/>
                  <a:pt x="353" y="104"/>
                  <a:pt x="353" y="104"/>
                </a:cubicBezTo>
                <a:cubicBezTo>
                  <a:pt x="353" y="101"/>
                  <a:pt x="351" y="99"/>
                  <a:pt x="349" y="97"/>
                </a:cubicBezTo>
                <a:cubicBezTo>
                  <a:pt x="349" y="97"/>
                  <a:pt x="349" y="97"/>
                  <a:pt x="349" y="97"/>
                </a:cubicBezTo>
                <a:cubicBezTo>
                  <a:pt x="180" y="1"/>
                  <a:pt x="180" y="1"/>
                  <a:pt x="180" y="1"/>
                </a:cubicBezTo>
                <a:cubicBezTo>
                  <a:pt x="180" y="1"/>
                  <a:pt x="180" y="1"/>
                  <a:pt x="180" y="1"/>
                </a:cubicBezTo>
                <a:cubicBezTo>
                  <a:pt x="179" y="0"/>
                  <a:pt x="178" y="0"/>
                  <a:pt x="176" y="0"/>
                </a:cubicBezTo>
                <a:cubicBezTo>
                  <a:pt x="175" y="0"/>
                  <a:pt x="174" y="0"/>
                  <a:pt x="173" y="1"/>
                </a:cubicBezTo>
                <a:cubicBezTo>
                  <a:pt x="173" y="1"/>
                  <a:pt x="173" y="1"/>
                  <a:pt x="173" y="1"/>
                </a:cubicBezTo>
                <a:cubicBezTo>
                  <a:pt x="4" y="97"/>
                  <a:pt x="4" y="97"/>
                  <a:pt x="4" y="97"/>
                </a:cubicBezTo>
                <a:cubicBezTo>
                  <a:pt x="4" y="97"/>
                  <a:pt x="4" y="97"/>
                  <a:pt x="4" y="97"/>
                </a:cubicBezTo>
                <a:cubicBezTo>
                  <a:pt x="2" y="99"/>
                  <a:pt x="0" y="101"/>
                  <a:pt x="0" y="104"/>
                </a:cubicBezTo>
                <a:cubicBezTo>
                  <a:pt x="0" y="136"/>
                  <a:pt x="0" y="136"/>
                  <a:pt x="0" y="136"/>
                </a:cubicBezTo>
                <a:cubicBezTo>
                  <a:pt x="0" y="141"/>
                  <a:pt x="3" y="144"/>
                  <a:pt x="8" y="144"/>
                </a:cubicBezTo>
                <a:cubicBezTo>
                  <a:pt x="32" y="144"/>
                  <a:pt x="32" y="144"/>
                  <a:pt x="32" y="144"/>
                </a:cubicBezTo>
                <a:cubicBezTo>
                  <a:pt x="32" y="289"/>
                  <a:pt x="32" y="289"/>
                  <a:pt x="32" y="289"/>
                </a:cubicBezTo>
                <a:cubicBezTo>
                  <a:pt x="24" y="289"/>
                  <a:pt x="24" y="289"/>
                  <a:pt x="24" y="289"/>
                </a:cubicBezTo>
                <a:cubicBezTo>
                  <a:pt x="20" y="289"/>
                  <a:pt x="18" y="291"/>
                  <a:pt x="16" y="294"/>
                </a:cubicBezTo>
                <a:cubicBezTo>
                  <a:pt x="16" y="294"/>
                  <a:pt x="16" y="294"/>
                  <a:pt x="16" y="294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2"/>
                  <a:pt x="0" y="342"/>
                  <a:pt x="0" y="342"/>
                </a:cubicBezTo>
                <a:cubicBezTo>
                  <a:pt x="0" y="343"/>
                  <a:pt x="0" y="344"/>
                  <a:pt x="0" y="345"/>
                </a:cubicBezTo>
                <a:cubicBezTo>
                  <a:pt x="0" y="349"/>
                  <a:pt x="3" y="353"/>
                  <a:pt x="8" y="353"/>
                </a:cubicBezTo>
                <a:cubicBezTo>
                  <a:pt x="345" y="353"/>
                  <a:pt x="345" y="353"/>
                  <a:pt x="345" y="353"/>
                </a:cubicBezTo>
                <a:cubicBezTo>
                  <a:pt x="350" y="353"/>
                  <a:pt x="353" y="349"/>
                  <a:pt x="353" y="345"/>
                </a:cubicBezTo>
                <a:cubicBezTo>
                  <a:pt x="353" y="344"/>
                  <a:pt x="353" y="343"/>
                  <a:pt x="353" y="342"/>
                </a:cubicBezTo>
                <a:cubicBezTo>
                  <a:pt x="353" y="342"/>
                  <a:pt x="353" y="342"/>
                  <a:pt x="353" y="342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7" y="294"/>
                  <a:pt x="337" y="294"/>
                  <a:pt x="337" y="294"/>
                </a:cubicBezTo>
                <a:cubicBezTo>
                  <a:pt x="335" y="291"/>
                  <a:pt x="333" y="289"/>
                  <a:pt x="329" y="289"/>
                </a:cubicBezTo>
                <a:cubicBezTo>
                  <a:pt x="321" y="289"/>
                  <a:pt x="321" y="289"/>
                  <a:pt x="321" y="289"/>
                </a:cubicBezTo>
                <a:cubicBezTo>
                  <a:pt x="321" y="144"/>
                  <a:pt x="321" y="144"/>
                  <a:pt x="321" y="144"/>
                </a:cubicBezTo>
                <a:lnTo>
                  <a:pt x="345" y="144"/>
                </a:lnTo>
                <a:close/>
                <a:moveTo>
                  <a:pt x="176" y="17"/>
                </a:moveTo>
                <a:cubicBezTo>
                  <a:pt x="315" y="96"/>
                  <a:pt x="315" y="96"/>
                  <a:pt x="315" y="96"/>
                </a:cubicBezTo>
                <a:cubicBezTo>
                  <a:pt x="38" y="96"/>
                  <a:pt x="38" y="96"/>
                  <a:pt x="38" y="96"/>
                </a:cubicBezTo>
                <a:lnTo>
                  <a:pt x="176" y="17"/>
                </a:lnTo>
                <a:close/>
                <a:moveTo>
                  <a:pt x="323" y="305"/>
                </a:moveTo>
                <a:cubicBezTo>
                  <a:pt x="334" y="337"/>
                  <a:pt x="334" y="337"/>
                  <a:pt x="334" y="337"/>
                </a:cubicBezTo>
                <a:cubicBezTo>
                  <a:pt x="19" y="337"/>
                  <a:pt x="19" y="337"/>
                  <a:pt x="19" y="337"/>
                </a:cubicBezTo>
                <a:cubicBezTo>
                  <a:pt x="30" y="305"/>
                  <a:pt x="30" y="305"/>
                  <a:pt x="30" y="305"/>
                </a:cubicBezTo>
                <a:lnTo>
                  <a:pt x="323" y="305"/>
                </a:lnTo>
                <a:close/>
                <a:moveTo>
                  <a:pt x="48" y="144"/>
                </a:moveTo>
                <a:cubicBezTo>
                  <a:pt x="80" y="144"/>
                  <a:pt x="80" y="144"/>
                  <a:pt x="80" y="144"/>
                </a:cubicBezTo>
                <a:cubicBezTo>
                  <a:pt x="80" y="289"/>
                  <a:pt x="80" y="289"/>
                  <a:pt x="80" y="289"/>
                </a:cubicBezTo>
                <a:cubicBezTo>
                  <a:pt x="48" y="289"/>
                  <a:pt x="48" y="289"/>
                  <a:pt x="48" y="289"/>
                </a:cubicBezTo>
                <a:lnTo>
                  <a:pt x="48" y="144"/>
                </a:lnTo>
                <a:close/>
                <a:moveTo>
                  <a:pt x="96" y="144"/>
                </a:moveTo>
                <a:cubicBezTo>
                  <a:pt x="128" y="144"/>
                  <a:pt x="128" y="144"/>
                  <a:pt x="128" y="144"/>
                </a:cubicBezTo>
                <a:cubicBezTo>
                  <a:pt x="128" y="289"/>
                  <a:pt x="128" y="289"/>
                  <a:pt x="128" y="289"/>
                </a:cubicBezTo>
                <a:cubicBezTo>
                  <a:pt x="96" y="289"/>
                  <a:pt x="96" y="289"/>
                  <a:pt x="96" y="289"/>
                </a:cubicBezTo>
                <a:lnTo>
                  <a:pt x="96" y="144"/>
                </a:lnTo>
                <a:close/>
                <a:moveTo>
                  <a:pt x="144" y="144"/>
                </a:moveTo>
                <a:cubicBezTo>
                  <a:pt x="209" y="144"/>
                  <a:pt x="209" y="144"/>
                  <a:pt x="209" y="144"/>
                </a:cubicBezTo>
                <a:cubicBezTo>
                  <a:pt x="209" y="289"/>
                  <a:pt x="209" y="289"/>
                  <a:pt x="209" y="289"/>
                </a:cubicBezTo>
                <a:cubicBezTo>
                  <a:pt x="144" y="289"/>
                  <a:pt x="144" y="289"/>
                  <a:pt x="144" y="289"/>
                </a:cubicBezTo>
                <a:lnTo>
                  <a:pt x="144" y="144"/>
                </a:lnTo>
                <a:close/>
                <a:moveTo>
                  <a:pt x="225" y="144"/>
                </a:moveTo>
                <a:cubicBezTo>
                  <a:pt x="257" y="144"/>
                  <a:pt x="257" y="144"/>
                  <a:pt x="257" y="144"/>
                </a:cubicBezTo>
                <a:cubicBezTo>
                  <a:pt x="257" y="289"/>
                  <a:pt x="257" y="289"/>
                  <a:pt x="257" y="289"/>
                </a:cubicBezTo>
                <a:cubicBezTo>
                  <a:pt x="225" y="289"/>
                  <a:pt x="225" y="289"/>
                  <a:pt x="225" y="289"/>
                </a:cubicBezTo>
                <a:lnTo>
                  <a:pt x="225" y="144"/>
                </a:lnTo>
                <a:close/>
                <a:moveTo>
                  <a:pt x="273" y="144"/>
                </a:moveTo>
                <a:cubicBezTo>
                  <a:pt x="305" y="144"/>
                  <a:pt x="305" y="144"/>
                  <a:pt x="305" y="144"/>
                </a:cubicBezTo>
                <a:cubicBezTo>
                  <a:pt x="305" y="289"/>
                  <a:pt x="305" y="289"/>
                  <a:pt x="305" y="289"/>
                </a:cubicBezTo>
                <a:cubicBezTo>
                  <a:pt x="273" y="289"/>
                  <a:pt x="273" y="289"/>
                  <a:pt x="273" y="289"/>
                </a:cubicBezTo>
                <a:lnTo>
                  <a:pt x="273" y="144"/>
                </a:lnTo>
                <a:close/>
                <a:moveTo>
                  <a:pt x="16" y="112"/>
                </a:moveTo>
                <a:cubicBezTo>
                  <a:pt x="337" y="112"/>
                  <a:pt x="337" y="112"/>
                  <a:pt x="337" y="112"/>
                </a:cubicBezTo>
                <a:cubicBezTo>
                  <a:pt x="337" y="128"/>
                  <a:pt x="337" y="128"/>
                  <a:pt x="337" y="128"/>
                </a:cubicBezTo>
                <a:cubicBezTo>
                  <a:pt x="16" y="128"/>
                  <a:pt x="16" y="128"/>
                  <a:pt x="16" y="128"/>
                </a:cubicBezTo>
                <a:lnTo>
                  <a:pt x="16" y="1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2" name="Freeform 5"/>
          <p:cNvSpPr>
            <a:spLocks/>
          </p:cNvSpPr>
          <p:nvPr/>
        </p:nvSpPr>
        <p:spPr bwMode="auto">
          <a:xfrm>
            <a:off x="4095280" y="3688319"/>
            <a:ext cx="966911" cy="200398"/>
          </a:xfrm>
          <a:custGeom>
            <a:avLst/>
            <a:gdLst>
              <a:gd name="T0" fmla="*/ 2555 w 5111"/>
              <a:gd name="T1" fmla="*/ 626 h 1059"/>
              <a:gd name="T2" fmla="*/ 216 w 5111"/>
              <a:gd name="T3" fmla="*/ 0 h 1059"/>
              <a:gd name="T4" fmla="*/ 0 w 5111"/>
              <a:gd name="T5" fmla="*/ 375 h 1059"/>
              <a:gd name="T6" fmla="*/ 2555 w 5111"/>
              <a:gd name="T7" fmla="*/ 1059 h 1059"/>
              <a:gd name="T8" fmla="*/ 5111 w 5111"/>
              <a:gd name="T9" fmla="*/ 375 h 1059"/>
              <a:gd name="T10" fmla="*/ 4894 w 5111"/>
              <a:gd name="T11" fmla="*/ 0 h 1059"/>
              <a:gd name="T12" fmla="*/ 2555 w 5111"/>
              <a:gd name="T13" fmla="*/ 626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11" h="1059">
                <a:moveTo>
                  <a:pt x="2555" y="626"/>
                </a:moveTo>
                <a:cubicBezTo>
                  <a:pt x="1703" y="626"/>
                  <a:pt x="904" y="398"/>
                  <a:pt x="216" y="0"/>
                </a:cubicBezTo>
                <a:cubicBezTo>
                  <a:pt x="0" y="375"/>
                  <a:pt x="0" y="375"/>
                  <a:pt x="0" y="375"/>
                </a:cubicBezTo>
                <a:cubicBezTo>
                  <a:pt x="752" y="810"/>
                  <a:pt x="1624" y="1059"/>
                  <a:pt x="2555" y="1059"/>
                </a:cubicBezTo>
                <a:cubicBezTo>
                  <a:pt x="3486" y="1059"/>
                  <a:pt x="4359" y="810"/>
                  <a:pt x="5111" y="375"/>
                </a:cubicBezTo>
                <a:cubicBezTo>
                  <a:pt x="4894" y="0"/>
                  <a:pt x="4894" y="0"/>
                  <a:pt x="4894" y="0"/>
                </a:cubicBezTo>
                <a:cubicBezTo>
                  <a:pt x="4206" y="398"/>
                  <a:pt x="3407" y="626"/>
                  <a:pt x="2555" y="626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3" name="Freeform 6"/>
          <p:cNvSpPr>
            <a:spLocks/>
          </p:cNvSpPr>
          <p:nvPr/>
        </p:nvSpPr>
        <p:spPr bwMode="auto">
          <a:xfrm>
            <a:off x="4095280" y="1955298"/>
            <a:ext cx="966911" cy="200398"/>
          </a:xfrm>
          <a:custGeom>
            <a:avLst/>
            <a:gdLst>
              <a:gd name="T0" fmla="*/ 2555 w 5111"/>
              <a:gd name="T1" fmla="*/ 433 h 1059"/>
              <a:gd name="T2" fmla="*/ 4894 w 5111"/>
              <a:gd name="T3" fmla="*/ 1059 h 1059"/>
              <a:gd name="T4" fmla="*/ 5111 w 5111"/>
              <a:gd name="T5" fmla="*/ 684 h 1059"/>
              <a:gd name="T6" fmla="*/ 2555 w 5111"/>
              <a:gd name="T7" fmla="*/ 0 h 1059"/>
              <a:gd name="T8" fmla="*/ 0 w 5111"/>
              <a:gd name="T9" fmla="*/ 684 h 1059"/>
              <a:gd name="T10" fmla="*/ 216 w 5111"/>
              <a:gd name="T11" fmla="*/ 1059 h 1059"/>
              <a:gd name="T12" fmla="*/ 2555 w 5111"/>
              <a:gd name="T13" fmla="*/ 433 h 10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111" h="1059">
                <a:moveTo>
                  <a:pt x="2555" y="433"/>
                </a:moveTo>
                <a:cubicBezTo>
                  <a:pt x="3407" y="433"/>
                  <a:pt x="4206" y="661"/>
                  <a:pt x="4894" y="1059"/>
                </a:cubicBezTo>
                <a:cubicBezTo>
                  <a:pt x="5111" y="684"/>
                  <a:pt x="5111" y="684"/>
                  <a:pt x="5111" y="684"/>
                </a:cubicBezTo>
                <a:cubicBezTo>
                  <a:pt x="4359" y="249"/>
                  <a:pt x="3486" y="0"/>
                  <a:pt x="2555" y="0"/>
                </a:cubicBezTo>
                <a:cubicBezTo>
                  <a:pt x="1624" y="0"/>
                  <a:pt x="752" y="249"/>
                  <a:pt x="0" y="684"/>
                </a:cubicBezTo>
                <a:cubicBezTo>
                  <a:pt x="216" y="1059"/>
                  <a:pt x="216" y="1059"/>
                  <a:pt x="216" y="1059"/>
                </a:cubicBezTo>
                <a:cubicBezTo>
                  <a:pt x="904" y="661"/>
                  <a:pt x="1703" y="433"/>
                  <a:pt x="2555" y="433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4" name="Freeform 7"/>
          <p:cNvSpPr>
            <a:spLocks/>
          </p:cNvSpPr>
          <p:nvPr/>
        </p:nvSpPr>
        <p:spPr bwMode="auto">
          <a:xfrm>
            <a:off x="3612226" y="2084731"/>
            <a:ext cx="523778" cy="837478"/>
          </a:xfrm>
          <a:custGeom>
            <a:avLst/>
            <a:gdLst>
              <a:gd name="T0" fmla="*/ 0 w 2770"/>
              <a:gd name="T1" fmla="*/ 4426 h 4426"/>
              <a:gd name="T2" fmla="*/ 432 w 2770"/>
              <a:gd name="T3" fmla="*/ 4426 h 4426"/>
              <a:gd name="T4" fmla="*/ 2770 w 2770"/>
              <a:gd name="T5" fmla="*/ 375 h 4426"/>
              <a:gd name="T6" fmla="*/ 2554 w 2770"/>
              <a:gd name="T7" fmla="*/ 0 h 4426"/>
              <a:gd name="T8" fmla="*/ 0 w 2770"/>
              <a:gd name="T9" fmla="*/ 4426 h 4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70" h="4426">
                <a:moveTo>
                  <a:pt x="0" y="4426"/>
                </a:moveTo>
                <a:cubicBezTo>
                  <a:pt x="432" y="4426"/>
                  <a:pt x="432" y="4426"/>
                  <a:pt x="432" y="4426"/>
                </a:cubicBezTo>
                <a:cubicBezTo>
                  <a:pt x="432" y="2695"/>
                  <a:pt x="1373" y="1184"/>
                  <a:pt x="2770" y="375"/>
                </a:cubicBezTo>
                <a:cubicBezTo>
                  <a:pt x="2554" y="0"/>
                  <a:pt x="2554" y="0"/>
                  <a:pt x="2554" y="0"/>
                </a:cubicBezTo>
                <a:cubicBezTo>
                  <a:pt x="1027" y="884"/>
                  <a:pt x="0" y="2535"/>
                  <a:pt x="0" y="4426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5" name="Freeform 8"/>
          <p:cNvSpPr>
            <a:spLocks/>
          </p:cNvSpPr>
          <p:nvPr/>
        </p:nvSpPr>
        <p:spPr bwMode="auto">
          <a:xfrm>
            <a:off x="5021063" y="2922210"/>
            <a:ext cx="524180" cy="837075"/>
          </a:xfrm>
          <a:custGeom>
            <a:avLst/>
            <a:gdLst>
              <a:gd name="T0" fmla="*/ 2771 w 2771"/>
              <a:gd name="T1" fmla="*/ 0 h 4426"/>
              <a:gd name="T2" fmla="*/ 2771 w 2771"/>
              <a:gd name="T3" fmla="*/ 0 h 4426"/>
              <a:gd name="T4" fmla="*/ 2338 w 2771"/>
              <a:gd name="T5" fmla="*/ 0 h 4426"/>
              <a:gd name="T6" fmla="*/ 2338 w 2771"/>
              <a:gd name="T7" fmla="*/ 0 h 4426"/>
              <a:gd name="T8" fmla="*/ 0 w 2771"/>
              <a:gd name="T9" fmla="*/ 4051 h 4426"/>
              <a:gd name="T10" fmla="*/ 217 w 2771"/>
              <a:gd name="T11" fmla="*/ 4426 h 4426"/>
              <a:gd name="T12" fmla="*/ 2771 w 2771"/>
              <a:gd name="T13" fmla="*/ 0 h 4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71" h="4426">
                <a:moveTo>
                  <a:pt x="2771" y="0"/>
                </a:moveTo>
                <a:cubicBezTo>
                  <a:pt x="2771" y="0"/>
                  <a:pt x="2771" y="0"/>
                  <a:pt x="2771" y="0"/>
                </a:cubicBezTo>
                <a:cubicBezTo>
                  <a:pt x="2338" y="0"/>
                  <a:pt x="2338" y="0"/>
                  <a:pt x="2338" y="0"/>
                </a:cubicBezTo>
                <a:cubicBezTo>
                  <a:pt x="2338" y="0"/>
                  <a:pt x="2338" y="0"/>
                  <a:pt x="2338" y="0"/>
                </a:cubicBezTo>
                <a:cubicBezTo>
                  <a:pt x="2338" y="1731"/>
                  <a:pt x="1398" y="3242"/>
                  <a:pt x="0" y="4051"/>
                </a:cubicBezTo>
                <a:cubicBezTo>
                  <a:pt x="217" y="4426"/>
                  <a:pt x="217" y="4426"/>
                  <a:pt x="217" y="4426"/>
                </a:cubicBezTo>
                <a:cubicBezTo>
                  <a:pt x="1744" y="3542"/>
                  <a:pt x="2771" y="1891"/>
                  <a:pt x="2771" y="0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6" name="Freeform 9"/>
          <p:cNvSpPr>
            <a:spLocks/>
          </p:cNvSpPr>
          <p:nvPr/>
        </p:nvSpPr>
        <p:spPr bwMode="auto">
          <a:xfrm>
            <a:off x="5021063" y="2084731"/>
            <a:ext cx="524180" cy="837478"/>
          </a:xfrm>
          <a:custGeom>
            <a:avLst/>
            <a:gdLst>
              <a:gd name="T0" fmla="*/ 217 w 2771"/>
              <a:gd name="T1" fmla="*/ 0 h 4426"/>
              <a:gd name="T2" fmla="*/ 0 w 2771"/>
              <a:gd name="T3" fmla="*/ 375 h 4426"/>
              <a:gd name="T4" fmla="*/ 2338 w 2771"/>
              <a:gd name="T5" fmla="*/ 4426 h 4426"/>
              <a:gd name="T6" fmla="*/ 2771 w 2771"/>
              <a:gd name="T7" fmla="*/ 4426 h 4426"/>
              <a:gd name="T8" fmla="*/ 217 w 2771"/>
              <a:gd name="T9" fmla="*/ 0 h 4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71" h="4426">
                <a:moveTo>
                  <a:pt x="217" y="0"/>
                </a:moveTo>
                <a:cubicBezTo>
                  <a:pt x="0" y="375"/>
                  <a:pt x="0" y="375"/>
                  <a:pt x="0" y="375"/>
                </a:cubicBezTo>
                <a:cubicBezTo>
                  <a:pt x="1398" y="1184"/>
                  <a:pt x="2338" y="2695"/>
                  <a:pt x="2338" y="4426"/>
                </a:cubicBezTo>
                <a:cubicBezTo>
                  <a:pt x="2771" y="4426"/>
                  <a:pt x="2771" y="4426"/>
                  <a:pt x="2771" y="4426"/>
                </a:cubicBezTo>
                <a:cubicBezTo>
                  <a:pt x="2771" y="2535"/>
                  <a:pt x="1744" y="884"/>
                  <a:pt x="217" y="0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7" name="Freeform 10"/>
          <p:cNvSpPr>
            <a:spLocks/>
          </p:cNvSpPr>
          <p:nvPr/>
        </p:nvSpPr>
        <p:spPr bwMode="auto">
          <a:xfrm>
            <a:off x="3612226" y="2922210"/>
            <a:ext cx="523778" cy="837075"/>
          </a:xfrm>
          <a:custGeom>
            <a:avLst/>
            <a:gdLst>
              <a:gd name="T0" fmla="*/ 2554 w 2770"/>
              <a:gd name="T1" fmla="*/ 4426 h 4426"/>
              <a:gd name="T2" fmla="*/ 2770 w 2770"/>
              <a:gd name="T3" fmla="*/ 4051 h 4426"/>
              <a:gd name="T4" fmla="*/ 432 w 2770"/>
              <a:gd name="T5" fmla="*/ 0 h 4426"/>
              <a:gd name="T6" fmla="*/ 432 w 2770"/>
              <a:gd name="T7" fmla="*/ 0 h 4426"/>
              <a:gd name="T8" fmla="*/ 0 w 2770"/>
              <a:gd name="T9" fmla="*/ 0 h 4426"/>
              <a:gd name="T10" fmla="*/ 0 w 2770"/>
              <a:gd name="T11" fmla="*/ 0 h 4426"/>
              <a:gd name="T12" fmla="*/ 2554 w 2770"/>
              <a:gd name="T13" fmla="*/ 4426 h 44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70" h="4426">
                <a:moveTo>
                  <a:pt x="2554" y="4426"/>
                </a:moveTo>
                <a:cubicBezTo>
                  <a:pt x="2770" y="4051"/>
                  <a:pt x="2770" y="4051"/>
                  <a:pt x="2770" y="4051"/>
                </a:cubicBezTo>
                <a:cubicBezTo>
                  <a:pt x="1373" y="3242"/>
                  <a:pt x="432" y="1731"/>
                  <a:pt x="432" y="0"/>
                </a:cubicBezTo>
                <a:cubicBezTo>
                  <a:pt x="432" y="0"/>
                  <a:pt x="432" y="0"/>
                  <a:pt x="43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891"/>
                  <a:pt x="1027" y="3542"/>
                  <a:pt x="2554" y="4426"/>
                </a:cubicBezTo>
                <a:close/>
              </a:path>
            </a:pathLst>
          </a:custGeom>
          <a:solidFill>
            <a:schemeClr val="accent6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8" name="Oval 11"/>
          <p:cNvSpPr>
            <a:spLocks noChangeArrowheads="1"/>
          </p:cNvSpPr>
          <p:nvPr/>
        </p:nvSpPr>
        <p:spPr bwMode="auto">
          <a:xfrm>
            <a:off x="3588556" y="2857789"/>
            <a:ext cx="127986" cy="128439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39" name="Oval 12"/>
          <p:cNvSpPr>
            <a:spLocks noChangeArrowheads="1"/>
          </p:cNvSpPr>
          <p:nvPr/>
        </p:nvSpPr>
        <p:spPr bwMode="auto">
          <a:xfrm>
            <a:off x="5440928" y="2857789"/>
            <a:ext cx="127986" cy="128439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0" name="Oval 13"/>
          <p:cNvSpPr>
            <a:spLocks noChangeArrowheads="1"/>
          </p:cNvSpPr>
          <p:nvPr/>
        </p:nvSpPr>
        <p:spPr bwMode="auto">
          <a:xfrm>
            <a:off x="4051044" y="3661019"/>
            <a:ext cx="127986" cy="127985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1" name="Oval 14"/>
          <p:cNvSpPr>
            <a:spLocks noChangeArrowheads="1"/>
          </p:cNvSpPr>
          <p:nvPr/>
        </p:nvSpPr>
        <p:spPr bwMode="auto">
          <a:xfrm>
            <a:off x="4978036" y="3661019"/>
            <a:ext cx="127986" cy="127985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2" name="Oval 15"/>
          <p:cNvSpPr>
            <a:spLocks noChangeArrowheads="1"/>
          </p:cNvSpPr>
          <p:nvPr/>
        </p:nvSpPr>
        <p:spPr bwMode="auto">
          <a:xfrm>
            <a:off x="4051044" y="2054987"/>
            <a:ext cx="127986" cy="128439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43" name="Oval 16"/>
          <p:cNvSpPr>
            <a:spLocks noChangeArrowheads="1"/>
          </p:cNvSpPr>
          <p:nvPr/>
        </p:nvSpPr>
        <p:spPr bwMode="auto">
          <a:xfrm>
            <a:off x="4978036" y="2054987"/>
            <a:ext cx="127986" cy="128439"/>
          </a:xfrm>
          <a:prstGeom prst="ellipse">
            <a:avLst/>
          </a:prstGeom>
          <a:solidFill>
            <a:schemeClr val="accent1"/>
          </a:solidFill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grpSp>
        <p:nvGrpSpPr>
          <p:cNvPr id="24" name="Group 23"/>
          <p:cNvGrpSpPr/>
          <p:nvPr/>
        </p:nvGrpSpPr>
        <p:grpSpPr>
          <a:xfrm>
            <a:off x="3212278" y="1907953"/>
            <a:ext cx="857509" cy="165843"/>
            <a:chOff x="3212278" y="1907953"/>
            <a:chExt cx="857509" cy="165843"/>
          </a:xfrm>
        </p:grpSpPr>
        <p:cxnSp>
          <p:nvCxnSpPr>
            <p:cNvPr id="44" name="Straight Connector 43"/>
            <p:cNvCxnSpPr>
              <a:endCxn id="42" idx="1"/>
            </p:cNvCxnSpPr>
            <p:nvPr/>
          </p:nvCxnSpPr>
          <p:spPr>
            <a:xfrm>
              <a:off x="3780144" y="1907953"/>
              <a:ext cx="289643" cy="165843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3212278" y="1909866"/>
              <a:ext cx="567866" cy="0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/>
          <p:cNvGrpSpPr/>
          <p:nvPr/>
        </p:nvGrpSpPr>
        <p:grpSpPr>
          <a:xfrm>
            <a:off x="5087280" y="1907953"/>
            <a:ext cx="847618" cy="165843"/>
            <a:chOff x="5087280" y="1907953"/>
            <a:chExt cx="847618" cy="165843"/>
          </a:xfrm>
        </p:grpSpPr>
        <p:cxnSp>
          <p:nvCxnSpPr>
            <p:cNvPr id="46" name="Straight Connector 45"/>
            <p:cNvCxnSpPr>
              <a:endCxn id="43" idx="7"/>
            </p:cNvCxnSpPr>
            <p:nvPr/>
          </p:nvCxnSpPr>
          <p:spPr>
            <a:xfrm flipH="1">
              <a:off x="5087280" y="1907953"/>
              <a:ext cx="279752" cy="165843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flipH="1">
              <a:off x="5364663" y="1909866"/>
              <a:ext cx="570235" cy="0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>
            <a:off x="5087280" y="3770262"/>
            <a:ext cx="847618" cy="167498"/>
            <a:chOff x="5087280" y="3770262"/>
            <a:chExt cx="847618" cy="167498"/>
          </a:xfrm>
        </p:grpSpPr>
        <p:cxnSp>
          <p:nvCxnSpPr>
            <p:cNvPr id="48" name="Straight Connector 47"/>
            <p:cNvCxnSpPr>
              <a:endCxn id="41" idx="5"/>
            </p:cNvCxnSpPr>
            <p:nvPr/>
          </p:nvCxnSpPr>
          <p:spPr>
            <a:xfrm flipH="1" flipV="1">
              <a:off x="5087280" y="3770262"/>
              <a:ext cx="279753" cy="167498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stCxn id="6" idx="3"/>
            </p:cNvCxnSpPr>
            <p:nvPr/>
          </p:nvCxnSpPr>
          <p:spPr>
            <a:xfrm flipH="1">
              <a:off x="5367032" y="3937759"/>
              <a:ext cx="567866" cy="1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/>
          <p:cNvGrpSpPr/>
          <p:nvPr/>
        </p:nvGrpSpPr>
        <p:grpSpPr>
          <a:xfrm>
            <a:off x="3212277" y="3770262"/>
            <a:ext cx="857510" cy="167498"/>
            <a:chOff x="3212277" y="3770262"/>
            <a:chExt cx="857510" cy="167498"/>
          </a:xfrm>
        </p:grpSpPr>
        <p:cxnSp>
          <p:nvCxnSpPr>
            <p:cNvPr id="50" name="Straight Connector 49"/>
            <p:cNvCxnSpPr>
              <a:endCxn id="40" idx="3"/>
            </p:cNvCxnSpPr>
            <p:nvPr/>
          </p:nvCxnSpPr>
          <p:spPr>
            <a:xfrm flipV="1">
              <a:off x="3780144" y="3770262"/>
              <a:ext cx="289643" cy="167498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>
              <a:stCxn id="18" idx="3"/>
            </p:cNvCxnSpPr>
            <p:nvPr/>
          </p:nvCxnSpPr>
          <p:spPr>
            <a:xfrm>
              <a:off x="3212277" y="3937760"/>
              <a:ext cx="567867" cy="0"/>
            </a:xfrm>
            <a:prstGeom prst="line">
              <a:avLst/>
            </a:prstGeom>
            <a:ln w="9525">
              <a:solidFill>
                <a:schemeClr val="accent5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2" name="Straight Connector 51"/>
          <p:cNvCxnSpPr>
            <a:endCxn id="16" idx="3"/>
          </p:cNvCxnSpPr>
          <p:nvPr/>
        </p:nvCxnSpPr>
        <p:spPr>
          <a:xfrm flipH="1">
            <a:off x="3212277" y="2922008"/>
            <a:ext cx="376280" cy="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5" idx="3"/>
            <a:endCxn id="39" idx="6"/>
          </p:cNvCxnSpPr>
          <p:nvPr/>
        </p:nvCxnSpPr>
        <p:spPr>
          <a:xfrm flipH="1">
            <a:off x="5568914" y="2922008"/>
            <a:ext cx="365984" cy="1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829750" y="1683912"/>
            <a:ext cx="1447800" cy="440118"/>
            <a:chOff x="829750" y="1683912"/>
            <a:chExt cx="1447800" cy="440118"/>
          </a:xfrm>
        </p:grpSpPr>
        <p:sp>
          <p:nvSpPr>
            <p:cNvPr id="61" name="TextBox 60"/>
            <p:cNvSpPr txBox="1"/>
            <p:nvPr/>
          </p:nvSpPr>
          <p:spPr>
            <a:xfrm>
              <a:off x="829750" y="1859919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2" name="Title 2"/>
            <p:cNvSpPr txBox="1">
              <a:spLocks/>
            </p:cNvSpPr>
            <p:nvPr/>
          </p:nvSpPr>
          <p:spPr>
            <a:xfrm>
              <a:off x="829750" y="1683912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gerenciament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29750" y="2696692"/>
            <a:ext cx="1447800" cy="440119"/>
            <a:chOff x="829750" y="2696692"/>
            <a:chExt cx="1447800" cy="440119"/>
          </a:xfrm>
        </p:grpSpPr>
        <p:sp>
          <p:nvSpPr>
            <p:cNvPr id="63" name="TextBox 62"/>
            <p:cNvSpPr txBox="1"/>
            <p:nvPr/>
          </p:nvSpPr>
          <p:spPr>
            <a:xfrm>
              <a:off x="829750" y="2872700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4" name="Title 2"/>
            <p:cNvSpPr txBox="1">
              <a:spLocks/>
            </p:cNvSpPr>
            <p:nvPr/>
          </p:nvSpPr>
          <p:spPr>
            <a:xfrm>
              <a:off x="829750" y="2696692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rojet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829750" y="3715489"/>
            <a:ext cx="1447800" cy="440119"/>
            <a:chOff x="829750" y="3715489"/>
            <a:chExt cx="1447800" cy="440119"/>
          </a:xfrm>
        </p:grpSpPr>
        <p:sp>
          <p:nvSpPr>
            <p:cNvPr id="65" name="TextBox 64"/>
            <p:cNvSpPr txBox="1"/>
            <p:nvPr/>
          </p:nvSpPr>
          <p:spPr>
            <a:xfrm>
              <a:off x="829750" y="3891497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6" name="Title 2"/>
            <p:cNvSpPr txBox="1">
              <a:spLocks/>
            </p:cNvSpPr>
            <p:nvPr/>
          </p:nvSpPr>
          <p:spPr>
            <a:xfrm>
              <a:off x="829750" y="3715489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r"/>
              <a:r>
                <a:rPr lang="en-US" sz="900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Plano </a:t>
              </a:r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financeir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869626" y="1683912"/>
            <a:ext cx="1447800" cy="440119"/>
            <a:chOff x="6869626" y="1683912"/>
            <a:chExt cx="1447800" cy="440119"/>
          </a:xfrm>
        </p:grpSpPr>
        <p:sp>
          <p:nvSpPr>
            <p:cNvPr id="67" name="TextBox 66"/>
            <p:cNvSpPr txBox="1"/>
            <p:nvPr/>
          </p:nvSpPr>
          <p:spPr>
            <a:xfrm>
              <a:off x="6869626" y="1859920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68" name="Title 2"/>
            <p:cNvSpPr txBox="1">
              <a:spLocks/>
            </p:cNvSpPr>
            <p:nvPr/>
          </p:nvSpPr>
          <p:spPr>
            <a:xfrm>
              <a:off x="6869626" y="1683912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qualidade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6869626" y="2699738"/>
            <a:ext cx="1447800" cy="440119"/>
            <a:chOff x="6869626" y="2699738"/>
            <a:chExt cx="1447800" cy="440119"/>
          </a:xfrm>
        </p:grpSpPr>
        <p:sp>
          <p:nvSpPr>
            <p:cNvPr id="69" name="TextBox 68"/>
            <p:cNvSpPr txBox="1"/>
            <p:nvPr/>
          </p:nvSpPr>
          <p:spPr>
            <a:xfrm>
              <a:off x="6869626" y="2875746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0" name="Title 2"/>
            <p:cNvSpPr txBox="1">
              <a:spLocks/>
            </p:cNvSpPr>
            <p:nvPr/>
          </p:nvSpPr>
          <p:spPr>
            <a:xfrm>
              <a:off x="6869626" y="2699738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desenvolvimento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869626" y="3715489"/>
            <a:ext cx="1447800" cy="440119"/>
            <a:chOff x="6869626" y="3715489"/>
            <a:chExt cx="1447800" cy="440119"/>
          </a:xfrm>
        </p:grpSpPr>
        <p:sp>
          <p:nvSpPr>
            <p:cNvPr id="71" name="TextBox 70"/>
            <p:cNvSpPr txBox="1"/>
            <p:nvPr/>
          </p:nvSpPr>
          <p:spPr>
            <a:xfrm>
              <a:off x="6869626" y="3891497"/>
              <a:ext cx="1447800" cy="26411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pt-BR" sz="750" dirty="0">
                  <a:solidFill>
                    <a:schemeClr val="bg1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nsira alguns dados e informações sobre o título aqui</a:t>
              </a:r>
              <a:endParaRPr lang="en-US" sz="750" dirty="0">
                <a:solidFill>
                  <a:schemeClr val="bg1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72" name="Title 2"/>
            <p:cNvSpPr txBox="1">
              <a:spLocks/>
            </p:cNvSpPr>
            <p:nvPr/>
          </p:nvSpPr>
          <p:spPr>
            <a:xfrm>
              <a:off x="6869626" y="3715489"/>
              <a:ext cx="1447800" cy="138499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>
              <a:lvl1pPr algn="ctr" defTabSz="1828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6000" b="1" kern="1200" cap="none" spc="-100" baseline="0">
                  <a:solidFill>
                    <a:schemeClr val="tx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</a:lstStyle>
            <a:p>
              <a:pPr algn="l"/>
              <a:r>
                <a:rPr lang="en-US" sz="900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clientes</a:t>
              </a:r>
              <a:endParaRPr lang="en-US" sz="900" cap="all" spc="2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3900488" y="2674939"/>
            <a:ext cx="1346200" cy="508980"/>
            <a:chOff x="3994150" y="3660066"/>
            <a:chExt cx="1155700" cy="508980"/>
          </a:xfrm>
        </p:grpSpPr>
        <p:sp>
          <p:nvSpPr>
            <p:cNvPr id="55" name="TextBox 54"/>
            <p:cNvSpPr txBox="1"/>
            <p:nvPr/>
          </p:nvSpPr>
          <p:spPr>
            <a:xfrm>
              <a:off x="3994150" y="3904935"/>
              <a:ext cx="1155700" cy="264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  <a:spcAft>
                  <a:spcPts val="600"/>
                </a:spcAft>
              </a:pPr>
              <a:r>
                <a:rPr lang="pt-BR" sz="750" dirty="0">
                  <a:solidFill>
                    <a:schemeClr val="accent4"/>
                  </a:solidFill>
                  <a:latin typeface="Lato" panose="020F0502020204030203" pitchFamily="34" charset="0"/>
                </a:rPr>
                <a:t>Insira uma análise e informações sobre o título aqui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007983" y="3660066"/>
              <a:ext cx="112912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Ideias</a:t>
              </a:r>
              <a:r>
                <a:rPr lang="en-US" sz="1200" b="1" dirty="0">
                  <a:solidFill>
                    <a:schemeClr val="accent1"/>
                  </a:solidFill>
                  <a:latin typeface="Lato" panose="020F0502020204030203" pitchFamily="34" charset="0"/>
                </a:rPr>
                <a:t> de </a:t>
              </a:r>
              <a:r>
                <a:rPr lang="en-US" sz="1200" b="1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Negócio</a:t>
              </a:r>
              <a:endParaRPr lang="en-US" sz="1200" b="1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705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solidFill>
                  <a:srgbClr val="EC0000"/>
                </a:solidFill>
              </a:rPr>
              <a:t>Infográfico</a:t>
            </a:r>
            <a:r>
              <a:rPr lang="en-US" dirty="0"/>
              <a:t> de </a:t>
            </a:r>
            <a:r>
              <a:rPr lang="en-US" dirty="0" err="1"/>
              <a:t>mão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4" name="Oval Callout 3"/>
          <p:cNvSpPr/>
          <p:nvPr/>
        </p:nvSpPr>
        <p:spPr>
          <a:xfrm>
            <a:off x="3188820" y="3216127"/>
            <a:ext cx="1567885" cy="1534572"/>
          </a:xfrm>
          <a:prstGeom prst="wedgeEllipseCallout">
            <a:avLst>
              <a:gd name="adj1" fmla="val 66155"/>
              <a:gd name="adj2" fmla="val 4998"/>
            </a:avLst>
          </a:pr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5" name="Oval Callout 4"/>
          <p:cNvSpPr/>
          <p:nvPr/>
        </p:nvSpPr>
        <p:spPr>
          <a:xfrm>
            <a:off x="3699226" y="1921419"/>
            <a:ext cx="1567885" cy="1534572"/>
          </a:xfrm>
          <a:prstGeom prst="wedgeEllipseCallout">
            <a:avLst>
              <a:gd name="adj1" fmla="val 60293"/>
              <a:gd name="adj2" fmla="val 36373"/>
            </a:avLst>
          </a:pr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6" name="Oval Callout 5"/>
          <p:cNvSpPr/>
          <p:nvPr/>
        </p:nvSpPr>
        <p:spPr>
          <a:xfrm>
            <a:off x="5033996" y="1439788"/>
            <a:ext cx="1567885" cy="1534572"/>
          </a:xfrm>
          <a:prstGeom prst="wedgeEllipseCallout">
            <a:avLst>
              <a:gd name="adj1" fmla="val 1908"/>
              <a:gd name="adj2" fmla="val 62120"/>
            </a:avLst>
          </a:pr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7" name="Oval Callout 6"/>
          <p:cNvSpPr/>
          <p:nvPr/>
        </p:nvSpPr>
        <p:spPr>
          <a:xfrm>
            <a:off x="6413338" y="1798958"/>
            <a:ext cx="1567885" cy="1534572"/>
          </a:xfrm>
          <a:prstGeom prst="wedgeEllipseCallout">
            <a:avLst>
              <a:gd name="adj1" fmla="val -58042"/>
              <a:gd name="adj2" fmla="val 45228"/>
            </a:avLst>
          </a:pr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8" name="Oval Callout 7"/>
          <p:cNvSpPr/>
          <p:nvPr/>
        </p:nvSpPr>
        <p:spPr>
          <a:xfrm>
            <a:off x="6979215" y="3070887"/>
            <a:ext cx="1567885" cy="1534572"/>
          </a:xfrm>
          <a:prstGeom prst="wedgeEllipseCallout">
            <a:avLst>
              <a:gd name="adj1" fmla="val -74482"/>
              <a:gd name="adj2" fmla="val -21066"/>
            </a:avLst>
          </a:prstGeom>
          <a:solidFill>
            <a:srgbClr val="EC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9" name="Freeform 8"/>
          <p:cNvSpPr/>
          <p:nvPr/>
        </p:nvSpPr>
        <p:spPr>
          <a:xfrm>
            <a:off x="4964406" y="3161727"/>
            <a:ext cx="1648042" cy="1981773"/>
          </a:xfrm>
          <a:custGeom>
            <a:avLst/>
            <a:gdLst>
              <a:gd name="connsiteX0" fmla="*/ 2125043 w 3829223"/>
              <a:gd name="connsiteY0" fmla="*/ 92 h 4604645"/>
              <a:gd name="connsiteX1" fmla="*/ 2261733 w 3829223"/>
              <a:gd name="connsiteY1" fmla="*/ 867387 h 4604645"/>
              <a:gd name="connsiteX2" fmla="*/ 2352477 w 3829223"/>
              <a:gd name="connsiteY2" fmla="*/ 1595604 h 4604645"/>
              <a:gd name="connsiteX3" fmla="*/ 2656107 w 3829223"/>
              <a:gd name="connsiteY3" fmla="*/ 1143876 h 4604645"/>
              <a:gd name="connsiteX4" fmla="*/ 3088386 w 3829223"/>
              <a:gd name="connsiteY4" fmla="*/ 257109 h 4604645"/>
              <a:gd name="connsiteX5" fmla="*/ 3009894 w 3829223"/>
              <a:gd name="connsiteY5" fmla="*/ 1096033 h 4604645"/>
              <a:gd name="connsiteX6" fmla="*/ 2844870 w 3829223"/>
              <a:gd name="connsiteY6" fmla="*/ 1815905 h 4604645"/>
              <a:gd name="connsiteX7" fmla="*/ 3275235 w 3829223"/>
              <a:gd name="connsiteY7" fmla="*/ 1435942 h 4604645"/>
              <a:gd name="connsiteX8" fmla="*/ 3823529 w 3829223"/>
              <a:gd name="connsiteY8" fmla="*/ 907442 h 4604645"/>
              <a:gd name="connsiteX9" fmla="*/ 3531003 w 3829223"/>
              <a:gd name="connsiteY9" fmla="*/ 1548317 h 4604645"/>
              <a:gd name="connsiteX10" fmla="*/ 3179513 w 3829223"/>
              <a:gd name="connsiteY10" fmla="*/ 2335504 h 4604645"/>
              <a:gd name="connsiteX11" fmla="*/ 2863631 w 3829223"/>
              <a:gd name="connsiteY11" fmla="*/ 3699589 h 4604645"/>
              <a:gd name="connsiteX12" fmla="*/ 2811909 w 3829223"/>
              <a:gd name="connsiteY12" fmla="*/ 4456702 h 4604645"/>
              <a:gd name="connsiteX13" fmla="*/ 2802800 w 3829223"/>
              <a:gd name="connsiteY13" fmla="*/ 4604645 h 4604645"/>
              <a:gd name="connsiteX14" fmla="*/ 1716351 w 3829223"/>
              <a:gd name="connsiteY14" fmla="*/ 4604645 h 4604645"/>
              <a:gd name="connsiteX15" fmla="*/ 1716120 w 3829223"/>
              <a:gd name="connsiteY15" fmla="*/ 4593032 h 4604645"/>
              <a:gd name="connsiteX16" fmla="*/ 1636862 w 3829223"/>
              <a:gd name="connsiteY16" fmla="*/ 3655084 h 4604645"/>
              <a:gd name="connsiteX17" fmla="*/ 1123028 w 3829223"/>
              <a:gd name="connsiteY17" fmla="*/ 3122134 h 4604645"/>
              <a:gd name="connsiteX18" fmla="*/ 466377 w 3829223"/>
              <a:gd name="connsiteY18" fmla="*/ 2556917 h 4604645"/>
              <a:gd name="connsiteX19" fmla="*/ 78130 w 3829223"/>
              <a:gd name="connsiteY19" fmla="*/ 2411162 h 4604645"/>
              <a:gd name="connsiteX20" fmla="*/ 72769 w 3829223"/>
              <a:gd name="connsiteY20" fmla="*/ 2151920 h 4604645"/>
              <a:gd name="connsiteX21" fmla="*/ 722911 w 3829223"/>
              <a:gd name="connsiteY21" fmla="*/ 2186967 h 4604645"/>
              <a:gd name="connsiteX22" fmla="*/ 1368841 w 3829223"/>
              <a:gd name="connsiteY22" fmla="*/ 2299899 h 4604645"/>
              <a:gd name="connsiteX23" fmla="*/ 1304516 w 3829223"/>
              <a:gd name="connsiteY23" fmla="*/ 1427040 h 4604645"/>
              <a:gd name="connsiteX24" fmla="*/ 1085505 w 3829223"/>
              <a:gd name="connsiteY24" fmla="*/ 232631 h 4604645"/>
              <a:gd name="connsiteX25" fmla="*/ 1528122 w 3829223"/>
              <a:gd name="connsiteY25" fmla="*/ 827332 h 4604645"/>
              <a:gd name="connsiteX26" fmla="*/ 1900288 w 3829223"/>
              <a:gd name="connsiteY26" fmla="*/ 1570570 h 4604645"/>
              <a:gd name="connsiteX27" fmla="*/ 1904117 w 3829223"/>
              <a:gd name="connsiteY27" fmla="*/ 806749 h 4604645"/>
              <a:gd name="connsiteX28" fmla="*/ 2125043 w 3829223"/>
              <a:gd name="connsiteY28" fmla="*/ 92 h 4604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829223" h="4604645">
                <a:moveTo>
                  <a:pt x="2125043" y="92"/>
                </a:moveTo>
                <a:cubicBezTo>
                  <a:pt x="2233017" y="-4359"/>
                  <a:pt x="2247949" y="149184"/>
                  <a:pt x="2261733" y="867387"/>
                </a:cubicBezTo>
                <a:cubicBezTo>
                  <a:pt x="2271689" y="1357501"/>
                  <a:pt x="2303085" y="1592266"/>
                  <a:pt x="2352477" y="1595604"/>
                </a:cubicBezTo>
                <a:cubicBezTo>
                  <a:pt x="2470407" y="1606174"/>
                  <a:pt x="2543538" y="1447068"/>
                  <a:pt x="2656107" y="1143876"/>
                </a:cubicBezTo>
                <a:cubicBezTo>
                  <a:pt x="2777482" y="816206"/>
                  <a:pt x="2870141" y="206485"/>
                  <a:pt x="3088386" y="257109"/>
                </a:cubicBezTo>
                <a:cubicBezTo>
                  <a:pt x="3264897" y="297164"/>
                  <a:pt x="3173004" y="540274"/>
                  <a:pt x="3009894" y="1096033"/>
                </a:cubicBezTo>
                <a:cubicBezTo>
                  <a:pt x="2911109" y="1433160"/>
                  <a:pt x="2783608" y="1801997"/>
                  <a:pt x="2844870" y="1815905"/>
                </a:cubicBezTo>
                <a:cubicBezTo>
                  <a:pt x="2905749" y="1830369"/>
                  <a:pt x="3087620" y="1692959"/>
                  <a:pt x="3275235" y="1435942"/>
                </a:cubicBezTo>
                <a:cubicBezTo>
                  <a:pt x="3462849" y="1178924"/>
                  <a:pt x="3735847" y="698267"/>
                  <a:pt x="3823529" y="907442"/>
                </a:cubicBezTo>
                <a:cubicBezTo>
                  <a:pt x="3867178" y="1011473"/>
                  <a:pt x="3649315" y="1379197"/>
                  <a:pt x="3531003" y="1548317"/>
                </a:cubicBezTo>
                <a:cubicBezTo>
                  <a:pt x="3432601" y="1689065"/>
                  <a:pt x="3243838" y="1992813"/>
                  <a:pt x="3179513" y="2335504"/>
                </a:cubicBezTo>
                <a:cubicBezTo>
                  <a:pt x="3114805" y="2677638"/>
                  <a:pt x="3166878" y="3082635"/>
                  <a:pt x="2863631" y="3699589"/>
                </a:cubicBezTo>
                <a:cubicBezTo>
                  <a:pt x="2863631" y="3699589"/>
                  <a:pt x="2840007" y="4008331"/>
                  <a:pt x="2811909" y="4456702"/>
                </a:cubicBezTo>
                <a:lnTo>
                  <a:pt x="2802800" y="4604645"/>
                </a:lnTo>
                <a:lnTo>
                  <a:pt x="1716351" y="4604645"/>
                </a:lnTo>
                <a:lnTo>
                  <a:pt x="1716120" y="4593032"/>
                </a:lnTo>
                <a:cubicBezTo>
                  <a:pt x="1705399" y="4256460"/>
                  <a:pt x="1727606" y="3883173"/>
                  <a:pt x="1636862" y="3655084"/>
                </a:cubicBezTo>
                <a:cubicBezTo>
                  <a:pt x="1546118" y="3426994"/>
                  <a:pt x="1450779" y="3312394"/>
                  <a:pt x="1123028" y="3122134"/>
                </a:cubicBezTo>
                <a:cubicBezTo>
                  <a:pt x="794511" y="2932986"/>
                  <a:pt x="683474" y="2699890"/>
                  <a:pt x="466377" y="2556917"/>
                </a:cubicBezTo>
                <a:cubicBezTo>
                  <a:pt x="248515" y="2413944"/>
                  <a:pt x="148581" y="2384459"/>
                  <a:pt x="78130" y="2411162"/>
                </a:cubicBezTo>
                <a:cubicBezTo>
                  <a:pt x="7296" y="2437309"/>
                  <a:pt x="-52434" y="2294892"/>
                  <a:pt x="72769" y="2151920"/>
                </a:cubicBezTo>
                <a:cubicBezTo>
                  <a:pt x="198739" y="2009503"/>
                  <a:pt x="454508" y="2018404"/>
                  <a:pt x="722911" y="2186967"/>
                </a:cubicBezTo>
                <a:cubicBezTo>
                  <a:pt x="991315" y="2356087"/>
                  <a:pt x="1141407" y="2521869"/>
                  <a:pt x="1368841" y="2299899"/>
                </a:cubicBezTo>
                <a:cubicBezTo>
                  <a:pt x="1534631" y="2136899"/>
                  <a:pt x="1464563" y="1820912"/>
                  <a:pt x="1304516" y="1427040"/>
                </a:cubicBezTo>
                <a:cubicBezTo>
                  <a:pt x="1144470" y="1033169"/>
                  <a:pt x="936562" y="392850"/>
                  <a:pt x="1085505" y="232631"/>
                </a:cubicBezTo>
                <a:cubicBezTo>
                  <a:pt x="1293795" y="8993"/>
                  <a:pt x="1391049" y="489093"/>
                  <a:pt x="1528122" y="827332"/>
                </a:cubicBezTo>
                <a:cubicBezTo>
                  <a:pt x="1664430" y="1166685"/>
                  <a:pt x="1760535" y="1633433"/>
                  <a:pt x="1900288" y="1570570"/>
                </a:cubicBezTo>
                <a:cubicBezTo>
                  <a:pt x="1932451" y="1556662"/>
                  <a:pt x="1891482" y="1175030"/>
                  <a:pt x="1904117" y="806749"/>
                </a:cubicBezTo>
                <a:cubicBezTo>
                  <a:pt x="1917518" y="437912"/>
                  <a:pt x="1869657" y="8436"/>
                  <a:pt x="2125043" y="9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grpSp>
        <p:nvGrpSpPr>
          <p:cNvPr id="15" name="Group 14"/>
          <p:cNvGrpSpPr/>
          <p:nvPr/>
        </p:nvGrpSpPr>
        <p:grpSpPr>
          <a:xfrm>
            <a:off x="5303588" y="1795796"/>
            <a:ext cx="1028700" cy="782846"/>
            <a:chOff x="5303588" y="1795796"/>
            <a:chExt cx="1028700" cy="782846"/>
          </a:xfrm>
        </p:grpSpPr>
        <p:sp>
          <p:nvSpPr>
            <p:cNvPr id="43" name="TextBox 42"/>
            <p:cNvSpPr txBox="1"/>
            <p:nvPr/>
          </p:nvSpPr>
          <p:spPr>
            <a:xfrm>
              <a:off x="5303607" y="1795796"/>
              <a:ext cx="1028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03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303588" y="2001368"/>
              <a:ext cx="1028700" cy="577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3968818" y="2360858"/>
            <a:ext cx="1028700" cy="782846"/>
            <a:chOff x="3968818" y="2360858"/>
            <a:chExt cx="1028700" cy="782846"/>
          </a:xfrm>
        </p:grpSpPr>
        <p:sp>
          <p:nvSpPr>
            <p:cNvPr id="45" name="TextBox 44"/>
            <p:cNvSpPr txBox="1"/>
            <p:nvPr/>
          </p:nvSpPr>
          <p:spPr>
            <a:xfrm>
              <a:off x="3968837" y="2360858"/>
              <a:ext cx="1028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02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968818" y="2566430"/>
              <a:ext cx="1028700" cy="577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454466" y="3664061"/>
            <a:ext cx="1028700" cy="782846"/>
            <a:chOff x="3454466" y="3664061"/>
            <a:chExt cx="1028700" cy="782846"/>
          </a:xfrm>
        </p:grpSpPr>
        <p:sp>
          <p:nvSpPr>
            <p:cNvPr id="47" name="TextBox 46"/>
            <p:cNvSpPr txBox="1"/>
            <p:nvPr/>
          </p:nvSpPr>
          <p:spPr>
            <a:xfrm>
              <a:off x="3454485" y="3664061"/>
              <a:ext cx="1028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01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454466" y="3869633"/>
              <a:ext cx="1028700" cy="577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248807" y="3518821"/>
            <a:ext cx="1028700" cy="782846"/>
            <a:chOff x="7248807" y="3518821"/>
            <a:chExt cx="1028700" cy="782846"/>
          </a:xfrm>
        </p:grpSpPr>
        <p:sp>
          <p:nvSpPr>
            <p:cNvPr id="49" name="TextBox 48"/>
            <p:cNvSpPr txBox="1"/>
            <p:nvPr/>
          </p:nvSpPr>
          <p:spPr>
            <a:xfrm>
              <a:off x="7248826" y="3518821"/>
              <a:ext cx="1028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05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7248807" y="3724393"/>
              <a:ext cx="1028700" cy="577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688380" y="2246892"/>
            <a:ext cx="1028700" cy="782846"/>
            <a:chOff x="6688380" y="2246892"/>
            <a:chExt cx="1028700" cy="782846"/>
          </a:xfrm>
        </p:grpSpPr>
        <p:sp>
          <p:nvSpPr>
            <p:cNvPr id="51" name="TextBox 50"/>
            <p:cNvSpPr txBox="1"/>
            <p:nvPr/>
          </p:nvSpPr>
          <p:spPr>
            <a:xfrm>
              <a:off x="6688399" y="2246892"/>
              <a:ext cx="1028658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000" b="1" cap="all" spc="2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passo</a:t>
              </a:r>
              <a:r>
                <a:rPr lang="en-US" sz="1000" b="1" cap="all" spc="20" dirty="0">
                  <a:solidFill>
                    <a:schemeClr val="bg1"/>
                  </a:solidFill>
                  <a:latin typeface="Lato" panose="020F0502020204030203" pitchFamily="34" charset="0"/>
                </a:rPr>
                <a:t> 04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6688380" y="2452464"/>
              <a:ext cx="1028700" cy="5772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bg1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bg1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bg1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93724" y="1543508"/>
            <a:ext cx="1995752" cy="571141"/>
            <a:chOff x="593724" y="1543508"/>
            <a:chExt cx="1995752" cy="571141"/>
          </a:xfrm>
        </p:grpSpPr>
        <p:sp>
          <p:nvSpPr>
            <p:cNvPr id="58" name="TextBox 57"/>
            <p:cNvSpPr txBox="1"/>
            <p:nvPr/>
          </p:nvSpPr>
          <p:spPr>
            <a:xfrm>
              <a:off x="593724" y="1543508"/>
              <a:ext cx="1995752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cap="all" spc="20" dirty="0" err="1">
                  <a:solidFill>
                    <a:srgbClr val="EC0000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Alvos</a:t>
              </a:r>
              <a:r>
                <a:rPr lang="en-US" sz="1400" cap="all" spc="20" dirty="0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 de </a:t>
              </a:r>
              <a:r>
                <a:rPr lang="en-US" sz="1400" cap="all" spc="20" dirty="0" err="1">
                  <a:solidFill>
                    <a:schemeClr val="accent1"/>
                  </a:solidFill>
                  <a:latin typeface="Lato Black" panose="020F0A02020204030203" pitchFamily="34" charset="0"/>
                  <a:cs typeface="Poppins SemiBold" panose="02000000000000000000" pitchFamily="2" charset="0"/>
                </a:rPr>
                <a:t>venda</a:t>
              </a:r>
              <a:endParaRPr lang="en-US" sz="1400" cap="all" spc="20" dirty="0">
                <a:solidFill>
                  <a:schemeClr val="accent2"/>
                </a:solidFill>
                <a:latin typeface="Lato Black" panose="020F0A02020204030203" pitchFamily="34" charset="0"/>
                <a:cs typeface="Poppins SemiBold" panose="02000000000000000000" pitchFamily="2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93724" y="1810142"/>
              <a:ext cx="1995751" cy="3045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40000"/>
                </a:lnSpc>
              </a:pP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Maecenas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dolor at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est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vehicula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, vitae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iaculis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orci</a:t>
              </a:r>
              <a:r>
                <a:rPr lang="en-US" sz="750" dirty="0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 </a:t>
              </a:r>
              <a:r>
                <a:rPr lang="en-US" sz="750" dirty="0" err="1">
                  <a:solidFill>
                    <a:schemeClr val="accent4"/>
                  </a:solidFill>
                  <a:latin typeface="Lato" panose="020F0502020204030203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sollicitudin</a:t>
              </a:r>
              <a:endParaRPr lang="en-US" sz="750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64" name="Freeform 49"/>
          <p:cNvSpPr>
            <a:spLocks noEditPoints="1"/>
          </p:cNvSpPr>
          <p:nvPr/>
        </p:nvSpPr>
        <p:spPr bwMode="auto">
          <a:xfrm>
            <a:off x="593725" y="2450916"/>
            <a:ext cx="276215" cy="234306"/>
          </a:xfrm>
          <a:custGeom>
            <a:avLst/>
            <a:gdLst>
              <a:gd name="T0" fmla="*/ 185 w 265"/>
              <a:gd name="T1" fmla="*/ 190 h 225"/>
              <a:gd name="T2" fmla="*/ 185 w 265"/>
              <a:gd name="T3" fmla="*/ 225 h 225"/>
              <a:gd name="T4" fmla="*/ 0 w 265"/>
              <a:gd name="T5" fmla="*/ 225 h 225"/>
              <a:gd name="T6" fmla="*/ 0 w 265"/>
              <a:gd name="T7" fmla="*/ 179 h 225"/>
              <a:gd name="T8" fmla="*/ 23 w 265"/>
              <a:gd name="T9" fmla="*/ 158 h 225"/>
              <a:gd name="T10" fmla="*/ 57 w 265"/>
              <a:gd name="T11" fmla="*/ 120 h 225"/>
              <a:gd name="T12" fmla="*/ 46 w 265"/>
              <a:gd name="T13" fmla="*/ 90 h 225"/>
              <a:gd name="T14" fmla="*/ 36 w 265"/>
              <a:gd name="T15" fmla="*/ 71 h 225"/>
              <a:gd name="T16" fmla="*/ 40 w 265"/>
              <a:gd name="T17" fmla="*/ 61 h 225"/>
              <a:gd name="T18" fmla="*/ 37 w 265"/>
              <a:gd name="T19" fmla="*/ 40 h 225"/>
              <a:gd name="T20" fmla="*/ 79 w 265"/>
              <a:gd name="T21" fmla="*/ 0 h 225"/>
              <a:gd name="T22" fmla="*/ 122 w 265"/>
              <a:gd name="T23" fmla="*/ 40 h 225"/>
              <a:gd name="T24" fmla="*/ 119 w 265"/>
              <a:gd name="T25" fmla="*/ 61 h 225"/>
              <a:gd name="T26" fmla="*/ 123 w 265"/>
              <a:gd name="T27" fmla="*/ 71 h 225"/>
              <a:gd name="T28" fmla="*/ 113 w 265"/>
              <a:gd name="T29" fmla="*/ 90 h 225"/>
              <a:gd name="T30" fmla="*/ 101 w 265"/>
              <a:gd name="T31" fmla="*/ 120 h 225"/>
              <a:gd name="T32" fmla="*/ 136 w 265"/>
              <a:gd name="T33" fmla="*/ 158 h 225"/>
              <a:gd name="T34" fmla="*/ 185 w 265"/>
              <a:gd name="T35" fmla="*/ 190 h 225"/>
              <a:gd name="T36" fmla="*/ 206 w 265"/>
              <a:gd name="T37" fmla="*/ 225 h 225"/>
              <a:gd name="T38" fmla="*/ 206 w 265"/>
              <a:gd name="T39" fmla="*/ 187 h 225"/>
              <a:gd name="T40" fmla="*/ 157 w 265"/>
              <a:gd name="T41" fmla="*/ 143 h 225"/>
              <a:gd name="T42" fmla="*/ 168 w 265"/>
              <a:gd name="T43" fmla="*/ 122 h 225"/>
              <a:gd name="T44" fmla="*/ 159 w 265"/>
              <a:gd name="T45" fmla="*/ 100 h 225"/>
              <a:gd name="T46" fmla="*/ 152 w 265"/>
              <a:gd name="T47" fmla="*/ 85 h 225"/>
              <a:gd name="T48" fmla="*/ 155 w 265"/>
              <a:gd name="T49" fmla="*/ 78 h 225"/>
              <a:gd name="T50" fmla="*/ 153 w 265"/>
              <a:gd name="T51" fmla="*/ 62 h 225"/>
              <a:gd name="T52" fmla="*/ 185 w 265"/>
              <a:gd name="T53" fmla="*/ 32 h 225"/>
              <a:gd name="T54" fmla="*/ 217 w 265"/>
              <a:gd name="T55" fmla="*/ 62 h 225"/>
              <a:gd name="T56" fmla="*/ 215 w 265"/>
              <a:gd name="T57" fmla="*/ 78 h 225"/>
              <a:gd name="T58" fmla="*/ 217 w 265"/>
              <a:gd name="T59" fmla="*/ 85 h 225"/>
              <a:gd name="T60" fmla="*/ 210 w 265"/>
              <a:gd name="T61" fmla="*/ 100 h 225"/>
              <a:gd name="T62" fmla="*/ 201 w 265"/>
              <a:gd name="T63" fmla="*/ 122 h 225"/>
              <a:gd name="T64" fmla="*/ 227 w 265"/>
              <a:gd name="T65" fmla="*/ 151 h 225"/>
              <a:gd name="T66" fmla="*/ 262 w 265"/>
              <a:gd name="T67" fmla="*/ 172 h 225"/>
              <a:gd name="T68" fmla="*/ 265 w 265"/>
              <a:gd name="T69" fmla="*/ 225 h 225"/>
              <a:gd name="T70" fmla="*/ 206 w 265"/>
              <a:gd name="T71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65" h="225">
                <a:moveTo>
                  <a:pt x="185" y="190"/>
                </a:moveTo>
                <a:cubicBezTo>
                  <a:pt x="185" y="198"/>
                  <a:pt x="185" y="225"/>
                  <a:pt x="185" y="225"/>
                </a:cubicBezTo>
                <a:cubicBezTo>
                  <a:pt x="0" y="225"/>
                  <a:pt x="0" y="225"/>
                  <a:pt x="0" y="225"/>
                </a:cubicBezTo>
                <a:cubicBezTo>
                  <a:pt x="0" y="179"/>
                  <a:pt x="0" y="179"/>
                  <a:pt x="0" y="179"/>
                </a:cubicBezTo>
                <a:cubicBezTo>
                  <a:pt x="0" y="166"/>
                  <a:pt x="15" y="161"/>
                  <a:pt x="23" y="158"/>
                </a:cubicBezTo>
                <a:cubicBezTo>
                  <a:pt x="49" y="147"/>
                  <a:pt x="57" y="139"/>
                  <a:pt x="57" y="120"/>
                </a:cubicBezTo>
                <a:cubicBezTo>
                  <a:pt x="57" y="108"/>
                  <a:pt x="49" y="112"/>
                  <a:pt x="46" y="90"/>
                </a:cubicBezTo>
                <a:cubicBezTo>
                  <a:pt x="44" y="82"/>
                  <a:pt x="37" y="90"/>
                  <a:pt x="36" y="71"/>
                </a:cubicBezTo>
                <a:cubicBezTo>
                  <a:pt x="36" y="63"/>
                  <a:pt x="40" y="61"/>
                  <a:pt x="40" y="61"/>
                </a:cubicBezTo>
                <a:cubicBezTo>
                  <a:pt x="40" y="61"/>
                  <a:pt x="38" y="49"/>
                  <a:pt x="37" y="40"/>
                </a:cubicBezTo>
                <a:cubicBezTo>
                  <a:pt x="36" y="28"/>
                  <a:pt x="43" y="0"/>
                  <a:pt x="79" y="0"/>
                </a:cubicBezTo>
                <a:cubicBezTo>
                  <a:pt x="116" y="0"/>
                  <a:pt x="123" y="28"/>
                  <a:pt x="122" y="40"/>
                </a:cubicBezTo>
                <a:cubicBezTo>
                  <a:pt x="121" y="49"/>
                  <a:pt x="119" y="61"/>
                  <a:pt x="119" y="61"/>
                </a:cubicBezTo>
                <a:cubicBezTo>
                  <a:pt x="119" y="61"/>
                  <a:pt x="123" y="63"/>
                  <a:pt x="123" y="71"/>
                </a:cubicBezTo>
                <a:cubicBezTo>
                  <a:pt x="122" y="90"/>
                  <a:pt x="114" y="82"/>
                  <a:pt x="113" y="90"/>
                </a:cubicBezTo>
                <a:cubicBezTo>
                  <a:pt x="109" y="112"/>
                  <a:pt x="101" y="108"/>
                  <a:pt x="101" y="120"/>
                </a:cubicBezTo>
                <a:cubicBezTo>
                  <a:pt x="101" y="139"/>
                  <a:pt x="110" y="147"/>
                  <a:pt x="136" y="158"/>
                </a:cubicBezTo>
                <a:cubicBezTo>
                  <a:pt x="162" y="168"/>
                  <a:pt x="185" y="179"/>
                  <a:pt x="185" y="190"/>
                </a:cubicBezTo>
                <a:close/>
                <a:moveTo>
                  <a:pt x="206" y="225"/>
                </a:moveTo>
                <a:cubicBezTo>
                  <a:pt x="206" y="187"/>
                  <a:pt x="206" y="187"/>
                  <a:pt x="206" y="187"/>
                </a:cubicBezTo>
                <a:cubicBezTo>
                  <a:pt x="206" y="168"/>
                  <a:pt x="200" y="164"/>
                  <a:pt x="157" y="143"/>
                </a:cubicBezTo>
                <a:cubicBezTo>
                  <a:pt x="165" y="138"/>
                  <a:pt x="168" y="132"/>
                  <a:pt x="168" y="122"/>
                </a:cubicBezTo>
                <a:cubicBezTo>
                  <a:pt x="168" y="113"/>
                  <a:pt x="162" y="116"/>
                  <a:pt x="159" y="100"/>
                </a:cubicBezTo>
                <a:cubicBezTo>
                  <a:pt x="158" y="94"/>
                  <a:pt x="153" y="100"/>
                  <a:pt x="152" y="85"/>
                </a:cubicBezTo>
                <a:cubicBezTo>
                  <a:pt x="152" y="79"/>
                  <a:pt x="155" y="78"/>
                  <a:pt x="155" y="78"/>
                </a:cubicBezTo>
                <a:cubicBezTo>
                  <a:pt x="155" y="78"/>
                  <a:pt x="153" y="69"/>
                  <a:pt x="153" y="62"/>
                </a:cubicBezTo>
                <a:cubicBezTo>
                  <a:pt x="152" y="54"/>
                  <a:pt x="157" y="32"/>
                  <a:pt x="185" y="32"/>
                </a:cubicBezTo>
                <a:cubicBezTo>
                  <a:pt x="212" y="32"/>
                  <a:pt x="217" y="54"/>
                  <a:pt x="217" y="62"/>
                </a:cubicBezTo>
                <a:cubicBezTo>
                  <a:pt x="216" y="69"/>
                  <a:pt x="215" y="78"/>
                  <a:pt x="215" y="78"/>
                </a:cubicBezTo>
                <a:cubicBezTo>
                  <a:pt x="215" y="78"/>
                  <a:pt x="217" y="79"/>
                  <a:pt x="217" y="85"/>
                </a:cubicBezTo>
                <a:cubicBezTo>
                  <a:pt x="216" y="100"/>
                  <a:pt x="211" y="94"/>
                  <a:pt x="210" y="100"/>
                </a:cubicBezTo>
                <a:cubicBezTo>
                  <a:pt x="207" y="116"/>
                  <a:pt x="201" y="113"/>
                  <a:pt x="201" y="122"/>
                </a:cubicBezTo>
                <a:cubicBezTo>
                  <a:pt x="201" y="136"/>
                  <a:pt x="208" y="143"/>
                  <a:pt x="227" y="151"/>
                </a:cubicBezTo>
                <a:cubicBezTo>
                  <a:pt x="247" y="159"/>
                  <a:pt x="258" y="164"/>
                  <a:pt x="262" y="172"/>
                </a:cubicBezTo>
                <a:cubicBezTo>
                  <a:pt x="265" y="176"/>
                  <a:pt x="265" y="225"/>
                  <a:pt x="265" y="225"/>
                </a:cubicBezTo>
                <a:lnTo>
                  <a:pt x="206" y="225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/>
          </a:p>
        </p:txBody>
      </p:sp>
      <p:grpSp>
        <p:nvGrpSpPr>
          <p:cNvPr id="10" name="Group 9"/>
          <p:cNvGrpSpPr/>
          <p:nvPr/>
        </p:nvGrpSpPr>
        <p:grpSpPr>
          <a:xfrm>
            <a:off x="984251" y="2442437"/>
            <a:ext cx="1605226" cy="282884"/>
            <a:chOff x="984251" y="2442437"/>
            <a:chExt cx="1605226" cy="282884"/>
          </a:xfrm>
        </p:grpSpPr>
        <p:sp>
          <p:nvSpPr>
            <p:cNvPr id="63" name="TextBox 62"/>
            <p:cNvSpPr txBox="1"/>
            <p:nvPr/>
          </p:nvSpPr>
          <p:spPr>
            <a:xfrm>
              <a:off x="984251" y="2586822"/>
              <a:ext cx="160522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86.7k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usuários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984251" y="2442437"/>
              <a:ext cx="16052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São Paulo</a:t>
              </a:r>
            </a:p>
          </p:txBody>
        </p:sp>
      </p:grpSp>
      <p:sp>
        <p:nvSpPr>
          <p:cNvPr id="74" name="Freeform 49"/>
          <p:cNvSpPr>
            <a:spLocks noEditPoints="1"/>
          </p:cNvSpPr>
          <p:nvPr/>
        </p:nvSpPr>
        <p:spPr bwMode="auto">
          <a:xfrm>
            <a:off x="593725" y="3000295"/>
            <a:ext cx="276215" cy="234306"/>
          </a:xfrm>
          <a:custGeom>
            <a:avLst/>
            <a:gdLst>
              <a:gd name="T0" fmla="*/ 185 w 265"/>
              <a:gd name="T1" fmla="*/ 190 h 225"/>
              <a:gd name="T2" fmla="*/ 185 w 265"/>
              <a:gd name="T3" fmla="*/ 225 h 225"/>
              <a:gd name="T4" fmla="*/ 0 w 265"/>
              <a:gd name="T5" fmla="*/ 225 h 225"/>
              <a:gd name="T6" fmla="*/ 0 w 265"/>
              <a:gd name="T7" fmla="*/ 179 h 225"/>
              <a:gd name="T8" fmla="*/ 23 w 265"/>
              <a:gd name="T9" fmla="*/ 158 h 225"/>
              <a:gd name="T10" fmla="*/ 57 w 265"/>
              <a:gd name="T11" fmla="*/ 120 h 225"/>
              <a:gd name="T12" fmla="*/ 46 w 265"/>
              <a:gd name="T13" fmla="*/ 90 h 225"/>
              <a:gd name="T14" fmla="*/ 36 w 265"/>
              <a:gd name="T15" fmla="*/ 71 h 225"/>
              <a:gd name="T16" fmla="*/ 40 w 265"/>
              <a:gd name="T17" fmla="*/ 61 h 225"/>
              <a:gd name="T18" fmla="*/ 37 w 265"/>
              <a:gd name="T19" fmla="*/ 40 h 225"/>
              <a:gd name="T20" fmla="*/ 79 w 265"/>
              <a:gd name="T21" fmla="*/ 0 h 225"/>
              <a:gd name="T22" fmla="*/ 122 w 265"/>
              <a:gd name="T23" fmla="*/ 40 h 225"/>
              <a:gd name="T24" fmla="*/ 119 w 265"/>
              <a:gd name="T25" fmla="*/ 61 h 225"/>
              <a:gd name="T26" fmla="*/ 123 w 265"/>
              <a:gd name="T27" fmla="*/ 71 h 225"/>
              <a:gd name="T28" fmla="*/ 113 w 265"/>
              <a:gd name="T29" fmla="*/ 90 h 225"/>
              <a:gd name="T30" fmla="*/ 101 w 265"/>
              <a:gd name="T31" fmla="*/ 120 h 225"/>
              <a:gd name="T32" fmla="*/ 136 w 265"/>
              <a:gd name="T33" fmla="*/ 158 h 225"/>
              <a:gd name="T34" fmla="*/ 185 w 265"/>
              <a:gd name="T35" fmla="*/ 190 h 225"/>
              <a:gd name="T36" fmla="*/ 206 w 265"/>
              <a:gd name="T37" fmla="*/ 225 h 225"/>
              <a:gd name="T38" fmla="*/ 206 w 265"/>
              <a:gd name="T39" fmla="*/ 187 h 225"/>
              <a:gd name="T40" fmla="*/ 157 w 265"/>
              <a:gd name="T41" fmla="*/ 143 h 225"/>
              <a:gd name="T42" fmla="*/ 168 w 265"/>
              <a:gd name="T43" fmla="*/ 122 h 225"/>
              <a:gd name="T44" fmla="*/ 159 w 265"/>
              <a:gd name="T45" fmla="*/ 100 h 225"/>
              <a:gd name="T46" fmla="*/ 152 w 265"/>
              <a:gd name="T47" fmla="*/ 85 h 225"/>
              <a:gd name="T48" fmla="*/ 155 w 265"/>
              <a:gd name="T49" fmla="*/ 78 h 225"/>
              <a:gd name="T50" fmla="*/ 153 w 265"/>
              <a:gd name="T51" fmla="*/ 62 h 225"/>
              <a:gd name="T52" fmla="*/ 185 w 265"/>
              <a:gd name="T53" fmla="*/ 32 h 225"/>
              <a:gd name="T54" fmla="*/ 217 w 265"/>
              <a:gd name="T55" fmla="*/ 62 h 225"/>
              <a:gd name="T56" fmla="*/ 215 w 265"/>
              <a:gd name="T57" fmla="*/ 78 h 225"/>
              <a:gd name="T58" fmla="*/ 217 w 265"/>
              <a:gd name="T59" fmla="*/ 85 h 225"/>
              <a:gd name="T60" fmla="*/ 210 w 265"/>
              <a:gd name="T61" fmla="*/ 100 h 225"/>
              <a:gd name="T62" fmla="*/ 201 w 265"/>
              <a:gd name="T63" fmla="*/ 122 h 225"/>
              <a:gd name="T64" fmla="*/ 227 w 265"/>
              <a:gd name="T65" fmla="*/ 151 h 225"/>
              <a:gd name="T66" fmla="*/ 262 w 265"/>
              <a:gd name="T67" fmla="*/ 172 h 225"/>
              <a:gd name="T68" fmla="*/ 265 w 265"/>
              <a:gd name="T69" fmla="*/ 225 h 225"/>
              <a:gd name="T70" fmla="*/ 206 w 265"/>
              <a:gd name="T71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65" h="225">
                <a:moveTo>
                  <a:pt x="185" y="190"/>
                </a:moveTo>
                <a:cubicBezTo>
                  <a:pt x="185" y="198"/>
                  <a:pt x="185" y="225"/>
                  <a:pt x="185" y="225"/>
                </a:cubicBezTo>
                <a:cubicBezTo>
                  <a:pt x="0" y="225"/>
                  <a:pt x="0" y="225"/>
                  <a:pt x="0" y="225"/>
                </a:cubicBezTo>
                <a:cubicBezTo>
                  <a:pt x="0" y="179"/>
                  <a:pt x="0" y="179"/>
                  <a:pt x="0" y="179"/>
                </a:cubicBezTo>
                <a:cubicBezTo>
                  <a:pt x="0" y="166"/>
                  <a:pt x="15" y="161"/>
                  <a:pt x="23" y="158"/>
                </a:cubicBezTo>
                <a:cubicBezTo>
                  <a:pt x="49" y="147"/>
                  <a:pt x="57" y="139"/>
                  <a:pt x="57" y="120"/>
                </a:cubicBezTo>
                <a:cubicBezTo>
                  <a:pt x="57" y="108"/>
                  <a:pt x="49" y="112"/>
                  <a:pt x="46" y="90"/>
                </a:cubicBezTo>
                <a:cubicBezTo>
                  <a:pt x="44" y="82"/>
                  <a:pt x="37" y="90"/>
                  <a:pt x="36" y="71"/>
                </a:cubicBezTo>
                <a:cubicBezTo>
                  <a:pt x="36" y="63"/>
                  <a:pt x="40" y="61"/>
                  <a:pt x="40" y="61"/>
                </a:cubicBezTo>
                <a:cubicBezTo>
                  <a:pt x="40" y="61"/>
                  <a:pt x="38" y="49"/>
                  <a:pt x="37" y="40"/>
                </a:cubicBezTo>
                <a:cubicBezTo>
                  <a:pt x="36" y="28"/>
                  <a:pt x="43" y="0"/>
                  <a:pt x="79" y="0"/>
                </a:cubicBezTo>
                <a:cubicBezTo>
                  <a:pt x="116" y="0"/>
                  <a:pt x="123" y="28"/>
                  <a:pt x="122" y="40"/>
                </a:cubicBezTo>
                <a:cubicBezTo>
                  <a:pt x="121" y="49"/>
                  <a:pt x="119" y="61"/>
                  <a:pt x="119" y="61"/>
                </a:cubicBezTo>
                <a:cubicBezTo>
                  <a:pt x="119" y="61"/>
                  <a:pt x="123" y="63"/>
                  <a:pt x="123" y="71"/>
                </a:cubicBezTo>
                <a:cubicBezTo>
                  <a:pt x="122" y="90"/>
                  <a:pt x="114" y="82"/>
                  <a:pt x="113" y="90"/>
                </a:cubicBezTo>
                <a:cubicBezTo>
                  <a:pt x="109" y="112"/>
                  <a:pt x="101" y="108"/>
                  <a:pt x="101" y="120"/>
                </a:cubicBezTo>
                <a:cubicBezTo>
                  <a:pt x="101" y="139"/>
                  <a:pt x="110" y="147"/>
                  <a:pt x="136" y="158"/>
                </a:cubicBezTo>
                <a:cubicBezTo>
                  <a:pt x="162" y="168"/>
                  <a:pt x="185" y="179"/>
                  <a:pt x="185" y="190"/>
                </a:cubicBezTo>
                <a:close/>
                <a:moveTo>
                  <a:pt x="206" y="225"/>
                </a:moveTo>
                <a:cubicBezTo>
                  <a:pt x="206" y="187"/>
                  <a:pt x="206" y="187"/>
                  <a:pt x="206" y="187"/>
                </a:cubicBezTo>
                <a:cubicBezTo>
                  <a:pt x="206" y="168"/>
                  <a:pt x="200" y="164"/>
                  <a:pt x="157" y="143"/>
                </a:cubicBezTo>
                <a:cubicBezTo>
                  <a:pt x="165" y="138"/>
                  <a:pt x="168" y="132"/>
                  <a:pt x="168" y="122"/>
                </a:cubicBezTo>
                <a:cubicBezTo>
                  <a:pt x="168" y="113"/>
                  <a:pt x="162" y="116"/>
                  <a:pt x="159" y="100"/>
                </a:cubicBezTo>
                <a:cubicBezTo>
                  <a:pt x="158" y="94"/>
                  <a:pt x="153" y="100"/>
                  <a:pt x="152" y="85"/>
                </a:cubicBezTo>
                <a:cubicBezTo>
                  <a:pt x="152" y="79"/>
                  <a:pt x="155" y="78"/>
                  <a:pt x="155" y="78"/>
                </a:cubicBezTo>
                <a:cubicBezTo>
                  <a:pt x="155" y="78"/>
                  <a:pt x="153" y="69"/>
                  <a:pt x="153" y="62"/>
                </a:cubicBezTo>
                <a:cubicBezTo>
                  <a:pt x="152" y="54"/>
                  <a:pt x="157" y="32"/>
                  <a:pt x="185" y="32"/>
                </a:cubicBezTo>
                <a:cubicBezTo>
                  <a:pt x="212" y="32"/>
                  <a:pt x="217" y="54"/>
                  <a:pt x="217" y="62"/>
                </a:cubicBezTo>
                <a:cubicBezTo>
                  <a:pt x="216" y="69"/>
                  <a:pt x="215" y="78"/>
                  <a:pt x="215" y="78"/>
                </a:cubicBezTo>
                <a:cubicBezTo>
                  <a:pt x="215" y="78"/>
                  <a:pt x="217" y="79"/>
                  <a:pt x="217" y="85"/>
                </a:cubicBezTo>
                <a:cubicBezTo>
                  <a:pt x="216" y="100"/>
                  <a:pt x="211" y="94"/>
                  <a:pt x="210" y="100"/>
                </a:cubicBezTo>
                <a:cubicBezTo>
                  <a:pt x="207" y="116"/>
                  <a:pt x="201" y="113"/>
                  <a:pt x="201" y="122"/>
                </a:cubicBezTo>
                <a:cubicBezTo>
                  <a:pt x="201" y="136"/>
                  <a:pt x="208" y="143"/>
                  <a:pt x="227" y="151"/>
                </a:cubicBezTo>
                <a:cubicBezTo>
                  <a:pt x="247" y="159"/>
                  <a:pt x="258" y="164"/>
                  <a:pt x="262" y="172"/>
                </a:cubicBezTo>
                <a:cubicBezTo>
                  <a:pt x="265" y="176"/>
                  <a:pt x="265" y="225"/>
                  <a:pt x="265" y="225"/>
                </a:cubicBezTo>
                <a:lnTo>
                  <a:pt x="206" y="225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 dirty="0"/>
          </a:p>
        </p:txBody>
      </p:sp>
      <p:grpSp>
        <p:nvGrpSpPr>
          <p:cNvPr id="11" name="Group 10"/>
          <p:cNvGrpSpPr/>
          <p:nvPr/>
        </p:nvGrpSpPr>
        <p:grpSpPr>
          <a:xfrm>
            <a:off x="984251" y="2991816"/>
            <a:ext cx="1605226" cy="282884"/>
            <a:chOff x="984251" y="2991816"/>
            <a:chExt cx="1605226" cy="282884"/>
          </a:xfrm>
        </p:grpSpPr>
        <p:sp>
          <p:nvSpPr>
            <p:cNvPr id="73" name="TextBox 72"/>
            <p:cNvSpPr txBox="1"/>
            <p:nvPr/>
          </p:nvSpPr>
          <p:spPr>
            <a:xfrm>
              <a:off x="984251" y="3136201"/>
              <a:ext cx="160522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8.3K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usuários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984251" y="2991816"/>
              <a:ext cx="16052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Rio de Janeiro</a:t>
              </a:r>
            </a:p>
          </p:txBody>
        </p:sp>
      </p:grpSp>
      <p:sp>
        <p:nvSpPr>
          <p:cNvPr id="78" name="Freeform 49"/>
          <p:cNvSpPr>
            <a:spLocks noEditPoints="1"/>
          </p:cNvSpPr>
          <p:nvPr/>
        </p:nvSpPr>
        <p:spPr bwMode="auto">
          <a:xfrm>
            <a:off x="593725" y="3549674"/>
            <a:ext cx="276215" cy="234306"/>
          </a:xfrm>
          <a:custGeom>
            <a:avLst/>
            <a:gdLst>
              <a:gd name="T0" fmla="*/ 185 w 265"/>
              <a:gd name="T1" fmla="*/ 190 h 225"/>
              <a:gd name="T2" fmla="*/ 185 w 265"/>
              <a:gd name="T3" fmla="*/ 225 h 225"/>
              <a:gd name="T4" fmla="*/ 0 w 265"/>
              <a:gd name="T5" fmla="*/ 225 h 225"/>
              <a:gd name="T6" fmla="*/ 0 w 265"/>
              <a:gd name="T7" fmla="*/ 179 h 225"/>
              <a:gd name="T8" fmla="*/ 23 w 265"/>
              <a:gd name="T9" fmla="*/ 158 h 225"/>
              <a:gd name="T10" fmla="*/ 57 w 265"/>
              <a:gd name="T11" fmla="*/ 120 h 225"/>
              <a:gd name="T12" fmla="*/ 46 w 265"/>
              <a:gd name="T13" fmla="*/ 90 h 225"/>
              <a:gd name="T14" fmla="*/ 36 w 265"/>
              <a:gd name="T15" fmla="*/ 71 h 225"/>
              <a:gd name="T16" fmla="*/ 40 w 265"/>
              <a:gd name="T17" fmla="*/ 61 h 225"/>
              <a:gd name="T18" fmla="*/ 37 w 265"/>
              <a:gd name="T19" fmla="*/ 40 h 225"/>
              <a:gd name="T20" fmla="*/ 79 w 265"/>
              <a:gd name="T21" fmla="*/ 0 h 225"/>
              <a:gd name="T22" fmla="*/ 122 w 265"/>
              <a:gd name="T23" fmla="*/ 40 h 225"/>
              <a:gd name="T24" fmla="*/ 119 w 265"/>
              <a:gd name="T25" fmla="*/ 61 h 225"/>
              <a:gd name="T26" fmla="*/ 123 w 265"/>
              <a:gd name="T27" fmla="*/ 71 h 225"/>
              <a:gd name="T28" fmla="*/ 113 w 265"/>
              <a:gd name="T29" fmla="*/ 90 h 225"/>
              <a:gd name="T30" fmla="*/ 101 w 265"/>
              <a:gd name="T31" fmla="*/ 120 h 225"/>
              <a:gd name="T32" fmla="*/ 136 w 265"/>
              <a:gd name="T33" fmla="*/ 158 h 225"/>
              <a:gd name="T34" fmla="*/ 185 w 265"/>
              <a:gd name="T35" fmla="*/ 190 h 225"/>
              <a:gd name="T36" fmla="*/ 206 w 265"/>
              <a:gd name="T37" fmla="*/ 225 h 225"/>
              <a:gd name="T38" fmla="*/ 206 w 265"/>
              <a:gd name="T39" fmla="*/ 187 h 225"/>
              <a:gd name="T40" fmla="*/ 157 w 265"/>
              <a:gd name="T41" fmla="*/ 143 h 225"/>
              <a:gd name="T42" fmla="*/ 168 w 265"/>
              <a:gd name="T43" fmla="*/ 122 h 225"/>
              <a:gd name="T44" fmla="*/ 159 w 265"/>
              <a:gd name="T45" fmla="*/ 100 h 225"/>
              <a:gd name="T46" fmla="*/ 152 w 265"/>
              <a:gd name="T47" fmla="*/ 85 h 225"/>
              <a:gd name="T48" fmla="*/ 155 w 265"/>
              <a:gd name="T49" fmla="*/ 78 h 225"/>
              <a:gd name="T50" fmla="*/ 153 w 265"/>
              <a:gd name="T51" fmla="*/ 62 h 225"/>
              <a:gd name="T52" fmla="*/ 185 w 265"/>
              <a:gd name="T53" fmla="*/ 32 h 225"/>
              <a:gd name="T54" fmla="*/ 217 w 265"/>
              <a:gd name="T55" fmla="*/ 62 h 225"/>
              <a:gd name="T56" fmla="*/ 215 w 265"/>
              <a:gd name="T57" fmla="*/ 78 h 225"/>
              <a:gd name="T58" fmla="*/ 217 w 265"/>
              <a:gd name="T59" fmla="*/ 85 h 225"/>
              <a:gd name="T60" fmla="*/ 210 w 265"/>
              <a:gd name="T61" fmla="*/ 100 h 225"/>
              <a:gd name="T62" fmla="*/ 201 w 265"/>
              <a:gd name="T63" fmla="*/ 122 h 225"/>
              <a:gd name="T64" fmla="*/ 227 w 265"/>
              <a:gd name="T65" fmla="*/ 151 h 225"/>
              <a:gd name="T66" fmla="*/ 262 w 265"/>
              <a:gd name="T67" fmla="*/ 172 h 225"/>
              <a:gd name="T68" fmla="*/ 265 w 265"/>
              <a:gd name="T69" fmla="*/ 225 h 225"/>
              <a:gd name="T70" fmla="*/ 206 w 265"/>
              <a:gd name="T71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65" h="225">
                <a:moveTo>
                  <a:pt x="185" y="190"/>
                </a:moveTo>
                <a:cubicBezTo>
                  <a:pt x="185" y="198"/>
                  <a:pt x="185" y="225"/>
                  <a:pt x="185" y="225"/>
                </a:cubicBezTo>
                <a:cubicBezTo>
                  <a:pt x="0" y="225"/>
                  <a:pt x="0" y="225"/>
                  <a:pt x="0" y="225"/>
                </a:cubicBezTo>
                <a:cubicBezTo>
                  <a:pt x="0" y="179"/>
                  <a:pt x="0" y="179"/>
                  <a:pt x="0" y="179"/>
                </a:cubicBezTo>
                <a:cubicBezTo>
                  <a:pt x="0" y="166"/>
                  <a:pt x="15" y="161"/>
                  <a:pt x="23" y="158"/>
                </a:cubicBezTo>
                <a:cubicBezTo>
                  <a:pt x="49" y="147"/>
                  <a:pt x="57" y="139"/>
                  <a:pt x="57" y="120"/>
                </a:cubicBezTo>
                <a:cubicBezTo>
                  <a:pt x="57" y="108"/>
                  <a:pt x="49" y="112"/>
                  <a:pt x="46" y="90"/>
                </a:cubicBezTo>
                <a:cubicBezTo>
                  <a:pt x="44" y="82"/>
                  <a:pt x="37" y="90"/>
                  <a:pt x="36" y="71"/>
                </a:cubicBezTo>
                <a:cubicBezTo>
                  <a:pt x="36" y="63"/>
                  <a:pt x="40" y="61"/>
                  <a:pt x="40" y="61"/>
                </a:cubicBezTo>
                <a:cubicBezTo>
                  <a:pt x="40" y="61"/>
                  <a:pt x="38" y="49"/>
                  <a:pt x="37" y="40"/>
                </a:cubicBezTo>
                <a:cubicBezTo>
                  <a:pt x="36" y="28"/>
                  <a:pt x="43" y="0"/>
                  <a:pt x="79" y="0"/>
                </a:cubicBezTo>
                <a:cubicBezTo>
                  <a:pt x="116" y="0"/>
                  <a:pt x="123" y="28"/>
                  <a:pt x="122" y="40"/>
                </a:cubicBezTo>
                <a:cubicBezTo>
                  <a:pt x="121" y="49"/>
                  <a:pt x="119" y="61"/>
                  <a:pt x="119" y="61"/>
                </a:cubicBezTo>
                <a:cubicBezTo>
                  <a:pt x="119" y="61"/>
                  <a:pt x="123" y="63"/>
                  <a:pt x="123" y="71"/>
                </a:cubicBezTo>
                <a:cubicBezTo>
                  <a:pt x="122" y="90"/>
                  <a:pt x="114" y="82"/>
                  <a:pt x="113" y="90"/>
                </a:cubicBezTo>
                <a:cubicBezTo>
                  <a:pt x="109" y="112"/>
                  <a:pt x="101" y="108"/>
                  <a:pt x="101" y="120"/>
                </a:cubicBezTo>
                <a:cubicBezTo>
                  <a:pt x="101" y="139"/>
                  <a:pt x="110" y="147"/>
                  <a:pt x="136" y="158"/>
                </a:cubicBezTo>
                <a:cubicBezTo>
                  <a:pt x="162" y="168"/>
                  <a:pt x="185" y="179"/>
                  <a:pt x="185" y="190"/>
                </a:cubicBezTo>
                <a:close/>
                <a:moveTo>
                  <a:pt x="206" y="225"/>
                </a:moveTo>
                <a:cubicBezTo>
                  <a:pt x="206" y="187"/>
                  <a:pt x="206" y="187"/>
                  <a:pt x="206" y="187"/>
                </a:cubicBezTo>
                <a:cubicBezTo>
                  <a:pt x="206" y="168"/>
                  <a:pt x="200" y="164"/>
                  <a:pt x="157" y="143"/>
                </a:cubicBezTo>
                <a:cubicBezTo>
                  <a:pt x="165" y="138"/>
                  <a:pt x="168" y="132"/>
                  <a:pt x="168" y="122"/>
                </a:cubicBezTo>
                <a:cubicBezTo>
                  <a:pt x="168" y="113"/>
                  <a:pt x="162" y="116"/>
                  <a:pt x="159" y="100"/>
                </a:cubicBezTo>
                <a:cubicBezTo>
                  <a:pt x="158" y="94"/>
                  <a:pt x="153" y="100"/>
                  <a:pt x="152" y="85"/>
                </a:cubicBezTo>
                <a:cubicBezTo>
                  <a:pt x="152" y="79"/>
                  <a:pt x="155" y="78"/>
                  <a:pt x="155" y="78"/>
                </a:cubicBezTo>
                <a:cubicBezTo>
                  <a:pt x="155" y="78"/>
                  <a:pt x="153" y="69"/>
                  <a:pt x="153" y="62"/>
                </a:cubicBezTo>
                <a:cubicBezTo>
                  <a:pt x="152" y="54"/>
                  <a:pt x="157" y="32"/>
                  <a:pt x="185" y="32"/>
                </a:cubicBezTo>
                <a:cubicBezTo>
                  <a:pt x="212" y="32"/>
                  <a:pt x="217" y="54"/>
                  <a:pt x="217" y="62"/>
                </a:cubicBezTo>
                <a:cubicBezTo>
                  <a:pt x="216" y="69"/>
                  <a:pt x="215" y="78"/>
                  <a:pt x="215" y="78"/>
                </a:cubicBezTo>
                <a:cubicBezTo>
                  <a:pt x="215" y="78"/>
                  <a:pt x="217" y="79"/>
                  <a:pt x="217" y="85"/>
                </a:cubicBezTo>
                <a:cubicBezTo>
                  <a:pt x="216" y="100"/>
                  <a:pt x="211" y="94"/>
                  <a:pt x="210" y="100"/>
                </a:cubicBezTo>
                <a:cubicBezTo>
                  <a:pt x="207" y="116"/>
                  <a:pt x="201" y="113"/>
                  <a:pt x="201" y="122"/>
                </a:cubicBezTo>
                <a:cubicBezTo>
                  <a:pt x="201" y="136"/>
                  <a:pt x="208" y="143"/>
                  <a:pt x="227" y="151"/>
                </a:cubicBezTo>
                <a:cubicBezTo>
                  <a:pt x="247" y="159"/>
                  <a:pt x="258" y="164"/>
                  <a:pt x="262" y="172"/>
                </a:cubicBezTo>
                <a:cubicBezTo>
                  <a:pt x="265" y="176"/>
                  <a:pt x="265" y="225"/>
                  <a:pt x="265" y="225"/>
                </a:cubicBezTo>
                <a:lnTo>
                  <a:pt x="206" y="225"/>
                </a:lnTo>
                <a:close/>
              </a:path>
            </a:pathLst>
          </a:custGeom>
          <a:solidFill>
            <a:srgbClr val="EC0000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716" dirty="0"/>
          </a:p>
        </p:txBody>
      </p:sp>
      <p:grpSp>
        <p:nvGrpSpPr>
          <p:cNvPr id="12" name="Group 11"/>
          <p:cNvGrpSpPr/>
          <p:nvPr/>
        </p:nvGrpSpPr>
        <p:grpSpPr>
          <a:xfrm>
            <a:off x="984251" y="3541195"/>
            <a:ext cx="1605226" cy="282884"/>
            <a:chOff x="984251" y="3541195"/>
            <a:chExt cx="1605226" cy="282884"/>
          </a:xfrm>
        </p:grpSpPr>
        <p:sp>
          <p:nvSpPr>
            <p:cNvPr id="77" name="TextBox 76"/>
            <p:cNvSpPr txBox="1"/>
            <p:nvPr/>
          </p:nvSpPr>
          <p:spPr>
            <a:xfrm>
              <a:off x="984251" y="3685580"/>
              <a:ext cx="160522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9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78.3M </a:t>
              </a:r>
              <a:r>
                <a:rPr lang="en-US" sz="9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usuários</a:t>
              </a:r>
              <a:endParaRPr lang="en-US" sz="900" b="1" cap="all" spc="20" dirty="0">
                <a:solidFill>
                  <a:schemeClr val="accent1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984251" y="3541195"/>
              <a:ext cx="160522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b="1" dirty="0">
                  <a:solidFill>
                    <a:schemeClr val="accent4"/>
                  </a:solidFill>
                  <a:latin typeface="Lato" panose="020F0502020204030203" pitchFamily="34" charset="0"/>
                </a:rPr>
                <a:t>Porto Aleg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6439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Análise</a:t>
            </a:r>
            <a:r>
              <a:rPr lang="en-US" dirty="0"/>
              <a:t> </a:t>
            </a:r>
            <a:r>
              <a:rPr lang="en-US" dirty="0" err="1">
                <a:solidFill>
                  <a:srgbClr val="EC0000"/>
                </a:solidFill>
              </a:rPr>
              <a:t>pfoa</a:t>
            </a:r>
            <a:endParaRPr lang="en-US" dirty="0">
              <a:solidFill>
                <a:srgbClr val="EC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Insira uma breve explicação sobre o título aqui</a:t>
            </a:r>
            <a:endParaRPr lang="en-US" dirty="0"/>
          </a:p>
        </p:txBody>
      </p:sp>
      <p:sp>
        <p:nvSpPr>
          <p:cNvPr id="52" name="Freeform 13"/>
          <p:cNvSpPr>
            <a:spLocks/>
          </p:cNvSpPr>
          <p:nvPr/>
        </p:nvSpPr>
        <p:spPr bwMode="auto">
          <a:xfrm>
            <a:off x="3201264" y="2914440"/>
            <a:ext cx="2743201" cy="1371810"/>
          </a:xfrm>
          <a:custGeom>
            <a:avLst/>
            <a:gdLst>
              <a:gd name="T0" fmla="*/ 4072 w 8144"/>
              <a:gd name="T1" fmla="*/ 4072 h 4072"/>
              <a:gd name="T2" fmla="*/ 8144 w 8144"/>
              <a:gd name="T3" fmla="*/ 0 h 4072"/>
              <a:gd name="T4" fmla="*/ 0 w 8144"/>
              <a:gd name="T5" fmla="*/ 0 h 4072"/>
              <a:gd name="T6" fmla="*/ 4072 w 8144"/>
              <a:gd name="T7" fmla="*/ 4072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44" h="4072">
                <a:moveTo>
                  <a:pt x="4072" y="4072"/>
                </a:moveTo>
                <a:cubicBezTo>
                  <a:pt x="6321" y="4072"/>
                  <a:pt x="8144" y="2249"/>
                  <a:pt x="814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249"/>
                  <a:pt x="1823" y="4072"/>
                  <a:pt x="4072" y="4072"/>
                </a:cubicBezTo>
                <a:close/>
              </a:path>
            </a:pathLst>
          </a:custGeom>
          <a:solidFill>
            <a:schemeClr val="accent6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sp>
        <p:nvSpPr>
          <p:cNvPr id="53" name="Freeform 12"/>
          <p:cNvSpPr>
            <a:spLocks/>
          </p:cNvSpPr>
          <p:nvPr/>
        </p:nvSpPr>
        <p:spPr bwMode="auto">
          <a:xfrm>
            <a:off x="3201264" y="1543050"/>
            <a:ext cx="2743201" cy="1371390"/>
          </a:xfrm>
          <a:custGeom>
            <a:avLst/>
            <a:gdLst>
              <a:gd name="T0" fmla="*/ 4072 w 8144"/>
              <a:gd name="T1" fmla="*/ 0 h 4072"/>
              <a:gd name="T2" fmla="*/ 0 w 8144"/>
              <a:gd name="T3" fmla="*/ 4072 h 4072"/>
              <a:gd name="T4" fmla="*/ 8144 w 8144"/>
              <a:gd name="T5" fmla="*/ 4072 h 4072"/>
              <a:gd name="T6" fmla="*/ 4072 w 8144"/>
              <a:gd name="T7" fmla="*/ 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144" h="4072">
                <a:moveTo>
                  <a:pt x="4072" y="0"/>
                </a:moveTo>
                <a:cubicBezTo>
                  <a:pt x="1823" y="0"/>
                  <a:pt x="0" y="1823"/>
                  <a:pt x="0" y="4072"/>
                </a:cubicBezTo>
                <a:cubicBezTo>
                  <a:pt x="8144" y="4072"/>
                  <a:pt x="8144" y="4072"/>
                  <a:pt x="8144" y="4072"/>
                </a:cubicBezTo>
                <a:cubicBezTo>
                  <a:pt x="8144" y="1823"/>
                  <a:pt x="6321" y="0"/>
                  <a:pt x="4072" y="0"/>
                </a:cubicBezTo>
                <a:close/>
              </a:path>
            </a:pathLst>
          </a:custGeom>
          <a:solidFill>
            <a:schemeClr val="accent6"/>
          </a:solidFill>
          <a:ln w="4763" cap="flat">
            <a:noFill/>
            <a:prstDash val="solid"/>
            <a:miter lim="800000"/>
            <a:headEnd/>
            <a:tailEnd/>
          </a:ln>
        </p:spPr>
        <p:txBody>
          <a:bodyPr vert="horz" wrap="square" lIns="34290" tIns="17145" rIns="34290" bIns="17145" numCol="1" anchor="t" anchorCtr="0" compatLnSpc="1">
            <a:prstTxWarp prst="textNoShape">
              <a:avLst/>
            </a:prstTxWarp>
          </a:bodyPr>
          <a:lstStyle/>
          <a:p>
            <a:endParaRPr lang="en-US" sz="506"/>
          </a:p>
        </p:txBody>
      </p:sp>
      <p:cxnSp>
        <p:nvCxnSpPr>
          <p:cNvPr id="58" name="Straight Connector 57"/>
          <p:cNvCxnSpPr/>
          <p:nvPr/>
        </p:nvCxnSpPr>
        <p:spPr>
          <a:xfrm flipV="1">
            <a:off x="3199535" y="2914545"/>
            <a:ext cx="2744930" cy="210"/>
          </a:xfrm>
          <a:prstGeom prst="line">
            <a:avLst/>
          </a:prstGeom>
          <a:ln w="12700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3640743" y="1982529"/>
            <a:ext cx="1864242" cy="1864242"/>
            <a:chOff x="17225963" y="4878388"/>
            <a:chExt cx="5380038" cy="5380038"/>
          </a:xfrm>
        </p:grpSpPr>
        <p:sp>
          <p:nvSpPr>
            <p:cNvPr id="62" name="Freeform 17"/>
            <p:cNvSpPr>
              <a:spLocks/>
            </p:cNvSpPr>
            <p:nvPr/>
          </p:nvSpPr>
          <p:spPr bwMode="auto">
            <a:xfrm>
              <a:off x="19916776" y="4878388"/>
              <a:ext cx="2689225" cy="3224213"/>
            </a:xfrm>
            <a:custGeom>
              <a:avLst/>
              <a:gdLst>
                <a:gd name="T0" fmla="*/ 2214 w 3933"/>
                <a:gd name="T1" fmla="*/ 4217 h 4715"/>
                <a:gd name="T2" fmla="*/ 2121 w 3933"/>
                <a:gd name="T3" fmla="*/ 4071 h 4715"/>
                <a:gd name="T4" fmla="*/ 2121 w 3933"/>
                <a:gd name="T5" fmla="*/ 4070 h 4715"/>
                <a:gd name="T6" fmla="*/ 2179 w 3933"/>
                <a:gd name="T7" fmla="*/ 3933 h 4715"/>
                <a:gd name="T8" fmla="*/ 3933 w 3933"/>
                <a:gd name="T9" fmla="*/ 3933 h 4715"/>
                <a:gd name="T10" fmla="*/ 0 w 3933"/>
                <a:gd name="T11" fmla="*/ 0 h 4715"/>
                <a:gd name="T12" fmla="*/ 0 w 3933"/>
                <a:gd name="T13" fmla="*/ 1754 h 4715"/>
                <a:gd name="T14" fmla="*/ 137 w 3933"/>
                <a:gd name="T15" fmla="*/ 1812 h 4715"/>
                <a:gd name="T16" fmla="*/ 138 w 3933"/>
                <a:gd name="T17" fmla="*/ 1812 h 4715"/>
                <a:gd name="T18" fmla="*/ 284 w 3933"/>
                <a:gd name="T19" fmla="*/ 1720 h 4715"/>
                <a:gd name="T20" fmla="*/ 507 w 3933"/>
                <a:gd name="T21" fmla="*/ 1544 h 4715"/>
                <a:gd name="T22" fmla="*/ 782 w 3933"/>
                <a:gd name="T23" fmla="*/ 1967 h 4715"/>
                <a:gd name="T24" fmla="*/ 507 w 3933"/>
                <a:gd name="T25" fmla="*/ 2390 h 4715"/>
                <a:gd name="T26" fmla="*/ 284 w 3933"/>
                <a:gd name="T27" fmla="*/ 2214 h 4715"/>
                <a:gd name="T28" fmla="*/ 138 w 3933"/>
                <a:gd name="T29" fmla="*/ 2121 h 4715"/>
                <a:gd name="T30" fmla="*/ 137 w 3933"/>
                <a:gd name="T31" fmla="*/ 2121 h 4715"/>
                <a:gd name="T32" fmla="*/ 0 w 3933"/>
                <a:gd name="T33" fmla="*/ 2180 h 4715"/>
                <a:gd name="T34" fmla="*/ 0 w 3933"/>
                <a:gd name="T35" fmla="*/ 3933 h 4715"/>
                <a:gd name="T36" fmla="*/ 1754 w 3933"/>
                <a:gd name="T37" fmla="*/ 3933 h 4715"/>
                <a:gd name="T38" fmla="*/ 1812 w 3933"/>
                <a:gd name="T39" fmla="*/ 4070 h 4715"/>
                <a:gd name="T40" fmla="*/ 1812 w 3933"/>
                <a:gd name="T41" fmla="*/ 4071 h 4715"/>
                <a:gd name="T42" fmla="*/ 1719 w 3933"/>
                <a:gd name="T43" fmla="*/ 4217 h 4715"/>
                <a:gd name="T44" fmla="*/ 1543 w 3933"/>
                <a:gd name="T45" fmla="*/ 4440 h 4715"/>
                <a:gd name="T46" fmla="*/ 1967 w 3933"/>
                <a:gd name="T47" fmla="*/ 4715 h 4715"/>
                <a:gd name="T48" fmla="*/ 2390 w 3933"/>
                <a:gd name="T49" fmla="*/ 4440 h 4715"/>
                <a:gd name="T50" fmla="*/ 2214 w 3933"/>
                <a:gd name="T51" fmla="*/ 4217 h 4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33" h="4715">
                  <a:moveTo>
                    <a:pt x="2214" y="4217"/>
                  </a:moveTo>
                  <a:cubicBezTo>
                    <a:pt x="2160" y="4192"/>
                    <a:pt x="2122" y="4136"/>
                    <a:pt x="2121" y="4071"/>
                  </a:cubicBezTo>
                  <a:cubicBezTo>
                    <a:pt x="2121" y="4071"/>
                    <a:pt x="2121" y="4070"/>
                    <a:pt x="2121" y="4070"/>
                  </a:cubicBezTo>
                  <a:cubicBezTo>
                    <a:pt x="2121" y="4004"/>
                    <a:pt x="2146" y="3949"/>
                    <a:pt x="2179" y="3933"/>
                  </a:cubicBezTo>
                  <a:cubicBezTo>
                    <a:pt x="3933" y="3933"/>
                    <a:pt x="3933" y="3933"/>
                    <a:pt x="3933" y="3933"/>
                  </a:cubicBezTo>
                  <a:cubicBezTo>
                    <a:pt x="3933" y="1761"/>
                    <a:pt x="2172" y="0"/>
                    <a:pt x="0" y="0"/>
                  </a:cubicBezTo>
                  <a:cubicBezTo>
                    <a:pt x="0" y="1754"/>
                    <a:pt x="0" y="1754"/>
                    <a:pt x="0" y="1754"/>
                  </a:cubicBezTo>
                  <a:cubicBezTo>
                    <a:pt x="16" y="1788"/>
                    <a:pt x="71" y="1812"/>
                    <a:pt x="137" y="1812"/>
                  </a:cubicBezTo>
                  <a:cubicBezTo>
                    <a:pt x="137" y="1812"/>
                    <a:pt x="138" y="1812"/>
                    <a:pt x="138" y="1812"/>
                  </a:cubicBezTo>
                  <a:cubicBezTo>
                    <a:pt x="203" y="1812"/>
                    <a:pt x="259" y="1773"/>
                    <a:pt x="284" y="1720"/>
                  </a:cubicBezTo>
                  <a:cubicBezTo>
                    <a:pt x="334" y="1613"/>
                    <a:pt x="415" y="1544"/>
                    <a:pt x="507" y="1544"/>
                  </a:cubicBezTo>
                  <a:cubicBezTo>
                    <a:pt x="659" y="1544"/>
                    <a:pt x="782" y="1733"/>
                    <a:pt x="782" y="1967"/>
                  </a:cubicBezTo>
                  <a:cubicBezTo>
                    <a:pt x="782" y="2201"/>
                    <a:pt x="659" y="2390"/>
                    <a:pt x="507" y="2390"/>
                  </a:cubicBezTo>
                  <a:cubicBezTo>
                    <a:pt x="415" y="2390"/>
                    <a:pt x="334" y="2321"/>
                    <a:pt x="284" y="2214"/>
                  </a:cubicBezTo>
                  <a:cubicBezTo>
                    <a:pt x="259" y="2160"/>
                    <a:pt x="203" y="2122"/>
                    <a:pt x="138" y="2121"/>
                  </a:cubicBezTo>
                  <a:cubicBezTo>
                    <a:pt x="138" y="2121"/>
                    <a:pt x="137" y="2121"/>
                    <a:pt x="137" y="2121"/>
                  </a:cubicBezTo>
                  <a:cubicBezTo>
                    <a:pt x="71" y="2121"/>
                    <a:pt x="16" y="2146"/>
                    <a:pt x="0" y="2180"/>
                  </a:cubicBezTo>
                  <a:cubicBezTo>
                    <a:pt x="0" y="3933"/>
                    <a:pt x="0" y="3933"/>
                    <a:pt x="0" y="3933"/>
                  </a:cubicBezTo>
                  <a:cubicBezTo>
                    <a:pt x="1754" y="3933"/>
                    <a:pt x="1754" y="3933"/>
                    <a:pt x="1754" y="3933"/>
                  </a:cubicBezTo>
                  <a:cubicBezTo>
                    <a:pt x="1787" y="3949"/>
                    <a:pt x="1812" y="4004"/>
                    <a:pt x="1812" y="4070"/>
                  </a:cubicBezTo>
                  <a:cubicBezTo>
                    <a:pt x="1812" y="4070"/>
                    <a:pt x="1812" y="4071"/>
                    <a:pt x="1812" y="4071"/>
                  </a:cubicBezTo>
                  <a:cubicBezTo>
                    <a:pt x="1812" y="4136"/>
                    <a:pt x="1773" y="4192"/>
                    <a:pt x="1719" y="4217"/>
                  </a:cubicBezTo>
                  <a:cubicBezTo>
                    <a:pt x="1613" y="4267"/>
                    <a:pt x="1543" y="4348"/>
                    <a:pt x="1543" y="4440"/>
                  </a:cubicBezTo>
                  <a:cubicBezTo>
                    <a:pt x="1543" y="4592"/>
                    <a:pt x="1733" y="4715"/>
                    <a:pt x="1967" y="4715"/>
                  </a:cubicBezTo>
                  <a:cubicBezTo>
                    <a:pt x="2200" y="4715"/>
                    <a:pt x="2390" y="4592"/>
                    <a:pt x="2390" y="4440"/>
                  </a:cubicBezTo>
                  <a:cubicBezTo>
                    <a:pt x="2390" y="4348"/>
                    <a:pt x="2320" y="4267"/>
                    <a:pt x="2214" y="4217"/>
                  </a:cubicBezTo>
                  <a:close/>
                </a:path>
              </a:pathLst>
            </a:custGeom>
            <a:solidFill>
              <a:srgbClr val="EC0000"/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 dirty="0"/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auto">
            <a:xfrm>
              <a:off x="19381788" y="7567613"/>
              <a:ext cx="3224213" cy="2690813"/>
            </a:xfrm>
            <a:custGeom>
              <a:avLst/>
              <a:gdLst>
                <a:gd name="T0" fmla="*/ 2961 w 4715"/>
                <a:gd name="T1" fmla="*/ 0 h 3933"/>
                <a:gd name="T2" fmla="*/ 2903 w 4715"/>
                <a:gd name="T3" fmla="*/ 137 h 3933"/>
                <a:gd name="T4" fmla="*/ 2903 w 4715"/>
                <a:gd name="T5" fmla="*/ 138 h 3933"/>
                <a:gd name="T6" fmla="*/ 2996 w 4715"/>
                <a:gd name="T7" fmla="*/ 284 h 3933"/>
                <a:gd name="T8" fmla="*/ 3172 w 4715"/>
                <a:gd name="T9" fmla="*/ 507 h 3933"/>
                <a:gd name="T10" fmla="*/ 2749 w 4715"/>
                <a:gd name="T11" fmla="*/ 782 h 3933"/>
                <a:gd name="T12" fmla="*/ 2325 w 4715"/>
                <a:gd name="T13" fmla="*/ 507 h 3933"/>
                <a:gd name="T14" fmla="*/ 2501 w 4715"/>
                <a:gd name="T15" fmla="*/ 284 h 3933"/>
                <a:gd name="T16" fmla="*/ 2594 w 4715"/>
                <a:gd name="T17" fmla="*/ 138 h 3933"/>
                <a:gd name="T18" fmla="*/ 2594 w 4715"/>
                <a:gd name="T19" fmla="*/ 137 h 3933"/>
                <a:gd name="T20" fmla="*/ 2536 w 4715"/>
                <a:gd name="T21" fmla="*/ 0 h 3933"/>
                <a:gd name="T22" fmla="*/ 782 w 4715"/>
                <a:gd name="T23" fmla="*/ 0 h 3933"/>
                <a:gd name="T24" fmla="*/ 782 w 4715"/>
                <a:gd name="T25" fmla="*/ 1754 h 3933"/>
                <a:gd name="T26" fmla="*/ 646 w 4715"/>
                <a:gd name="T27" fmla="*/ 1812 h 3933"/>
                <a:gd name="T28" fmla="*/ 644 w 4715"/>
                <a:gd name="T29" fmla="*/ 1812 h 3933"/>
                <a:gd name="T30" fmla="*/ 498 w 4715"/>
                <a:gd name="T31" fmla="*/ 1719 h 3933"/>
                <a:gd name="T32" fmla="*/ 275 w 4715"/>
                <a:gd name="T33" fmla="*/ 1543 h 3933"/>
                <a:gd name="T34" fmla="*/ 0 w 4715"/>
                <a:gd name="T35" fmla="*/ 1967 h 3933"/>
                <a:gd name="T36" fmla="*/ 275 w 4715"/>
                <a:gd name="T37" fmla="*/ 2390 h 3933"/>
                <a:gd name="T38" fmla="*/ 498 w 4715"/>
                <a:gd name="T39" fmla="*/ 2214 h 3933"/>
                <a:gd name="T40" fmla="*/ 644 w 4715"/>
                <a:gd name="T41" fmla="*/ 2121 h 3933"/>
                <a:gd name="T42" fmla="*/ 646 w 4715"/>
                <a:gd name="T43" fmla="*/ 2121 h 3933"/>
                <a:gd name="T44" fmla="*/ 782 w 4715"/>
                <a:gd name="T45" fmla="*/ 2179 h 3933"/>
                <a:gd name="T46" fmla="*/ 782 w 4715"/>
                <a:gd name="T47" fmla="*/ 3933 h 3933"/>
                <a:gd name="T48" fmla="*/ 4715 w 4715"/>
                <a:gd name="T49" fmla="*/ 0 h 3933"/>
                <a:gd name="T50" fmla="*/ 2961 w 4715"/>
                <a:gd name="T51" fmla="*/ 0 h 3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15" h="3933">
                  <a:moveTo>
                    <a:pt x="2961" y="0"/>
                  </a:moveTo>
                  <a:cubicBezTo>
                    <a:pt x="2928" y="16"/>
                    <a:pt x="2903" y="71"/>
                    <a:pt x="2903" y="137"/>
                  </a:cubicBezTo>
                  <a:cubicBezTo>
                    <a:pt x="2903" y="137"/>
                    <a:pt x="2903" y="138"/>
                    <a:pt x="2903" y="138"/>
                  </a:cubicBezTo>
                  <a:cubicBezTo>
                    <a:pt x="2904" y="203"/>
                    <a:pt x="2942" y="259"/>
                    <a:pt x="2996" y="284"/>
                  </a:cubicBezTo>
                  <a:cubicBezTo>
                    <a:pt x="3102" y="334"/>
                    <a:pt x="3172" y="415"/>
                    <a:pt x="3172" y="507"/>
                  </a:cubicBezTo>
                  <a:cubicBezTo>
                    <a:pt x="3172" y="659"/>
                    <a:pt x="2982" y="782"/>
                    <a:pt x="2749" y="782"/>
                  </a:cubicBezTo>
                  <a:cubicBezTo>
                    <a:pt x="2515" y="782"/>
                    <a:pt x="2325" y="659"/>
                    <a:pt x="2325" y="507"/>
                  </a:cubicBezTo>
                  <a:cubicBezTo>
                    <a:pt x="2325" y="415"/>
                    <a:pt x="2395" y="334"/>
                    <a:pt x="2501" y="284"/>
                  </a:cubicBezTo>
                  <a:cubicBezTo>
                    <a:pt x="2555" y="259"/>
                    <a:pt x="2594" y="203"/>
                    <a:pt x="2594" y="138"/>
                  </a:cubicBezTo>
                  <a:cubicBezTo>
                    <a:pt x="2594" y="138"/>
                    <a:pt x="2594" y="137"/>
                    <a:pt x="2594" y="137"/>
                  </a:cubicBezTo>
                  <a:cubicBezTo>
                    <a:pt x="2594" y="71"/>
                    <a:pt x="2569" y="16"/>
                    <a:pt x="2536" y="0"/>
                  </a:cubicBezTo>
                  <a:cubicBezTo>
                    <a:pt x="782" y="0"/>
                    <a:pt x="782" y="0"/>
                    <a:pt x="782" y="0"/>
                  </a:cubicBezTo>
                  <a:cubicBezTo>
                    <a:pt x="782" y="1754"/>
                    <a:pt x="782" y="1754"/>
                    <a:pt x="782" y="1754"/>
                  </a:cubicBezTo>
                  <a:cubicBezTo>
                    <a:pt x="766" y="1787"/>
                    <a:pt x="711" y="1812"/>
                    <a:pt x="646" y="1812"/>
                  </a:cubicBezTo>
                  <a:cubicBezTo>
                    <a:pt x="645" y="1812"/>
                    <a:pt x="645" y="1812"/>
                    <a:pt x="644" y="1812"/>
                  </a:cubicBezTo>
                  <a:cubicBezTo>
                    <a:pt x="579" y="1812"/>
                    <a:pt x="523" y="1773"/>
                    <a:pt x="498" y="1719"/>
                  </a:cubicBezTo>
                  <a:cubicBezTo>
                    <a:pt x="448" y="1613"/>
                    <a:pt x="367" y="1543"/>
                    <a:pt x="275" y="1543"/>
                  </a:cubicBezTo>
                  <a:cubicBezTo>
                    <a:pt x="123" y="1543"/>
                    <a:pt x="0" y="1733"/>
                    <a:pt x="0" y="1967"/>
                  </a:cubicBezTo>
                  <a:cubicBezTo>
                    <a:pt x="0" y="2200"/>
                    <a:pt x="123" y="2390"/>
                    <a:pt x="275" y="2390"/>
                  </a:cubicBezTo>
                  <a:cubicBezTo>
                    <a:pt x="367" y="2390"/>
                    <a:pt x="448" y="2320"/>
                    <a:pt x="498" y="2214"/>
                  </a:cubicBezTo>
                  <a:cubicBezTo>
                    <a:pt x="523" y="2160"/>
                    <a:pt x="579" y="2122"/>
                    <a:pt x="644" y="2121"/>
                  </a:cubicBezTo>
                  <a:cubicBezTo>
                    <a:pt x="645" y="2121"/>
                    <a:pt x="645" y="2121"/>
                    <a:pt x="646" y="2121"/>
                  </a:cubicBezTo>
                  <a:cubicBezTo>
                    <a:pt x="711" y="2121"/>
                    <a:pt x="766" y="2146"/>
                    <a:pt x="782" y="2179"/>
                  </a:cubicBezTo>
                  <a:cubicBezTo>
                    <a:pt x="782" y="3933"/>
                    <a:pt x="782" y="3933"/>
                    <a:pt x="782" y="3933"/>
                  </a:cubicBezTo>
                  <a:cubicBezTo>
                    <a:pt x="2954" y="3933"/>
                    <a:pt x="4715" y="2172"/>
                    <a:pt x="4715" y="0"/>
                  </a:cubicBezTo>
                  <a:lnTo>
                    <a:pt x="2961" y="0"/>
                  </a:ln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auto">
            <a:xfrm>
              <a:off x="17225963" y="7032625"/>
              <a:ext cx="2690813" cy="3225800"/>
            </a:xfrm>
            <a:custGeom>
              <a:avLst/>
              <a:gdLst>
                <a:gd name="T0" fmla="*/ 3426 w 3933"/>
                <a:gd name="T1" fmla="*/ 2325 h 4715"/>
                <a:gd name="T2" fmla="*/ 3649 w 3933"/>
                <a:gd name="T3" fmla="*/ 2501 h 4715"/>
                <a:gd name="T4" fmla="*/ 3795 w 3933"/>
                <a:gd name="T5" fmla="*/ 2594 h 4715"/>
                <a:gd name="T6" fmla="*/ 3797 w 3933"/>
                <a:gd name="T7" fmla="*/ 2594 h 4715"/>
                <a:gd name="T8" fmla="*/ 3933 w 3933"/>
                <a:gd name="T9" fmla="*/ 2536 h 4715"/>
                <a:gd name="T10" fmla="*/ 3933 w 3933"/>
                <a:gd name="T11" fmla="*/ 782 h 4715"/>
                <a:gd name="T12" fmla="*/ 2180 w 3933"/>
                <a:gd name="T13" fmla="*/ 782 h 4715"/>
                <a:gd name="T14" fmla="*/ 2121 w 3933"/>
                <a:gd name="T15" fmla="*/ 646 h 4715"/>
                <a:gd name="T16" fmla="*/ 2121 w 3933"/>
                <a:gd name="T17" fmla="*/ 644 h 4715"/>
                <a:gd name="T18" fmla="*/ 2214 w 3933"/>
                <a:gd name="T19" fmla="*/ 498 h 4715"/>
                <a:gd name="T20" fmla="*/ 2390 w 3933"/>
                <a:gd name="T21" fmla="*/ 275 h 4715"/>
                <a:gd name="T22" fmla="*/ 1967 w 3933"/>
                <a:gd name="T23" fmla="*/ 0 h 4715"/>
                <a:gd name="T24" fmla="*/ 1544 w 3933"/>
                <a:gd name="T25" fmla="*/ 275 h 4715"/>
                <a:gd name="T26" fmla="*/ 1720 w 3933"/>
                <a:gd name="T27" fmla="*/ 498 h 4715"/>
                <a:gd name="T28" fmla="*/ 1812 w 3933"/>
                <a:gd name="T29" fmla="*/ 644 h 4715"/>
                <a:gd name="T30" fmla="*/ 1812 w 3933"/>
                <a:gd name="T31" fmla="*/ 646 h 4715"/>
                <a:gd name="T32" fmla="*/ 1754 w 3933"/>
                <a:gd name="T33" fmla="*/ 782 h 4715"/>
                <a:gd name="T34" fmla="*/ 0 w 3933"/>
                <a:gd name="T35" fmla="*/ 782 h 4715"/>
                <a:gd name="T36" fmla="*/ 3933 w 3933"/>
                <a:gd name="T37" fmla="*/ 4715 h 4715"/>
                <a:gd name="T38" fmla="*/ 3933 w 3933"/>
                <a:gd name="T39" fmla="*/ 2961 h 4715"/>
                <a:gd name="T40" fmla="*/ 3797 w 3933"/>
                <a:gd name="T41" fmla="*/ 2903 h 4715"/>
                <a:gd name="T42" fmla="*/ 3795 w 3933"/>
                <a:gd name="T43" fmla="*/ 2903 h 4715"/>
                <a:gd name="T44" fmla="*/ 3649 w 3933"/>
                <a:gd name="T45" fmla="*/ 2996 h 4715"/>
                <a:gd name="T46" fmla="*/ 3426 w 3933"/>
                <a:gd name="T47" fmla="*/ 3172 h 4715"/>
                <a:gd name="T48" fmla="*/ 3151 w 3933"/>
                <a:gd name="T49" fmla="*/ 2749 h 4715"/>
                <a:gd name="T50" fmla="*/ 3426 w 3933"/>
                <a:gd name="T51" fmla="*/ 2325 h 4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33" h="4715">
                  <a:moveTo>
                    <a:pt x="3426" y="2325"/>
                  </a:moveTo>
                  <a:cubicBezTo>
                    <a:pt x="3518" y="2325"/>
                    <a:pt x="3599" y="2395"/>
                    <a:pt x="3649" y="2501"/>
                  </a:cubicBezTo>
                  <a:cubicBezTo>
                    <a:pt x="3674" y="2555"/>
                    <a:pt x="3730" y="2594"/>
                    <a:pt x="3795" y="2594"/>
                  </a:cubicBezTo>
                  <a:cubicBezTo>
                    <a:pt x="3796" y="2594"/>
                    <a:pt x="3796" y="2594"/>
                    <a:pt x="3797" y="2594"/>
                  </a:cubicBezTo>
                  <a:cubicBezTo>
                    <a:pt x="3862" y="2594"/>
                    <a:pt x="3917" y="2569"/>
                    <a:pt x="3933" y="2536"/>
                  </a:cubicBezTo>
                  <a:cubicBezTo>
                    <a:pt x="3933" y="782"/>
                    <a:pt x="3933" y="782"/>
                    <a:pt x="3933" y="782"/>
                  </a:cubicBezTo>
                  <a:cubicBezTo>
                    <a:pt x="2180" y="782"/>
                    <a:pt x="2180" y="782"/>
                    <a:pt x="2180" y="782"/>
                  </a:cubicBezTo>
                  <a:cubicBezTo>
                    <a:pt x="2146" y="766"/>
                    <a:pt x="2121" y="711"/>
                    <a:pt x="2121" y="646"/>
                  </a:cubicBezTo>
                  <a:cubicBezTo>
                    <a:pt x="2121" y="645"/>
                    <a:pt x="2121" y="644"/>
                    <a:pt x="2121" y="644"/>
                  </a:cubicBezTo>
                  <a:cubicBezTo>
                    <a:pt x="2122" y="579"/>
                    <a:pt x="2160" y="523"/>
                    <a:pt x="2214" y="498"/>
                  </a:cubicBezTo>
                  <a:cubicBezTo>
                    <a:pt x="2321" y="448"/>
                    <a:pt x="2390" y="367"/>
                    <a:pt x="2390" y="275"/>
                  </a:cubicBezTo>
                  <a:cubicBezTo>
                    <a:pt x="2390" y="123"/>
                    <a:pt x="2201" y="0"/>
                    <a:pt x="1967" y="0"/>
                  </a:cubicBezTo>
                  <a:cubicBezTo>
                    <a:pt x="1733" y="0"/>
                    <a:pt x="1544" y="123"/>
                    <a:pt x="1544" y="275"/>
                  </a:cubicBezTo>
                  <a:cubicBezTo>
                    <a:pt x="1544" y="367"/>
                    <a:pt x="1613" y="448"/>
                    <a:pt x="1720" y="498"/>
                  </a:cubicBezTo>
                  <a:cubicBezTo>
                    <a:pt x="1773" y="523"/>
                    <a:pt x="1812" y="579"/>
                    <a:pt x="1812" y="644"/>
                  </a:cubicBezTo>
                  <a:cubicBezTo>
                    <a:pt x="1812" y="644"/>
                    <a:pt x="1812" y="645"/>
                    <a:pt x="1812" y="646"/>
                  </a:cubicBezTo>
                  <a:cubicBezTo>
                    <a:pt x="1812" y="711"/>
                    <a:pt x="1788" y="766"/>
                    <a:pt x="1754" y="782"/>
                  </a:cubicBezTo>
                  <a:cubicBezTo>
                    <a:pt x="0" y="782"/>
                    <a:pt x="0" y="782"/>
                    <a:pt x="0" y="782"/>
                  </a:cubicBezTo>
                  <a:cubicBezTo>
                    <a:pt x="0" y="2954"/>
                    <a:pt x="1761" y="4715"/>
                    <a:pt x="3933" y="4715"/>
                  </a:cubicBezTo>
                  <a:cubicBezTo>
                    <a:pt x="3933" y="2961"/>
                    <a:pt x="3933" y="2961"/>
                    <a:pt x="3933" y="2961"/>
                  </a:cubicBezTo>
                  <a:cubicBezTo>
                    <a:pt x="3917" y="2928"/>
                    <a:pt x="3862" y="2903"/>
                    <a:pt x="3797" y="2903"/>
                  </a:cubicBezTo>
                  <a:cubicBezTo>
                    <a:pt x="3796" y="2903"/>
                    <a:pt x="3796" y="2903"/>
                    <a:pt x="3795" y="2903"/>
                  </a:cubicBezTo>
                  <a:cubicBezTo>
                    <a:pt x="3730" y="2904"/>
                    <a:pt x="3674" y="2942"/>
                    <a:pt x="3649" y="2996"/>
                  </a:cubicBezTo>
                  <a:cubicBezTo>
                    <a:pt x="3599" y="3102"/>
                    <a:pt x="3518" y="3172"/>
                    <a:pt x="3426" y="3172"/>
                  </a:cubicBezTo>
                  <a:cubicBezTo>
                    <a:pt x="3274" y="3172"/>
                    <a:pt x="3151" y="2982"/>
                    <a:pt x="3151" y="2749"/>
                  </a:cubicBezTo>
                  <a:cubicBezTo>
                    <a:pt x="3151" y="2515"/>
                    <a:pt x="3274" y="2325"/>
                    <a:pt x="3426" y="232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>
              <a:off x="17225963" y="4878388"/>
              <a:ext cx="3225800" cy="2689225"/>
            </a:xfrm>
            <a:custGeom>
              <a:avLst/>
              <a:gdLst>
                <a:gd name="T0" fmla="*/ 4440 w 4715"/>
                <a:gd name="T1" fmla="*/ 1544 h 3933"/>
                <a:gd name="T2" fmla="*/ 4217 w 4715"/>
                <a:gd name="T3" fmla="*/ 1720 h 3933"/>
                <a:gd name="T4" fmla="*/ 4071 w 4715"/>
                <a:gd name="T5" fmla="*/ 1812 h 3933"/>
                <a:gd name="T6" fmla="*/ 4070 w 4715"/>
                <a:gd name="T7" fmla="*/ 1812 h 3933"/>
                <a:gd name="T8" fmla="*/ 3933 w 4715"/>
                <a:gd name="T9" fmla="*/ 1754 h 3933"/>
                <a:gd name="T10" fmla="*/ 3933 w 4715"/>
                <a:gd name="T11" fmla="*/ 0 h 3933"/>
                <a:gd name="T12" fmla="*/ 0 w 4715"/>
                <a:gd name="T13" fmla="*/ 3933 h 3933"/>
                <a:gd name="T14" fmla="*/ 1754 w 4715"/>
                <a:gd name="T15" fmla="*/ 3933 h 3933"/>
                <a:gd name="T16" fmla="*/ 1812 w 4715"/>
                <a:gd name="T17" fmla="*/ 3797 h 3933"/>
                <a:gd name="T18" fmla="*/ 1812 w 4715"/>
                <a:gd name="T19" fmla="*/ 3795 h 3933"/>
                <a:gd name="T20" fmla="*/ 1720 w 4715"/>
                <a:gd name="T21" fmla="*/ 3649 h 3933"/>
                <a:gd name="T22" fmla="*/ 1544 w 4715"/>
                <a:gd name="T23" fmla="*/ 3426 h 3933"/>
                <a:gd name="T24" fmla="*/ 1967 w 4715"/>
                <a:gd name="T25" fmla="*/ 3151 h 3933"/>
                <a:gd name="T26" fmla="*/ 2390 w 4715"/>
                <a:gd name="T27" fmla="*/ 3426 h 3933"/>
                <a:gd name="T28" fmla="*/ 2214 w 4715"/>
                <a:gd name="T29" fmla="*/ 3649 h 3933"/>
                <a:gd name="T30" fmla="*/ 2121 w 4715"/>
                <a:gd name="T31" fmla="*/ 3795 h 3933"/>
                <a:gd name="T32" fmla="*/ 2121 w 4715"/>
                <a:gd name="T33" fmla="*/ 3797 h 3933"/>
                <a:gd name="T34" fmla="*/ 2180 w 4715"/>
                <a:gd name="T35" fmla="*/ 3933 h 3933"/>
                <a:gd name="T36" fmla="*/ 3933 w 4715"/>
                <a:gd name="T37" fmla="*/ 3933 h 3933"/>
                <a:gd name="T38" fmla="*/ 3933 w 4715"/>
                <a:gd name="T39" fmla="*/ 2180 h 3933"/>
                <a:gd name="T40" fmla="*/ 4070 w 4715"/>
                <a:gd name="T41" fmla="*/ 2121 h 3933"/>
                <a:gd name="T42" fmla="*/ 4071 w 4715"/>
                <a:gd name="T43" fmla="*/ 2121 h 3933"/>
                <a:gd name="T44" fmla="*/ 4217 w 4715"/>
                <a:gd name="T45" fmla="*/ 2214 h 3933"/>
                <a:gd name="T46" fmla="*/ 4440 w 4715"/>
                <a:gd name="T47" fmla="*/ 2390 h 3933"/>
                <a:gd name="T48" fmla="*/ 4715 w 4715"/>
                <a:gd name="T49" fmla="*/ 1967 h 3933"/>
                <a:gd name="T50" fmla="*/ 4440 w 4715"/>
                <a:gd name="T51" fmla="*/ 1544 h 3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715" h="3933">
                  <a:moveTo>
                    <a:pt x="4440" y="1544"/>
                  </a:moveTo>
                  <a:cubicBezTo>
                    <a:pt x="4348" y="1544"/>
                    <a:pt x="4267" y="1613"/>
                    <a:pt x="4217" y="1720"/>
                  </a:cubicBezTo>
                  <a:cubicBezTo>
                    <a:pt x="4192" y="1773"/>
                    <a:pt x="4136" y="1812"/>
                    <a:pt x="4071" y="1812"/>
                  </a:cubicBezTo>
                  <a:cubicBezTo>
                    <a:pt x="4071" y="1812"/>
                    <a:pt x="4070" y="1812"/>
                    <a:pt x="4070" y="1812"/>
                  </a:cubicBezTo>
                  <a:cubicBezTo>
                    <a:pt x="4004" y="1812"/>
                    <a:pt x="3949" y="1788"/>
                    <a:pt x="3933" y="1754"/>
                  </a:cubicBezTo>
                  <a:cubicBezTo>
                    <a:pt x="3933" y="0"/>
                    <a:pt x="3933" y="0"/>
                    <a:pt x="3933" y="0"/>
                  </a:cubicBezTo>
                  <a:cubicBezTo>
                    <a:pt x="1761" y="0"/>
                    <a:pt x="0" y="1761"/>
                    <a:pt x="0" y="3933"/>
                  </a:cubicBezTo>
                  <a:cubicBezTo>
                    <a:pt x="1754" y="3933"/>
                    <a:pt x="1754" y="3933"/>
                    <a:pt x="1754" y="3933"/>
                  </a:cubicBezTo>
                  <a:cubicBezTo>
                    <a:pt x="1788" y="3917"/>
                    <a:pt x="1812" y="3862"/>
                    <a:pt x="1812" y="3797"/>
                  </a:cubicBezTo>
                  <a:cubicBezTo>
                    <a:pt x="1812" y="3796"/>
                    <a:pt x="1812" y="3795"/>
                    <a:pt x="1812" y="3795"/>
                  </a:cubicBezTo>
                  <a:cubicBezTo>
                    <a:pt x="1812" y="3730"/>
                    <a:pt x="1773" y="3674"/>
                    <a:pt x="1720" y="3649"/>
                  </a:cubicBezTo>
                  <a:cubicBezTo>
                    <a:pt x="1613" y="3599"/>
                    <a:pt x="1544" y="3518"/>
                    <a:pt x="1544" y="3426"/>
                  </a:cubicBezTo>
                  <a:cubicBezTo>
                    <a:pt x="1544" y="3274"/>
                    <a:pt x="1733" y="3151"/>
                    <a:pt x="1967" y="3151"/>
                  </a:cubicBezTo>
                  <a:cubicBezTo>
                    <a:pt x="2201" y="3151"/>
                    <a:pt x="2390" y="3274"/>
                    <a:pt x="2390" y="3426"/>
                  </a:cubicBezTo>
                  <a:cubicBezTo>
                    <a:pt x="2390" y="3518"/>
                    <a:pt x="2321" y="3599"/>
                    <a:pt x="2214" y="3649"/>
                  </a:cubicBezTo>
                  <a:cubicBezTo>
                    <a:pt x="2160" y="3674"/>
                    <a:pt x="2122" y="3730"/>
                    <a:pt x="2121" y="3795"/>
                  </a:cubicBezTo>
                  <a:cubicBezTo>
                    <a:pt x="2121" y="3795"/>
                    <a:pt x="2121" y="3796"/>
                    <a:pt x="2121" y="3797"/>
                  </a:cubicBezTo>
                  <a:cubicBezTo>
                    <a:pt x="2121" y="3862"/>
                    <a:pt x="2146" y="3917"/>
                    <a:pt x="2180" y="3933"/>
                  </a:cubicBezTo>
                  <a:cubicBezTo>
                    <a:pt x="3933" y="3933"/>
                    <a:pt x="3933" y="3933"/>
                    <a:pt x="3933" y="3933"/>
                  </a:cubicBezTo>
                  <a:cubicBezTo>
                    <a:pt x="3933" y="2180"/>
                    <a:pt x="3933" y="2180"/>
                    <a:pt x="3933" y="2180"/>
                  </a:cubicBezTo>
                  <a:cubicBezTo>
                    <a:pt x="3949" y="2146"/>
                    <a:pt x="4004" y="2121"/>
                    <a:pt x="4070" y="2121"/>
                  </a:cubicBezTo>
                  <a:cubicBezTo>
                    <a:pt x="4070" y="2121"/>
                    <a:pt x="4071" y="2121"/>
                    <a:pt x="4071" y="2121"/>
                  </a:cubicBezTo>
                  <a:cubicBezTo>
                    <a:pt x="4136" y="2122"/>
                    <a:pt x="4192" y="2160"/>
                    <a:pt x="4217" y="2214"/>
                  </a:cubicBezTo>
                  <a:cubicBezTo>
                    <a:pt x="4267" y="2321"/>
                    <a:pt x="4348" y="2390"/>
                    <a:pt x="4440" y="2390"/>
                  </a:cubicBezTo>
                  <a:cubicBezTo>
                    <a:pt x="4592" y="2390"/>
                    <a:pt x="4715" y="2201"/>
                    <a:pt x="4715" y="1967"/>
                  </a:cubicBezTo>
                  <a:cubicBezTo>
                    <a:pt x="4715" y="1733"/>
                    <a:pt x="4592" y="1544"/>
                    <a:pt x="4440" y="154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368217" y="3505096"/>
            <a:ext cx="568878" cy="568876"/>
            <a:chOff x="5368217" y="3505096"/>
            <a:chExt cx="568878" cy="568876"/>
          </a:xfrm>
        </p:grpSpPr>
        <p:sp>
          <p:nvSpPr>
            <p:cNvPr id="57" name="Oval 56"/>
            <p:cNvSpPr/>
            <p:nvPr/>
          </p:nvSpPr>
          <p:spPr>
            <a:xfrm>
              <a:off x="5368217" y="3505096"/>
              <a:ext cx="568878" cy="568876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5543821" y="3625557"/>
              <a:ext cx="217667" cy="327952"/>
            </a:xfrm>
            <a:custGeom>
              <a:avLst/>
              <a:gdLst>
                <a:gd name="T0" fmla="*/ 903 w 1702"/>
                <a:gd name="T1" fmla="*/ 17 h 2563"/>
                <a:gd name="T2" fmla="*/ 0 w 1702"/>
                <a:gd name="T3" fmla="*/ 857 h 2563"/>
                <a:gd name="T4" fmla="*/ 72 w 1702"/>
                <a:gd name="T5" fmla="*/ 1196 h 2563"/>
                <a:gd name="T6" fmla="*/ 340 w 1702"/>
                <a:gd name="T7" fmla="*/ 1689 h 2563"/>
                <a:gd name="T8" fmla="*/ 482 w 1702"/>
                <a:gd name="T9" fmla="*/ 2015 h 2563"/>
                <a:gd name="T10" fmla="*/ 482 w 1702"/>
                <a:gd name="T11" fmla="*/ 2169 h 2563"/>
                <a:gd name="T12" fmla="*/ 482 w 1702"/>
                <a:gd name="T13" fmla="*/ 2301 h 2563"/>
                <a:gd name="T14" fmla="*/ 551 w 1702"/>
                <a:gd name="T15" fmla="*/ 2423 h 2563"/>
                <a:gd name="T16" fmla="*/ 982 w 1702"/>
                <a:gd name="T17" fmla="*/ 2563 h 2563"/>
                <a:gd name="T18" fmla="*/ 1203 w 1702"/>
                <a:gd name="T19" fmla="*/ 2319 h 2563"/>
                <a:gd name="T20" fmla="*/ 1203 w 1702"/>
                <a:gd name="T21" fmla="*/ 2236 h 2563"/>
                <a:gd name="T22" fmla="*/ 1203 w 1702"/>
                <a:gd name="T23" fmla="*/ 2104 h 2563"/>
                <a:gd name="T24" fmla="*/ 1250 w 1702"/>
                <a:gd name="T25" fmla="*/ 1951 h 2563"/>
                <a:gd name="T26" fmla="*/ 1514 w 1702"/>
                <a:gd name="T27" fmla="*/ 1367 h 2563"/>
                <a:gd name="T28" fmla="*/ 1528 w 1702"/>
                <a:gd name="T29" fmla="*/ 1342 h 2563"/>
                <a:gd name="T30" fmla="*/ 1614 w 1702"/>
                <a:gd name="T31" fmla="*/ 1191 h 2563"/>
                <a:gd name="T32" fmla="*/ 1620 w 1702"/>
                <a:gd name="T33" fmla="*/ 1178 h 2563"/>
                <a:gd name="T34" fmla="*/ 982 w 1702"/>
                <a:gd name="T35" fmla="*/ 2498 h 2563"/>
                <a:gd name="T36" fmla="*/ 618 w 1702"/>
                <a:gd name="T37" fmla="*/ 2432 h 2563"/>
                <a:gd name="T38" fmla="*/ 982 w 1702"/>
                <a:gd name="T39" fmla="*/ 2498 h 2563"/>
                <a:gd name="T40" fmla="*/ 1090 w 1702"/>
                <a:gd name="T41" fmla="*/ 2367 h 2563"/>
                <a:gd name="T42" fmla="*/ 547 w 1702"/>
                <a:gd name="T43" fmla="*/ 2319 h 2563"/>
                <a:gd name="T44" fmla="*/ 1138 w 1702"/>
                <a:gd name="T45" fmla="*/ 2301 h 2563"/>
                <a:gd name="T46" fmla="*/ 1138 w 1702"/>
                <a:gd name="T47" fmla="*/ 2236 h 2563"/>
                <a:gd name="T48" fmla="*/ 547 w 1702"/>
                <a:gd name="T49" fmla="*/ 2169 h 2563"/>
                <a:gd name="T50" fmla="*/ 1138 w 1702"/>
                <a:gd name="T51" fmla="*/ 2236 h 2563"/>
                <a:gd name="T52" fmla="*/ 1138 w 1702"/>
                <a:gd name="T53" fmla="*/ 2104 h 2563"/>
                <a:gd name="T54" fmla="*/ 547 w 1702"/>
                <a:gd name="T55" fmla="*/ 2038 h 2563"/>
                <a:gd name="T56" fmla="*/ 717 w 1702"/>
                <a:gd name="T57" fmla="*/ 2038 h 2563"/>
                <a:gd name="T58" fmla="*/ 1128 w 1702"/>
                <a:gd name="T59" fmla="*/ 2038 h 2563"/>
                <a:gd name="T60" fmla="*/ 746 w 1702"/>
                <a:gd name="T61" fmla="*/ 1407 h 2563"/>
                <a:gd name="T62" fmla="*/ 825 w 1702"/>
                <a:gd name="T63" fmla="*/ 1364 h 2563"/>
                <a:gd name="T64" fmla="*/ 1014 w 1702"/>
                <a:gd name="T65" fmla="*/ 1265 h 2563"/>
                <a:gd name="T66" fmla="*/ 934 w 1702"/>
                <a:gd name="T67" fmla="*/ 1423 h 2563"/>
                <a:gd name="T68" fmla="*/ 750 w 1702"/>
                <a:gd name="T69" fmla="*/ 1973 h 2563"/>
                <a:gd name="T70" fmla="*/ 746 w 1702"/>
                <a:gd name="T71" fmla="*/ 1407 h 2563"/>
                <a:gd name="T72" fmla="*/ 1556 w 1702"/>
                <a:gd name="T73" fmla="*/ 1163 h 2563"/>
                <a:gd name="T74" fmla="*/ 1467 w 1702"/>
                <a:gd name="T75" fmla="*/ 1318 h 2563"/>
                <a:gd name="T76" fmla="*/ 1188 w 1702"/>
                <a:gd name="T77" fmla="*/ 1930 h 2563"/>
                <a:gd name="T78" fmla="*/ 999 w 1702"/>
                <a:gd name="T79" fmla="*/ 1973 h 2563"/>
                <a:gd name="T80" fmla="*/ 1130 w 1702"/>
                <a:gd name="T81" fmla="*/ 1185 h 2563"/>
                <a:gd name="T82" fmla="*/ 1084 w 1702"/>
                <a:gd name="T83" fmla="*/ 1142 h 2563"/>
                <a:gd name="T84" fmla="*/ 600 w 1702"/>
                <a:gd name="T85" fmla="*/ 1142 h 2563"/>
                <a:gd name="T86" fmla="*/ 554 w 1702"/>
                <a:gd name="T87" fmla="*/ 1185 h 2563"/>
                <a:gd name="T88" fmla="*/ 685 w 1702"/>
                <a:gd name="T89" fmla="*/ 1973 h 2563"/>
                <a:gd name="T90" fmla="*/ 496 w 1702"/>
                <a:gd name="T91" fmla="*/ 1930 h 2563"/>
                <a:gd name="T92" fmla="*/ 215 w 1702"/>
                <a:gd name="T93" fmla="*/ 1315 h 2563"/>
                <a:gd name="T94" fmla="*/ 127 w 1702"/>
                <a:gd name="T95" fmla="*/ 1160 h 2563"/>
                <a:gd name="T96" fmla="*/ 313 w 1702"/>
                <a:gd name="T97" fmla="*/ 288 h 2563"/>
                <a:gd name="T98" fmla="*/ 1597 w 1702"/>
                <a:gd name="T99" fmla="*/ 673 h 2563"/>
                <a:gd name="T100" fmla="*/ 1096 w 1702"/>
                <a:gd name="T101" fmla="*/ 341 h 2563"/>
                <a:gd name="T102" fmla="*/ 873 w 1702"/>
                <a:gd name="T103" fmla="*/ 333 h 2563"/>
                <a:gd name="T104" fmla="*/ 255 w 1702"/>
                <a:gd name="T105" fmla="*/ 950 h 2563"/>
                <a:gd name="T106" fmla="*/ 873 w 1702"/>
                <a:gd name="T107" fmla="*/ 268 h 2563"/>
                <a:gd name="T108" fmla="*/ 1096 w 1702"/>
                <a:gd name="T109" fmla="*/ 341 h 2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02" h="2563">
                  <a:moveTo>
                    <a:pt x="1660" y="658"/>
                  </a:moveTo>
                  <a:cubicBezTo>
                    <a:pt x="1577" y="306"/>
                    <a:pt x="1265" y="42"/>
                    <a:pt x="903" y="17"/>
                  </a:cubicBezTo>
                  <a:cubicBezTo>
                    <a:pt x="666" y="0"/>
                    <a:pt x="441" y="80"/>
                    <a:pt x="268" y="241"/>
                  </a:cubicBezTo>
                  <a:cubicBezTo>
                    <a:pt x="98" y="400"/>
                    <a:pt x="0" y="624"/>
                    <a:pt x="0" y="857"/>
                  </a:cubicBezTo>
                  <a:cubicBezTo>
                    <a:pt x="0" y="972"/>
                    <a:pt x="23" y="1083"/>
                    <a:pt x="68" y="1188"/>
                  </a:cubicBezTo>
                  <a:cubicBezTo>
                    <a:pt x="72" y="1196"/>
                    <a:pt x="72" y="1196"/>
                    <a:pt x="72" y="1196"/>
                  </a:cubicBezTo>
                  <a:cubicBezTo>
                    <a:pt x="85" y="1216"/>
                    <a:pt x="118" y="1275"/>
                    <a:pt x="158" y="1347"/>
                  </a:cubicBezTo>
                  <a:cubicBezTo>
                    <a:pt x="224" y="1462"/>
                    <a:pt x="308" y="1616"/>
                    <a:pt x="340" y="1689"/>
                  </a:cubicBezTo>
                  <a:cubicBezTo>
                    <a:pt x="359" y="1730"/>
                    <a:pt x="392" y="1823"/>
                    <a:pt x="435" y="1951"/>
                  </a:cubicBezTo>
                  <a:cubicBezTo>
                    <a:pt x="443" y="1977"/>
                    <a:pt x="460" y="1999"/>
                    <a:pt x="482" y="2015"/>
                  </a:cubicBezTo>
                  <a:cubicBezTo>
                    <a:pt x="482" y="2104"/>
                    <a:pt x="482" y="2104"/>
                    <a:pt x="482" y="2104"/>
                  </a:cubicBezTo>
                  <a:cubicBezTo>
                    <a:pt x="482" y="2169"/>
                    <a:pt x="482" y="2169"/>
                    <a:pt x="482" y="2169"/>
                  </a:cubicBezTo>
                  <a:cubicBezTo>
                    <a:pt x="482" y="2236"/>
                    <a:pt x="482" y="2236"/>
                    <a:pt x="482" y="2236"/>
                  </a:cubicBezTo>
                  <a:cubicBezTo>
                    <a:pt x="482" y="2301"/>
                    <a:pt x="482" y="2301"/>
                    <a:pt x="482" y="2301"/>
                  </a:cubicBezTo>
                  <a:cubicBezTo>
                    <a:pt x="482" y="2319"/>
                    <a:pt x="482" y="2319"/>
                    <a:pt x="482" y="2319"/>
                  </a:cubicBezTo>
                  <a:cubicBezTo>
                    <a:pt x="482" y="2366"/>
                    <a:pt x="511" y="2406"/>
                    <a:pt x="551" y="2423"/>
                  </a:cubicBezTo>
                  <a:cubicBezTo>
                    <a:pt x="558" y="2501"/>
                    <a:pt x="623" y="2563"/>
                    <a:pt x="703" y="2563"/>
                  </a:cubicBezTo>
                  <a:cubicBezTo>
                    <a:pt x="982" y="2563"/>
                    <a:pt x="982" y="2563"/>
                    <a:pt x="982" y="2563"/>
                  </a:cubicBezTo>
                  <a:cubicBezTo>
                    <a:pt x="1061" y="2563"/>
                    <a:pt x="1126" y="2501"/>
                    <a:pt x="1133" y="2423"/>
                  </a:cubicBezTo>
                  <a:cubicBezTo>
                    <a:pt x="1174" y="2406"/>
                    <a:pt x="1203" y="2366"/>
                    <a:pt x="1203" y="2319"/>
                  </a:cubicBezTo>
                  <a:cubicBezTo>
                    <a:pt x="1203" y="2301"/>
                    <a:pt x="1203" y="2301"/>
                    <a:pt x="1203" y="2301"/>
                  </a:cubicBezTo>
                  <a:cubicBezTo>
                    <a:pt x="1203" y="2236"/>
                    <a:pt x="1203" y="2236"/>
                    <a:pt x="1203" y="2236"/>
                  </a:cubicBezTo>
                  <a:cubicBezTo>
                    <a:pt x="1203" y="2169"/>
                    <a:pt x="1203" y="2169"/>
                    <a:pt x="1203" y="2169"/>
                  </a:cubicBezTo>
                  <a:cubicBezTo>
                    <a:pt x="1203" y="2104"/>
                    <a:pt x="1203" y="2104"/>
                    <a:pt x="1203" y="2104"/>
                  </a:cubicBezTo>
                  <a:cubicBezTo>
                    <a:pt x="1203" y="2015"/>
                    <a:pt x="1203" y="2015"/>
                    <a:pt x="1203" y="2015"/>
                  </a:cubicBezTo>
                  <a:cubicBezTo>
                    <a:pt x="1224" y="1999"/>
                    <a:pt x="1241" y="1977"/>
                    <a:pt x="1250" y="1951"/>
                  </a:cubicBezTo>
                  <a:cubicBezTo>
                    <a:pt x="1292" y="1823"/>
                    <a:pt x="1326" y="1730"/>
                    <a:pt x="1344" y="1689"/>
                  </a:cubicBezTo>
                  <a:cubicBezTo>
                    <a:pt x="1376" y="1615"/>
                    <a:pt x="1461" y="1462"/>
                    <a:pt x="1514" y="1367"/>
                  </a:cubicBezTo>
                  <a:cubicBezTo>
                    <a:pt x="1528" y="1366"/>
                    <a:pt x="1528" y="1366"/>
                    <a:pt x="1528" y="1366"/>
                  </a:cubicBezTo>
                  <a:cubicBezTo>
                    <a:pt x="1528" y="1342"/>
                    <a:pt x="1528" y="1342"/>
                    <a:pt x="1528" y="1342"/>
                  </a:cubicBezTo>
                  <a:cubicBezTo>
                    <a:pt x="1567" y="1273"/>
                    <a:pt x="1600" y="1216"/>
                    <a:pt x="1611" y="1197"/>
                  </a:cubicBezTo>
                  <a:cubicBezTo>
                    <a:pt x="1612" y="1195"/>
                    <a:pt x="1613" y="1193"/>
                    <a:pt x="1614" y="1191"/>
                  </a:cubicBezTo>
                  <a:cubicBezTo>
                    <a:pt x="1620" y="1184"/>
                    <a:pt x="1620" y="1184"/>
                    <a:pt x="1620" y="1184"/>
                  </a:cubicBezTo>
                  <a:cubicBezTo>
                    <a:pt x="1620" y="1178"/>
                    <a:pt x="1620" y="1178"/>
                    <a:pt x="1620" y="1178"/>
                  </a:cubicBezTo>
                  <a:cubicBezTo>
                    <a:pt x="1688" y="1013"/>
                    <a:pt x="1702" y="833"/>
                    <a:pt x="1660" y="658"/>
                  </a:cubicBezTo>
                  <a:close/>
                  <a:moveTo>
                    <a:pt x="982" y="2498"/>
                  </a:moveTo>
                  <a:cubicBezTo>
                    <a:pt x="703" y="2498"/>
                    <a:pt x="703" y="2498"/>
                    <a:pt x="703" y="2498"/>
                  </a:cubicBezTo>
                  <a:cubicBezTo>
                    <a:pt x="662" y="2498"/>
                    <a:pt x="627" y="2470"/>
                    <a:pt x="618" y="2432"/>
                  </a:cubicBezTo>
                  <a:cubicBezTo>
                    <a:pt x="1067" y="2432"/>
                    <a:pt x="1067" y="2432"/>
                    <a:pt x="1067" y="2432"/>
                  </a:cubicBezTo>
                  <a:cubicBezTo>
                    <a:pt x="1057" y="2470"/>
                    <a:pt x="1022" y="2498"/>
                    <a:pt x="982" y="2498"/>
                  </a:cubicBezTo>
                  <a:close/>
                  <a:moveTo>
                    <a:pt x="1138" y="2319"/>
                  </a:moveTo>
                  <a:cubicBezTo>
                    <a:pt x="1138" y="2345"/>
                    <a:pt x="1116" y="2367"/>
                    <a:pt x="1090" y="2367"/>
                  </a:cubicBezTo>
                  <a:cubicBezTo>
                    <a:pt x="594" y="2367"/>
                    <a:pt x="594" y="2367"/>
                    <a:pt x="594" y="2367"/>
                  </a:cubicBezTo>
                  <a:cubicBezTo>
                    <a:pt x="568" y="2367"/>
                    <a:pt x="547" y="2345"/>
                    <a:pt x="547" y="2319"/>
                  </a:cubicBezTo>
                  <a:cubicBezTo>
                    <a:pt x="547" y="2301"/>
                    <a:pt x="547" y="2301"/>
                    <a:pt x="547" y="2301"/>
                  </a:cubicBezTo>
                  <a:cubicBezTo>
                    <a:pt x="1138" y="2301"/>
                    <a:pt x="1138" y="2301"/>
                    <a:pt x="1138" y="2301"/>
                  </a:cubicBezTo>
                  <a:lnTo>
                    <a:pt x="1138" y="2319"/>
                  </a:lnTo>
                  <a:close/>
                  <a:moveTo>
                    <a:pt x="1138" y="2236"/>
                  </a:moveTo>
                  <a:cubicBezTo>
                    <a:pt x="547" y="2236"/>
                    <a:pt x="547" y="2236"/>
                    <a:pt x="547" y="2236"/>
                  </a:cubicBezTo>
                  <a:cubicBezTo>
                    <a:pt x="547" y="2169"/>
                    <a:pt x="547" y="2169"/>
                    <a:pt x="547" y="2169"/>
                  </a:cubicBezTo>
                  <a:cubicBezTo>
                    <a:pt x="1138" y="2169"/>
                    <a:pt x="1138" y="2169"/>
                    <a:pt x="1138" y="2169"/>
                  </a:cubicBezTo>
                  <a:lnTo>
                    <a:pt x="1138" y="2236"/>
                  </a:lnTo>
                  <a:close/>
                  <a:moveTo>
                    <a:pt x="1138" y="2038"/>
                  </a:moveTo>
                  <a:cubicBezTo>
                    <a:pt x="1138" y="2104"/>
                    <a:pt x="1138" y="2104"/>
                    <a:pt x="1138" y="2104"/>
                  </a:cubicBezTo>
                  <a:cubicBezTo>
                    <a:pt x="547" y="2104"/>
                    <a:pt x="547" y="2104"/>
                    <a:pt x="547" y="2104"/>
                  </a:cubicBezTo>
                  <a:cubicBezTo>
                    <a:pt x="547" y="2038"/>
                    <a:pt x="547" y="2038"/>
                    <a:pt x="547" y="2038"/>
                  </a:cubicBezTo>
                  <a:cubicBezTo>
                    <a:pt x="556" y="2038"/>
                    <a:pt x="556" y="2038"/>
                    <a:pt x="556" y="2038"/>
                  </a:cubicBezTo>
                  <a:cubicBezTo>
                    <a:pt x="717" y="2038"/>
                    <a:pt x="717" y="2038"/>
                    <a:pt x="717" y="2038"/>
                  </a:cubicBezTo>
                  <a:cubicBezTo>
                    <a:pt x="967" y="2038"/>
                    <a:pt x="967" y="2038"/>
                    <a:pt x="967" y="2038"/>
                  </a:cubicBezTo>
                  <a:cubicBezTo>
                    <a:pt x="1128" y="2038"/>
                    <a:pt x="1128" y="2038"/>
                    <a:pt x="1128" y="2038"/>
                  </a:cubicBezTo>
                  <a:lnTo>
                    <a:pt x="1138" y="2038"/>
                  </a:lnTo>
                  <a:close/>
                  <a:moveTo>
                    <a:pt x="746" y="1407"/>
                  </a:moveTo>
                  <a:cubicBezTo>
                    <a:pt x="670" y="1265"/>
                    <a:pt x="670" y="1265"/>
                    <a:pt x="670" y="1265"/>
                  </a:cubicBezTo>
                  <a:cubicBezTo>
                    <a:pt x="825" y="1364"/>
                    <a:pt x="825" y="1364"/>
                    <a:pt x="825" y="1364"/>
                  </a:cubicBezTo>
                  <a:cubicBezTo>
                    <a:pt x="835" y="1371"/>
                    <a:pt x="849" y="1371"/>
                    <a:pt x="860" y="1364"/>
                  </a:cubicBezTo>
                  <a:cubicBezTo>
                    <a:pt x="1014" y="1265"/>
                    <a:pt x="1014" y="1265"/>
                    <a:pt x="1014" y="1265"/>
                  </a:cubicBezTo>
                  <a:cubicBezTo>
                    <a:pt x="938" y="1407"/>
                    <a:pt x="938" y="1407"/>
                    <a:pt x="938" y="1407"/>
                  </a:cubicBezTo>
                  <a:cubicBezTo>
                    <a:pt x="936" y="1412"/>
                    <a:pt x="934" y="1417"/>
                    <a:pt x="934" y="1423"/>
                  </a:cubicBezTo>
                  <a:cubicBezTo>
                    <a:pt x="934" y="1973"/>
                    <a:pt x="934" y="1973"/>
                    <a:pt x="934" y="1973"/>
                  </a:cubicBezTo>
                  <a:cubicBezTo>
                    <a:pt x="750" y="1973"/>
                    <a:pt x="750" y="1973"/>
                    <a:pt x="750" y="1973"/>
                  </a:cubicBezTo>
                  <a:cubicBezTo>
                    <a:pt x="750" y="1423"/>
                    <a:pt x="750" y="1423"/>
                    <a:pt x="750" y="1423"/>
                  </a:cubicBezTo>
                  <a:cubicBezTo>
                    <a:pt x="750" y="1417"/>
                    <a:pt x="749" y="1412"/>
                    <a:pt x="746" y="1407"/>
                  </a:cubicBezTo>
                  <a:close/>
                  <a:moveTo>
                    <a:pt x="1558" y="1158"/>
                  </a:moveTo>
                  <a:cubicBezTo>
                    <a:pt x="1556" y="1163"/>
                    <a:pt x="1556" y="1163"/>
                    <a:pt x="1556" y="1163"/>
                  </a:cubicBezTo>
                  <a:cubicBezTo>
                    <a:pt x="1544" y="1182"/>
                    <a:pt x="1513" y="1236"/>
                    <a:pt x="1476" y="1302"/>
                  </a:cubicBezTo>
                  <a:cubicBezTo>
                    <a:pt x="1467" y="1318"/>
                    <a:pt x="1467" y="1318"/>
                    <a:pt x="1467" y="1318"/>
                  </a:cubicBezTo>
                  <a:cubicBezTo>
                    <a:pt x="1414" y="1412"/>
                    <a:pt x="1320" y="1582"/>
                    <a:pt x="1284" y="1663"/>
                  </a:cubicBezTo>
                  <a:cubicBezTo>
                    <a:pt x="1260" y="1718"/>
                    <a:pt x="1219" y="1839"/>
                    <a:pt x="1188" y="1930"/>
                  </a:cubicBezTo>
                  <a:cubicBezTo>
                    <a:pt x="1180" y="1956"/>
                    <a:pt x="1156" y="1973"/>
                    <a:pt x="1128" y="1973"/>
                  </a:cubicBezTo>
                  <a:cubicBezTo>
                    <a:pt x="999" y="1973"/>
                    <a:pt x="999" y="1973"/>
                    <a:pt x="999" y="1973"/>
                  </a:cubicBezTo>
                  <a:cubicBezTo>
                    <a:pt x="999" y="1431"/>
                    <a:pt x="999" y="1431"/>
                    <a:pt x="999" y="1431"/>
                  </a:cubicBezTo>
                  <a:cubicBezTo>
                    <a:pt x="1130" y="1185"/>
                    <a:pt x="1130" y="1185"/>
                    <a:pt x="1130" y="1185"/>
                  </a:cubicBezTo>
                  <a:cubicBezTo>
                    <a:pt x="1137" y="1172"/>
                    <a:pt x="1135" y="1156"/>
                    <a:pt x="1124" y="1146"/>
                  </a:cubicBezTo>
                  <a:cubicBezTo>
                    <a:pt x="1113" y="1135"/>
                    <a:pt x="1097" y="1134"/>
                    <a:pt x="1084" y="1142"/>
                  </a:cubicBezTo>
                  <a:cubicBezTo>
                    <a:pt x="842" y="1298"/>
                    <a:pt x="842" y="1298"/>
                    <a:pt x="842" y="1298"/>
                  </a:cubicBezTo>
                  <a:cubicBezTo>
                    <a:pt x="600" y="1142"/>
                    <a:pt x="600" y="1142"/>
                    <a:pt x="600" y="1142"/>
                  </a:cubicBezTo>
                  <a:cubicBezTo>
                    <a:pt x="588" y="1134"/>
                    <a:pt x="571" y="1136"/>
                    <a:pt x="561" y="1145"/>
                  </a:cubicBezTo>
                  <a:cubicBezTo>
                    <a:pt x="550" y="1156"/>
                    <a:pt x="547" y="1172"/>
                    <a:pt x="554" y="1185"/>
                  </a:cubicBezTo>
                  <a:cubicBezTo>
                    <a:pt x="685" y="1431"/>
                    <a:pt x="685" y="1431"/>
                    <a:pt x="685" y="1431"/>
                  </a:cubicBezTo>
                  <a:cubicBezTo>
                    <a:pt x="685" y="1973"/>
                    <a:pt x="685" y="1973"/>
                    <a:pt x="685" y="1973"/>
                  </a:cubicBezTo>
                  <a:cubicBezTo>
                    <a:pt x="556" y="1973"/>
                    <a:pt x="556" y="1973"/>
                    <a:pt x="556" y="1973"/>
                  </a:cubicBezTo>
                  <a:cubicBezTo>
                    <a:pt x="529" y="1973"/>
                    <a:pt x="505" y="1956"/>
                    <a:pt x="496" y="1930"/>
                  </a:cubicBezTo>
                  <a:cubicBezTo>
                    <a:pt x="466" y="1839"/>
                    <a:pt x="424" y="1717"/>
                    <a:pt x="400" y="1663"/>
                  </a:cubicBezTo>
                  <a:cubicBezTo>
                    <a:pt x="367" y="1587"/>
                    <a:pt x="281" y="1432"/>
                    <a:pt x="215" y="1315"/>
                  </a:cubicBezTo>
                  <a:cubicBezTo>
                    <a:pt x="174" y="1241"/>
                    <a:pt x="139" y="1181"/>
                    <a:pt x="129" y="1163"/>
                  </a:cubicBezTo>
                  <a:cubicBezTo>
                    <a:pt x="127" y="1160"/>
                    <a:pt x="127" y="1160"/>
                    <a:pt x="127" y="1160"/>
                  </a:cubicBezTo>
                  <a:cubicBezTo>
                    <a:pt x="86" y="1064"/>
                    <a:pt x="66" y="962"/>
                    <a:pt x="66" y="857"/>
                  </a:cubicBezTo>
                  <a:cubicBezTo>
                    <a:pt x="66" y="642"/>
                    <a:pt x="156" y="435"/>
                    <a:pt x="313" y="288"/>
                  </a:cubicBezTo>
                  <a:cubicBezTo>
                    <a:pt x="472" y="140"/>
                    <a:pt x="680" y="67"/>
                    <a:pt x="898" y="82"/>
                  </a:cubicBezTo>
                  <a:cubicBezTo>
                    <a:pt x="1233" y="105"/>
                    <a:pt x="1520" y="348"/>
                    <a:pt x="1597" y="673"/>
                  </a:cubicBezTo>
                  <a:cubicBezTo>
                    <a:pt x="1636" y="837"/>
                    <a:pt x="1623" y="1004"/>
                    <a:pt x="1558" y="1158"/>
                  </a:cubicBezTo>
                  <a:close/>
                  <a:moveTo>
                    <a:pt x="1096" y="341"/>
                  </a:moveTo>
                  <a:cubicBezTo>
                    <a:pt x="1091" y="358"/>
                    <a:pt x="1072" y="367"/>
                    <a:pt x="1055" y="362"/>
                  </a:cubicBezTo>
                  <a:cubicBezTo>
                    <a:pt x="996" y="342"/>
                    <a:pt x="935" y="333"/>
                    <a:pt x="873" y="333"/>
                  </a:cubicBezTo>
                  <a:cubicBezTo>
                    <a:pt x="550" y="333"/>
                    <a:pt x="288" y="595"/>
                    <a:pt x="288" y="918"/>
                  </a:cubicBezTo>
                  <a:cubicBezTo>
                    <a:pt x="288" y="936"/>
                    <a:pt x="273" y="950"/>
                    <a:pt x="255" y="950"/>
                  </a:cubicBezTo>
                  <a:cubicBezTo>
                    <a:pt x="237" y="950"/>
                    <a:pt x="222" y="936"/>
                    <a:pt x="222" y="918"/>
                  </a:cubicBezTo>
                  <a:cubicBezTo>
                    <a:pt x="222" y="559"/>
                    <a:pt x="514" y="268"/>
                    <a:pt x="873" y="268"/>
                  </a:cubicBezTo>
                  <a:cubicBezTo>
                    <a:pt x="942" y="268"/>
                    <a:pt x="1010" y="278"/>
                    <a:pt x="1075" y="300"/>
                  </a:cubicBezTo>
                  <a:cubicBezTo>
                    <a:pt x="1092" y="305"/>
                    <a:pt x="1102" y="324"/>
                    <a:pt x="1096" y="3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208636" y="1754459"/>
            <a:ext cx="568878" cy="568876"/>
            <a:chOff x="3208636" y="1754459"/>
            <a:chExt cx="568878" cy="568876"/>
          </a:xfrm>
        </p:grpSpPr>
        <p:sp>
          <p:nvSpPr>
            <p:cNvPr id="54" name="Oval 53"/>
            <p:cNvSpPr/>
            <p:nvPr/>
          </p:nvSpPr>
          <p:spPr>
            <a:xfrm>
              <a:off x="3208636" y="1754459"/>
              <a:ext cx="568878" cy="568876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79" name="Freeform 44"/>
            <p:cNvSpPr>
              <a:spLocks noEditPoints="1"/>
            </p:cNvSpPr>
            <p:nvPr/>
          </p:nvSpPr>
          <p:spPr bwMode="auto">
            <a:xfrm flipV="1">
              <a:off x="3365041" y="1876822"/>
              <a:ext cx="285810" cy="285810"/>
            </a:xfrm>
            <a:custGeom>
              <a:avLst/>
              <a:gdLst>
                <a:gd name="T0" fmla="*/ 3444 w 3760"/>
                <a:gd name="T1" fmla="*/ 782 h 3760"/>
                <a:gd name="T2" fmla="*/ 3183 w 3760"/>
                <a:gd name="T3" fmla="*/ 260 h 3760"/>
                <a:gd name="T4" fmla="*/ 633 w 3760"/>
                <a:gd name="T5" fmla="*/ 0 h 3760"/>
                <a:gd name="T6" fmla="*/ 633 w 3760"/>
                <a:gd name="T7" fmla="*/ 2718 h 3760"/>
                <a:gd name="T8" fmla="*/ 963 w 3760"/>
                <a:gd name="T9" fmla="*/ 3760 h 3760"/>
                <a:gd name="T10" fmla="*/ 1596 w 3760"/>
                <a:gd name="T11" fmla="*/ 2662 h 3760"/>
                <a:gd name="T12" fmla="*/ 3273 w 3760"/>
                <a:gd name="T13" fmla="*/ 2457 h 3760"/>
                <a:gd name="T14" fmla="*/ 3507 w 3760"/>
                <a:gd name="T15" fmla="*/ 1929 h 3760"/>
                <a:gd name="T16" fmla="*/ 3622 w 3760"/>
                <a:gd name="T17" fmla="*/ 1358 h 3760"/>
                <a:gd name="T18" fmla="*/ 112 w 3760"/>
                <a:gd name="T19" fmla="*/ 2606 h 3760"/>
                <a:gd name="T20" fmla="*/ 521 w 3760"/>
                <a:gd name="T21" fmla="*/ 2606 h 3760"/>
                <a:gd name="T22" fmla="*/ 3273 w 3760"/>
                <a:gd name="T23" fmla="*/ 1824 h 3760"/>
                <a:gd name="T24" fmla="*/ 1936 w 3760"/>
                <a:gd name="T25" fmla="*/ 1620 h 3760"/>
                <a:gd name="T26" fmla="*/ 3444 w 3760"/>
                <a:gd name="T27" fmla="*/ 1414 h 3760"/>
                <a:gd name="T28" fmla="*/ 2401 w 3760"/>
                <a:gd name="T29" fmla="*/ 2346 h 3760"/>
                <a:gd name="T30" fmla="*/ 2401 w 3760"/>
                <a:gd name="T31" fmla="*/ 1936 h 3760"/>
                <a:gd name="T32" fmla="*/ 3418 w 3760"/>
                <a:gd name="T33" fmla="*/ 2285 h 3760"/>
                <a:gd name="T34" fmla="*/ 2161 w 3760"/>
                <a:gd name="T35" fmla="*/ 372 h 3760"/>
                <a:gd name="T36" fmla="*/ 2117 w 3760"/>
                <a:gd name="T37" fmla="*/ 441 h 3760"/>
                <a:gd name="T38" fmla="*/ 2091 w 3760"/>
                <a:gd name="T39" fmla="*/ 518 h 3760"/>
                <a:gd name="T40" fmla="*/ 2097 w 3760"/>
                <a:gd name="T41" fmla="*/ 657 h 3760"/>
                <a:gd name="T42" fmla="*/ 2135 w 3760"/>
                <a:gd name="T43" fmla="*/ 746 h 3760"/>
                <a:gd name="T44" fmla="*/ 2141 w 3760"/>
                <a:gd name="T45" fmla="*/ 782 h 3760"/>
                <a:gd name="T46" fmla="*/ 1830 w 3760"/>
                <a:gd name="T47" fmla="*/ 1155 h 3760"/>
                <a:gd name="T48" fmla="*/ 1852 w 3760"/>
                <a:gd name="T49" fmla="*/ 1227 h 3760"/>
                <a:gd name="T50" fmla="*/ 1914 w 3760"/>
                <a:gd name="T51" fmla="*/ 1317 h 3760"/>
                <a:gd name="T52" fmla="*/ 1917 w 3760"/>
                <a:gd name="T53" fmla="*/ 1397 h 3760"/>
                <a:gd name="T54" fmla="*/ 2161 w 3760"/>
                <a:gd name="T55" fmla="*/ 1936 h 3760"/>
                <a:gd name="T56" fmla="*/ 2117 w 3760"/>
                <a:gd name="T57" fmla="*/ 2004 h 3760"/>
                <a:gd name="T58" fmla="*/ 2091 w 3760"/>
                <a:gd name="T59" fmla="*/ 2081 h 3760"/>
                <a:gd name="T60" fmla="*/ 2097 w 3760"/>
                <a:gd name="T61" fmla="*/ 2220 h 3760"/>
                <a:gd name="T62" fmla="*/ 2135 w 3760"/>
                <a:gd name="T63" fmla="*/ 2310 h 3760"/>
                <a:gd name="T64" fmla="*/ 1596 w 3760"/>
                <a:gd name="T65" fmla="*/ 2346 h 3760"/>
                <a:gd name="T66" fmla="*/ 1484 w 3760"/>
                <a:gd name="T67" fmla="*/ 2346 h 3760"/>
                <a:gd name="T68" fmla="*/ 1280 w 3760"/>
                <a:gd name="T69" fmla="*/ 3649 h 3760"/>
                <a:gd name="T70" fmla="*/ 633 w 3760"/>
                <a:gd name="T71" fmla="*/ 2346 h 3760"/>
                <a:gd name="T72" fmla="*/ 3183 w 3760"/>
                <a:gd name="T73" fmla="*/ 782 h 3760"/>
                <a:gd name="T74" fmla="*/ 2257 w 3760"/>
                <a:gd name="T75" fmla="*/ 432 h 3760"/>
                <a:gd name="T76" fmla="*/ 3388 w 3760"/>
                <a:gd name="T77" fmla="*/ 577 h 3760"/>
                <a:gd name="T78" fmla="*/ 3648 w 3760"/>
                <a:gd name="T79" fmla="*/ 1098 h 3760"/>
                <a:gd name="T80" fmla="*/ 2141 w 3760"/>
                <a:gd name="T81" fmla="*/ 1303 h 3760"/>
                <a:gd name="T82" fmla="*/ 2141 w 3760"/>
                <a:gd name="T83" fmla="*/ 894 h 3760"/>
                <a:gd name="T84" fmla="*/ 3444 w 3760"/>
                <a:gd name="T85" fmla="*/ 894 h 3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760" h="3760">
                  <a:moveTo>
                    <a:pt x="3667" y="1321"/>
                  </a:moveTo>
                  <a:cubicBezTo>
                    <a:pt x="3727" y="1262"/>
                    <a:pt x="3760" y="1182"/>
                    <a:pt x="3760" y="1098"/>
                  </a:cubicBezTo>
                  <a:cubicBezTo>
                    <a:pt x="3760" y="924"/>
                    <a:pt x="3618" y="782"/>
                    <a:pt x="3444" y="782"/>
                  </a:cubicBezTo>
                  <a:cubicBezTo>
                    <a:pt x="3422" y="782"/>
                    <a:pt x="3422" y="782"/>
                    <a:pt x="3422" y="782"/>
                  </a:cubicBezTo>
                  <a:cubicBezTo>
                    <a:pt x="3471" y="725"/>
                    <a:pt x="3500" y="653"/>
                    <a:pt x="3500" y="577"/>
                  </a:cubicBezTo>
                  <a:cubicBezTo>
                    <a:pt x="3500" y="403"/>
                    <a:pt x="3358" y="260"/>
                    <a:pt x="3183" y="260"/>
                  </a:cubicBezTo>
                  <a:cubicBezTo>
                    <a:pt x="2401" y="260"/>
                    <a:pt x="2401" y="260"/>
                    <a:pt x="2401" y="260"/>
                  </a:cubicBezTo>
                  <a:cubicBezTo>
                    <a:pt x="633" y="260"/>
                    <a:pt x="633" y="260"/>
                    <a:pt x="633" y="260"/>
                  </a:cubicBezTo>
                  <a:cubicBezTo>
                    <a:pt x="633" y="0"/>
                    <a:pt x="633" y="0"/>
                    <a:pt x="63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718"/>
                    <a:pt x="0" y="2718"/>
                    <a:pt x="0" y="2718"/>
                  </a:cubicBezTo>
                  <a:cubicBezTo>
                    <a:pt x="633" y="2718"/>
                    <a:pt x="633" y="2718"/>
                    <a:pt x="633" y="2718"/>
                  </a:cubicBezTo>
                  <a:cubicBezTo>
                    <a:pt x="633" y="2457"/>
                    <a:pt x="633" y="2457"/>
                    <a:pt x="633" y="2457"/>
                  </a:cubicBezTo>
                  <a:cubicBezTo>
                    <a:pt x="963" y="2457"/>
                    <a:pt x="963" y="2457"/>
                    <a:pt x="963" y="2457"/>
                  </a:cubicBezTo>
                  <a:cubicBezTo>
                    <a:pt x="963" y="3760"/>
                    <a:pt x="963" y="3760"/>
                    <a:pt x="963" y="3760"/>
                  </a:cubicBezTo>
                  <a:cubicBezTo>
                    <a:pt x="1280" y="3760"/>
                    <a:pt x="1280" y="3760"/>
                    <a:pt x="1280" y="3760"/>
                  </a:cubicBezTo>
                  <a:cubicBezTo>
                    <a:pt x="1454" y="3760"/>
                    <a:pt x="1596" y="3618"/>
                    <a:pt x="1596" y="3443"/>
                  </a:cubicBezTo>
                  <a:cubicBezTo>
                    <a:pt x="1596" y="2662"/>
                    <a:pt x="1596" y="2662"/>
                    <a:pt x="1596" y="2662"/>
                  </a:cubicBezTo>
                  <a:cubicBezTo>
                    <a:pt x="1596" y="2457"/>
                    <a:pt x="1596" y="2457"/>
                    <a:pt x="1596" y="2457"/>
                  </a:cubicBezTo>
                  <a:cubicBezTo>
                    <a:pt x="2401" y="2457"/>
                    <a:pt x="2401" y="2457"/>
                    <a:pt x="2401" y="2457"/>
                  </a:cubicBezTo>
                  <a:cubicBezTo>
                    <a:pt x="3273" y="2457"/>
                    <a:pt x="3273" y="2457"/>
                    <a:pt x="3273" y="2457"/>
                  </a:cubicBezTo>
                  <a:cubicBezTo>
                    <a:pt x="3358" y="2457"/>
                    <a:pt x="3437" y="2424"/>
                    <a:pt x="3497" y="2364"/>
                  </a:cubicBezTo>
                  <a:cubicBezTo>
                    <a:pt x="3556" y="2304"/>
                    <a:pt x="3589" y="2225"/>
                    <a:pt x="3589" y="2140"/>
                  </a:cubicBezTo>
                  <a:cubicBezTo>
                    <a:pt x="3589" y="2059"/>
                    <a:pt x="3558" y="1986"/>
                    <a:pt x="3507" y="1929"/>
                  </a:cubicBezTo>
                  <a:cubicBezTo>
                    <a:pt x="3567" y="1917"/>
                    <a:pt x="3623" y="1888"/>
                    <a:pt x="3667" y="1843"/>
                  </a:cubicBezTo>
                  <a:cubicBezTo>
                    <a:pt x="3727" y="1783"/>
                    <a:pt x="3760" y="1704"/>
                    <a:pt x="3760" y="1620"/>
                  </a:cubicBezTo>
                  <a:cubicBezTo>
                    <a:pt x="3760" y="1511"/>
                    <a:pt x="3705" y="1416"/>
                    <a:pt x="3622" y="1358"/>
                  </a:cubicBezTo>
                  <a:cubicBezTo>
                    <a:pt x="3638" y="1348"/>
                    <a:pt x="3653" y="1335"/>
                    <a:pt x="3667" y="1321"/>
                  </a:cubicBezTo>
                  <a:close/>
                  <a:moveTo>
                    <a:pt x="521" y="2606"/>
                  </a:moveTo>
                  <a:cubicBezTo>
                    <a:pt x="112" y="2606"/>
                    <a:pt x="112" y="2606"/>
                    <a:pt x="112" y="2606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521" y="112"/>
                    <a:pt x="521" y="112"/>
                    <a:pt x="521" y="112"/>
                  </a:cubicBezTo>
                  <a:lnTo>
                    <a:pt x="521" y="2606"/>
                  </a:lnTo>
                  <a:close/>
                  <a:moveTo>
                    <a:pt x="3588" y="1764"/>
                  </a:moveTo>
                  <a:cubicBezTo>
                    <a:pt x="3550" y="1803"/>
                    <a:pt x="3498" y="1824"/>
                    <a:pt x="3444" y="1824"/>
                  </a:cubicBezTo>
                  <a:cubicBezTo>
                    <a:pt x="3273" y="1824"/>
                    <a:pt x="3273" y="1824"/>
                    <a:pt x="3273" y="1824"/>
                  </a:cubicBezTo>
                  <a:cubicBezTo>
                    <a:pt x="2401" y="1824"/>
                    <a:pt x="2401" y="1824"/>
                    <a:pt x="2401" y="1824"/>
                  </a:cubicBezTo>
                  <a:cubicBezTo>
                    <a:pt x="2141" y="1824"/>
                    <a:pt x="2141" y="1824"/>
                    <a:pt x="2141" y="1824"/>
                  </a:cubicBezTo>
                  <a:cubicBezTo>
                    <a:pt x="2028" y="1824"/>
                    <a:pt x="1936" y="1733"/>
                    <a:pt x="1936" y="1620"/>
                  </a:cubicBezTo>
                  <a:cubicBezTo>
                    <a:pt x="1936" y="1565"/>
                    <a:pt x="1957" y="1514"/>
                    <a:pt x="1996" y="1476"/>
                  </a:cubicBezTo>
                  <a:cubicBezTo>
                    <a:pt x="2035" y="1436"/>
                    <a:pt x="2087" y="1414"/>
                    <a:pt x="2141" y="1414"/>
                  </a:cubicBezTo>
                  <a:cubicBezTo>
                    <a:pt x="3444" y="1414"/>
                    <a:pt x="3444" y="1414"/>
                    <a:pt x="3444" y="1414"/>
                  </a:cubicBezTo>
                  <a:cubicBezTo>
                    <a:pt x="3557" y="1414"/>
                    <a:pt x="3648" y="1506"/>
                    <a:pt x="3648" y="1620"/>
                  </a:cubicBezTo>
                  <a:cubicBezTo>
                    <a:pt x="3648" y="1674"/>
                    <a:pt x="3627" y="1725"/>
                    <a:pt x="3588" y="1764"/>
                  </a:cubicBezTo>
                  <a:close/>
                  <a:moveTo>
                    <a:pt x="2401" y="2346"/>
                  </a:moveTo>
                  <a:cubicBezTo>
                    <a:pt x="2289" y="2346"/>
                    <a:pt x="2197" y="2254"/>
                    <a:pt x="2197" y="2140"/>
                  </a:cubicBezTo>
                  <a:cubicBezTo>
                    <a:pt x="2197" y="2086"/>
                    <a:pt x="2218" y="2035"/>
                    <a:pt x="2257" y="1996"/>
                  </a:cubicBezTo>
                  <a:cubicBezTo>
                    <a:pt x="2296" y="1957"/>
                    <a:pt x="2347" y="1936"/>
                    <a:pt x="2401" y="1936"/>
                  </a:cubicBezTo>
                  <a:cubicBezTo>
                    <a:pt x="3273" y="1936"/>
                    <a:pt x="3273" y="1936"/>
                    <a:pt x="3273" y="1936"/>
                  </a:cubicBezTo>
                  <a:cubicBezTo>
                    <a:pt x="3386" y="1936"/>
                    <a:pt x="3478" y="2028"/>
                    <a:pt x="3478" y="2140"/>
                  </a:cubicBezTo>
                  <a:cubicBezTo>
                    <a:pt x="3478" y="2195"/>
                    <a:pt x="3457" y="2246"/>
                    <a:pt x="3418" y="2285"/>
                  </a:cubicBezTo>
                  <a:cubicBezTo>
                    <a:pt x="3379" y="2324"/>
                    <a:pt x="3328" y="2346"/>
                    <a:pt x="3273" y="2346"/>
                  </a:cubicBezTo>
                  <a:lnTo>
                    <a:pt x="2401" y="2346"/>
                  </a:lnTo>
                  <a:close/>
                  <a:moveTo>
                    <a:pt x="2161" y="372"/>
                  </a:moveTo>
                  <a:cubicBezTo>
                    <a:pt x="2156" y="377"/>
                    <a:pt x="2153" y="384"/>
                    <a:pt x="2149" y="390"/>
                  </a:cubicBezTo>
                  <a:cubicBezTo>
                    <a:pt x="2144" y="396"/>
                    <a:pt x="2139" y="403"/>
                    <a:pt x="2134" y="410"/>
                  </a:cubicBezTo>
                  <a:cubicBezTo>
                    <a:pt x="2128" y="420"/>
                    <a:pt x="2123" y="431"/>
                    <a:pt x="2117" y="441"/>
                  </a:cubicBezTo>
                  <a:cubicBezTo>
                    <a:pt x="2114" y="448"/>
                    <a:pt x="2110" y="455"/>
                    <a:pt x="2108" y="462"/>
                  </a:cubicBezTo>
                  <a:cubicBezTo>
                    <a:pt x="2103" y="474"/>
                    <a:pt x="2099" y="487"/>
                    <a:pt x="2096" y="500"/>
                  </a:cubicBezTo>
                  <a:cubicBezTo>
                    <a:pt x="2095" y="506"/>
                    <a:pt x="2092" y="512"/>
                    <a:pt x="2091" y="518"/>
                  </a:cubicBezTo>
                  <a:cubicBezTo>
                    <a:pt x="2087" y="538"/>
                    <a:pt x="2085" y="557"/>
                    <a:pt x="2085" y="577"/>
                  </a:cubicBezTo>
                  <a:cubicBezTo>
                    <a:pt x="2085" y="598"/>
                    <a:pt x="2088" y="618"/>
                    <a:pt x="2091" y="638"/>
                  </a:cubicBezTo>
                  <a:cubicBezTo>
                    <a:pt x="2093" y="644"/>
                    <a:pt x="2095" y="651"/>
                    <a:pt x="2097" y="657"/>
                  </a:cubicBezTo>
                  <a:cubicBezTo>
                    <a:pt x="2100" y="670"/>
                    <a:pt x="2104" y="682"/>
                    <a:pt x="2108" y="695"/>
                  </a:cubicBezTo>
                  <a:cubicBezTo>
                    <a:pt x="2111" y="702"/>
                    <a:pt x="2115" y="708"/>
                    <a:pt x="2118" y="715"/>
                  </a:cubicBezTo>
                  <a:cubicBezTo>
                    <a:pt x="2124" y="726"/>
                    <a:pt x="2129" y="736"/>
                    <a:pt x="2135" y="746"/>
                  </a:cubicBezTo>
                  <a:cubicBezTo>
                    <a:pt x="2140" y="753"/>
                    <a:pt x="2144" y="759"/>
                    <a:pt x="2149" y="766"/>
                  </a:cubicBezTo>
                  <a:cubicBezTo>
                    <a:pt x="2153" y="771"/>
                    <a:pt x="2156" y="777"/>
                    <a:pt x="2161" y="782"/>
                  </a:cubicBezTo>
                  <a:cubicBezTo>
                    <a:pt x="2141" y="782"/>
                    <a:pt x="2141" y="782"/>
                    <a:pt x="2141" y="782"/>
                  </a:cubicBezTo>
                  <a:cubicBezTo>
                    <a:pt x="2057" y="782"/>
                    <a:pt x="1977" y="815"/>
                    <a:pt x="1918" y="875"/>
                  </a:cubicBezTo>
                  <a:cubicBezTo>
                    <a:pt x="1858" y="934"/>
                    <a:pt x="1824" y="1013"/>
                    <a:pt x="1824" y="1098"/>
                  </a:cubicBezTo>
                  <a:cubicBezTo>
                    <a:pt x="1824" y="1118"/>
                    <a:pt x="1827" y="1137"/>
                    <a:pt x="1830" y="1155"/>
                  </a:cubicBezTo>
                  <a:cubicBezTo>
                    <a:pt x="1831" y="1159"/>
                    <a:pt x="1831" y="1163"/>
                    <a:pt x="1832" y="1167"/>
                  </a:cubicBezTo>
                  <a:cubicBezTo>
                    <a:pt x="1836" y="1184"/>
                    <a:pt x="1841" y="1202"/>
                    <a:pt x="1848" y="1218"/>
                  </a:cubicBezTo>
                  <a:cubicBezTo>
                    <a:pt x="1849" y="1221"/>
                    <a:pt x="1851" y="1224"/>
                    <a:pt x="1852" y="1227"/>
                  </a:cubicBezTo>
                  <a:cubicBezTo>
                    <a:pt x="1859" y="1242"/>
                    <a:pt x="1867" y="1256"/>
                    <a:pt x="1876" y="1270"/>
                  </a:cubicBezTo>
                  <a:cubicBezTo>
                    <a:pt x="1877" y="1272"/>
                    <a:pt x="1878" y="1274"/>
                    <a:pt x="1880" y="1277"/>
                  </a:cubicBezTo>
                  <a:cubicBezTo>
                    <a:pt x="1890" y="1291"/>
                    <a:pt x="1901" y="1305"/>
                    <a:pt x="1914" y="1317"/>
                  </a:cubicBezTo>
                  <a:cubicBezTo>
                    <a:pt x="1916" y="1320"/>
                    <a:pt x="1919" y="1323"/>
                    <a:pt x="1922" y="1326"/>
                  </a:cubicBezTo>
                  <a:cubicBezTo>
                    <a:pt x="1934" y="1338"/>
                    <a:pt x="1948" y="1349"/>
                    <a:pt x="1962" y="1359"/>
                  </a:cubicBezTo>
                  <a:cubicBezTo>
                    <a:pt x="1946" y="1370"/>
                    <a:pt x="1931" y="1383"/>
                    <a:pt x="1917" y="1397"/>
                  </a:cubicBezTo>
                  <a:cubicBezTo>
                    <a:pt x="1858" y="1456"/>
                    <a:pt x="1824" y="1535"/>
                    <a:pt x="1824" y="1620"/>
                  </a:cubicBezTo>
                  <a:cubicBezTo>
                    <a:pt x="1824" y="1794"/>
                    <a:pt x="1966" y="1936"/>
                    <a:pt x="2141" y="1936"/>
                  </a:cubicBezTo>
                  <a:cubicBezTo>
                    <a:pt x="2161" y="1936"/>
                    <a:pt x="2161" y="1936"/>
                    <a:pt x="2161" y="1936"/>
                  </a:cubicBezTo>
                  <a:cubicBezTo>
                    <a:pt x="2156" y="1941"/>
                    <a:pt x="2153" y="1947"/>
                    <a:pt x="2149" y="1953"/>
                  </a:cubicBezTo>
                  <a:cubicBezTo>
                    <a:pt x="2144" y="1960"/>
                    <a:pt x="2139" y="1966"/>
                    <a:pt x="2134" y="1973"/>
                  </a:cubicBezTo>
                  <a:cubicBezTo>
                    <a:pt x="2128" y="1983"/>
                    <a:pt x="2123" y="1994"/>
                    <a:pt x="2117" y="2004"/>
                  </a:cubicBezTo>
                  <a:cubicBezTo>
                    <a:pt x="2114" y="2011"/>
                    <a:pt x="2110" y="2018"/>
                    <a:pt x="2108" y="2025"/>
                  </a:cubicBezTo>
                  <a:cubicBezTo>
                    <a:pt x="2103" y="2037"/>
                    <a:pt x="2099" y="2050"/>
                    <a:pt x="2096" y="2063"/>
                  </a:cubicBezTo>
                  <a:cubicBezTo>
                    <a:pt x="2095" y="2069"/>
                    <a:pt x="2092" y="2075"/>
                    <a:pt x="2091" y="2081"/>
                  </a:cubicBezTo>
                  <a:cubicBezTo>
                    <a:pt x="2087" y="2101"/>
                    <a:pt x="2085" y="2120"/>
                    <a:pt x="2085" y="2140"/>
                  </a:cubicBezTo>
                  <a:cubicBezTo>
                    <a:pt x="2085" y="2161"/>
                    <a:pt x="2088" y="2182"/>
                    <a:pt x="2091" y="2201"/>
                  </a:cubicBezTo>
                  <a:cubicBezTo>
                    <a:pt x="2093" y="2208"/>
                    <a:pt x="2095" y="2214"/>
                    <a:pt x="2097" y="2220"/>
                  </a:cubicBezTo>
                  <a:cubicBezTo>
                    <a:pt x="2100" y="2233"/>
                    <a:pt x="2104" y="2246"/>
                    <a:pt x="2108" y="2258"/>
                  </a:cubicBezTo>
                  <a:cubicBezTo>
                    <a:pt x="2111" y="2265"/>
                    <a:pt x="2115" y="2272"/>
                    <a:pt x="2118" y="2279"/>
                  </a:cubicBezTo>
                  <a:cubicBezTo>
                    <a:pt x="2124" y="2290"/>
                    <a:pt x="2129" y="2300"/>
                    <a:pt x="2135" y="2310"/>
                  </a:cubicBezTo>
                  <a:cubicBezTo>
                    <a:pt x="2140" y="2317"/>
                    <a:pt x="2144" y="2323"/>
                    <a:pt x="2149" y="2330"/>
                  </a:cubicBezTo>
                  <a:cubicBezTo>
                    <a:pt x="2153" y="2335"/>
                    <a:pt x="2157" y="2341"/>
                    <a:pt x="2161" y="2346"/>
                  </a:cubicBezTo>
                  <a:cubicBezTo>
                    <a:pt x="1596" y="2346"/>
                    <a:pt x="1596" y="2346"/>
                    <a:pt x="1596" y="2346"/>
                  </a:cubicBezTo>
                  <a:cubicBezTo>
                    <a:pt x="1596" y="1677"/>
                    <a:pt x="1596" y="1677"/>
                    <a:pt x="1596" y="1677"/>
                  </a:cubicBezTo>
                  <a:cubicBezTo>
                    <a:pt x="1484" y="1677"/>
                    <a:pt x="1484" y="1677"/>
                    <a:pt x="1484" y="1677"/>
                  </a:cubicBezTo>
                  <a:cubicBezTo>
                    <a:pt x="1484" y="2346"/>
                    <a:pt x="1484" y="2346"/>
                    <a:pt x="1484" y="2346"/>
                  </a:cubicBezTo>
                  <a:cubicBezTo>
                    <a:pt x="1484" y="2662"/>
                    <a:pt x="1484" y="2662"/>
                    <a:pt x="1484" y="2662"/>
                  </a:cubicBezTo>
                  <a:cubicBezTo>
                    <a:pt x="1484" y="3443"/>
                    <a:pt x="1484" y="3443"/>
                    <a:pt x="1484" y="3443"/>
                  </a:cubicBezTo>
                  <a:cubicBezTo>
                    <a:pt x="1484" y="3556"/>
                    <a:pt x="1392" y="3649"/>
                    <a:pt x="1280" y="3649"/>
                  </a:cubicBezTo>
                  <a:cubicBezTo>
                    <a:pt x="1074" y="3649"/>
                    <a:pt x="1074" y="3649"/>
                    <a:pt x="1074" y="3649"/>
                  </a:cubicBezTo>
                  <a:cubicBezTo>
                    <a:pt x="1074" y="2346"/>
                    <a:pt x="1074" y="2346"/>
                    <a:pt x="1074" y="2346"/>
                  </a:cubicBezTo>
                  <a:cubicBezTo>
                    <a:pt x="633" y="2346"/>
                    <a:pt x="633" y="2346"/>
                    <a:pt x="633" y="2346"/>
                  </a:cubicBezTo>
                  <a:cubicBezTo>
                    <a:pt x="633" y="372"/>
                    <a:pt x="633" y="372"/>
                    <a:pt x="633" y="372"/>
                  </a:cubicBezTo>
                  <a:lnTo>
                    <a:pt x="2161" y="372"/>
                  </a:lnTo>
                  <a:close/>
                  <a:moveTo>
                    <a:pt x="3183" y="782"/>
                  </a:moveTo>
                  <a:cubicBezTo>
                    <a:pt x="2401" y="782"/>
                    <a:pt x="2401" y="782"/>
                    <a:pt x="2401" y="782"/>
                  </a:cubicBezTo>
                  <a:cubicBezTo>
                    <a:pt x="2289" y="782"/>
                    <a:pt x="2197" y="690"/>
                    <a:pt x="2197" y="577"/>
                  </a:cubicBezTo>
                  <a:cubicBezTo>
                    <a:pt x="2197" y="523"/>
                    <a:pt x="2218" y="471"/>
                    <a:pt x="2257" y="432"/>
                  </a:cubicBezTo>
                  <a:cubicBezTo>
                    <a:pt x="2296" y="393"/>
                    <a:pt x="2347" y="372"/>
                    <a:pt x="2401" y="372"/>
                  </a:cubicBezTo>
                  <a:cubicBezTo>
                    <a:pt x="3183" y="372"/>
                    <a:pt x="3183" y="372"/>
                    <a:pt x="3183" y="372"/>
                  </a:cubicBezTo>
                  <a:cubicBezTo>
                    <a:pt x="3296" y="372"/>
                    <a:pt x="3388" y="464"/>
                    <a:pt x="3388" y="577"/>
                  </a:cubicBezTo>
                  <a:cubicBezTo>
                    <a:pt x="3388" y="632"/>
                    <a:pt x="3367" y="683"/>
                    <a:pt x="3328" y="722"/>
                  </a:cubicBezTo>
                  <a:cubicBezTo>
                    <a:pt x="3289" y="761"/>
                    <a:pt x="3238" y="782"/>
                    <a:pt x="3183" y="782"/>
                  </a:cubicBezTo>
                  <a:close/>
                  <a:moveTo>
                    <a:pt x="3648" y="1098"/>
                  </a:moveTo>
                  <a:cubicBezTo>
                    <a:pt x="3648" y="1153"/>
                    <a:pt x="3627" y="1204"/>
                    <a:pt x="3588" y="1243"/>
                  </a:cubicBezTo>
                  <a:cubicBezTo>
                    <a:pt x="3550" y="1281"/>
                    <a:pt x="3498" y="1303"/>
                    <a:pt x="3444" y="1303"/>
                  </a:cubicBezTo>
                  <a:cubicBezTo>
                    <a:pt x="2141" y="1303"/>
                    <a:pt x="2141" y="1303"/>
                    <a:pt x="2141" y="1303"/>
                  </a:cubicBezTo>
                  <a:cubicBezTo>
                    <a:pt x="2028" y="1303"/>
                    <a:pt x="1936" y="1211"/>
                    <a:pt x="1936" y="1098"/>
                  </a:cubicBezTo>
                  <a:cubicBezTo>
                    <a:pt x="1936" y="1044"/>
                    <a:pt x="1957" y="992"/>
                    <a:pt x="1996" y="954"/>
                  </a:cubicBezTo>
                  <a:cubicBezTo>
                    <a:pt x="2035" y="915"/>
                    <a:pt x="2087" y="894"/>
                    <a:pt x="2141" y="894"/>
                  </a:cubicBezTo>
                  <a:cubicBezTo>
                    <a:pt x="2401" y="894"/>
                    <a:pt x="2401" y="894"/>
                    <a:pt x="2401" y="894"/>
                  </a:cubicBezTo>
                  <a:cubicBezTo>
                    <a:pt x="3183" y="894"/>
                    <a:pt x="3183" y="894"/>
                    <a:pt x="3183" y="894"/>
                  </a:cubicBezTo>
                  <a:cubicBezTo>
                    <a:pt x="3444" y="894"/>
                    <a:pt x="3444" y="894"/>
                    <a:pt x="3444" y="894"/>
                  </a:cubicBezTo>
                  <a:cubicBezTo>
                    <a:pt x="3557" y="894"/>
                    <a:pt x="3648" y="985"/>
                    <a:pt x="3648" y="109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368217" y="1754459"/>
            <a:ext cx="568878" cy="568876"/>
            <a:chOff x="5368217" y="1754459"/>
            <a:chExt cx="568878" cy="568876"/>
          </a:xfrm>
        </p:grpSpPr>
        <p:sp>
          <p:nvSpPr>
            <p:cNvPr id="55" name="Oval 54"/>
            <p:cNvSpPr/>
            <p:nvPr/>
          </p:nvSpPr>
          <p:spPr>
            <a:xfrm>
              <a:off x="5368217" y="1754459"/>
              <a:ext cx="568878" cy="568876"/>
            </a:xfrm>
            <a:prstGeom prst="ellipse">
              <a:avLst/>
            </a:prstGeom>
            <a:solidFill>
              <a:srgbClr val="EC00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 dirty="0"/>
            </a:p>
          </p:txBody>
        </p:sp>
        <p:sp>
          <p:nvSpPr>
            <p:cNvPr id="80" name="Freeform 36"/>
            <p:cNvSpPr>
              <a:spLocks noEditPoints="1"/>
            </p:cNvSpPr>
            <p:nvPr/>
          </p:nvSpPr>
          <p:spPr bwMode="auto">
            <a:xfrm flipV="1">
              <a:off x="5504997" y="1919422"/>
              <a:ext cx="295316" cy="238948"/>
            </a:xfrm>
            <a:custGeom>
              <a:avLst/>
              <a:gdLst>
                <a:gd name="T0" fmla="*/ 2765 w 2765"/>
                <a:gd name="T1" fmla="*/ 518 h 2235"/>
                <a:gd name="T2" fmla="*/ 2088 w 2765"/>
                <a:gd name="T3" fmla="*/ 209 h 2235"/>
                <a:gd name="T4" fmla="*/ 2475 w 2765"/>
                <a:gd name="T5" fmla="*/ 147 h 2235"/>
                <a:gd name="T6" fmla="*/ 1506 w 2765"/>
                <a:gd name="T7" fmla="*/ 730 h 2235"/>
                <a:gd name="T8" fmla="*/ 1300 w 2765"/>
                <a:gd name="T9" fmla="*/ 318 h 2235"/>
                <a:gd name="T10" fmla="*/ 1300 w 2765"/>
                <a:gd name="T11" fmla="*/ 834 h 2235"/>
                <a:gd name="T12" fmla="*/ 1027 w 2765"/>
                <a:gd name="T13" fmla="*/ 1622 h 2235"/>
                <a:gd name="T14" fmla="*/ 653 w 2765"/>
                <a:gd name="T15" fmla="*/ 988 h 2235"/>
                <a:gd name="T16" fmla="*/ 136 w 2765"/>
                <a:gd name="T17" fmla="*/ 988 h 2235"/>
                <a:gd name="T18" fmla="*/ 424 w 2765"/>
                <a:gd name="T19" fmla="*/ 1243 h 2235"/>
                <a:gd name="T20" fmla="*/ 33 w 2765"/>
                <a:gd name="T21" fmla="*/ 2231 h 2235"/>
                <a:gd name="T22" fmla="*/ 93 w 2765"/>
                <a:gd name="T23" fmla="*/ 2208 h 2235"/>
                <a:gd name="T24" fmla="*/ 972 w 2765"/>
                <a:gd name="T25" fmla="*/ 1696 h 2235"/>
                <a:gd name="T26" fmla="*/ 1145 w 2765"/>
                <a:gd name="T27" fmla="*/ 2144 h 2235"/>
                <a:gd name="T28" fmla="*/ 1145 w 2765"/>
                <a:gd name="T29" fmla="*/ 1628 h 2235"/>
                <a:gd name="T30" fmla="*/ 1460 w 2765"/>
                <a:gd name="T31" fmla="*/ 809 h 2235"/>
                <a:gd name="T32" fmla="*/ 1918 w 2765"/>
                <a:gd name="T33" fmla="*/ 1348 h 2235"/>
                <a:gd name="T34" fmla="*/ 2434 w 2765"/>
                <a:gd name="T35" fmla="*/ 1348 h 2235"/>
                <a:gd name="T36" fmla="*/ 2144 w 2765"/>
                <a:gd name="T37" fmla="*/ 1093 h 2235"/>
                <a:gd name="T38" fmla="*/ 2679 w 2765"/>
                <a:gd name="T39" fmla="*/ 547 h 2235"/>
                <a:gd name="T40" fmla="*/ 1145 w 2765"/>
                <a:gd name="T41" fmla="*/ 2053 h 2235"/>
                <a:gd name="T42" fmla="*/ 1063 w 2765"/>
                <a:gd name="T43" fmla="*/ 1741 h 2235"/>
                <a:gd name="T44" fmla="*/ 1145 w 2765"/>
                <a:gd name="T45" fmla="*/ 1719 h 2235"/>
                <a:gd name="T46" fmla="*/ 1133 w 2765"/>
                <a:gd name="T47" fmla="*/ 576 h 2235"/>
                <a:gd name="T48" fmla="*/ 1468 w 2765"/>
                <a:gd name="T49" fmla="*/ 576 h 2235"/>
                <a:gd name="T50" fmla="*/ 1133 w 2765"/>
                <a:gd name="T51" fmla="*/ 576 h 2235"/>
                <a:gd name="T52" fmla="*/ 395 w 2765"/>
                <a:gd name="T53" fmla="*/ 821 h 2235"/>
                <a:gd name="T54" fmla="*/ 491 w 2765"/>
                <a:gd name="T55" fmla="*/ 1124 h 2235"/>
                <a:gd name="T56" fmla="*/ 395 w 2765"/>
                <a:gd name="T57" fmla="*/ 1155 h 2235"/>
                <a:gd name="T58" fmla="*/ 2343 w 2765"/>
                <a:gd name="T59" fmla="*/ 1348 h 2235"/>
                <a:gd name="T60" fmla="*/ 2009 w 2765"/>
                <a:gd name="T61" fmla="*/ 1348 h 2235"/>
                <a:gd name="T62" fmla="*/ 2089 w 2765"/>
                <a:gd name="T63" fmla="*/ 1206 h 2235"/>
                <a:gd name="T64" fmla="*/ 2343 w 2765"/>
                <a:gd name="T65" fmla="*/ 1348 h 2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65" h="2235">
                  <a:moveTo>
                    <a:pt x="2679" y="547"/>
                  </a:moveTo>
                  <a:cubicBezTo>
                    <a:pt x="2765" y="518"/>
                    <a:pt x="2765" y="518"/>
                    <a:pt x="2765" y="518"/>
                  </a:cubicBezTo>
                  <a:cubicBezTo>
                    <a:pt x="2593" y="0"/>
                    <a:pt x="2593" y="0"/>
                    <a:pt x="2593" y="0"/>
                  </a:cubicBezTo>
                  <a:cubicBezTo>
                    <a:pt x="2088" y="209"/>
                    <a:pt x="2088" y="209"/>
                    <a:pt x="2088" y="209"/>
                  </a:cubicBezTo>
                  <a:cubicBezTo>
                    <a:pt x="2123" y="293"/>
                    <a:pt x="2123" y="293"/>
                    <a:pt x="2123" y="293"/>
                  </a:cubicBezTo>
                  <a:cubicBezTo>
                    <a:pt x="2475" y="147"/>
                    <a:pt x="2475" y="147"/>
                    <a:pt x="2475" y="147"/>
                  </a:cubicBezTo>
                  <a:cubicBezTo>
                    <a:pt x="2037" y="1108"/>
                    <a:pt x="2037" y="1108"/>
                    <a:pt x="2037" y="1108"/>
                  </a:cubicBezTo>
                  <a:cubicBezTo>
                    <a:pt x="1506" y="730"/>
                    <a:pt x="1506" y="730"/>
                    <a:pt x="1506" y="730"/>
                  </a:cubicBezTo>
                  <a:cubicBezTo>
                    <a:pt x="1539" y="687"/>
                    <a:pt x="1559" y="634"/>
                    <a:pt x="1559" y="576"/>
                  </a:cubicBezTo>
                  <a:cubicBezTo>
                    <a:pt x="1559" y="433"/>
                    <a:pt x="1443" y="318"/>
                    <a:pt x="1300" y="318"/>
                  </a:cubicBezTo>
                  <a:cubicBezTo>
                    <a:pt x="1158" y="318"/>
                    <a:pt x="1042" y="433"/>
                    <a:pt x="1042" y="576"/>
                  </a:cubicBezTo>
                  <a:cubicBezTo>
                    <a:pt x="1042" y="718"/>
                    <a:pt x="1158" y="834"/>
                    <a:pt x="1300" y="834"/>
                  </a:cubicBezTo>
                  <a:cubicBezTo>
                    <a:pt x="1318" y="834"/>
                    <a:pt x="1336" y="832"/>
                    <a:pt x="1353" y="829"/>
                  </a:cubicBezTo>
                  <a:cubicBezTo>
                    <a:pt x="1027" y="1622"/>
                    <a:pt x="1027" y="1622"/>
                    <a:pt x="1027" y="1622"/>
                  </a:cubicBezTo>
                  <a:cubicBezTo>
                    <a:pt x="578" y="1170"/>
                    <a:pt x="578" y="1170"/>
                    <a:pt x="578" y="1170"/>
                  </a:cubicBezTo>
                  <a:cubicBezTo>
                    <a:pt x="624" y="1123"/>
                    <a:pt x="653" y="1059"/>
                    <a:pt x="653" y="988"/>
                  </a:cubicBezTo>
                  <a:cubicBezTo>
                    <a:pt x="653" y="846"/>
                    <a:pt x="537" y="730"/>
                    <a:pt x="395" y="730"/>
                  </a:cubicBezTo>
                  <a:cubicBezTo>
                    <a:pt x="252" y="730"/>
                    <a:pt x="136" y="846"/>
                    <a:pt x="136" y="988"/>
                  </a:cubicBezTo>
                  <a:cubicBezTo>
                    <a:pt x="136" y="1131"/>
                    <a:pt x="252" y="1246"/>
                    <a:pt x="395" y="1246"/>
                  </a:cubicBezTo>
                  <a:cubicBezTo>
                    <a:pt x="405" y="1246"/>
                    <a:pt x="414" y="1245"/>
                    <a:pt x="424" y="1243"/>
                  </a:cubicBezTo>
                  <a:cubicBezTo>
                    <a:pt x="10" y="2171"/>
                    <a:pt x="10" y="2171"/>
                    <a:pt x="10" y="2171"/>
                  </a:cubicBezTo>
                  <a:cubicBezTo>
                    <a:pt x="0" y="2194"/>
                    <a:pt x="10" y="2220"/>
                    <a:pt x="33" y="2231"/>
                  </a:cubicBezTo>
                  <a:cubicBezTo>
                    <a:pt x="39" y="2233"/>
                    <a:pt x="46" y="2235"/>
                    <a:pt x="52" y="2235"/>
                  </a:cubicBezTo>
                  <a:cubicBezTo>
                    <a:pt x="69" y="2235"/>
                    <a:pt x="86" y="2225"/>
                    <a:pt x="93" y="2208"/>
                  </a:cubicBezTo>
                  <a:cubicBezTo>
                    <a:pt x="524" y="1244"/>
                    <a:pt x="524" y="1244"/>
                    <a:pt x="524" y="1244"/>
                  </a:cubicBezTo>
                  <a:cubicBezTo>
                    <a:pt x="972" y="1696"/>
                    <a:pt x="972" y="1696"/>
                    <a:pt x="972" y="1696"/>
                  </a:cubicBezTo>
                  <a:cubicBezTo>
                    <a:pt x="920" y="1743"/>
                    <a:pt x="887" y="1811"/>
                    <a:pt x="887" y="1886"/>
                  </a:cubicBezTo>
                  <a:cubicBezTo>
                    <a:pt x="887" y="2029"/>
                    <a:pt x="1003" y="2144"/>
                    <a:pt x="1145" y="2144"/>
                  </a:cubicBezTo>
                  <a:cubicBezTo>
                    <a:pt x="1287" y="2144"/>
                    <a:pt x="1403" y="2029"/>
                    <a:pt x="1403" y="1886"/>
                  </a:cubicBezTo>
                  <a:cubicBezTo>
                    <a:pt x="1403" y="1744"/>
                    <a:pt x="1287" y="1628"/>
                    <a:pt x="1145" y="1628"/>
                  </a:cubicBezTo>
                  <a:cubicBezTo>
                    <a:pt x="1137" y="1628"/>
                    <a:pt x="1129" y="1630"/>
                    <a:pt x="1121" y="1630"/>
                  </a:cubicBezTo>
                  <a:cubicBezTo>
                    <a:pt x="1460" y="809"/>
                    <a:pt x="1460" y="809"/>
                    <a:pt x="1460" y="809"/>
                  </a:cubicBezTo>
                  <a:cubicBezTo>
                    <a:pt x="1982" y="1180"/>
                    <a:pt x="1982" y="1180"/>
                    <a:pt x="1982" y="1180"/>
                  </a:cubicBezTo>
                  <a:cubicBezTo>
                    <a:pt x="1942" y="1225"/>
                    <a:pt x="1918" y="1284"/>
                    <a:pt x="1918" y="1348"/>
                  </a:cubicBezTo>
                  <a:cubicBezTo>
                    <a:pt x="1918" y="1490"/>
                    <a:pt x="2034" y="1606"/>
                    <a:pt x="2176" y="1606"/>
                  </a:cubicBezTo>
                  <a:cubicBezTo>
                    <a:pt x="2318" y="1606"/>
                    <a:pt x="2434" y="1490"/>
                    <a:pt x="2434" y="1348"/>
                  </a:cubicBezTo>
                  <a:cubicBezTo>
                    <a:pt x="2434" y="1206"/>
                    <a:pt x="2318" y="1090"/>
                    <a:pt x="2176" y="1090"/>
                  </a:cubicBezTo>
                  <a:cubicBezTo>
                    <a:pt x="2165" y="1090"/>
                    <a:pt x="2154" y="1092"/>
                    <a:pt x="2144" y="1093"/>
                  </a:cubicBezTo>
                  <a:cubicBezTo>
                    <a:pt x="2558" y="184"/>
                    <a:pt x="2558" y="184"/>
                    <a:pt x="2558" y="184"/>
                  </a:cubicBezTo>
                  <a:lnTo>
                    <a:pt x="2679" y="547"/>
                  </a:lnTo>
                  <a:close/>
                  <a:moveTo>
                    <a:pt x="1312" y="1886"/>
                  </a:moveTo>
                  <a:cubicBezTo>
                    <a:pt x="1312" y="1978"/>
                    <a:pt x="1237" y="2053"/>
                    <a:pt x="1145" y="2053"/>
                  </a:cubicBezTo>
                  <a:cubicBezTo>
                    <a:pt x="1053" y="2053"/>
                    <a:pt x="978" y="1978"/>
                    <a:pt x="978" y="1886"/>
                  </a:cubicBezTo>
                  <a:cubicBezTo>
                    <a:pt x="978" y="1824"/>
                    <a:pt x="1013" y="1770"/>
                    <a:pt x="1063" y="1741"/>
                  </a:cubicBezTo>
                  <a:cubicBezTo>
                    <a:pt x="1066" y="1740"/>
                    <a:pt x="1070" y="1739"/>
                    <a:pt x="1072" y="1737"/>
                  </a:cubicBezTo>
                  <a:cubicBezTo>
                    <a:pt x="1094" y="1726"/>
                    <a:pt x="1119" y="1719"/>
                    <a:pt x="1145" y="1719"/>
                  </a:cubicBezTo>
                  <a:cubicBezTo>
                    <a:pt x="1237" y="1719"/>
                    <a:pt x="1312" y="1794"/>
                    <a:pt x="1312" y="1886"/>
                  </a:cubicBezTo>
                  <a:close/>
                  <a:moveTo>
                    <a:pt x="1133" y="576"/>
                  </a:moveTo>
                  <a:cubicBezTo>
                    <a:pt x="1133" y="484"/>
                    <a:pt x="1208" y="409"/>
                    <a:pt x="1300" y="409"/>
                  </a:cubicBezTo>
                  <a:cubicBezTo>
                    <a:pt x="1393" y="409"/>
                    <a:pt x="1468" y="484"/>
                    <a:pt x="1468" y="576"/>
                  </a:cubicBezTo>
                  <a:cubicBezTo>
                    <a:pt x="1468" y="668"/>
                    <a:pt x="1393" y="743"/>
                    <a:pt x="1300" y="743"/>
                  </a:cubicBezTo>
                  <a:cubicBezTo>
                    <a:pt x="1208" y="743"/>
                    <a:pt x="1133" y="668"/>
                    <a:pt x="1133" y="576"/>
                  </a:cubicBezTo>
                  <a:close/>
                  <a:moveTo>
                    <a:pt x="228" y="988"/>
                  </a:moveTo>
                  <a:cubicBezTo>
                    <a:pt x="228" y="896"/>
                    <a:pt x="302" y="821"/>
                    <a:pt x="395" y="821"/>
                  </a:cubicBezTo>
                  <a:cubicBezTo>
                    <a:pt x="487" y="821"/>
                    <a:pt x="562" y="896"/>
                    <a:pt x="562" y="988"/>
                  </a:cubicBezTo>
                  <a:cubicBezTo>
                    <a:pt x="562" y="1044"/>
                    <a:pt x="534" y="1094"/>
                    <a:pt x="491" y="1124"/>
                  </a:cubicBezTo>
                  <a:cubicBezTo>
                    <a:pt x="487" y="1126"/>
                    <a:pt x="482" y="1128"/>
                    <a:pt x="478" y="1132"/>
                  </a:cubicBezTo>
                  <a:cubicBezTo>
                    <a:pt x="454" y="1147"/>
                    <a:pt x="425" y="1155"/>
                    <a:pt x="395" y="1155"/>
                  </a:cubicBezTo>
                  <a:cubicBezTo>
                    <a:pt x="302" y="1155"/>
                    <a:pt x="228" y="1080"/>
                    <a:pt x="228" y="988"/>
                  </a:cubicBezTo>
                  <a:close/>
                  <a:moveTo>
                    <a:pt x="2343" y="1348"/>
                  </a:moveTo>
                  <a:cubicBezTo>
                    <a:pt x="2343" y="1440"/>
                    <a:pt x="2268" y="1515"/>
                    <a:pt x="2176" y="1515"/>
                  </a:cubicBezTo>
                  <a:cubicBezTo>
                    <a:pt x="2084" y="1515"/>
                    <a:pt x="2009" y="1440"/>
                    <a:pt x="2009" y="1348"/>
                  </a:cubicBezTo>
                  <a:cubicBezTo>
                    <a:pt x="2009" y="1296"/>
                    <a:pt x="2033" y="1249"/>
                    <a:pt x="2071" y="1219"/>
                  </a:cubicBezTo>
                  <a:cubicBezTo>
                    <a:pt x="2078" y="1216"/>
                    <a:pt x="2084" y="1212"/>
                    <a:pt x="2089" y="1206"/>
                  </a:cubicBezTo>
                  <a:cubicBezTo>
                    <a:pt x="2115" y="1190"/>
                    <a:pt x="2144" y="1181"/>
                    <a:pt x="2176" y="1181"/>
                  </a:cubicBezTo>
                  <a:cubicBezTo>
                    <a:pt x="2268" y="1181"/>
                    <a:pt x="2343" y="1256"/>
                    <a:pt x="2343" y="1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208636" y="3505096"/>
            <a:ext cx="568878" cy="568876"/>
            <a:chOff x="3208636" y="3505096"/>
            <a:chExt cx="568878" cy="568876"/>
          </a:xfrm>
        </p:grpSpPr>
        <p:sp>
          <p:nvSpPr>
            <p:cNvPr id="56" name="Oval 55"/>
            <p:cNvSpPr/>
            <p:nvPr/>
          </p:nvSpPr>
          <p:spPr>
            <a:xfrm>
              <a:off x="3208636" y="3505096"/>
              <a:ext cx="568878" cy="568876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06"/>
            </a:p>
          </p:txBody>
        </p:sp>
        <p:sp>
          <p:nvSpPr>
            <p:cNvPr id="81" name="Freeform 48"/>
            <p:cNvSpPr>
              <a:spLocks noEditPoints="1"/>
            </p:cNvSpPr>
            <p:nvPr/>
          </p:nvSpPr>
          <p:spPr bwMode="auto">
            <a:xfrm>
              <a:off x="3337137" y="3616915"/>
              <a:ext cx="305870" cy="287242"/>
            </a:xfrm>
            <a:custGeom>
              <a:avLst/>
              <a:gdLst>
                <a:gd name="T0" fmla="*/ 2712 w 2736"/>
                <a:gd name="T1" fmla="*/ 2355 h 2570"/>
                <a:gd name="T2" fmla="*/ 1497 w 2736"/>
                <a:gd name="T3" fmla="*/ 77 h 2570"/>
                <a:gd name="T4" fmla="*/ 1368 w 2736"/>
                <a:gd name="T5" fmla="*/ 0 h 2570"/>
                <a:gd name="T6" fmla="*/ 1239 w 2736"/>
                <a:gd name="T7" fmla="*/ 77 h 2570"/>
                <a:gd name="T8" fmla="*/ 24 w 2736"/>
                <a:gd name="T9" fmla="*/ 2355 h 2570"/>
                <a:gd name="T10" fmla="*/ 28 w 2736"/>
                <a:gd name="T11" fmla="*/ 2499 h 2570"/>
                <a:gd name="T12" fmla="*/ 153 w 2736"/>
                <a:gd name="T13" fmla="*/ 2570 h 2570"/>
                <a:gd name="T14" fmla="*/ 2583 w 2736"/>
                <a:gd name="T15" fmla="*/ 2570 h 2570"/>
                <a:gd name="T16" fmla="*/ 2708 w 2736"/>
                <a:gd name="T17" fmla="*/ 2499 h 2570"/>
                <a:gd name="T18" fmla="*/ 2712 w 2736"/>
                <a:gd name="T19" fmla="*/ 2355 h 2570"/>
                <a:gd name="T20" fmla="*/ 2640 w 2736"/>
                <a:gd name="T21" fmla="*/ 2458 h 2570"/>
                <a:gd name="T22" fmla="*/ 2583 w 2736"/>
                <a:gd name="T23" fmla="*/ 2491 h 2570"/>
                <a:gd name="T24" fmla="*/ 153 w 2736"/>
                <a:gd name="T25" fmla="*/ 2491 h 2570"/>
                <a:gd name="T26" fmla="*/ 96 w 2736"/>
                <a:gd name="T27" fmla="*/ 2458 h 2570"/>
                <a:gd name="T28" fmla="*/ 94 w 2736"/>
                <a:gd name="T29" fmla="*/ 2393 h 2570"/>
                <a:gd name="T30" fmla="*/ 1309 w 2736"/>
                <a:gd name="T31" fmla="*/ 115 h 2570"/>
                <a:gd name="T32" fmla="*/ 1427 w 2736"/>
                <a:gd name="T33" fmla="*/ 115 h 2570"/>
                <a:gd name="T34" fmla="*/ 2642 w 2736"/>
                <a:gd name="T35" fmla="*/ 2393 h 2570"/>
                <a:gd name="T36" fmla="*/ 2640 w 2736"/>
                <a:gd name="T37" fmla="*/ 2458 h 2570"/>
                <a:gd name="T38" fmla="*/ 1409 w 2736"/>
                <a:gd name="T39" fmla="*/ 750 h 2570"/>
                <a:gd name="T40" fmla="*/ 1327 w 2736"/>
                <a:gd name="T41" fmla="*/ 750 h 2570"/>
                <a:gd name="T42" fmla="*/ 1241 w 2736"/>
                <a:gd name="T43" fmla="*/ 836 h 2570"/>
                <a:gd name="T44" fmla="*/ 1241 w 2736"/>
                <a:gd name="T45" fmla="*/ 1788 h 2570"/>
                <a:gd name="T46" fmla="*/ 1327 w 2736"/>
                <a:gd name="T47" fmla="*/ 1874 h 2570"/>
                <a:gd name="T48" fmla="*/ 1409 w 2736"/>
                <a:gd name="T49" fmla="*/ 1874 h 2570"/>
                <a:gd name="T50" fmla="*/ 1495 w 2736"/>
                <a:gd name="T51" fmla="*/ 1788 h 2570"/>
                <a:gd name="T52" fmla="*/ 1495 w 2736"/>
                <a:gd name="T53" fmla="*/ 836 h 2570"/>
                <a:gd name="T54" fmla="*/ 1409 w 2736"/>
                <a:gd name="T55" fmla="*/ 750 h 2570"/>
                <a:gd name="T56" fmla="*/ 1415 w 2736"/>
                <a:gd name="T57" fmla="*/ 1788 h 2570"/>
                <a:gd name="T58" fmla="*/ 1409 w 2736"/>
                <a:gd name="T59" fmla="*/ 1794 h 2570"/>
                <a:gd name="T60" fmla="*/ 1327 w 2736"/>
                <a:gd name="T61" fmla="*/ 1794 h 2570"/>
                <a:gd name="T62" fmla="*/ 1321 w 2736"/>
                <a:gd name="T63" fmla="*/ 1788 h 2570"/>
                <a:gd name="T64" fmla="*/ 1321 w 2736"/>
                <a:gd name="T65" fmla="*/ 836 h 2570"/>
                <a:gd name="T66" fmla="*/ 1327 w 2736"/>
                <a:gd name="T67" fmla="*/ 830 h 2570"/>
                <a:gd name="T68" fmla="*/ 1409 w 2736"/>
                <a:gd name="T69" fmla="*/ 830 h 2570"/>
                <a:gd name="T70" fmla="*/ 1415 w 2736"/>
                <a:gd name="T71" fmla="*/ 836 h 2570"/>
                <a:gd name="T72" fmla="*/ 1415 w 2736"/>
                <a:gd name="T73" fmla="*/ 1788 h 2570"/>
                <a:gd name="T74" fmla="*/ 1416 w 2736"/>
                <a:gd name="T75" fmla="*/ 1968 h 2570"/>
                <a:gd name="T76" fmla="*/ 1320 w 2736"/>
                <a:gd name="T77" fmla="*/ 1968 h 2570"/>
                <a:gd name="T78" fmla="*/ 1241 w 2736"/>
                <a:gd name="T79" fmla="*/ 2048 h 2570"/>
                <a:gd name="T80" fmla="*/ 1241 w 2736"/>
                <a:gd name="T81" fmla="*/ 2143 h 2570"/>
                <a:gd name="T82" fmla="*/ 1320 w 2736"/>
                <a:gd name="T83" fmla="*/ 2222 h 2570"/>
                <a:gd name="T84" fmla="*/ 1416 w 2736"/>
                <a:gd name="T85" fmla="*/ 2222 h 2570"/>
                <a:gd name="T86" fmla="*/ 1495 w 2736"/>
                <a:gd name="T87" fmla="*/ 2143 h 2570"/>
                <a:gd name="T88" fmla="*/ 1495 w 2736"/>
                <a:gd name="T89" fmla="*/ 2048 h 2570"/>
                <a:gd name="T90" fmla="*/ 1416 w 2736"/>
                <a:gd name="T91" fmla="*/ 1968 h 2570"/>
                <a:gd name="T92" fmla="*/ 1321 w 2736"/>
                <a:gd name="T93" fmla="*/ 2143 h 2570"/>
                <a:gd name="T94" fmla="*/ 1320 w 2736"/>
                <a:gd name="T95" fmla="*/ 2048 h 2570"/>
                <a:gd name="T96" fmla="*/ 1415 w 2736"/>
                <a:gd name="T97" fmla="*/ 2048 h 2570"/>
                <a:gd name="T98" fmla="*/ 1416 w 2736"/>
                <a:gd name="T99" fmla="*/ 2142 h 2570"/>
                <a:gd name="T100" fmla="*/ 1321 w 2736"/>
                <a:gd name="T101" fmla="*/ 2143 h 2570"/>
                <a:gd name="T102" fmla="*/ 1415 w 2736"/>
                <a:gd name="T103" fmla="*/ 2048 h 2570"/>
                <a:gd name="T104" fmla="*/ 1415 w 2736"/>
                <a:gd name="T105" fmla="*/ 2048 h 2570"/>
                <a:gd name="T106" fmla="*/ 1455 w 2736"/>
                <a:gd name="T107" fmla="*/ 2048 h 2570"/>
                <a:gd name="T108" fmla="*/ 1415 w 2736"/>
                <a:gd name="T109" fmla="*/ 2048 h 2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6" h="2570">
                  <a:moveTo>
                    <a:pt x="2712" y="2355"/>
                  </a:moveTo>
                  <a:cubicBezTo>
                    <a:pt x="1497" y="77"/>
                    <a:pt x="1497" y="77"/>
                    <a:pt x="1497" y="77"/>
                  </a:cubicBezTo>
                  <a:cubicBezTo>
                    <a:pt x="1472" y="29"/>
                    <a:pt x="1422" y="0"/>
                    <a:pt x="1368" y="0"/>
                  </a:cubicBezTo>
                  <a:cubicBezTo>
                    <a:pt x="1314" y="0"/>
                    <a:pt x="1264" y="29"/>
                    <a:pt x="1239" y="77"/>
                  </a:cubicBezTo>
                  <a:cubicBezTo>
                    <a:pt x="24" y="2355"/>
                    <a:pt x="24" y="2355"/>
                    <a:pt x="24" y="2355"/>
                  </a:cubicBezTo>
                  <a:cubicBezTo>
                    <a:pt x="0" y="2401"/>
                    <a:pt x="1" y="2455"/>
                    <a:pt x="28" y="2499"/>
                  </a:cubicBezTo>
                  <a:cubicBezTo>
                    <a:pt x="54" y="2544"/>
                    <a:pt x="101" y="2570"/>
                    <a:pt x="153" y="2570"/>
                  </a:cubicBezTo>
                  <a:cubicBezTo>
                    <a:pt x="2583" y="2570"/>
                    <a:pt x="2583" y="2570"/>
                    <a:pt x="2583" y="2570"/>
                  </a:cubicBezTo>
                  <a:cubicBezTo>
                    <a:pt x="2635" y="2570"/>
                    <a:pt x="2682" y="2544"/>
                    <a:pt x="2708" y="2499"/>
                  </a:cubicBezTo>
                  <a:cubicBezTo>
                    <a:pt x="2735" y="2455"/>
                    <a:pt x="2736" y="2401"/>
                    <a:pt x="2712" y="2355"/>
                  </a:cubicBezTo>
                  <a:close/>
                  <a:moveTo>
                    <a:pt x="2640" y="2458"/>
                  </a:moveTo>
                  <a:cubicBezTo>
                    <a:pt x="2628" y="2478"/>
                    <a:pt x="2607" y="2491"/>
                    <a:pt x="2583" y="2491"/>
                  </a:cubicBezTo>
                  <a:cubicBezTo>
                    <a:pt x="153" y="2491"/>
                    <a:pt x="153" y="2491"/>
                    <a:pt x="153" y="2491"/>
                  </a:cubicBezTo>
                  <a:cubicBezTo>
                    <a:pt x="129" y="2491"/>
                    <a:pt x="108" y="2478"/>
                    <a:pt x="96" y="2458"/>
                  </a:cubicBezTo>
                  <a:cubicBezTo>
                    <a:pt x="84" y="2438"/>
                    <a:pt x="83" y="2414"/>
                    <a:pt x="94" y="2393"/>
                  </a:cubicBezTo>
                  <a:cubicBezTo>
                    <a:pt x="1309" y="115"/>
                    <a:pt x="1309" y="115"/>
                    <a:pt x="1309" y="115"/>
                  </a:cubicBezTo>
                  <a:cubicBezTo>
                    <a:pt x="1333" y="70"/>
                    <a:pt x="1403" y="70"/>
                    <a:pt x="1427" y="115"/>
                  </a:cubicBezTo>
                  <a:cubicBezTo>
                    <a:pt x="2642" y="2393"/>
                    <a:pt x="2642" y="2393"/>
                    <a:pt x="2642" y="2393"/>
                  </a:cubicBezTo>
                  <a:cubicBezTo>
                    <a:pt x="2653" y="2414"/>
                    <a:pt x="2652" y="2438"/>
                    <a:pt x="2640" y="2458"/>
                  </a:cubicBezTo>
                  <a:close/>
                  <a:moveTo>
                    <a:pt x="1409" y="750"/>
                  </a:moveTo>
                  <a:cubicBezTo>
                    <a:pt x="1327" y="750"/>
                    <a:pt x="1327" y="750"/>
                    <a:pt x="1327" y="750"/>
                  </a:cubicBezTo>
                  <a:cubicBezTo>
                    <a:pt x="1280" y="750"/>
                    <a:pt x="1241" y="789"/>
                    <a:pt x="1241" y="836"/>
                  </a:cubicBezTo>
                  <a:cubicBezTo>
                    <a:pt x="1241" y="1788"/>
                    <a:pt x="1241" y="1788"/>
                    <a:pt x="1241" y="1788"/>
                  </a:cubicBezTo>
                  <a:cubicBezTo>
                    <a:pt x="1241" y="1836"/>
                    <a:pt x="1280" y="1874"/>
                    <a:pt x="1327" y="1874"/>
                  </a:cubicBezTo>
                  <a:cubicBezTo>
                    <a:pt x="1409" y="1874"/>
                    <a:pt x="1409" y="1874"/>
                    <a:pt x="1409" y="1874"/>
                  </a:cubicBezTo>
                  <a:cubicBezTo>
                    <a:pt x="1456" y="1874"/>
                    <a:pt x="1495" y="1836"/>
                    <a:pt x="1495" y="1788"/>
                  </a:cubicBezTo>
                  <a:cubicBezTo>
                    <a:pt x="1495" y="836"/>
                    <a:pt x="1495" y="836"/>
                    <a:pt x="1495" y="836"/>
                  </a:cubicBezTo>
                  <a:cubicBezTo>
                    <a:pt x="1495" y="789"/>
                    <a:pt x="1456" y="750"/>
                    <a:pt x="1409" y="750"/>
                  </a:cubicBezTo>
                  <a:close/>
                  <a:moveTo>
                    <a:pt x="1415" y="1788"/>
                  </a:moveTo>
                  <a:cubicBezTo>
                    <a:pt x="1415" y="1792"/>
                    <a:pt x="1412" y="1794"/>
                    <a:pt x="1409" y="1794"/>
                  </a:cubicBezTo>
                  <a:cubicBezTo>
                    <a:pt x="1327" y="1794"/>
                    <a:pt x="1327" y="1794"/>
                    <a:pt x="1327" y="1794"/>
                  </a:cubicBezTo>
                  <a:cubicBezTo>
                    <a:pt x="1324" y="1794"/>
                    <a:pt x="1321" y="1792"/>
                    <a:pt x="1321" y="1788"/>
                  </a:cubicBezTo>
                  <a:cubicBezTo>
                    <a:pt x="1321" y="836"/>
                    <a:pt x="1321" y="836"/>
                    <a:pt x="1321" y="836"/>
                  </a:cubicBezTo>
                  <a:cubicBezTo>
                    <a:pt x="1321" y="833"/>
                    <a:pt x="1324" y="830"/>
                    <a:pt x="1327" y="830"/>
                  </a:cubicBezTo>
                  <a:cubicBezTo>
                    <a:pt x="1409" y="830"/>
                    <a:pt x="1409" y="830"/>
                    <a:pt x="1409" y="830"/>
                  </a:cubicBezTo>
                  <a:cubicBezTo>
                    <a:pt x="1412" y="830"/>
                    <a:pt x="1415" y="833"/>
                    <a:pt x="1415" y="836"/>
                  </a:cubicBezTo>
                  <a:lnTo>
                    <a:pt x="1415" y="1788"/>
                  </a:lnTo>
                  <a:close/>
                  <a:moveTo>
                    <a:pt x="1416" y="1968"/>
                  </a:moveTo>
                  <a:cubicBezTo>
                    <a:pt x="1320" y="1968"/>
                    <a:pt x="1320" y="1968"/>
                    <a:pt x="1320" y="1968"/>
                  </a:cubicBezTo>
                  <a:cubicBezTo>
                    <a:pt x="1277" y="1968"/>
                    <a:pt x="1241" y="2004"/>
                    <a:pt x="1241" y="2048"/>
                  </a:cubicBezTo>
                  <a:cubicBezTo>
                    <a:pt x="1241" y="2143"/>
                    <a:pt x="1241" y="2143"/>
                    <a:pt x="1241" y="2143"/>
                  </a:cubicBezTo>
                  <a:cubicBezTo>
                    <a:pt x="1241" y="2187"/>
                    <a:pt x="1277" y="2222"/>
                    <a:pt x="1320" y="2222"/>
                  </a:cubicBezTo>
                  <a:cubicBezTo>
                    <a:pt x="1416" y="2222"/>
                    <a:pt x="1416" y="2222"/>
                    <a:pt x="1416" y="2222"/>
                  </a:cubicBezTo>
                  <a:cubicBezTo>
                    <a:pt x="1459" y="2222"/>
                    <a:pt x="1495" y="2187"/>
                    <a:pt x="1495" y="2143"/>
                  </a:cubicBezTo>
                  <a:cubicBezTo>
                    <a:pt x="1495" y="2048"/>
                    <a:pt x="1495" y="2048"/>
                    <a:pt x="1495" y="2048"/>
                  </a:cubicBezTo>
                  <a:cubicBezTo>
                    <a:pt x="1495" y="2004"/>
                    <a:pt x="1459" y="1968"/>
                    <a:pt x="1416" y="1968"/>
                  </a:cubicBezTo>
                  <a:close/>
                  <a:moveTo>
                    <a:pt x="1321" y="2143"/>
                  </a:moveTo>
                  <a:cubicBezTo>
                    <a:pt x="1320" y="2048"/>
                    <a:pt x="1320" y="2048"/>
                    <a:pt x="1320" y="2048"/>
                  </a:cubicBezTo>
                  <a:cubicBezTo>
                    <a:pt x="1415" y="2048"/>
                    <a:pt x="1415" y="2048"/>
                    <a:pt x="1415" y="2048"/>
                  </a:cubicBezTo>
                  <a:cubicBezTo>
                    <a:pt x="1416" y="2142"/>
                    <a:pt x="1416" y="2142"/>
                    <a:pt x="1416" y="2142"/>
                  </a:cubicBezTo>
                  <a:lnTo>
                    <a:pt x="1321" y="2143"/>
                  </a:lnTo>
                  <a:close/>
                  <a:moveTo>
                    <a:pt x="1415" y="2048"/>
                  </a:moveTo>
                  <a:cubicBezTo>
                    <a:pt x="1415" y="2048"/>
                    <a:pt x="1415" y="2048"/>
                    <a:pt x="1415" y="2048"/>
                  </a:cubicBezTo>
                  <a:cubicBezTo>
                    <a:pt x="1455" y="2048"/>
                    <a:pt x="1455" y="2048"/>
                    <a:pt x="1455" y="2048"/>
                  </a:cubicBezTo>
                  <a:lnTo>
                    <a:pt x="1415" y="20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34290" tIns="17145" rIns="34290" bIns="17145" numCol="1" anchor="t" anchorCtr="0" compatLnSpc="1">
              <a:prstTxWarp prst="textNoShape">
                <a:avLst/>
              </a:prstTxWarp>
            </a:bodyPr>
            <a:lstStyle/>
            <a:p>
              <a:endParaRPr lang="en-US" sz="506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75389" y="1800255"/>
            <a:ext cx="1777804" cy="502628"/>
            <a:chOff x="1075389" y="1800255"/>
            <a:chExt cx="1777804" cy="502628"/>
          </a:xfrm>
        </p:grpSpPr>
        <p:sp>
          <p:nvSpPr>
            <p:cNvPr id="36" name="TextBox 35"/>
            <p:cNvSpPr txBox="1"/>
            <p:nvPr/>
          </p:nvSpPr>
          <p:spPr>
            <a:xfrm>
              <a:off x="1075421" y="1800255"/>
              <a:ext cx="177773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Pontos</a:t>
              </a:r>
              <a:r>
                <a:rPr lang="en-US" sz="1000" b="1" cap="all" spc="20" dirty="0">
                  <a:solidFill>
                    <a:schemeClr val="accent1"/>
                  </a:solidFill>
                  <a:latin typeface="Lato" panose="020F0502020204030203" pitchFamily="34" charset="0"/>
                </a:rPr>
                <a:t> fort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075389" y="1999530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75389" y="3537285"/>
            <a:ext cx="1777804" cy="502628"/>
            <a:chOff x="1075389" y="3537285"/>
            <a:chExt cx="1777804" cy="502628"/>
          </a:xfrm>
        </p:grpSpPr>
        <p:sp>
          <p:nvSpPr>
            <p:cNvPr id="40" name="TextBox 39"/>
            <p:cNvSpPr txBox="1"/>
            <p:nvPr/>
          </p:nvSpPr>
          <p:spPr>
            <a:xfrm>
              <a:off x="1075421" y="3537285"/>
              <a:ext cx="177773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ameaç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075389" y="3736560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290808" y="1800255"/>
            <a:ext cx="1777804" cy="502628"/>
            <a:chOff x="6290808" y="1800255"/>
            <a:chExt cx="1777804" cy="502628"/>
          </a:xfrm>
        </p:grpSpPr>
        <p:sp>
          <p:nvSpPr>
            <p:cNvPr id="43" name="TextBox 42"/>
            <p:cNvSpPr txBox="1"/>
            <p:nvPr/>
          </p:nvSpPr>
          <p:spPr>
            <a:xfrm>
              <a:off x="6290840" y="1800255"/>
              <a:ext cx="177773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fraqueza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290808" y="1999530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290808" y="3537285"/>
            <a:ext cx="1777804" cy="502628"/>
            <a:chOff x="6290808" y="3537285"/>
            <a:chExt cx="1777804" cy="502628"/>
          </a:xfrm>
        </p:grpSpPr>
        <p:sp>
          <p:nvSpPr>
            <p:cNvPr id="46" name="TextBox 45"/>
            <p:cNvSpPr txBox="1"/>
            <p:nvPr/>
          </p:nvSpPr>
          <p:spPr>
            <a:xfrm>
              <a:off x="6290840" y="3537285"/>
              <a:ext cx="177773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b="1" cap="all" spc="20" dirty="0" err="1">
                  <a:solidFill>
                    <a:schemeClr val="accent1"/>
                  </a:solidFill>
                  <a:latin typeface="Lato" panose="020F0502020204030203" pitchFamily="34" charset="0"/>
                </a:rPr>
                <a:t>oportunidades</a:t>
              </a:r>
              <a:endParaRPr lang="en-US" sz="1000" b="1" cap="all" spc="20" dirty="0">
                <a:solidFill>
                  <a:schemeClr val="accent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6290808" y="3736560"/>
              <a:ext cx="1777804" cy="3033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Maecenas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dolor at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est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vehicula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, vitae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iaculis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orci</a:t>
              </a:r>
              <a:r>
                <a:rPr lang="en-US" sz="800" dirty="0">
                  <a:solidFill>
                    <a:schemeClr val="accent4"/>
                  </a:solidFill>
                  <a:latin typeface="Lato" panose="020F0502020204030203" pitchFamily="34" charset="0"/>
                </a:rPr>
                <a:t> </a:t>
              </a:r>
              <a:r>
                <a:rPr lang="en-US" sz="800" dirty="0" err="1">
                  <a:solidFill>
                    <a:schemeClr val="accent4"/>
                  </a:solidFill>
                  <a:latin typeface="Lato" panose="020F0502020204030203" pitchFamily="34" charset="0"/>
                </a:rPr>
                <a:t>sollicitudin</a:t>
              </a:r>
              <a:endParaRPr lang="en-US" sz="800" dirty="0">
                <a:solidFill>
                  <a:schemeClr val="accent4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4752174" y="3142445"/>
            <a:ext cx="5517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832806" y="3142445"/>
            <a:ext cx="5517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752174" y="2323094"/>
            <a:ext cx="5517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832806" y="2323094"/>
            <a:ext cx="5517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400" cap="all" dirty="0">
                <a:solidFill>
                  <a:schemeClr val="bg1"/>
                </a:solidFill>
                <a:latin typeface="Lato Black" panose="020F0A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4024446" y="1731452"/>
            <a:ext cx="10951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álise</a:t>
            </a:r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terna</a:t>
            </a:r>
            <a:endParaRPr lang="en-US" sz="800" b="1" dirty="0">
              <a:solidFill>
                <a:schemeClr val="accent4"/>
              </a:solidFill>
              <a:latin typeface="Lato" panose="020F0502020204030203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024446" y="3970044"/>
            <a:ext cx="109510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 err="1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nálise</a:t>
            </a:r>
            <a:r>
              <a:rPr lang="en-US" sz="800" b="1" dirty="0">
                <a:solidFill>
                  <a:schemeClr val="accent4"/>
                </a:solidFill>
                <a:latin typeface="Lato" panose="020F0502020204030203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Externa</a:t>
            </a:r>
          </a:p>
        </p:txBody>
      </p:sp>
    </p:spTree>
    <p:extLst>
      <p:ext uri="{BB962C8B-B14F-4D97-AF65-F5344CB8AC3E}">
        <p14:creationId xmlns:p14="http://schemas.microsoft.com/office/powerpoint/2010/main" val="1379178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10-Red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4B5050"/>
      </a:accent1>
      <a:accent2>
        <a:srgbClr val="FF461E"/>
      </a:accent2>
      <a:accent3>
        <a:srgbClr val="6E7378"/>
      </a:accent3>
      <a:accent4>
        <a:srgbClr val="91969B"/>
      </a:accent4>
      <a:accent5>
        <a:srgbClr val="AAAFB4"/>
      </a:accent5>
      <a:accent6>
        <a:srgbClr val="DCE1E6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226</TotalTime>
  <Words>11585</Words>
  <Application>Microsoft Office PowerPoint</Application>
  <PresentationFormat>Apresentação na tela (16:9)</PresentationFormat>
  <Paragraphs>2394</Paragraphs>
  <Slides>172</Slides>
  <Notes>4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2</vt:i4>
      </vt:variant>
    </vt:vector>
  </HeadingPairs>
  <TitlesOfParts>
    <vt:vector size="185" baseType="lpstr">
      <vt:lpstr>Arial</vt:lpstr>
      <vt:lpstr>Calibri</vt:lpstr>
      <vt:lpstr>Calibri Light</vt:lpstr>
      <vt:lpstr>Gill Sans</vt:lpstr>
      <vt:lpstr>Lato</vt:lpstr>
      <vt:lpstr>Lato Black</vt:lpstr>
      <vt:lpstr>Montserrat SemiBold</vt:lpstr>
      <vt:lpstr>Open Sans</vt:lpstr>
      <vt:lpstr>Open Sans Light</vt:lpstr>
      <vt:lpstr>PT Sans</vt:lpstr>
      <vt:lpstr>Wingdings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eting Getnet</dc:creator>
  <cp:lastModifiedBy>Lucas Duarte Teixeira</cp:lastModifiedBy>
  <cp:revision>2343</cp:revision>
  <dcterms:created xsi:type="dcterms:W3CDTF">2015-05-25T12:45:08Z</dcterms:created>
  <dcterms:modified xsi:type="dcterms:W3CDTF">2021-08-18T14:3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6483e5-34af-492f-bb2a-58275fcbb26e_Enabled">
    <vt:lpwstr>true</vt:lpwstr>
  </property>
  <property fmtid="{D5CDD505-2E9C-101B-9397-08002B2CF9AE}" pid="3" name="MSIP_Label_296483e5-34af-492f-bb2a-58275fcbb26e_SetDate">
    <vt:lpwstr>2021-08-18T14:33:26Z</vt:lpwstr>
  </property>
  <property fmtid="{D5CDD505-2E9C-101B-9397-08002B2CF9AE}" pid="4" name="MSIP_Label_296483e5-34af-492f-bb2a-58275fcbb26e_Method">
    <vt:lpwstr>Privileged</vt:lpwstr>
  </property>
  <property fmtid="{D5CDD505-2E9C-101B-9397-08002B2CF9AE}" pid="5" name="MSIP_Label_296483e5-34af-492f-bb2a-58275fcbb26e_Name">
    <vt:lpwstr>Uso Interno</vt:lpwstr>
  </property>
  <property fmtid="{D5CDD505-2E9C-101B-9397-08002B2CF9AE}" pid="6" name="MSIP_Label_296483e5-34af-492f-bb2a-58275fcbb26e_SiteId">
    <vt:lpwstr>58201163-08a8-4385-aac7-2fcb6ec95c20</vt:lpwstr>
  </property>
  <property fmtid="{D5CDD505-2E9C-101B-9397-08002B2CF9AE}" pid="7" name="MSIP_Label_296483e5-34af-492f-bb2a-58275fcbb26e_ActionId">
    <vt:lpwstr>79b44e0d-3fa1-4273-9af2-10dcf797c89f</vt:lpwstr>
  </property>
  <property fmtid="{D5CDD505-2E9C-101B-9397-08002B2CF9AE}" pid="8" name="MSIP_Label_296483e5-34af-492f-bb2a-58275fcbb26e_ContentBits">
    <vt:lpwstr>2</vt:lpwstr>
  </property>
</Properties>
</file>